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5.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6.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7.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8.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10.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11.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12.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13.xml" ContentType="application/vnd.openxmlformats-officedocument.them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14.xml" ContentType="application/vnd.openxmlformats-officedocument.theme+xml"/>
  <Override PartName="/ppt/media/image21.jpg" ContentType="image/jpeg"/>
  <Override PartName="/ppt/media/image24.jpg" ContentType="image/jpeg"/>
  <Override PartName="/ppt/media/image25.jpg" ContentType="image/jpeg"/>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15.xml" ContentType="application/vnd.openxmlformats-officedocument.theme+xml"/>
  <Override PartName="/ppt/tags/tag2.xml" ContentType="application/vnd.openxmlformats-officedocument.presentationml.tags+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16.xml" ContentType="application/vnd.openxmlformats-officedocument.theme+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17.xml" ContentType="application/vnd.openxmlformats-officedocument.theme+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18.xml" ContentType="application/vnd.openxmlformats-officedocument.theme+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theme/theme19.xml" ContentType="application/vnd.openxmlformats-officedocument.theme+xml"/>
  <Override PartName="/ppt/media/image31.jpg" ContentType="image/jpeg"/>
  <Override PartName="/ppt/media/image32.jpg" ContentType="image/jpeg"/>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theme/theme20.xml" ContentType="application/vnd.openxmlformats-officedocument.theme+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theme/theme21.xml" ContentType="application/vnd.openxmlformats-officedocument.theme+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22.xml" ContentType="application/vnd.openxmlformats-officedocument.theme+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theme/theme23.xml" ContentType="application/vnd.openxmlformats-officedocument.theme+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theme/theme24.xml" ContentType="application/vnd.openxmlformats-officedocument.theme+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theme/theme25.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theme/theme26.xml" ContentType="application/vnd.openxmlformats-officedocument.theme+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theme/theme27.xml" ContentType="application/vnd.openxmlformats-officedocument.theme+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theme/theme28.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theme/theme29.xml" ContentType="application/vnd.openxmlformats-officedocument.theme+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theme/theme30.xml" ContentType="application/vnd.openxmlformats-officedocument.theme+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theme/theme31.xml" ContentType="application/vnd.openxmlformats-officedocument.theme+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theme/theme32.xml" ContentType="application/vnd.openxmlformats-officedocument.theme+xml"/>
  <Override PartName="/ppt/theme/theme33.xml" ContentType="application/vnd.openxmlformats-officedocument.theme+xml"/>
  <Override PartName="/ppt/notesSlides/notesSlide1.xml" ContentType="application/vnd.openxmlformats-officedocument.presentationml.notesSlide+xml"/>
  <Override PartName="/ppt/media/image54.jpg" ContentType="image/jpeg"/>
  <Override PartName="/ppt/media/image55.jpg" ContentType="image/jpeg"/>
  <Override PartName="/ppt/media/image56.jpg" ContentType="image/jpeg"/>
  <Override PartName="/ppt/media/image57.jpg" ContentType="image/jpeg"/>
  <Override PartName="/ppt/media/image58.jpg" ContentType="image/jpeg"/>
  <Override PartName="/ppt/media/image59.jpg" ContentType="image/jpeg"/>
  <Override PartName="/ppt/media/image60.jpg" ContentType="image/jpeg"/>
  <Override PartName="/ppt/media/image61.jpg" ContentType="image/jpeg"/>
  <Override PartName="/ppt/media/image62.jpg" ContentType="image/jpeg"/>
  <Override PartName="/ppt/media/image63.jpg" ContentType="image/jpeg"/>
  <Override PartName="/ppt/media/image64.jpg" ContentType="image/jpeg"/>
  <Override PartName="/ppt/media/image65.jpg" ContentType="image/jpeg"/>
  <Override PartName="/ppt/media/image66.jpg" ContentType="image/jpeg"/>
  <Override PartName="/ppt/media/image67.jpg" ContentType="image/jpeg"/>
  <Override PartName="/ppt/media/image68.jpg" ContentType="image/jpeg"/>
  <Override PartName="/ppt/media/image69.jpg" ContentType="image/jpeg"/>
  <Override PartName="/ppt/media/image70.jpg" ContentType="image/jpeg"/>
  <Override PartName="/ppt/media/image71.jpg" ContentType="image/jpeg"/>
  <Override PartName="/ppt/media/image72.jpg" ContentType="image/jpeg"/>
  <Override PartName="/ppt/media/image73.jpg" ContentType="image/jpeg"/>
  <Override PartName="/ppt/media/image74.jpg" ContentType="image/jpeg"/>
  <Override PartName="/ppt/media/image75.jpg" ContentType="image/jpeg"/>
  <Override PartName="/ppt/media/image76.jpg" ContentType="image/jpeg"/>
  <Override PartName="/ppt/media/image77.jpg" ContentType="image/jpeg"/>
  <Override PartName="/ppt/media/image78.jpg" ContentType="image/jpeg"/>
  <Override PartName="/ppt/media/image79.jpg" ContentType="image/jpeg"/>
  <Override PartName="/ppt/media/image80.jpg" ContentType="image/jpeg"/>
  <Override PartName="/ppt/media/image81.jpg" ContentType="image/jpeg"/>
  <Override PartName="/ppt/media/image82.jpg" ContentType="image/jpeg"/>
  <Override PartName="/ppt/media/image83.jpg" ContentType="image/jpeg"/>
  <Override PartName="/ppt/media/image84.jpg" ContentType="image/jpeg"/>
  <Override PartName="/ppt/media/image85.jpg" ContentType="image/jpeg"/>
  <Override PartName="/ppt/media/image86.jpg" ContentType="image/jpeg"/>
  <Override PartName="/ppt/media/image87.jpg" ContentType="image/jpeg"/>
  <Override PartName="/ppt/media/image88.jpg" ContentType="image/jpeg"/>
  <Override PartName="/ppt/media/image89.jpg" ContentType="image/jpeg"/>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media/image94.jpg" ContentType="image/jpeg"/>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2.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1.xml" ContentType="application/vnd.openxmlformats-officedocument.themeOverr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4.xml" ContentType="application/vnd.openxmlformats-officedocument.drawingml.chart+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tags/tag23.xml" ContentType="application/vnd.openxmlformats-officedocument.presentationml.tags+xml"/>
  <Override PartName="/ppt/notesSlides/notesSlide62.xml" ContentType="application/vnd.openxmlformats-officedocument.presentationml.notesSl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2.xml" ContentType="application/vnd.openxmlformats-officedocument.themeOverrid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3.xml" ContentType="application/vnd.openxmlformats-officedocument.themeOverrid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4.xml" ContentType="application/vnd.openxmlformats-officedocument.themeOverr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tags/tag24.xml" ContentType="application/vnd.openxmlformats-officedocument.presentationml.tags+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90" r:id="rId5"/>
    <p:sldMasterId id="2147483704" r:id="rId6"/>
    <p:sldMasterId id="2147483717" r:id="rId7"/>
    <p:sldMasterId id="2147483732" r:id="rId8"/>
    <p:sldMasterId id="2147483745" r:id="rId9"/>
    <p:sldMasterId id="2147483753" r:id="rId10"/>
    <p:sldMasterId id="2147483769" r:id="rId11"/>
    <p:sldMasterId id="2147483785" r:id="rId12"/>
    <p:sldMasterId id="2147483800" r:id="rId13"/>
    <p:sldMasterId id="2147483806" r:id="rId14"/>
    <p:sldMasterId id="2147483812" r:id="rId15"/>
    <p:sldMasterId id="2147483818" r:id="rId16"/>
    <p:sldMasterId id="2147483824" r:id="rId17"/>
    <p:sldMasterId id="2147483851" r:id="rId18"/>
    <p:sldMasterId id="2147483869" r:id="rId19"/>
    <p:sldMasterId id="2147483884" r:id="rId20"/>
    <p:sldMasterId id="2147483898" r:id="rId21"/>
    <p:sldMasterId id="2147483912" r:id="rId22"/>
    <p:sldMasterId id="2147483918" r:id="rId23"/>
    <p:sldMasterId id="2147483937" r:id="rId24"/>
    <p:sldMasterId id="2147483955" r:id="rId25"/>
    <p:sldMasterId id="2147483970" r:id="rId26"/>
    <p:sldMasterId id="2147483981" r:id="rId27"/>
    <p:sldMasterId id="2147483998" r:id="rId28"/>
    <p:sldMasterId id="2147484012" r:id="rId29"/>
    <p:sldMasterId id="2147484048" r:id="rId30"/>
    <p:sldMasterId id="2147484069" r:id="rId31"/>
    <p:sldMasterId id="2147484078" r:id="rId32"/>
    <p:sldMasterId id="2147484123" r:id="rId33"/>
    <p:sldMasterId id="2147484195" r:id="rId34"/>
    <p:sldMasterId id="2147484211" r:id="rId35"/>
  </p:sldMasterIdLst>
  <p:notesMasterIdLst>
    <p:notesMasterId r:id="rId213"/>
  </p:notesMasterIdLst>
  <p:sldIdLst>
    <p:sldId id="2147481026" r:id="rId36"/>
    <p:sldId id="2147483436" r:id="rId37"/>
    <p:sldId id="258" r:id="rId38"/>
    <p:sldId id="304" r:id="rId39"/>
    <p:sldId id="2147483573" r:id="rId40"/>
    <p:sldId id="2147481028" r:id="rId41"/>
    <p:sldId id="3173" r:id="rId42"/>
    <p:sldId id="2147481029" r:id="rId43"/>
    <p:sldId id="266" r:id="rId44"/>
    <p:sldId id="2147481039" r:id="rId45"/>
    <p:sldId id="303" r:id="rId46"/>
    <p:sldId id="2147483439" r:id="rId47"/>
    <p:sldId id="306" r:id="rId48"/>
    <p:sldId id="2147481048" r:id="rId49"/>
    <p:sldId id="2147483454" r:id="rId50"/>
    <p:sldId id="2147377062" r:id="rId51"/>
    <p:sldId id="2147483494" r:id="rId52"/>
    <p:sldId id="2147483482" r:id="rId53"/>
    <p:sldId id="298" r:id="rId54"/>
    <p:sldId id="754" r:id="rId55"/>
    <p:sldId id="300" r:id="rId56"/>
    <p:sldId id="2147471115" r:id="rId57"/>
    <p:sldId id="321" r:id="rId58"/>
    <p:sldId id="2145706316" r:id="rId59"/>
    <p:sldId id="1013" r:id="rId60"/>
    <p:sldId id="2147483483" r:id="rId61"/>
    <p:sldId id="261" r:id="rId62"/>
    <p:sldId id="2147483484" r:id="rId63"/>
    <p:sldId id="267" r:id="rId64"/>
    <p:sldId id="2147483485" r:id="rId65"/>
    <p:sldId id="2147483486" r:id="rId66"/>
    <p:sldId id="2147483487" r:id="rId67"/>
    <p:sldId id="2147483489" r:id="rId68"/>
    <p:sldId id="2147483490" r:id="rId69"/>
    <p:sldId id="2147483488" r:id="rId70"/>
    <p:sldId id="2147483491" r:id="rId71"/>
    <p:sldId id="262" r:id="rId72"/>
    <p:sldId id="2147483492" r:id="rId73"/>
    <p:sldId id="2147483493" r:id="rId74"/>
    <p:sldId id="260" r:id="rId75"/>
    <p:sldId id="263" r:id="rId76"/>
    <p:sldId id="265" r:id="rId77"/>
    <p:sldId id="305" r:id="rId78"/>
    <p:sldId id="318" r:id="rId79"/>
    <p:sldId id="2147483592" r:id="rId80"/>
    <p:sldId id="2071591055" r:id="rId81"/>
    <p:sldId id="2071591057" r:id="rId82"/>
    <p:sldId id="257" r:id="rId83"/>
    <p:sldId id="2147483593" r:id="rId84"/>
    <p:sldId id="2147483594" r:id="rId85"/>
    <p:sldId id="259" r:id="rId86"/>
    <p:sldId id="2147483595" r:id="rId87"/>
    <p:sldId id="2147483596" r:id="rId88"/>
    <p:sldId id="2147483597" r:id="rId89"/>
    <p:sldId id="264" r:id="rId90"/>
    <p:sldId id="2071591059" r:id="rId91"/>
    <p:sldId id="2147483598" r:id="rId92"/>
    <p:sldId id="2147483599" r:id="rId93"/>
    <p:sldId id="2147483600" r:id="rId94"/>
    <p:sldId id="2071590980" r:id="rId95"/>
    <p:sldId id="2071591058" r:id="rId96"/>
    <p:sldId id="2147483601" r:id="rId97"/>
    <p:sldId id="2147483602" r:id="rId98"/>
    <p:sldId id="2147483603" r:id="rId99"/>
    <p:sldId id="307" r:id="rId100"/>
    <p:sldId id="2147376739" r:id="rId101"/>
    <p:sldId id="2147483604" r:id="rId102"/>
    <p:sldId id="2135714616" r:id="rId103"/>
    <p:sldId id="2135714477" r:id="rId104"/>
    <p:sldId id="2135714478" r:id="rId105"/>
    <p:sldId id="2135714479" r:id="rId106"/>
    <p:sldId id="2147483605" r:id="rId107"/>
    <p:sldId id="2135714507" r:id="rId108"/>
    <p:sldId id="2135714633" r:id="rId109"/>
    <p:sldId id="2147483554" r:id="rId110"/>
    <p:sldId id="2147483563" r:id="rId111"/>
    <p:sldId id="278" r:id="rId112"/>
    <p:sldId id="2135714528" r:id="rId113"/>
    <p:sldId id="2135714624" r:id="rId114"/>
    <p:sldId id="2147482062" r:id="rId115"/>
    <p:sldId id="2147483566" r:id="rId116"/>
    <p:sldId id="2135714491" r:id="rId117"/>
    <p:sldId id="2135714493" r:id="rId118"/>
    <p:sldId id="2147374151" r:id="rId119"/>
    <p:sldId id="2147483575" r:id="rId120"/>
    <p:sldId id="2147483576" r:id="rId121"/>
    <p:sldId id="2135714638" r:id="rId122"/>
    <p:sldId id="2135715406" r:id="rId123"/>
    <p:sldId id="2135715407" r:id="rId124"/>
    <p:sldId id="2147483564" r:id="rId125"/>
    <p:sldId id="2147374149" r:id="rId126"/>
    <p:sldId id="2147483572" r:id="rId127"/>
    <p:sldId id="2147483569" r:id="rId128"/>
    <p:sldId id="2147483574" r:id="rId129"/>
    <p:sldId id="308" r:id="rId130"/>
    <p:sldId id="277" r:id="rId131"/>
    <p:sldId id="279" r:id="rId132"/>
    <p:sldId id="391" r:id="rId133"/>
    <p:sldId id="2147377060" r:id="rId134"/>
    <p:sldId id="2147475508" r:id="rId135"/>
    <p:sldId id="7908" r:id="rId136"/>
    <p:sldId id="7901" r:id="rId137"/>
    <p:sldId id="2147475510" r:id="rId138"/>
    <p:sldId id="299" r:id="rId139"/>
    <p:sldId id="301" r:id="rId140"/>
    <p:sldId id="302" r:id="rId141"/>
    <p:sldId id="280" r:id="rId142"/>
    <p:sldId id="287" r:id="rId143"/>
    <p:sldId id="2147376609" r:id="rId144"/>
    <p:sldId id="281" r:id="rId145"/>
    <p:sldId id="2147483571" r:id="rId146"/>
    <p:sldId id="282" r:id="rId147"/>
    <p:sldId id="2147481942" r:id="rId148"/>
    <p:sldId id="283" r:id="rId149"/>
    <p:sldId id="2147475505" r:id="rId150"/>
    <p:sldId id="284" r:id="rId151"/>
    <p:sldId id="285" r:id="rId152"/>
    <p:sldId id="2147481944" r:id="rId153"/>
    <p:sldId id="2147481943" r:id="rId154"/>
    <p:sldId id="2147475509" r:id="rId155"/>
    <p:sldId id="309" r:id="rId156"/>
    <p:sldId id="288" r:id="rId157"/>
    <p:sldId id="289" r:id="rId158"/>
    <p:sldId id="2147475003" r:id="rId159"/>
    <p:sldId id="290" r:id="rId160"/>
    <p:sldId id="473" r:id="rId161"/>
    <p:sldId id="477" r:id="rId162"/>
    <p:sldId id="479" r:id="rId163"/>
    <p:sldId id="483" r:id="rId164"/>
    <p:sldId id="481" r:id="rId165"/>
    <p:sldId id="485" r:id="rId166"/>
    <p:sldId id="2147474999" r:id="rId167"/>
    <p:sldId id="2147475006" r:id="rId168"/>
    <p:sldId id="2147475007" r:id="rId169"/>
    <p:sldId id="2147475008" r:id="rId170"/>
    <p:sldId id="2147475009" r:id="rId171"/>
    <p:sldId id="2147475010" r:id="rId172"/>
    <p:sldId id="2147475011" r:id="rId173"/>
    <p:sldId id="2147475014" r:id="rId174"/>
    <p:sldId id="291" r:id="rId175"/>
    <p:sldId id="2147475015" r:id="rId176"/>
    <p:sldId id="2147475016" r:id="rId177"/>
    <p:sldId id="2147475017" r:id="rId178"/>
    <p:sldId id="292" r:id="rId179"/>
    <p:sldId id="293" r:id="rId180"/>
    <p:sldId id="294" r:id="rId181"/>
    <p:sldId id="296" r:id="rId182"/>
    <p:sldId id="297" r:id="rId183"/>
    <p:sldId id="2147475018" r:id="rId184"/>
    <p:sldId id="310" r:id="rId185"/>
    <p:sldId id="286" r:id="rId186"/>
    <p:sldId id="2147483647" r:id="rId187"/>
    <p:sldId id="2135714607" r:id="rId188"/>
    <p:sldId id="295" r:id="rId189"/>
    <p:sldId id="256" r:id="rId190"/>
    <p:sldId id="2134959205" r:id="rId191"/>
    <p:sldId id="2134959208" r:id="rId192"/>
    <p:sldId id="2134959211" r:id="rId193"/>
    <p:sldId id="2134959212" r:id="rId194"/>
    <p:sldId id="2134959214" r:id="rId195"/>
    <p:sldId id="2134959304" r:id="rId196"/>
    <p:sldId id="2134959219" r:id="rId197"/>
    <p:sldId id="268" r:id="rId198"/>
    <p:sldId id="269" r:id="rId199"/>
    <p:sldId id="2147482534" r:id="rId200"/>
    <p:sldId id="729" r:id="rId201"/>
    <p:sldId id="730" r:id="rId202"/>
    <p:sldId id="731" r:id="rId203"/>
    <p:sldId id="270" r:id="rId204"/>
    <p:sldId id="2147471230" r:id="rId205"/>
    <p:sldId id="272" r:id="rId206"/>
    <p:sldId id="273" r:id="rId207"/>
    <p:sldId id="274" r:id="rId208"/>
    <p:sldId id="275" r:id="rId209"/>
    <p:sldId id="276" r:id="rId210"/>
    <p:sldId id="311" r:id="rId211"/>
    <p:sldId id="271" r:id="rId2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5153"/>
    <a:srgbClr val="002656"/>
    <a:srgbClr val="FF9300"/>
    <a:srgbClr val="FF40FF"/>
    <a:srgbClr val="F1763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433"/>
    <p:restoredTop sz="94620"/>
  </p:normalViewPr>
  <p:slideViewPr>
    <p:cSldViewPr snapToGrid="0" snapToObjects="1">
      <p:cViewPr varScale="1">
        <p:scale>
          <a:sx n="180" d="100"/>
          <a:sy n="180" d="100"/>
        </p:scale>
        <p:origin x="208" y="200"/>
      </p:cViewPr>
      <p:guideLst/>
    </p:cSldViewPr>
  </p:slideViewPr>
  <p:notesTextViewPr>
    <p:cViewPr>
      <p:scale>
        <a:sx n="1" d="1"/>
        <a:sy n="1" d="1"/>
      </p:scale>
      <p:origin x="0" y="0"/>
    </p:cViewPr>
  </p:notesTextViewPr>
  <p:sorterViewPr>
    <p:cViewPr>
      <p:scale>
        <a:sx n="150" d="100"/>
        <a:sy n="150" d="100"/>
      </p:scale>
      <p:origin x="0" y="0"/>
    </p:cViewPr>
  </p:sorter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82.xml"/><Relationship Id="rId21" Type="http://schemas.openxmlformats.org/officeDocument/2006/relationships/slideMaster" Target="slideMasters/slideMaster18.xml"/><Relationship Id="rId42" Type="http://schemas.openxmlformats.org/officeDocument/2006/relationships/slide" Target="slides/slide7.xml"/><Relationship Id="rId63" Type="http://schemas.openxmlformats.org/officeDocument/2006/relationships/slide" Target="slides/slide28.xml"/><Relationship Id="rId84" Type="http://schemas.openxmlformats.org/officeDocument/2006/relationships/slide" Target="slides/slide49.xml"/><Relationship Id="rId138" Type="http://schemas.openxmlformats.org/officeDocument/2006/relationships/slide" Target="slides/slide103.xml"/><Relationship Id="rId159" Type="http://schemas.openxmlformats.org/officeDocument/2006/relationships/slide" Target="slides/slide124.xml"/><Relationship Id="rId170" Type="http://schemas.openxmlformats.org/officeDocument/2006/relationships/slide" Target="slides/slide135.xml"/><Relationship Id="rId191" Type="http://schemas.openxmlformats.org/officeDocument/2006/relationships/slide" Target="slides/slide156.xml"/><Relationship Id="rId205" Type="http://schemas.openxmlformats.org/officeDocument/2006/relationships/slide" Target="slides/slide170.xml"/><Relationship Id="rId107" Type="http://schemas.openxmlformats.org/officeDocument/2006/relationships/slide" Target="slides/slide72.xml"/><Relationship Id="rId11" Type="http://schemas.openxmlformats.org/officeDocument/2006/relationships/slideMaster" Target="slideMasters/slideMaster8.xml"/><Relationship Id="rId32" Type="http://schemas.openxmlformats.org/officeDocument/2006/relationships/slideMaster" Target="slideMasters/slideMaster29.xml"/><Relationship Id="rId53" Type="http://schemas.openxmlformats.org/officeDocument/2006/relationships/slide" Target="slides/slide18.xml"/><Relationship Id="rId74" Type="http://schemas.openxmlformats.org/officeDocument/2006/relationships/slide" Target="slides/slide39.xml"/><Relationship Id="rId128" Type="http://schemas.openxmlformats.org/officeDocument/2006/relationships/slide" Target="slides/slide93.xml"/><Relationship Id="rId149" Type="http://schemas.openxmlformats.org/officeDocument/2006/relationships/slide" Target="slides/slide114.xml"/><Relationship Id="rId5" Type="http://schemas.openxmlformats.org/officeDocument/2006/relationships/slideMaster" Target="slideMasters/slideMaster2.xml"/><Relationship Id="rId95" Type="http://schemas.openxmlformats.org/officeDocument/2006/relationships/slide" Target="slides/slide60.xml"/><Relationship Id="rId160" Type="http://schemas.openxmlformats.org/officeDocument/2006/relationships/slide" Target="slides/slide125.xml"/><Relationship Id="rId181" Type="http://schemas.openxmlformats.org/officeDocument/2006/relationships/slide" Target="slides/slide146.xml"/><Relationship Id="rId216" Type="http://schemas.openxmlformats.org/officeDocument/2006/relationships/theme" Target="theme/theme1.xml"/><Relationship Id="rId22" Type="http://schemas.openxmlformats.org/officeDocument/2006/relationships/slideMaster" Target="slideMasters/slideMaster19.xml"/><Relationship Id="rId43" Type="http://schemas.openxmlformats.org/officeDocument/2006/relationships/slide" Target="slides/slide8.xml"/><Relationship Id="rId64" Type="http://schemas.openxmlformats.org/officeDocument/2006/relationships/slide" Target="slides/slide29.xml"/><Relationship Id="rId118" Type="http://schemas.openxmlformats.org/officeDocument/2006/relationships/slide" Target="slides/slide83.xml"/><Relationship Id="rId139" Type="http://schemas.openxmlformats.org/officeDocument/2006/relationships/slide" Target="slides/slide104.xml"/><Relationship Id="rId85" Type="http://schemas.openxmlformats.org/officeDocument/2006/relationships/slide" Target="slides/slide50.xml"/><Relationship Id="rId150" Type="http://schemas.openxmlformats.org/officeDocument/2006/relationships/slide" Target="slides/slide115.xml"/><Relationship Id="rId171" Type="http://schemas.openxmlformats.org/officeDocument/2006/relationships/slide" Target="slides/slide136.xml"/><Relationship Id="rId192" Type="http://schemas.openxmlformats.org/officeDocument/2006/relationships/slide" Target="slides/slide157.xml"/><Relationship Id="rId206" Type="http://schemas.openxmlformats.org/officeDocument/2006/relationships/slide" Target="slides/slide171.xml"/><Relationship Id="rId12" Type="http://schemas.openxmlformats.org/officeDocument/2006/relationships/slideMaster" Target="slideMasters/slideMaster9.xml"/><Relationship Id="rId33" Type="http://schemas.openxmlformats.org/officeDocument/2006/relationships/slideMaster" Target="slideMasters/slideMaster30.xml"/><Relationship Id="rId108" Type="http://schemas.openxmlformats.org/officeDocument/2006/relationships/slide" Target="slides/slide73.xml"/><Relationship Id="rId129" Type="http://schemas.openxmlformats.org/officeDocument/2006/relationships/slide" Target="slides/slide94.xml"/><Relationship Id="rId54" Type="http://schemas.openxmlformats.org/officeDocument/2006/relationships/slide" Target="slides/slide19.xml"/><Relationship Id="rId75" Type="http://schemas.openxmlformats.org/officeDocument/2006/relationships/slide" Target="slides/slide40.xml"/><Relationship Id="rId96" Type="http://schemas.openxmlformats.org/officeDocument/2006/relationships/slide" Target="slides/slide61.xml"/><Relationship Id="rId140" Type="http://schemas.openxmlformats.org/officeDocument/2006/relationships/slide" Target="slides/slide105.xml"/><Relationship Id="rId161" Type="http://schemas.openxmlformats.org/officeDocument/2006/relationships/slide" Target="slides/slide126.xml"/><Relationship Id="rId182" Type="http://schemas.openxmlformats.org/officeDocument/2006/relationships/slide" Target="slides/slide147.xml"/><Relationship Id="rId217" Type="http://schemas.openxmlformats.org/officeDocument/2006/relationships/tableStyles" Target="tableStyles.xml"/><Relationship Id="rId6" Type="http://schemas.openxmlformats.org/officeDocument/2006/relationships/slideMaster" Target="slideMasters/slideMaster3.xml"/><Relationship Id="rId23" Type="http://schemas.openxmlformats.org/officeDocument/2006/relationships/slideMaster" Target="slideMasters/slideMaster20.xml"/><Relationship Id="rId119" Type="http://schemas.openxmlformats.org/officeDocument/2006/relationships/slide" Target="slides/slide84.xml"/><Relationship Id="rId44" Type="http://schemas.openxmlformats.org/officeDocument/2006/relationships/slide" Target="slides/slide9.xml"/><Relationship Id="rId65" Type="http://schemas.openxmlformats.org/officeDocument/2006/relationships/slide" Target="slides/slide30.xml"/><Relationship Id="rId86" Type="http://schemas.openxmlformats.org/officeDocument/2006/relationships/slide" Target="slides/slide51.xml"/><Relationship Id="rId130" Type="http://schemas.openxmlformats.org/officeDocument/2006/relationships/slide" Target="slides/slide95.xml"/><Relationship Id="rId151" Type="http://schemas.openxmlformats.org/officeDocument/2006/relationships/slide" Target="slides/slide116.xml"/><Relationship Id="rId172" Type="http://schemas.openxmlformats.org/officeDocument/2006/relationships/slide" Target="slides/slide137.xml"/><Relationship Id="rId193" Type="http://schemas.openxmlformats.org/officeDocument/2006/relationships/slide" Target="slides/slide158.xml"/><Relationship Id="rId207" Type="http://schemas.openxmlformats.org/officeDocument/2006/relationships/slide" Target="slides/slide172.xml"/><Relationship Id="rId13" Type="http://schemas.openxmlformats.org/officeDocument/2006/relationships/slideMaster" Target="slideMasters/slideMaster10.xml"/><Relationship Id="rId109" Type="http://schemas.openxmlformats.org/officeDocument/2006/relationships/slide" Target="slides/slide74.xml"/><Relationship Id="rId34" Type="http://schemas.openxmlformats.org/officeDocument/2006/relationships/slideMaster" Target="slideMasters/slideMaster31.xml"/><Relationship Id="rId55" Type="http://schemas.openxmlformats.org/officeDocument/2006/relationships/slide" Target="slides/slide20.xml"/><Relationship Id="rId76" Type="http://schemas.openxmlformats.org/officeDocument/2006/relationships/slide" Target="slides/slide41.xml"/><Relationship Id="rId97" Type="http://schemas.openxmlformats.org/officeDocument/2006/relationships/slide" Target="slides/slide62.xml"/><Relationship Id="rId120" Type="http://schemas.openxmlformats.org/officeDocument/2006/relationships/slide" Target="slides/slide85.xml"/><Relationship Id="rId141" Type="http://schemas.openxmlformats.org/officeDocument/2006/relationships/slide" Target="slides/slide106.xml"/><Relationship Id="rId7" Type="http://schemas.openxmlformats.org/officeDocument/2006/relationships/slideMaster" Target="slideMasters/slideMaster4.xml"/><Relationship Id="rId162" Type="http://schemas.openxmlformats.org/officeDocument/2006/relationships/slide" Target="slides/slide127.xml"/><Relationship Id="rId183" Type="http://schemas.openxmlformats.org/officeDocument/2006/relationships/slide" Target="slides/slide148.xml"/><Relationship Id="rId24" Type="http://schemas.openxmlformats.org/officeDocument/2006/relationships/slideMaster" Target="slideMasters/slideMaster21.xml"/><Relationship Id="rId45" Type="http://schemas.openxmlformats.org/officeDocument/2006/relationships/slide" Target="slides/slide10.xml"/><Relationship Id="rId66" Type="http://schemas.openxmlformats.org/officeDocument/2006/relationships/slide" Target="slides/slide31.xml"/><Relationship Id="rId87" Type="http://schemas.openxmlformats.org/officeDocument/2006/relationships/slide" Target="slides/slide52.xml"/><Relationship Id="rId110" Type="http://schemas.openxmlformats.org/officeDocument/2006/relationships/slide" Target="slides/slide75.xml"/><Relationship Id="rId131" Type="http://schemas.openxmlformats.org/officeDocument/2006/relationships/slide" Target="slides/slide96.xml"/><Relationship Id="rId152" Type="http://schemas.openxmlformats.org/officeDocument/2006/relationships/slide" Target="slides/slide117.xml"/><Relationship Id="rId173" Type="http://schemas.openxmlformats.org/officeDocument/2006/relationships/slide" Target="slides/slide138.xml"/><Relationship Id="rId194" Type="http://schemas.openxmlformats.org/officeDocument/2006/relationships/slide" Target="slides/slide159.xml"/><Relationship Id="rId208" Type="http://schemas.openxmlformats.org/officeDocument/2006/relationships/slide" Target="slides/slide173.xml"/><Relationship Id="rId14" Type="http://schemas.openxmlformats.org/officeDocument/2006/relationships/slideMaster" Target="slideMasters/slideMaster11.xml"/><Relationship Id="rId30" Type="http://schemas.openxmlformats.org/officeDocument/2006/relationships/slideMaster" Target="slideMasters/slideMaster27.xml"/><Relationship Id="rId35" Type="http://schemas.openxmlformats.org/officeDocument/2006/relationships/slideMaster" Target="slideMasters/slideMaster32.xml"/><Relationship Id="rId56" Type="http://schemas.openxmlformats.org/officeDocument/2006/relationships/slide" Target="slides/slide21.xml"/><Relationship Id="rId77" Type="http://schemas.openxmlformats.org/officeDocument/2006/relationships/slide" Target="slides/slide42.xml"/><Relationship Id="rId100" Type="http://schemas.openxmlformats.org/officeDocument/2006/relationships/slide" Target="slides/slide65.xml"/><Relationship Id="rId105" Type="http://schemas.openxmlformats.org/officeDocument/2006/relationships/slide" Target="slides/slide70.xml"/><Relationship Id="rId126" Type="http://schemas.openxmlformats.org/officeDocument/2006/relationships/slide" Target="slides/slide91.xml"/><Relationship Id="rId147" Type="http://schemas.openxmlformats.org/officeDocument/2006/relationships/slide" Target="slides/slide112.xml"/><Relationship Id="rId168" Type="http://schemas.openxmlformats.org/officeDocument/2006/relationships/slide" Target="slides/slide133.xml"/><Relationship Id="rId8" Type="http://schemas.openxmlformats.org/officeDocument/2006/relationships/slideMaster" Target="slideMasters/slideMaster5.xml"/><Relationship Id="rId51" Type="http://schemas.openxmlformats.org/officeDocument/2006/relationships/slide" Target="slides/slide16.xml"/><Relationship Id="rId72" Type="http://schemas.openxmlformats.org/officeDocument/2006/relationships/slide" Target="slides/slide37.xml"/><Relationship Id="rId93" Type="http://schemas.openxmlformats.org/officeDocument/2006/relationships/slide" Target="slides/slide58.xml"/><Relationship Id="rId98" Type="http://schemas.openxmlformats.org/officeDocument/2006/relationships/slide" Target="slides/slide63.xml"/><Relationship Id="rId121" Type="http://schemas.openxmlformats.org/officeDocument/2006/relationships/slide" Target="slides/slide86.xml"/><Relationship Id="rId142" Type="http://schemas.openxmlformats.org/officeDocument/2006/relationships/slide" Target="slides/slide107.xml"/><Relationship Id="rId163" Type="http://schemas.openxmlformats.org/officeDocument/2006/relationships/slide" Target="slides/slide128.xml"/><Relationship Id="rId184" Type="http://schemas.openxmlformats.org/officeDocument/2006/relationships/slide" Target="slides/slide149.xml"/><Relationship Id="rId189" Type="http://schemas.openxmlformats.org/officeDocument/2006/relationships/slide" Target="slides/slide154.xml"/><Relationship Id="rId3" Type="http://schemas.openxmlformats.org/officeDocument/2006/relationships/customXml" Target="../customXml/item3.xml"/><Relationship Id="rId214" Type="http://schemas.openxmlformats.org/officeDocument/2006/relationships/presProps" Target="presProps.xml"/><Relationship Id="rId25" Type="http://schemas.openxmlformats.org/officeDocument/2006/relationships/slideMaster" Target="slideMasters/slideMaster22.xml"/><Relationship Id="rId46" Type="http://schemas.openxmlformats.org/officeDocument/2006/relationships/slide" Target="slides/slide11.xml"/><Relationship Id="rId67" Type="http://schemas.openxmlformats.org/officeDocument/2006/relationships/slide" Target="slides/slide32.xml"/><Relationship Id="rId116" Type="http://schemas.openxmlformats.org/officeDocument/2006/relationships/slide" Target="slides/slide81.xml"/><Relationship Id="rId137" Type="http://schemas.openxmlformats.org/officeDocument/2006/relationships/slide" Target="slides/slide102.xml"/><Relationship Id="rId158" Type="http://schemas.openxmlformats.org/officeDocument/2006/relationships/slide" Target="slides/slide123.xml"/><Relationship Id="rId20" Type="http://schemas.openxmlformats.org/officeDocument/2006/relationships/slideMaster" Target="slideMasters/slideMaster17.xml"/><Relationship Id="rId41" Type="http://schemas.openxmlformats.org/officeDocument/2006/relationships/slide" Target="slides/slide6.xml"/><Relationship Id="rId62" Type="http://schemas.openxmlformats.org/officeDocument/2006/relationships/slide" Target="slides/slide27.xml"/><Relationship Id="rId83" Type="http://schemas.openxmlformats.org/officeDocument/2006/relationships/slide" Target="slides/slide48.xml"/><Relationship Id="rId88" Type="http://schemas.openxmlformats.org/officeDocument/2006/relationships/slide" Target="slides/slide53.xml"/><Relationship Id="rId111" Type="http://schemas.openxmlformats.org/officeDocument/2006/relationships/slide" Target="slides/slide76.xml"/><Relationship Id="rId132" Type="http://schemas.openxmlformats.org/officeDocument/2006/relationships/slide" Target="slides/slide97.xml"/><Relationship Id="rId153" Type="http://schemas.openxmlformats.org/officeDocument/2006/relationships/slide" Target="slides/slide118.xml"/><Relationship Id="rId174" Type="http://schemas.openxmlformats.org/officeDocument/2006/relationships/slide" Target="slides/slide139.xml"/><Relationship Id="rId179" Type="http://schemas.openxmlformats.org/officeDocument/2006/relationships/slide" Target="slides/slide144.xml"/><Relationship Id="rId195" Type="http://schemas.openxmlformats.org/officeDocument/2006/relationships/slide" Target="slides/slide160.xml"/><Relationship Id="rId209" Type="http://schemas.openxmlformats.org/officeDocument/2006/relationships/slide" Target="slides/slide174.xml"/><Relationship Id="rId190" Type="http://schemas.openxmlformats.org/officeDocument/2006/relationships/slide" Target="slides/slide155.xml"/><Relationship Id="rId204" Type="http://schemas.openxmlformats.org/officeDocument/2006/relationships/slide" Target="slides/slide169.xml"/><Relationship Id="rId15" Type="http://schemas.openxmlformats.org/officeDocument/2006/relationships/slideMaster" Target="slideMasters/slideMaster12.xml"/><Relationship Id="rId36" Type="http://schemas.openxmlformats.org/officeDocument/2006/relationships/slide" Target="slides/slide1.xml"/><Relationship Id="rId57" Type="http://schemas.openxmlformats.org/officeDocument/2006/relationships/slide" Target="slides/slide22.xml"/><Relationship Id="rId106" Type="http://schemas.openxmlformats.org/officeDocument/2006/relationships/slide" Target="slides/slide71.xml"/><Relationship Id="rId127" Type="http://schemas.openxmlformats.org/officeDocument/2006/relationships/slide" Target="slides/slide92.xml"/><Relationship Id="rId10" Type="http://schemas.openxmlformats.org/officeDocument/2006/relationships/slideMaster" Target="slideMasters/slideMaster7.xml"/><Relationship Id="rId31" Type="http://schemas.openxmlformats.org/officeDocument/2006/relationships/slideMaster" Target="slideMasters/slideMaster28.xml"/><Relationship Id="rId52" Type="http://schemas.openxmlformats.org/officeDocument/2006/relationships/slide" Target="slides/slide17.xml"/><Relationship Id="rId73" Type="http://schemas.openxmlformats.org/officeDocument/2006/relationships/slide" Target="slides/slide38.xml"/><Relationship Id="rId78" Type="http://schemas.openxmlformats.org/officeDocument/2006/relationships/slide" Target="slides/slide43.xml"/><Relationship Id="rId94" Type="http://schemas.openxmlformats.org/officeDocument/2006/relationships/slide" Target="slides/slide59.xml"/><Relationship Id="rId99" Type="http://schemas.openxmlformats.org/officeDocument/2006/relationships/slide" Target="slides/slide64.xml"/><Relationship Id="rId101" Type="http://schemas.openxmlformats.org/officeDocument/2006/relationships/slide" Target="slides/slide66.xml"/><Relationship Id="rId122" Type="http://schemas.openxmlformats.org/officeDocument/2006/relationships/slide" Target="slides/slide87.xml"/><Relationship Id="rId143" Type="http://schemas.openxmlformats.org/officeDocument/2006/relationships/slide" Target="slides/slide108.xml"/><Relationship Id="rId148" Type="http://schemas.openxmlformats.org/officeDocument/2006/relationships/slide" Target="slides/slide113.xml"/><Relationship Id="rId164" Type="http://schemas.openxmlformats.org/officeDocument/2006/relationships/slide" Target="slides/slide129.xml"/><Relationship Id="rId169" Type="http://schemas.openxmlformats.org/officeDocument/2006/relationships/slide" Target="slides/slide134.xml"/><Relationship Id="rId185" Type="http://schemas.openxmlformats.org/officeDocument/2006/relationships/slide" Target="slides/slide150.xml"/><Relationship Id="rId4" Type="http://schemas.openxmlformats.org/officeDocument/2006/relationships/slideMaster" Target="slideMasters/slideMaster1.xml"/><Relationship Id="rId9" Type="http://schemas.openxmlformats.org/officeDocument/2006/relationships/slideMaster" Target="slideMasters/slideMaster6.xml"/><Relationship Id="rId180" Type="http://schemas.openxmlformats.org/officeDocument/2006/relationships/slide" Target="slides/slide145.xml"/><Relationship Id="rId210" Type="http://schemas.openxmlformats.org/officeDocument/2006/relationships/slide" Target="slides/slide175.xml"/><Relationship Id="rId215" Type="http://schemas.openxmlformats.org/officeDocument/2006/relationships/viewProps" Target="viewProps.xml"/><Relationship Id="rId26" Type="http://schemas.openxmlformats.org/officeDocument/2006/relationships/slideMaster" Target="slideMasters/slideMaster23.xml"/><Relationship Id="rId47" Type="http://schemas.openxmlformats.org/officeDocument/2006/relationships/slide" Target="slides/slide12.xml"/><Relationship Id="rId68" Type="http://schemas.openxmlformats.org/officeDocument/2006/relationships/slide" Target="slides/slide33.xml"/><Relationship Id="rId89" Type="http://schemas.openxmlformats.org/officeDocument/2006/relationships/slide" Target="slides/slide54.xml"/><Relationship Id="rId112" Type="http://schemas.openxmlformats.org/officeDocument/2006/relationships/slide" Target="slides/slide77.xml"/><Relationship Id="rId133" Type="http://schemas.openxmlformats.org/officeDocument/2006/relationships/slide" Target="slides/slide98.xml"/><Relationship Id="rId154" Type="http://schemas.openxmlformats.org/officeDocument/2006/relationships/slide" Target="slides/slide119.xml"/><Relationship Id="rId175" Type="http://schemas.openxmlformats.org/officeDocument/2006/relationships/slide" Target="slides/slide140.xml"/><Relationship Id="rId196" Type="http://schemas.openxmlformats.org/officeDocument/2006/relationships/slide" Target="slides/slide161.xml"/><Relationship Id="rId200" Type="http://schemas.openxmlformats.org/officeDocument/2006/relationships/slide" Target="slides/slide165.xml"/><Relationship Id="rId16" Type="http://schemas.openxmlformats.org/officeDocument/2006/relationships/slideMaster" Target="slideMasters/slideMaster13.xml"/><Relationship Id="rId37" Type="http://schemas.openxmlformats.org/officeDocument/2006/relationships/slide" Target="slides/slide2.xml"/><Relationship Id="rId58" Type="http://schemas.openxmlformats.org/officeDocument/2006/relationships/slide" Target="slides/slide23.xml"/><Relationship Id="rId79" Type="http://schemas.openxmlformats.org/officeDocument/2006/relationships/slide" Target="slides/slide44.xml"/><Relationship Id="rId102" Type="http://schemas.openxmlformats.org/officeDocument/2006/relationships/slide" Target="slides/slide67.xml"/><Relationship Id="rId123" Type="http://schemas.openxmlformats.org/officeDocument/2006/relationships/slide" Target="slides/slide88.xml"/><Relationship Id="rId144" Type="http://schemas.openxmlformats.org/officeDocument/2006/relationships/slide" Target="slides/slide109.xml"/><Relationship Id="rId90" Type="http://schemas.openxmlformats.org/officeDocument/2006/relationships/slide" Target="slides/slide55.xml"/><Relationship Id="rId165" Type="http://schemas.openxmlformats.org/officeDocument/2006/relationships/slide" Target="slides/slide130.xml"/><Relationship Id="rId186" Type="http://schemas.openxmlformats.org/officeDocument/2006/relationships/slide" Target="slides/slide151.xml"/><Relationship Id="rId211" Type="http://schemas.openxmlformats.org/officeDocument/2006/relationships/slide" Target="slides/slide176.xml"/><Relationship Id="rId27" Type="http://schemas.openxmlformats.org/officeDocument/2006/relationships/slideMaster" Target="slideMasters/slideMaster24.xml"/><Relationship Id="rId48" Type="http://schemas.openxmlformats.org/officeDocument/2006/relationships/slide" Target="slides/slide13.xml"/><Relationship Id="rId69" Type="http://schemas.openxmlformats.org/officeDocument/2006/relationships/slide" Target="slides/slide34.xml"/><Relationship Id="rId113" Type="http://schemas.openxmlformats.org/officeDocument/2006/relationships/slide" Target="slides/slide78.xml"/><Relationship Id="rId134" Type="http://schemas.openxmlformats.org/officeDocument/2006/relationships/slide" Target="slides/slide99.xml"/><Relationship Id="rId80" Type="http://schemas.openxmlformats.org/officeDocument/2006/relationships/slide" Target="slides/slide45.xml"/><Relationship Id="rId155" Type="http://schemas.openxmlformats.org/officeDocument/2006/relationships/slide" Target="slides/slide120.xml"/><Relationship Id="rId176" Type="http://schemas.openxmlformats.org/officeDocument/2006/relationships/slide" Target="slides/slide141.xml"/><Relationship Id="rId197" Type="http://schemas.openxmlformats.org/officeDocument/2006/relationships/slide" Target="slides/slide162.xml"/><Relationship Id="rId201" Type="http://schemas.openxmlformats.org/officeDocument/2006/relationships/slide" Target="slides/slide166.xml"/><Relationship Id="rId17" Type="http://schemas.openxmlformats.org/officeDocument/2006/relationships/slideMaster" Target="slideMasters/slideMaster14.xml"/><Relationship Id="rId38" Type="http://schemas.openxmlformats.org/officeDocument/2006/relationships/slide" Target="slides/slide3.xml"/><Relationship Id="rId59" Type="http://schemas.openxmlformats.org/officeDocument/2006/relationships/slide" Target="slides/slide24.xml"/><Relationship Id="rId103" Type="http://schemas.openxmlformats.org/officeDocument/2006/relationships/slide" Target="slides/slide68.xml"/><Relationship Id="rId124" Type="http://schemas.openxmlformats.org/officeDocument/2006/relationships/slide" Target="slides/slide89.xml"/><Relationship Id="rId70" Type="http://schemas.openxmlformats.org/officeDocument/2006/relationships/slide" Target="slides/slide35.xml"/><Relationship Id="rId91" Type="http://schemas.openxmlformats.org/officeDocument/2006/relationships/slide" Target="slides/slide56.xml"/><Relationship Id="rId145" Type="http://schemas.openxmlformats.org/officeDocument/2006/relationships/slide" Target="slides/slide110.xml"/><Relationship Id="rId166" Type="http://schemas.openxmlformats.org/officeDocument/2006/relationships/slide" Target="slides/slide131.xml"/><Relationship Id="rId187" Type="http://schemas.openxmlformats.org/officeDocument/2006/relationships/slide" Target="slides/slide152.xml"/><Relationship Id="rId1" Type="http://schemas.openxmlformats.org/officeDocument/2006/relationships/customXml" Target="../customXml/item1.xml"/><Relationship Id="rId212" Type="http://schemas.openxmlformats.org/officeDocument/2006/relationships/slide" Target="slides/slide177.xml"/><Relationship Id="rId28" Type="http://schemas.openxmlformats.org/officeDocument/2006/relationships/slideMaster" Target="slideMasters/slideMaster25.xml"/><Relationship Id="rId49" Type="http://schemas.openxmlformats.org/officeDocument/2006/relationships/slide" Target="slides/slide14.xml"/><Relationship Id="rId114" Type="http://schemas.openxmlformats.org/officeDocument/2006/relationships/slide" Target="slides/slide79.xml"/><Relationship Id="rId60" Type="http://schemas.openxmlformats.org/officeDocument/2006/relationships/slide" Target="slides/slide25.xml"/><Relationship Id="rId81" Type="http://schemas.openxmlformats.org/officeDocument/2006/relationships/slide" Target="slides/slide46.xml"/><Relationship Id="rId135" Type="http://schemas.openxmlformats.org/officeDocument/2006/relationships/slide" Target="slides/slide100.xml"/><Relationship Id="rId156" Type="http://schemas.openxmlformats.org/officeDocument/2006/relationships/slide" Target="slides/slide121.xml"/><Relationship Id="rId177" Type="http://schemas.openxmlformats.org/officeDocument/2006/relationships/slide" Target="slides/slide142.xml"/><Relationship Id="rId198" Type="http://schemas.openxmlformats.org/officeDocument/2006/relationships/slide" Target="slides/slide163.xml"/><Relationship Id="rId202" Type="http://schemas.openxmlformats.org/officeDocument/2006/relationships/slide" Target="slides/slide167.xml"/><Relationship Id="rId18" Type="http://schemas.openxmlformats.org/officeDocument/2006/relationships/slideMaster" Target="slideMasters/slideMaster15.xml"/><Relationship Id="rId39" Type="http://schemas.openxmlformats.org/officeDocument/2006/relationships/slide" Target="slides/slide4.xml"/><Relationship Id="rId50" Type="http://schemas.openxmlformats.org/officeDocument/2006/relationships/slide" Target="slides/slide15.xml"/><Relationship Id="rId104" Type="http://schemas.openxmlformats.org/officeDocument/2006/relationships/slide" Target="slides/slide69.xml"/><Relationship Id="rId125" Type="http://schemas.openxmlformats.org/officeDocument/2006/relationships/slide" Target="slides/slide90.xml"/><Relationship Id="rId146" Type="http://schemas.openxmlformats.org/officeDocument/2006/relationships/slide" Target="slides/slide111.xml"/><Relationship Id="rId167" Type="http://schemas.openxmlformats.org/officeDocument/2006/relationships/slide" Target="slides/slide132.xml"/><Relationship Id="rId188" Type="http://schemas.openxmlformats.org/officeDocument/2006/relationships/slide" Target="slides/slide153.xml"/><Relationship Id="rId71" Type="http://schemas.openxmlformats.org/officeDocument/2006/relationships/slide" Target="slides/slide36.xml"/><Relationship Id="rId92" Type="http://schemas.openxmlformats.org/officeDocument/2006/relationships/slide" Target="slides/slide57.xml"/><Relationship Id="rId213" Type="http://schemas.openxmlformats.org/officeDocument/2006/relationships/notesMaster" Target="notesMasters/notesMaster1.xml"/><Relationship Id="rId2" Type="http://schemas.openxmlformats.org/officeDocument/2006/relationships/customXml" Target="../customXml/item2.xml"/><Relationship Id="rId29" Type="http://schemas.openxmlformats.org/officeDocument/2006/relationships/slideMaster" Target="slideMasters/slideMaster26.xml"/><Relationship Id="rId40" Type="http://schemas.openxmlformats.org/officeDocument/2006/relationships/slide" Target="slides/slide5.xml"/><Relationship Id="rId115" Type="http://schemas.openxmlformats.org/officeDocument/2006/relationships/slide" Target="slides/slide80.xml"/><Relationship Id="rId136" Type="http://schemas.openxmlformats.org/officeDocument/2006/relationships/slide" Target="slides/slide101.xml"/><Relationship Id="rId157" Type="http://schemas.openxmlformats.org/officeDocument/2006/relationships/slide" Target="slides/slide122.xml"/><Relationship Id="rId178" Type="http://schemas.openxmlformats.org/officeDocument/2006/relationships/slide" Target="slides/slide143.xml"/><Relationship Id="rId61" Type="http://schemas.openxmlformats.org/officeDocument/2006/relationships/slide" Target="slides/slide26.xml"/><Relationship Id="rId82" Type="http://schemas.openxmlformats.org/officeDocument/2006/relationships/slide" Target="slides/slide47.xml"/><Relationship Id="rId199" Type="http://schemas.openxmlformats.org/officeDocument/2006/relationships/slide" Target="slides/slide164.xml"/><Relationship Id="rId203" Type="http://schemas.openxmlformats.org/officeDocument/2006/relationships/slide" Target="slides/slide168.xml"/><Relationship Id="rId19" Type="http://schemas.openxmlformats.org/officeDocument/2006/relationships/slideMaster" Target="slideMasters/slideMaster1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package" Target="../embeddings/Microsoft_Excel_Worksheet8.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6.xlsx"/></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package" Target="../embeddings/Microsoft_Excel_Worksheet7.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Pola-R-CHP
(n=440)</c:v>
                </c:pt>
              </c:strCache>
            </c:strRef>
          </c:tx>
          <c:spPr>
            <a:solidFill>
              <a:srgbClr val="009963"/>
            </a:solidFill>
            <a:ln>
              <a:noFill/>
            </a:ln>
            <a:effectLst/>
          </c:spPr>
          <c:invertIfNegative val="0"/>
          <c:dLbls>
            <c:dLbl>
              <c:idx val="0"/>
              <c:layout>
                <c:manualLayout>
                  <c:x val="1.5967646279670432E-3"/>
                  <c:y val="1.3125348803560725E-2"/>
                </c:manualLayout>
              </c:layout>
              <c:tx>
                <c:rich>
                  <a:bodyPr/>
                  <a:lstStyle/>
                  <a:p>
                    <a:r>
                      <a:rPr lang="en-US" b="0" dirty="0">
                        <a:solidFill>
                          <a:schemeClr val="tx1"/>
                        </a:solidFill>
                      </a:rPr>
                      <a:t>n=</a:t>
                    </a:r>
                    <a:fld id="{6C197EFF-5A6E-414D-AD1A-CEE657891017}" type="VALUE">
                      <a:rPr lang="en-US" b="0" smtClean="0">
                        <a:solidFill>
                          <a:schemeClr val="tx1"/>
                        </a:solidFill>
                      </a:rPr>
                      <a:pPr/>
                      <a:t>[VALUE]</a:t>
                    </a:fld>
                    <a:endParaRPr lang="en-US" b="0" dirty="0">
                      <a:solidFill>
                        <a:schemeClr val="tx1"/>
                      </a:solidFill>
                    </a:endParaRPr>
                  </a:p>
                  <a:p>
                    <a:r>
                      <a:rPr lang="en-US" b="0" dirty="0">
                        <a:solidFill>
                          <a:schemeClr val="tx1"/>
                        </a:solidFill>
                      </a:rPr>
                      <a:t>38.3%</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028A-4002-85DF-D608F1AC9F52}"/>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General</c:formatCode>
                <c:ptCount val="1"/>
                <c:pt idx="0">
                  <c:v>209</c:v>
                </c:pt>
              </c:numCache>
            </c:numRef>
          </c:val>
          <c:extLst>
            <c:ext xmlns:c16="http://schemas.microsoft.com/office/drawing/2014/chart" uri="{C3380CC4-5D6E-409C-BE32-E72D297353CC}">
              <c16:uniqueId val="{00000000-028A-4002-85DF-D608F1AC9F52}"/>
            </c:ext>
          </c:extLst>
        </c:ser>
        <c:ser>
          <c:idx val="1"/>
          <c:order val="1"/>
          <c:tx>
            <c:strRef>
              <c:f>Sheet1!$C$1</c:f>
              <c:strCache>
                <c:ptCount val="1"/>
                <c:pt idx="0">
                  <c:v>R-CHOP
(n=439)</c:v>
                </c:pt>
              </c:strCache>
            </c:strRef>
          </c:tx>
          <c:spPr>
            <a:solidFill>
              <a:srgbClr val="0A41CD"/>
            </a:solidFill>
            <a:ln>
              <a:noFill/>
            </a:ln>
            <a:effectLst/>
          </c:spPr>
          <c:invertIfNegative val="0"/>
          <c:dLbls>
            <c:dLbl>
              <c:idx val="0"/>
              <c:layout>
                <c:manualLayout>
                  <c:x val="-1.5967646279670432E-3"/>
                  <c:y val="1.3125348803560725E-2"/>
                </c:manualLayout>
              </c:layout>
              <c:tx>
                <c:rich>
                  <a:bodyPr/>
                  <a:lstStyle/>
                  <a:p>
                    <a:r>
                      <a:rPr lang="en-US" b="0" dirty="0">
                        <a:solidFill>
                          <a:schemeClr val="tx1"/>
                        </a:solidFill>
                      </a:rPr>
                      <a:t>n=</a:t>
                    </a:r>
                    <a:fld id="{39332FDE-0174-4F86-9F1B-0BC6963C483B}" type="VALUE">
                      <a:rPr lang="en-US" b="0" smtClean="0">
                        <a:solidFill>
                          <a:schemeClr val="tx1"/>
                        </a:solidFill>
                      </a:rPr>
                      <a:pPr/>
                      <a:t>[VALUE]</a:t>
                    </a:fld>
                    <a:endParaRPr lang="en-US" b="0" dirty="0">
                      <a:solidFill>
                        <a:schemeClr val="tx1"/>
                      </a:solidFill>
                    </a:endParaRPr>
                  </a:p>
                  <a:p>
                    <a:r>
                      <a:rPr lang="en-US" b="0" dirty="0">
                        <a:solidFill>
                          <a:schemeClr val="tx1"/>
                        </a:solidFill>
                      </a:rPr>
                      <a:t>61.7%</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028A-4002-85DF-D608F1AC9F52}"/>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General</c:formatCode>
                <c:ptCount val="1"/>
                <c:pt idx="0">
                  <c:v>336</c:v>
                </c:pt>
              </c:numCache>
            </c:numRef>
          </c:val>
          <c:extLst>
            <c:ext xmlns:c16="http://schemas.microsoft.com/office/drawing/2014/chart" uri="{C3380CC4-5D6E-409C-BE32-E72D297353CC}">
              <c16:uniqueId val="{00000001-028A-4002-85DF-D608F1AC9F52}"/>
            </c:ext>
          </c:extLst>
        </c:ser>
        <c:dLbls>
          <c:dLblPos val="outEnd"/>
          <c:showLegendKey val="0"/>
          <c:showVal val="1"/>
          <c:showCatName val="0"/>
          <c:showSerName val="0"/>
          <c:showPercent val="0"/>
          <c:showBubbleSize val="0"/>
        </c:dLbls>
        <c:gapWidth val="97"/>
        <c:axId val="1201675663"/>
        <c:axId val="1201693903"/>
      </c:barChart>
      <c:catAx>
        <c:axId val="1201675663"/>
        <c:scaling>
          <c:orientation val="minMax"/>
        </c:scaling>
        <c:delete val="0"/>
        <c:axPos val="b"/>
        <c:numFmt formatCode="General" sourceLinked="1"/>
        <c:majorTickMark val="out"/>
        <c:minorTickMark val="out"/>
        <c:tickLblPos val="nextTo"/>
        <c:spPr>
          <a:noFill/>
          <a:ln w="12700" cap="flat" cmpd="sng" algn="ctr">
            <a:solidFill>
              <a:schemeClr val="tx1"/>
            </a:solidFill>
            <a:round/>
          </a:ln>
          <a:effectLst/>
        </c:spPr>
        <c:txPr>
          <a:bodyPr rot="-60000000" spcFirstLastPara="1" vertOverflow="ellipsis" vert="horz" wrap="square" anchor="ctr" anchorCtr="1"/>
          <a:lstStyle/>
          <a:p>
            <a:pPr>
              <a:defRPr sz="750" b="1" i="0" u="none" strike="noStrike" kern="1200" baseline="0">
                <a:solidFill>
                  <a:schemeClr val="tx1"/>
                </a:solidFill>
                <a:latin typeface="+mn-lt"/>
                <a:ea typeface="+mn-ea"/>
                <a:cs typeface="+mn-cs"/>
              </a:defRPr>
            </a:pPr>
            <a:endParaRPr lang="en-US"/>
          </a:p>
        </c:txPr>
        <c:crossAx val="1201693903"/>
        <c:crosses val="autoZero"/>
        <c:auto val="1"/>
        <c:lblAlgn val="ctr"/>
        <c:lblOffset val="100"/>
        <c:noMultiLvlLbl val="0"/>
      </c:catAx>
      <c:valAx>
        <c:axId val="1201693903"/>
        <c:scaling>
          <c:orientation val="minMax"/>
          <c:max val="400"/>
        </c:scaling>
        <c:delete val="0"/>
        <c:axPos val="l"/>
        <c:title>
          <c:tx>
            <c:rich>
              <a:bodyPr rot="-5400000" spcFirstLastPara="1" vertOverflow="ellipsis" vert="horz" wrap="square" anchor="ctr" anchorCtr="1"/>
              <a:lstStyle/>
              <a:p>
                <a:pPr>
                  <a:defRPr sz="750" b="1" i="0" u="none" strike="noStrike" kern="1200" baseline="0">
                    <a:solidFill>
                      <a:schemeClr val="tx1"/>
                    </a:solidFill>
                    <a:latin typeface="+mn-lt"/>
                    <a:ea typeface="+mn-ea"/>
                    <a:cs typeface="+mn-cs"/>
                  </a:defRPr>
                </a:pPr>
                <a:r>
                  <a:rPr lang="en-GB" sz="750" b="1" dirty="0">
                    <a:solidFill>
                      <a:schemeClr val="tx1"/>
                    </a:solidFill>
                  </a:rPr>
                  <a:t>Number of subsequent</a:t>
                </a:r>
                <a:r>
                  <a:rPr lang="en-GB" sz="750" b="1" baseline="0" dirty="0">
                    <a:solidFill>
                      <a:schemeClr val="tx1"/>
                    </a:solidFill>
                  </a:rPr>
                  <a:t> therapies</a:t>
                </a:r>
                <a:r>
                  <a:rPr lang="en-GB" sz="750" b="1" dirty="0">
                    <a:solidFill>
                      <a:schemeClr val="tx1"/>
                    </a:solidFill>
                  </a:rPr>
                  <a:t> </a:t>
                </a:r>
              </a:p>
            </c:rich>
          </c:tx>
          <c:layout>
            <c:manualLayout>
              <c:xMode val="edge"/>
              <c:yMode val="edge"/>
              <c:x val="4.2435927490539226E-2"/>
              <c:y val="0.18881623822680327"/>
            </c:manualLayout>
          </c:layout>
          <c:overlay val="0"/>
          <c:spPr>
            <a:noFill/>
            <a:ln>
              <a:noFill/>
            </a:ln>
            <a:effectLst/>
          </c:spPr>
          <c:txPr>
            <a:bodyPr rot="-5400000" spcFirstLastPara="1" vertOverflow="ellipsis" vert="horz" wrap="square" anchor="ctr" anchorCtr="1"/>
            <a:lstStyle/>
            <a:p>
              <a:pPr>
                <a:defRPr sz="750" b="1"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noFill/>
          <a:ln w="12700">
            <a:solidFill>
              <a:schemeClr val="tx1"/>
            </a:solidFill>
          </a:ln>
          <a:effectLst/>
        </c:spPr>
        <c:txPr>
          <a:bodyPr rot="-60000000" spcFirstLastPara="1" vertOverflow="ellipsis" vert="horz" wrap="square" anchor="ctr" anchorCtr="1"/>
          <a:lstStyle/>
          <a:p>
            <a:pPr>
              <a:defRPr sz="8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201675663"/>
        <c:crosses val="autoZero"/>
        <c:crossBetween val="between"/>
        <c:majorUnit val="5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96611477010751"/>
          <c:y val="9.486604356185134E-2"/>
          <c:w val="0.89338648068225357"/>
          <c:h val="0.67270601160206733"/>
        </c:manualLayout>
      </c:layout>
      <c:barChart>
        <c:barDir val="col"/>
        <c:grouping val="clustered"/>
        <c:varyColors val="0"/>
        <c:ser>
          <c:idx val="0"/>
          <c:order val="0"/>
          <c:tx>
            <c:strRef>
              <c:f>Sheet1!$B$1</c:f>
              <c:strCache>
                <c:ptCount val="1"/>
                <c:pt idx="0">
                  <c:v>B-cell aplasia</c:v>
                </c:pt>
              </c:strCache>
            </c:strRef>
          </c:tx>
          <c:spPr>
            <a:solidFill>
              <a:srgbClr val="C37900"/>
            </a:solidFill>
            <a:ln>
              <a:noFill/>
            </a:ln>
            <a:effectLst/>
          </c:spPr>
          <c:invertIfNegative val="0"/>
          <c:dLbls>
            <c:dLbl>
              <c:idx val="0"/>
              <c:tx>
                <c:rich>
                  <a:bodyPr/>
                  <a:lstStyle/>
                  <a:p>
                    <a:r>
                      <a:rPr lang="en-US"/>
                      <a:t>99</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FD9-4D5F-9429-3215C7609287}"/>
                </c:ext>
              </c:extLst>
            </c:dLbl>
            <c:dLbl>
              <c:idx val="2"/>
              <c:tx>
                <c:rich>
                  <a:bodyPr/>
                  <a:lstStyle/>
                  <a:p>
                    <a:r>
                      <a:rPr lang="en-US" dirty="0"/>
                      <a:t>97</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FD9-4D5F-9429-3215C7609287}"/>
                </c:ext>
              </c:extLst>
            </c:dLbl>
            <c:dLbl>
              <c:idx val="7"/>
              <c:tx>
                <c:rich>
                  <a:bodyPr/>
                  <a:lstStyle/>
                  <a:p>
                    <a:r>
                      <a:rPr lang="en-US" dirty="0"/>
                      <a:t>55</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FD9-4D5F-9429-3215C7609287}"/>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spc="-100" baseline="0">
                    <a:solidFill>
                      <a:srgbClr val="C37900"/>
                    </a:solidFill>
                    <a:latin typeface="Trebuchet MS" panose="020B0603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D0—D15</c:v>
                </c:pt>
                <c:pt idx="1">
                  <c:v>D16—D30</c:v>
                </c:pt>
                <c:pt idx="2">
                  <c:v>M2—M3</c:v>
                </c:pt>
                <c:pt idx="3">
                  <c:v>M4—M6</c:v>
                </c:pt>
                <c:pt idx="4">
                  <c:v>M7—M9</c:v>
                </c:pt>
                <c:pt idx="5">
                  <c:v>M10—M12</c:v>
                </c:pt>
                <c:pt idx="6">
                  <c:v>M13—M18</c:v>
                </c:pt>
                <c:pt idx="7">
                  <c:v>M19—M24</c:v>
                </c:pt>
                <c:pt idx="8">
                  <c:v>M25—M30</c:v>
                </c:pt>
                <c:pt idx="9">
                  <c:v>M31—M36</c:v>
                </c:pt>
                <c:pt idx="10">
                  <c:v>M37—EOS</c:v>
                </c:pt>
              </c:strCache>
            </c:strRef>
          </c:cat>
          <c:val>
            <c:numRef>
              <c:f>Sheet1!$B$2:$B$12</c:f>
              <c:numCache>
                <c:formatCode>General</c:formatCode>
                <c:ptCount val="11"/>
                <c:pt idx="0">
                  <c:v>99.1</c:v>
                </c:pt>
                <c:pt idx="1">
                  <c:v>100</c:v>
                </c:pt>
                <c:pt idx="2">
                  <c:v>97</c:v>
                </c:pt>
                <c:pt idx="3">
                  <c:v>80.2</c:v>
                </c:pt>
                <c:pt idx="4">
                  <c:v>68.8</c:v>
                </c:pt>
                <c:pt idx="5">
                  <c:v>68.900000000000006</c:v>
                </c:pt>
                <c:pt idx="6">
                  <c:v>63</c:v>
                </c:pt>
                <c:pt idx="7">
                  <c:v>54.5</c:v>
                </c:pt>
                <c:pt idx="8">
                  <c:v>70.599999999999994</c:v>
                </c:pt>
                <c:pt idx="9">
                  <c:v>43.3</c:v>
                </c:pt>
                <c:pt idx="10">
                  <c:v>51</c:v>
                </c:pt>
              </c:numCache>
            </c:numRef>
          </c:val>
          <c:extLst>
            <c:ext xmlns:c16="http://schemas.microsoft.com/office/drawing/2014/chart" uri="{C3380CC4-5D6E-409C-BE32-E72D297353CC}">
              <c16:uniqueId val="{00000003-EFD9-4D5F-9429-3215C7609287}"/>
            </c:ext>
          </c:extLst>
        </c:ser>
        <c:ser>
          <c:idx val="1"/>
          <c:order val="1"/>
          <c:tx>
            <c:strRef>
              <c:f>Sheet1!$C$1</c:f>
              <c:strCache>
                <c:ptCount val="1"/>
                <c:pt idx="0">
                  <c:v>Hypogammaglobulinemia</c:v>
                </c:pt>
              </c:strCache>
            </c:strRef>
          </c:tx>
          <c:spPr>
            <a:solidFill>
              <a:srgbClr val="097789"/>
            </a:solidFill>
            <a:ln>
              <a:noFill/>
            </a:ln>
            <a:effectLst/>
          </c:spPr>
          <c:invertIfNegative val="0"/>
          <c:dLbls>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097789"/>
                      </a:solidFill>
                      <a:latin typeface="Trebuchet MS" panose="020B0603020202020204" pitchFamily="34" charset="0"/>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4-EFD9-4D5F-9429-3215C7609287}"/>
                </c:ext>
              </c:extLst>
            </c:dLbl>
            <c:dLbl>
              <c:idx val="1"/>
              <c:tx>
                <c:rich>
                  <a:bodyPr rot="0" spcFirstLastPara="1" vertOverflow="ellipsis" vert="horz" wrap="square" lIns="38100" tIns="19050" rIns="38100" bIns="19050" anchor="ctr" anchorCtr="1">
                    <a:spAutoFit/>
                  </a:bodyPr>
                  <a:lstStyle/>
                  <a:p>
                    <a:pPr>
                      <a:defRPr sz="1100" b="1" i="0" u="none" strike="noStrike" kern="1200" baseline="0">
                        <a:solidFill>
                          <a:srgbClr val="097789"/>
                        </a:solidFill>
                        <a:latin typeface="Trebuchet MS" panose="020B0603020202020204" pitchFamily="34" charset="0"/>
                        <a:ea typeface="+mn-ea"/>
                        <a:cs typeface="+mn-cs"/>
                      </a:defRPr>
                    </a:pPr>
                    <a:r>
                      <a:rPr lang="en-US" sz="1100" dirty="0">
                        <a:solidFill>
                          <a:srgbClr val="097789"/>
                        </a:solidFill>
                      </a:rPr>
                      <a:t>62</a:t>
                    </a:r>
                  </a:p>
                </c:rich>
              </c:tx>
              <c:numFmt formatCode="#,##0"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097789"/>
                      </a:solidFill>
                      <a:latin typeface="Trebuchet MS" panose="020B0603020202020204" pitchFamily="34" charset="0"/>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FD9-4D5F-9429-3215C7609287}"/>
                </c:ext>
              </c:extLst>
            </c:dLbl>
            <c:dLbl>
              <c:idx val="2"/>
              <c:numFmt formatCode="#,##0"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097789"/>
                      </a:solidFill>
                      <a:latin typeface="Trebuchet MS" panose="020B0603020202020204" pitchFamily="34" charset="0"/>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6-EFD9-4D5F-9429-3215C7609287}"/>
                </c:ext>
              </c:extLst>
            </c:dLbl>
            <c:dLbl>
              <c:idx val="3"/>
              <c:numFmt formatCode="#,##0"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097789"/>
                      </a:solidFill>
                      <a:latin typeface="Trebuchet MS" panose="020B0603020202020204" pitchFamily="34" charset="0"/>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EFD9-4D5F-9429-3215C7609287}"/>
                </c:ext>
              </c:extLst>
            </c:dLbl>
            <c:dLbl>
              <c:idx val="4"/>
              <c:numFmt formatCode="#,##0"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097789"/>
                      </a:solidFill>
                      <a:latin typeface="Trebuchet MS" panose="020B0603020202020204" pitchFamily="34" charset="0"/>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8-EFD9-4D5F-9429-3215C7609287}"/>
                </c:ext>
              </c:extLst>
            </c:dLbl>
            <c:dLbl>
              <c:idx val="5"/>
              <c:numFmt formatCode="#,##0"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097789"/>
                      </a:solidFill>
                      <a:latin typeface="Trebuchet MS" panose="020B0603020202020204" pitchFamily="34" charset="0"/>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9-EFD9-4D5F-9429-3215C7609287}"/>
                </c:ext>
              </c:extLst>
            </c:dLbl>
            <c:dLbl>
              <c:idx val="6"/>
              <c:numFmt formatCode="#,##0"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097789"/>
                      </a:solidFill>
                      <a:latin typeface="Trebuchet MS" panose="020B0603020202020204" pitchFamily="34" charset="0"/>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A-EFD9-4D5F-9429-3215C7609287}"/>
                </c:ext>
              </c:extLst>
            </c:dLbl>
            <c:dLbl>
              <c:idx val="7"/>
              <c:numFmt formatCode="#,##0"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097789"/>
                      </a:solidFill>
                      <a:latin typeface="Trebuchet MS" panose="020B0603020202020204" pitchFamily="34" charset="0"/>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B-EFD9-4D5F-9429-3215C7609287}"/>
                </c:ext>
              </c:extLst>
            </c:dLbl>
            <c:dLbl>
              <c:idx val="8"/>
              <c:numFmt formatCode="#,##0"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097789"/>
                      </a:solidFill>
                      <a:latin typeface="Trebuchet MS" panose="020B0603020202020204" pitchFamily="34" charset="0"/>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C-EFD9-4D5F-9429-3215C7609287}"/>
                </c:ext>
              </c:extLst>
            </c:dLbl>
            <c:dLbl>
              <c:idx val="9"/>
              <c:numFmt formatCode="#,##0"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097789"/>
                      </a:solidFill>
                      <a:latin typeface="Trebuchet MS" panose="020B0603020202020204" pitchFamily="34" charset="0"/>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D-EFD9-4D5F-9429-3215C7609287}"/>
                </c:ext>
              </c:extLst>
            </c:dLbl>
            <c:dLbl>
              <c:idx val="10"/>
              <c:numFmt formatCode="#,##0"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097789"/>
                      </a:solidFill>
                      <a:latin typeface="Trebuchet MS" panose="020B0603020202020204" pitchFamily="34" charset="0"/>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E-EFD9-4D5F-9429-3215C7609287}"/>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097789"/>
                    </a:solidFill>
                    <a:latin typeface="Trebuchet MS" panose="020B0603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D0—D15</c:v>
                </c:pt>
                <c:pt idx="1">
                  <c:v>D16—D30</c:v>
                </c:pt>
                <c:pt idx="2">
                  <c:v>M2—M3</c:v>
                </c:pt>
                <c:pt idx="3">
                  <c:v>M4—M6</c:v>
                </c:pt>
                <c:pt idx="4">
                  <c:v>M7—M9</c:v>
                </c:pt>
                <c:pt idx="5">
                  <c:v>M10—M12</c:v>
                </c:pt>
                <c:pt idx="6">
                  <c:v>M13—M18</c:v>
                </c:pt>
                <c:pt idx="7">
                  <c:v>M19—M24</c:v>
                </c:pt>
                <c:pt idx="8">
                  <c:v>M25—M30</c:v>
                </c:pt>
                <c:pt idx="9">
                  <c:v>M31—M36</c:v>
                </c:pt>
                <c:pt idx="10">
                  <c:v>M37—EOS</c:v>
                </c:pt>
              </c:strCache>
            </c:strRef>
          </c:cat>
          <c:val>
            <c:numRef>
              <c:f>Sheet1!$C$2:$C$12</c:f>
              <c:numCache>
                <c:formatCode>General</c:formatCode>
                <c:ptCount val="11"/>
                <c:pt idx="0">
                  <c:v>65</c:v>
                </c:pt>
                <c:pt idx="1">
                  <c:v>62</c:v>
                </c:pt>
                <c:pt idx="2">
                  <c:v>61.2</c:v>
                </c:pt>
                <c:pt idx="3">
                  <c:v>61</c:v>
                </c:pt>
                <c:pt idx="4">
                  <c:v>56.2</c:v>
                </c:pt>
                <c:pt idx="5">
                  <c:v>57.1</c:v>
                </c:pt>
                <c:pt idx="6">
                  <c:v>61.6</c:v>
                </c:pt>
                <c:pt idx="7">
                  <c:v>53.2</c:v>
                </c:pt>
                <c:pt idx="8">
                  <c:v>52.6</c:v>
                </c:pt>
                <c:pt idx="9">
                  <c:v>42.1</c:v>
                </c:pt>
                <c:pt idx="10">
                  <c:v>48.1</c:v>
                </c:pt>
              </c:numCache>
            </c:numRef>
          </c:val>
          <c:extLst>
            <c:ext xmlns:c16="http://schemas.microsoft.com/office/drawing/2014/chart" uri="{C3380CC4-5D6E-409C-BE32-E72D297353CC}">
              <c16:uniqueId val="{0000000F-EFD9-4D5F-9429-3215C7609287}"/>
            </c:ext>
          </c:extLst>
        </c:ser>
        <c:ser>
          <c:idx val="2"/>
          <c:order val="2"/>
          <c:tx>
            <c:strRef>
              <c:f>Sheet1!$D$1</c:f>
              <c:strCache>
                <c:ptCount val="1"/>
                <c:pt idx="0">
                  <c:v>IVIG use</c:v>
                </c:pt>
              </c:strCache>
            </c:strRef>
          </c:tx>
          <c:spPr>
            <a:solidFill>
              <a:srgbClr val="A69F9F"/>
            </a:solidFill>
            <a:ln>
              <a:noFill/>
            </a:ln>
            <a:effectLst/>
          </c:spPr>
          <c:invertIfNegative val="0"/>
          <c:dLbls>
            <c:dLbl>
              <c:idx val="0"/>
              <c:tx>
                <c:rich>
                  <a:bodyPr/>
                  <a:lstStyle/>
                  <a:p>
                    <a:r>
                      <a:rPr lang="en-US" sz="1100"/>
                      <a:t>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FD9-4D5F-9429-3215C7609287}"/>
                </c:ext>
              </c:extLst>
            </c:dLbl>
            <c:dLbl>
              <c:idx val="1"/>
              <c:tx>
                <c:rich>
                  <a:bodyPr/>
                  <a:lstStyle/>
                  <a:p>
                    <a:r>
                      <a:rPr lang="en-US" sz="1100"/>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FD9-4D5F-9429-3215C7609287}"/>
                </c:ext>
              </c:extLst>
            </c:dLbl>
            <c:dLbl>
              <c:idx val="2"/>
              <c:tx>
                <c:rich>
                  <a:bodyPr/>
                  <a:lstStyle/>
                  <a:p>
                    <a:r>
                      <a:rPr lang="en-US" sz="1100"/>
                      <a:t>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EFD9-4D5F-9429-3215C7609287}"/>
                </c:ext>
              </c:extLst>
            </c:dLbl>
            <c:dLbl>
              <c:idx val="4"/>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EFD9-4D5F-9429-3215C7609287}"/>
                </c:ext>
              </c:extLst>
            </c:dLbl>
            <c:dLbl>
              <c:idx val="5"/>
              <c:tx>
                <c:rich>
                  <a:bodyPr/>
                  <a:lstStyle/>
                  <a:p>
                    <a:r>
                      <a:rPr lang="en-US"/>
                      <a:t>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EFD9-4D5F-9429-3215C7609287}"/>
                </c:ext>
              </c:extLst>
            </c:dLbl>
            <c:dLbl>
              <c:idx val="6"/>
              <c:tx>
                <c:rich>
                  <a:bodyPr/>
                  <a:lstStyle/>
                  <a:p>
                    <a:r>
                      <a:rPr lang="en-US"/>
                      <a:t>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EFD9-4D5F-9429-3215C7609287}"/>
                </c:ext>
              </c:extLst>
            </c:dLbl>
            <c:dLbl>
              <c:idx val="7"/>
              <c:tx>
                <c:rich>
                  <a:bodyPr/>
                  <a:lstStyle/>
                  <a:p>
                    <a:r>
                      <a:rPr lang="en-US"/>
                      <a:t>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EFD9-4D5F-9429-3215C7609287}"/>
                </c:ext>
              </c:extLst>
            </c:dLbl>
            <c:dLbl>
              <c:idx val="8"/>
              <c:tx>
                <c:rich>
                  <a:bodyPr/>
                  <a:lstStyle/>
                  <a:p>
                    <a:r>
                      <a:rPr lang="en-US"/>
                      <a:t>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EFD9-4D5F-9429-3215C7609287}"/>
                </c:ext>
              </c:extLst>
            </c:dLbl>
            <c:dLbl>
              <c:idx val="9"/>
              <c:tx>
                <c:rich>
                  <a:bodyPr/>
                  <a:lstStyle/>
                  <a:p>
                    <a:r>
                      <a:rPr lang="en-US"/>
                      <a:t>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EFD9-4D5F-9429-3215C7609287}"/>
                </c:ext>
              </c:extLst>
            </c:dLbl>
            <c:dLbl>
              <c:idx val="10"/>
              <c:tx>
                <c:rich>
                  <a:bodyPr/>
                  <a:lstStyle/>
                  <a:p>
                    <a:r>
                      <a:rPr lang="en-US"/>
                      <a:t>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EFD9-4D5F-9429-3215C7609287}"/>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A69F9F"/>
                    </a:solidFill>
                    <a:latin typeface="Trebuchet MS" panose="020B0603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D0—D15</c:v>
                </c:pt>
                <c:pt idx="1">
                  <c:v>D16—D30</c:v>
                </c:pt>
                <c:pt idx="2">
                  <c:v>M2—M3</c:v>
                </c:pt>
                <c:pt idx="3">
                  <c:v>M4—M6</c:v>
                </c:pt>
                <c:pt idx="4">
                  <c:v>M7—M9</c:v>
                </c:pt>
                <c:pt idx="5">
                  <c:v>M10—M12</c:v>
                </c:pt>
                <c:pt idx="6">
                  <c:v>M13—M18</c:v>
                </c:pt>
                <c:pt idx="7">
                  <c:v>M19—M24</c:v>
                </c:pt>
                <c:pt idx="8">
                  <c:v>M25—M30</c:v>
                </c:pt>
                <c:pt idx="9">
                  <c:v>M31—M36</c:v>
                </c:pt>
                <c:pt idx="10">
                  <c:v>M37—EOS</c:v>
                </c:pt>
              </c:strCache>
            </c:strRef>
          </c:cat>
          <c:val>
            <c:numRef>
              <c:f>Sheet1!$D$2:$D$12</c:f>
              <c:numCache>
                <c:formatCode>General</c:formatCode>
                <c:ptCount val="11"/>
                <c:pt idx="0">
                  <c:v>2.8</c:v>
                </c:pt>
                <c:pt idx="1">
                  <c:v>10.4</c:v>
                </c:pt>
                <c:pt idx="2">
                  <c:v>6.6</c:v>
                </c:pt>
                <c:pt idx="3">
                  <c:v>1</c:v>
                </c:pt>
                <c:pt idx="4">
                  <c:v>1</c:v>
                </c:pt>
                <c:pt idx="5">
                  <c:v>2.1</c:v>
                </c:pt>
                <c:pt idx="6">
                  <c:v>2.1</c:v>
                </c:pt>
                <c:pt idx="7">
                  <c:v>3.2</c:v>
                </c:pt>
                <c:pt idx="8">
                  <c:v>3.3</c:v>
                </c:pt>
                <c:pt idx="9">
                  <c:v>2.4</c:v>
                </c:pt>
                <c:pt idx="10">
                  <c:v>2.5</c:v>
                </c:pt>
              </c:numCache>
            </c:numRef>
          </c:val>
          <c:extLst>
            <c:ext xmlns:c16="http://schemas.microsoft.com/office/drawing/2014/chart" uri="{C3380CC4-5D6E-409C-BE32-E72D297353CC}">
              <c16:uniqueId val="{0000001A-EFD9-4D5F-9429-3215C7609287}"/>
            </c:ext>
          </c:extLst>
        </c:ser>
        <c:dLbls>
          <c:showLegendKey val="0"/>
          <c:showVal val="0"/>
          <c:showCatName val="0"/>
          <c:showSerName val="0"/>
          <c:showPercent val="0"/>
          <c:showBubbleSize val="0"/>
        </c:dLbls>
        <c:gapWidth val="50"/>
        <c:overlap val="-27"/>
        <c:axId val="1967681087"/>
        <c:axId val="1967682527"/>
      </c:barChart>
      <c:catAx>
        <c:axId val="1967681087"/>
        <c:scaling>
          <c:orientation val="minMax"/>
        </c:scaling>
        <c:delete val="0"/>
        <c:axPos val="b"/>
        <c:title>
          <c:tx>
            <c:rich>
              <a:bodyPr rot="0" spcFirstLastPara="1" vertOverflow="ellipsis" vert="horz" wrap="square" anchor="ctr" anchorCtr="1"/>
              <a:lstStyle/>
              <a:p>
                <a:pPr>
                  <a:defRPr sz="1200" b="1" i="0" u="none" strike="noStrike" kern="1200" baseline="0">
                    <a:solidFill>
                      <a:schemeClr val="tx1">
                        <a:lumMod val="65000"/>
                        <a:lumOff val="35000"/>
                      </a:schemeClr>
                    </a:solidFill>
                    <a:latin typeface="Trebuchet MS" panose="020B0603020202020204" pitchFamily="34" charset="0"/>
                    <a:ea typeface="+mn-ea"/>
                    <a:cs typeface="+mn-cs"/>
                  </a:defRPr>
                </a:pPr>
                <a:r>
                  <a:rPr lang="en-US" sz="1200" b="1" dirty="0"/>
                  <a:t>Time</a:t>
                </a:r>
                <a:r>
                  <a:rPr lang="en-US" sz="1200" b="1" baseline="0" dirty="0"/>
                  <a:t> from infusion</a:t>
                </a:r>
                <a:endParaRPr lang="en-US" sz="1200" b="1" dirty="0"/>
              </a:p>
            </c:rich>
          </c:tx>
          <c:overlay val="0"/>
          <c:spPr>
            <a:noFill/>
            <a:ln>
              <a:noFill/>
            </a:ln>
            <a:effectLst/>
          </c:spPr>
          <c:txPr>
            <a:bodyPr rot="0" spcFirstLastPara="1" vertOverflow="ellipsis" vert="horz" wrap="square" anchor="ctr" anchorCtr="1"/>
            <a:lstStyle/>
            <a:p>
              <a:pPr>
                <a:defRPr sz="1200" b="1" i="0" u="none" strike="noStrike" kern="1200" baseline="0">
                  <a:solidFill>
                    <a:schemeClr val="tx1">
                      <a:lumMod val="65000"/>
                      <a:lumOff val="35000"/>
                    </a:schemeClr>
                  </a:solidFill>
                  <a:latin typeface="Trebuchet MS" panose="020B0603020202020204" pitchFamily="34" charset="0"/>
                  <a:ea typeface="+mn-ea"/>
                  <a:cs typeface="+mn-cs"/>
                </a:defRPr>
              </a:pPr>
              <a:endParaRPr lang="en-US"/>
            </a:p>
          </c:txPr>
        </c:title>
        <c:numFmt formatCode="General" sourceLinked="1"/>
        <c:majorTickMark val="out"/>
        <c:minorTickMark val="none"/>
        <c:tickLblPos val="nextTo"/>
        <c:spPr>
          <a:noFill/>
          <a:ln w="9525" cap="flat" cmpd="sng" algn="ctr">
            <a:solidFill>
              <a:schemeClr val="tx1">
                <a:lumMod val="75000"/>
                <a:lumOff val="2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Trebuchet MS" panose="020B0603020202020204" pitchFamily="34" charset="0"/>
                <a:ea typeface="+mn-ea"/>
                <a:cs typeface="+mn-cs"/>
              </a:defRPr>
            </a:pPr>
            <a:endParaRPr lang="en-US"/>
          </a:p>
        </c:txPr>
        <c:crossAx val="1967682527"/>
        <c:crosses val="autoZero"/>
        <c:auto val="1"/>
        <c:lblAlgn val="ctr"/>
        <c:lblOffset val="100"/>
        <c:noMultiLvlLbl val="0"/>
      </c:catAx>
      <c:valAx>
        <c:axId val="1967682527"/>
        <c:scaling>
          <c:orientation val="minMax"/>
          <c:max val="100"/>
        </c:scaling>
        <c:delete val="0"/>
        <c:axPos val="l"/>
        <c:title>
          <c:tx>
            <c:rich>
              <a:bodyPr rot="-5400000" spcFirstLastPara="1" vertOverflow="ellipsis" vert="horz" wrap="square" anchor="ctr" anchorCtr="1"/>
              <a:lstStyle/>
              <a:p>
                <a:pPr>
                  <a:defRPr sz="1200" b="1" i="0" u="none" strike="noStrike" kern="1200" baseline="0">
                    <a:solidFill>
                      <a:schemeClr val="tx1">
                        <a:lumMod val="65000"/>
                        <a:lumOff val="35000"/>
                      </a:schemeClr>
                    </a:solidFill>
                    <a:latin typeface="Trebuchet MS" panose="020B0603020202020204" pitchFamily="34" charset="0"/>
                    <a:ea typeface="+mn-ea"/>
                    <a:cs typeface="+mn-cs"/>
                  </a:defRPr>
                </a:pPr>
                <a:r>
                  <a:rPr lang="en-US" sz="1200" b="1" dirty="0"/>
                  <a:t>Patients, %</a:t>
                </a:r>
              </a:p>
            </c:rich>
          </c:tx>
          <c:layout>
            <c:manualLayout>
              <c:xMode val="edge"/>
              <c:yMode val="edge"/>
              <c:x val="1.9697316687741166E-2"/>
              <c:y val="0.25323301512263735"/>
            </c:manualLayout>
          </c:layout>
          <c:overlay val="0"/>
          <c:spPr>
            <a:noFill/>
            <a:ln>
              <a:noFill/>
            </a:ln>
            <a:effectLst/>
          </c:spPr>
          <c:txPr>
            <a:bodyPr rot="-5400000" spcFirstLastPara="1" vertOverflow="ellipsis" vert="horz" wrap="square" anchor="ctr" anchorCtr="1"/>
            <a:lstStyle/>
            <a:p>
              <a:pPr>
                <a:defRPr sz="1200" b="1" i="0" u="none" strike="noStrike" kern="1200" baseline="0">
                  <a:solidFill>
                    <a:schemeClr val="tx1">
                      <a:lumMod val="65000"/>
                      <a:lumOff val="35000"/>
                    </a:schemeClr>
                  </a:solidFill>
                  <a:latin typeface="Trebuchet MS" panose="020B0603020202020204" pitchFamily="34" charset="0"/>
                  <a:ea typeface="+mn-ea"/>
                  <a:cs typeface="+mn-cs"/>
                </a:defRPr>
              </a:pPr>
              <a:endParaRPr lang="en-US"/>
            </a:p>
          </c:txPr>
        </c:title>
        <c:numFmt formatCode="General" sourceLinked="1"/>
        <c:majorTickMark val="out"/>
        <c:minorTickMark val="none"/>
        <c:tickLblPos val="nextTo"/>
        <c:spPr>
          <a:noFill/>
          <a:ln>
            <a:solidFill>
              <a:schemeClr val="tx1">
                <a:lumMod val="75000"/>
                <a:lumOff val="25000"/>
              </a:schemeClr>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Trebuchet MS" panose="020B0603020202020204" pitchFamily="34" charset="0"/>
                <a:ea typeface="+mn-ea"/>
                <a:cs typeface="+mn-cs"/>
              </a:defRPr>
            </a:pPr>
            <a:endParaRPr lang="en-US"/>
          </a:p>
        </c:txPr>
        <c:crossAx val="1967681087"/>
        <c:crosses val="autoZero"/>
        <c:crossBetween val="between"/>
      </c:valAx>
      <c:spPr>
        <a:noFill/>
        <a:ln>
          <a:noFill/>
        </a:ln>
        <a:effectLst/>
      </c:spPr>
    </c:plotArea>
    <c:legend>
      <c:legendPos val="b"/>
      <c:layout>
        <c:manualLayout>
          <c:xMode val="edge"/>
          <c:yMode val="edge"/>
          <c:x val="0.381136726407863"/>
          <c:y val="9.1953624701664891E-2"/>
          <c:w val="0.60217554121734118"/>
          <c:h val="0.10443691687959317"/>
        </c:manualLayout>
      </c:layout>
      <c:overlay val="0"/>
      <c:spPr>
        <a:noFill/>
        <a:ln>
          <a:noFill/>
        </a:ln>
        <a:effectLst/>
      </c:spPr>
      <c:txPr>
        <a:bodyPr rot="0" spcFirstLastPara="1" vertOverflow="ellipsis" vert="horz" wrap="square" anchor="ctr" anchorCtr="1"/>
        <a:lstStyle/>
        <a:p>
          <a:pPr>
            <a:defRPr sz="1197" b="0" i="0" u="none" strike="noStrike" kern="1200" baseline="0">
              <a:solidFill>
                <a:srgbClr val="595454"/>
              </a:solidFill>
              <a:latin typeface="Trebuchet MS" panose="020B0603020202020204" pitchFamily="34"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Trebuchet MS" panose="020B0603020202020204" pitchFamily="34" charset="0"/>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2928910616922721E-2"/>
          <c:y val="5.0059376081723277E-2"/>
          <c:w val="0.90725140734639143"/>
          <c:h val="0.82237270692582398"/>
        </c:manualLayout>
      </c:layout>
      <c:barChart>
        <c:barDir val="col"/>
        <c:grouping val="clustered"/>
        <c:varyColors val="0"/>
        <c:ser>
          <c:idx val="0"/>
          <c:order val="0"/>
          <c:tx>
            <c:strRef>
              <c:f>Sheet1!$B$1</c:f>
              <c:strCache>
                <c:ptCount val="1"/>
                <c:pt idx="0">
                  <c:v>Pola-R-CHP
(n=440)</c:v>
                </c:pt>
              </c:strCache>
            </c:strRef>
          </c:tx>
          <c:spPr>
            <a:solidFill>
              <a:srgbClr val="009963"/>
            </a:solidFill>
            <a:ln>
              <a:noFill/>
            </a:ln>
            <a:effectLst/>
          </c:spPr>
          <c:invertIfNegative val="0"/>
          <c:dLbls>
            <c:dLbl>
              <c:idx val="0"/>
              <c:layout>
                <c:manualLayout>
                  <c:x val="-1.65162109005605E-17"/>
                  <c:y val="1.3652557113197215E-2"/>
                </c:manualLayout>
              </c:layout>
              <c:tx>
                <c:rich>
                  <a:bodyPr/>
                  <a:lstStyle/>
                  <a:p>
                    <a:r>
                      <a:rPr lang="en-US" dirty="0"/>
                      <a:t>n=112</a:t>
                    </a:r>
                  </a:p>
                  <a:p>
                    <a:r>
                      <a:rPr lang="en-US" dirty="0"/>
                      <a:t>25.5%</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FE1-49C4-8043-2071D5491D45}"/>
                </c:ext>
              </c:extLst>
            </c:dLbl>
            <c:dLbl>
              <c:idx val="1"/>
              <c:layout>
                <c:manualLayout>
                  <c:x val="-3.3032421801121E-17"/>
                  <c:y val="1.3652557113197256E-2"/>
                </c:manualLayout>
              </c:layout>
              <c:tx>
                <c:rich>
                  <a:bodyPr/>
                  <a:lstStyle/>
                  <a:p>
                    <a:r>
                      <a:rPr lang="en-US" dirty="0"/>
                      <a:t>n=42</a:t>
                    </a:r>
                  </a:p>
                  <a:p>
                    <a:fld id="{F3EC5B1F-221E-438E-87D3-7FE8E8F6A90C}" type="VALUE">
                      <a:rPr lang="en-US" smtClean="0"/>
                      <a:pPr/>
                      <a:t>[VALUE]</a:t>
                    </a:fld>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DFE1-49C4-8043-2071D5491D45}"/>
                </c:ext>
              </c:extLst>
            </c:dLbl>
            <c:dLbl>
              <c:idx val="2"/>
              <c:layout>
                <c:manualLayout>
                  <c:x val="0"/>
                  <c:y val="1.3652557113197256E-2"/>
                </c:manualLayout>
              </c:layout>
              <c:tx>
                <c:rich>
                  <a:bodyPr/>
                  <a:lstStyle/>
                  <a:p>
                    <a:r>
                      <a:rPr lang="en-US" dirty="0"/>
                      <a:t>n=88</a:t>
                    </a:r>
                  </a:p>
                  <a:p>
                    <a:fld id="{E48F7DB1-3E96-4CAF-B421-3F098230316D}" type="VALUE">
                      <a:rPr lang="en-US" smtClean="0"/>
                      <a:pPr/>
                      <a:t>[VALUE]</a:t>
                    </a:fld>
                    <a:r>
                      <a:rPr lang="en-US" dirty="0"/>
                      <a:t>.0%</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DFE1-49C4-8043-2071D5491D45}"/>
                </c:ext>
              </c:extLst>
            </c:dLbl>
            <c:dLbl>
              <c:idx val="3"/>
              <c:layout>
                <c:manualLayout>
                  <c:x val="-6.6064843602242E-17"/>
                  <c:y val="1.3652557113197173E-2"/>
                </c:manualLayout>
              </c:layout>
              <c:tx>
                <c:rich>
                  <a:bodyPr/>
                  <a:lstStyle/>
                  <a:p>
                    <a:r>
                      <a:rPr lang="en-US" dirty="0"/>
                      <a:t>n=43</a:t>
                    </a:r>
                  </a:p>
                  <a:p>
                    <a:fld id="{10BD5789-CC5E-414C-9D07-A0AE7C261ACC}" type="VALUE">
                      <a:rPr lang="en-US" smtClean="0"/>
                      <a:pPr/>
                      <a:t>[VALUE]</a:t>
                    </a:fld>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DFE1-49C4-8043-2071D5491D45}"/>
                </c:ext>
              </c:extLst>
            </c:dLbl>
            <c:dLbl>
              <c:idx val="4"/>
              <c:layout>
                <c:manualLayout>
                  <c:x val="0"/>
                  <c:y val="1.3652557113197256E-2"/>
                </c:manualLayout>
              </c:layout>
              <c:tx>
                <c:rich>
                  <a:bodyPr/>
                  <a:lstStyle/>
                  <a:p>
                    <a:r>
                      <a:rPr lang="en-US" dirty="0"/>
                      <a:t>n=22</a:t>
                    </a:r>
                  </a:p>
                  <a:p>
                    <a:fld id="{6A49B933-4061-4A0D-A704-8475E96E068B}" type="VALUE">
                      <a:rPr lang="en-US" smtClean="0"/>
                      <a:pPr/>
                      <a:t>[VALUE]</a:t>
                    </a:fld>
                    <a:r>
                      <a:rPr lang="en-US" dirty="0"/>
                      <a:t>.0%</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DFE1-49C4-8043-2071D5491D45}"/>
                </c:ext>
              </c:extLst>
            </c:dLbl>
            <c:dLbl>
              <c:idx val="5"/>
              <c:layout>
                <c:manualLayout>
                  <c:x val="-1.32129687204484E-16"/>
                  <c:y val="1.3652557113197173E-2"/>
                </c:manualLayout>
              </c:layout>
              <c:tx>
                <c:rich>
                  <a:bodyPr/>
                  <a:lstStyle/>
                  <a:p>
                    <a:r>
                      <a:rPr lang="en-US" dirty="0"/>
                      <a:t>n=10</a:t>
                    </a:r>
                  </a:p>
                  <a:p>
                    <a:fld id="{DBEB7CD3-9A49-44C5-B20E-401BF5D1D808}" type="VALUE">
                      <a:rPr lang="en-US" smtClean="0"/>
                      <a:pPr/>
                      <a:t>[VALUE]</a:t>
                    </a:fld>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DFE1-49C4-8043-2071D5491D45}"/>
                </c:ext>
              </c:extLst>
            </c:dLbl>
            <c:dLbl>
              <c:idx val="6"/>
              <c:layout>
                <c:manualLayout>
                  <c:x val="1.8017892760623499E-3"/>
                  <c:y val="1.3652557113197256E-2"/>
                </c:manualLayout>
              </c:layout>
              <c:tx>
                <c:rich>
                  <a:bodyPr/>
                  <a:lstStyle/>
                  <a:p>
                    <a:r>
                      <a:rPr lang="en-US" dirty="0"/>
                      <a:t>n=6</a:t>
                    </a:r>
                  </a:p>
                  <a:p>
                    <a:fld id="{74E5C8C2-0F28-420F-81E7-36084CAB9C56}" type="VALUE">
                      <a:rPr lang="en-US" smtClean="0"/>
                      <a:pPr/>
                      <a:t>[VALUE]</a:t>
                    </a:fld>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DFE1-49C4-8043-2071D5491D45}"/>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atients with at least 1 NALT</c:v>
                </c:pt>
                <c:pt idx="1">
                  <c:v>Radiotherapy</c:v>
                </c:pt>
                <c:pt idx="2">
                  <c:v>Systemic therapy</c:v>
                </c:pt>
                <c:pt idx="3">
                  <c:v>Platinum-based therapy</c:v>
                </c:pt>
                <c:pt idx="4">
                  <c:v>Stem cell transplant</c:v>
                </c:pt>
                <c:pt idx="5">
                  <c:v>CAR-T</c:v>
                </c:pt>
                <c:pt idx="6">
                  <c:v>Bispecifics</c:v>
                </c:pt>
              </c:strCache>
            </c:strRef>
          </c:cat>
          <c:val>
            <c:numRef>
              <c:f>Sheet1!$B$2:$B$8</c:f>
              <c:numCache>
                <c:formatCode>General</c:formatCode>
                <c:ptCount val="7"/>
                <c:pt idx="0">
                  <c:v>25.5</c:v>
                </c:pt>
                <c:pt idx="1">
                  <c:v>9.5</c:v>
                </c:pt>
                <c:pt idx="2">
                  <c:v>20</c:v>
                </c:pt>
                <c:pt idx="3">
                  <c:v>9.8000000000000007</c:v>
                </c:pt>
                <c:pt idx="4">
                  <c:v>5</c:v>
                </c:pt>
                <c:pt idx="5">
                  <c:v>2.2999999999999998</c:v>
                </c:pt>
                <c:pt idx="6">
                  <c:v>1.4</c:v>
                </c:pt>
              </c:numCache>
            </c:numRef>
          </c:val>
          <c:extLst>
            <c:ext xmlns:c16="http://schemas.microsoft.com/office/drawing/2014/chart" uri="{C3380CC4-5D6E-409C-BE32-E72D297353CC}">
              <c16:uniqueId val="{00000007-DFE1-49C4-8043-2071D5491D45}"/>
            </c:ext>
          </c:extLst>
        </c:ser>
        <c:ser>
          <c:idx val="1"/>
          <c:order val="1"/>
          <c:tx>
            <c:strRef>
              <c:f>Sheet1!$C$1</c:f>
              <c:strCache>
                <c:ptCount val="1"/>
                <c:pt idx="0">
                  <c:v>R-CHOP
(n=439)</c:v>
                </c:pt>
              </c:strCache>
            </c:strRef>
          </c:tx>
          <c:spPr>
            <a:solidFill>
              <a:srgbClr val="0A41CD"/>
            </a:solidFill>
            <a:ln>
              <a:noFill/>
            </a:ln>
            <a:effectLst/>
          </c:spPr>
          <c:invertIfNegative val="0"/>
          <c:dLbls>
            <c:dLbl>
              <c:idx val="0"/>
              <c:layout>
                <c:manualLayout>
                  <c:x val="0"/>
                  <c:y val="1.3652557113197246E-2"/>
                </c:manualLayout>
              </c:layout>
              <c:tx>
                <c:rich>
                  <a:bodyPr/>
                  <a:lstStyle/>
                  <a:p>
                    <a:r>
                      <a:rPr lang="en-US" dirty="0"/>
                      <a:t>n=155</a:t>
                    </a:r>
                    <a:br>
                      <a:rPr lang="en-US" dirty="0"/>
                    </a:br>
                    <a:r>
                      <a:rPr lang="en-US" dirty="0"/>
                      <a:t>35.3%</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DFE1-49C4-8043-2071D5491D45}"/>
                </c:ext>
              </c:extLst>
            </c:dLbl>
            <c:dLbl>
              <c:idx val="1"/>
              <c:layout>
                <c:manualLayout>
                  <c:x val="0"/>
                  <c:y val="1.3652557113197256E-2"/>
                </c:manualLayout>
              </c:layout>
              <c:tx>
                <c:rich>
                  <a:bodyPr/>
                  <a:lstStyle/>
                  <a:p>
                    <a:r>
                      <a:rPr lang="en-US" dirty="0"/>
                      <a:t>n=62</a:t>
                    </a:r>
                    <a:br>
                      <a:rPr lang="en-US" dirty="0"/>
                    </a:br>
                    <a:r>
                      <a:rPr lang="en-US" dirty="0"/>
                      <a:t>14.1%</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DFE1-49C4-8043-2071D5491D45}"/>
                </c:ext>
              </c:extLst>
            </c:dLbl>
            <c:dLbl>
              <c:idx val="2"/>
              <c:layout>
                <c:manualLayout>
                  <c:x val="0"/>
                  <c:y val="1.3652557113197215E-2"/>
                </c:manualLayout>
              </c:layout>
              <c:tx>
                <c:rich>
                  <a:bodyPr/>
                  <a:lstStyle/>
                  <a:p>
                    <a:r>
                      <a:rPr lang="en-US" dirty="0"/>
                      <a:t>n=124</a:t>
                    </a:r>
                  </a:p>
                  <a:p>
                    <a:fld id="{BBE6BC7E-802C-4629-8448-BDBC56889884}" type="VALUE">
                      <a:rPr lang="en-US" smtClean="0"/>
                      <a:pPr/>
                      <a:t>[VALUE]</a:t>
                    </a:fld>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DFE1-49C4-8043-2071D5491D45}"/>
                </c:ext>
              </c:extLst>
            </c:dLbl>
            <c:dLbl>
              <c:idx val="3"/>
              <c:layout>
                <c:manualLayout>
                  <c:x val="0"/>
                  <c:y val="1.3652557113197256E-2"/>
                </c:manualLayout>
              </c:layout>
              <c:tx>
                <c:rich>
                  <a:bodyPr/>
                  <a:lstStyle/>
                  <a:p>
                    <a:r>
                      <a:rPr lang="en-US" dirty="0"/>
                      <a:t>n=68</a:t>
                    </a:r>
                  </a:p>
                  <a:p>
                    <a:fld id="{390B9F7F-EE70-46AB-928F-AFD1CC46AEF9}" type="VALUE">
                      <a:rPr lang="en-US" smtClean="0"/>
                      <a:pPr/>
                      <a:t>[VALUE]</a:t>
                    </a:fld>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DFE1-49C4-8043-2071D5491D45}"/>
                </c:ext>
              </c:extLst>
            </c:dLbl>
            <c:dLbl>
              <c:idx val="4"/>
              <c:layout>
                <c:manualLayout>
                  <c:x val="0"/>
                  <c:y val="1.3652557113197256E-2"/>
                </c:manualLayout>
              </c:layout>
              <c:tx>
                <c:rich>
                  <a:bodyPr/>
                  <a:lstStyle/>
                  <a:p>
                    <a:r>
                      <a:rPr lang="en-US" dirty="0"/>
                      <a:t>n=37</a:t>
                    </a:r>
                  </a:p>
                  <a:p>
                    <a:fld id="{93E86F53-EBF5-472C-ABBB-F44ABFE5F8FD}" type="VALUE">
                      <a:rPr lang="en-US" smtClean="0"/>
                      <a:pPr/>
                      <a:t>[VALUE]</a:t>
                    </a:fld>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DFE1-49C4-8043-2071D5491D45}"/>
                </c:ext>
              </c:extLst>
            </c:dLbl>
            <c:dLbl>
              <c:idx val="5"/>
              <c:layout>
                <c:manualLayout>
                  <c:x val="-1.32129687204484E-16"/>
                  <c:y val="1.3652557113197256E-2"/>
                </c:manualLayout>
              </c:layout>
              <c:tx>
                <c:rich>
                  <a:bodyPr/>
                  <a:lstStyle/>
                  <a:p>
                    <a:r>
                      <a:rPr lang="en-US" dirty="0"/>
                      <a:t>n=18</a:t>
                    </a:r>
                  </a:p>
                  <a:p>
                    <a:fld id="{9D538C0D-02B3-45A9-BBFD-FF0AC8C88BB4}" type="VALUE">
                      <a:rPr lang="en-US" smtClean="0"/>
                      <a:pPr/>
                      <a:t>[VALUE]</a:t>
                    </a:fld>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DFE1-49C4-8043-2071D5491D45}"/>
                </c:ext>
              </c:extLst>
            </c:dLbl>
            <c:dLbl>
              <c:idx val="6"/>
              <c:layout>
                <c:manualLayout>
                  <c:x val="0"/>
                  <c:y val="1.3652557113197256E-2"/>
                </c:manualLayout>
              </c:layout>
              <c:tx>
                <c:rich>
                  <a:bodyPr/>
                  <a:lstStyle/>
                  <a:p>
                    <a:r>
                      <a:rPr lang="en-US" dirty="0"/>
                      <a:t>n=9</a:t>
                    </a:r>
                  </a:p>
                  <a:p>
                    <a:fld id="{4EF6BCF6-99FD-4D85-89E6-703EE0EE8726}" type="VALUE">
                      <a:rPr lang="en-US" smtClean="0"/>
                      <a:pPr/>
                      <a:t>[VALUE]</a:t>
                    </a:fld>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E-DFE1-49C4-8043-2071D5491D45}"/>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atients with at least 1 NALT</c:v>
                </c:pt>
                <c:pt idx="1">
                  <c:v>Radiotherapy</c:v>
                </c:pt>
                <c:pt idx="2">
                  <c:v>Systemic therapy</c:v>
                </c:pt>
                <c:pt idx="3">
                  <c:v>Platinum-based therapy</c:v>
                </c:pt>
                <c:pt idx="4">
                  <c:v>Stem cell transplant</c:v>
                </c:pt>
                <c:pt idx="5">
                  <c:v>CAR-T</c:v>
                </c:pt>
                <c:pt idx="6">
                  <c:v>Bispecifics</c:v>
                </c:pt>
              </c:strCache>
            </c:strRef>
          </c:cat>
          <c:val>
            <c:numRef>
              <c:f>Sheet1!$C$2:$C$8</c:f>
              <c:numCache>
                <c:formatCode>General</c:formatCode>
                <c:ptCount val="7"/>
                <c:pt idx="0">
                  <c:v>35.299999999999997</c:v>
                </c:pt>
                <c:pt idx="1">
                  <c:v>14.1</c:v>
                </c:pt>
                <c:pt idx="2">
                  <c:v>28.2</c:v>
                </c:pt>
                <c:pt idx="3">
                  <c:v>15.5</c:v>
                </c:pt>
                <c:pt idx="4">
                  <c:v>8.4</c:v>
                </c:pt>
                <c:pt idx="5">
                  <c:v>4.0999999999999996</c:v>
                </c:pt>
                <c:pt idx="6">
                  <c:v>2.1</c:v>
                </c:pt>
              </c:numCache>
            </c:numRef>
          </c:val>
          <c:extLst>
            <c:ext xmlns:c16="http://schemas.microsoft.com/office/drawing/2014/chart" uri="{C3380CC4-5D6E-409C-BE32-E72D297353CC}">
              <c16:uniqueId val="{0000000F-DFE1-49C4-8043-2071D5491D45}"/>
            </c:ext>
          </c:extLst>
        </c:ser>
        <c:dLbls>
          <c:dLblPos val="outEnd"/>
          <c:showLegendKey val="0"/>
          <c:showVal val="1"/>
          <c:showCatName val="0"/>
          <c:showSerName val="0"/>
          <c:showPercent val="0"/>
          <c:showBubbleSize val="0"/>
        </c:dLbls>
        <c:gapWidth val="97"/>
        <c:axId val="1201675663"/>
        <c:axId val="1201693903"/>
      </c:barChart>
      <c:catAx>
        <c:axId val="1201675663"/>
        <c:scaling>
          <c:orientation val="minMax"/>
        </c:scaling>
        <c:delete val="0"/>
        <c:axPos val="b"/>
        <c:numFmt formatCode="General" sourceLinked="1"/>
        <c:majorTickMark val="none"/>
        <c:minorTickMark val="out"/>
        <c:tickLblPos val="nextTo"/>
        <c:spPr>
          <a:noFill/>
          <a:ln w="12700" cap="flat" cmpd="sng" algn="ctr">
            <a:solidFill>
              <a:schemeClr val="tx1"/>
            </a:solidFill>
            <a:round/>
          </a:ln>
          <a:effectLst/>
        </c:spPr>
        <c:txPr>
          <a:bodyPr rot="-60000000" spcFirstLastPara="1" vertOverflow="ellipsis" vert="horz" wrap="square" anchor="ctr" anchorCtr="1"/>
          <a:lstStyle/>
          <a:p>
            <a:pPr>
              <a:defRPr sz="750" b="1" i="0" u="none" strike="noStrike" kern="1200" baseline="0">
                <a:solidFill>
                  <a:schemeClr val="tx1"/>
                </a:solidFill>
                <a:latin typeface="+mn-lt"/>
                <a:ea typeface="+mn-ea"/>
                <a:cs typeface="+mn-cs"/>
              </a:defRPr>
            </a:pPr>
            <a:endParaRPr lang="en-US"/>
          </a:p>
        </c:txPr>
        <c:crossAx val="1201693903"/>
        <c:crosses val="autoZero"/>
        <c:auto val="1"/>
        <c:lblAlgn val="ctr"/>
        <c:lblOffset val="100"/>
        <c:noMultiLvlLbl val="0"/>
      </c:catAx>
      <c:valAx>
        <c:axId val="1201693903"/>
        <c:scaling>
          <c:orientation val="minMax"/>
        </c:scaling>
        <c:delete val="0"/>
        <c:axPos val="l"/>
        <c:title>
          <c:tx>
            <c:rich>
              <a:bodyPr rot="-5400000" spcFirstLastPara="1" vertOverflow="ellipsis" vert="horz" wrap="square" anchor="ctr" anchorCtr="1"/>
              <a:lstStyle/>
              <a:p>
                <a:pPr>
                  <a:defRPr sz="750" b="1" i="0" u="none" strike="noStrike" kern="1200" baseline="0">
                    <a:solidFill>
                      <a:schemeClr val="tx1"/>
                    </a:solidFill>
                    <a:latin typeface="+mn-lt"/>
                    <a:ea typeface="+mn-ea"/>
                    <a:cs typeface="+mn-cs"/>
                  </a:defRPr>
                </a:pPr>
                <a:r>
                  <a:rPr lang="en-GB" sz="750" b="1" dirty="0">
                    <a:solidFill>
                      <a:schemeClr val="tx1"/>
                    </a:solidFill>
                  </a:rPr>
                  <a:t>Patients (%)</a:t>
                </a:r>
              </a:p>
            </c:rich>
          </c:tx>
          <c:overlay val="0"/>
          <c:spPr>
            <a:noFill/>
            <a:ln>
              <a:noFill/>
            </a:ln>
            <a:effectLst/>
          </c:spPr>
          <c:txPr>
            <a:bodyPr rot="-5400000" spcFirstLastPara="1" vertOverflow="ellipsis" vert="horz" wrap="square" anchor="ctr" anchorCtr="1"/>
            <a:lstStyle/>
            <a:p>
              <a:pPr>
                <a:defRPr sz="750" b="1"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noFill/>
          <a:ln w="12700">
            <a:solidFill>
              <a:schemeClr val="tx1"/>
            </a:solidFill>
          </a:ln>
          <a:effectLst/>
        </c:spPr>
        <c:txPr>
          <a:bodyPr rot="-60000000" spcFirstLastPara="1" vertOverflow="ellipsis" vert="horz" wrap="square" anchor="ctr" anchorCtr="1"/>
          <a:lstStyle/>
          <a:p>
            <a:pPr>
              <a:defRPr sz="8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201675663"/>
        <c:crosses val="autoZero"/>
        <c:crossBetween val="between"/>
        <c:majorUnit val="1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3481610522958176E-2"/>
          <c:y val="4.9470938501683034E-2"/>
          <c:w val="0.91762804999429082"/>
          <c:h val="0.89802802801340587"/>
        </c:manualLayout>
      </c:layout>
      <c:barChart>
        <c:barDir val="bar"/>
        <c:grouping val="stacked"/>
        <c:varyColors val="0"/>
        <c:ser>
          <c:idx val="0"/>
          <c:order val="0"/>
          <c:tx>
            <c:strRef>
              <c:f>Sheet1!$B$1</c:f>
              <c:strCache>
                <c:ptCount val="1"/>
                <c:pt idx="0">
                  <c:v>R-CHOP Grade 1</c:v>
                </c:pt>
              </c:strCache>
            </c:strRef>
          </c:tx>
          <c:spPr>
            <a:solidFill>
              <a:srgbClr val="C1D8EF"/>
            </a:solidFill>
            <a:ln>
              <a:noFill/>
            </a:ln>
            <a:effectLst/>
          </c:spPr>
          <c:invertIfNegative val="0"/>
          <c:cat>
            <c:strRef>
              <c:f>Sheet1!$A$2:$A$18</c:f>
              <c:strCache>
                <c:ptCount val="17"/>
                <c:pt idx="0">
                  <c:v>Dysgeusia</c:v>
                </c:pt>
                <c:pt idx="1">
                  <c:v>Asthenia</c:v>
                </c:pt>
                <c:pt idx="2">
                  <c:v>Decreased weight</c:v>
                </c:pt>
                <c:pt idx="3">
                  <c:v>Headache</c:v>
                </c:pt>
                <c:pt idx="4">
                  <c:v>Cough</c:v>
                </c:pt>
                <c:pt idx="5">
                  <c:v>Febrile neutropenia</c:v>
                </c:pt>
                <c:pt idx="6">
                  <c:v>Vomiting</c:v>
                </c:pt>
                <c:pt idx="7">
                  <c:v>Pyrexia</c:v>
                </c:pt>
                <c:pt idx="8">
                  <c:v>Decreased appetite</c:v>
                </c:pt>
                <c:pt idx="9">
                  <c:v>Alopecia</c:v>
                </c:pt>
                <c:pt idx="10">
                  <c:v>Fatigue</c:v>
                </c:pt>
                <c:pt idx="11">
                  <c:v>Constipation</c:v>
                </c:pt>
                <c:pt idx="12">
                  <c:v>Anemia</c:v>
                </c:pt>
                <c:pt idx="13">
                  <c:v>Neutropenia</c:v>
                </c:pt>
                <c:pt idx="14">
                  <c:v>Diarrhea</c:v>
                </c:pt>
                <c:pt idx="15">
                  <c:v>Nausea</c:v>
                </c:pt>
                <c:pt idx="16">
                  <c:v>Peripheral neuropathy†</c:v>
                </c:pt>
              </c:strCache>
            </c:strRef>
          </c:cat>
          <c:val>
            <c:numRef>
              <c:f>Sheet1!$B$2:$B$18</c:f>
              <c:numCache>
                <c:formatCode>General</c:formatCode>
                <c:ptCount val="17"/>
                <c:pt idx="0">
                  <c:v>9.6</c:v>
                </c:pt>
                <c:pt idx="1">
                  <c:v>8.4</c:v>
                </c:pt>
                <c:pt idx="2">
                  <c:v>4.8</c:v>
                </c:pt>
                <c:pt idx="3">
                  <c:v>7.1</c:v>
                </c:pt>
                <c:pt idx="4">
                  <c:v>7.8</c:v>
                </c:pt>
                <c:pt idx="5">
                  <c:v>0</c:v>
                </c:pt>
                <c:pt idx="6">
                  <c:v>7.8</c:v>
                </c:pt>
                <c:pt idx="7">
                  <c:v>8.9</c:v>
                </c:pt>
                <c:pt idx="8">
                  <c:v>6.8</c:v>
                </c:pt>
                <c:pt idx="9">
                  <c:v>11.9</c:v>
                </c:pt>
                <c:pt idx="10">
                  <c:v>14.6</c:v>
                </c:pt>
                <c:pt idx="11">
                  <c:v>17.100000000000001</c:v>
                </c:pt>
                <c:pt idx="12">
                  <c:v>5.7</c:v>
                </c:pt>
                <c:pt idx="13">
                  <c:v>0.7</c:v>
                </c:pt>
                <c:pt idx="14">
                  <c:v>12.8</c:v>
                </c:pt>
                <c:pt idx="15">
                  <c:v>23.7</c:v>
                </c:pt>
                <c:pt idx="16">
                  <c:v>37.200000000000003</c:v>
                </c:pt>
              </c:numCache>
            </c:numRef>
          </c:val>
          <c:extLst>
            <c:ext xmlns:c16="http://schemas.microsoft.com/office/drawing/2014/chart" uri="{C3380CC4-5D6E-409C-BE32-E72D297353CC}">
              <c16:uniqueId val="{00000000-A09F-4130-8D32-9893D82752DB}"/>
            </c:ext>
          </c:extLst>
        </c:ser>
        <c:ser>
          <c:idx val="1"/>
          <c:order val="1"/>
          <c:tx>
            <c:strRef>
              <c:f>Sheet1!$C$1</c:f>
              <c:strCache>
                <c:ptCount val="1"/>
                <c:pt idx="0">
                  <c:v>R-CHOP Grade 2</c:v>
                </c:pt>
              </c:strCache>
            </c:strRef>
          </c:tx>
          <c:spPr>
            <a:solidFill>
              <a:srgbClr val="0066CC">
                <a:lumMod val="60000"/>
                <a:lumOff val="40000"/>
              </a:srgbClr>
            </a:solidFill>
            <a:ln>
              <a:noFill/>
            </a:ln>
            <a:effectLst/>
          </c:spPr>
          <c:invertIfNegative val="0"/>
          <c:cat>
            <c:strRef>
              <c:f>Sheet1!$A$2:$A$18</c:f>
              <c:strCache>
                <c:ptCount val="17"/>
                <c:pt idx="0">
                  <c:v>Dysgeusia</c:v>
                </c:pt>
                <c:pt idx="1">
                  <c:v>Asthenia</c:v>
                </c:pt>
                <c:pt idx="2">
                  <c:v>Decreased weight</c:v>
                </c:pt>
                <c:pt idx="3">
                  <c:v>Headache</c:v>
                </c:pt>
                <c:pt idx="4">
                  <c:v>Cough</c:v>
                </c:pt>
                <c:pt idx="5">
                  <c:v>Febrile neutropenia</c:v>
                </c:pt>
                <c:pt idx="6">
                  <c:v>Vomiting</c:v>
                </c:pt>
                <c:pt idx="7">
                  <c:v>Pyrexia</c:v>
                </c:pt>
                <c:pt idx="8">
                  <c:v>Decreased appetite</c:v>
                </c:pt>
                <c:pt idx="9">
                  <c:v>Alopecia</c:v>
                </c:pt>
                <c:pt idx="10">
                  <c:v>Fatigue</c:v>
                </c:pt>
                <c:pt idx="11">
                  <c:v>Constipation</c:v>
                </c:pt>
                <c:pt idx="12">
                  <c:v>Anemia</c:v>
                </c:pt>
                <c:pt idx="13">
                  <c:v>Neutropenia</c:v>
                </c:pt>
                <c:pt idx="14">
                  <c:v>Diarrhea</c:v>
                </c:pt>
                <c:pt idx="15">
                  <c:v>Nausea</c:v>
                </c:pt>
                <c:pt idx="16">
                  <c:v>Peripheral neuropathy†</c:v>
                </c:pt>
              </c:strCache>
            </c:strRef>
          </c:cat>
          <c:val>
            <c:numRef>
              <c:f>Sheet1!$C$2:$C$18</c:f>
              <c:numCache>
                <c:formatCode>General</c:formatCode>
                <c:ptCount val="17"/>
                <c:pt idx="0">
                  <c:v>3.4</c:v>
                </c:pt>
                <c:pt idx="1">
                  <c:v>3.2</c:v>
                </c:pt>
                <c:pt idx="2">
                  <c:v>6.8</c:v>
                </c:pt>
                <c:pt idx="3">
                  <c:v>5</c:v>
                </c:pt>
                <c:pt idx="4">
                  <c:v>4.3</c:v>
                </c:pt>
                <c:pt idx="5">
                  <c:v>0</c:v>
                </c:pt>
                <c:pt idx="6">
                  <c:v>5.9</c:v>
                </c:pt>
                <c:pt idx="7">
                  <c:v>3.7</c:v>
                </c:pt>
                <c:pt idx="8">
                  <c:v>6.6</c:v>
                </c:pt>
                <c:pt idx="9">
                  <c:v>11.9</c:v>
                </c:pt>
                <c:pt idx="10">
                  <c:v>9.4</c:v>
                </c:pt>
                <c:pt idx="11">
                  <c:v>11.6</c:v>
                </c:pt>
                <c:pt idx="12">
                  <c:v>11.9</c:v>
                </c:pt>
                <c:pt idx="13">
                  <c:v>1.1000000000000001</c:v>
                </c:pt>
                <c:pt idx="14">
                  <c:v>5.5</c:v>
                </c:pt>
                <c:pt idx="15">
                  <c:v>12.6</c:v>
                </c:pt>
                <c:pt idx="16">
                  <c:v>15.5</c:v>
                </c:pt>
              </c:numCache>
            </c:numRef>
          </c:val>
          <c:extLst>
            <c:ext xmlns:c16="http://schemas.microsoft.com/office/drawing/2014/chart" uri="{C3380CC4-5D6E-409C-BE32-E72D297353CC}">
              <c16:uniqueId val="{00000001-A09F-4130-8D32-9893D82752DB}"/>
            </c:ext>
          </c:extLst>
        </c:ser>
        <c:ser>
          <c:idx val="2"/>
          <c:order val="2"/>
          <c:tx>
            <c:strRef>
              <c:f>Sheet1!$D$1</c:f>
              <c:strCache>
                <c:ptCount val="1"/>
                <c:pt idx="0">
                  <c:v>R-CHOP Grade 3</c:v>
                </c:pt>
              </c:strCache>
            </c:strRef>
          </c:tx>
          <c:spPr>
            <a:solidFill>
              <a:srgbClr val="0066CC"/>
            </a:solidFill>
            <a:ln>
              <a:noFill/>
            </a:ln>
            <a:effectLst/>
          </c:spPr>
          <c:invertIfNegative val="0"/>
          <c:cat>
            <c:strRef>
              <c:f>Sheet1!$A$2:$A$18</c:f>
              <c:strCache>
                <c:ptCount val="17"/>
                <c:pt idx="0">
                  <c:v>Dysgeusia</c:v>
                </c:pt>
                <c:pt idx="1">
                  <c:v>Asthenia</c:v>
                </c:pt>
                <c:pt idx="2">
                  <c:v>Decreased weight</c:v>
                </c:pt>
                <c:pt idx="3">
                  <c:v>Headache</c:v>
                </c:pt>
                <c:pt idx="4">
                  <c:v>Cough</c:v>
                </c:pt>
                <c:pt idx="5">
                  <c:v>Febrile neutropenia</c:v>
                </c:pt>
                <c:pt idx="6">
                  <c:v>Vomiting</c:v>
                </c:pt>
                <c:pt idx="7">
                  <c:v>Pyrexia</c:v>
                </c:pt>
                <c:pt idx="8">
                  <c:v>Decreased appetite</c:v>
                </c:pt>
                <c:pt idx="9">
                  <c:v>Alopecia</c:v>
                </c:pt>
                <c:pt idx="10">
                  <c:v>Fatigue</c:v>
                </c:pt>
                <c:pt idx="11">
                  <c:v>Constipation</c:v>
                </c:pt>
                <c:pt idx="12">
                  <c:v>Anemia</c:v>
                </c:pt>
                <c:pt idx="13">
                  <c:v>Neutropenia</c:v>
                </c:pt>
                <c:pt idx="14">
                  <c:v>Diarrhea</c:v>
                </c:pt>
                <c:pt idx="15">
                  <c:v>Nausea</c:v>
                </c:pt>
                <c:pt idx="16">
                  <c:v>Peripheral neuropathy†</c:v>
                </c:pt>
              </c:strCache>
            </c:strRef>
          </c:cat>
          <c:val>
            <c:numRef>
              <c:f>Sheet1!$D$2:$D$18</c:f>
              <c:numCache>
                <c:formatCode>General</c:formatCode>
                <c:ptCount val="17"/>
                <c:pt idx="0">
                  <c:v>0</c:v>
                </c:pt>
                <c:pt idx="1">
                  <c:v>0.5</c:v>
                </c:pt>
                <c:pt idx="2">
                  <c:v>0.2</c:v>
                </c:pt>
                <c:pt idx="3">
                  <c:v>0.9</c:v>
                </c:pt>
                <c:pt idx="4">
                  <c:v>0</c:v>
                </c:pt>
                <c:pt idx="5">
                  <c:v>5.7</c:v>
                </c:pt>
                <c:pt idx="6">
                  <c:v>0.7</c:v>
                </c:pt>
                <c:pt idx="7">
                  <c:v>0</c:v>
                </c:pt>
                <c:pt idx="8">
                  <c:v>0.7</c:v>
                </c:pt>
                <c:pt idx="9">
                  <c:v>0.2</c:v>
                </c:pt>
                <c:pt idx="10">
                  <c:v>2.5</c:v>
                </c:pt>
                <c:pt idx="11">
                  <c:v>0.2</c:v>
                </c:pt>
                <c:pt idx="12">
                  <c:v>8.1999999999999993</c:v>
                </c:pt>
                <c:pt idx="13">
                  <c:v>9.8000000000000007</c:v>
                </c:pt>
                <c:pt idx="14">
                  <c:v>1.8</c:v>
                </c:pt>
                <c:pt idx="15">
                  <c:v>0.5</c:v>
                </c:pt>
                <c:pt idx="16">
                  <c:v>1.1000000000000001</c:v>
                </c:pt>
              </c:numCache>
            </c:numRef>
          </c:val>
          <c:extLst>
            <c:ext xmlns:c16="http://schemas.microsoft.com/office/drawing/2014/chart" uri="{C3380CC4-5D6E-409C-BE32-E72D297353CC}">
              <c16:uniqueId val="{00000002-A09F-4130-8D32-9893D82752DB}"/>
            </c:ext>
          </c:extLst>
        </c:ser>
        <c:ser>
          <c:idx val="3"/>
          <c:order val="3"/>
          <c:tx>
            <c:strRef>
              <c:f>Sheet1!$E$1</c:f>
              <c:strCache>
                <c:ptCount val="1"/>
                <c:pt idx="0">
                  <c:v>R-CHOP Grade 4</c:v>
                </c:pt>
              </c:strCache>
            </c:strRef>
          </c:tx>
          <c:spPr>
            <a:solidFill>
              <a:srgbClr val="004D99"/>
            </a:solidFill>
            <a:ln>
              <a:noFill/>
            </a:ln>
            <a:effectLst/>
          </c:spPr>
          <c:invertIfNegative val="0"/>
          <c:cat>
            <c:strRef>
              <c:f>Sheet1!$A$2:$A$18</c:f>
              <c:strCache>
                <c:ptCount val="17"/>
                <c:pt idx="0">
                  <c:v>Dysgeusia</c:v>
                </c:pt>
                <c:pt idx="1">
                  <c:v>Asthenia</c:v>
                </c:pt>
                <c:pt idx="2">
                  <c:v>Decreased weight</c:v>
                </c:pt>
                <c:pt idx="3">
                  <c:v>Headache</c:v>
                </c:pt>
                <c:pt idx="4">
                  <c:v>Cough</c:v>
                </c:pt>
                <c:pt idx="5">
                  <c:v>Febrile neutropenia</c:v>
                </c:pt>
                <c:pt idx="6">
                  <c:v>Vomiting</c:v>
                </c:pt>
                <c:pt idx="7">
                  <c:v>Pyrexia</c:v>
                </c:pt>
                <c:pt idx="8">
                  <c:v>Decreased appetite</c:v>
                </c:pt>
                <c:pt idx="9">
                  <c:v>Alopecia</c:v>
                </c:pt>
                <c:pt idx="10">
                  <c:v>Fatigue</c:v>
                </c:pt>
                <c:pt idx="11">
                  <c:v>Constipation</c:v>
                </c:pt>
                <c:pt idx="12">
                  <c:v>Anemia</c:v>
                </c:pt>
                <c:pt idx="13">
                  <c:v>Neutropenia</c:v>
                </c:pt>
                <c:pt idx="14">
                  <c:v>Diarrhea</c:v>
                </c:pt>
                <c:pt idx="15">
                  <c:v>Nausea</c:v>
                </c:pt>
                <c:pt idx="16">
                  <c:v>Peripheral neuropathy†</c:v>
                </c:pt>
              </c:strCache>
            </c:strRef>
          </c:cat>
          <c:val>
            <c:numRef>
              <c:f>Sheet1!$E$2:$E$18</c:f>
              <c:numCache>
                <c:formatCode>General</c:formatCode>
                <c:ptCount val="17"/>
                <c:pt idx="0">
                  <c:v>0</c:v>
                </c:pt>
                <c:pt idx="1">
                  <c:v>0</c:v>
                </c:pt>
                <c:pt idx="2">
                  <c:v>0</c:v>
                </c:pt>
                <c:pt idx="3">
                  <c:v>0</c:v>
                </c:pt>
                <c:pt idx="4">
                  <c:v>0</c:v>
                </c:pt>
                <c:pt idx="5">
                  <c:v>2.2999999999999998</c:v>
                </c:pt>
                <c:pt idx="6">
                  <c:v>0</c:v>
                </c:pt>
                <c:pt idx="7">
                  <c:v>0</c:v>
                </c:pt>
                <c:pt idx="8">
                  <c:v>0</c:v>
                </c:pt>
                <c:pt idx="9">
                  <c:v>0</c:v>
                </c:pt>
                <c:pt idx="10">
                  <c:v>0</c:v>
                </c:pt>
                <c:pt idx="11">
                  <c:v>0</c:v>
                </c:pt>
                <c:pt idx="12">
                  <c:v>0.2</c:v>
                </c:pt>
                <c:pt idx="13">
                  <c:v>21</c:v>
                </c:pt>
                <c:pt idx="14">
                  <c:v>0</c:v>
                </c:pt>
                <c:pt idx="15">
                  <c:v>0</c:v>
                </c:pt>
                <c:pt idx="16">
                  <c:v>0</c:v>
                </c:pt>
              </c:numCache>
            </c:numRef>
          </c:val>
          <c:extLst>
            <c:ext xmlns:c16="http://schemas.microsoft.com/office/drawing/2014/chart" uri="{C3380CC4-5D6E-409C-BE32-E72D297353CC}">
              <c16:uniqueId val="{00000003-A09F-4130-8D32-9893D82752DB}"/>
            </c:ext>
          </c:extLst>
        </c:ser>
        <c:ser>
          <c:idx val="4"/>
          <c:order val="4"/>
          <c:tx>
            <c:strRef>
              <c:f>Sheet1!$F$1</c:f>
              <c:strCache>
                <c:ptCount val="1"/>
                <c:pt idx="0">
                  <c:v>Pola-R-CHP Grade 1</c:v>
                </c:pt>
              </c:strCache>
            </c:strRef>
          </c:tx>
          <c:spPr>
            <a:solidFill>
              <a:srgbClr val="C0F7DE"/>
            </a:solidFill>
            <a:ln>
              <a:noFill/>
            </a:ln>
            <a:effectLst/>
          </c:spPr>
          <c:invertIfNegative val="0"/>
          <c:cat>
            <c:strRef>
              <c:f>Sheet1!$A$2:$A$18</c:f>
              <c:strCache>
                <c:ptCount val="17"/>
                <c:pt idx="0">
                  <c:v>Dysgeusia</c:v>
                </c:pt>
                <c:pt idx="1">
                  <c:v>Asthenia</c:v>
                </c:pt>
                <c:pt idx="2">
                  <c:v>Decreased weight</c:v>
                </c:pt>
                <c:pt idx="3">
                  <c:v>Headache</c:v>
                </c:pt>
                <c:pt idx="4">
                  <c:v>Cough</c:v>
                </c:pt>
                <c:pt idx="5">
                  <c:v>Febrile neutropenia</c:v>
                </c:pt>
                <c:pt idx="6">
                  <c:v>Vomiting</c:v>
                </c:pt>
                <c:pt idx="7">
                  <c:v>Pyrexia</c:v>
                </c:pt>
                <c:pt idx="8">
                  <c:v>Decreased appetite</c:v>
                </c:pt>
                <c:pt idx="9">
                  <c:v>Alopecia</c:v>
                </c:pt>
                <c:pt idx="10">
                  <c:v>Fatigue</c:v>
                </c:pt>
                <c:pt idx="11">
                  <c:v>Constipation</c:v>
                </c:pt>
                <c:pt idx="12">
                  <c:v>Anemia</c:v>
                </c:pt>
                <c:pt idx="13">
                  <c:v>Neutropenia</c:v>
                </c:pt>
                <c:pt idx="14">
                  <c:v>Diarrhea</c:v>
                </c:pt>
                <c:pt idx="15">
                  <c:v>Nausea</c:v>
                </c:pt>
                <c:pt idx="16">
                  <c:v>Peripheral neuropathy†</c:v>
                </c:pt>
              </c:strCache>
            </c:strRef>
          </c:cat>
          <c:val>
            <c:numRef>
              <c:f>Sheet1!$F$2:$F$18</c:f>
              <c:numCache>
                <c:formatCode>General</c:formatCode>
                <c:ptCount val="17"/>
                <c:pt idx="0">
                  <c:v>-8.6999999999999993</c:v>
                </c:pt>
                <c:pt idx="1">
                  <c:v>-7.1</c:v>
                </c:pt>
                <c:pt idx="2">
                  <c:v>-3.9</c:v>
                </c:pt>
                <c:pt idx="3">
                  <c:v>-7.8</c:v>
                </c:pt>
                <c:pt idx="4">
                  <c:v>-9.1999999999999993</c:v>
                </c:pt>
                <c:pt idx="5">
                  <c:v>-0.2</c:v>
                </c:pt>
                <c:pt idx="6">
                  <c:v>-10.6</c:v>
                </c:pt>
                <c:pt idx="7">
                  <c:v>-10.3</c:v>
                </c:pt>
                <c:pt idx="8">
                  <c:v>-10.6</c:v>
                </c:pt>
                <c:pt idx="9">
                  <c:v>-8.6999999999999993</c:v>
                </c:pt>
                <c:pt idx="10">
                  <c:v>-17</c:v>
                </c:pt>
                <c:pt idx="11">
                  <c:v>-18.399999999999999</c:v>
                </c:pt>
                <c:pt idx="12">
                  <c:v>-5.5</c:v>
                </c:pt>
                <c:pt idx="13">
                  <c:v>-0.5</c:v>
                </c:pt>
                <c:pt idx="14">
                  <c:v>-17.5</c:v>
                </c:pt>
                <c:pt idx="15">
                  <c:v>-26</c:v>
                </c:pt>
                <c:pt idx="16">
                  <c:v>-39.1</c:v>
                </c:pt>
              </c:numCache>
            </c:numRef>
          </c:val>
          <c:extLst>
            <c:ext xmlns:c16="http://schemas.microsoft.com/office/drawing/2014/chart" uri="{C3380CC4-5D6E-409C-BE32-E72D297353CC}">
              <c16:uniqueId val="{00000004-A09F-4130-8D32-9893D82752DB}"/>
            </c:ext>
          </c:extLst>
        </c:ser>
        <c:ser>
          <c:idx val="5"/>
          <c:order val="5"/>
          <c:tx>
            <c:strRef>
              <c:f>Sheet1!$G$1</c:f>
              <c:strCache>
                <c:ptCount val="1"/>
                <c:pt idx="0">
                  <c:v>Pola-R-CHP Grade 2</c:v>
                </c:pt>
              </c:strCache>
            </c:strRef>
          </c:tx>
          <c:spPr>
            <a:solidFill>
              <a:srgbClr val="43E69C"/>
            </a:solidFill>
            <a:ln>
              <a:noFill/>
            </a:ln>
            <a:effectLst/>
          </c:spPr>
          <c:invertIfNegative val="0"/>
          <c:cat>
            <c:strRef>
              <c:f>Sheet1!$A$2:$A$18</c:f>
              <c:strCache>
                <c:ptCount val="17"/>
                <c:pt idx="0">
                  <c:v>Dysgeusia</c:v>
                </c:pt>
                <c:pt idx="1">
                  <c:v>Asthenia</c:v>
                </c:pt>
                <c:pt idx="2">
                  <c:v>Decreased weight</c:v>
                </c:pt>
                <c:pt idx="3">
                  <c:v>Headache</c:v>
                </c:pt>
                <c:pt idx="4">
                  <c:v>Cough</c:v>
                </c:pt>
                <c:pt idx="5">
                  <c:v>Febrile neutropenia</c:v>
                </c:pt>
                <c:pt idx="6">
                  <c:v>Vomiting</c:v>
                </c:pt>
                <c:pt idx="7">
                  <c:v>Pyrexia</c:v>
                </c:pt>
                <c:pt idx="8">
                  <c:v>Decreased appetite</c:v>
                </c:pt>
                <c:pt idx="9">
                  <c:v>Alopecia</c:v>
                </c:pt>
                <c:pt idx="10">
                  <c:v>Fatigue</c:v>
                </c:pt>
                <c:pt idx="11">
                  <c:v>Constipation</c:v>
                </c:pt>
                <c:pt idx="12">
                  <c:v>Anemia</c:v>
                </c:pt>
                <c:pt idx="13">
                  <c:v>Neutropenia</c:v>
                </c:pt>
                <c:pt idx="14">
                  <c:v>Diarrhea</c:v>
                </c:pt>
                <c:pt idx="15">
                  <c:v>Nausea</c:v>
                </c:pt>
                <c:pt idx="16">
                  <c:v>Peripheral neuropathy†</c:v>
                </c:pt>
              </c:strCache>
            </c:strRef>
          </c:cat>
          <c:val>
            <c:numRef>
              <c:f>Sheet1!$G$2:$G$18</c:f>
              <c:numCache>
                <c:formatCode>General</c:formatCode>
                <c:ptCount val="17"/>
                <c:pt idx="0">
                  <c:v>-2.5</c:v>
                </c:pt>
                <c:pt idx="1">
                  <c:v>-3.4</c:v>
                </c:pt>
                <c:pt idx="2">
                  <c:v>-7.8</c:v>
                </c:pt>
                <c:pt idx="3">
                  <c:v>-4.8</c:v>
                </c:pt>
                <c:pt idx="4">
                  <c:v>-3.7</c:v>
                </c:pt>
                <c:pt idx="5">
                  <c:v>-0.2</c:v>
                </c:pt>
                <c:pt idx="6">
                  <c:v>-3.2</c:v>
                </c:pt>
                <c:pt idx="7">
                  <c:v>-3.9</c:v>
                </c:pt>
                <c:pt idx="8">
                  <c:v>-4.5999999999999996</c:v>
                </c:pt>
                <c:pt idx="9">
                  <c:v>-15.6</c:v>
                </c:pt>
                <c:pt idx="10">
                  <c:v>-7.8</c:v>
                </c:pt>
                <c:pt idx="11">
                  <c:v>-9.1999999999999993</c:v>
                </c:pt>
                <c:pt idx="12">
                  <c:v>-11.3</c:v>
                </c:pt>
                <c:pt idx="13">
                  <c:v>-2.1</c:v>
                </c:pt>
                <c:pt idx="14">
                  <c:v>-9.4</c:v>
                </c:pt>
                <c:pt idx="15">
                  <c:v>-14.5</c:v>
                </c:pt>
                <c:pt idx="16">
                  <c:v>-12.2</c:v>
                </c:pt>
              </c:numCache>
            </c:numRef>
          </c:val>
          <c:extLst>
            <c:ext xmlns:c16="http://schemas.microsoft.com/office/drawing/2014/chart" uri="{C3380CC4-5D6E-409C-BE32-E72D297353CC}">
              <c16:uniqueId val="{00000005-A09F-4130-8D32-9893D82752DB}"/>
            </c:ext>
          </c:extLst>
        </c:ser>
        <c:ser>
          <c:idx val="6"/>
          <c:order val="6"/>
          <c:tx>
            <c:strRef>
              <c:f>Sheet1!$H$1</c:f>
              <c:strCache>
                <c:ptCount val="1"/>
                <c:pt idx="0">
                  <c:v>Pola-R-CHP Grade 3</c:v>
                </c:pt>
              </c:strCache>
            </c:strRef>
          </c:tx>
          <c:spPr>
            <a:solidFill>
              <a:srgbClr val="009964"/>
            </a:solidFill>
            <a:ln>
              <a:noFill/>
            </a:ln>
            <a:effectLst/>
          </c:spPr>
          <c:invertIfNegative val="0"/>
          <c:cat>
            <c:strRef>
              <c:f>Sheet1!$A$2:$A$18</c:f>
              <c:strCache>
                <c:ptCount val="17"/>
                <c:pt idx="0">
                  <c:v>Dysgeusia</c:v>
                </c:pt>
                <c:pt idx="1">
                  <c:v>Asthenia</c:v>
                </c:pt>
                <c:pt idx="2">
                  <c:v>Decreased weight</c:v>
                </c:pt>
                <c:pt idx="3">
                  <c:v>Headache</c:v>
                </c:pt>
                <c:pt idx="4">
                  <c:v>Cough</c:v>
                </c:pt>
                <c:pt idx="5">
                  <c:v>Febrile neutropenia</c:v>
                </c:pt>
                <c:pt idx="6">
                  <c:v>Vomiting</c:v>
                </c:pt>
                <c:pt idx="7">
                  <c:v>Pyrexia</c:v>
                </c:pt>
                <c:pt idx="8">
                  <c:v>Decreased appetite</c:v>
                </c:pt>
                <c:pt idx="9">
                  <c:v>Alopecia</c:v>
                </c:pt>
                <c:pt idx="10">
                  <c:v>Fatigue</c:v>
                </c:pt>
                <c:pt idx="11">
                  <c:v>Constipation</c:v>
                </c:pt>
                <c:pt idx="12">
                  <c:v>Anemia</c:v>
                </c:pt>
                <c:pt idx="13">
                  <c:v>Neutropenia</c:v>
                </c:pt>
                <c:pt idx="14">
                  <c:v>Diarrhea</c:v>
                </c:pt>
                <c:pt idx="15">
                  <c:v>Nausea</c:v>
                </c:pt>
                <c:pt idx="16">
                  <c:v>Peripheral neuropathy†</c:v>
                </c:pt>
              </c:strCache>
            </c:strRef>
          </c:cat>
          <c:val>
            <c:numRef>
              <c:f>Sheet1!$H$2:$H$18</c:f>
              <c:numCache>
                <c:formatCode>General</c:formatCode>
                <c:ptCount val="17"/>
                <c:pt idx="0">
                  <c:v>0</c:v>
                </c:pt>
                <c:pt idx="1">
                  <c:v>-1.6</c:v>
                </c:pt>
                <c:pt idx="2">
                  <c:v>-0.9</c:v>
                </c:pt>
                <c:pt idx="3">
                  <c:v>-0.2</c:v>
                </c:pt>
                <c:pt idx="4">
                  <c:v>0</c:v>
                </c:pt>
                <c:pt idx="5">
                  <c:v>-10.3</c:v>
                </c:pt>
                <c:pt idx="6">
                  <c:v>-1.1000000000000001</c:v>
                </c:pt>
                <c:pt idx="7">
                  <c:v>-1.1000000000000001</c:v>
                </c:pt>
                <c:pt idx="8">
                  <c:v>-1.1000000000000001</c:v>
                </c:pt>
                <c:pt idx="9">
                  <c:v>0</c:v>
                </c:pt>
                <c:pt idx="10">
                  <c:v>-0.9</c:v>
                </c:pt>
                <c:pt idx="11">
                  <c:v>-0.9</c:v>
                </c:pt>
                <c:pt idx="12">
                  <c:v>-11.5</c:v>
                </c:pt>
                <c:pt idx="13">
                  <c:v>-8.6999999999999993</c:v>
                </c:pt>
                <c:pt idx="14">
                  <c:v>-3.9</c:v>
                </c:pt>
                <c:pt idx="15">
                  <c:v>-1.1000000000000001</c:v>
                </c:pt>
                <c:pt idx="16">
                  <c:v>-1.6</c:v>
                </c:pt>
              </c:numCache>
            </c:numRef>
          </c:val>
          <c:extLst>
            <c:ext xmlns:c16="http://schemas.microsoft.com/office/drawing/2014/chart" uri="{C3380CC4-5D6E-409C-BE32-E72D297353CC}">
              <c16:uniqueId val="{00000006-A09F-4130-8D32-9893D82752DB}"/>
            </c:ext>
          </c:extLst>
        </c:ser>
        <c:ser>
          <c:idx val="7"/>
          <c:order val="7"/>
          <c:tx>
            <c:strRef>
              <c:f>Sheet1!$I$1</c:f>
              <c:strCache>
                <c:ptCount val="1"/>
                <c:pt idx="0">
                  <c:v>Pola-R-CHP Grade 4</c:v>
                </c:pt>
              </c:strCache>
            </c:strRef>
          </c:tx>
          <c:spPr>
            <a:solidFill>
              <a:srgbClr val="00734B"/>
            </a:solidFill>
            <a:ln>
              <a:noFill/>
            </a:ln>
            <a:effectLst/>
          </c:spPr>
          <c:invertIfNegative val="0"/>
          <c:cat>
            <c:strRef>
              <c:f>Sheet1!$A$2:$A$18</c:f>
              <c:strCache>
                <c:ptCount val="17"/>
                <c:pt idx="0">
                  <c:v>Dysgeusia</c:v>
                </c:pt>
                <c:pt idx="1">
                  <c:v>Asthenia</c:v>
                </c:pt>
                <c:pt idx="2">
                  <c:v>Decreased weight</c:v>
                </c:pt>
                <c:pt idx="3">
                  <c:v>Headache</c:v>
                </c:pt>
                <c:pt idx="4">
                  <c:v>Cough</c:v>
                </c:pt>
                <c:pt idx="5">
                  <c:v>Febrile neutropenia</c:v>
                </c:pt>
                <c:pt idx="6">
                  <c:v>Vomiting</c:v>
                </c:pt>
                <c:pt idx="7">
                  <c:v>Pyrexia</c:v>
                </c:pt>
                <c:pt idx="8">
                  <c:v>Decreased appetite</c:v>
                </c:pt>
                <c:pt idx="9">
                  <c:v>Alopecia</c:v>
                </c:pt>
                <c:pt idx="10">
                  <c:v>Fatigue</c:v>
                </c:pt>
                <c:pt idx="11">
                  <c:v>Constipation</c:v>
                </c:pt>
                <c:pt idx="12">
                  <c:v>Anemia</c:v>
                </c:pt>
                <c:pt idx="13">
                  <c:v>Neutropenia</c:v>
                </c:pt>
                <c:pt idx="14">
                  <c:v>Diarrhea</c:v>
                </c:pt>
                <c:pt idx="15">
                  <c:v>Nausea</c:v>
                </c:pt>
                <c:pt idx="16">
                  <c:v>Peripheral neuropathy†</c:v>
                </c:pt>
              </c:strCache>
            </c:strRef>
          </c:cat>
          <c:val>
            <c:numRef>
              <c:f>Sheet1!$I$2:$I$18</c:f>
              <c:numCache>
                <c:formatCode>General</c:formatCode>
                <c:ptCount val="17"/>
                <c:pt idx="0">
                  <c:v>0</c:v>
                </c:pt>
                <c:pt idx="1">
                  <c:v>0</c:v>
                </c:pt>
                <c:pt idx="2">
                  <c:v>0</c:v>
                </c:pt>
                <c:pt idx="4">
                  <c:v>0</c:v>
                </c:pt>
                <c:pt idx="5">
                  <c:v>-3.4</c:v>
                </c:pt>
                <c:pt idx="6">
                  <c:v>0</c:v>
                </c:pt>
                <c:pt idx="7">
                  <c:v>-0.2</c:v>
                </c:pt>
                <c:pt idx="8">
                  <c:v>0</c:v>
                </c:pt>
                <c:pt idx="9">
                  <c:v>0</c:v>
                </c:pt>
                <c:pt idx="10">
                  <c:v>0</c:v>
                </c:pt>
                <c:pt idx="11">
                  <c:v>-0.2</c:v>
                </c:pt>
                <c:pt idx="12">
                  <c:v>-0.5</c:v>
                </c:pt>
                <c:pt idx="13">
                  <c:v>-19.5</c:v>
                </c:pt>
                <c:pt idx="14">
                  <c:v>0</c:v>
                </c:pt>
                <c:pt idx="15">
                  <c:v>0</c:v>
                </c:pt>
                <c:pt idx="16">
                  <c:v>0</c:v>
                </c:pt>
              </c:numCache>
            </c:numRef>
          </c:val>
          <c:extLst>
            <c:ext xmlns:c16="http://schemas.microsoft.com/office/drawing/2014/chart" uri="{C3380CC4-5D6E-409C-BE32-E72D297353CC}">
              <c16:uniqueId val="{00000007-A09F-4130-8D32-9893D82752DB}"/>
            </c:ext>
          </c:extLst>
        </c:ser>
        <c:dLbls>
          <c:showLegendKey val="0"/>
          <c:showVal val="0"/>
          <c:showCatName val="0"/>
          <c:showSerName val="0"/>
          <c:showPercent val="0"/>
          <c:showBubbleSize val="0"/>
        </c:dLbls>
        <c:gapWidth val="49"/>
        <c:overlap val="100"/>
        <c:axId val="1395801039"/>
        <c:axId val="1395798127"/>
      </c:barChart>
      <c:catAx>
        <c:axId val="1395801039"/>
        <c:scaling>
          <c:orientation val="minMax"/>
        </c:scaling>
        <c:delete val="1"/>
        <c:axPos val="l"/>
        <c:numFmt formatCode="General" sourceLinked="1"/>
        <c:majorTickMark val="none"/>
        <c:minorTickMark val="none"/>
        <c:tickLblPos val="nextTo"/>
        <c:crossAx val="1395798127"/>
        <c:crosses val="autoZero"/>
        <c:auto val="1"/>
        <c:lblAlgn val="ctr"/>
        <c:lblOffset val="100"/>
        <c:noMultiLvlLbl val="0"/>
      </c:catAx>
      <c:valAx>
        <c:axId val="1395798127"/>
        <c:scaling>
          <c:orientation val="minMax"/>
          <c:max val="100"/>
          <c:min val="-100"/>
        </c:scaling>
        <c:delete val="0"/>
        <c:axPos val="b"/>
        <c:numFmt formatCode="General" sourceLinked="1"/>
        <c:majorTickMark val="out"/>
        <c:minorTickMark val="none"/>
        <c:tickLblPos val="nextTo"/>
        <c:spPr>
          <a:noFill/>
          <a:ln w="28575" cap="sq">
            <a:solidFill>
              <a:srgbClr val="000000"/>
            </a:solidFill>
            <a:miter lim="800000"/>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395801039"/>
        <c:crosses val="autoZero"/>
        <c:crossBetween val="between"/>
        <c:majorUnit val="25"/>
      </c:valAx>
      <c:spPr>
        <a:noFill/>
        <a:ln>
          <a:noFill/>
        </a:ln>
        <a:effectLst/>
      </c:spPr>
    </c:plotArea>
    <c:plotVisOnly val="1"/>
    <c:dispBlanksAs val="gap"/>
    <c:showDLblsOverMax val="0"/>
    <c:extLst/>
  </c:chart>
  <c:spPr>
    <a:noFill/>
    <a:ln>
      <a:noFill/>
    </a:ln>
    <a:effectLst/>
  </c:spPr>
  <c:txPr>
    <a:bodyPr/>
    <a:lstStyle/>
    <a:p>
      <a:pPr>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c:style val="2"/>
  <c:chart>
    <c:title>
      <c:tx>
        <c:rich>
          <a:bodyPr/>
          <a:lstStyle/>
          <a:p>
            <a:r>
              <a:rPr lang="en-US" sz="1350" b="1" dirty="0">
                <a:solidFill>
                  <a:schemeClr val="tx1"/>
                </a:solidFill>
                <a:latin typeface="Arial"/>
              </a:rPr>
              <a:t>Bispecific Antibody Approvals in DLBCL</a:t>
            </a:r>
          </a:p>
        </c:rich>
      </c:tx>
      <c:overlay val="0"/>
    </c:title>
    <c:autoTitleDeleted val="0"/>
    <c:plotArea>
      <c:layout/>
      <c:barChart>
        <c:barDir val="col"/>
        <c:grouping val="clustered"/>
        <c:varyColors val="1"/>
        <c:ser>
          <c:idx val="0"/>
          <c:order val="0"/>
          <c:tx>
            <c:strRef>
              <c:f>Sheet1!$B$1</c:f>
              <c:strCache>
                <c:ptCount val="1"/>
                <c:pt idx="0">
                  <c:v>Number of Countries with Approval</c:v>
                </c:pt>
              </c:strCache>
            </c:strRef>
          </c:tx>
          <c:spPr>
            <a:ln w="9525">
              <a:solidFill>
                <a:srgbClr val="0089CA"/>
              </a:solidFill>
            </a:ln>
          </c:spPr>
          <c:invertIfNegative val="1"/>
          <c:dPt>
            <c:idx val="0"/>
            <c:invertIfNegative val="1"/>
            <c:bubble3D val="0"/>
            <c:spPr>
              <a:solidFill>
                <a:srgbClr val="0089CA"/>
              </a:solidFill>
            </c:spPr>
            <c:extLst>
              <c:ext xmlns:c16="http://schemas.microsoft.com/office/drawing/2014/chart" uri="{C3380CC4-5D6E-409C-BE32-E72D297353CC}">
                <c16:uniqueId val="{00000001-A09A-4762-AE42-B17DE83717B4}"/>
              </c:ext>
            </c:extLst>
          </c:dPt>
          <c:dPt>
            <c:idx val="1"/>
            <c:invertIfNegative val="1"/>
            <c:bubble3D val="0"/>
            <c:spPr>
              <a:solidFill>
                <a:srgbClr val="295698"/>
              </a:solidFill>
            </c:spPr>
            <c:extLst>
              <c:ext xmlns:c16="http://schemas.microsoft.com/office/drawing/2014/chart" uri="{C3380CC4-5D6E-409C-BE32-E72D297353CC}">
                <c16:uniqueId val="{00000003-A09A-4762-AE42-B17DE83717B4}"/>
              </c:ext>
            </c:extLst>
          </c:dPt>
          <c:dPt>
            <c:idx val="2"/>
            <c:invertIfNegative val="1"/>
            <c:bubble3D val="0"/>
            <c:spPr>
              <a:solidFill>
                <a:srgbClr val="EAD922"/>
              </a:solidFill>
            </c:spPr>
            <c:extLst>
              <c:ext xmlns:c16="http://schemas.microsoft.com/office/drawing/2014/chart" uri="{C3380CC4-5D6E-409C-BE32-E72D297353CC}">
                <c16:uniqueId val="{00000005-A09A-4762-AE42-B17DE83717B4}"/>
              </c:ext>
            </c:extLst>
          </c:dPt>
          <c:dPt>
            <c:idx val="3"/>
            <c:invertIfNegative val="1"/>
            <c:bubble3D val="0"/>
            <c:spPr>
              <a:solidFill>
                <a:srgbClr val="AFDFE1"/>
              </a:solidFill>
            </c:spPr>
            <c:extLst>
              <c:ext xmlns:c16="http://schemas.microsoft.com/office/drawing/2014/chart" uri="{C3380CC4-5D6E-409C-BE32-E72D297353CC}">
                <c16:uniqueId val="{00000007-A09A-4762-AE42-B17DE83717B4}"/>
              </c:ext>
            </c:extLst>
          </c:dPt>
          <c:cat>
            <c:strRef>
              <c:f>Sheet1!$A$2:$A$5</c:f>
              <c:strCache>
                <c:ptCount val="4"/>
                <c:pt idx="0">
                  <c:v>Glofitamab</c:v>
                </c:pt>
                <c:pt idx="1">
                  <c:v>Epcoritamab</c:v>
                </c:pt>
                <c:pt idx="2">
                  <c:v>Odronextamab
(Europe)</c:v>
                </c:pt>
                <c:pt idx="3">
                  <c:v>Mosunetuzumab
(development)</c:v>
                </c:pt>
              </c:strCache>
            </c:strRef>
          </c:cat>
          <c:val>
            <c:numRef>
              <c:f>Sheet1!$B$2:$B$5</c:f>
              <c:numCache>
                <c:formatCode>General</c:formatCode>
                <c:ptCount val="4"/>
                <c:pt idx="0">
                  <c:v>30</c:v>
                </c:pt>
                <c:pt idx="1">
                  <c:v>30</c:v>
                </c:pt>
                <c:pt idx="2">
                  <c:v>1</c:v>
                </c:pt>
                <c:pt idx="3">
                  <c:v>0</c:v>
                </c:pt>
              </c:numCache>
            </c:numRef>
          </c:val>
          <c:extLst>
            <c:ext xmlns:c16="http://schemas.microsoft.com/office/drawing/2014/chart" uri="{C3380CC4-5D6E-409C-BE32-E72D297353CC}">
              <c16:uniqueId val="{00000008-A09A-4762-AE42-B17DE83717B4}"/>
            </c:ext>
          </c:extLst>
        </c:ser>
        <c:dLbls>
          <c:showLegendKey val="0"/>
          <c:showVal val="0"/>
          <c:showCatName val="0"/>
          <c:showSerName val="0"/>
          <c:showPercent val="0"/>
          <c:showBubbleSize val="0"/>
        </c:dLbls>
        <c:gapWidth val="150"/>
        <c:axId val="-2068027336"/>
        <c:axId val="-2113994440"/>
      </c:barChart>
      <c:catAx>
        <c:axId val="-2068027336"/>
        <c:scaling>
          <c:orientation val="minMax"/>
        </c:scaling>
        <c:delete val="0"/>
        <c:axPos val="b"/>
        <c:title>
          <c:tx>
            <c:rich>
              <a:bodyPr/>
              <a:lstStyle/>
              <a:p>
                <a:r>
                  <a:rPr lang="en-US" sz="1050" dirty="0">
                    <a:solidFill>
                      <a:srgbClr val="0C233F"/>
                    </a:solidFill>
                    <a:latin typeface="Arial"/>
                  </a:rPr>
                  <a:t>Bispecific Antibody</a:t>
                </a:r>
              </a:p>
            </c:rich>
          </c:tx>
          <c:overlay val="0"/>
        </c:title>
        <c:numFmt formatCode="General" sourceLinked="0"/>
        <c:majorTickMark val="out"/>
        <c:minorTickMark val="none"/>
        <c:tickLblPos val="nextTo"/>
        <c:spPr>
          <a:ln>
            <a:solidFill>
              <a:srgbClr val="000000">
                <a:alpha val="10000"/>
              </a:srgbClr>
            </a:solidFill>
          </a:ln>
        </c:spPr>
        <c:txPr>
          <a:bodyPr/>
          <a:lstStyle/>
          <a:p>
            <a:pPr>
              <a:defRPr sz="825">
                <a:solidFill>
                  <a:srgbClr val="637592"/>
                </a:solidFill>
                <a:latin typeface="Arial"/>
              </a:defRPr>
            </a:pPr>
            <a:endParaRPr lang="en-US"/>
          </a:p>
        </c:txPr>
        <c:crossAx val="-2113994440"/>
        <c:crosses val="autoZero"/>
        <c:auto val="1"/>
        <c:lblAlgn val="ctr"/>
        <c:lblOffset val="100"/>
        <c:noMultiLvlLbl val="0"/>
      </c:catAx>
      <c:valAx>
        <c:axId val="-2113994440"/>
        <c:scaling>
          <c:orientation val="minMax"/>
          <c:min val="0"/>
        </c:scaling>
        <c:delete val="0"/>
        <c:axPos val="l"/>
        <c:majorGridlines>
          <c:spPr>
            <a:ln w="9525">
              <a:solidFill>
                <a:srgbClr val="E5E5E5"/>
              </a:solidFill>
            </a:ln>
          </c:spPr>
        </c:majorGridlines>
        <c:title>
          <c:tx>
            <c:rich>
              <a:bodyPr/>
              <a:lstStyle/>
              <a:p>
                <a:r>
                  <a:rPr lang="en-US" sz="1050" dirty="0">
                    <a:solidFill>
                      <a:srgbClr val="0C233F"/>
                    </a:solidFill>
                    <a:latin typeface="Arial"/>
                  </a:rPr>
                  <a:t>Number of Countries</a:t>
                </a:r>
              </a:p>
            </c:rich>
          </c:tx>
          <c:overlay val="0"/>
        </c:title>
        <c:numFmt formatCode="0" sourceLinked="0"/>
        <c:majorTickMark val="out"/>
        <c:minorTickMark val="none"/>
        <c:tickLblPos val="nextTo"/>
        <c:spPr>
          <a:ln>
            <a:solidFill>
              <a:srgbClr val="000000">
                <a:alpha val="10000"/>
              </a:srgbClr>
            </a:solidFill>
          </a:ln>
        </c:spPr>
        <c:txPr>
          <a:bodyPr/>
          <a:lstStyle/>
          <a:p>
            <a:pPr>
              <a:defRPr sz="900">
                <a:solidFill>
                  <a:srgbClr val="637592"/>
                </a:solidFill>
                <a:latin typeface="Arial"/>
              </a:defRPr>
            </a:pPr>
            <a:endParaRPr lang="en-US"/>
          </a:p>
        </c:txPr>
        <c:crossAx val="-2068027336"/>
        <c:crosses val="autoZero"/>
        <c:crossBetween val="between"/>
      </c:valAx>
    </c:plotArea>
    <c:plotVisOnly val="1"/>
    <c:dispBlanksAs val="gap"/>
    <c:showDLblsOverMax val="1"/>
  </c:chart>
  <c:txPr>
    <a:bodyPr/>
    <a:lstStyle/>
    <a:p>
      <a:pPr>
        <a:defRPr sz="1800"/>
      </a:pPr>
      <a:endParaRPr lang="en-US"/>
    </a:p>
  </c:txPr>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31213359266643E-2"/>
          <c:y val="3.5163777463206203E-2"/>
          <c:w val="0.89936444814396066"/>
          <c:h val="0.71971195342466676"/>
        </c:manualLayout>
      </c:layout>
      <c:scatterChart>
        <c:scatterStyle val="lineMarker"/>
        <c:varyColors val="0"/>
        <c:ser>
          <c:idx val="0"/>
          <c:order val="0"/>
          <c:tx>
            <c:strRef>
              <c:f>Sheet1!$B$1</c:f>
              <c:strCache>
                <c:ptCount val="1"/>
                <c:pt idx="0">
                  <c:v>Y-Values</c:v>
                </c:pt>
              </c:strCache>
            </c:strRef>
          </c:tx>
          <c:spPr>
            <a:ln w="28575" cap="rnd">
              <a:noFill/>
              <a:round/>
            </a:ln>
            <a:effectLst/>
          </c:spPr>
          <c:marker>
            <c:symbol val="circle"/>
            <c:size val="5"/>
            <c:spPr>
              <a:solidFill>
                <a:schemeClr val="accent1"/>
              </a:solidFill>
              <a:ln w="9525">
                <a:noFill/>
              </a:ln>
              <a:effectLst/>
            </c:spPr>
          </c:marker>
          <c:dPt>
            <c:idx val="0"/>
            <c:marker>
              <c:symbol val="circle"/>
              <c:size val="5"/>
              <c:spPr>
                <a:noFill/>
                <a:ln w="9525">
                  <a:noFill/>
                </a:ln>
                <a:effectLst/>
              </c:spPr>
            </c:marker>
            <c:bubble3D val="0"/>
            <c:extLst>
              <c:ext xmlns:c16="http://schemas.microsoft.com/office/drawing/2014/chart" uri="{C3380CC4-5D6E-409C-BE32-E72D297353CC}">
                <c16:uniqueId val="{00000000-6486-4A89-B6D5-E47F7F707760}"/>
              </c:ext>
            </c:extLst>
          </c:dPt>
          <c:xVal>
            <c:numRef>
              <c:f>Sheet1!$A$2:$A$22</c:f>
              <c:numCache>
                <c:formatCode>General</c:formatCode>
                <c:ptCount val="21"/>
                <c:pt idx="0">
                  <c:v>-2</c:v>
                </c:pt>
                <c:pt idx="1">
                  <c:v>0</c:v>
                </c:pt>
                <c:pt idx="2">
                  <c:v>2</c:v>
                </c:pt>
                <c:pt idx="3">
                  <c:v>4</c:v>
                </c:pt>
                <c:pt idx="4">
                  <c:v>6</c:v>
                </c:pt>
                <c:pt idx="5">
                  <c:v>8</c:v>
                </c:pt>
                <c:pt idx="6">
                  <c:v>10</c:v>
                </c:pt>
                <c:pt idx="7">
                  <c:v>12</c:v>
                </c:pt>
                <c:pt idx="8">
                  <c:v>14</c:v>
                </c:pt>
                <c:pt idx="9">
                  <c:v>16</c:v>
                </c:pt>
                <c:pt idx="10">
                  <c:v>18</c:v>
                </c:pt>
                <c:pt idx="11">
                  <c:v>20</c:v>
                </c:pt>
                <c:pt idx="12">
                  <c:v>22</c:v>
                </c:pt>
                <c:pt idx="13">
                  <c:v>24</c:v>
                </c:pt>
                <c:pt idx="14">
                  <c:v>26</c:v>
                </c:pt>
                <c:pt idx="15">
                  <c:v>28</c:v>
                </c:pt>
                <c:pt idx="16">
                  <c:v>30</c:v>
                </c:pt>
                <c:pt idx="17">
                  <c:v>32</c:v>
                </c:pt>
                <c:pt idx="18">
                  <c:v>34</c:v>
                </c:pt>
                <c:pt idx="19">
                  <c:v>36</c:v>
                </c:pt>
                <c:pt idx="20">
                  <c:v>38</c:v>
                </c:pt>
              </c:numCache>
            </c:numRef>
          </c:xVal>
          <c:yVal>
            <c:numRef>
              <c:f>Sheet1!$B$2:$B$22</c:f>
              <c:numCache>
                <c:formatCode>General</c:formatCode>
                <c:ptCount val="21"/>
                <c:pt idx="0">
                  <c:v>0</c:v>
                </c:pt>
              </c:numCache>
            </c:numRef>
          </c:yVal>
          <c:smooth val="0"/>
          <c:extLst>
            <c:ext xmlns:c16="http://schemas.microsoft.com/office/drawing/2014/chart" uri="{C3380CC4-5D6E-409C-BE32-E72D297353CC}">
              <c16:uniqueId val="{00000001-6486-4A89-B6D5-E47F7F707760}"/>
            </c:ext>
          </c:extLst>
        </c:ser>
        <c:dLbls>
          <c:showLegendKey val="0"/>
          <c:showVal val="0"/>
          <c:showCatName val="0"/>
          <c:showSerName val="0"/>
          <c:showPercent val="0"/>
          <c:showBubbleSize val="0"/>
        </c:dLbls>
        <c:axId val="1740655680"/>
        <c:axId val="1740648192"/>
      </c:scatterChart>
      <c:valAx>
        <c:axId val="1740655680"/>
        <c:scaling>
          <c:orientation val="minMax"/>
          <c:max val="54"/>
          <c:min val="0"/>
        </c:scaling>
        <c:delete val="0"/>
        <c:axPos val="b"/>
        <c:title>
          <c:tx>
            <c:rich>
              <a:bodyPr rot="0" spcFirstLastPara="1" vertOverflow="ellipsis" vert="horz" wrap="square" anchor="ctr" anchorCtr="1"/>
              <a:lstStyle/>
              <a:p>
                <a:pPr>
                  <a:defRPr sz="1100" b="1" i="0" u="none" strike="noStrike" kern="1200" baseline="0">
                    <a:solidFill>
                      <a:schemeClr val="tx1"/>
                    </a:solidFill>
                    <a:latin typeface="+mn-lt"/>
                    <a:ea typeface="+mn-ea"/>
                    <a:cs typeface="+mn-cs"/>
                  </a:defRPr>
                </a:pPr>
                <a:r>
                  <a:rPr lang="en-US" b="1" dirty="0"/>
                  <a:t>Time, months</a:t>
                </a:r>
              </a:p>
            </c:rich>
          </c:tx>
          <c:layout>
            <c:manualLayout>
              <c:xMode val="edge"/>
              <c:yMode val="edge"/>
              <c:x val="0.45696654936815512"/>
              <c:y val="0.9031860580592056"/>
            </c:manualLayout>
          </c:layout>
          <c:overlay val="0"/>
          <c:spPr>
            <a:noFill/>
            <a:ln>
              <a:noFill/>
            </a:ln>
            <a:effectLst/>
          </c:spPr>
          <c:txPr>
            <a:bodyPr rot="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1740648192"/>
        <c:crosses val="autoZero"/>
        <c:crossBetween val="midCat"/>
        <c:majorUnit val="3"/>
      </c:valAx>
      <c:valAx>
        <c:axId val="1740648192"/>
        <c:scaling>
          <c:orientation val="minMax"/>
          <c:max val="100"/>
        </c:scaling>
        <c:delete val="0"/>
        <c:axPos val="l"/>
        <c:title>
          <c:tx>
            <c:rich>
              <a:bodyPr rot="-5400000" spcFirstLastPara="1" vertOverflow="ellipsis" vert="horz" wrap="square" anchor="ctr" anchorCtr="1"/>
              <a:lstStyle/>
              <a:p>
                <a:pPr>
                  <a:defRPr sz="1100" b="1" i="0" u="none" strike="noStrike" kern="1200" baseline="0">
                    <a:solidFill>
                      <a:schemeClr val="tx1"/>
                    </a:solidFill>
                    <a:latin typeface="+mn-lt"/>
                    <a:ea typeface="+mn-ea"/>
                    <a:cs typeface="+mn-cs"/>
                  </a:defRPr>
                </a:pPr>
                <a:r>
                  <a:rPr lang="en-US" b="1" dirty="0"/>
                  <a:t>Overall survival, %</a:t>
                </a:r>
              </a:p>
            </c:rich>
          </c:tx>
          <c:layout>
            <c:manualLayout>
              <c:xMode val="edge"/>
              <c:yMode val="edge"/>
              <c:x val="2.6897207524788105E-2"/>
              <c:y val="0.10275105804215939"/>
            </c:manualLayout>
          </c:layout>
          <c:overlay val="0"/>
          <c:spPr>
            <a:noFill/>
            <a:ln>
              <a:noFill/>
            </a:ln>
            <a:effectLst/>
          </c:spPr>
          <c:txPr>
            <a:bodyPr rot="-540000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low"/>
        <c:spPr>
          <a:noFill/>
          <a:ln w="9525" cap="flat" cmpd="sng" algn="ctr">
            <a:solidFill>
              <a:srgbClr val="BFBFBF"/>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1740655680"/>
        <c:crossesAt val="-2"/>
        <c:crossBetween val="midCat"/>
        <c:majorUnit val="1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100">
          <a:solidFill>
            <a:schemeClr val="tx1"/>
          </a:solidFill>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31213359266643E-2"/>
          <c:y val="3.5163777463206203E-2"/>
          <c:w val="0.89936444814396066"/>
          <c:h val="0.71971195342466676"/>
        </c:manualLayout>
      </c:layout>
      <c:scatterChart>
        <c:scatterStyle val="lineMarker"/>
        <c:varyColors val="0"/>
        <c:ser>
          <c:idx val="0"/>
          <c:order val="0"/>
          <c:tx>
            <c:strRef>
              <c:f>Sheet1!$B$1</c:f>
              <c:strCache>
                <c:ptCount val="1"/>
                <c:pt idx="0">
                  <c:v>Y-Values</c:v>
                </c:pt>
              </c:strCache>
            </c:strRef>
          </c:tx>
          <c:spPr>
            <a:ln w="28575" cap="rnd">
              <a:noFill/>
              <a:round/>
            </a:ln>
            <a:effectLst/>
          </c:spPr>
          <c:marker>
            <c:symbol val="circle"/>
            <c:size val="5"/>
            <c:spPr>
              <a:solidFill>
                <a:schemeClr val="accent1"/>
              </a:solidFill>
              <a:ln w="9525">
                <a:noFill/>
              </a:ln>
              <a:effectLst/>
            </c:spPr>
          </c:marker>
          <c:dPt>
            <c:idx val="0"/>
            <c:marker>
              <c:symbol val="circle"/>
              <c:size val="5"/>
              <c:spPr>
                <a:noFill/>
                <a:ln w="9525">
                  <a:noFill/>
                </a:ln>
                <a:effectLst/>
              </c:spPr>
            </c:marker>
            <c:bubble3D val="0"/>
            <c:extLst>
              <c:ext xmlns:c16="http://schemas.microsoft.com/office/drawing/2014/chart" uri="{C3380CC4-5D6E-409C-BE32-E72D297353CC}">
                <c16:uniqueId val="{00000000-6486-4A89-B6D5-E47F7F707760}"/>
              </c:ext>
            </c:extLst>
          </c:dPt>
          <c:xVal>
            <c:numRef>
              <c:f>Sheet1!$A$2:$A$22</c:f>
              <c:numCache>
                <c:formatCode>General</c:formatCode>
                <c:ptCount val="21"/>
                <c:pt idx="0">
                  <c:v>-2</c:v>
                </c:pt>
                <c:pt idx="1">
                  <c:v>0</c:v>
                </c:pt>
                <c:pt idx="2">
                  <c:v>2</c:v>
                </c:pt>
                <c:pt idx="3">
                  <c:v>4</c:v>
                </c:pt>
                <c:pt idx="4">
                  <c:v>6</c:v>
                </c:pt>
                <c:pt idx="5">
                  <c:v>8</c:v>
                </c:pt>
                <c:pt idx="6">
                  <c:v>10</c:v>
                </c:pt>
                <c:pt idx="7">
                  <c:v>12</c:v>
                </c:pt>
                <c:pt idx="8">
                  <c:v>14</c:v>
                </c:pt>
                <c:pt idx="9">
                  <c:v>16</c:v>
                </c:pt>
                <c:pt idx="10">
                  <c:v>18</c:v>
                </c:pt>
                <c:pt idx="11">
                  <c:v>20</c:v>
                </c:pt>
                <c:pt idx="12">
                  <c:v>22</c:v>
                </c:pt>
                <c:pt idx="13">
                  <c:v>24</c:v>
                </c:pt>
                <c:pt idx="14">
                  <c:v>26</c:v>
                </c:pt>
                <c:pt idx="15">
                  <c:v>28</c:v>
                </c:pt>
                <c:pt idx="16">
                  <c:v>30</c:v>
                </c:pt>
                <c:pt idx="17">
                  <c:v>32</c:v>
                </c:pt>
                <c:pt idx="18">
                  <c:v>34</c:v>
                </c:pt>
                <c:pt idx="19">
                  <c:v>36</c:v>
                </c:pt>
                <c:pt idx="20">
                  <c:v>38</c:v>
                </c:pt>
              </c:numCache>
            </c:numRef>
          </c:xVal>
          <c:yVal>
            <c:numRef>
              <c:f>Sheet1!$B$2:$B$22</c:f>
              <c:numCache>
                <c:formatCode>General</c:formatCode>
                <c:ptCount val="21"/>
                <c:pt idx="0">
                  <c:v>0</c:v>
                </c:pt>
              </c:numCache>
            </c:numRef>
          </c:yVal>
          <c:smooth val="0"/>
          <c:extLst>
            <c:ext xmlns:c16="http://schemas.microsoft.com/office/drawing/2014/chart" uri="{C3380CC4-5D6E-409C-BE32-E72D297353CC}">
              <c16:uniqueId val="{00000001-6486-4A89-B6D5-E47F7F707760}"/>
            </c:ext>
          </c:extLst>
        </c:ser>
        <c:dLbls>
          <c:showLegendKey val="0"/>
          <c:showVal val="0"/>
          <c:showCatName val="0"/>
          <c:showSerName val="0"/>
          <c:showPercent val="0"/>
          <c:showBubbleSize val="0"/>
        </c:dLbls>
        <c:axId val="1740655680"/>
        <c:axId val="1740648192"/>
      </c:scatterChart>
      <c:valAx>
        <c:axId val="1740655680"/>
        <c:scaling>
          <c:orientation val="minMax"/>
          <c:max val="54"/>
          <c:min val="0"/>
        </c:scaling>
        <c:delete val="0"/>
        <c:axPos val="b"/>
        <c:title>
          <c:tx>
            <c:rich>
              <a:bodyPr rot="0" spcFirstLastPara="1" vertOverflow="ellipsis" vert="horz" wrap="square" anchor="ctr" anchorCtr="1"/>
              <a:lstStyle/>
              <a:p>
                <a:pPr>
                  <a:defRPr sz="1100" b="1" i="0" u="none" strike="noStrike" kern="1200" baseline="0">
                    <a:solidFill>
                      <a:schemeClr val="tx1"/>
                    </a:solidFill>
                    <a:latin typeface="+mn-lt"/>
                    <a:ea typeface="+mn-ea"/>
                    <a:cs typeface="+mn-cs"/>
                  </a:defRPr>
                </a:pPr>
                <a:r>
                  <a:rPr lang="en-US" b="1" dirty="0"/>
                  <a:t>Time, months</a:t>
                </a:r>
              </a:p>
            </c:rich>
          </c:tx>
          <c:layout>
            <c:manualLayout>
              <c:xMode val="edge"/>
              <c:yMode val="edge"/>
              <c:x val="0.45696654936815512"/>
              <c:y val="0.9031860580592056"/>
            </c:manualLayout>
          </c:layout>
          <c:overlay val="0"/>
          <c:spPr>
            <a:noFill/>
            <a:ln>
              <a:noFill/>
            </a:ln>
            <a:effectLst/>
          </c:spPr>
          <c:txPr>
            <a:bodyPr rot="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1740648192"/>
        <c:crosses val="autoZero"/>
        <c:crossBetween val="midCat"/>
        <c:majorUnit val="3"/>
      </c:valAx>
      <c:valAx>
        <c:axId val="1740648192"/>
        <c:scaling>
          <c:orientation val="minMax"/>
          <c:max val="100"/>
        </c:scaling>
        <c:delete val="0"/>
        <c:axPos val="l"/>
        <c:title>
          <c:tx>
            <c:rich>
              <a:bodyPr rot="-5400000" spcFirstLastPara="1" vertOverflow="ellipsis" vert="horz" wrap="square" anchor="ctr" anchorCtr="1"/>
              <a:lstStyle/>
              <a:p>
                <a:pPr>
                  <a:defRPr sz="1100" b="1" i="0" u="none" strike="noStrike" kern="1200" baseline="0">
                    <a:solidFill>
                      <a:schemeClr val="tx1"/>
                    </a:solidFill>
                    <a:latin typeface="+mn-lt"/>
                    <a:ea typeface="+mn-ea"/>
                    <a:cs typeface="+mn-cs"/>
                  </a:defRPr>
                </a:pPr>
                <a:r>
                  <a:rPr lang="en-US" b="1" dirty="0"/>
                  <a:t>Overall survival, %</a:t>
                </a:r>
              </a:p>
            </c:rich>
          </c:tx>
          <c:layout>
            <c:manualLayout>
              <c:xMode val="edge"/>
              <c:yMode val="edge"/>
              <c:x val="2.6897207524788105E-2"/>
              <c:y val="0.10275105804215939"/>
            </c:manualLayout>
          </c:layout>
          <c:overlay val="0"/>
          <c:spPr>
            <a:noFill/>
            <a:ln>
              <a:noFill/>
            </a:ln>
            <a:effectLst/>
          </c:spPr>
          <c:txPr>
            <a:bodyPr rot="-540000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low"/>
        <c:spPr>
          <a:noFill/>
          <a:ln w="9525" cap="flat" cmpd="sng" algn="ctr">
            <a:solidFill>
              <a:srgbClr val="BFBFBF"/>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1740655680"/>
        <c:crossesAt val="-2"/>
        <c:crossBetween val="midCat"/>
        <c:majorUnit val="1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100">
          <a:solidFill>
            <a:schemeClr val="tx1"/>
          </a:solidFill>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Hospitalization timing</c:v>
                </c:pt>
              </c:strCache>
            </c:strRef>
          </c:tx>
          <c:explosion val="6"/>
          <c:dPt>
            <c:idx val="0"/>
            <c:bubble3D val="0"/>
            <c:spPr>
              <a:solidFill>
                <a:schemeClr val="accent1"/>
              </a:solidFill>
              <a:ln w="19050">
                <a:solidFill>
                  <a:schemeClr val="lt1"/>
                </a:solidFill>
              </a:ln>
              <a:effectLst/>
            </c:spPr>
            <c:extLst>
              <c:ext xmlns:c16="http://schemas.microsoft.com/office/drawing/2014/chart" uri="{C3380CC4-5D6E-409C-BE32-E72D297353CC}">
                <c16:uniqueId val="{00000001-0367-44F7-912B-E976E36EA58A}"/>
              </c:ext>
            </c:extLst>
          </c:dPt>
          <c:dPt>
            <c:idx val="1"/>
            <c:bubble3D val="0"/>
            <c:spPr>
              <a:solidFill>
                <a:srgbClr val="458A6F"/>
              </a:solidFill>
              <a:ln w="19050">
                <a:solidFill>
                  <a:schemeClr val="lt1"/>
                </a:solidFill>
              </a:ln>
              <a:effectLst/>
            </c:spPr>
            <c:extLst>
              <c:ext xmlns:c16="http://schemas.microsoft.com/office/drawing/2014/chart" uri="{C3380CC4-5D6E-409C-BE32-E72D297353CC}">
                <c16:uniqueId val="{00000003-0367-44F7-912B-E976E36EA58A}"/>
              </c:ext>
            </c:extLst>
          </c:dPt>
          <c:dPt>
            <c:idx val="2"/>
            <c:bubble3D val="0"/>
            <c:spPr>
              <a:solidFill>
                <a:schemeClr val="accent1">
                  <a:lumMod val="50000"/>
                </a:schemeClr>
              </a:solidFill>
              <a:ln w="19050">
                <a:solidFill>
                  <a:schemeClr val="lt1"/>
                </a:solidFill>
              </a:ln>
              <a:effectLst/>
            </c:spPr>
            <c:extLst>
              <c:ext xmlns:c16="http://schemas.microsoft.com/office/drawing/2014/chart" uri="{C3380CC4-5D6E-409C-BE32-E72D297353CC}">
                <c16:uniqueId val="{00000005-0367-44F7-912B-E976E36EA58A}"/>
              </c:ext>
            </c:extLst>
          </c:dPt>
          <c:dPt>
            <c:idx val="3"/>
            <c:bubble3D val="0"/>
            <c:spPr>
              <a:solidFill>
                <a:srgbClr val="00B0F0"/>
              </a:solidFill>
              <a:ln w="19050">
                <a:solidFill>
                  <a:schemeClr val="lt1"/>
                </a:solidFill>
              </a:ln>
              <a:effectLst/>
            </c:spPr>
            <c:extLst>
              <c:ext xmlns:c16="http://schemas.microsoft.com/office/drawing/2014/chart" uri="{C3380CC4-5D6E-409C-BE32-E72D297353CC}">
                <c16:uniqueId val="{00000007-0367-44F7-912B-E976E36EA58A}"/>
              </c:ext>
            </c:extLst>
          </c:dPt>
          <c:dPt>
            <c:idx val="4"/>
            <c:bubble3D val="0"/>
            <c:spPr>
              <a:solidFill>
                <a:schemeClr val="accent2"/>
              </a:solidFill>
              <a:ln w="19050">
                <a:solidFill>
                  <a:schemeClr val="lt1"/>
                </a:solidFill>
              </a:ln>
              <a:effectLst/>
            </c:spPr>
            <c:extLst>
              <c:ext xmlns:c16="http://schemas.microsoft.com/office/drawing/2014/chart" uri="{C3380CC4-5D6E-409C-BE32-E72D297353CC}">
                <c16:uniqueId val="{00000009-0367-44F7-912B-E976E36EA58A}"/>
              </c:ext>
            </c:extLst>
          </c:dPt>
          <c:dPt>
            <c:idx val="5"/>
            <c:bubble3D val="0"/>
            <c:spPr>
              <a:solidFill>
                <a:schemeClr val="bg2">
                  <a:lumMod val="50000"/>
                </a:schemeClr>
              </a:solidFill>
              <a:ln w="19050">
                <a:solidFill>
                  <a:schemeClr val="lt1"/>
                </a:solidFill>
              </a:ln>
              <a:effectLst/>
            </c:spPr>
            <c:extLst>
              <c:ext xmlns:c16="http://schemas.microsoft.com/office/drawing/2014/chart" uri="{C3380CC4-5D6E-409C-BE32-E72D297353CC}">
                <c16:uniqueId val="{0000000A-0367-44F7-912B-E976E36EA58A}"/>
              </c:ext>
            </c:extLst>
          </c:dPt>
          <c:dPt>
            <c:idx val="6"/>
            <c:bubble3D val="0"/>
            <c:spPr>
              <a:solidFill>
                <a:schemeClr val="bg2">
                  <a:lumMod val="90000"/>
                </a:schemeClr>
              </a:solidFill>
              <a:ln w="19050">
                <a:solidFill>
                  <a:schemeClr val="lt1"/>
                </a:solidFill>
              </a:ln>
              <a:effectLst/>
            </c:spPr>
            <c:extLst>
              <c:ext xmlns:c16="http://schemas.microsoft.com/office/drawing/2014/chart" uri="{C3380CC4-5D6E-409C-BE32-E72D297353CC}">
                <c16:uniqueId val="{0000000B-0367-44F7-912B-E976E36EA58A}"/>
              </c:ext>
            </c:extLst>
          </c:dPt>
          <c:cat>
            <c:strRef>
              <c:f>Sheet1!$A$2:$A$8</c:f>
              <c:strCache>
                <c:ptCount val="7"/>
                <c:pt idx="0">
                  <c:v>Infection</c:v>
                </c:pt>
                <c:pt idx="1">
                  <c:v>Malignancy</c:v>
                </c:pt>
                <c:pt idx="2">
                  <c:v>CVR</c:v>
                </c:pt>
                <c:pt idx="3">
                  <c:v>NT/ICANS</c:v>
                </c:pt>
                <c:pt idx="4">
                  <c:v>CRS</c:v>
                </c:pt>
                <c:pt idx="5">
                  <c:v>Hemorrha</c:v>
                </c:pt>
                <c:pt idx="6">
                  <c:v>HLH</c:v>
                </c:pt>
              </c:strCache>
            </c:strRef>
          </c:cat>
          <c:val>
            <c:numRef>
              <c:f>Sheet1!$B$2:$B$8</c:f>
              <c:numCache>
                <c:formatCode>General</c:formatCode>
                <c:ptCount val="7"/>
                <c:pt idx="0">
                  <c:v>64</c:v>
                </c:pt>
                <c:pt idx="1">
                  <c:v>9</c:v>
                </c:pt>
                <c:pt idx="2">
                  <c:v>8</c:v>
                </c:pt>
                <c:pt idx="3">
                  <c:v>7</c:v>
                </c:pt>
                <c:pt idx="4">
                  <c:v>5</c:v>
                </c:pt>
                <c:pt idx="5">
                  <c:v>4.5</c:v>
                </c:pt>
                <c:pt idx="6">
                  <c:v>1</c:v>
                </c:pt>
              </c:numCache>
            </c:numRef>
          </c:val>
          <c:extLst>
            <c:ext xmlns:c16="http://schemas.microsoft.com/office/drawing/2014/chart" uri="{C3380CC4-5D6E-409C-BE32-E72D297353CC}">
              <c16:uniqueId val="{00000008-0367-44F7-912B-E976E36EA58A}"/>
            </c:ext>
          </c:extLst>
        </c:ser>
        <c:dLbls>
          <c:showLegendKey val="0"/>
          <c:showVal val="0"/>
          <c:showCatName val="0"/>
          <c:showSerName val="0"/>
          <c:showPercent val="0"/>
          <c:showBubbleSize val="0"/>
          <c:showLeaderLines val="1"/>
        </c:dLbls>
        <c:firstSliceAng val="148"/>
        <c:holeSize val="37"/>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724890112690261"/>
          <c:y val="4.0991929920003056E-2"/>
          <c:w val="0.89087313079385855"/>
          <c:h val="0.69161656012381889"/>
        </c:manualLayout>
      </c:layout>
      <c:barChart>
        <c:barDir val="col"/>
        <c:grouping val="clustered"/>
        <c:varyColors val="0"/>
        <c:ser>
          <c:idx val="0"/>
          <c:order val="0"/>
          <c:tx>
            <c:strRef>
              <c:f>Sheet1!$B$1</c:f>
              <c:strCache>
                <c:ptCount val="1"/>
                <c:pt idx="0">
                  <c:v>Any-grade infections</c:v>
                </c:pt>
              </c:strCache>
            </c:strRef>
          </c:tx>
          <c:spPr>
            <a:solidFill>
              <a:srgbClr val="DF603A"/>
            </a:solidFill>
            <a:ln>
              <a:noFill/>
            </a:ln>
            <a:effectLst/>
          </c:spPr>
          <c:invertIfNegative val="0"/>
          <c:dLbls>
            <c:dLbl>
              <c:idx val="10"/>
              <c:tx>
                <c:rich>
                  <a:bodyPr/>
                  <a:lstStyle/>
                  <a:p>
                    <a:r>
                      <a:rPr lang="en-US"/>
                      <a:t>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C53E-4C5F-B1B6-D4720EBFD13C}"/>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DF603A"/>
                    </a:solidFill>
                    <a:latin typeface="Trebuchet MS" panose="020B0603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D0—D15</c:v>
                </c:pt>
                <c:pt idx="1">
                  <c:v>D16—D30</c:v>
                </c:pt>
                <c:pt idx="2">
                  <c:v>M2—M3</c:v>
                </c:pt>
                <c:pt idx="3">
                  <c:v>M4—M6</c:v>
                </c:pt>
                <c:pt idx="4">
                  <c:v>M7—M9</c:v>
                </c:pt>
                <c:pt idx="5">
                  <c:v>M10—M12</c:v>
                </c:pt>
                <c:pt idx="6">
                  <c:v>M13—M18</c:v>
                </c:pt>
                <c:pt idx="7">
                  <c:v>M19—M24</c:v>
                </c:pt>
                <c:pt idx="8">
                  <c:v>M25—M30</c:v>
                </c:pt>
                <c:pt idx="9">
                  <c:v>M31—M36</c:v>
                </c:pt>
                <c:pt idx="10">
                  <c:v>M37—EOS</c:v>
                </c:pt>
              </c:strCache>
            </c:strRef>
          </c:cat>
          <c:val>
            <c:numRef>
              <c:f>Sheet1!$B$2:$B$12</c:f>
              <c:numCache>
                <c:formatCode>General</c:formatCode>
                <c:ptCount val="11"/>
                <c:pt idx="0">
                  <c:v>9.3000000000000007</c:v>
                </c:pt>
                <c:pt idx="1">
                  <c:v>4.7</c:v>
                </c:pt>
                <c:pt idx="2">
                  <c:v>12.3</c:v>
                </c:pt>
                <c:pt idx="3">
                  <c:v>4.8</c:v>
                </c:pt>
                <c:pt idx="4">
                  <c:v>3</c:v>
                </c:pt>
                <c:pt idx="5">
                  <c:v>3.1</c:v>
                </c:pt>
                <c:pt idx="6">
                  <c:v>4.0999999999999996</c:v>
                </c:pt>
                <c:pt idx="7">
                  <c:v>4.3</c:v>
                </c:pt>
                <c:pt idx="8">
                  <c:v>6.7</c:v>
                </c:pt>
                <c:pt idx="9">
                  <c:v>5.9</c:v>
                </c:pt>
                <c:pt idx="10">
                  <c:v>2.5</c:v>
                </c:pt>
              </c:numCache>
            </c:numRef>
          </c:val>
          <c:extLst>
            <c:ext xmlns:c16="http://schemas.microsoft.com/office/drawing/2014/chart" uri="{C3380CC4-5D6E-409C-BE32-E72D297353CC}">
              <c16:uniqueId val="{00000000-DBA5-4723-A6D7-E167D0080BFA}"/>
            </c:ext>
          </c:extLst>
        </c:ser>
        <c:ser>
          <c:idx val="1"/>
          <c:order val="1"/>
          <c:tx>
            <c:strRef>
              <c:f>Sheet1!$C$1</c:f>
              <c:strCache>
                <c:ptCount val="1"/>
                <c:pt idx="0">
                  <c:v>Grade ≥ 3 infections</c:v>
                </c:pt>
              </c:strCache>
            </c:strRef>
          </c:tx>
          <c:spPr>
            <a:solidFill>
              <a:srgbClr val="772A28"/>
            </a:solidFill>
            <a:ln>
              <a:noFill/>
            </a:ln>
            <a:effectLst/>
          </c:spPr>
          <c:invertIfNegative val="0"/>
          <c:dLbls>
            <c:dLbl>
              <c:idx val="2"/>
              <c:tx>
                <c:rich>
                  <a:bodyPr/>
                  <a:lstStyle/>
                  <a:p>
                    <a:fld id="{3C067E31-9736-4A5D-AA91-820E327B1382}"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DBA5-4723-A6D7-E167D0080BFA}"/>
                </c:ext>
              </c:extLst>
            </c:dLbl>
            <c:dLbl>
              <c:idx val="3"/>
              <c:tx>
                <c:rich>
                  <a:bodyPr/>
                  <a:lstStyle/>
                  <a:p>
                    <a:fld id="{B9D22950-9F88-4D8F-B39E-6D8A315A934C}"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DBA5-4723-A6D7-E167D0080BFA}"/>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spc="-100" baseline="0">
                    <a:solidFill>
                      <a:srgbClr val="772A28"/>
                    </a:solidFill>
                    <a:latin typeface="Trebuchet MS" panose="020B0603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D0—D15</c:v>
                </c:pt>
                <c:pt idx="1">
                  <c:v>D16—D30</c:v>
                </c:pt>
                <c:pt idx="2">
                  <c:v>M2—M3</c:v>
                </c:pt>
                <c:pt idx="3">
                  <c:v>M4—M6</c:v>
                </c:pt>
                <c:pt idx="4">
                  <c:v>M7—M9</c:v>
                </c:pt>
                <c:pt idx="5">
                  <c:v>M10—M12</c:v>
                </c:pt>
                <c:pt idx="6">
                  <c:v>M13—M18</c:v>
                </c:pt>
                <c:pt idx="7">
                  <c:v>M19—M24</c:v>
                </c:pt>
                <c:pt idx="8">
                  <c:v>M25—M30</c:v>
                </c:pt>
                <c:pt idx="9">
                  <c:v>M31—M36</c:v>
                </c:pt>
                <c:pt idx="10">
                  <c:v>M37—EOS</c:v>
                </c:pt>
              </c:strCache>
            </c:strRef>
          </c:cat>
          <c:val>
            <c:numRef>
              <c:f>Sheet1!$C$2:$C$12</c:f>
              <c:numCache>
                <c:formatCode>General</c:formatCode>
                <c:ptCount val="11"/>
                <c:pt idx="0">
                  <c:v>1.9</c:v>
                </c:pt>
                <c:pt idx="1">
                  <c:v>2.8</c:v>
                </c:pt>
                <c:pt idx="2">
                  <c:v>3.8</c:v>
                </c:pt>
                <c:pt idx="3">
                  <c:v>1</c:v>
                </c:pt>
                <c:pt idx="4">
                  <c:v>2</c:v>
                </c:pt>
                <c:pt idx="5">
                  <c:v>1</c:v>
                </c:pt>
                <c:pt idx="6">
                  <c:v>1</c:v>
                </c:pt>
                <c:pt idx="7">
                  <c:v>1.1000000000000001</c:v>
                </c:pt>
                <c:pt idx="8">
                  <c:v>3.3</c:v>
                </c:pt>
                <c:pt idx="9">
                  <c:v>3.5</c:v>
                </c:pt>
                <c:pt idx="10">
                  <c:v>1.2</c:v>
                </c:pt>
              </c:numCache>
            </c:numRef>
          </c:val>
          <c:extLst>
            <c:ext xmlns:c16="http://schemas.microsoft.com/office/drawing/2014/chart" uri="{C3380CC4-5D6E-409C-BE32-E72D297353CC}">
              <c16:uniqueId val="{00000003-DBA5-4723-A6D7-E167D0080BFA}"/>
            </c:ext>
          </c:extLst>
        </c:ser>
        <c:dLbls>
          <c:showLegendKey val="0"/>
          <c:showVal val="0"/>
          <c:showCatName val="0"/>
          <c:showSerName val="0"/>
          <c:showPercent val="0"/>
          <c:showBubbleSize val="0"/>
        </c:dLbls>
        <c:gapWidth val="100"/>
        <c:overlap val="-15"/>
        <c:axId val="1967681087"/>
        <c:axId val="1967682527"/>
      </c:barChart>
      <c:catAx>
        <c:axId val="1967681087"/>
        <c:scaling>
          <c:orientation val="minMax"/>
        </c:scaling>
        <c:delete val="0"/>
        <c:axPos val="b"/>
        <c:title>
          <c:tx>
            <c:rich>
              <a:bodyPr rot="0" spcFirstLastPara="1" vertOverflow="ellipsis" vert="horz" wrap="square" anchor="ctr" anchorCtr="1"/>
              <a:lstStyle/>
              <a:p>
                <a:pPr>
                  <a:defRPr sz="1200" b="1" i="0" u="none" strike="noStrike" kern="1200" baseline="0">
                    <a:solidFill>
                      <a:srgbClr val="595454"/>
                    </a:solidFill>
                    <a:latin typeface="Trebuchet MS" panose="020B0603020202020204" pitchFamily="34" charset="0"/>
                    <a:ea typeface="+mn-ea"/>
                    <a:cs typeface="+mn-cs"/>
                  </a:defRPr>
                </a:pPr>
                <a:r>
                  <a:rPr lang="en-US" sz="1200" b="1" dirty="0">
                    <a:solidFill>
                      <a:srgbClr val="595454"/>
                    </a:solidFill>
                  </a:rPr>
                  <a:t>Time</a:t>
                </a:r>
                <a:r>
                  <a:rPr lang="en-US" sz="1200" b="1" baseline="0" dirty="0">
                    <a:solidFill>
                      <a:srgbClr val="595454"/>
                    </a:solidFill>
                  </a:rPr>
                  <a:t> from infusion</a:t>
                </a:r>
                <a:endParaRPr lang="en-US" sz="1200" b="1" dirty="0">
                  <a:solidFill>
                    <a:srgbClr val="595454"/>
                  </a:solidFill>
                </a:endParaRPr>
              </a:p>
            </c:rich>
          </c:tx>
          <c:layout>
            <c:manualLayout>
              <c:xMode val="edge"/>
              <c:yMode val="edge"/>
              <c:x val="0.43599680587146361"/>
              <c:y val="0.92115597095738977"/>
            </c:manualLayout>
          </c:layout>
          <c:overlay val="0"/>
          <c:spPr>
            <a:noFill/>
            <a:ln>
              <a:noFill/>
            </a:ln>
            <a:effectLst/>
          </c:spPr>
          <c:txPr>
            <a:bodyPr rot="0" spcFirstLastPara="1" vertOverflow="ellipsis" vert="horz" wrap="square" anchor="ctr" anchorCtr="1"/>
            <a:lstStyle/>
            <a:p>
              <a:pPr>
                <a:defRPr sz="1200" b="1" i="0" u="none" strike="noStrike" kern="1200" baseline="0">
                  <a:solidFill>
                    <a:srgbClr val="595454"/>
                  </a:solidFill>
                  <a:latin typeface="Trebuchet MS" panose="020B0603020202020204" pitchFamily="34" charset="0"/>
                  <a:ea typeface="+mn-ea"/>
                  <a:cs typeface="+mn-cs"/>
                </a:defRPr>
              </a:pPr>
              <a:endParaRPr lang="en-US"/>
            </a:p>
          </c:txPr>
        </c:title>
        <c:numFmt formatCode="General" sourceLinked="1"/>
        <c:majorTickMark val="out"/>
        <c:minorTickMark val="none"/>
        <c:tickLblPos val="nextTo"/>
        <c:spPr>
          <a:noFill/>
          <a:ln w="9525" cap="flat" cmpd="sng" algn="ctr">
            <a:solidFill>
              <a:schemeClr val="tx1">
                <a:lumMod val="75000"/>
                <a:lumOff val="2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Trebuchet MS" panose="020B0603020202020204" pitchFamily="34" charset="0"/>
                <a:ea typeface="+mn-ea"/>
                <a:cs typeface="+mn-cs"/>
              </a:defRPr>
            </a:pPr>
            <a:endParaRPr lang="en-US"/>
          </a:p>
        </c:txPr>
        <c:crossAx val="1967682527"/>
        <c:crosses val="autoZero"/>
        <c:auto val="1"/>
        <c:lblAlgn val="ctr"/>
        <c:lblOffset val="100"/>
        <c:noMultiLvlLbl val="0"/>
      </c:catAx>
      <c:valAx>
        <c:axId val="1967682527"/>
        <c:scaling>
          <c:orientation val="minMax"/>
          <c:max val="100"/>
        </c:scaling>
        <c:delete val="0"/>
        <c:axPos val="l"/>
        <c:title>
          <c:tx>
            <c:rich>
              <a:bodyPr rot="-5400000" spcFirstLastPara="1" vertOverflow="ellipsis" vert="horz" wrap="square" anchor="ctr" anchorCtr="1"/>
              <a:lstStyle/>
              <a:p>
                <a:pPr>
                  <a:defRPr sz="1200" b="1" i="0" u="none" strike="noStrike" kern="1200" baseline="0">
                    <a:solidFill>
                      <a:srgbClr val="595454"/>
                    </a:solidFill>
                    <a:latin typeface="Trebuchet MS" panose="020B0603020202020204" pitchFamily="34" charset="0"/>
                    <a:ea typeface="+mn-ea"/>
                    <a:cs typeface="+mn-cs"/>
                  </a:defRPr>
                </a:pPr>
                <a:r>
                  <a:rPr lang="en-US" sz="1200" b="1" dirty="0">
                    <a:solidFill>
                      <a:srgbClr val="595454"/>
                    </a:solidFill>
                  </a:rPr>
                  <a:t>Patients, %</a:t>
                </a:r>
              </a:p>
            </c:rich>
          </c:tx>
          <c:overlay val="0"/>
          <c:spPr>
            <a:noFill/>
            <a:ln>
              <a:noFill/>
            </a:ln>
            <a:effectLst/>
          </c:spPr>
          <c:txPr>
            <a:bodyPr rot="-5400000" spcFirstLastPara="1" vertOverflow="ellipsis" vert="horz" wrap="square" anchor="ctr" anchorCtr="1"/>
            <a:lstStyle/>
            <a:p>
              <a:pPr>
                <a:defRPr sz="1200" b="1" i="0" u="none" strike="noStrike" kern="1200" baseline="0">
                  <a:solidFill>
                    <a:srgbClr val="595454"/>
                  </a:solidFill>
                  <a:latin typeface="Trebuchet MS" panose="020B0603020202020204" pitchFamily="34" charset="0"/>
                  <a:ea typeface="+mn-ea"/>
                  <a:cs typeface="+mn-cs"/>
                </a:defRPr>
              </a:pPr>
              <a:endParaRPr lang="en-US"/>
            </a:p>
          </c:txPr>
        </c:title>
        <c:numFmt formatCode="General" sourceLinked="1"/>
        <c:majorTickMark val="out"/>
        <c:minorTickMark val="none"/>
        <c:tickLblPos val="nextTo"/>
        <c:spPr>
          <a:noFill/>
          <a:ln>
            <a:solidFill>
              <a:schemeClr val="tx1">
                <a:lumMod val="75000"/>
                <a:lumOff val="25000"/>
              </a:schemeClr>
            </a:solidFill>
          </a:ln>
          <a:effectLst/>
        </c:spPr>
        <c:txPr>
          <a:bodyPr rot="-60000000" spcFirstLastPara="1" vertOverflow="ellipsis" vert="horz" wrap="square" anchor="ctr" anchorCtr="1"/>
          <a:lstStyle/>
          <a:p>
            <a:pPr>
              <a:defRPr sz="1197" b="0" i="0" u="none" strike="noStrike" kern="1200" baseline="0">
                <a:solidFill>
                  <a:srgbClr val="595454"/>
                </a:solidFill>
                <a:latin typeface="Trebuchet MS" panose="020B0603020202020204" pitchFamily="34" charset="0"/>
                <a:ea typeface="+mn-ea"/>
                <a:cs typeface="+mn-cs"/>
              </a:defRPr>
            </a:pPr>
            <a:endParaRPr lang="en-US"/>
          </a:p>
        </c:txPr>
        <c:crossAx val="1967681087"/>
        <c:crosses val="autoZero"/>
        <c:crossBetween val="between"/>
        <c:majorUnit val="20"/>
      </c:valAx>
      <c:spPr>
        <a:noFill/>
        <a:ln>
          <a:noFill/>
        </a:ln>
        <a:effectLst/>
      </c:spPr>
    </c:plotArea>
    <c:legend>
      <c:legendPos val="b"/>
      <c:layout>
        <c:manualLayout>
          <c:xMode val="edge"/>
          <c:yMode val="edge"/>
          <c:x val="0.37914152664524842"/>
          <c:y val="1.6813216543114108E-2"/>
          <c:w val="0.60405277234668076"/>
          <c:h val="0.19607867576490531"/>
        </c:manualLayout>
      </c:layout>
      <c:overlay val="0"/>
      <c:spPr>
        <a:noFill/>
        <a:ln>
          <a:noFill/>
        </a:ln>
        <a:effectLst/>
      </c:spPr>
      <c:txPr>
        <a:bodyPr rot="0" spcFirstLastPara="1" vertOverflow="ellipsis" vert="horz" wrap="square" anchor="ctr" anchorCtr="1"/>
        <a:lstStyle/>
        <a:p>
          <a:pPr>
            <a:defRPr sz="1197" b="0" i="0" u="none" strike="noStrike" kern="1200" baseline="0">
              <a:solidFill>
                <a:srgbClr val="595454"/>
              </a:solidFill>
              <a:latin typeface="Trebuchet MS" panose="020B0603020202020204" pitchFamily="34"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Trebuchet MS" panose="020B0603020202020204" pitchFamily="34" charset="0"/>
        </a:defRPr>
      </a:pPr>
      <a:endParaRPr lang="en-US"/>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388501276416481"/>
          <c:y val="3.0636385143127512E-2"/>
          <c:w val="0.88913570158727173"/>
          <c:h val="0.65114988077470703"/>
        </c:manualLayout>
      </c:layout>
      <c:barChart>
        <c:barDir val="col"/>
        <c:grouping val="clustered"/>
        <c:varyColors val="0"/>
        <c:ser>
          <c:idx val="0"/>
          <c:order val="0"/>
          <c:tx>
            <c:strRef>
              <c:f>Sheet1!$B$1</c:f>
              <c:strCache>
                <c:ptCount val="1"/>
                <c:pt idx="0">
                  <c:v>Grade ≥ 3 neutropenia</c:v>
                </c:pt>
              </c:strCache>
            </c:strRef>
          </c:tx>
          <c:spPr>
            <a:solidFill>
              <a:srgbClr val="138967"/>
            </a:solidFill>
            <a:ln>
              <a:noFill/>
            </a:ln>
            <a:effectLst/>
          </c:spPr>
          <c:invertIfNegative val="0"/>
          <c:dLbls>
            <c:dLbl>
              <c:idx val="0"/>
              <c:tx>
                <c:rich>
                  <a:bodyPr/>
                  <a:lstStyle/>
                  <a:p>
                    <a:r>
                      <a:rPr lang="en-US"/>
                      <a:t>79</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B1A-45D6-8BB6-E529563BF8CC}"/>
                </c:ext>
              </c:extLst>
            </c:dLbl>
            <c:dLbl>
              <c:idx val="1"/>
              <c:tx>
                <c:rich>
                  <a:bodyPr/>
                  <a:lstStyle/>
                  <a:p>
                    <a:r>
                      <a:rPr lang="en-US"/>
                      <a:t>25</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A51B-4291-ACE8-BB1AEAACBEAF}"/>
                </c:ext>
              </c:extLst>
            </c:dLbl>
            <c:dLbl>
              <c:idx val="2"/>
              <c:tx>
                <c:rich>
                  <a:bodyPr/>
                  <a:lstStyle/>
                  <a:p>
                    <a:r>
                      <a:rPr lang="en-US"/>
                      <a:t>25</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51B-4291-ACE8-BB1AEAACBEAF}"/>
                </c:ext>
              </c:extLst>
            </c:dLbl>
            <c:dLbl>
              <c:idx val="3"/>
              <c:tx>
                <c:rich>
                  <a:bodyPr/>
                  <a:lstStyle/>
                  <a:p>
                    <a:r>
                      <a:rPr lang="en-US"/>
                      <a:t>14</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51B-4291-ACE8-BB1AEAACBEAF}"/>
                </c:ext>
              </c:extLst>
            </c:dLbl>
            <c:dLbl>
              <c:idx val="4"/>
              <c:tx>
                <c:rich>
                  <a:bodyPr/>
                  <a:lstStyle/>
                  <a:p>
                    <a:r>
                      <a:rPr lang="en-US"/>
                      <a:t>7</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51B-4291-ACE8-BB1AEAACBEAF}"/>
                </c:ext>
              </c:extLst>
            </c:dLbl>
            <c:dLbl>
              <c:idx val="5"/>
              <c:tx>
                <c:rich>
                  <a:bodyPr/>
                  <a:lstStyle/>
                  <a:p>
                    <a:r>
                      <a:rPr lang="en-US"/>
                      <a:t>12</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51B-4291-ACE8-BB1AEAACBEAF}"/>
                </c:ext>
              </c:extLst>
            </c:dLbl>
            <c:dLbl>
              <c:idx val="6"/>
              <c:tx>
                <c:rich>
                  <a:bodyPr/>
                  <a:lstStyle/>
                  <a:p>
                    <a:r>
                      <a:rPr lang="en-US"/>
                      <a:t>1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51B-4291-ACE8-BB1AEAACBEAF}"/>
                </c:ext>
              </c:extLst>
            </c:dLbl>
            <c:dLbl>
              <c:idx val="7"/>
              <c:tx>
                <c:rich>
                  <a:bodyPr/>
                  <a:lstStyle/>
                  <a:p>
                    <a:r>
                      <a:rPr lang="en-US"/>
                      <a:t>6</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A51B-4291-ACE8-BB1AEAACBEAF}"/>
                </c:ext>
              </c:extLst>
            </c:dLbl>
            <c:dLbl>
              <c:idx val="8"/>
              <c:tx>
                <c:rich>
                  <a:bodyPr/>
                  <a:lstStyle/>
                  <a:p>
                    <a:r>
                      <a:rPr lang="en-US"/>
                      <a:t>1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51B-4291-ACE8-BB1AEAACBEAF}"/>
                </c:ext>
              </c:extLst>
            </c:dLbl>
            <c:dLbl>
              <c:idx val="9"/>
              <c:tx>
                <c:rich>
                  <a:bodyPr/>
                  <a:lstStyle/>
                  <a:p>
                    <a:r>
                      <a:rPr lang="en-US"/>
                      <a:t>8</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51B-4291-ACE8-BB1AEAACBEAF}"/>
                </c:ext>
              </c:extLst>
            </c:dLbl>
            <c:dLbl>
              <c:idx val="10"/>
              <c:tx>
                <c:rich>
                  <a:bodyPr/>
                  <a:lstStyle/>
                  <a:p>
                    <a:r>
                      <a:rPr lang="en-US"/>
                      <a:t>7</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B1A-45D6-8BB6-E529563BF8CC}"/>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138967"/>
                    </a:solidFill>
                    <a:latin typeface="Trebuchet MS" panose="020B0603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D0—D15</c:v>
                </c:pt>
                <c:pt idx="1">
                  <c:v>D16—D30</c:v>
                </c:pt>
                <c:pt idx="2">
                  <c:v>M2—M3</c:v>
                </c:pt>
                <c:pt idx="3">
                  <c:v>M4—M6</c:v>
                </c:pt>
                <c:pt idx="4">
                  <c:v>M7—M9</c:v>
                </c:pt>
                <c:pt idx="5">
                  <c:v>M10—M12</c:v>
                </c:pt>
                <c:pt idx="6">
                  <c:v>M13—M18</c:v>
                </c:pt>
                <c:pt idx="7">
                  <c:v>M19—M24</c:v>
                </c:pt>
                <c:pt idx="8">
                  <c:v>M25—M30</c:v>
                </c:pt>
                <c:pt idx="9">
                  <c:v>M31—M36</c:v>
                </c:pt>
                <c:pt idx="10">
                  <c:v>M37—EOS</c:v>
                </c:pt>
              </c:strCache>
            </c:strRef>
          </c:cat>
          <c:val>
            <c:numRef>
              <c:f>Sheet1!$B$2:$B$12</c:f>
              <c:numCache>
                <c:formatCode>General</c:formatCode>
                <c:ptCount val="11"/>
                <c:pt idx="0">
                  <c:v>79.400000000000006</c:v>
                </c:pt>
                <c:pt idx="1">
                  <c:v>24.8</c:v>
                </c:pt>
                <c:pt idx="2">
                  <c:v>25.2</c:v>
                </c:pt>
                <c:pt idx="3">
                  <c:v>14.1</c:v>
                </c:pt>
                <c:pt idx="4">
                  <c:v>7.1</c:v>
                </c:pt>
                <c:pt idx="5">
                  <c:v>11.7</c:v>
                </c:pt>
                <c:pt idx="6">
                  <c:v>9.6</c:v>
                </c:pt>
                <c:pt idx="7">
                  <c:v>6.4</c:v>
                </c:pt>
                <c:pt idx="8">
                  <c:v>9.8000000000000007</c:v>
                </c:pt>
                <c:pt idx="9">
                  <c:v>7.5</c:v>
                </c:pt>
                <c:pt idx="10">
                  <c:v>7.3</c:v>
                </c:pt>
              </c:numCache>
            </c:numRef>
          </c:val>
          <c:extLst>
            <c:ext xmlns:c16="http://schemas.microsoft.com/office/drawing/2014/chart" uri="{C3380CC4-5D6E-409C-BE32-E72D297353CC}">
              <c16:uniqueId val="{00000009-A51B-4291-ACE8-BB1AEAACBEAF}"/>
            </c:ext>
          </c:extLst>
        </c:ser>
        <c:ser>
          <c:idx val="1"/>
          <c:order val="1"/>
          <c:tx>
            <c:strRef>
              <c:f>Sheet1!$C$1</c:f>
              <c:strCache>
                <c:ptCount val="1"/>
                <c:pt idx="0">
                  <c:v>Growth factors for neutropenia</c:v>
                </c:pt>
              </c:strCache>
            </c:strRef>
          </c:tx>
          <c:spPr>
            <a:solidFill>
              <a:srgbClr val="A69F9F"/>
            </a:solidFill>
            <a:ln>
              <a:noFill/>
            </a:ln>
            <a:effectLst/>
          </c:spPr>
          <c:invertIfNegative val="0"/>
          <c:dLbls>
            <c:dLbl>
              <c:idx val="1"/>
              <c:tx>
                <c:rich>
                  <a:bodyPr/>
                  <a:lstStyle/>
                  <a:p>
                    <a:r>
                      <a:rPr lang="en-US"/>
                      <a:t>24</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B1A-45D6-8BB6-E529563BF8CC}"/>
                </c:ext>
              </c:extLst>
            </c:dLbl>
            <c:dLbl>
              <c:idx val="2"/>
              <c:tx>
                <c:rich>
                  <a:bodyPr/>
                  <a:lstStyle/>
                  <a:p>
                    <a:r>
                      <a:rPr lang="en-US"/>
                      <a:t>12</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BB1A-45D6-8BB6-E529563BF8CC}"/>
                </c:ext>
              </c:extLst>
            </c:dLbl>
            <c:dLbl>
              <c:idx val="3"/>
              <c:tx>
                <c:rich>
                  <a:bodyPr/>
                  <a:lstStyle/>
                  <a:p>
                    <a:r>
                      <a:rPr lang="en-US"/>
                      <a:t>5</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BB1A-45D6-8BB6-E529563BF8CC}"/>
                </c:ext>
              </c:extLst>
            </c:dLbl>
            <c:dLbl>
              <c:idx val="10"/>
              <c:tx>
                <c:rich>
                  <a:bodyPr/>
                  <a:lstStyle/>
                  <a:p>
                    <a:r>
                      <a:rPr lang="en-US"/>
                      <a:t>1</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BB1A-45D6-8BB6-E529563BF8CC}"/>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A69F9F"/>
                    </a:solidFill>
                    <a:latin typeface="Trebuchet MS" panose="020B0603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D0—D15</c:v>
                </c:pt>
                <c:pt idx="1">
                  <c:v>D16—D30</c:v>
                </c:pt>
                <c:pt idx="2">
                  <c:v>M2—M3</c:v>
                </c:pt>
                <c:pt idx="3">
                  <c:v>M4—M6</c:v>
                </c:pt>
                <c:pt idx="4">
                  <c:v>M7—M9</c:v>
                </c:pt>
                <c:pt idx="5">
                  <c:v>M10—M12</c:v>
                </c:pt>
                <c:pt idx="6">
                  <c:v>M13—M18</c:v>
                </c:pt>
                <c:pt idx="7">
                  <c:v>M19—M24</c:v>
                </c:pt>
                <c:pt idx="8">
                  <c:v>M25—M30</c:v>
                </c:pt>
                <c:pt idx="9">
                  <c:v>M31—M36</c:v>
                </c:pt>
                <c:pt idx="10">
                  <c:v>M37—EOS</c:v>
                </c:pt>
              </c:strCache>
            </c:strRef>
          </c:cat>
          <c:val>
            <c:numRef>
              <c:f>Sheet1!$C$2:$C$12</c:f>
              <c:numCache>
                <c:formatCode>General</c:formatCode>
                <c:ptCount val="11"/>
                <c:pt idx="0">
                  <c:v>29</c:v>
                </c:pt>
                <c:pt idx="1">
                  <c:v>23.6</c:v>
                </c:pt>
                <c:pt idx="2">
                  <c:v>12.3</c:v>
                </c:pt>
                <c:pt idx="3">
                  <c:v>4.8</c:v>
                </c:pt>
                <c:pt idx="4">
                  <c:v>3</c:v>
                </c:pt>
                <c:pt idx="5">
                  <c:v>1</c:v>
                </c:pt>
                <c:pt idx="6">
                  <c:v>1</c:v>
                </c:pt>
                <c:pt idx="7">
                  <c:v>0</c:v>
                </c:pt>
                <c:pt idx="8">
                  <c:v>0</c:v>
                </c:pt>
                <c:pt idx="9">
                  <c:v>0</c:v>
                </c:pt>
                <c:pt idx="10">
                  <c:v>1.2</c:v>
                </c:pt>
              </c:numCache>
            </c:numRef>
          </c:val>
          <c:extLst>
            <c:ext xmlns:c16="http://schemas.microsoft.com/office/drawing/2014/chart" uri="{C3380CC4-5D6E-409C-BE32-E72D297353CC}">
              <c16:uniqueId val="{0000000A-A51B-4291-ACE8-BB1AEAACBEAF}"/>
            </c:ext>
          </c:extLst>
        </c:ser>
        <c:dLbls>
          <c:dLblPos val="outEnd"/>
          <c:showLegendKey val="0"/>
          <c:showVal val="1"/>
          <c:showCatName val="0"/>
          <c:showSerName val="0"/>
          <c:showPercent val="0"/>
          <c:showBubbleSize val="0"/>
        </c:dLbls>
        <c:gapWidth val="100"/>
        <c:overlap val="-16"/>
        <c:axId val="1967681087"/>
        <c:axId val="1967682527"/>
      </c:barChart>
      <c:catAx>
        <c:axId val="1967681087"/>
        <c:scaling>
          <c:orientation val="minMax"/>
        </c:scaling>
        <c:delete val="0"/>
        <c:axPos val="b"/>
        <c:title>
          <c:tx>
            <c:rich>
              <a:bodyPr rot="0" spcFirstLastPara="1" vertOverflow="ellipsis" vert="horz" wrap="square" anchor="ctr" anchorCtr="1"/>
              <a:lstStyle/>
              <a:p>
                <a:pPr>
                  <a:defRPr sz="1200" b="1" i="0" u="none" strike="noStrike" kern="1200" baseline="0">
                    <a:solidFill>
                      <a:srgbClr val="595454"/>
                    </a:solidFill>
                    <a:latin typeface="Trebuchet MS" panose="020B0603020202020204" pitchFamily="34" charset="0"/>
                    <a:ea typeface="+mn-ea"/>
                    <a:cs typeface="+mn-cs"/>
                  </a:defRPr>
                </a:pPr>
                <a:r>
                  <a:rPr lang="en-US" sz="1200" b="1" dirty="0">
                    <a:solidFill>
                      <a:srgbClr val="595454"/>
                    </a:solidFill>
                  </a:rPr>
                  <a:t>Time</a:t>
                </a:r>
                <a:r>
                  <a:rPr lang="en-US" sz="1200" b="1" baseline="0" dirty="0">
                    <a:solidFill>
                      <a:srgbClr val="595454"/>
                    </a:solidFill>
                  </a:rPr>
                  <a:t> from infusion</a:t>
                </a:r>
                <a:endParaRPr lang="en-US" sz="1200" b="1" dirty="0">
                  <a:solidFill>
                    <a:srgbClr val="595454"/>
                  </a:solidFill>
                </a:endParaRPr>
              </a:p>
            </c:rich>
          </c:tx>
          <c:layout>
            <c:manualLayout>
              <c:xMode val="edge"/>
              <c:yMode val="edge"/>
              <c:x val="0.43176428987255672"/>
              <c:y val="0.87578071587502071"/>
            </c:manualLayout>
          </c:layout>
          <c:overlay val="0"/>
          <c:spPr>
            <a:noFill/>
            <a:ln>
              <a:noFill/>
            </a:ln>
            <a:effectLst/>
          </c:spPr>
          <c:txPr>
            <a:bodyPr rot="0" spcFirstLastPara="1" vertOverflow="ellipsis" vert="horz" wrap="square" anchor="ctr" anchorCtr="1"/>
            <a:lstStyle/>
            <a:p>
              <a:pPr>
                <a:defRPr sz="1200" b="1" i="0" u="none" strike="noStrike" kern="1200" baseline="0">
                  <a:solidFill>
                    <a:srgbClr val="595454"/>
                  </a:solidFill>
                  <a:latin typeface="Trebuchet MS" panose="020B0603020202020204" pitchFamily="34" charset="0"/>
                  <a:ea typeface="+mn-ea"/>
                  <a:cs typeface="+mn-cs"/>
                </a:defRPr>
              </a:pPr>
              <a:endParaRPr lang="en-US"/>
            </a:p>
          </c:txPr>
        </c:title>
        <c:numFmt formatCode="General" sourceLinked="1"/>
        <c:majorTickMark val="out"/>
        <c:minorTickMark val="none"/>
        <c:tickLblPos val="nextTo"/>
        <c:spPr>
          <a:noFill/>
          <a:ln w="9525" cap="flat" cmpd="sng" algn="ctr">
            <a:solidFill>
              <a:schemeClr val="tx1">
                <a:lumMod val="75000"/>
                <a:lumOff val="25000"/>
              </a:schemeClr>
            </a:solidFill>
            <a:round/>
          </a:ln>
          <a:effectLst/>
        </c:spPr>
        <c:txPr>
          <a:bodyPr rot="-60000000" spcFirstLastPara="1" vertOverflow="ellipsis" vert="horz" wrap="square" anchor="ctr" anchorCtr="1"/>
          <a:lstStyle/>
          <a:p>
            <a:pPr>
              <a:defRPr sz="1000" b="0" i="0" u="none" strike="noStrike" kern="1200" baseline="0">
                <a:solidFill>
                  <a:srgbClr val="595454"/>
                </a:solidFill>
                <a:latin typeface="Trebuchet MS" panose="020B0603020202020204" pitchFamily="34" charset="0"/>
                <a:ea typeface="+mn-ea"/>
                <a:cs typeface="+mn-cs"/>
              </a:defRPr>
            </a:pPr>
            <a:endParaRPr lang="en-US"/>
          </a:p>
        </c:txPr>
        <c:crossAx val="1967682527"/>
        <c:crosses val="autoZero"/>
        <c:auto val="1"/>
        <c:lblAlgn val="ctr"/>
        <c:lblOffset val="100"/>
        <c:noMultiLvlLbl val="0"/>
      </c:catAx>
      <c:valAx>
        <c:axId val="1967682527"/>
        <c:scaling>
          <c:orientation val="minMax"/>
          <c:max val="100"/>
        </c:scaling>
        <c:delete val="0"/>
        <c:axPos val="l"/>
        <c:title>
          <c:tx>
            <c:rich>
              <a:bodyPr rot="-5400000" spcFirstLastPara="1" vertOverflow="ellipsis" vert="horz" wrap="square" anchor="ctr" anchorCtr="1"/>
              <a:lstStyle/>
              <a:p>
                <a:pPr>
                  <a:defRPr sz="1200" b="1" i="0" u="none" strike="noStrike" kern="1200" baseline="0">
                    <a:solidFill>
                      <a:schemeClr val="tx1">
                        <a:lumMod val="65000"/>
                        <a:lumOff val="35000"/>
                      </a:schemeClr>
                    </a:solidFill>
                    <a:latin typeface="Trebuchet MS" panose="020B0603020202020204" pitchFamily="34" charset="0"/>
                    <a:ea typeface="+mn-ea"/>
                    <a:cs typeface="+mn-cs"/>
                  </a:defRPr>
                </a:pPr>
                <a:r>
                  <a:rPr lang="en-US" sz="1200" b="1" dirty="0"/>
                  <a:t>Patients, %</a:t>
                </a:r>
              </a:p>
            </c:rich>
          </c:tx>
          <c:overlay val="0"/>
          <c:spPr>
            <a:noFill/>
            <a:ln>
              <a:noFill/>
            </a:ln>
            <a:effectLst/>
          </c:spPr>
          <c:txPr>
            <a:bodyPr rot="-5400000" spcFirstLastPara="1" vertOverflow="ellipsis" vert="horz" wrap="square" anchor="ctr" anchorCtr="1"/>
            <a:lstStyle/>
            <a:p>
              <a:pPr>
                <a:defRPr sz="1200" b="1" i="0" u="none" strike="noStrike" kern="1200" baseline="0">
                  <a:solidFill>
                    <a:schemeClr val="tx1">
                      <a:lumMod val="65000"/>
                      <a:lumOff val="35000"/>
                    </a:schemeClr>
                  </a:solidFill>
                  <a:latin typeface="Trebuchet MS" panose="020B0603020202020204" pitchFamily="34" charset="0"/>
                  <a:ea typeface="+mn-ea"/>
                  <a:cs typeface="+mn-cs"/>
                </a:defRPr>
              </a:pPr>
              <a:endParaRPr lang="en-US"/>
            </a:p>
          </c:txPr>
        </c:title>
        <c:numFmt formatCode="General" sourceLinked="1"/>
        <c:majorTickMark val="out"/>
        <c:minorTickMark val="none"/>
        <c:tickLblPos val="nextTo"/>
        <c:spPr>
          <a:noFill/>
          <a:ln>
            <a:solidFill>
              <a:schemeClr val="tx1">
                <a:lumMod val="75000"/>
                <a:lumOff val="25000"/>
              </a:schemeClr>
            </a:solidFill>
          </a:ln>
          <a:effectLst/>
        </c:spPr>
        <c:txPr>
          <a:bodyPr rot="-60000000" spcFirstLastPara="1" vertOverflow="ellipsis" vert="horz" wrap="square" anchor="ctr" anchorCtr="1"/>
          <a:lstStyle/>
          <a:p>
            <a:pPr>
              <a:defRPr sz="1197" b="0" i="0" u="none" strike="noStrike" kern="1200" baseline="0">
                <a:solidFill>
                  <a:srgbClr val="595454"/>
                </a:solidFill>
                <a:latin typeface="Trebuchet MS" panose="020B0603020202020204" pitchFamily="34" charset="0"/>
                <a:ea typeface="+mn-ea"/>
                <a:cs typeface="+mn-cs"/>
              </a:defRPr>
            </a:pPr>
            <a:endParaRPr lang="en-US"/>
          </a:p>
        </c:txPr>
        <c:crossAx val="1967681087"/>
        <c:crosses val="autoZero"/>
        <c:crossBetween val="between"/>
        <c:majorUnit val="20"/>
      </c:valAx>
      <c:spPr>
        <a:noFill/>
        <a:ln>
          <a:noFill/>
        </a:ln>
        <a:effectLst/>
      </c:spPr>
    </c:plotArea>
    <c:legend>
      <c:legendPos val="b"/>
      <c:layout>
        <c:manualLayout>
          <c:xMode val="edge"/>
          <c:yMode val="edge"/>
          <c:x val="0.2642753490469012"/>
          <c:y val="5.8972390624503372E-2"/>
          <c:w val="0.7357246509530988"/>
          <c:h val="8.8034407799494091E-2"/>
        </c:manualLayout>
      </c:layout>
      <c:overlay val="0"/>
      <c:spPr>
        <a:noFill/>
        <a:ln>
          <a:noFill/>
        </a:ln>
        <a:effectLst/>
      </c:spPr>
      <c:txPr>
        <a:bodyPr rot="0" spcFirstLastPara="1" vertOverflow="ellipsis" vert="horz" wrap="square" anchor="ctr" anchorCtr="1"/>
        <a:lstStyle/>
        <a:p>
          <a:pPr>
            <a:defRPr sz="1197" b="0" i="0" u="none" strike="noStrike" kern="1200" baseline="0">
              <a:solidFill>
                <a:srgbClr val="595454"/>
              </a:solidFill>
              <a:latin typeface="Trebuchet MS" panose="020B0603020202020204" pitchFamily="34"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Trebuchet MS" panose="020B0603020202020204" pitchFamily="34" charset="0"/>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Arial"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Arial" charset="0"/>
              </a:defRPr>
            </a:lvl1pPr>
          </a:lstStyle>
          <a:p>
            <a:fld id="{7139F55B-6B9C-4D4E-8A72-E299C4C64A41}" type="datetimeFigureOut">
              <a:rPr lang="en-US" smtClean="0"/>
              <a:pPr/>
              <a:t>4/24/26</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Arial"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Arial" charset="0"/>
              </a:defRPr>
            </a:lvl1pPr>
          </a:lstStyle>
          <a:p>
            <a:fld id="{FA8FB2E5-378F-DE4E-BB7B-A485723615BE}" type="slidenum">
              <a:rPr lang="en-US" smtClean="0"/>
              <a:pPr/>
              <a:t>‹#›</a:t>
            </a:fld>
            <a:endParaRPr lang="en-US" dirty="0"/>
          </a:p>
        </p:txBody>
      </p:sp>
    </p:spTree>
    <p:extLst>
      <p:ext uri="{BB962C8B-B14F-4D97-AF65-F5344CB8AC3E}">
        <p14:creationId xmlns:p14="http://schemas.microsoft.com/office/powerpoint/2010/main" val="696303222"/>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rial" charset="0"/>
        <a:ea typeface="+mn-ea"/>
        <a:cs typeface="+mn-cs"/>
      </a:defRPr>
    </a:lvl1pPr>
    <a:lvl2pPr marL="457200" algn="l" defTabSz="914400" rtl="0" eaLnBrk="1" latinLnBrk="0" hangingPunct="1">
      <a:defRPr sz="1200" b="0" i="0" kern="1200">
        <a:solidFill>
          <a:schemeClr val="tx1"/>
        </a:solidFill>
        <a:latin typeface="Arial" charset="0"/>
        <a:ea typeface="+mn-ea"/>
        <a:cs typeface="+mn-cs"/>
      </a:defRPr>
    </a:lvl2pPr>
    <a:lvl3pPr marL="914400" algn="l" defTabSz="914400" rtl="0" eaLnBrk="1" latinLnBrk="0" hangingPunct="1">
      <a:defRPr sz="1200" b="0" i="0" kern="1200">
        <a:solidFill>
          <a:schemeClr val="tx1"/>
        </a:solidFill>
        <a:latin typeface="Arial" charset="0"/>
        <a:ea typeface="+mn-ea"/>
        <a:cs typeface="+mn-cs"/>
      </a:defRPr>
    </a:lvl3pPr>
    <a:lvl4pPr marL="1371600" algn="l" defTabSz="914400" rtl="0" eaLnBrk="1" latinLnBrk="0" hangingPunct="1">
      <a:defRPr sz="1200" b="0" i="0" kern="1200">
        <a:solidFill>
          <a:schemeClr val="tx1"/>
        </a:solidFill>
        <a:latin typeface="Arial" charset="0"/>
        <a:ea typeface="+mn-ea"/>
        <a:cs typeface="+mn-cs"/>
      </a:defRPr>
    </a:lvl4pPr>
    <a:lvl5pPr marL="1828800" algn="l" defTabSz="914400" rtl="0" eaLnBrk="1" latinLnBrk="0" hangingPunct="1">
      <a:defRPr sz="1200" b="0" i="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ＭＳ Ｐゴシック" charset="0"/>
                <a:cs typeface="+mn-cs"/>
              </a:rPr>
              <a:t>ASCO CRC and GI</a:t>
            </a:r>
          </a:p>
        </p:txBody>
      </p:sp>
      <p:sp>
        <p:nvSpPr>
          <p:cNvPr id="5" name="Footer Placeholder 4"/>
          <p:cNvSpPr>
            <a:spLocks noGrp="1"/>
          </p:cNvSpPr>
          <p:nvPr>
            <p:ph type="ftr" sz="quarter" idx="4"/>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charset="0"/>
              <a:ea typeface="ＭＳ Ｐゴシック" charset="0"/>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1FF50E98-AC92-C54A-ACBD-9B80212ADB1C}" type="slidenum">
              <a:rPr kumimoji="0" lang="en-US" sz="1200" b="0" i="0" u="none" strike="noStrike" kern="1200" cap="none" spc="0" normalizeH="0" baseline="0" noProof="0" smtClean="0">
                <a:ln>
                  <a:noFill/>
                </a:ln>
                <a:solidFill>
                  <a:srgbClr val="000000"/>
                </a:solidFill>
                <a:effectLst/>
                <a:uLnTx/>
                <a:uFillTx/>
                <a:latin typeface="Arial" charset="0"/>
                <a:ea typeface="ＭＳ Ｐゴシック" charset="0"/>
                <a:cs typeface="+mn-cs"/>
              </a:rPr>
              <a:pPr marL="0" marR="0" lvl="0" indent="0" algn="r" defTabSz="914400" rtl="0" eaLnBrk="0" fontAlgn="base" latinLnBrk="0" hangingPunct="0">
                <a:lnSpc>
                  <a:spcPct val="100000"/>
                </a:lnSpc>
                <a:spcBef>
                  <a:spcPct val="0"/>
                </a:spcBef>
                <a:spcAft>
                  <a:spcPct val="0"/>
                </a:spcAft>
                <a:buClrTx/>
                <a:buSzTx/>
                <a:buFontTx/>
                <a:buNone/>
                <a:tabLst/>
                <a:defRPr/>
              </a:pPr>
              <a:t>1</a:t>
            </a:fld>
            <a:endParaRPr kumimoji="0" lang="en-US" sz="1200" b="0" i="0" u="none" strike="noStrike" kern="1200" cap="none" spc="0" normalizeH="0" baseline="0" noProof="0">
              <a:ln>
                <a:noFill/>
              </a:ln>
              <a:solidFill>
                <a:srgbClr val="000000"/>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4917748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86313284"/>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950AEE-EF14-470D-AF56-2187C231676D}"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20910323"/>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950AEE-EF14-470D-AF56-2187C231676D}"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51241555"/>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1EF9D8-CA96-FC06-120D-F8D558EBE4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5AB07E3-8F7A-3456-485F-E47372B5C93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79C5935-13A3-57C5-59A0-C21136B88FB5}"/>
              </a:ext>
            </a:extLst>
          </p:cNvPr>
          <p:cNvSpPr>
            <a:spLocks noGrp="1"/>
          </p:cNvSpPr>
          <p:nvPr>
            <p:ph type="body" idx="1"/>
          </p:nvPr>
        </p:nvSpPr>
        <p:spPr/>
        <p:txBody>
          <a:bodyPr/>
          <a:lstStyle/>
          <a:p>
            <a:endParaRPr lang="en-US" dirty="0"/>
          </a:p>
        </p:txBody>
      </p:sp>
      <p:sp>
        <p:nvSpPr>
          <p:cNvPr id="4" name="Header Placeholder 3">
            <a:extLst>
              <a:ext uri="{FF2B5EF4-FFF2-40B4-BE49-F238E27FC236}">
                <a16:creationId xmlns:a16="http://schemas.microsoft.com/office/drawing/2014/main" id="{8A331186-9AA2-2CD1-9461-CCD12A92D114}"/>
              </a:ext>
            </a:extLst>
          </p:cNvPr>
          <p:cNvSpPr>
            <a:spLocks noGrp="1"/>
          </p:cNvSpPr>
          <p:nvPr>
            <p:ph type="hdr" sz="quarter"/>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ＭＳ Ｐゴシック" charset="0"/>
                <a:cs typeface="+mn-cs"/>
              </a:rPr>
              <a:t>ASCO CRC and GI</a:t>
            </a:r>
          </a:p>
        </p:txBody>
      </p:sp>
      <p:sp>
        <p:nvSpPr>
          <p:cNvPr id="5" name="Footer Placeholder 4">
            <a:extLst>
              <a:ext uri="{FF2B5EF4-FFF2-40B4-BE49-F238E27FC236}">
                <a16:creationId xmlns:a16="http://schemas.microsoft.com/office/drawing/2014/main" id="{A9FC87A1-1016-F0C9-47D3-F7D7903A22E7}"/>
              </a:ext>
            </a:extLst>
          </p:cNvPr>
          <p:cNvSpPr>
            <a:spLocks noGrp="1"/>
          </p:cNvSpPr>
          <p:nvPr>
            <p:ph type="ftr" sz="quarter" idx="4"/>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charset="0"/>
              <a:ea typeface="ＭＳ Ｐゴシック" charset="0"/>
              <a:cs typeface="+mn-cs"/>
            </a:endParaRPr>
          </a:p>
        </p:txBody>
      </p:sp>
      <p:sp>
        <p:nvSpPr>
          <p:cNvPr id="6" name="Slide Number Placeholder 5">
            <a:extLst>
              <a:ext uri="{FF2B5EF4-FFF2-40B4-BE49-F238E27FC236}">
                <a16:creationId xmlns:a16="http://schemas.microsoft.com/office/drawing/2014/main" id="{5FA8A121-DBE0-A065-7B1E-08021C518995}"/>
              </a:ext>
            </a:extLst>
          </p:cNvPr>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1FF50E98-AC92-C54A-ACBD-9B80212ADB1C}" type="slidenum">
              <a:rPr kumimoji="0" lang="en-US" sz="1200" b="0" i="0" u="none" strike="noStrike" kern="1200" cap="none" spc="0" normalizeH="0" baseline="0" noProof="0" smtClean="0">
                <a:ln>
                  <a:noFill/>
                </a:ln>
                <a:solidFill>
                  <a:srgbClr val="000000"/>
                </a:solidFill>
                <a:effectLst/>
                <a:uLnTx/>
                <a:uFillTx/>
                <a:latin typeface="Arial" charset="0"/>
                <a:ea typeface="ＭＳ Ｐゴシック" charset="0"/>
                <a:cs typeface="+mn-cs"/>
              </a:rPr>
              <a:pPr marL="0" marR="0" lvl="0" indent="0" algn="r" defTabSz="914400" rtl="0" eaLnBrk="0" fontAlgn="base" latinLnBrk="0" hangingPunct="0">
                <a:lnSpc>
                  <a:spcPct val="100000"/>
                </a:lnSpc>
                <a:spcBef>
                  <a:spcPct val="0"/>
                </a:spcBef>
                <a:spcAft>
                  <a:spcPct val="0"/>
                </a:spcAft>
                <a:buClrTx/>
                <a:buSzTx/>
                <a:buFontTx/>
                <a:buNone/>
                <a:tabLst/>
                <a:defRPr/>
              </a:pPr>
              <a:t>176</a:t>
            </a:fld>
            <a:endParaRPr kumimoji="0" lang="en-US" sz="1200" b="0" i="0" u="none" strike="noStrike" kern="1200" cap="none" spc="0" normalizeH="0" baseline="0" noProof="0">
              <a:ln>
                <a:noFill/>
              </a:ln>
              <a:solidFill>
                <a:srgbClr val="000000"/>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4258966672"/>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5" name="Rectangle 2"/>
          <p:cNvSpPr>
            <a:spLocks noGrp="1" noRot="1" noChangeAspect="1" noChangeArrowheads="1" noTextEdit="1"/>
          </p:cNvSpPr>
          <p:nvPr>
            <p:ph type="sldImg"/>
          </p:nvPr>
        </p:nvSpPr>
        <p:spPr>
          <a:xfrm>
            <a:off x="381000" y="685800"/>
            <a:ext cx="6096000" cy="3429000"/>
          </a:xfrm>
          <a:ln/>
        </p:spPr>
      </p:sp>
      <p:sp>
        <p:nvSpPr>
          <p:cNvPr id="93186" name="Rectangle 3"/>
          <p:cNvSpPr>
            <a:spLocks noGrp="1" noChangeArrowheads="1"/>
          </p:cNvSpPr>
          <p:nvPr>
            <p:ph type="body" idx="1"/>
          </p:nvPr>
        </p:nvSpPr>
        <p:spPr>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0"/>
              </a:spcBef>
            </a:pPr>
            <a:endParaRPr lang="en-US" sz="2000" i="1">
              <a:latin typeface="Arial" charset="0"/>
              <a:ea typeface="ＭＳ Ｐゴシック" charset="0"/>
              <a:cs typeface="ＭＳ Ｐゴシック" charset="0"/>
            </a:endParaRPr>
          </a:p>
        </p:txBody>
      </p:sp>
    </p:spTree>
    <p:extLst>
      <p:ext uri="{BB962C8B-B14F-4D97-AF65-F5344CB8AC3E}">
        <p14:creationId xmlns:p14="http://schemas.microsoft.com/office/powerpoint/2010/main" val="36685288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6F453B-369D-9F3C-D134-5B86E8C85E2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3A4240F-DDCF-7078-358D-281F152D94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2F9F48F-0B3E-B896-E54E-A6E88832DC9D}"/>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7096485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E59915-4A85-5656-270D-10E9CA486F83}"/>
            </a:ext>
          </a:extLst>
        </p:cNvPr>
        <p:cNvGrpSpPr/>
        <p:nvPr/>
      </p:nvGrpSpPr>
      <p:grpSpPr>
        <a:xfrm>
          <a:off x="0" y="0"/>
          <a:ext cx="0" cy="0"/>
          <a:chOff x="0" y="0"/>
          <a:chExt cx="0" cy="0"/>
        </a:xfrm>
      </p:grpSpPr>
      <p:sp>
        <p:nvSpPr>
          <p:cNvPr id="93185" name="Rectangle 2">
            <a:extLst>
              <a:ext uri="{FF2B5EF4-FFF2-40B4-BE49-F238E27FC236}">
                <a16:creationId xmlns:a16="http://schemas.microsoft.com/office/drawing/2014/main" id="{658345EF-897E-7E51-D9A3-EEBAE9DE1278}"/>
              </a:ext>
            </a:extLst>
          </p:cNvPr>
          <p:cNvSpPr>
            <a:spLocks noGrp="1" noRot="1" noChangeAspect="1" noChangeArrowheads="1" noTextEdit="1"/>
          </p:cNvSpPr>
          <p:nvPr>
            <p:ph type="sldImg"/>
          </p:nvPr>
        </p:nvSpPr>
        <p:spPr>
          <a:xfrm>
            <a:off x="381000" y="685800"/>
            <a:ext cx="6096000" cy="3429000"/>
          </a:xfrm>
          <a:ln/>
        </p:spPr>
      </p:sp>
      <p:sp>
        <p:nvSpPr>
          <p:cNvPr id="93186" name="Rectangle 3">
            <a:extLst>
              <a:ext uri="{FF2B5EF4-FFF2-40B4-BE49-F238E27FC236}">
                <a16:creationId xmlns:a16="http://schemas.microsoft.com/office/drawing/2014/main" id="{4B266992-AD09-45C5-2069-63D42F8F9034}"/>
              </a:ext>
            </a:extLst>
          </p:cNvPr>
          <p:cNvSpPr>
            <a:spLocks noGrp="1" noChangeArrowheads="1"/>
          </p:cNvSpPr>
          <p:nvPr>
            <p:ph type="body" idx="1"/>
          </p:nvPr>
        </p:nvSpPr>
        <p:spPr>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a:spcBef>
                <a:spcPct val="0"/>
              </a:spcBef>
            </a:pPr>
            <a:endParaRPr lang="en-US" sz="2000" i="1">
              <a:latin typeface="Arial" charset="0"/>
              <a:ea typeface="ＭＳ Ｐゴシック" charset="0"/>
              <a:cs typeface="ＭＳ Ｐゴシック" charset="0"/>
            </a:endParaRPr>
          </a:p>
        </p:txBody>
      </p:sp>
    </p:spTree>
    <p:extLst>
      <p:ext uri="{BB962C8B-B14F-4D97-AF65-F5344CB8AC3E}">
        <p14:creationId xmlns:p14="http://schemas.microsoft.com/office/powerpoint/2010/main" val="8566684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9CE8F7-0F4D-65A0-A14E-2EFBE720AB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1F39D57-16D6-08F7-BE42-73A4491BCCD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08838C9-F990-8401-08CB-7B35E130B420}"/>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6179694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4</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7950329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solidFill>
                <a:srgbClr val="00B0F0"/>
              </a:solidFill>
            </a:endParaRP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AD751AE-7ABC-314D-AFAD-47B860ED6FFE}" type="slidenum">
              <a:rPr kumimoji="0" lang="en-US" sz="1200" b="0" i="0" u="none" strike="noStrike" kern="1200" cap="none" spc="0" normalizeH="0" baseline="0" noProof="0" smtClean="0">
                <a:ln>
                  <a:noFill/>
                </a:ln>
                <a:solidFill>
                  <a:prstClr val="black"/>
                </a:solidFill>
                <a:effectLst/>
                <a:uLnTx/>
                <a:uFillTx/>
                <a:latin typeface="Arial"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Arial" charset="0"/>
              <a:ea typeface="+mn-ea"/>
              <a:cs typeface="Arial" charset="0"/>
            </a:endParaRPr>
          </a:p>
        </p:txBody>
      </p:sp>
    </p:spTree>
    <p:extLst>
      <p:ext uri="{BB962C8B-B14F-4D97-AF65-F5344CB8AC3E}">
        <p14:creationId xmlns:p14="http://schemas.microsoft.com/office/powerpoint/2010/main" val="17365890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6026C5-AB95-0C6D-C593-EFEE07A04F1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E52B9EF-FC9A-B8B6-4C91-D70CFF42C42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942E1FF-C7D8-AF88-1B32-B7628D387EC0}"/>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6159115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Image Placeholder 1">
            <a:extLst>
              <a:ext uri="{FF2B5EF4-FFF2-40B4-BE49-F238E27FC236}">
                <a16:creationId xmlns:a16="http://schemas.microsoft.com/office/drawing/2014/main" id="{4C5349E3-4CDD-06B4-8F65-FDA2F31D798E}"/>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0" name="Notes Placeholder 2">
            <a:extLst>
              <a:ext uri="{FF2B5EF4-FFF2-40B4-BE49-F238E27FC236}">
                <a16:creationId xmlns:a16="http://schemas.microsoft.com/office/drawing/2014/main" id="{6D1C2251-770C-8EDB-2199-8FB6A1852EC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58371" name="Slide Number Placeholder 3">
            <a:extLst>
              <a:ext uri="{FF2B5EF4-FFF2-40B4-BE49-F238E27FC236}">
                <a16:creationId xmlns:a16="http://schemas.microsoft.com/office/drawing/2014/main" id="{16E639A2-8B55-F363-20A4-BA0142061EC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31F23AA0-7402-6F4A-9703-31BACE7FC0E2}" type="slidenum">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771422-4274-3D4F-8582-1744C4D5796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65129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2F5703-9A55-6826-17DC-3F33D2461CC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950D37F-DD9C-61F7-C1B9-AF03B05AA09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42F433F-4534-C87E-65B4-0DD55BC36F4D}"/>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5696582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00C3E0-D224-5237-2F3B-A0A8EEC8477F}"/>
            </a:ext>
          </a:extLst>
        </p:cNvPr>
        <p:cNvGrpSpPr/>
        <p:nvPr/>
      </p:nvGrpSpPr>
      <p:grpSpPr>
        <a:xfrm>
          <a:off x="0" y="0"/>
          <a:ext cx="0" cy="0"/>
          <a:chOff x="0" y="0"/>
          <a:chExt cx="0" cy="0"/>
        </a:xfrm>
      </p:grpSpPr>
      <p:sp>
        <p:nvSpPr>
          <p:cNvPr id="93185" name="Rectangle 2">
            <a:extLst>
              <a:ext uri="{FF2B5EF4-FFF2-40B4-BE49-F238E27FC236}">
                <a16:creationId xmlns:a16="http://schemas.microsoft.com/office/drawing/2014/main" id="{C2335613-0C0E-9399-75B0-6423D67EF949}"/>
              </a:ext>
            </a:extLst>
          </p:cNvPr>
          <p:cNvSpPr>
            <a:spLocks noGrp="1" noRot="1" noChangeAspect="1" noChangeArrowheads="1" noTextEdit="1"/>
          </p:cNvSpPr>
          <p:nvPr>
            <p:ph type="sldImg"/>
          </p:nvPr>
        </p:nvSpPr>
        <p:spPr>
          <a:xfrm>
            <a:off x="381000" y="685800"/>
            <a:ext cx="6096000" cy="3429000"/>
          </a:xfrm>
          <a:ln/>
        </p:spPr>
      </p:sp>
      <p:sp>
        <p:nvSpPr>
          <p:cNvPr id="93186" name="Rectangle 3">
            <a:extLst>
              <a:ext uri="{FF2B5EF4-FFF2-40B4-BE49-F238E27FC236}">
                <a16:creationId xmlns:a16="http://schemas.microsoft.com/office/drawing/2014/main" id="{1B2775C3-60E8-4933-7083-FD1E129FEBEA}"/>
              </a:ext>
            </a:extLst>
          </p:cNvPr>
          <p:cNvSpPr>
            <a:spLocks noGrp="1" noChangeArrowheads="1"/>
          </p:cNvSpPr>
          <p:nvPr>
            <p:ph type="body" idx="1"/>
          </p:nvPr>
        </p:nvSpPr>
        <p:spPr>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0"/>
              </a:spcBef>
            </a:pPr>
            <a:endParaRPr lang="en-US" sz="2000" i="1">
              <a:latin typeface="Arial" charset="0"/>
              <a:ea typeface="ＭＳ Ｐゴシック" charset="0"/>
              <a:cs typeface="ＭＳ Ｐゴシック" charset="0"/>
            </a:endParaRPr>
          </a:p>
        </p:txBody>
      </p:sp>
    </p:spTree>
    <p:extLst>
      <p:ext uri="{BB962C8B-B14F-4D97-AF65-F5344CB8AC3E}">
        <p14:creationId xmlns:p14="http://schemas.microsoft.com/office/powerpoint/2010/main" val="8189732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7188" y="690563"/>
            <a:ext cx="6143625" cy="34559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53B81B8-344C-459C-8F4B-74DF3AC04C2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403321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950AEE-EF14-470D-AF56-2187C231676D}"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427289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950AEE-EF14-470D-AF56-2187C231676D}"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584460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950AEE-EF14-470D-AF56-2187C231676D}"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279567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950AEE-EF14-470D-AF56-2187C231676D}"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6372231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950AEE-EF14-470D-AF56-2187C231676D}"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0290131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7188" y="709613"/>
            <a:ext cx="6143625" cy="34559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53B81B8-344C-459C-8F4B-74DF3AC04C2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nvGrpSpPr>
          <p:cNvPr id="5" name="Group 4">
            <a:extLst>
              <a:ext uri="{FF2B5EF4-FFF2-40B4-BE49-F238E27FC236}">
                <a16:creationId xmlns:a16="http://schemas.microsoft.com/office/drawing/2014/main" id="{E5B7A227-6411-A2B0-9A17-5D18E66FA085}"/>
              </a:ext>
            </a:extLst>
          </p:cNvPr>
          <p:cNvGrpSpPr/>
          <p:nvPr/>
        </p:nvGrpSpPr>
        <p:grpSpPr>
          <a:xfrm>
            <a:off x="4424172" y="436647"/>
            <a:ext cx="1892681" cy="3235240"/>
            <a:chOff x="357187" y="618080"/>
            <a:chExt cx="1367173" cy="2112046"/>
          </a:xfrm>
        </p:grpSpPr>
        <p:sp>
          <p:nvSpPr>
            <p:cNvPr id="6" name="Rectangle 5">
              <a:extLst>
                <a:ext uri="{FF2B5EF4-FFF2-40B4-BE49-F238E27FC236}">
                  <a16:creationId xmlns:a16="http://schemas.microsoft.com/office/drawing/2014/main" id="{B72D9EF0-7A60-E033-4DFB-0A7EC00E13A4}"/>
                </a:ext>
              </a:extLst>
            </p:cNvPr>
            <p:cNvSpPr/>
            <p:nvPr/>
          </p:nvSpPr>
          <p:spPr>
            <a:xfrm>
              <a:off x="357187" y="1376363"/>
              <a:ext cx="1367173" cy="1353763"/>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7" name="Straight Arrow Connector 6">
              <a:extLst>
                <a:ext uri="{FF2B5EF4-FFF2-40B4-BE49-F238E27FC236}">
                  <a16:creationId xmlns:a16="http://schemas.microsoft.com/office/drawing/2014/main" id="{7E9371F6-8AA6-0CA2-C13A-ABA3BEE0117A}"/>
                </a:ext>
              </a:extLst>
            </p:cNvPr>
            <p:cNvCxnSpPr>
              <a:cxnSpLocks/>
            </p:cNvCxnSpPr>
            <p:nvPr/>
          </p:nvCxnSpPr>
          <p:spPr>
            <a:xfrm flipV="1">
              <a:off x="968116" y="965321"/>
              <a:ext cx="0" cy="411043"/>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C0B4D600-4088-B27B-ECC0-0A0884703D09}"/>
                </a:ext>
              </a:extLst>
            </p:cNvPr>
            <p:cNvSpPr txBox="1"/>
            <p:nvPr/>
          </p:nvSpPr>
          <p:spPr>
            <a:xfrm>
              <a:off x="401138" y="618080"/>
              <a:ext cx="1133955" cy="331525"/>
            </a:xfrm>
            <a:prstGeom prst="rect">
              <a:avLst/>
            </a:prstGeom>
            <a:solidFill>
              <a:srgbClr val="FFFFFF"/>
            </a:solidFill>
            <a:ln>
              <a:solidFill>
                <a:srgbClr val="FF0000"/>
              </a:solidFill>
            </a:ln>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Garamond" pitchFamily="18" charset="0"/>
                  <a:ea typeface="+mn-ea"/>
                  <a:cs typeface="+mn-cs"/>
                </a:rPr>
                <a:t>Schuster Lancet 2021, P1408 Figure 1C citation A; P1410 citation B</a:t>
              </a:r>
            </a:p>
          </p:txBody>
        </p:sp>
      </p:grpSp>
      <p:grpSp>
        <p:nvGrpSpPr>
          <p:cNvPr id="9" name="Group 8">
            <a:extLst>
              <a:ext uri="{FF2B5EF4-FFF2-40B4-BE49-F238E27FC236}">
                <a16:creationId xmlns:a16="http://schemas.microsoft.com/office/drawing/2014/main" id="{9108C587-E9CB-F360-FF84-3200BE0CDC4D}"/>
              </a:ext>
            </a:extLst>
          </p:cNvPr>
          <p:cNvGrpSpPr/>
          <p:nvPr/>
        </p:nvGrpSpPr>
        <p:grpSpPr>
          <a:xfrm>
            <a:off x="465906" y="1678463"/>
            <a:ext cx="2010590" cy="2985673"/>
            <a:chOff x="357187" y="1655724"/>
            <a:chExt cx="1452344" cy="2985673"/>
          </a:xfrm>
        </p:grpSpPr>
        <p:sp>
          <p:nvSpPr>
            <p:cNvPr id="10" name="Rectangle 9">
              <a:extLst>
                <a:ext uri="{FF2B5EF4-FFF2-40B4-BE49-F238E27FC236}">
                  <a16:creationId xmlns:a16="http://schemas.microsoft.com/office/drawing/2014/main" id="{E187B56C-BC46-82A6-E41D-E7234EB96C06}"/>
                </a:ext>
              </a:extLst>
            </p:cNvPr>
            <p:cNvSpPr/>
            <p:nvPr/>
          </p:nvSpPr>
          <p:spPr>
            <a:xfrm>
              <a:off x="357187" y="1655724"/>
              <a:ext cx="1452344" cy="1993424"/>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11" name="Straight Arrow Connector 10">
              <a:extLst>
                <a:ext uri="{FF2B5EF4-FFF2-40B4-BE49-F238E27FC236}">
                  <a16:creationId xmlns:a16="http://schemas.microsoft.com/office/drawing/2014/main" id="{012F7972-F26B-F0E3-1ED7-F5E7E2EE37F1}"/>
                </a:ext>
              </a:extLst>
            </p:cNvPr>
            <p:cNvCxnSpPr>
              <a:cxnSpLocks/>
            </p:cNvCxnSpPr>
            <p:nvPr/>
          </p:nvCxnSpPr>
          <p:spPr>
            <a:xfrm>
              <a:off x="1557982" y="3485478"/>
              <a:ext cx="0" cy="509588"/>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12" name="TextBox 11">
              <a:extLst>
                <a:ext uri="{FF2B5EF4-FFF2-40B4-BE49-F238E27FC236}">
                  <a16:creationId xmlns:a16="http://schemas.microsoft.com/office/drawing/2014/main" id="{B829D8B6-2B9C-47DC-CADC-E7FCA03C85CF}"/>
                </a:ext>
              </a:extLst>
            </p:cNvPr>
            <p:cNvSpPr txBox="1"/>
            <p:nvPr/>
          </p:nvSpPr>
          <p:spPr>
            <a:xfrm>
              <a:off x="608614" y="3995066"/>
              <a:ext cx="949489" cy="646331"/>
            </a:xfrm>
            <a:prstGeom prst="rect">
              <a:avLst/>
            </a:prstGeom>
            <a:solidFill>
              <a:srgbClr val="FFFFFF"/>
            </a:solidFill>
            <a:ln>
              <a:solidFill>
                <a:srgbClr val="FF0000"/>
              </a:solidFill>
            </a:ln>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Garamond" pitchFamily="18" charset="0"/>
                  <a:ea typeface="+mn-ea"/>
                  <a:cs typeface="+mn-cs"/>
                </a:rPr>
                <a:t>Neelapu Blood 2023 P2311 citation A Figure 2A; P2312 citation A (discussion)</a:t>
              </a:r>
            </a:p>
          </p:txBody>
        </p:sp>
      </p:grpSp>
      <p:grpSp>
        <p:nvGrpSpPr>
          <p:cNvPr id="13" name="Group 12">
            <a:extLst>
              <a:ext uri="{FF2B5EF4-FFF2-40B4-BE49-F238E27FC236}">
                <a16:creationId xmlns:a16="http://schemas.microsoft.com/office/drawing/2014/main" id="{9C94BE4B-0E02-C673-4F86-0F9DFFA83864}"/>
              </a:ext>
            </a:extLst>
          </p:cNvPr>
          <p:cNvGrpSpPr/>
          <p:nvPr/>
        </p:nvGrpSpPr>
        <p:grpSpPr>
          <a:xfrm>
            <a:off x="2576176" y="1730851"/>
            <a:ext cx="1805329" cy="2847173"/>
            <a:chOff x="357187" y="1655724"/>
            <a:chExt cx="1452344" cy="2847173"/>
          </a:xfrm>
        </p:grpSpPr>
        <p:sp>
          <p:nvSpPr>
            <p:cNvPr id="14" name="Rectangle 13">
              <a:extLst>
                <a:ext uri="{FF2B5EF4-FFF2-40B4-BE49-F238E27FC236}">
                  <a16:creationId xmlns:a16="http://schemas.microsoft.com/office/drawing/2014/main" id="{F700A35A-0FE7-3245-F712-1807F215A2D2}"/>
                </a:ext>
              </a:extLst>
            </p:cNvPr>
            <p:cNvSpPr/>
            <p:nvPr/>
          </p:nvSpPr>
          <p:spPr>
            <a:xfrm>
              <a:off x="357187" y="1655724"/>
              <a:ext cx="1452344" cy="1925034"/>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15" name="Straight Arrow Connector 14">
              <a:extLst>
                <a:ext uri="{FF2B5EF4-FFF2-40B4-BE49-F238E27FC236}">
                  <a16:creationId xmlns:a16="http://schemas.microsoft.com/office/drawing/2014/main" id="{D0821967-44D7-0FBC-501D-E25868887FDC}"/>
                </a:ext>
              </a:extLst>
            </p:cNvPr>
            <p:cNvCxnSpPr>
              <a:cxnSpLocks/>
            </p:cNvCxnSpPr>
            <p:nvPr/>
          </p:nvCxnSpPr>
          <p:spPr>
            <a:xfrm>
              <a:off x="1486214" y="3485478"/>
              <a:ext cx="0" cy="509588"/>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FFDF1899-E30E-65E5-2DD3-88F01491C1A4}"/>
                </a:ext>
              </a:extLst>
            </p:cNvPr>
            <p:cNvSpPr txBox="1"/>
            <p:nvPr/>
          </p:nvSpPr>
          <p:spPr>
            <a:xfrm>
              <a:off x="608614" y="3995066"/>
              <a:ext cx="949489" cy="507831"/>
            </a:xfrm>
            <a:prstGeom prst="rect">
              <a:avLst/>
            </a:prstGeom>
            <a:solidFill>
              <a:srgbClr val="FFFFFF"/>
            </a:solidFill>
            <a:ln>
              <a:solidFill>
                <a:srgbClr val="FF0000"/>
              </a:solidFill>
            </a:ln>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Garamond" pitchFamily="18" charset="0"/>
                  <a:ea typeface="+mn-ea"/>
                  <a:cs typeface="+mn-cs"/>
                </a:rPr>
                <a:t>Abramson ASH 2024 Abst 3125 citation A Figure 3A</a:t>
              </a:r>
            </a:p>
          </p:txBody>
        </p:sp>
      </p:grpSp>
    </p:spTree>
    <p:extLst>
      <p:ext uri="{BB962C8B-B14F-4D97-AF65-F5344CB8AC3E}">
        <p14:creationId xmlns:p14="http://schemas.microsoft.com/office/powerpoint/2010/main" val="279519837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53B81B8-344C-459C-8F4B-74DF3AC04C2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4093082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950AEE-EF14-470D-AF56-2187C231676D}"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3525661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CC71D1-015A-4BF2-EA6A-31A2C9B90B0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939547-FB09-54CF-8C7C-A8575051862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B835B94-3901-2F81-6135-25A02FA7304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01029AB-94EC-16B3-A297-772607B424B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BC6615-C4BF-4EC9-8F05-DFEFE2841FB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9096011B-C168-7A14-C410-F29D98AAD1CF}"/>
              </a:ext>
            </a:extLst>
          </p:cNvPr>
          <p:cNvSpPr/>
          <p:nvPr/>
        </p:nvSpPr>
        <p:spPr>
          <a:xfrm>
            <a:off x="374127" y="1356617"/>
            <a:ext cx="1141226" cy="1782234"/>
          </a:xfrm>
          <a:prstGeom prst="rect">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65839FC7-97E6-C9D0-7FEF-77722C0EAF43}"/>
              </a:ext>
            </a:extLst>
          </p:cNvPr>
          <p:cNvSpPr/>
          <p:nvPr/>
        </p:nvSpPr>
        <p:spPr>
          <a:xfrm>
            <a:off x="1605469" y="1357254"/>
            <a:ext cx="3086304" cy="1955261"/>
          </a:xfrm>
          <a:prstGeom prst="rect">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95A74B38-A05F-A50E-A38E-82DAB8A7965C}"/>
              </a:ext>
            </a:extLst>
          </p:cNvPr>
          <p:cNvSpPr/>
          <p:nvPr/>
        </p:nvSpPr>
        <p:spPr>
          <a:xfrm>
            <a:off x="688025" y="3406682"/>
            <a:ext cx="5549048" cy="269240"/>
          </a:xfrm>
          <a:prstGeom prst="rect">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CAC4E7A6-18EE-3A07-CEDD-C2C741D90965}"/>
              </a:ext>
            </a:extLst>
          </p:cNvPr>
          <p:cNvSpPr/>
          <p:nvPr/>
        </p:nvSpPr>
        <p:spPr>
          <a:xfrm>
            <a:off x="773853" y="848013"/>
            <a:ext cx="5230707" cy="444555"/>
          </a:xfrm>
          <a:prstGeom prst="rect">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2" name="Straight Arrow Connector 11">
            <a:extLst>
              <a:ext uri="{FF2B5EF4-FFF2-40B4-BE49-F238E27FC236}">
                <a16:creationId xmlns:a16="http://schemas.microsoft.com/office/drawing/2014/main" id="{1766E0AF-14EB-06C1-2F5D-FC5BC92B357B}"/>
              </a:ext>
            </a:extLst>
          </p:cNvPr>
          <p:cNvCxnSpPr>
            <a:cxnSpLocks/>
          </p:cNvCxnSpPr>
          <p:nvPr/>
        </p:nvCxnSpPr>
        <p:spPr>
          <a:xfrm flipH="1">
            <a:off x="91440" y="3620187"/>
            <a:ext cx="589280" cy="278184"/>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03544244-76C1-590A-74B9-872DD15D2DE5}"/>
              </a:ext>
            </a:extLst>
          </p:cNvPr>
          <p:cNvCxnSpPr>
            <a:cxnSpLocks/>
          </p:cNvCxnSpPr>
          <p:nvPr/>
        </p:nvCxnSpPr>
        <p:spPr>
          <a:xfrm flipH="1">
            <a:off x="16467" y="2495297"/>
            <a:ext cx="357660" cy="144816"/>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5D842576-1A9A-C1C6-F5DE-AFB183DFBA2F}"/>
              </a:ext>
            </a:extLst>
          </p:cNvPr>
          <p:cNvCxnSpPr>
            <a:cxnSpLocks/>
          </p:cNvCxnSpPr>
          <p:nvPr/>
        </p:nvCxnSpPr>
        <p:spPr>
          <a:xfrm flipH="1">
            <a:off x="336397" y="948248"/>
            <a:ext cx="402903" cy="0"/>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5B40D87C-A7E6-AB6D-276D-079CFBBFE830}"/>
              </a:ext>
            </a:extLst>
          </p:cNvPr>
          <p:cNvSpPr/>
          <p:nvPr/>
        </p:nvSpPr>
        <p:spPr>
          <a:xfrm>
            <a:off x="-1229517" y="733754"/>
            <a:ext cx="1552152" cy="400847"/>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Westin NEJM 2023 P148 citation B</a:t>
            </a:r>
          </a:p>
        </p:txBody>
      </p:sp>
      <p:cxnSp>
        <p:nvCxnSpPr>
          <p:cNvPr id="22" name="Straight Arrow Connector 21">
            <a:extLst>
              <a:ext uri="{FF2B5EF4-FFF2-40B4-BE49-F238E27FC236}">
                <a16:creationId xmlns:a16="http://schemas.microsoft.com/office/drawing/2014/main" id="{E9C847BF-0C0A-A90D-C7DB-DC2EF3A788D9}"/>
              </a:ext>
            </a:extLst>
          </p:cNvPr>
          <p:cNvCxnSpPr>
            <a:cxnSpLocks/>
          </p:cNvCxnSpPr>
          <p:nvPr/>
        </p:nvCxnSpPr>
        <p:spPr>
          <a:xfrm flipV="1">
            <a:off x="4040295" y="733754"/>
            <a:ext cx="0" cy="932215"/>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29" name="Right Brace 28">
            <a:extLst>
              <a:ext uri="{FF2B5EF4-FFF2-40B4-BE49-F238E27FC236}">
                <a16:creationId xmlns:a16="http://schemas.microsoft.com/office/drawing/2014/main" id="{4966BF4D-DA8A-160D-218E-F05826550AE5}"/>
              </a:ext>
            </a:extLst>
          </p:cNvPr>
          <p:cNvSpPr/>
          <p:nvPr/>
        </p:nvSpPr>
        <p:spPr>
          <a:xfrm>
            <a:off x="6283375" y="2150726"/>
            <a:ext cx="328505" cy="753190"/>
          </a:xfrm>
          <a:prstGeom prst="rightBrace">
            <a:avLst/>
          </a:prstGeom>
          <a:ln>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36" name="Straight Arrow Connector 35">
            <a:extLst>
              <a:ext uri="{FF2B5EF4-FFF2-40B4-BE49-F238E27FC236}">
                <a16:creationId xmlns:a16="http://schemas.microsoft.com/office/drawing/2014/main" id="{113BE528-8A52-C278-ED2B-2B9445806945}"/>
              </a:ext>
            </a:extLst>
          </p:cNvPr>
          <p:cNvCxnSpPr>
            <a:cxnSpLocks/>
          </p:cNvCxnSpPr>
          <p:nvPr/>
        </p:nvCxnSpPr>
        <p:spPr>
          <a:xfrm flipV="1">
            <a:off x="5969578" y="1079517"/>
            <a:ext cx="337269" cy="324351"/>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04FC61D7-069C-C217-6504-B350F1A4678C}"/>
              </a:ext>
            </a:extLst>
          </p:cNvPr>
          <p:cNvCxnSpPr>
            <a:cxnSpLocks/>
            <a:endCxn id="33" idx="1"/>
          </p:cNvCxnSpPr>
          <p:nvPr/>
        </p:nvCxnSpPr>
        <p:spPr>
          <a:xfrm flipV="1">
            <a:off x="6237073" y="1714638"/>
            <a:ext cx="543076" cy="207301"/>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DDF3B66C-0623-0145-2DE1-A3B9D5664DA0}"/>
              </a:ext>
            </a:extLst>
          </p:cNvPr>
          <p:cNvSpPr/>
          <p:nvPr/>
        </p:nvSpPr>
        <p:spPr>
          <a:xfrm>
            <a:off x="-1703294" y="2672136"/>
            <a:ext cx="1728647" cy="734545"/>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Westin NEJM 2023 P148 citation A; Locke NEJM 2022 P641 citation A; P646 citation A &amp; B table 1</a:t>
            </a:r>
          </a:p>
        </p:txBody>
      </p:sp>
      <p:sp>
        <p:nvSpPr>
          <p:cNvPr id="26" name="Rectangle 25">
            <a:extLst>
              <a:ext uri="{FF2B5EF4-FFF2-40B4-BE49-F238E27FC236}">
                <a16:creationId xmlns:a16="http://schemas.microsoft.com/office/drawing/2014/main" id="{E85F67E7-7750-C5CB-5E41-5082D0C9D30F}"/>
              </a:ext>
            </a:extLst>
          </p:cNvPr>
          <p:cNvSpPr/>
          <p:nvPr/>
        </p:nvSpPr>
        <p:spPr>
          <a:xfrm>
            <a:off x="3389206" y="300564"/>
            <a:ext cx="1552152" cy="400847"/>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Westin NEJM 2023 P150 citation C figure 1</a:t>
            </a:r>
          </a:p>
        </p:txBody>
      </p:sp>
      <p:sp>
        <p:nvSpPr>
          <p:cNvPr id="27" name="Rectangle 26">
            <a:extLst>
              <a:ext uri="{FF2B5EF4-FFF2-40B4-BE49-F238E27FC236}">
                <a16:creationId xmlns:a16="http://schemas.microsoft.com/office/drawing/2014/main" id="{8F6C98C4-ABC7-75DD-C4B4-3CFAC2FEB9A2}"/>
              </a:ext>
            </a:extLst>
          </p:cNvPr>
          <p:cNvSpPr/>
          <p:nvPr/>
        </p:nvSpPr>
        <p:spPr>
          <a:xfrm>
            <a:off x="-1014304" y="3918501"/>
            <a:ext cx="1552152" cy="400847"/>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Westin NEJM 2023 P153 citation A</a:t>
            </a:r>
          </a:p>
        </p:txBody>
      </p:sp>
      <p:sp>
        <p:nvSpPr>
          <p:cNvPr id="28" name="Rectangle 27">
            <a:extLst>
              <a:ext uri="{FF2B5EF4-FFF2-40B4-BE49-F238E27FC236}">
                <a16:creationId xmlns:a16="http://schemas.microsoft.com/office/drawing/2014/main" id="{CD9A971C-F1F0-DEDC-6C4A-36D24061306F}"/>
              </a:ext>
            </a:extLst>
          </p:cNvPr>
          <p:cNvSpPr/>
          <p:nvPr/>
        </p:nvSpPr>
        <p:spPr>
          <a:xfrm>
            <a:off x="6334961" y="782746"/>
            <a:ext cx="1384093" cy="438745"/>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Locke NEJM 2022 P646 citation B table 1</a:t>
            </a:r>
          </a:p>
        </p:txBody>
      </p:sp>
      <p:cxnSp>
        <p:nvCxnSpPr>
          <p:cNvPr id="31" name="Straight Arrow Connector 30">
            <a:extLst>
              <a:ext uri="{FF2B5EF4-FFF2-40B4-BE49-F238E27FC236}">
                <a16:creationId xmlns:a16="http://schemas.microsoft.com/office/drawing/2014/main" id="{67D5D7A2-8A63-51D3-56D8-EFDAC43E1F4A}"/>
              </a:ext>
            </a:extLst>
          </p:cNvPr>
          <p:cNvCxnSpPr>
            <a:cxnSpLocks/>
          </p:cNvCxnSpPr>
          <p:nvPr/>
        </p:nvCxnSpPr>
        <p:spPr>
          <a:xfrm flipV="1">
            <a:off x="6349117" y="1608871"/>
            <a:ext cx="417444" cy="95400"/>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FD88F222-920B-270E-5E0D-8FF685698D59}"/>
              </a:ext>
            </a:extLst>
          </p:cNvPr>
          <p:cNvSpPr/>
          <p:nvPr/>
        </p:nvSpPr>
        <p:spPr>
          <a:xfrm>
            <a:off x="6780149" y="1495265"/>
            <a:ext cx="1384093" cy="438745"/>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Westin NEJM 2023 P149 citation A</a:t>
            </a:r>
          </a:p>
        </p:txBody>
      </p:sp>
      <p:sp>
        <p:nvSpPr>
          <p:cNvPr id="40" name="Rectangle 39">
            <a:extLst>
              <a:ext uri="{FF2B5EF4-FFF2-40B4-BE49-F238E27FC236}">
                <a16:creationId xmlns:a16="http://schemas.microsoft.com/office/drawing/2014/main" id="{DAFC988C-9477-5913-87C3-FD483AF8350A}"/>
              </a:ext>
            </a:extLst>
          </p:cNvPr>
          <p:cNvSpPr/>
          <p:nvPr/>
        </p:nvSpPr>
        <p:spPr>
          <a:xfrm>
            <a:off x="6637438" y="2323125"/>
            <a:ext cx="1384093" cy="753190"/>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Westin NEJM 2023 P152 citation A figure 2B, P152 citation B Figure 2A</a:t>
            </a:r>
          </a:p>
        </p:txBody>
      </p:sp>
    </p:spTree>
    <p:extLst>
      <p:ext uri="{BB962C8B-B14F-4D97-AF65-F5344CB8AC3E}">
        <p14:creationId xmlns:p14="http://schemas.microsoft.com/office/powerpoint/2010/main" val="25316280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A774DA-C672-B467-0B9D-B0A188B0C772}"/>
            </a:ext>
          </a:extLst>
        </p:cNvPr>
        <p:cNvGrpSpPr/>
        <p:nvPr/>
      </p:nvGrpSpPr>
      <p:grpSpPr>
        <a:xfrm>
          <a:off x="0" y="0"/>
          <a:ext cx="0" cy="0"/>
          <a:chOff x="0" y="0"/>
          <a:chExt cx="0" cy="0"/>
        </a:xfrm>
      </p:grpSpPr>
      <p:sp>
        <p:nvSpPr>
          <p:cNvPr id="93185" name="Rectangle 2">
            <a:extLst>
              <a:ext uri="{FF2B5EF4-FFF2-40B4-BE49-F238E27FC236}">
                <a16:creationId xmlns:a16="http://schemas.microsoft.com/office/drawing/2014/main" id="{672C082A-2111-365C-F555-111992EEABEE}"/>
              </a:ext>
            </a:extLst>
          </p:cNvPr>
          <p:cNvSpPr>
            <a:spLocks noGrp="1" noRot="1" noChangeAspect="1" noChangeArrowheads="1" noTextEdit="1"/>
          </p:cNvSpPr>
          <p:nvPr>
            <p:ph type="sldImg"/>
          </p:nvPr>
        </p:nvSpPr>
        <p:spPr>
          <a:xfrm>
            <a:off x="381000" y="685800"/>
            <a:ext cx="6096000" cy="3429000"/>
          </a:xfrm>
          <a:ln/>
        </p:spPr>
      </p:sp>
      <p:sp>
        <p:nvSpPr>
          <p:cNvPr id="93186" name="Rectangle 3">
            <a:extLst>
              <a:ext uri="{FF2B5EF4-FFF2-40B4-BE49-F238E27FC236}">
                <a16:creationId xmlns:a16="http://schemas.microsoft.com/office/drawing/2014/main" id="{C5CEBAA3-3514-1571-B20F-52606B5C37FD}"/>
              </a:ext>
            </a:extLst>
          </p:cNvPr>
          <p:cNvSpPr>
            <a:spLocks noGrp="1" noChangeArrowheads="1"/>
          </p:cNvSpPr>
          <p:nvPr>
            <p:ph type="body" idx="1"/>
          </p:nvPr>
        </p:nvSpPr>
        <p:spPr>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a:spcBef>
                <a:spcPct val="0"/>
              </a:spcBef>
            </a:pPr>
            <a:endParaRPr lang="en-US" sz="2000" i="1">
              <a:latin typeface="Arial" charset="0"/>
              <a:ea typeface="ＭＳ Ｐゴシック" charset="0"/>
              <a:cs typeface="ＭＳ Ｐゴシック" charset="0"/>
            </a:endParaRPr>
          </a:p>
        </p:txBody>
      </p:sp>
    </p:spTree>
    <p:extLst>
      <p:ext uri="{BB962C8B-B14F-4D97-AF65-F5344CB8AC3E}">
        <p14:creationId xmlns:p14="http://schemas.microsoft.com/office/powerpoint/2010/main" val="8033345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D3F3D8-41CE-D5F7-41ED-2B62A34F8C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E5B79A-525C-9466-5FCC-98FF06BA87A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9DAD547-C078-2961-2C3F-37D7FC24C43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13529D1-5319-4263-F895-E58E8950F66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BC6615-C4BF-4EC9-8F05-DFEFE2841FB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6262AF49-024F-88E0-CFAD-46A3BC6E7CF4}"/>
              </a:ext>
            </a:extLst>
          </p:cNvPr>
          <p:cNvSpPr/>
          <p:nvPr/>
        </p:nvSpPr>
        <p:spPr>
          <a:xfrm>
            <a:off x="366720" y="1343126"/>
            <a:ext cx="1136949" cy="1782234"/>
          </a:xfrm>
          <a:prstGeom prst="rect">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4FC6F1BA-81BE-061B-EC82-1D3F700AC10F}"/>
              </a:ext>
            </a:extLst>
          </p:cNvPr>
          <p:cNvSpPr/>
          <p:nvPr/>
        </p:nvSpPr>
        <p:spPr>
          <a:xfrm>
            <a:off x="1685407" y="1539081"/>
            <a:ext cx="3004069" cy="1782234"/>
          </a:xfrm>
          <a:prstGeom prst="rect">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6BA8A47C-4A02-EE56-0902-7E4124944848}"/>
              </a:ext>
            </a:extLst>
          </p:cNvPr>
          <p:cNvSpPr/>
          <p:nvPr/>
        </p:nvSpPr>
        <p:spPr>
          <a:xfrm>
            <a:off x="849843" y="3350947"/>
            <a:ext cx="5549048" cy="269240"/>
          </a:xfrm>
          <a:prstGeom prst="rect">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DF359708-6643-54AE-557C-BD4E589ABD86}"/>
              </a:ext>
            </a:extLst>
          </p:cNvPr>
          <p:cNvSpPr/>
          <p:nvPr/>
        </p:nvSpPr>
        <p:spPr>
          <a:xfrm>
            <a:off x="728665" y="833300"/>
            <a:ext cx="5230707" cy="444555"/>
          </a:xfrm>
          <a:prstGeom prst="rect">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2" name="Straight Arrow Connector 11">
            <a:extLst>
              <a:ext uri="{FF2B5EF4-FFF2-40B4-BE49-F238E27FC236}">
                <a16:creationId xmlns:a16="http://schemas.microsoft.com/office/drawing/2014/main" id="{D912EBD4-71D9-6835-17FB-C55DC0557D9B}"/>
              </a:ext>
            </a:extLst>
          </p:cNvPr>
          <p:cNvCxnSpPr>
            <a:cxnSpLocks/>
          </p:cNvCxnSpPr>
          <p:nvPr/>
        </p:nvCxnSpPr>
        <p:spPr>
          <a:xfrm flipH="1">
            <a:off x="289350" y="3427835"/>
            <a:ext cx="589280" cy="278184"/>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60B13D96-BAA4-FE25-9EFF-3A1A9A940270}"/>
              </a:ext>
            </a:extLst>
          </p:cNvPr>
          <p:cNvCxnSpPr>
            <a:cxnSpLocks/>
          </p:cNvCxnSpPr>
          <p:nvPr/>
        </p:nvCxnSpPr>
        <p:spPr>
          <a:xfrm flipH="1" flipV="1">
            <a:off x="-62485" y="2322753"/>
            <a:ext cx="351835" cy="12434"/>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95380EA3-A310-729F-3F67-BC669044E43D}"/>
              </a:ext>
            </a:extLst>
          </p:cNvPr>
          <p:cNvCxnSpPr>
            <a:cxnSpLocks/>
          </p:cNvCxnSpPr>
          <p:nvPr/>
        </p:nvCxnSpPr>
        <p:spPr>
          <a:xfrm flipH="1" flipV="1">
            <a:off x="406730" y="841964"/>
            <a:ext cx="326389" cy="12434"/>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B8155D55-6925-FD90-2C26-A3BEF4522158}"/>
              </a:ext>
            </a:extLst>
          </p:cNvPr>
          <p:cNvSpPr/>
          <p:nvPr/>
        </p:nvSpPr>
        <p:spPr>
          <a:xfrm>
            <a:off x="-1187747" y="541402"/>
            <a:ext cx="1552152" cy="400847"/>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Kamdar ASCO 2024; Slide 11 citation A</a:t>
            </a:r>
          </a:p>
        </p:txBody>
      </p:sp>
      <p:sp>
        <p:nvSpPr>
          <p:cNvPr id="13" name="Rectangle 12">
            <a:extLst>
              <a:ext uri="{FF2B5EF4-FFF2-40B4-BE49-F238E27FC236}">
                <a16:creationId xmlns:a16="http://schemas.microsoft.com/office/drawing/2014/main" id="{112C0C76-A3A8-5DB5-B986-C0D41614C742}"/>
              </a:ext>
            </a:extLst>
          </p:cNvPr>
          <p:cNvSpPr/>
          <p:nvPr/>
        </p:nvSpPr>
        <p:spPr>
          <a:xfrm>
            <a:off x="-1634694" y="2052083"/>
            <a:ext cx="1593428" cy="585127"/>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Abramson_EHA</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2024 Slide 3, 5; Kamdar ASCO 2024, Slide 4, slide 5 citation A</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9771281F-3A22-7025-70F9-C0DBA4E18704}"/>
              </a:ext>
            </a:extLst>
          </p:cNvPr>
          <p:cNvSpPr/>
          <p:nvPr/>
        </p:nvSpPr>
        <p:spPr>
          <a:xfrm>
            <a:off x="-1443989" y="3321315"/>
            <a:ext cx="1593428" cy="585127"/>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Kamdar ASCO 2024, slide 11 citation A; </a:t>
            </a:r>
            <a:r>
              <a:rPr kumimoji="0" lang="en-US" sz="900" b="0" i="0" u="none" strike="noStrike" kern="1200" cap="none" spc="0" normalizeH="0" baseline="0" noProof="0" err="1">
                <a:ln>
                  <a:noFill/>
                </a:ln>
                <a:solidFill>
                  <a:prstClr val="black"/>
                </a:solidFill>
                <a:effectLst/>
                <a:uLnTx/>
                <a:uFillTx/>
                <a:latin typeface="Calibri" panose="020F0502020204030204"/>
                <a:ea typeface="+mn-ea"/>
                <a:cs typeface="+mn-cs"/>
              </a:rPr>
              <a:t>Abramson_EHA</a:t>
            </a: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 2024 Slide 10 (KM curve right), slide 14 citation A</a:t>
            </a:r>
          </a:p>
        </p:txBody>
      </p:sp>
      <p:sp>
        <p:nvSpPr>
          <p:cNvPr id="21" name="Rectangle 20">
            <a:extLst>
              <a:ext uri="{FF2B5EF4-FFF2-40B4-BE49-F238E27FC236}">
                <a16:creationId xmlns:a16="http://schemas.microsoft.com/office/drawing/2014/main" id="{E15B4C2C-1584-34AD-8001-1A6FAC1FC32E}"/>
              </a:ext>
            </a:extLst>
          </p:cNvPr>
          <p:cNvSpPr/>
          <p:nvPr/>
        </p:nvSpPr>
        <p:spPr>
          <a:xfrm>
            <a:off x="2644777" y="276457"/>
            <a:ext cx="1593428" cy="400847"/>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Abramson_EHA</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2024 Slide 10 (KM curve right)</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22" name="Straight Arrow Connector 21">
            <a:extLst>
              <a:ext uri="{FF2B5EF4-FFF2-40B4-BE49-F238E27FC236}">
                <a16:creationId xmlns:a16="http://schemas.microsoft.com/office/drawing/2014/main" id="{B2755399-F379-EEBC-E9E0-EB2814941DA4}"/>
              </a:ext>
            </a:extLst>
          </p:cNvPr>
          <p:cNvCxnSpPr>
            <a:cxnSpLocks/>
          </p:cNvCxnSpPr>
          <p:nvPr/>
        </p:nvCxnSpPr>
        <p:spPr>
          <a:xfrm flipV="1">
            <a:off x="3453771" y="741826"/>
            <a:ext cx="0" cy="772471"/>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29" name="Right Brace 28">
            <a:extLst>
              <a:ext uri="{FF2B5EF4-FFF2-40B4-BE49-F238E27FC236}">
                <a16:creationId xmlns:a16="http://schemas.microsoft.com/office/drawing/2014/main" id="{72650AF7-8BA0-FBA8-56C8-52F050BAEA8D}"/>
              </a:ext>
            </a:extLst>
          </p:cNvPr>
          <p:cNvSpPr/>
          <p:nvPr/>
        </p:nvSpPr>
        <p:spPr>
          <a:xfrm>
            <a:off x="6274173" y="2146582"/>
            <a:ext cx="328505" cy="753190"/>
          </a:xfrm>
          <a:prstGeom prst="rightBrace">
            <a:avLst/>
          </a:prstGeom>
          <a:ln>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Rectangle 33">
            <a:extLst>
              <a:ext uri="{FF2B5EF4-FFF2-40B4-BE49-F238E27FC236}">
                <a16:creationId xmlns:a16="http://schemas.microsoft.com/office/drawing/2014/main" id="{82DCB570-3635-C48C-24EC-ED59AB1039DA}"/>
              </a:ext>
            </a:extLst>
          </p:cNvPr>
          <p:cNvSpPr/>
          <p:nvPr/>
        </p:nvSpPr>
        <p:spPr>
          <a:xfrm>
            <a:off x="6728567" y="1184524"/>
            <a:ext cx="1593428" cy="438745"/>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Kamdar ASCO 2024; Slide 6 citation A</a:t>
            </a:r>
          </a:p>
        </p:txBody>
      </p:sp>
      <p:sp>
        <p:nvSpPr>
          <p:cNvPr id="35" name="Rectangle 34">
            <a:extLst>
              <a:ext uri="{FF2B5EF4-FFF2-40B4-BE49-F238E27FC236}">
                <a16:creationId xmlns:a16="http://schemas.microsoft.com/office/drawing/2014/main" id="{64D492A9-4E77-A77D-74F0-92F6220E2FD3}"/>
              </a:ext>
            </a:extLst>
          </p:cNvPr>
          <p:cNvSpPr/>
          <p:nvPr/>
        </p:nvSpPr>
        <p:spPr>
          <a:xfrm>
            <a:off x="6654695" y="2322753"/>
            <a:ext cx="1593428" cy="400847"/>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Abramson_EHA</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2024 Slide 6, slide 9</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36" name="Straight Arrow Connector 35">
            <a:extLst>
              <a:ext uri="{FF2B5EF4-FFF2-40B4-BE49-F238E27FC236}">
                <a16:creationId xmlns:a16="http://schemas.microsoft.com/office/drawing/2014/main" id="{9C0434CF-F905-5CE9-7F18-B654E101F4D6}"/>
              </a:ext>
            </a:extLst>
          </p:cNvPr>
          <p:cNvCxnSpPr>
            <a:cxnSpLocks/>
          </p:cNvCxnSpPr>
          <p:nvPr/>
        </p:nvCxnSpPr>
        <p:spPr>
          <a:xfrm flipV="1">
            <a:off x="6356371" y="1192469"/>
            <a:ext cx="478049" cy="438745"/>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1C5C323D-4B65-FD89-F37F-EDF7762D86D9}"/>
              </a:ext>
            </a:extLst>
          </p:cNvPr>
          <p:cNvCxnSpPr>
            <a:cxnSpLocks/>
          </p:cNvCxnSpPr>
          <p:nvPr/>
        </p:nvCxnSpPr>
        <p:spPr>
          <a:xfrm flipV="1">
            <a:off x="6341191" y="1596050"/>
            <a:ext cx="448188" cy="392839"/>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9EA05A8A-32AF-8A6C-A019-2B810161D7FB}"/>
              </a:ext>
            </a:extLst>
          </p:cNvPr>
          <p:cNvSpPr/>
          <p:nvPr/>
        </p:nvSpPr>
        <p:spPr>
          <a:xfrm>
            <a:off x="6543138" y="676485"/>
            <a:ext cx="1593428" cy="400847"/>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Abramson_EHA</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2024 Slide 4, citation C</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25" name="Straight Arrow Connector 24">
            <a:extLst>
              <a:ext uri="{FF2B5EF4-FFF2-40B4-BE49-F238E27FC236}">
                <a16:creationId xmlns:a16="http://schemas.microsoft.com/office/drawing/2014/main" id="{3F4407A6-FA12-D961-F944-B077C12F41F4}"/>
              </a:ext>
            </a:extLst>
          </p:cNvPr>
          <p:cNvCxnSpPr>
            <a:cxnSpLocks/>
          </p:cNvCxnSpPr>
          <p:nvPr/>
        </p:nvCxnSpPr>
        <p:spPr>
          <a:xfrm flipV="1">
            <a:off x="6015051" y="962136"/>
            <a:ext cx="478049" cy="438745"/>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30868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8877EDC-565C-49E0-865E-00E707249E24}" type="slidenum">
              <a:rPr kumimoji="0" lang="en-IN"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7</a:t>
            </a:fld>
            <a:endParaRPr kumimoji="0" lang="en-IN"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0752317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53B81B8-344C-459C-8F4B-74DF3AC04C2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Rectangle 4">
            <a:extLst>
              <a:ext uri="{FF2B5EF4-FFF2-40B4-BE49-F238E27FC236}">
                <a16:creationId xmlns:a16="http://schemas.microsoft.com/office/drawing/2014/main" id="{F835F04E-4EAF-7BA5-D171-754B9A60A34B}"/>
              </a:ext>
            </a:extLst>
          </p:cNvPr>
          <p:cNvSpPr/>
          <p:nvPr/>
        </p:nvSpPr>
        <p:spPr>
          <a:xfrm>
            <a:off x="905076" y="2655458"/>
            <a:ext cx="5267124" cy="378360"/>
          </a:xfrm>
          <a:prstGeom prst="rect">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6" name="Straight Arrow Connector 5">
            <a:extLst>
              <a:ext uri="{FF2B5EF4-FFF2-40B4-BE49-F238E27FC236}">
                <a16:creationId xmlns:a16="http://schemas.microsoft.com/office/drawing/2014/main" id="{91E93E21-F70F-F36D-DDBC-C7BDA9279365}"/>
              </a:ext>
            </a:extLst>
          </p:cNvPr>
          <p:cNvCxnSpPr>
            <a:cxnSpLocks/>
          </p:cNvCxnSpPr>
          <p:nvPr/>
        </p:nvCxnSpPr>
        <p:spPr>
          <a:xfrm flipH="1" flipV="1">
            <a:off x="576462" y="2655458"/>
            <a:ext cx="328613" cy="178091"/>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C694883C-BA05-1C02-1683-4DD6EC24CB7F}"/>
              </a:ext>
            </a:extLst>
          </p:cNvPr>
          <p:cNvSpPr/>
          <p:nvPr/>
        </p:nvSpPr>
        <p:spPr>
          <a:xfrm>
            <a:off x="-1152184" y="2437760"/>
            <a:ext cx="1728647" cy="378360"/>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Abramson Blood Adv 2022 p5977 citation A</a:t>
            </a:r>
          </a:p>
        </p:txBody>
      </p:sp>
      <p:sp>
        <p:nvSpPr>
          <p:cNvPr id="11" name="Rectangle 10">
            <a:extLst>
              <a:ext uri="{FF2B5EF4-FFF2-40B4-BE49-F238E27FC236}">
                <a16:creationId xmlns:a16="http://schemas.microsoft.com/office/drawing/2014/main" id="{21F69A49-3827-D553-EC72-E059C6D3DA9B}"/>
              </a:ext>
            </a:extLst>
          </p:cNvPr>
          <p:cNvSpPr/>
          <p:nvPr/>
        </p:nvSpPr>
        <p:spPr>
          <a:xfrm>
            <a:off x="5042429" y="459780"/>
            <a:ext cx="1622162" cy="645866"/>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Abramson Blood Adv 2022 p5969 citation A (title)</a:t>
            </a:r>
          </a:p>
        </p:txBody>
      </p:sp>
      <p:cxnSp>
        <p:nvCxnSpPr>
          <p:cNvPr id="12" name="Straight Arrow Connector 11">
            <a:extLst>
              <a:ext uri="{FF2B5EF4-FFF2-40B4-BE49-F238E27FC236}">
                <a16:creationId xmlns:a16="http://schemas.microsoft.com/office/drawing/2014/main" id="{52DA5858-4DE9-82EA-5155-60CE0DF0AAEF}"/>
              </a:ext>
            </a:extLst>
          </p:cNvPr>
          <p:cNvCxnSpPr>
            <a:cxnSpLocks/>
          </p:cNvCxnSpPr>
          <p:nvPr/>
        </p:nvCxnSpPr>
        <p:spPr>
          <a:xfrm flipV="1">
            <a:off x="5206206" y="1010857"/>
            <a:ext cx="0" cy="339825"/>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B4B575A5-3560-3BC4-3CBC-9A9F1163E4E7}"/>
              </a:ext>
            </a:extLst>
          </p:cNvPr>
          <p:cNvSpPr/>
          <p:nvPr/>
        </p:nvSpPr>
        <p:spPr>
          <a:xfrm>
            <a:off x="1201970" y="459780"/>
            <a:ext cx="1728647" cy="556453"/>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Elsawy Blood 2022 p1 citation A (title)</a:t>
            </a:r>
          </a:p>
        </p:txBody>
      </p:sp>
      <p:cxnSp>
        <p:nvCxnSpPr>
          <p:cNvPr id="15" name="Straight Arrow Connector 14">
            <a:extLst>
              <a:ext uri="{FF2B5EF4-FFF2-40B4-BE49-F238E27FC236}">
                <a16:creationId xmlns:a16="http://schemas.microsoft.com/office/drawing/2014/main" id="{9A8F78CD-D5F7-BA5D-E07D-361B2DFA60B2}"/>
              </a:ext>
            </a:extLst>
          </p:cNvPr>
          <p:cNvCxnSpPr>
            <a:cxnSpLocks/>
          </p:cNvCxnSpPr>
          <p:nvPr/>
        </p:nvCxnSpPr>
        <p:spPr>
          <a:xfrm flipV="1">
            <a:off x="1365748" y="1010857"/>
            <a:ext cx="0" cy="339825"/>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C57293FE-EE78-5693-2D4B-1735B3E75A50}"/>
              </a:ext>
            </a:extLst>
          </p:cNvPr>
          <p:cNvSpPr/>
          <p:nvPr/>
        </p:nvSpPr>
        <p:spPr>
          <a:xfrm>
            <a:off x="-1152185" y="2900488"/>
            <a:ext cx="1728647" cy="378360"/>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Elsawy Blood 2022 p2 citation A (key points)</a:t>
            </a:r>
          </a:p>
        </p:txBody>
      </p:sp>
      <p:sp>
        <p:nvSpPr>
          <p:cNvPr id="18" name="Rectangle 17">
            <a:extLst>
              <a:ext uri="{FF2B5EF4-FFF2-40B4-BE49-F238E27FC236}">
                <a16:creationId xmlns:a16="http://schemas.microsoft.com/office/drawing/2014/main" id="{4BA03293-B546-DCBE-40B0-EDD36DFAACFF}"/>
              </a:ext>
            </a:extLst>
          </p:cNvPr>
          <p:cNvSpPr/>
          <p:nvPr/>
        </p:nvSpPr>
        <p:spPr>
          <a:xfrm>
            <a:off x="905075" y="3086400"/>
            <a:ext cx="5267124" cy="272376"/>
          </a:xfrm>
          <a:prstGeom prst="rect">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9" name="Straight Arrow Connector 18">
            <a:extLst>
              <a:ext uri="{FF2B5EF4-FFF2-40B4-BE49-F238E27FC236}">
                <a16:creationId xmlns:a16="http://schemas.microsoft.com/office/drawing/2014/main" id="{75772B15-25E8-3225-83D5-39530EA8BC88}"/>
              </a:ext>
            </a:extLst>
          </p:cNvPr>
          <p:cNvCxnSpPr>
            <a:cxnSpLocks/>
            <a:stCxn id="5" idx="1"/>
          </p:cNvCxnSpPr>
          <p:nvPr/>
        </p:nvCxnSpPr>
        <p:spPr>
          <a:xfrm flipH="1">
            <a:off x="544692" y="2844638"/>
            <a:ext cx="360384" cy="152716"/>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0D0B7B3F-C301-98C2-F052-6D9F04397489}"/>
              </a:ext>
            </a:extLst>
          </p:cNvPr>
          <p:cNvCxnSpPr>
            <a:cxnSpLocks/>
          </p:cNvCxnSpPr>
          <p:nvPr/>
        </p:nvCxnSpPr>
        <p:spPr>
          <a:xfrm>
            <a:off x="6172200" y="3222588"/>
            <a:ext cx="377642" cy="0"/>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FDBF02AE-1EA7-9438-89FE-64CA92908FE0}"/>
              </a:ext>
            </a:extLst>
          </p:cNvPr>
          <p:cNvSpPr/>
          <p:nvPr/>
        </p:nvSpPr>
        <p:spPr>
          <a:xfrm>
            <a:off x="6564484" y="2832277"/>
            <a:ext cx="1766715" cy="645866"/>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Breyanzi</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SmPC p3 citation 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Yescarta</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SmPC p2 citation A</a:t>
            </a:r>
          </a:p>
        </p:txBody>
      </p:sp>
    </p:spTree>
    <p:extLst>
      <p:ext uri="{BB962C8B-B14F-4D97-AF65-F5344CB8AC3E}">
        <p14:creationId xmlns:p14="http://schemas.microsoft.com/office/powerpoint/2010/main" val="328257037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53B81B8-344C-459C-8F4B-74DF3AC04C2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7141855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53B81B8-344C-459C-8F4B-74DF3AC04C2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Rectangle 4">
            <a:extLst>
              <a:ext uri="{FF2B5EF4-FFF2-40B4-BE49-F238E27FC236}">
                <a16:creationId xmlns:a16="http://schemas.microsoft.com/office/drawing/2014/main" id="{3D602961-F4C2-4D38-5C64-A9A83DD7E3F6}"/>
              </a:ext>
            </a:extLst>
          </p:cNvPr>
          <p:cNvSpPr/>
          <p:nvPr/>
        </p:nvSpPr>
        <p:spPr>
          <a:xfrm>
            <a:off x="-1042847" y="2845629"/>
            <a:ext cx="1728647" cy="378360"/>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Seghal</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ASH 2023, slide 6, citation A</a:t>
            </a:r>
          </a:p>
        </p:txBody>
      </p:sp>
      <p:cxnSp>
        <p:nvCxnSpPr>
          <p:cNvPr id="6" name="Straight Arrow Connector 5">
            <a:extLst>
              <a:ext uri="{FF2B5EF4-FFF2-40B4-BE49-F238E27FC236}">
                <a16:creationId xmlns:a16="http://schemas.microsoft.com/office/drawing/2014/main" id="{427DC1F2-45F8-30DD-01E9-26B905D2CAD2}"/>
              </a:ext>
            </a:extLst>
          </p:cNvPr>
          <p:cNvCxnSpPr>
            <a:cxnSpLocks/>
          </p:cNvCxnSpPr>
          <p:nvPr/>
        </p:nvCxnSpPr>
        <p:spPr>
          <a:xfrm flipH="1">
            <a:off x="657624" y="3014933"/>
            <a:ext cx="190101" cy="0"/>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033C4381-2FEB-8DC7-0628-89B717004A1E}"/>
              </a:ext>
            </a:extLst>
          </p:cNvPr>
          <p:cNvSpPr/>
          <p:nvPr/>
        </p:nvSpPr>
        <p:spPr>
          <a:xfrm>
            <a:off x="4924766" y="1759302"/>
            <a:ext cx="1247434" cy="1464687"/>
          </a:xfrm>
          <a:prstGeom prst="rect">
            <a:avLst/>
          </a:prstGeom>
          <a:no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C8ADC6F4-FE24-02F3-2DD1-620BEC142C5C}"/>
              </a:ext>
            </a:extLst>
          </p:cNvPr>
          <p:cNvSpPr/>
          <p:nvPr/>
        </p:nvSpPr>
        <p:spPr>
          <a:xfrm>
            <a:off x="6219965" y="1854902"/>
            <a:ext cx="1728647" cy="460772"/>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Seghal</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ASH 2023, slide 11 citation A, Slide 12 citation A</a:t>
            </a:r>
          </a:p>
        </p:txBody>
      </p:sp>
      <p:sp>
        <p:nvSpPr>
          <p:cNvPr id="9" name="Rectangle 8">
            <a:extLst>
              <a:ext uri="{FF2B5EF4-FFF2-40B4-BE49-F238E27FC236}">
                <a16:creationId xmlns:a16="http://schemas.microsoft.com/office/drawing/2014/main" id="{FE7DF943-B555-C48C-426D-58216653DF98}"/>
              </a:ext>
            </a:extLst>
          </p:cNvPr>
          <p:cNvSpPr/>
          <p:nvPr/>
        </p:nvSpPr>
        <p:spPr>
          <a:xfrm>
            <a:off x="576686" y="1589078"/>
            <a:ext cx="1104478" cy="1195069"/>
          </a:xfrm>
          <a:prstGeom prst="rect">
            <a:avLst/>
          </a:prstGeom>
          <a:noFill/>
          <a:ln w="285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10" name="Straight Arrow Connector 9">
            <a:extLst>
              <a:ext uri="{FF2B5EF4-FFF2-40B4-BE49-F238E27FC236}">
                <a16:creationId xmlns:a16="http://schemas.microsoft.com/office/drawing/2014/main" id="{3CE5714B-641D-9AF8-C69A-FE8F657791CC}"/>
              </a:ext>
            </a:extLst>
          </p:cNvPr>
          <p:cNvCxnSpPr>
            <a:cxnSpLocks/>
          </p:cNvCxnSpPr>
          <p:nvPr/>
        </p:nvCxnSpPr>
        <p:spPr>
          <a:xfrm flipH="1">
            <a:off x="438972" y="1810021"/>
            <a:ext cx="190101" cy="0"/>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DBD8A206-B15F-68B1-EFC5-A0452C84B254}"/>
              </a:ext>
            </a:extLst>
          </p:cNvPr>
          <p:cNvSpPr/>
          <p:nvPr/>
        </p:nvSpPr>
        <p:spPr>
          <a:xfrm>
            <a:off x="-1289675" y="1665722"/>
            <a:ext cx="1728647" cy="567540"/>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Seghal</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ASH 2023, slide 2, citation A, Slide 3 citation A; slide 4 citation A</a:t>
            </a:r>
          </a:p>
        </p:txBody>
      </p:sp>
      <p:sp>
        <p:nvSpPr>
          <p:cNvPr id="12" name="Rectangle 11">
            <a:extLst>
              <a:ext uri="{FF2B5EF4-FFF2-40B4-BE49-F238E27FC236}">
                <a16:creationId xmlns:a16="http://schemas.microsoft.com/office/drawing/2014/main" id="{3BF48928-21B5-A561-9AE8-43287B1DF668}"/>
              </a:ext>
            </a:extLst>
          </p:cNvPr>
          <p:cNvSpPr/>
          <p:nvPr/>
        </p:nvSpPr>
        <p:spPr>
          <a:xfrm>
            <a:off x="1723697" y="1589077"/>
            <a:ext cx="1357502" cy="1463685"/>
          </a:xfrm>
          <a:prstGeom prst="rect">
            <a:avLst/>
          </a:prstGeom>
          <a:noFill/>
          <a:ln w="285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12">
            <a:extLst>
              <a:ext uri="{FF2B5EF4-FFF2-40B4-BE49-F238E27FC236}">
                <a16:creationId xmlns:a16="http://schemas.microsoft.com/office/drawing/2014/main" id="{ABC4618F-D37B-BE0F-79E0-913150F63F3C}"/>
              </a:ext>
            </a:extLst>
          </p:cNvPr>
          <p:cNvSpPr/>
          <p:nvPr/>
        </p:nvSpPr>
        <p:spPr>
          <a:xfrm>
            <a:off x="1240703" y="332082"/>
            <a:ext cx="2469285" cy="243089"/>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Seghal</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ASH 2023, slide 5, citation A</a:t>
            </a:r>
          </a:p>
        </p:txBody>
      </p:sp>
      <p:cxnSp>
        <p:nvCxnSpPr>
          <p:cNvPr id="14" name="Straight Arrow Connector 13">
            <a:extLst>
              <a:ext uri="{FF2B5EF4-FFF2-40B4-BE49-F238E27FC236}">
                <a16:creationId xmlns:a16="http://schemas.microsoft.com/office/drawing/2014/main" id="{5043D8EF-D555-9BCF-A4AB-0D8020B8038F}"/>
              </a:ext>
            </a:extLst>
          </p:cNvPr>
          <p:cNvCxnSpPr>
            <a:cxnSpLocks/>
          </p:cNvCxnSpPr>
          <p:nvPr/>
        </p:nvCxnSpPr>
        <p:spPr>
          <a:xfrm flipV="1">
            <a:off x="2307397" y="580204"/>
            <a:ext cx="0" cy="1008873"/>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D0DA3240-3174-8EA1-596C-1D2C93F0608C}"/>
              </a:ext>
            </a:extLst>
          </p:cNvPr>
          <p:cNvSpPr/>
          <p:nvPr/>
        </p:nvSpPr>
        <p:spPr>
          <a:xfrm>
            <a:off x="3912358" y="130056"/>
            <a:ext cx="1728647" cy="460772"/>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Seghal</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ASH 2023, slide 9 citation A</a:t>
            </a:r>
          </a:p>
        </p:txBody>
      </p:sp>
      <p:cxnSp>
        <p:nvCxnSpPr>
          <p:cNvPr id="16" name="Straight Arrow Connector 15">
            <a:extLst>
              <a:ext uri="{FF2B5EF4-FFF2-40B4-BE49-F238E27FC236}">
                <a16:creationId xmlns:a16="http://schemas.microsoft.com/office/drawing/2014/main" id="{CC0D4B53-EFBA-0609-8226-637D0C320D3D}"/>
              </a:ext>
            </a:extLst>
          </p:cNvPr>
          <p:cNvCxnSpPr>
            <a:cxnSpLocks/>
          </p:cNvCxnSpPr>
          <p:nvPr/>
        </p:nvCxnSpPr>
        <p:spPr>
          <a:xfrm flipV="1">
            <a:off x="4550534" y="590828"/>
            <a:ext cx="0" cy="1008873"/>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2C29505A-C27F-C11B-9C4E-976762FE0015}"/>
              </a:ext>
            </a:extLst>
          </p:cNvPr>
          <p:cNvSpPr/>
          <p:nvPr/>
        </p:nvSpPr>
        <p:spPr>
          <a:xfrm>
            <a:off x="3148023" y="1546485"/>
            <a:ext cx="1728977" cy="1768215"/>
          </a:xfrm>
          <a:prstGeom prst="rect">
            <a:avLst/>
          </a:prstGeom>
          <a:noFill/>
          <a:ln w="285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69B9A49F-73D2-046C-5270-FBC2613E0658}"/>
              </a:ext>
            </a:extLst>
          </p:cNvPr>
          <p:cNvSpPr/>
          <p:nvPr/>
        </p:nvSpPr>
        <p:spPr>
          <a:xfrm>
            <a:off x="606959" y="3323724"/>
            <a:ext cx="5689065" cy="311421"/>
          </a:xfrm>
          <a:prstGeom prst="rect">
            <a:avLst/>
          </a:prstGeom>
          <a:noFill/>
          <a:ln w="285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9" name="Rectangle 18">
            <a:extLst>
              <a:ext uri="{FF2B5EF4-FFF2-40B4-BE49-F238E27FC236}">
                <a16:creationId xmlns:a16="http://schemas.microsoft.com/office/drawing/2014/main" id="{D2CCB885-9B78-1EA2-D3B7-A89B78D83D16}"/>
              </a:ext>
            </a:extLst>
          </p:cNvPr>
          <p:cNvSpPr/>
          <p:nvPr/>
        </p:nvSpPr>
        <p:spPr>
          <a:xfrm>
            <a:off x="6360389" y="3333655"/>
            <a:ext cx="1728647" cy="301490"/>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Seghal</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ASH 2023, slide 9 citation A</a:t>
            </a:r>
          </a:p>
        </p:txBody>
      </p:sp>
      <p:sp>
        <p:nvSpPr>
          <p:cNvPr id="20" name="Rectangle 19">
            <a:extLst>
              <a:ext uri="{FF2B5EF4-FFF2-40B4-BE49-F238E27FC236}">
                <a16:creationId xmlns:a16="http://schemas.microsoft.com/office/drawing/2014/main" id="{7EA6DDCC-94DD-A59C-4EEA-4EA305B27FCF}"/>
              </a:ext>
            </a:extLst>
          </p:cNvPr>
          <p:cNvSpPr/>
          <p:nvPr/>
        </p:nvSpPr>
        <p:spPr>
          <a:xfrm>
            <a:off x="629074" y="869967"/>
            <a:ext cx="4538240" cy="467463"/>
          </a:xfrm>
          <a:prstGeom prst="rect">
            <a:avLst/>
          </a:prstGeom>
          <a:noFill/>
          <a:ln w="285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21" name="Straight Arrow Connector 20">
            <a:extLst>
              <a:ext uri="{FF2B5EF4-FFF2-40B4-BE49-F238E27FC236}">
                <a16:creationId xmlns:a16="http://schemas.microsoft.com/office/drawing/2014/main" id="{FA007AAB-1EB7-CD37-4FA8-0DF6DAEFCB20}"/>
              </a:ext>
            </a:extLst>
          </p:cNvPr>
          <p:cNvCxnSpPr>
            <a:cxnSpLocks/>
          </p:cNvCxnSpPr>
          <p:nvPr/>
        </p:nvCxnSpPr>
        <p:spPr>
          <a:xfrm>
            <a:off x="5167314" y="1090884"/>
            <a:ext cx="523592" cy="0"/>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3D00815E-CB1F-A48E-B007-2A91ED55B111}"/>
              </a:ext>
            </a:extLst>
          </p:cNvPr>
          <p:cNvSpPr/>
          <p:nvPr/>
        </p:nvSpPr>
        <p:spPr>
          <a:xfrm>
            <a:off x="5697981" y="963095"/>
            <a:ext cx="2469285" cy="243089"/>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Seghal</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Lancet Oncol 2022, p1067 citation A</a:t>
            </a:r>
          </a:p>
        </p:txBody>
      </p:sp>
    </p:spTree>
    <p:extLst>
      <p:ext uri="{BB962C8B-B14F-4D97-AF65-F5344CB8AC3E}">
        <p14:creationId xmlns:p14="http://schemas.microsoft.com/office/powerpoint/2010/main" val="108132267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7188" y="690563"/>
            <a:ext cx="6143625" cy="345598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ACD9265-B43B-41E6-86ED-68E0F896AFC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Rectangle 4">
            <a:extLst>
              <a:ext uri="{FF2B5EF4-FFF2-40B4-BE49-F238E27FC236}">
                <a16:creationId xmlns:a16="http://schemas.microsoft.com/office/drawing/2014/main" id="{44246534-B4D1-73A3-ECA7-D0BECB726B1E}"/>
              </a:ext>
            </a:extLst>
          </p:cNvPr>
          <p:cNvSpPr/>
          <p:nvPr/>
        </p:nvSpPr>
        <p:spPr>
          <a:xfrm>
            <a:off x="-962024" y="2418557"/>
            <a:ext cx="2295526" cy="324644"/>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Beaupierre</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a:t>
            </a:r>
            <a:b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J Adv </a:t>
            </a: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Prac</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Oncol 2019); p32 citation A</a:t>
            </a:r>
          </a:p>
        </p:txBody>
      </p:sp>
      <p:sp>
        <p:nvSpPr>
          <p:cNvPr id="6" name="Rectangle 5">
            <a:extLst>
              <a:ext uri="{FF2B5EF4-FFF2-40B4-BE49-F238E27FC236}">
                <a16:creationId xmlns:a16="http://schemas.microsoft.com/office/drawing/2014/main" id="{30282543-B480-779B-3A8A-C6E915B5EDAB}"/>
              </a:ext>
            </a:extLst>
          </p:cNvPr>
          <p:cNvSpPr/>
          <p:nvPr/>
        </p:nvSpPr>
        <p:spPr>
          <a:xfrm>
            <a:off x="-962024" y="2743201"/>
            <a:ext cx="2295526" cy="324644"/>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Beaupierre</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a:t>
            </a:r>
            <a:b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Clin J Oncol </a:t>
            </a: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Nurs</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2019); p29 citation A</a:t>
            </a:r>
          </a:p>
        </p:txBody>
      </p:sp>
      <p:sp>
        <p:nvSpPr>
          <p:cNvPr id="7" name="Rectangle 6">
            <a:extLst>
              <a:ext uri="{FF2B5EF4-FFF2-40B4-BE49-F238E27FC236}">
                <a16:creationId xmlns:a16="http://schemas.microsoft.com/office/drawing/2014/main" id="{463EFD88-3443-95AC-90C6-F28A36F9075E}"/>
              </a:ext>
            </a:extLst>
          </p:cNvPr>
          <p:cNvSpPr/>
          <p:nvPr/>
        </p:nvSpPr>
        <p:spPr>
          <a:xfrm>
            <a:off x="-962024" y="3106738"/>
            <a:ext cx="2295526" cy="324644"/>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McGuirk 2017</a:t>
            </a:r>
            <a:b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a:t>
            </a: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Cytotherapy</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p1017 citation A</a:t>
            </a:r>
          </a:p>
        </p:txBody>
      </p:sp>
      <p:sp>
        <p:nvSpPr>
          <p:cNvPr id="8" name="Rectangle 7">
            <a:extLst>
              <a:ext uri="{FF2B5EF4-FFF2-40B4-BE49-F238E27FC236}">
                <a16:creationId xmlns:a16="http://schemas.microsoft.com/office/drawing/2014/main" id="{0E3D6563-22DF-9FDA-BE60-1452854CA93D}"/>
              </a:ext>
            </a:extLst>
          </p:cNvPr>
          <p:cNvSpPr/>
          <p:nvPr/>
        </p:nvSpPr>
        <p:spPr>
          <a:xfrm>
            <a:off x="2209801" y="3571082"/>
            <a:ext cx="2295526" cy="324644"/>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Beaupierre</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a:t>
            </a:r>
            <a:b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J Adv </a:t>
            </a: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Prac</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Oncol 2019); p33 citation A</a:t>
            </a:r>
          </a:p>
        </p:txBody>
      </p:sp>
      <p:sp>
        <p:nvSpPr>
          <p:cNvPr id="9" name="Rectangle 8">
            <a:extLst>
              <a:ext uri="{FF2B5EF4-FFF2-40B4-BE49-F238E27FC236}">
                <a16:creationId xmlns:a16="http://schemas.microsoft.com/office/drawing/2014/main" id="{40A6E590-3EAA-6111-19F2-1D8E5BFEDF3F}"/>
              </a:ext>
            </a:extLst>
          </p:cNvPr>
          <p:cNvSpPr/>
          <p:nvPr/>
        </p:nvSpPr>
        <p:spPr>
          <a:xfrm>
            <a:off x="2209801" y="3895725"/>
            <a:ext cx="2295526" cy="481607"/>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McGuirk 2017</a:t>
            </a:r>
            <a:b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a:t>
            </a: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Cytotherapy</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p1020 citation A (column 2 (bridging therapy)</a:t>
            </a:r>
          </a:p>
        </p:txBody>
      </p:sp>
      <p:sp>
        <p:nvSpPr>
          <p:cNvPr id="10" name="Rectangle 9">
            <a:extLst>
              <a:ext uri="{FF2B5EF4-FFF2-40B4-BE49-F238E27FC236}">
                <a16:creationId xmlns:a16="http://schemas.microsoft.com/office/drawing/2014/main" id="{8D1DB6C9-1BD5-1A9C-E0C6-65177CE5898B}"/>
              </a:ext>
            </a:extLst>
          </p:cNvPr>
          <p:cNvSpPr/>
          <p:nvPr/>
        </p:nvSpPr>
        <p:spPr>
          <a:xfrm>
            <a:off x="5370513" y="2418556"/>
            <a:ext cx="2295526" cy="324644"/>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Beaupierre</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a:t>
            </a:r>
            <a:b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J Adv </a:t>
            </a: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Prac</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Oncol 2019); p34 citation A</a:t>
            </a:r>
          </a:p>
        </p:txBody>
      </p:sp>
      <p:sp>
        <p:nvSpPr>
          <p:cNvPr id="11" name="Rectangle 10">
            <a:extLst>
              <a:ext uri="{FF2B5EF4-FFF2-40B4-BE49-F238E27FC236}">
                <a16:creationId xmlns:a16="http://schemas.microsoft.com/office/drawing/2014/main" id="{9A17C28E-6C67-5BDB-7A57-D164F7B8ED42}"/>
              </a:ext>
            </a:extLst>
          </p:cNvPr>
          <p:cNvSpPr/>
          <p:nvPr/>
        </p:nvSpPr>
        <p:spPr>
          <a:xfrm>
            <a:off x="3640137" y="1435702"/>
            <a:ext cx="2295526" cy="324644"/>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Beaupierre</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a:t>
            </a:r>
            <a:b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Clin J Oncol </a:t>
            </a: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Nurs</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2019); p29 citation B</a:t>
            </a:r>
          </a:p>
        </p:txBody>
      </p:sp>
      <p:sp>
        <p:nvSpPr>
          <p:cNvPr id="12" name="Rectangle 11">
            <a:extLst>
              <a:ext uri="{FF2B5EF4-FFF2-40B4-BE49-F238E27FC236}">
                <a16:creationId xmlns:a16="http://schemas.microsoft.com/office/drawing/2014/main" id="{A7A293DF-2415-8F49-8FF7-FD4F605110F7}"/>
              </a:ext>
            </a:extLst>
          </p:cNvPr>
          <p:cNvSpPr/>
          <p:nvPr/>
        </p:nvSpPr>
        <p:spPr>
          <a:xfrm>
            <a:off x="2209801" y="4390418"/>
            <a:ext cx="2295526" cy="714981"/>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Beaupierre</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a:t>
            </a:r>
            <a:b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Clin J Oncol </a:t>
            </a: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Nurs</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2019); p30 citation A (column 1 – bridging); citation B (column 2, par 1 &amp; par 2)</a:t>
            </a:r>
          </a:p>
        </p:txBody>
      </p:sp>
      <p:sp>
        <p:nvSpPr>
          <p:cNvPr id="13" name="Rectangle 12">
            <a:extLst>
              <a:ext uri="{FF2B5EF4-FFF2-40B4-BE49-F238E27FC236}">
                <a16:creationId xmlns:a16="http://schemas.microsoft.com/office/drawing/2014/main" id="{87941543-EF55-1F4F-1AB5-3DB801D821FB}"/>
              </a:ext>
            </a:extLst>
          </p:cNvPr>
          <p:cNvSpPr/>
          <p:nvPr/>
        </p:nvSpPr>
        <p:spPr>
          <a:xfrm>
            <a:off x="5370514" y="2791126"/>
            <a:ext cx="2295526" cy="324644"/>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Beaupierre</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a:t>
            </a:r>
            <a:b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Clin J Oncol </a:t>
            </a: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Nurs</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2019); P30 citation A</a:t>
            </a:r>
          </a:p>
        </p:txBody>
      </p:sp>
    </p:spTree>
    <p:extLst>
      <p:ext uri="{BB962C8B-B14F-4D97-AF65-F5344CB8AC3E}">
        <p14:creationId xmlns:p14="http://schemas.microsoft.com/office/powerpoint/2010/main" val="380603191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D5D54-0181-4E15-B8E4-C6EF6E94A0B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3476169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D5D54-0181-4E15-B8E4-C6EF6E94A0B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3018188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950AEE-EF14-470D-AF56-2187C231676D}"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6347018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950AEE-EF14-470D-AF56-2187C231676D}"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374195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1" name="Slide Image Placeholder 1"/>
          <p:cNvSpPr>
            <a:spLocks noGrp="1" noRot="1" noChangeAspect="1"/>
          </p:cNvSpPr>
          <p:nvPr>
            <p:ph type="sldImg"/>
          </p:nvPr>
        </p:nvSpPr>
        <p:spPr>
          <a:xfrm>
            <a:off x="381000" y="685800"/>
            <a:ext cx="6096000" cy="3429000"/>
          </a:xfrm>
          <a:solidFill>
            <a:srgbClr val="FFFFFF"/>
          </a:solidFill>
          <a:ln/>
        </p:spPr>
      </p:sp>
      <p:sp>
        <p:nvSpPr>
          <p:cNvPr id="10242" name="Notes Placeholder 2"/>
          <p:cNvSpPr>
            <a:spLocks noGrp="1"/>
          </p:cNvSpPr>
          <p:nvPr>
            <p:ph type="body" idx="1"/>
          </p:nvPr>
        </p:nvSpPr>
        <p:spPr>
          <a:noFill/>
          <a:ln>
            <a:solidFill>
              <a:srgbClr val="000000"/>
            </a:solidFill>
            <a:miter lim="800000"/>
            <a:headEnd/>
            <a:tailEnd/>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Lst>
        </p:spPr>
        <p:txBody>
          <a:bodyPr/>
          <a:lstStyle/>
          <a:p>
            <a:endParaRPr lang="en-US" dirty="0">
              <a:ea typeface="ヒラギノ角ゴ Pro W3" charset="0"/>
              <a:cs typeface="ヒラギノ角ゴ Pro W3" charset="0"/>
            </a:endParaRPr>
          </a:p>
        </p:txBody>
      </p:sp>
      <p:sp>
        <p:nvSpPr>
          <p:cNvPr id="10243" name="Slide Number Placeholder 3"/>
          <p:cNvSpPr txBox="1">
            <a:spLocks noGrp="1"/>
          </p:cNvSpPr>
          <p:nvPr/>
        </p:nvSpPr>
        <p:spPr bwMode="auto">
          <a:xfrm>
            <a:off x="3886200" y="8686800"/>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E2857C3C-9D24-704D-92CB-F48C911EC1B1}" type="slidenum">
              <a:rPr kumimoji="0" lang="en-US" sz="1200" b="0" i="0" u="none" strike="noStrike" kern="1200" cap="none" spc="0" normalizeH="0" baseline="0" noProof="0">
                <a:ln>
                  <a:noFill/>
                </a:ln>
                <a:solidFill>
                  <a:prstClr val="black"/>
                </a:solidFill>
                <a:effectLst/>
                <a:uLnTx/>
                <a:uFillTx/>
                <a:latin typeface="Times" charset="0"/>
                <a:ea typeface="ＭＳ Ｐゴシック"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Times" charset="0"/>
              <a:ea typeface="ＭＳ Ｐゴシック" charset="0"/>
            </a:endParaRPr>
          </a:p>
        </p:txBody>
      </p:sp>
    </p:spTree>
    <p:extLst>
      <p:ext uri="{BB962C8B-B14F-4D97-AF65-F5344CB8AC3E}">
        <p14:creationId xmlns:p14="http://schemas.microsoft.com/office/powerpoint/2010/main" val="108441146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950AEE-EF14-470D-AF56-2187C231676D}"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8661362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950AEE-EF14-470D-AF56-2187C231676D}"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3473039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950AEE-EF14-470D-AF56-2187C231676D}"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3579882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53B81B8-344C-459C-8F4B-74DF3AC04C2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175589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0FF39F-1069-559E-5C13-6F7450DF81B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DF23E93-593D-E475-9991-584D5E6D1CC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EA74483-F1D9-AAB9-F13B-6F1AFC435F6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776256B-C202-8004-16EA-00A42BDF4CDD}"/>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53B81B8-344C-459C-8F4B-74DF3AC04C2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Rectangle 4">
            <a:extLst>
              <a:ext uri="{FF2B5EF4-FFF2-40B4-BE49-F238E27FC236}">
                <a16:creationId xmlns:a16="http://schemas.microsoft.com/office/drawing/2014/main" id="{12707164-C262-C19D-D563-9595F0EB25CC}"/>
              </a:ext>
            </a:extLst>
          </p:cNvPr>
          <p:cNvSpPr/>
          <p:nvPr/>
        </p:nvSpPr>
        <p:spPr>
          <a:xfrm>
            <a:off x="1420781" y="4146550"/>
            <a:ext cx="3621503" cy="565484"/>
          </a:xfrm>
          <a:prstGeom prst="rect">
            <a:avLst/>
          </a:prstGeom>
          <a:noFill/>
          <a:ln>
            <a:solidFill>
              <a:srgbClr val="FF0000"/>
            </a:solidFill>
          </a:ln>
        </p:spPr>
        <p:style>
          <a:lnRef idx="0">
            <a:schemeClr val="accent1"/>
          </a:lnRef>
          <a:fillRef idx="1">
            <a:schemeClr val="accent1"/>
          </a:fillRef>
          <a:effectRef idx="0">
            <a:srgbClr val="000000"/>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Cordas Dos Santos, Nat Med, 2024, p6, B</a:t>
            </a:r>
          </a:p>
        </p:txBody>
      </p:sp>
      <p:cxnSp>
        <p:nvCxnSpPr>
          <p:cNvPr id="6" name="Straight Arrow Connector 5">
            <a:extLst>
              <a:ext uri="{FF2B5EF4-FFF2-40B4-BE49-F238E27FC236}">
                <a16:creationId xmlns:a16="http://schemas.microsoft.com/office/drawing/2014/main" id="{9AE81B6B-5471-D201-3137-DAA39AAE5284}"/>
              </a:ext>
            </a:extLst>
          </p:cNvPr>
          <p:cNvCxnSpPr>
            <a:cxnSpLocks/>
          </p:cNvCxnSpPr>
          <p:nvPr/>
        </p:nvCxnSpPr>
        <p:spPr>
          <a:xfrm flipV="1">
            <a:off x="2725271" y="3567953"/>
            <a:ext cx="0" cy="578597"/>
          </a:xfrm>
          <a:prstGeom prst="straightConnector1">
            <a:avLst/>
          </a:prstGeom>
          <a:ln w="28575" cap="rnd">
            <a:solidFill>
              <a:srgbClr val="FF0000"/>
            </a:solidFill>
            <a:tailEnd type="triangle"/>
          </a:ln>
        </p:spPr>
        <p:style>
          <a:lnRef idx="1">
            <a:srgbClr val="BE2BBB"/>
          </a:lnRef>
          <a:fillRef idx="0">
            <a:schemeClr val="accent1"/>
          </a:fillRef>
          <a:effectRef idx="0">
            <a:srgbClr val="000000"/>
          </a:effectRef>
          <a:fontRef idx="minor">
            <a:schemeClr val="lt1"/>
          </a:fontRef>
        </p:style>
      </p:cxnSp>
      <p:sp>
        <p:nvSpPr>
          <p:cNvPr id="9" name="Rectangle 8">
            <a:extLst>
              <a:ext uri="{FF2B5EF4-FFF2-40B4-BE49-F238E27FC236}">
                <a16:creationId xmlns:a16="http://schemas.microsoft.com/office/drawing/2014/main" id="{C3BF1509-6252-AA14-3C0E-187CC3B7CF61}"/>
              </a:ext>
            </a:extLst>
          </p:cNvPr>
          <p:cNvSpPr/>
          <p:nvPr/>
        </p:nvSpPr>
        <p:spPr>
          <a:xfrm>
            <a:off x="1625600" y="1476188"/>
            <a:ext cx="2259013" cy="2091765"/>
          </a:xfrm>
          <a:prstGeom prst="rect">
            <a:avLst/>
          </a:prstGeom>
          <a:no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5CA3C9D4-C4C6-D46F-4875-FB11D3F1FDFF}"/>
              </a:ext>
            </a:extLst>
          </p:cNvPr>
          <p:cNvSpPr/>
          <p:nvPr/>
        </p:nvSpPr>
        <p:spPr>
          <a:xfrm>
            <a:off x="-1942353" y="2170977"/>
            <a:ext cx="2360706" cy="457151"/>
          </a:xfrm>
          <a:prstGeom prst="rect">
            <a:avLst/>
          </a:prstGeom>
          <a:noFill/>
          <a:ln>
            <a:solidFill>
              <a:srgbClr val="FF0000"/>
            </a:solidFill>
          </a:ln>
        </p:spPr>
        <p:style>
          <a:lnRef idx="0">
            <a:schemeClr val="accent1"/>
          </a:lnRef>
          <a:fillRef idx="1">
            <a:schemeClr val="accent1"/>
          </a:fillRef>
          <a:effectRef idx="0">
            <a:srgbClr val="000000"/>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Cordas Dos Santos, Nat Med, 2024, p2, B &amp; E, F</a:t>
            </a:r>
          </a:p>
        </p:txBody>
      </p:sp>
      <p:sp>
        <p:nvSpPr>
          <p:cNvPr id="8" name="Rectangle 7">
            <a:extLst>
              <a:ext uri="{FF2B5EF4-FFF2-40B4-BE49-F238E27FC236}">
                <a16:creationId xmlns:a16="http://schemas.microsoft.com/office/drawing/2014/main" id="{65A11B27-4245-5202-DD3D-2DB95C5011D5}"/>
              </a:ext>
            </a:extLst>
          </p:cNvPr>
          <p:cNvSpPr/>
          <p:nvPr/>
        </p:nvSpPr>
        <p:spPr>
          <a:xfrm>
            <a:off x="418353" y="1535953"/>
            <a:ext cx="1075839" cy="1727200"/>
          </a:xfrm>
          <a:prstGeom prst="rect">
            <a:avLst/>
          </a:prstGeom>
          <a:no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 name="Rectangle 9">
            <a:extLst>
              <a:ext uri="{FF2B5EF4-FFF2-40B4-BE49-F238E27FC236}">
                <a16:creationId xmlns:a16="http://schemas.microsoft.com/office/drawing/2014/main" id="{C1AB3EFC-3177-F17C-B529-C64B9C16E0F8}"/>
              </a:ext>
            </a:extLst>
          </p:cNvPr>
          <p:cNvSpPr/>
          <p:nvPr/>
        </p:nvSpPr>
        <p:spPr>
          <a:xfrm>
            <a:off x="453475" y="797858"/>
            <a:ext cx="5499090" cy="564777"/>
          </a:xfrm>
          <a:prstGeom prst="rect">
            <a:avLst/>
          </a:prstGeom>
          <a:no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10">
            <a:extLst>
              <a:ext uri="{FF2B5EF4-FFF2-40B4-BE49-F238E27FC236}">
                <a16:creationId xmlns:a16="http://schemas.microsoft.com/office/drawing/2014/main" id="{42C054F3-1466-4772-73FF-B15FDA2A4B93}"/>
              </a:ext>
            </a:extLst>
          </p:cNvPr>
          <p:cNvSpPr/>
          <p:nvPr/>
        </p:nvSpPr>
        <p:spPr>
          <a:xfrm>
            <a:off x="-1942353" y="797858"/>
            <a:ext cx="2360706" cy="457151"/>
          </a:xfrm>
          <a:prstGeom prst="rect">
            <a:avLst/>
          </a:prstGeom>
          <a:noFill/>
          <a:ln>
            <a:solidFill>
              <a:srgbClr val="FF0000"/>
            </a:solidFill>
          </a:ln>
        </p:spPr>
        <p:style>
          <a:lnRef idx="0">
            <a:schemeClr val="accent1"/>
          </a:lnRef>
          <a:fillRef idx="1">
            <a:schemeClr val="accent1"/>
          </a:fillRef>
          <a:effectRef idx="0">
            <a:srgbClr val="000000"/>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Cordas Dos Santos, Nat Med, 2024, p6, B</a:t>
            </a:r>
          </a:p>
        </p:txBody>
      </p:sp>
    </p:spTree>
    <p:extLst>
      <p:ext uri="{BB962C8B-B14F-4D97-AF65-F5344CB8AC3E}">
        <p14:creationId xmlns:p14="http://schemas.microsoft.com/office/powerpoint/2010/main" val="166520805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950AEE-EF14-470D-AF56-2187C231676D}"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3565903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950AEE-EF14-470D-AF56-2187C231676D}"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5263462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950AEE-EF14-470D-AF56-2187C231676D}"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0377163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950AEE-EF14-470D-AF56-2187C231676D}"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9900306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BF3B14-160C-8E79-8F25-560E47D1562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E077C13-1B34-F582-85EF-B8AC1815737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644DE5E-6B20-86EA-F13F-30AE593FE7A3}"/>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6986970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1" name="Slide Image Placeholder 1"/>
          <p:cNvSpPr>
            <a:spLocks noGrp="1" noRot="1" noChangeAspect="1"/>
          </p:cNvSpPr>
          <p:nvPr>
            <p:ph type="sldImg"/>
          </p:nvPr>
        </p:nvSpPr>
        <p:spPr>
          <a:xfrm>
            <a:off x="381000" y="685800"/>
            <a:ext cx="6096000" cy="3429000"/>
          </a:xfrm>
          <a:solidFill>
            <a:srgbClr val="FFFFFF"/>
          </a:solidFill>
          <a:ln/>
        </p:spPr>
      </p:sp>
      <p:sp>
        <p:nvSpPr>
          <p:cNvPr id="10242" name="Notes Placeholder 2"/>
          <p:cNvSpPr>
            <a:spLocks noGrp="1"/>
          </p:cNvSpPr>
          <p:nvPr>
            <p:ph type="body" idx="1"/>
          </p:nvPr>
        </p:nvSpPr>
        <p:spPr>
          <a:noFill/>
          <a:ln>
            <a:solidFill>
              <a:srgbClr val="000000"/>
            </a:solidFill>
            <a:miter lim="800000"/>
            <a:headEnd/>
            <a:tailEnd/>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Lst>
        </p:spPr>
        <p:txBody>
          <a:bodyPr/>
          <a:lstStyle/>
          <a:p>
            <a:endParaRPr lang="en-US" dirty="0">
              <a:ea typeface="ヒラギノ角ゴ Pro W3" charset="0"/>
              <a:cs typeface="ヒラギノ角ゴ Pro W3" charset="0"/>
            </a:endParaRPr>
          </a:p>
        </p:txBody>
      </p:sp>
      <p:sp>
        <p:nvSpPr>
          <p:cNvPr id="10243" name="Slide Number Placeholder 3"/>
          <p:cNvSpPr txBox="1">
            <a:spLocks noGrp="1"/>
          </p:cNvSpPr>
          <p:nvPr/>
        </p:nvSpPr>
        <p:spPr bwMode="auto">
          <a:xfrm>
            <a:off x="3886200" y="8686800"/>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E2857C3C-9D24-704D-92CB-F48C911EC1B1}" type="slidenum">
              <a:rPr kumimoji="0" lang="en-US" sz="1200" b="0" i="0" u="none" strike="noStrike" kern="1200" cap="none" spc="0" normalizeH="0" baseline="0" noProof="0">
                <a:ln>
                  <a:noFill/>
                </a:ln>
                <a:solidFill>
                  <a:prstClr val="black"/>
                </a:solidFill>
                <a:effectLst/>
                <a:uLnTx/>
                <a:uFillTx/>
                <a:latin typeface="Times" charset="0"/>
                <a:ea typeface="ＭＳ Ｐゴシック"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Times" charset="0"/>
              <a:ea typeface="ＭＳ Ｐゴシック" charset="0"/>
            </a:endParaRPr>
          </a:p>
        </p:txBody>
      </p:sp>
    </p:spTree>
    <p:extLst>
      <p:ext uri="{BB962C8B-B14F-4D97-AF65-F5344CB8AC3E}">
        <p14:creationId xmlns:p14="http://schemas.microsoft.com/office/powerpoint/2010/main" val="98284689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34AC75-4DFC-EE46-A751-A8EC6166A1A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7819763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34AC75-4DFC-EE46-A751-A8EC6166A1A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280941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1399" rtl="0" eaLnBrk="1" fontAlgn="auto" latinLnBrk="0" hangingPunct="1">
              <a:lnSpc>
                <a:spcPct val="100000"/>
              </a:lnSpc>
              <a:spcBef>
                <a:spcPts val="0"/>
              </a:spcBef>
              <a:spcAft>
                <a:spcPts val="0"/>
              </a:spcAft>
              <a:buClrTx/>
              <a:buSzTx/>
              <a:buFontTx/>
              <a:buNone/>
              <a:tabLst/>
              <a:defRPr/>
            </a:pPr>
            <a:fld id="{94AD5D54-0181-4E15-B8E4-C6EF6E94A0BC}" type="slidenum">
              <a:rPr kumimoji="0" lang="en-US" sz="1200" b="0" i="0" u="none" strike="noStrike" kern="1200" cap="none" spc="0" normalizeH="0" baseline="0" noProof="0" smtClean="0">
                <a:ln>
                  <a:noFill/>
                </a:ln>
                <a:solidFill>
                  <a:prstClr val="black"/>
                </a:solidFill>
                <a:effectLst/>
                <a:uLnTx/>
                <a:uFillTx/>
                <a:latin typeface="Calibri"/>
                <a:ea typeface="+mn-ea"/>
                <a:cs typeface="Arial" charset="0"/>
              </a:rPr>
              <a:pPr marL="0" marR="0" lvl="0" indent="0" algn="r" defTabSz="911399"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Calibri"/>
              <a:ea typeface="+mn-ea"/>
              <a:cs typeface="Arial" charset="0"/>
            </a:endParaRPr>
          </a:p>
        </p:txBody>
      </p:sp>
    </p:spTree>
    <p:extLst>
      <p:ext uri="{BB962C8B-B14F-4D97-AF65-F5344CB8AC3E}">
        <p14:creationId xmlns:p14="http://schemas.microsoft.com/office/powerpoint/2010/main" val="75131472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CEEAA2-542F-A892-3544-6514B8820E2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B7F13C-095D-6225-7AE7-13D3DFFC5EE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3666DA7-8302-803E-D76E-56385FABCDBD}"/>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a:extLst>
              <a:ext uri="{FF2B5EF4-FFF2-40B4-BE49-F238E27FC236}">
                <a16:creationId xmlns:a16="http://schemas.microsoft.com/office/drawing/2014/main" id="{1546ECC0-E999-65F7-5478-20B92FF4C1E8}"/>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3BCCA8E-E054-4945-93F6-8F3E2A7D5A2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461257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27E8B8-20B6-8D47-6040-EB4F3CE79DA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3118806-1A7D-1DDE-5361-3B42FC330751}"/>
              </a:ext>
            </a:extLst>
          </p:cNvPr>
          <p:cNvSpPr>
            <a:spLocks noGrp="1" noRot="1" noChangeAspect="1"/>
          </p:cNvSpPr>
          <p:nvPr>
            <p:ph type="sldImg"/>
          </p:nvPr>
        </p:nvSpPr>
        <p:spPr/>
        <p:txBody>
          <a:bodyPr/>
          <a:lstStyle/>
          <a:p>
            <a:endParaRPr lang="en-IN"/>
          </a:p>
        </p:txBody>
      </p:sp>
      <p:sp>
        <p:nvSpPr>
          <p:cNvPr id="3" name="Notes Placeholder 2">
            <a:extLst>
              <a:ext uri="{FF2B5EF4-FFF2-40B4-BE49-F238E27FC236}">
                <a16:creationId xmlns:a16="http://schemas.microsoft.com/office/drawing/2014/main" id="{96D5A31D-7FE3-662A-5075-A04076DB346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75D4EC0-495A-2F08-A85B-BDB902AD2A9D}"/>
              </a:ext>
            </a:extLst>
          </p:cNvPr>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5A6330BE-D91A-D240-B266-E5D5F99B4CCE}" type="slidenum">
              <a:rPr kumimoji="0" lang="en-US" sz="1200" b="0" i="0" u="none" strike="noStrike" kern="1200" cap="none" spc="0" normalizeH="0" baseline="0" noProof="0" smtClean="0">
                <a:ln>
                  <a:noFill/>
                </a:ln>
                <a:solidFill>
                  <a:prstClr val="black"/>
                </a:solidFill>
                <a:effectLst/>
                <a:uLnTx/>
                <a:uFillTx/>
                <a:latin typeface="Arial" charset="0"/>
                <a:ea typeface="Geneva" charset="0"/>
                <a:cs typeface="Arial" charset="0"/>
              </a:rPr>
              <a:pPr marL="0" marR="0" lvl="0" indent="0" algn="r" defTabSz="457200" rtl="0" eaLnBrk="1" fontAlgn="base" latinLnBrk="0" hangingPunct="1">
                <a:lnSpc>
                  <a:spcPct val="100000"/>
                </a:lnSpc>
                <a:spcBef>
                  <a:spcPct val="0"/>
                </a:spcBef>
                <a:spcAft>
                  <a:spcPct val="0"/>
                </a:spcAft>
                <a:buClrTx/>
                <a:buSzTx/>
                <a:buFontTx/>
                <a:buNone/>
                <a:tabLst/>
                <a:defRPr/>
              </a:pPr>
              <a:t>101</a:t>
            </a:fld>
            <a:endParaRPr kumimoji="0" lang="en-US" sz="1200" b="0" i="0" u="none" strike="noStrike" kern="1200" cap="none" spc="0" normalizeH="0" baseline="0" noProof="0">
              <a:ln>
                <a:noFill/>
              </a:ln>
              <a:solidFill>
                <a:prstClr val="black"/>
              </a:solidFill>
              <a:effectLst/>
              <a:uLnTx/>
              <a:uFillTx/>
              <a:latin typeface="Arial" charset="0"/>
              <a:ea typeface="Geneva" charset="0"/>
              <a:cs typeface="Arial" charset="0"/>
            </a:endParaRPr>
          </a:p>
        </p:txBody>
      </p:sp>
    </p:spTree>
    <p:extLst>
      <p:ext uri="{BB962C8B-B14F-4D97-AF65-F5344CB8AC3E}">
        <p14:creationId xmlns:p14="http://schemas.microsoft.com/office/powerpoint/2010/main" val="46980621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CBFAA9E6-400A-E640-A318-E520058423C6}" type="slidenum">
              <a:rPr kumimoji="0" lang="en-US" sz="1200" b="0" i="0" u="none" strike="noStrike" kern="1200" cap="none" spc="0" normalizeH="0" baseline="0" noProof="0" smtClean="0">
                <a:ln>
                  <a:noFill/>
                </a:ln>
                <a:solidFill>
                  <a:prstClr val="black"/>
                </a:solidFill>
                <a:effectLst/>
                <a:uLnTx/>
                <a:uFillTx/>
                <a:latin typeface="Arial" charset="0"/>
                <a:ea typeface="Geneva" charset="0"/>
                <a:cs typeface="Arial" charset="0"/>
              </a:rPr>
              <a:pPr marL="0" marR="0" lvl="0" indent="0" algn="r" defTabSz="457200" rtl="0" eaLnBrk="1" fontAlgn="base" latinLnBrk="0" hangingPunct="1">
                <a:lnSpc>
                  <a:spcPct val="100000"/>
                </a:lnSpc>
                <a:spcBef>
                  <a:spcPct val="0"/>
                </a:spcBef>
                <a:spcAft>
                  <a:spcPct val="0"/>
                </a:spcAft>
                <a:buClrTx/>
                <a:buSzTx/>
                <a:buFontTx/>
                <a:buNone/>
                <a:tabLst/>
                <a:defRPr/>
              </a:pPr>
              <a:t>102</a:t>
            </a:fld>
            <a:endParaRPr kumimoji="0" lang="en-US" sz="1200" b="0" i="0" u="none" strike="noStrike" kern="1200" cap="none" spc="0" normalizeH="0" baseline="0" noProof="0">
              <a:ln>
                <a:noFill/>
              </a:ln>
              <a:solidFill>
                <a:prstClr val="black"/>
              </a:solidFill>
              <a:effectLst/>
              <a:uLnTx/>
              <a:uFillTx/>
              <a:latin typeface="Arial" charset="0"/>
              <a:ea typeface="Geneva" charset="0"/>
              <a:cs typeface="Arial" charset="0"/>
            </a:endParaRPr>
          </a:p>
        </p:txBody>
      </p:sp>
    </p:spTree>
    <p:extLst>
      <p:ext uri="{BB962C8B-B14F-4D97-AF65-F5344CB8AC3E}">
        <p14:creationId xmlns:p14="http://schemas.microsoft.com/office/powerpoint/2010/main" val="370771481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34AC75-4DFC-EE46-A751-A8EC6166A1A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894117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34AC75-4DFC-EE46-A751-A8EC6166A1A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1842470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34AC75-4DFC-EE46-A751-A8EC6166A1A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4238614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34AC75-4DFC-EE46-A751-A8EC6166A1A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3021455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Rectangle 2"/>
          <p:cNvSpPr>
            <a:spLocks noGrp="1" noRot="1" noChangeAspect="1" noChangeArrowheads="1" noTextEdit="1"/>
          </p:cNvSpPr>
          <p:nvPr>
            <p:ph type="sldImg"/>
          </p:nvPr>
        </p:nvSpPr>
        <p:spPr>
          <a:xfrm>
            <a:off x="381000" y="685800"/>
            <a:ext cx="6096000" cy="3429000"/>
          </a:xfrm>
          <a:ln/>
        </p:spPr>
      </p:sp>
      <p:sp>
        <p:nvSpPr>
          <p:cNvPr id="63490" name="Rectangle 3"/>
          <p:cNvSpPr>
            <a:spLocks noGrp="1" noChangeArrowheads="1"/>
          </p:cNvSpPr>
          <p:nvPr>
            <p:ph type="body" idx="1"/>
          </p:nvPr>
        </p:nvSpPr>
        <p:spPr>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en-US">
              <a:latin typeface="Times New Roman" charset="0"/>
              <a:ea typeface="ＭＳ Ｐゴシック" charset="0"/>
              <a:cs typeface="ＭＳ Ｐゴシック" charset="0"/>
            </a:endParaRPr>
          </a:p>
        </p:txBody>
      </p:sp>
    </p:spTree>
    <p:extLst>
      <p:ext uri="{BB962C8B-B14F-4D97-AF65-F5344CB8AC3E}">
        <p14:creationId xmlns:p14="http://schemas.microsoft.com/office/powerpoint/2010/main" val="116771980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34AC75-4DFC-EE46-A751-A8EC6166A1A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9194640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34AC75-4DFC-EE46-A751-A8EC6166A1A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0644088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EAD2D6-D965-E3BD-B847-F7BAEA8B3FD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8424AF2-2BDE-E7CE-3AB1-48DA16646D4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6465152-DA4A-EDD8-4117-2BE7C130CC0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663AD2E-2E2A-5AEF-9F1E-DDB816450343}"/>
              </a:ext>
            </a:extLst>
          </p:cNvPr>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F2E4953F-501C-498F-811F-52E153962CB2}" type="slidenum">
              <a:rPr kumimoji="0" lang="en-US" sz="1200" b="0" i="0" u="none" strike="noStrike" kern="1200" cap="none" spc="0" normalizeH="0" baseline="0" noProof="0" smtClean="0">
                <a:ln>
                  <a:noFill/>
                </a:ln>
                <a:solidFill>
                  <a:prstClr val="black"/>
                </a:solidFill>
                <a:effectLst/>
                <a:uLnTx/>
                <a:uFillTx/>
                <a:latin typeface="Calibri"/>
                <a:ea typeface="+mn-ea"/>
                <a:cs typeface="Arial" charset="0"/>
              </a:rPr>
              <a:pPr marL="0" marR="0" lvl="0" indent="0" algn="r" defTabSz="1219170"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a:ln>
                <a:noFill/>
              </a:ln>
              <a:solidFill>
                <a:prstClr val="black"/>
              </a:solidFill>
              <a:effectLst/>
              <a:uLnTx/>
              <a:uFillTx/>
              <a:latin typeface="Calibri"/>
              <a:ea typeface="+mn-ea"/>
              <a:cs typeface="Arial" charset="0"/>
            </a:endParaRPr>
          </a:p>
        </p:txBody>
      </p:sp>
    </p:spTree>
    <p:extLst>
      <p:ext uri="{BB962C8B-B14F-4D97-AF65-F5344CB8AC3E}">
        <p14:creationId xmlns:p14="http://schemas.microsoft.com/office/powerpoint/2010/main" val="237576448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34AC75-4DFC-EE46-A751-A8EC6166A1A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4112776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34AC75-4DFC-EE46-A751-A8EC6166A1A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1048960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34AC75-4DFC-EE46-A751-A8EC6166A1A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6569461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34AC75-4DFC-EE46-A751-A8EC6166A1A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7084123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34AC75-4DFC-EE46-A751-A8EC6166A1A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4392876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34AC75-4DFC-EE46-A751-A8EC6166A1A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5288824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34AC75-4DFC-EE46-A751-A8EC6166A1A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389142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1" name="Rectangle 2"/>
          <p:cNvSpPr>
            <a:spLocks noGrp="1" noRot="1" noChangeAspect="1" noChangeArrowheads="1" noTextEdit="1"/>
          </p:cNvSpPr>
          <p:nvPr>
            <p:ph type="sldImg"/>
          </p:nvPr>
        </p:nvSpPr>
        <p:spPr>
          <a:xfrm>
            <a:off x="381000" y="685800"/>
            <a:ext cx="6096000" cy="3429000"/>
          </a:xfrm>
          <a:ln/>
        </p:spPr>
      </p:sp>
      <p:sp>
        <p:nvSpPr>
          <p:cNvPr id="87042" name="Rectangle 3"/>
          <p:cNvSpPr>
            <a:spLocks noGrp="1" noChangeArrowheads="1"/>
          </p:cNvSpPr>
          <p:nvPr>
            <p:ph type="body" idx="1"/>
          </p:nvPr>
        </p:nvSpPr>
        <p:spPr>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latin typeface="Times New Roman" charset="0"/>
              <a:ea typeface="ＭＳ Ｐゴシック" charset="0"/>
              <a:cs typeface="ＭＳ Ｐゴシック" charset="0"/>
            </a:endParaRPr>
          </a:p>
        </p:txBody>
      </p:sp>
    </p:spTree>
    <p:extLst>
      <p:ext uri="{BB962C8B-B14F-4D97-AF65-F5344CB8AC3E}">
        <p14:creationId xmlns:p14="http://schemas.microsoft.com/office/powerpoint/2010/main" val="221648487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34AC75-4DFC-EE46-A751-A8EC6166A1A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3211009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34AC75-4DFC-EE46-A751-A8EC6166A1A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9936759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34AC75-4DFC-EE46-A751-A8EC6166A1A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156499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34AC75-4DFC-EE46-A751-A8EC6166A1A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1266822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5B54FF-3D78-E100-44FF-3D79201F39B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E841420-9B30-09D2-E548-43A9CF1F977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A51D639-E351-043A-632F-BA94BE08B6F0}"/>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668803825"/>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Image Placeholder 1">
            <a:extLst>
              <a:ext uri="{FF2B5EF4-FFF2-40B4-BE49-F238E27FC236}">
                <a16:creationId xmlns:a16="http://schemas.microsoft.com/office/drawing/2014/main" id="{4C5349E3-4CDD-06B4-8F65-FDA2F31D798E}"/>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0" name="Notes Placeholder 2">
            <a:extLst>
              <a:ext uri="{FF2B5EF4-FFF2-40B4-BE49-F238E27FC236}">
                <a16:creationId xmlns:a16="http://schemas.microsoft.com/office/drawing/2014/main" id="{6D1C2251-770C-8EDB-2199-8FB6A1852EC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58371" name="Slide Number Placeholder 3">
            <a:extLst>
              <a:ext uri="{FF2B5EF4-FFF2-40B4-BE49-F238E27FC236}">
                <a16:creationId xmlns:a16="http://schemas.microsoft.com/office/drawing/2014/main" id="{16E639A2-8B55-F363-20A4-BA0142061EC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31F23AA0-7402-6F4A-9703-31BACE7FC0E2}" type="slidenum">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endParaRPr>
          </a:p>
        </p:txBody>
      </p:sp>
    </p:spTree>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7A9D11-8931-3ADA-BE78-0E1F819D380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FC73EEB-F18D-ECBC-F040-98EBE7B8B76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6E4BCC6-38A1-DA1E-890D-ECD75F501936}"/>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76813345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7188" y="690563"/>
            <a:ext cx="6143625" cy="34559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53B81B8-344C-459C-8F4B-74DF3AC04C2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40332138"/>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950AEE-EF14-470D-AF56-2187C231676D}"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4009739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53B81B8-344C-459C-8F4B-74DF3AC04C2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080026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898240-DE3D-A549-5E16-B2261A5D15E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59992DE-0DF9-4249-64CC-402615A55B8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0D9480F-0F53-F9A4-3E57-342A26F5EFBA}"/>
              </a:ext>
            </a:extLst>
          </p:cNvPr>
          <p:cNvSpPr>
            <a:spLocks noGrp="1"/>
          </p:cNvSpPr>
          <p:nvPr>
            <p:ph type="body" idx="1"/>
          </p:nvPr>
        </p:nvSpPr>
        <p:spPr/>
        <p:txBody>
          <a:bodyPr/>
          <a:lstStyle/>
          <a:p>
            <a:endParaRPr lang="en-US" dirty="0"/>
          </a:p>
        </p:txBody>
      </p:sp>
      <p:sp>
        <p:nvSpPr>
          <p:cNvPr id="4" name="Header Placeholder 3">
            <a:extLst>
              <a:ext uri="{FF2B5EF4-FFF2-40B4-BE49-F238E27FC236}">
                <a16:creationId xmlns:a16="http://schemas.microsoft.com/office/drawing/2014/main" id="{03A9DDED-4C00-94EC-9E0A-28E98AB1DC31}"/>
              </a:ext>
            </a:extLst>
          </p:cNvPr>
          <p:cNvSpPr>
            <a:spLocks noGrp="1"/>
          </p:cNvSpPr>
          <p:nvPr>
            <p:ph type="hdr" sz="quarter"/>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ＭＳ Ｐゴシック" charset="0"/>
                <a:cs typeface="+mn-cs"/>
              </a:rPr>
              <a:t>ASCO CRC and GI</a:t>
            </a:r>
          </a:p>
        </p:txBody>
      </p:sp>
      <p:sp>
        <p:nvSpPr>
          <p:cNvPr id="5" name="Footer Placeholder 4">
            <a:extLst>
              <a:ext uri="{FF2B5EF4-FFF2-40B4-BE49-F238E27FC236}">
                <a16:creationId xmlns:a16="http://schemas.microsoft.com/office/drawing/2014/main" id="{A21AFC45-C7F5-9148-88FB-F8E40CB2B37D}"/>
              </a:ext>
            </a:extLst>
          </p:cNvPr>
          <p:cNvSpPr>
            <a:spLocks noGrp="1"/>
          </p:cNvSpPr>
          <p:nvPr>
            <p:ph type="ftr" sz="quarter" idx="4"/>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charset="0"/>
              <a:ea typeface="ＭＳ Ｐゴシック" charset="0"/>
              <a:cs typeface="+mn-cs"/>
            </a:endParaRPr>
          </a:p>
        </p:txBody>
      </p:sp>
      <p:sp>
        <p:nvSpPr>
          <p:cNvPr id="6" name="Slide Number Placeholder 5">
            <a:extLst>
              <a:ext uri="{FF2B5EF4-FFF2-40B4-BE49-F238E27FC236}">
                <a16:creationId xmlns:a16="http://schemas.microsoft.com/office/drawing/2014/main" id="{F1EDBC17-70D9-F36A-7DF9-943522C9237D}"/>
              </a:ext>
            </a:extLst>
          </p:cNvPr>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1FF50E98-AC92-C54A-ACBD-9B80212ADB1C}" type="slidenum">
              <a:rPr kumimoji="0" lang="en-US" sz="1200" b="0" i="0" u="none" strike="noStrike" kern="1200" cap="none" spc="0" normalizeH="0" baseline="0" noProof="0" smtClean="0">
                <a:ln>
                  <a:noFill/>
                </a:ln>
                <a:solidFill>
                  <a:srgbClr val="000000"/>
                </a:solidFill>
                <a:effectLst/>
                <a:uLnTx/>
                <a:uFillTx/>
                <a:latin typeface="Arial" charset="0"/>
                <a:ea typeface="ＭＳ Ｐゴシック" charset="0"/>
                <a:cs typeface="+mn-cs"/>
              </a:rPr>
              <a:pPr marL="0" marR="0" lvl="0" indent="0" algn="r" defTabSz="914400" rtl="0" eaLnBrk="0" fontAlgn="base" latinLnBrk="0" hangingPunct="0">
                <a:lnSpc>
                  <a:spcPct val="100000"/>
                </a:lnSpc>
                <a:spcBef>
                  <a:spcPct val="0"/>
                </a:spcBef>
                <a:spcAft>
                  <a:spcPct val="0"/>
                </a:spcAft>
                <a:buClrTx/>
                <a:buSzTx/>
                <a:buFontTx/>
                <a:buNone/>
                <a:tabLst/>
                <a:defRPr/>
              </a:pPr>
              <a:t>10</a:t>
            </a:fld>
            <a:endParaRPr kumimoji="0" lang="en-US" sz="1200" b="0" i="0" u="none" strike="noStrike" kern="1200" cap="none" spc="0" normalizeH="0" baseline="0" noProof="0">
              <a:ln>
                <a:noFill/>
              </a:ln>
              <a:solidFill>
                <a:srgbClr val="000000"/>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3060329108"/>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950AEE-EF14-470D-AF56-2187C231676D}"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4</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88419569"/>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950AEE-EF14-470D-AF56-2187C231676D}"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5</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7314317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DB2576-5524-466D-8FF5-FE29A8E76C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49428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15000"/>
              </a:lnSpc>
              <a:buFont typeface="Symbol" panose="05050102010706020507" pitchFamily="18" charset="2"/>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BC43BB-2F72-46B7-8A47-F39B0156EB4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82418964"/>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BC43BB-2F72-46B7-8A47-F39B0156EB4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30020323"/>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BC43BB-2F72-46B7-8A47-F39B0156EB4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79497465"/>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950AEE-EF14-470D-AF56-2187C231676D}"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0</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30928404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BC43BB-2F72-46B7-8A47-F39B0156EB4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55677709"/>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BC43BB-2F72-46B7-8A47-F39B0156EB4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72772047"/>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950AEE-EF14-470D-AF56-2187C231676D}"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3</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168713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3823023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950AEE-EF14-470D-AF56-2187C231676D}"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4</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86088021"/>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90469434"/>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609493" rtl="0" eaLnBrk="1" fontAlgn="auto" latinLnBrk="0" hangingPunct="1">
              <a:lnSpc>
                <a:spcPct val="100000"/>
              </a:lnSpc>
              <a:spcBef>
                <a:spcPts val="0"/>
              </a:spcBef>
              <a:spcAft>
                <a:spcPts val="0"/>
              </a:spcAft>
              <a:buClrTx/>
              <a:buSzTx/>
              <a:buFontTx/>
              <a:buNone/>
              <a:tabLst/>
              <a:defRPr/>
            </a:pPr>
            <a:fld id="{89CBF023-7DFB-49EB-8F82-E3BB39BAB62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09493" rtl="0" eaLnBrk="1" fontAlgn="auto" latinLnBrk="0" hangingPunct="1">
                <a:lnSpc>
                  <a:spcPct val="100000"/>
                </a:lnSpc>
                <a:spcBef>
                  <a:spcPts val="0"/>
                </a:spcBef>
                <a:spcAft>
                  <a:spcPts val="0"/>
                </a:spcAft>
                <a:buClrTx/>
                <a:buSzTx/>
                <a:buFontTx/>
                <a:buNone/>
                <a:tabLst/>
                <a:defRPr/>
              </a:pPr>
              <a:t>16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37179875"/>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01336648"/>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pPr marL="0" marR="0" lvl="0" indent="0" algn="r" defTabSz="609493" rtl="0" eaLnBrk="1" fontAlgn="auto" latinLnBrk="0" hangingPunct="1">
              <a:lnSpc>
                <a:spcPct val="100000"/>
              </a:lnSpc>
              <a:spcBef>
                <a:spcPts val="0"/>
              </a:spcBef>
              <a:spcAft>
                <a:spcPts val="0"/>
              </a:spcAft>
              <a:buClrTx/>
              <a:buSzTx/>
              <a:buFontTx/>
              <a:buNone/>
              <a:tabLst/>
              <a:defRPr/>
            </a:pPr>
            <a:fld id="{5D3FF55D-4338-4807-8050-805889C1D0CC}" type="slidenum">
              <a:rPr kumimoji="0" lang="de-D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09493" rtl="0" eaLnBrk="1" fontAlgn="auto" latinLnBrk="0" hangingPunct="1">
                <a:lnSpc>
                  <a:spcPct val="100000"/>
                </a:lnSpc>
                <a:spcBef>
                  <a:spcPts val="0"/>
                </a:spcBef>
                <a:spcAft>
                  <a:spcPts val="0"/>
                </a:spcAft>
                <a:buClrTx/>
                <a:buSzTx/>
                <a:buFontTx/>
                <a:buNone/>
                <a:tabLst/>
                <a:defRPr/>
              </a:pPr>
              <a:t>168</a:t>
            </a:fld>
            <a:endParaRPr kumimoji="0" lang="de-D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95895470"/>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950AEE-EF14-470D-AF56-2187C231676D}"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91021666"/>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950AEE-EF14-470D-AF56-2187C231676D}"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45286129"/>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950AEE-EF14-470D-AF56-2187C231676D}"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0380408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950AEE-EF14-470D-AF56-2187C231676D}"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64789191"/>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950AEE-EF14-470D-AF56-2187C231676D}"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1825074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5.png"/><Relationship Id="rId1" Type="http://schemas.openxmlformats.org/officeDocument/2006/relationships/slideMaster" Target="../slideMasters/slideMaster14.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6.png"/><Relationship Id="rId1" Type="http://schemas.openxmlformats.org/officeDocument/2006/relationships/slideMaster" Target="../slideMasters/slideMaster14.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7.png"/><Relationship Id="rId1" Type="http://schemas.openxmlformats.org/officeDocument/2006/relationships/slideMaster" Target="../slideMasters/slideMaster1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8.png"/><Relationship Id="rId1" Type="http://schemas.openxmlformats.org/officeDocument/2006/relationships/slideMaster" Target="../slideMasters/slideMaster14.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9.png"/><Relationship Id="rId1" Type="http://schemas.openxmlformats.org/officeDocument/2006/relationships/slideMaster" Target="../slideMasters/slideMaster1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0.svg"/><Relationship Id="rId1" Type="http://schemas.openxmlformats.org/officeDocument/2006/relationships/slideMaster" Target="../slideMasters/slideMaster14.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jpg"/><Relationship Id="rId1" Type="http://schemas.openxmlformats.org/officeDocument/2006/relationships/slideMaster" Target="../slideMasters/slideMaster14.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image" Target="../media/image23.emf"/><Relationship Id="rId1" Type="http://schemas.openxmlformats.org/officeDocument/2006/relationships/slideMaster" Target="../slideMasters/slideMaster14.xml"/><Relationship Id="rId4" Type="http://schemas.openxmlformats.org/officeDocument/2006/relationships/image" Target="../media/image13.svg"/></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4.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image" Target="../media/image23.emf"/><Relationship Id="rId1" Type="http://schemas.openxmlformats.org/officeDocument/2006/relationships/slideMaster" Target="../slideMasters/slideMaster1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3.svg"/><Relationship Id="rId1" Type="http://schemas.openxmlformats.org/officeDocument/2006/relationships/slideMaster" Target="../slideMasters/slideMaster1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26.png"/><Relationship Id="rId1" Type="http://schemas.openxmlformats.org/officeDocument/2006/relationships/slideMaster" Target="../slideMasters/slideMaster1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7.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2.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Master" Target="../slideMasters/slideMaster16.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7.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2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4.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4.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36.emf"/><Relationship Id="rId4" Type="http://schemas.openxmlformats.org/officeDocument/2006/relationships/oleObject" Target="../embeddings/oleObject2.bin"/></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0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5.xml"/><Relationship Id="rId1" Type="http://schemas.openxmlformats.org/officeDocument/2006/relationships/tags" Target="../tags/tag7.xml"/><Relationship Id="rId4" Type="http://schemas.openxmlformats.org/officeDocument/2006/relationships/image" Target="../media/image36.emf"/></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36.emf"/><Relationship Id="rId4" Type="http://schemas.openxmlformats.org/officeDocument/2006/relationships/oleObject" Target="../embeddings/oleObject4.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36.emf"/><Relationship Id="rId4" Type="http://schemas.openxmlformats.org/officeDocument/2006/relationships/oleObject" Target="../embeddings/oleObject5.bin"/></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36.emf"/><Relationship Id="rId4" Type="http://schemas.openxmlformats.org/officeDocument/2006/relationships/oleObject" Target="../embeddings/oleObject6.bin"/></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6.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6.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6.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6.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6.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6.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6.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6.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6.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6.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6.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6.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6.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6.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6.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6.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6.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6.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6.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6.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6.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6.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6.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6.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6.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6.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7.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27.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57.xml.rels><?xml version="1.0" encoding="UTF-8" standalone="yes"?>
<Relationships xmlns="http://schemas.openxmlformats.org/package/2006/relationships"><Relationship Id="rId2" Type="http://schemas.openxmlformats.org/officeDocument/2006/relationships/slideMaster" Target="../slideMasters/slideMaster28.xml"/><Relationship Id="rId1" Type="http://schemas.openxmlformats.org/officeDocument/2006/relationships/tags" Target="../tags/tag15.xml"/></Relationships>
</file>

<file path=ppt/slideLayouts/_rels/slideLayout358.xml.rels><?xml version="1.0" encoding="UTF-8" standalone="yes"?>
<Relationships xmlns="http://schemas.openxmlformats.org/package/2006/relationships"><Relationship Id="rId2" Type="http://schemas.openxmlformats.org/officeDocument/2006/relationships/slideMaster" Target="../slideMasters/slideMaster28.xml"/><Relationship Id="rId1" Type="http://schemas.openxmlformats.org/officeDocument/2006/relationships/tags" Target="../tags/tag16.xml"/></Relationships>
</file>

<file path=ppt/slideLayouts/_rels/slideLayout359.xml.rels><?xml version="1.0" encoding="UTF-8" standalone="yes"?>
<Relationships xmlns="http://schemas.openxmlformats.org/package/2006/relationships"><Relationship Id="rId2" Type="http://schemas.openxmlformats.org/officeDocument/2006/relationships/slideMaster" Target="../slideMasters/slideMaster28.xml"/><Relationship Id="rId1" Type="http://schemas.openxmlformats.org/officeDocument/2006/relationships/tags" Target="../tags/tag1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2" Type="http://schemas.openxmlformats.org/officeDocument/2006/relationships/slideMaster" Target="../slideMasters/slideMaster28.xml"/><Relationship Id="rId1" Type="http://schemas.openxmlformats.org/officeDocument/2006/relationships/tags" Target="../tags/tag18.xml"/></Relationships>
</file>

<file path=ppt/slideLayouts/_rels/slideLayout361.xml.rels><?xml version="1.0" encoding="UTF-8" standalone="yes"?>
<Relationships xmlns="http://schemas.openxmlformats.org/package/2006/relationships"><Relationship Id="rId2" Type="http://schemas.openxmlformats.org/officeDocument/2006/relationships/slideMaster" Target="../slideMasters/slideMaster28.xml"/><Relationship Id="rId1" Type="http://schemas.openxmlformats.org/officeDocument/2006/relationships/tags" Target="../tags/tag19.xml"/></Relationships>
</file>

<file path=ppt/slideLayouts/_rels/slideLayout362.xml.rels><?xml version="1.0" encoding="UTF-8" standalone="yes"?>
<Relationships xmlns="http://schemas.openxmlformats.org/package/2006/relationships"><Relationship Id="rId2" Type="http://schemas.openxmlformats.org/officeDocument/2006/relationships/slideMaster" Target="../slideMasters/slideMaster28.xml"/><Relationship Id="rId1" Type="http://schemas.openxmlformats.org/officeDocument/2006/relationships/tags" Target="../tags/tag20.xml"/></Relationships>
</file>

<file path=ppt/slideLayouts/_rels/slideLayout363.xml.rels><?xml version="1.0" encoding="UTF-8" standalone="yes"?>
<Relationships xmlns="http://schemas.openxmlformats.org/package/2006/relationships"><Relationship Id="rId2" Type="http://schemas.openxmlformats.org/officeDocument/2006/relationships/slideMaster" Target="../slideMasters/slideMaster28.xml"/><Relationship Id="rId1" Type="http://schemas.openxmlformats.org/officeDocument/2006/relationships/tags" Target="../tags/tag21.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8.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4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30.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56.xml.rels><?xml version="1.0" encoding="UTF-8" standalone="yes"?>
<Relationships xmlns="http://schemas.openxmlformats.org/package/2006/relationships"><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image" Target="../media/image48.png"/><Relationship Id="rId1" Type="http://schemas.openxmlformats.org/officeDocument/2006/relationships/slideMaster" Target="../slideMasters/slideMaster32.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8.xml"/><Relationship Id="rId4" Type="http://schemas.openxmlformats.org/officeDocument/2006/relationships/image" Target="../media/image9.png"/></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399070"/>
            <a:ext cx="9144000" cy="2123615"/>
          </a:xfrm>
        </p:spPr>
        <p:txBody>
          <a:bodyPr anchor="ctr">
            <a:normAutofit/>
          </a:bodyPr>
          <a:lstStyle>
            <a:lvl1pPr algn="ctr">
              <a:defRPr sz="3600"/>
            </a:lvl1pPr>
          </a:lstStyle>
          <a:p>
            <a:r>
              <a:rPr lang="en-US" dirty="0"/>
              <a:t>Click to edit Master title style</a:t>
            </a:r>
          </a:p>
        </p:txBody>
      </p:sp>
      <p:sp>
        <p:nvSpPr>
          <p:cNvPr id="3" name="Subtitle 2"/>
          <p:cNvSpPr>
            <a:spLocks noGrp="1"/>
          </p:cNvSpPr>
          <p:nvPr>
            <p:ph type="subTitle" idx="1"/>
          </p:nvPr>
        </p:nvSpPr>
        <p:spPr>
          <a:xfrm>
            <a:off x="1524000" y="4614761"/>
            <a:ext cx="9144000" cy="1655762"/>
          </a:xfrm>
        </p:spPr>
        <p:txBody>
          <a:bodyPr anchor="t">
            <a:normAutofit/>
          </a:bodyPr>
          <a:lstStyle>
            <a:lvl1pPr marL="0" indent="0" algn="ctr">
              <a:buNone/>
              <a:defRPr sz="3200">
                <a:solidFill>
                  <a:srgbClr val="50515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p:txBody>
          <a:bodyPr/>
          <a:lstStyle/>
          <a:p>
            <a:fld id="{5916FF65-E16B-BA4F-9591-6B4416106527}" type="datetimeFigureOut">
              <a:rPr lang="en-US" smtClean="0"/>
              <a:t>4/24/26</a:t>
            </a:fld>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9469839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916FF65-E16B-BA4F-9591-6B4416106527}" type="datetimeFigureOut">
              <a:rPr lang="en-US" smtClean="0"/>
              <a:t>4/24/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9911363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userDrawn="1">
  <p:cSld name="1_Title and Content - this one">
    <p:spTree>
      <p:nvGrpSpPr>
        <p:cNvPr id="1" name=""/>
        <p:cNvGrpSpPr/>
        <p:nvPr/>
      </p:nvGrpSpPr>
      <p:grpSpPr>
        <a:xfrm>
          <a:off x="0" y="0"/>
          <a:ext cx="0" cy="0"/>
          <a:chOff x="0" y="0"/>
          <a:chExt cx="0" cy="0"/>
        </a:xfrm>
      </p:grpSpPr>
      <p:sp>
        <p:nvSpPr>
          <p:cNvPr id="11" name="Fußzeilenplatzhalter 10"/>
          <p:cNvSpPr>
            <a:spLocks noGrp="1"/>
          </p:cNvSpPr>
          <p:nvPr>
            <p:ph type="ftr" sz="quarter" idx="13"/>
          </p:nvPr>
        </p:nvSpPr>
        <p:spPr/>
        <p:txBody>
          <a:bodyPr/>
          <a:lstStyle>
            <a:lvl1pPr>
              <a:defRPr/>
            </a:lvl1pPr>
          </a:lstStyle>
          <a:p>
            <a:r>
              <a:rPr lang="en-US" dirty="0"/>
              <a:t>PROPRIETARY AND CONFIDENTIAL. FOR INTERNAL USE ONLY. DO NOT DUPLICATE OR DISTRIBUTE.</a:t>
            </a:r>
          </a:p>
        </p:txBody>
      </p:sp>
      <p:sp>
        <p:nvSpPr>
          <p:cNvPr id="2" name="Title 1">
            <a:extLst>
              <a:ext uri="{FF2B5EF4-FFF2-40B4-BE49-F238E27FC236}">
                <a16:creationId xmlns:a16="http://schemas.microsoft.com/office/drawing/2014/main" id="{B1F7BA9B-B961-4E9F-B04B-90F8267EF087}"/>
              </a:ext>
            </a:extLst>
          </p:cNvPr>
          <p:cNvSpPr>
            <a:spLocks noGrp="1"/>
          </p:cNvSpPr>
          <p:nvPr>
            <p:ph type="title"/>
          </p:nvPr>
        </p:nvSpPr>
        <p:spPr/>
        <p:txBody>
          <a:bodyPr/>
          <a:lstStyle>
            <a:lvl1pPr>
              <a:defRPr sz="2400"/>
            </a:lvl1pPr>
          </a:lstStyle>
          <a:p>
            <a:r>
              <a:rPr lang="en-US" dirty="0"/>
              <a:t>Click to edit Master title style</a:t>
            </a:r>
          </a:p>
        </p:txBody>
      </p:sp>
      <p:sp>
        <p:nvSpPr>
          <p:cNvPr id="5" name="Textplatzhalter 2">
            <a:extLst>
              <a:ext uri="{FF2B5EF4-FFF2-40B4-BE49-F238E27FC236}">
                <a16:creationId xmlns:a16="http://schemas.microsoft.com/office/drawing/2014/main" id="{F2AF294A-03B0-480C-B297-F5FC99426AB6}"/>
              </a:ext>
            </a:extLst>
          </p:cNvPr>
          <p:cNvSpPr>
            <a:spLocks noGrp="1"/>
          </p:cNvSpPr>
          <p:nvPr>
            <p:ph type="body" sz="quarter" idx="17" hasCustomPrompt="1"/>
          </p:nvPr>
        </p:nvSpPr>
        <p:spPr>
          <a:xfrm>
            <a:off x="548875" y="6134102"/>
            <a:ext cx="11127575" cy="344357"/>
          </a:xfrm>
          <a:prstGeom prst="rect">
            <a:avLst/>
          </a:prstGeom>
        </p:spPr>
        <p:txBody>
          <a:bodyPr wrap="square" lIns="0" tIns="0" rIns="0" bIns="0" anchor="b">
            <a:noAutofit/>
          </a:bodyPr>
          <a:lstStyle>
            <a:lvl1pPr>
              <a:spcBef>
                <a:spcPts val="0"/>
              </a:spcBef>
              <a:defRPr sz="1000" b="0" spc="0" baseline="0">
                <a:solidFill>
                  <a:schemeClr val="bg1">
                    <a:lumMod val="50000"/>
                  </a:schemeClr>
                </a:solidFill>
              </a:defRPr>
            </a:lvl1pPr>
          </a:lstStyle>
          <a:p>
            <a:pPr lvl="0"/>
            <a:r>
              <a:rPr lang="en-US" dirty="0"/>
              <a:t>Source: 10 </a:t>
            </a:r>
            <a:r>
              <a:rPr lang="en-US" dirty="0" err="1"/>
              <a:t>pt</a:t>
            </a:r>
            <a:endParaRPr lang="en-US" dirty="0"/>
          </a:p>
        </p:txBody>
      </p:sp>
    </p:spTree>
    <p:extLst>
      <p:ext uri="{BB962C8B-B14F-4D97-AF65-F5344CB8AC3E}">
        <p14:creationId xmlns:p14="http://schemas.microsoft.com/office/powerpoint/2010/main" val="24883896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792">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914400" y="2130942"/>
            <a:ext cx="10363200" cy="1470025"/>
          </a:xfrm>
        </p:spPr>
        <p:txBody>
          <a:bodyPr/>
          <a:lstStyle/>
          <a:p>
            <a:r>
              <a:rPr lang="es-ES"/>
              <a:t>Haga clic para modificar el estilo de título del patrón</a:t>
            </a:r>
          </a:p>
        </p:txBody>
      </p:sp>
      <p:sp>
        <p:nvSpPr>
          <p:cNvPr id="3" name="2 Subtítulo"/>
          <p:cNvSpPr>
            <a:spLocks noGrp="1"/>
          </p:cNvSpPr>
          <p:nvPr>
            <p:ph type="subTitle" idx="1"/>
          </p:nvPr>
        </p:nvSpPr>
        <p:spPr>
          <a:xfrm>
            <a:off x="1828800" y="3886200"/>
            <a:ext cx="8534400" cy="1752600"/>
          </a:xfrm>
        </p:spPr>
        <p:txBody>
          <a:bodyPr/>
          <a:lstStyle>
            <a:lvl1pPr marL="0" indent="0" algn="ctr">
              <a:buNone/>
              <a:defRPr/>
            </a:lvl1pPr>
            <a:lvl2pPr marL="605779" indent="0" algn="ctr">
              <a:buNone/>
              <a:defRPr/>
            </a:lvl2pPr>
            <a:lvl3pPr marL="1211622" indent="0" algn="ctr">
              <a:buNone/>
              <a:defRPr/>
            </a:lvl3pPr>
            <a:lvl4pPr marL="1817435" indent="0" algn="ctr">
              <a:buNone/>
              <a:defRPr/>
            </a:lvl4pPr>
            <a:lvl5pPr marL="2423248" indent="0" algn="ctr">
              <a:buNone/>
              <a:defRPr/>
            </a:lvl5pPr>
            <a:lvl6pPr marL="3029081" indent="0" algn="ctr">
              <a:buNone/>
              <a:defRPr/>
            </a:lvl6pPr>
            <a:lvl7pPr marL="3634852" indent="0" algn="ctr">
              <a:buNone/>
              <a:defRPr/>
            </a:lvl7pPr>
            <a:lvl8pPr marL="4240627" indent="0" algn="ctr">
              <a:buNone/>
              <a:defRPr/>
            </a:lvl8pPr>
            <a:lvl9pPr marL="4846399" indent="0" algn="ctr">
              <a:buNone/>
              <a:defRPr/>
            </a:lvl9pPr>
          </a:lstStyle>
          <a:p>
            <a:r>
              <a:rPr lang="es-ES"/>
              <a:t>Haga clic para modificar el estilo de subtítulo del patrón</a:t>
            </a:r>
          </a:p>
        </p:txBody>
      </p:sp>
      <p:sp>
        <p:nvSpPr>
          <p:cNvPr id="4" name="3 Marcador de fecha"/>
          <p:cNvSpPr>
            <a:spLocks noGrp="1"/>
          </p:cNvSpPr>
          <p:nvPr>
            <p:ph type="dt" sz="half" idx="10"/>
          </p:nvPr>
        </p:nvSpPr>
        <p:spPr/>
        <p:txBody>
          <a:bodyPr/>
          <a:lstStyle>
            <a:lvl1pPr eaLnBrk="0" hangingPunct="0">
              <a:defRPr>
                <a:ea typeface="ＭＳ Ｐゴシック" charset="0"/>
                <a:cs typeface="ＭＳ Ｐゴシック" charset="0"/>
              </a:defRPr>
            </a:lvl1pPr>
          </a:lstStyle>
          <a:p>
            <a:pPr>
              <a:defRPr/>
            </a:pPr>
            <a:endParaRPr lang="it-IT"/>
          </a:p>
        </p:txBody>
      </p:sp>
      <p:sp>
        <p:nvSpPr>
          <p:cNvPr id="5" name="4 Marcador de pie de página"/>
          <p:cNvSpPr>
            <a:spLocks noGrp="1"/>
          </p:cNvSpPr>
          <p:nvPr>
            <p:ph type="ftr" sz="quarter" idx="11"/>
          </p:nvPr>
        </p:nvSpPr>
        <p:spPr/>
        <p:txBody>
          <a:bodyPr/>
          <a:lstStyle>
            <a:lvl1pPr eaLnBrk="0" hangingPunct="0">
              <a:defRPr>
                <a:ea typeface="ＭＳ Ｐゴシック" charset="0"/>
                <a:cs typeface="ＭＳ Ｐゴシック" charset="0"/>
              </a:defRPr>
            </a:lvl1pPr>
          </a:lstStyle>
          <a:p>
            <a:pPr>
              <a:defRPr/>
            </a:pPr>
            <a:endParaRPr lang="it-IT"/>
          </a:p>
        </p:txBody>
      </p:sp>
      <p:sp>
        <p:nvSpPr>
          <p:cNvPr id="6" name="5 Marcador de número de diapositiva"/>
          <p:cNvSpPr>
            <a:spLocks noGrp="1"/>
          </p:cNvSpPr>
          <p:nvPr>
            <p:ph type="sldNum" sz="quarter" idx="12"/>
          </p:nvPr>
        </p:nvSpPr>
        <p:spPr/>
        <p:txBody>
          <a:bodyPr/>
          <a:lstStyle>
            <a:lvl1pPr eaLnBrk="0" hangingPunct="0">
              <a:defRPr/>
            </a:lvl1pPr>
          </a:lstStyle>
          <a:p>
            <a:pPr>
              <a:defRPr/>
            </a:pPr>
            <a:fld id="{67F7376D-52BC-7C4C-966A-3AEC94C47DCE}" type="slidenum">
              <a:rPr lang="it-IT"/>
              <a:pPr>
                <a:defRPr/>
              </a:pPr>
              <a:t>‹#›</a:t>
            </a:fld>
            <a:endParaRPr lang="it-IT"/>
          </a:p>
        </p:txBody>
      </p:sp>
    </p:spTree>
    <p:extLst>
      <p:ext uri="{BB962C8B-B14F-4D97-AF65-F5344CB8AC3E}">
        <p14:creationId xmlns:p14="http://schemas.microsoft.com/office/powerpoint/2010/main" val="4405526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10"/>
          </p:nvPr>
        </p:nvSpPr>
        <p:spPr/>
        <p:txBody>
          <a:bodyPr/>
          <a:lstStyle>
            <a:lvl1pPr eaLnBrk="0" hangingPunct="0">
              <a:defRPr>
                <a:ea typeface="ＭＳ Ｐゴシック" charset="0"/>
                <a:cs typeface="ＭＳ Ｐゴシック" charset="0"/>
              </a:defRPr>
            </a:lvl1pPr>
          </a:lstStyle>
          <a:p>
            <a:pPr>
              <a:defRPr/>
            </a:pPr>
            <a:endParaRPr lang="it-IT"/>
          </a:p>
        </p:txBody>
      </p:sp>
      <p:sp>
        <p:nvSpPr>
          <p:cNvPr id="5" name="4 Marcador de pie de página"/>
          <p:cNvSpPr>
            <a:spLocks noGrp="1"/>
          </p:cNvSpPr>
          <p:nvPr>
            <p:ph type="ftr" sz="quarter" idx="11"/>
          </p:nvPr>
        </p:nvSpPr>
        <p:spPr/>
        <p:txBody>
          <a:bodyPr/>
          <a:lstStyle>
            <a:lvl1pPr eaLnBrk="0" hangingPunct="0">
              <a:defRPr>
                <a:ea typeface="ＭＳ Ｐゴシック" charset="0"/>
                <a:cs typeface="ＭＳ Ｐゴシック" charset="0"/>
              </a:defRPr>
            </a:lvl1pPr>
          </a:lstStyle>
          <a:p>
            <a:pPr>
              <a:defRPr/>
            </a:pPr>
            <a:endParaRPr lang="it-IT"/>
          </a:p>
        </p:txBody>
      </p:sp>
      <p:sp>
        <p:nvSpPr>
          <p:cNvPr id="6" name="5 Marcador de número de diapositiva"/>
          <p:cNvSpPr>
            <a:spLocks noGrp="1"/>
          </p:cNvSpPr>
          <p:nvPr>
            <p:ph type="sldNum" sz="quarter" idx="12"/>
          </p:nvPr>
        </p:nvSpPr>
        <p:spPr/>
        <p:txBody>
          <a:bodyPr/>
          <a:lstStyle>
            <a:lvl1pPr eaLnBrk="0" hangingPunct="0">
              <a:defRPr/>
            </a:lvl1pPr>
          </a:lstStyle>
          <a:p>
            <a:pPr>
              <a:defRPr/>
            </a:pPr>
            <a:fld id="{11CDBEE9-7815-554F-B3C6-60E66CABC2C3}" type="slidenum">
              <a:rPr lang="it-IT"/>
              <a:pPr>
                <a:defRPr/>
              </a:pPr>
              <a:t>‹#›</a:t>
            </a:fld>
            <a:endParaRPr lang="it-IT"/>
          </a:p>
        </p:txBody>
      </p:sp>
    </p:spTree>
    <p:extLst>
      <p:ext uri="{BB962C8B-B14F-4D97-AF65-F5344CB8AC3E}">
        <p14:creationId xmlns:p14="http://schemas.microsoft.com/office/powerpoint/2010/main" val="17166902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963084" y="4406905"/>
            <a:ext cx="10363200" cy="1362074"/>
          </a:xfrm>
        </p:spPr>
        <p:txBody>
          <a:bodyPr anchor="t"/>
          <a:lstStyle>
            <a:lvl1pPr algn="l">
              <a:defRPr sz="5280" b="1" cap="all"/>
            </a:lvl1pPr>
          </a:lstStyle>
          <a:p>
            <a:r>
              <a:rPr lang="es-ES"/>
              <a:t>Haga clic para modificar el estilo de título del patrón</a:t>
            </a:r>
          </a:p>
        </p:txBody>
      </p:sp>
      <p:sp>
        <p:nvSpPr>
          <p:cNvPr id="3" name="2 Marcador de texto"/>
          <p:cNvSpPr>
            <a:spLocks noGrp="1"/>
          </p:cNvSpPr>
          <p:nvPr>
            <p:ph type="body" idx="1"/>
          </p:nvPr>
        </p:nvSpPr>
        <p:spPr>
          <a:xfrm>
            <a:off x="963084" y="2906723"/>
            <a:ext cx="10363200" cy="1500187"/>
          </a:xfrm>
        </p:spPr>
        <p:txBody>
          <a:bodyPr anchor="b"/>
          <a:lstStyle>
            <a:lvl1pPr marL="0" indent="0">
              <a:buNone/>
              <a:defRPr sz="2640"/>
            </a:lvl1pPr>
            <a:lvl2pPr marL="605779" indent="0">
              <a:buNone/>
              <a:defRPr sz="2520"/>
            </a:lvl2pPr>
            <a:lvl3pPr marL="1211622" indent="0">
              <a:buNone/>
              <a:defRPr sz="2160"/>
            </a:lvl3pPr>
            <a:lvl4pPr marL="1817435" indent="0">
              <a:buNone/>
              <a:defRPr sz="2040"/>
            </a:lvl4pPr>
            <a:lvl5pPr marL="2423248" indent="0">
              <a:buNone/>
              <a:defRPr sz="2040"/>
            </a:lvl5pPr>
            <a:lvl6pPr marL="3029081" indent="0">
              <a:buNone/>
              <a:defRPr sz="2040"/>
            </a:lvl6pPr>
            <a:lvl7pPr marL="3634852" indent="0">
              <a:buNone/>
              <a:defRPr sz="2040"/>
            </a:lvl7pPr>
            <a:lvl8pPr marL="4240627" indent="0">
              <a:buNone/>
              <a:defRPr sz="2040"/>
            </a:lvl8pPr>
            <a:lvl9pPr marL="4846399" indent="0">
              <a:buNone/>
              <a:defRPr sz="2040"/>
            </a:lvl9pPr>
          </a:lstStyle>
          <a:p>
            <a:pPr lvl="0"/>
            <a:r>
              <a:rPr lang="es-ES"/>
              <a:t>Haga clic para modificar el estilo de texto del patrón</a:t>
            </a:r>
          </a:p>
        </p:txBody>
      </p:sp>
      <p:sp>
        <p:nvSpPr>
          <p:cNvPr id="4" name="3 Marcador de fecha"/>
          <p:cNvSpPr>
            <a:spLocks noGrp="1"/>
          </p:cNvSpPr>
          <p:nvPr>
            <p:ph type="dt" sz="half" idx="10"/>
          </p:nvPr>
        </p:nvSpPr>
        <p:spPr/>
        <p:txBody>
          <a:bodyPr/>
          <a:lstStyle>
            <a:lvl1pPr eaLnBrk="0" hangingPunct="0">
              <a:defRPr>
                <a:ea typeface="ＭＳ Ｐゴシック" charset="0"/>
                <a:cs typeface="ＭＳ Ｐゴシック" charset="0"/>
              </a:defRPr>
            </a:lvl1pPr>
          </a:lstStyle>
          <a:p>
            <a:pPr>
              <a:defRPr/>
            </a:pPr>
            <a:endParaRPr lang="it-IT"/>
          </a:p>
        </p:txBody>
      </p:sp>
      <p:sp>
        <p:nvSpPr>
          <p:cNvPr id="5" name="4 Marcador de pie de página"/>
          <p:cNvSpPr>
            <a:spLocks noGrp="1"/>
          </p:cNvSpPr>
          <p:nvPr>
            <p:ph type="ftr" sz="quarter" idx="11"/>
          </p:nvPr>
        </p:nvSpPr>
        <p:spPr/>
        <p:txBody>
          <a:bodyPr/>
          <a:lstStyle>
            <a:lvl1pPr eaLnBrk="0" hangingPunct="0">
              <a:defRPr>
                <a:ea typeface="ＭＳ Ｐゴシック" charset="0"/>
                <a:cs typeface="ＭＳ Ｐゴシック" charset="0"/>
              </a:defRPr>
            </a:lvl1pPr>
          </a:lstStyle>
          <a:p>
            <a:pPr>
              <a:defRPr/>
            </a:pPr>
            <a:endParaRPr lang="it-IT"/>
          </a:p>
        </p:txBody>
      </p:sp>
      <p:sp>
        <p:nvSpPr>
          <p:cNvPr id="6" name="5 Marcador de número de diapositiva"/>
          <p:cNvSpPr>
            <a:spLocks noGrp="1"/>
          </p:cNvSpPr>
          <p:nvPr>
            <p:ph type="sldNum" sz="quarter" idx="12"/>
          </p:nvPr>
        </p:nvSpPr>
        <p:spPr/>
        <p:txBody>
          <a:bodyPr/>
          <a:lstStyle>
            <a:lvl1pPr eaLnBrk="0" hangingPunct="0">
              <a:defRPr/>
            </a:lvl1pPr>
          </a:lstStyle>
          <a:p>
            <a:pPr>
              <a:defRPr/>
            </a:pPr>
            <a:fld id="{EFCD9693-7C42-804E-B173-C2DCC19A3A27}" type="slidenum">
              <a:rPr lang="it-IT"/>
              <a:pPr>
                <a:defRPr/>
              </a:pPr>
              <a:t>‹#›</a:t>
            </a:fld>
            <a:endParaRPr lang="it-IT"/>
          </a:p>
        </p:txBody>
      </p:sp>
    </p:spTree>
    <p:extLst>
      <p:ext uri="{BB962C8B-B14F-4D97-AF65-F5344CB8AC3E}">
        <p14:creationId xmlns:p14="http://schemas.microsoft.com/office/powerpoint/2010/main" val="21455631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sz="half" idx="1"/>
          </p:nvPr>
        </p:nvSpPr>
        <p:spPr>
          <a:xfrm>
            <a:off x="609608" y="1600206"/>
            <a:ext cx="5384800" cy="4525963"/>
          </a:xfrm>
        </p:spPr>
        <p:txBody>
          <a:bodyPr/>
          <a:lstStyle>
            <a:lvl1pPr>
              <a:defRPr sz="3720"/>
            </a:lvl1pPr>
            <a:lvl2pPr>
              <a:defRPr sz="3240"/>
            </a:lvl2pPr>
            <a:lvl3pPr>
              <a:defRPr sz="2640"/>
            </a:lvl3pPr>
            <a:lvl4pPr>
              <a:defRPr sz="2520"/>
            </a:lvl4pPr>
            <a:lvl5pPr>
              <a:defRPr sz="2520"/>
            </a:lvl5pPr>
            <a:lvl6pPr>
              <a:defRPr sz="2520"/>
            </a:lvl6pPr>
            <a:lvl7pPr>
              <a:defRPr sz="2520"/>
            </a:lvl7pPr>
            <a:lvl8pPr>
              <a:defRPr sz="2520"/>
            </a:lvl8pPr>
            <a:lvl9pPr>
              <a:defRPr sz="252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contenido"/>
          <p:cNvSpPr>
            <a:spLocks noGrp="1"/>
          </p:cNvSpPr>
          <p:nvPr>
            <p:ph sz="half" idx="2"/>
          </p:nvPr>
        </p:nvSpPr>
        <p:spPr>
          <a:xfrm>
            <a:off x="6197603" y="1600206"/>
            <a:ext cx="5384800" cy="4525963"/>
          </a:xfrm>
        </p:spPr>
        <p:txBody>
          <a:bodyPr/>
          <a:lstStyle>
            <a:lvl1pPr>
              <a:defRPr sz="3720"/>
            </a:lvl1pPr>
            <a:lvl2pPr>
              <a:defRPr sz="3240"/>
            </a:lvl2pPr>
            <a:lvl3pPr>
              <a:defRPr sz="2640"/>
            </a:lvl3pPr>
            <a:lvl4pPr>
              <a:defRPr sz="2520"/>
            </a:lvl4pPr>
            <a:lvl5pPr>
              <a:defRPr sz="2520"/>
            </a:lvl5pPr>
            <a:lvl6pPr>
              <a:defRPr sz="2520"/>
            </a:lvl6pPr>
            <a:lvl7pPr>
              <a:defRPr sz="2520"/>
            </a:lvl7pPr>
            <a:lvl8pPr>
              <a:defRPr sz="2520"/>
            </a:lvl8pPr>
            <a:lvl9pPr>
              <a:defRPr sz="252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4 Marcador de fecha"/>
          <p:cNvSpPr>
            <a:spLocks noGrp="1"/>
          </p:cNvSpPr>
          <p:nvPr>
            <p:ph type="dt" sz="half" idx="10"/>
          </p:nvPr>
        </p:nvSpPr>
        <p:spPr/>
        <p:txBody>
          <a:bodyPr/>
          <a:lstStyle>
            <a:lvl1pPr eaLnBrk="0" hangingPunct="0">
              <a:defRPr>
                <a:ea typeface="ＭＳ Ｐゴシック" charset="0"/>
                <a:cs typeface="ＭＳ Ｐゴシック" charset="0"/>
              </a:defRPr>
            </a:lvl1pPr>
          </a:lstStyle>
          <a:p>
            <a:pPr>
              <a:defRPr/>
            </a:pPr>
            <a:endParaRPr lang="it-IT"/>
          </a:p>
        </p:txBody>
      </p:sp>
      <p:sp>
        <p:nvSpPr>
          <p:cNvPr id="6" name="5 Marcador de pie de página"/>
          <p:cNvSpPr>
            <a:spLocks noGrp="1"/>
          </p:cNvSpPr>
          <p:nvPr>
            <p:ph type="ftr" sz="quarter" idx="11"/>
          </p:nvPr>
        </p:nvSpPr>
        <p:spPr/>
        <p:txBody>
          <a:bodyPr/>
          <a:lstStyle>
            <a:lvl1pPr eaLnBrk="0" hangingPunct="0">
              <a:defRPr>
                <a:ea typeface="ＭＳ Ｐゴシック" charset="0"/>
                <a:cs typeface="ＭＳ Ｐゴシック" charset="0"/>
              </a:defRPr>
            </a:lvl1pPr>
          </a:lstStyle>
          <a:p>
            <a:pPr>
              <a:defRPr/>
            </a:pPr>
            <a:endParaRPr lang="it-IT"/>
          </a:p>
        </p:txBody>
      </p:sp>
      <p:sp>
        <p:nvSpPr>
          <p:cNvPr id="7" name="6 Marcador de número de diapositiva"/>
          <p:cNvSpPr>
            <a:spLocks noGrp="1"/>
          </p:cNvSpPr>
          <p:nvPr>
            <p:ph type="sldNum" sz="quarter" idx="12"/>
          </p:nvPr>
        </p:nvSpPr>
        <p:spPr/>
        <p:txBody>
          <a:bodyPr/>
          <a:lstStyle>
            <a:lvl1pPr eaLnBrk="0" hangingPunct="0">
              <a:defRPr/>
            </a:lvl1pPr>
          </a:lstStyle>
          <a:p>
            <a:pPr>
              <a:defRPr/>
            </a:pPr>
            <a:fld id="{8F23477C-6459-D045-9424-16B8C0979A61}" type="slidenum">
              <a:rPr lang="it-IT"/>
              <a:pPr>
                <a:defRPr/>
              </a:pPr>
              <a:t>‹#›</a:t>
            </a:fld>
            <a:endParaRPr lang="it-IT"/>
          </a:p>
        </p:txBody>
      </p:sp>
    </p:spTree>
    <p:extLst>
      <p:ext uri="{BB962C8B-B14F-4D97-AF65-F5344CB8AC3E}">
        <p14:creationId xmlns:p14="http://schemas.microsoft.com/office/powerpoint/2010/main" val="26656202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lvl1pPr>
              <a:defRPr/>
            </a:lvl1pPr>
          </a:lstStyle>
          <a:p>
            <a:r>
              <a:rPr lang="es-ES"/>
              <a:t>Haga clic para modificar el estilo de título del patrón</a:t>
            </a:r>
          </a:p>
        </p:txBody>
      </p:sp>
      <p:sp>
        <p:nvSpPr>
          <p:cNvPr id="3" name="2 Marcador de texto"/>
          <p:cNvSpPr>
            <a:spLocks noGrp="1"/>
          </p:cNvSpPr>
          <p:nvPr>
            <p:ph type="body" idx="1"/>
          </p:nvPr>
        </p:nvSpPr>
        <p:spPr>
          <a:xfrm>
            <a:off x="609794" y="1535113"/>
            <a:ext cx="5386916" cy="639763"/>
          </a:xfrm>
        </p:spPr>
        <p:txBody>
          <a:bodyPr anchor="b"/>
          <a:lstStyle>
            <a:lvl1pPr marL="0" indent="0">
              <a:buNone/>
              <a:defRPr sz="3240" b="1"/>
            </a:lvl1pPr>
            <a:lvl2pPr marL="605779" indent="0">
              <a:buNone/>
              <a:defRPr sz="2640" b="1"/>
            </a:lvl2pPr>
            <a:lvl3pPr marL="1211622" indent="0">
              <a:buNone/>
              <a:defRPr sz="2520" b="1"/>
            </a:lvl3pPr>
            <a:lvl4pPr marL="1817435" indent="0">
              <a:buNone/>
              <a:defRPr sz="2160" b="1"/>
            </a:lvl4pPr>
            <a:lvl5pPr marL="2423248" indent="0">
              <a:buNone/>
              <a:defRPr sz="2160" b="1"/>
            </a:lvl5pPr>
            <a:lvl6pPr marL="3029081" indent="0">
              <a:buNone/>
              <a:defRPr sz="2160" b="1"/>
            </a:lvl6pPr>
            <a:lvl7pPr marL="3634852" indent="0">
              <a:buNone/>
              <a:defRPr sz="2160" b="1"/>
            </a:lvl7pPr>
            <a:lvl8pPr marL="4240627" indent="0">
              <a:buNone/>
              <a:defRPr sz="2160" b="1"/>
            </a:lvl8pPr>
            <a:lvl9pPr marL="4846399" indent="0">
              <a:buNone/>
              <a:defRPr sz="2160" b="1"/>
            </a:lvl9pPr>
          </a:lstStyle>
          <a:p>
            <a:pPr lvl="0"/>
            <a:r>
              <a:rPr lang="es-ES"/>
              <a:t>Haga clic para modificar el estilo de texto del patrón</a:t>
            </a:r>
          </a:p>
        </p:txBody>
      </p:sp>
      <p:sp>
        <p:nvSpPr>
          <p:cNvPr id="4" name="3 Marcador de contenido"/>
          <p:cNvSpPr>
            <a:spLocks noGrp="1"/>
          </p:cNvSpPr>
          <p:nvPr>
            <p:ph sz="half" idx="2"/>
          </p:nvPr>
        </p:nvSpPr>
        <p:spPr>
          <a:xfrm>
            <a:off x="609794" y="2174875"/>
            <a:ext cx="5386916" cy="3951288"/>
          </a:xfrm>
        </p:spPr>
        <p:txBody>
          <a:bodyPr/>
          <a:lstStyle>
            <a:lvl1pPr>
              <a:defRPr sz="3240"/>
            </a:lvl1pPr>
            <a:lvl2pPr>
              <a:defRPr sz="2640"/>
            </a:lvl2pPr>
            <a:lvl3pPr>
              <a:defRPr sz="2520"/>
            </a:lvl3pPr>
            <a:lvl4pPr>
              <a:defRPr sz="2160"/>
            </a:lvl4pPr>
            <a:lvl5pPr>
              <a:defRPr sz="2160"/>
            </a:lvl5pPr>
            <a:lvl6pPr>
              <a:defRPr sz="2160"/>
            </a:lvl6pPr>
            <a:lvl7pPr>
              <a:defRPr sz="2160"/>
            </a:lvl7pPr>
            <a:lvl8pPr>
              <a:defRPr sz="2160"/>
            </a:lvl8pPr>
            <a:lvl9pPr>
              <a:defRPr sz="216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4 Marcador de texto"/>
          <p:cNvSpPr>
            <a:spLocks noGrp="1"/>
          </p:cNvSpPr>
          <p:nvPr>
            <p:ph type="body" sz="quarter" idx="3"/>
          </p:nvPr>
        </p:nvSpPr>
        <p:spPr>
          <a:xfrm>
            <a:off x="6193556" y="1535113"/>
            <a:ext cx="5389033" cy="639763"/>
          </a:xfrm>
        </p:spPr>
        <p:txBody>
          <a:bodyPr anchor="b"/>
          <a:lstStyle>
            <a:lvl1pPr marL="0" indent="0">
              <a:buNone/>
              <a:defRPr sz="3240" b="1"/>
            </a:lvl1pPr>
            <a:lvl2pPr marL="605779" indent="0">
              <a:buNone/>
              <a:defRPr sz="2640" b="1"/>
            </a:lvl2pPr>
            <a:lvl3pPr marL="1211622" indent="0">
              <a:buNone/>
              <a:defRPr sz="2520" b="1"/>
            </a:lvl3pPr>
            <a:lvl4pPr marL="1817435" indent="0">
              <a:buNone/>
              <a:defRPr sz="2160" b="1"/>
            </a:lvl4pPr>
            <a:lvl5pPr marL="2423248" indent="0">
              <a:buNone/>
              <a:defRPr sz="2160" b="1"/>
            </a:lvl5pPr>
            <a:lvl6pPr marL="3029081" indent="0">
              <a:buNone/>
              <a:defRPr sz="2160" b="1"/>
            </a:lvl6pPr>
            <a:lvl7pPr marL="3634852" indent="0">
              <a:buNone/>
              <a:defRPr sz="2160" b="1"/>
            </a:lvl7pPr>
            <a:lvl8pPr marL="4240627" indent="0">
              <a:buNone/>
              <a:defRPr sz="2160" b="1"/>
            </a:lvl8pPr>
            <a:lvl9pPr marL="4846399" indent="0">
              <a:buNone/>
              <a:defRPr sz="2160" b="1"/>
            </a:lvl9pPr>
          </a:lstStyle>
          <a:p>
            <a:pPr lvl="0"/>
            <a:r>
              <a:rPr lang="es-ES"/>
              <a:t>Haga clic para modificar el estilo de texto del patrón</a:t>
            </a:r>
          </a:p>
        </p:txBody>
      </p:sp>
      <p:sp>
        <p:nvSpPr>
          <p:cNvPr id="6" name="5 Marcador de contenido"/>
          <p:cNvSpPr>
            <a:spLocks noGrp="1"/>
          </p:cNvSpPr>
          <p:nvPr>
            <p:ph sz="quarter" idx="4"/>
          </p:nvPr>
        </p:nvSpPr>
        <p:spPr>
          <a:xfrm>
            <a:off x="6193556" y="2174875"/>
            <a:ext cx="5389033" cy="3951288"/>
          </a:xfrm>
        </p:spPr>
        <p:txBody>
          <a:bodyPr/>
          <a:lstStyle>
            <a:lvl1pPr>
              <a:defRPr sz="3240"/>
            </a:lvl1pPr>
            <a:lvl2pPr>
              <a:defRPr sz="2640"/>
            </a:lvl2pPr>
            <a:lvl3pPr>
              <a:defRPr sz="2520"/>
            </a:lvl3pPr>
            <a:lvl4pPr>
              <a:defRPr sz="2160"/>
            </a:lvl4pPr>
            <a:lvl5pPr>
              <a:defRPr sz="2160"/>
            </a:lvl5pPr>
            <a:lvl6pPr>
              <a:defRPr sz="2160"/>
            </a:lvl6pPr>
            <a:lvl7pPr>
              <a:defRPr sz="2160"/>
            </a:lvl7pPr>
            <a:lvl8pPr>
              <a:defRPr sz="2160"/>
            </a:lvl8pPr>
            <a:lvl9pPr>
              <a:defRPr sz="216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7" name="6 Marcador de fecha"/>
          <p:cNvSpPr>
            <a:spLocks noGrp="1"/>
          </p:cNvSpPr>
          <p:nvPr>
            <p:ph type="dt" sz="half" idx="10"/>
          </p:nvPr>
        </p:nvSpPr>
        <p:spPr/>
        <p:txBody>
          <a:bodyPr/>
          <a:lstStyle>
            <a:lvl1pPr eaLnBrk="0" hangingPunct="0">
              <a:defRPr>
                <a:ea typeface="ＭＳ Ｐゴシック" charset="0"/>
                <a:cs typeface="ＭＳ Ｐゴシック" charset="0"/>
              </a:defRPr>
            </a:lvl1pPr>
          </a:lstStyle>
          <a:p>
            <a:pPr>
              <a:defRPr/>
            </a:pPr>
            <a:endParaRPr lang="it-IT"/>
          </a:p>
        </p:txBody>
      </p:sp>
      <p:sp>
        <p:nvSpPr>
          <p:cNvPr id="8" name="7 Marcador de pie de página"/>
          <p:cNvSpPr>
            <a:spLocks noGrp="1"/>
          </p:cNvSpPr>
          <p:nvPr>
            <p:ph type="ftr" sz="quarter" idx="11"/>
          </p:nvPr>
        </p:nvSpPr>
        <p:spPr/>
        <p:txBody>
          <a:bodyPr/>
          <a:lstStyle>
            <a:lvl1pPr eaLnBrk="0" hangingPunct="0">
              <a:defRPr>
                <a:ea typeface="ＭＳ Ｐゴシック" charset="0"/>
                <a:cs typeface="ＭＳ Ｐゴシック" charset="0"/>
              </a:defRPr>
            </a:lvl1pPr>
          </a:lstStyle>
          <a:p>
            <a:pPr>
              <a:defRPr/>
            </a:pPr>
            <a:endParaRPr lang="it-IT"/>
          </a:p>
        </p:txBody>
      </p:sp>
      <p:sp>
        <p:nvSpPr>
          <p:cNvPr id="9" name="8 Marcador de número de diapositiva"/>
          <p:cNvSpPr>
            <a:spLocks noGrp="1"/>
          </p:cNvSpPr>
          <p:nvPr>
            <p:ph type="sldNum" sz="quarter" idx="12"/>
          </p:nvPr>
        </p:nvSpPr>
        <p:spPr/>
        <p:txBody>
          <a:bodyPr/>
          <a:lstStyle>
            <a:lvl1pPr eaLnBrk="0" hangingPunct="0">
              <a:defRPr/>
            </a:lvl1pPr>
          </a:lstStyle>
          <a:p>
            <a:pPr>
              <a:defRPr/>
            </a:pPr>
            <a:fld id="{DC6AD485-DA3D-4349-863E-1642210CCE1B}" type="slidenum">
              <a:rPr lang="it-IT"/>
              <a:pPr>
                <a:defRPr/>
              </a:pPr>
              <a:t>‹#›</a:t>
            </a:fld>
            <a:endParaRPr lang="it-IT"/>
          </a:p>
        </p:txBody>
      </p:sp>
    </p:spTree>
    <p:extLst>
      <p:ext uri="{BB962C8B-B14F-4D97-AF65-F5344CB8AC3E}">
        <p14:creationId xmlns:p14="http://schemas.microsoft.com/office/powerpoint/2010/main" val="11341279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fecha"/>
          <p:cNvSpPr>
            <a:spLocks noGrp="1"/>
          </p:cNvSpPr>
          <p:nvPr>
            <p:ph type="dt" sz="half" idx="10"/>
          </p:nvPr>
        </p:nvSpPr>
        <p:spPr/>
        <p:txBody>
          <a:bodyPr/>
          <a:lstStyle>
            <a:lvl1pPr eaLnBrk="0" hangingPunct="0">
              <a:defRPr>
                <a:ea typeface="ＭＳ Ｐゴシック" charset="0"/>
                <a:cs typeface="ＭＳ Ｐゴシック" charset="0"/>
              </a:defRPr>
            </a:lvl1pPr>
          </a:lstStyle>
          <a:p>
            <a:pPr>
              <a:defRPr/>
            </a:pPr>
            <a:endParaRPr lang="it-IT"/>
          </a:p>
        </p:txBody>
      </p:sp>
      <p:sp>
        <p:nvSpPr>
          <p:cNvPr id="4" name="3 Marcador de pie de página"/>
          <p:cNvSpPr>
            <a:spLocks noGrp="1"/>
          </p:cNvSpPr>
          <p:nvPr>
            <p:ph type="ftr" sz="quarter" idx="11"/>
          </p:nvPr>
        </p:nvSpPr>
        <p:spPr/>
        <p:txBody>
          <a:bodyPr/>
          <a:lstStyle>
            <a:lvl1pPr eaLnBrk="0" hangingPunct="0">
              <a:defRPr>
                <a:ea typeface="ＭＳ Ｐゴシック" charset="0"/>
                <a:cs typeface="ＭＳ Ｐゴシック" charset="0"/>
              </a:defRPr>
            </a:lvl1pPr>
          </a:lstStyle>
          <a:p>
            <a:pPr>
              <a:defRPr/>
            </a:pPr>
            <a:endParaRPr lang="it-IT"/>
          </a:p>
        </p:txBody>
      </p:sp>
      <p:sp>
        <p:nvSpPr>
          <p:cNvPr id="5" name="4 Marcador de número de diapositiva"/>
          <p:cNvSpPr>
            <a:spLocks noGrp="1"/>
          </p:cNvSpPr>
          <p:nvPr>
            <p:ph type="sldNum" sz="quarter" idx="12"/>
          </p:nvPr>
        </p:nvSpPr>
        <p:spPr/>
        <p:txBody>
          <a:bodyPr/>
          <a:lstStyle>
            <a:lvl1pPr eaLnBrk="0" hangingPunct="0">
              <a:defRPr/>
            </a:lvl1pPr>
          </a:lstStyle>
          <a:p>
            <a:pPr>
              <a:defRPr/>
            </a:pPr>
            <a:fld id="{69D33D94-4E13-1943-90EC-1B7E808FC4D1}" type="slidenum">
              <a:rPr lang="it-IT"/>
              <a:pPr>
                <a:defRPr/>
              </a:pPr>
              <a:t>‹#›</a:t>
            </a:fld>
            <a:endParaRPr lang="it-IT"/>
          </a:p>
        </p:txBody>
      </p:sp>
    </p:spTree>
    <p:extLst>
      <p:ext uri="{BB962C8B-B14F-4D97-AF65-F5344CB8AC3E}">
        <p14:creationId xmlns:p14="http://schemas.microsoft.com/office/powerpoint/2010/main" val="35819030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1 Marcador de fecha"/>
          <p:cNvSpPr>
            <a:spLocks noGrp="1"/>
          </p:cNvSpPr>
          <p:nvPr>
            <p:ph type="dt" sz="half" idx="10"/>
          </p:nvPr>
        </p:nvSpPr>
        <p:spPr/>
        <p:txBody>
          <a:bodyPr/>
          <a:lstStyle>
            <a:lvl1pPr eaLnBrk="0" hangingPunct="0">
              <a:defRPr>
                <a:ea typeface="ＭＳ Ｐゴシック" charset="0"/>
                <a:cs typeface="ＭＳ Ｐゴシック" charset="0"/>
              </a:defRPr>
            </a:lvl1pPr>
          </a:lstStyle>
          <a:p>
            <a:pPr>
              <a:defRPr/>
            </a:pPr>
            <a:endParaRPr lang="it-IT"/>
          </a:p>
        </p:txBody>
      </p:sp>
      <p:sp>
        <p:nvSpPr>
          <p:cNvPr id="3" name="2 Marcador de pie de página"/>
          <p:cNvSpPr>
            <a:spLocks noGrp="1"/>
          </p:cNvSpPr>
          <p:nvPr>
            <p:ph type="ftr" sz="quarter" idx="11"/>
          </p:nvPr>
        </p:nvSpPr>
        <p:spPr/>
        <p:txBody>
          <a:bodyPr/>
          <a:lstStyle>
            <a:lvl1pPr eaLnBrk="0" hangingPunct="0">
              <a:defRPr>
                <a:ea typeface="ＭＳ Ｐゴシック" charset="0"/>
                <a:cs typeface="ＭＳ Ｐゴシック" charset="0"/>
              </a:defRPr>
            </a:lvl1pPr>
          </a:lstStyle>
          <a:p>
            <a:pPr>
              <a:defRPr/>
            </a:pPr>
            <a:endParaRPr lang="it-IT"/>
          </a:p>
        </p:txBody>
      </p:sp>
      <p:sp>
        <p:nvSpPr>
          <p:cNvPr id="4" name="3 Marcador de número de diapositiva"/>
          <p:cNvSpPr>
            <a:spLocks noGrp="1"/>
          </p:cNvSpPr>
          <p:nvPr>
            <p:ph type="sldNum" sz="quarter" idx="12"/>
          </p:nvPr>
        </p:nvSpPr>
        <p:spPr/>
        <p:txBody>
          <a:bodyPr/>
          <a:lstStyle>
            <a:lvl1pPr eaLnBrk="0" hangingPunct="0">
              <a:defRPr/>
            </a:lvl1pPr>
          </a:lstStyle>
          <a:p>
            <a:pPr>
              <a:defRPr/>
            </a:pPr>
            <a:fld id="{5AAE509C-9F73-6744-8C77-03C937CD2DE6}" type="slidenum">
              <a:rPr lang="it-IT"/>
              <a:pPr>
                <a:defRPr/>
              </a:pPr>
              <a:t>‹#›</a:t>
            </a:fld>
            <a:endParaRPr lang="it-IT"/>
          </a:p>
        </p:txBody>
      </p:sp>
    </p:spTree>
    <p:extLst>
      <p:ext uri="{BB962C8B-B14F-4D97-AF65-F5344CB8AC3E}">
        <p14:creationId xmlns:p14="http://schemas.microsoft.com/office/powerpoint/2010/main" val="2775759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609727" y="273049"/>
            <a:ext cx="4011084" cy="1162051"/>
          </a:xfrm>
        </p:spPr>
        <p:txBody>
          <a:bodyPr anchor="b"/>
          <a:lstStyle>
            <a:lvl1pPr algn="l">
              <a:defRPr sz="2640" b="1"/>
            </a:lvl1pPr>
          </a:lstStyle>
          <a:p>
            <a:r>
              <a:rPr lang="es-ES"/>
              <a:t>Haga clic para modificar el estilo de título del patrón</a:t>
            </a:r>
          </a:p>
        </p:txBody>
      </p:sp>
      <p:sp>
        <p:nvSpPr>
          <p:cNvPr id="3" name="2 Marcador de contenido"/>
          <p:cNvSpPr>
            <a:spLocks noGrp="1"/>
          </p:cNvSpPr>
          <p:nvPr>
            <p:ph idx="1"/>
          </p:nvPr>
        </p:nvSpPr>
        <p:spPr>
          <a:xfrm>
            <a:off x="4767118" y="273140"/>
            <a:ext cx="6815668" cy="5853113"/>
          </a:xfrm>
        </p:spPr>
        <p:txBody>
          <a:bodyPr/>
          <a:lstStyle>
            <a:lvl1pPr>
              <a:defRPr sz="4320"/>
            </a:lvl1pPr>
            <a:lvl2pPr>
              <a:defRPr sz="3720"/>
            </a:lvl2pPr>
            <a:lvl3pPr>
              <a:defRPr sz="3240"/>
            </a:lvl3pPr>
            <a:lvl4pPr>
              <a:defRPr sz="2640"/>
            </a:lvl4pPr>
            <a:lvl5pPr>
              <a:defRPr sz="2640"/>
            </a:lvl5pPr>
            <a:lvl6pPr>
              <a:defRPr sz="2640"/>
            </a:lvl6pPr>
            <a:lvl7pPr>
              <a:defRPr sz="2640"/>
            </a:lvl7pPr>
            <a:lvl8pPr>
              <a:defRPr sz="2640"/>
            </a:lvl8pPr>
            <a:lvl9pPr>
              <a:defRPr sz="264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texto"/>
          <p:cNvSpPr>
            <a:spLocks noGrp="1"/>
          </p:cNvSpPr>
          <p:nvPr>
            <p:ph type="body" sz="half" idx="2"/>
          </p:nvPr>
        </p:nvSpPr>
        <p:spPr>
          <a:xfrm>
            <a:off x="609727" y="1435104"/>
            <a:ext cx="4011084" cy="4691063"/>
          </a:xfrm>
        </p:spPr>
        <p:txBody>
          <a:bodyPr/>
          <a:lstStyle>
            <a:lvl1pPr marL="0" indent="0">
              <a:buNone/>
              <a:defRPr sz="2040"/>
            </a:lvl1pPr>
            <a:lvl2pPr marL="605779" indent="0">
              <a:buNone/>
              <a:defRPr sz="1560"/>
            </a:lvl2pPr>
            <a:lvl3pPr marL="1211622" indent="0">
              <a:buNone/>
              <a:defRPr sz="1440"/>
            </a:lvl3pPr>
            <a:lvl4pPr marL="1817435" indent="0">
              <a:buNone/>
              <a:defRPr sz="1200"/>
            </a:lvl4pPr>
            <a:lvl5pPr marL="2423248" indent="0">
              <a:buNone/>
              <a:defRPr sz="1200"/>
            </a:lvl5pPr>
            <a:lvl6pPr marL="3029081" indent="0">
              <a:buNone/>
              <a:defRPr sz="1200"/>
            </a:lvl6pPr>
            <a:lvl7pPr marL="3634852" indent="0">
              <a:buNone/>
              <a:defRPr sz="1200"/>
            </a:lvl7pPr>
            <a:lvl8pPr marL="4240627" indent="0">
              <a:buNone/>
              <a:defRPr sz="1200"/>
            </a:lvl8pPr>
            <a:lvl9pPr marL="4846399" indent="0">
              <a:buNone/>
              <a:defRPr sz="1200"/>
            </a:lvl9pPr>
          </a:lstStyle>
          <a:p>
            <a:pPr lvl="0"/>
            <a:r>
              <a:rPr lang="es-ES"/>
              <a:t>Haga clic para modificar el estilo de texto del patrón</a:t>
            </a:r>
          </a:p>
        </p:txBody>
      </p:sp>
      <p:sp>
        <p:nvSpPr>
          <p:cNvPr id="5" name="4 Marcador de fecha"/>
          <p:cNvSpPr>
            <a:spLocks noGrp="1"/>
          </p:cNvSpPr>
          <p:nvPr>
            <p:ph type="dt" sz="half" idx="10"/>
          </p:nvPr>
        </p:nvSpPr>
        <p:spPr/>
        <p:txBody>
          <a:bodyPr/>
          <a:lstStyle>
            <a:lvl1pPr eaLnBrk="0" hangingPunct="0">
              <a:defRPr>
                <a:ea typeface="ＭＳ Ｐゴシック" charset="0"/>
                <a:cs typeface="ＭＳ Ｐゴシック" charset="0"/>
              </a:defRPr>
            </a:lvl1pPr>
          </a:lstStyle>
          <a:p>
            <a:pPr>
              <a:defRPr/>
            </a:pPr>
            <a:endParaRPr lang="it-IT"/>
          </a:p>
        </p:txBody>
      </p:sp>
      <p:sp>
        <p:nvSpPr>
          <p:cNvPr id="6" name="5 Marcador de pie de página"/>
          <p:cNvSpPr>
            <a:spLocks noGrp="1"/>
          </p:cNvSpPr>
          <p:nvPr>
            <p:ph type="ftr" sz="quarter" idx="11"/>
          </p:nvPr>
        </p:nvSpPr>
        <p:spPr/>
        <p:txBody>
          <a:bodyPr/>
          <a:lstStyle>
            <a:lvl1pPr eaLnBrk="0" hangingPunct="0">
              <a:defRPr>
                <a:ea typeface="ＭＳ Ｐゴシック" charset="0"/>
                <a:cs typeface="ＭＳ Ｐゴシック" charset="0"/>
              </a:defRPr>
            </a:lvl1pPr>
          </a:lstStyle>
          <a:p>
            <a:pPr>
              <a:defRPr/>
            </a:pPr>
            <a:endParaRPr lang="it-IT"/>
          </a:p>
        </p:txBody>
      </p:sp>
      <p:sp>
        <p:nvSpPr>
          <p:cNvPr id="7" name="6 Marcador de número de diapositiva"/>
          <p:cNvSpPr>
            <a:spLocks noGrp="1"/>
          </p:cNvSpPr>
          <p:nvPr>
            <p:ph type="sldNum" sz="quarter" idx="12"/>
          </p:nvPr>
        </p:nvSpPr>
        <p:spPr/>
        <p:txBody>
          <a:bodyPr/>
          <a:lstStyle>
            <a:lvl1pPr eaLnBrk="0" hangingPunct="0">
              <a:defRPr/>
            </a:lvl1pPr>
          </a:lstStyle>
          <a:p>
            <a:pPr>
              <a:defRPr/>
            </a:pPr>
            <a:fld id="{2A2B631D-0887-CD48-9F30-BF871831C266}" type="slidenum">
              <a:rPr lang="it-IT"/>
              <a:pPr>
                <a:defRPr/>
              </a:pPr>
              <a:t>‹#›</a:t>
            </a:fld>
            <a:endParaRPr lang="it-IT"/>
          </a:p>
        </p:txBody>
      </p:sp>
    </p:spTree>
    <p:extLst>
      <p:ext uri="{BB962C8B-B14F-4D97-AF65-F5344CB8AC3E}">
        <p14:creationId xmlns:p14="http://schemas.microsoft.com/office/powerpoint/2010/main" val="12522368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2389717" y="4800601"/>
            <a:ext cx="7315200" cy="566738"/>
          </a:xfrm>
        </p:spPr>
        <p:txBody>
          <a:bodyPr anchor="b"/>
          <a:lstStyle>
            <a:lvl1pPr algn="l">
              <a:defRPr sz="2640" b="1"/>
            </a:lvl1pPr>
          </a:lstStyle>
          <a:p>
            <a:r>
              <a:rPr lang="es-ES"/>
              <a:t>Haga clic para modificar el estilo de título del patrón</a:t>
            </a:r>
          </a:p>
        </p:txBody>
      </p:sp>
      <p:sp>
        <p:nvSpPr>
          <p:cNvPr id="3" name="2 Marcador de posición de imagen"/>
          <p:cNvSpPr>
            <a:spLocks noGrp="1"/>
          </p:cNvSpPr>
          <p:nvPr>
            <p:ph type="pic" idx="1"/>
          </p:nvPr>
        </p:nvSpPr>
        <p:spPr>
          <a:xfrm>
            <a:off x="2389717" y="612775"/>
            <a:ext cx="7315200" cy="4114800"/>
          </a:xfrm>
        </p:spPr>
        <p:txBody>
          <a:bodyPr/>
          <a:lstStyle>
            <a:lvl1pPr marL="0" indent="0">
              <a:buNone/>
              <a:defRPr sz="4320"/>
            </a:lvl1pPr>
            <a:lvl2pPr marL="605779" indent="0">
              <a:buNone/>
              <a:defRPr sz="3720"/>
            </a:lvl2pPr>
            <a:lvl3pPr marL="1211622" indent="0">
              <a:buNone/>
              <a:defRPr sz="3240"/>
            </a:lvl3pPr>
            <a:lvl4pPr marL="1817435" indent="0">
              <a:buNone/>
              <a:defRPr sz="2640"/>
            </a:lvl4pPr>
            <a:lvl5pPr marL="2423248" indent="0">
              <a:buNone/>
              <a:defRPr sz="2640"/>
            </a:lvl5pPr>
            <a:lvl6pPr marL="3029081" indent="0">
              <a:buNone/>
              <a:defRPr sz="2640"/>
            </a:lvl6pPr>
            <a:lvl7pPr marL="3634852" indent="0">
              <a:buNone/>
              <a:defRPr sz="2640"/>
            </a:lvl7pPr>
            <a:lvl8pPr marL="4240627" indent="0">
              <a:buNone/>
              <a:defRPr sz="2640"/>
            </a:lvl8pPr>
            <a:lvl9pPr marL="4846399" indent="0">
              <a:buNone/>
              <a:defRPr sz="2640"/>
            </a:lvl9pPr>
          </a:lstStyle>
          <a:p>
            <a:pPr lvl="0"/>
            <a:endParaRPr lang="es-ES" noProof="0"/>
          </a:p>
        </p:txBody>
      </p:sp>
      <p:sp>
        <p:nvSpPr>
          <p:cNvPr id="4" name="3 Marcador de texto"/>
          <p:cNvSpPr>
            <a:spLocks noGrp="1"/>
          </p:cNvSpPr>
          <p:nvPr>
            <p:ph type="body" sz="half" idx="2"/>
          </p:nvPr>
        </p:nvSpPr>
        <p:spPr>
          <a:xfrm>
            <a:off x="2389717" y="5367850"/>
            <a:ext cx="7315200" cy="804863"/>
          </a:xfrm>
        </p:spPr>
        <p:txBody>
          <a:bodyPr/>
          <a:lstStyle>
            <a:lvl1pPr marL="0" indent="0">
              <a:buNone/>
              <a:defRPr sz="2040"/>
            </a:lvl1pPr>
            <a:lvl2pPr marL="605779" indent="0">
              <a:buNone/>
              <a:defRPr sz="1560"/>
            </a:lvl2pPr>
            <a:lvl3pPr marL="1211622" indent="0">
              <a:buNone/>
              <a:defRPr sz="1440"/>
            </a:lvl3pPr>
            <a:lvl4pPr marL="1817435" indent="0">
              <a:buNone/>
              <a:defRPr sz="1200"/>
            </a:lvl4pPr>
            <a:lvl5pPr marL="2423248" indent="0">
              <a:buNone/>
              <a:defRPr sz="1200"/>
            </a:lvl5pPr>
            <a:lvl6pPr marL="3029081" indent="0">
              <a:buNone/>
              <a:defRPr sz="1200"/>
            </a:lvl6pPr>
            <a:lvl7pPr marL="3634852" indent="0">
              <a:buNone/>
              <a:defRPr sz="1200"/>
            </a:lvl7pPr>
            <a:lvl8pPr marL="4240627" indent="0">
              <a:buNone/>
              <a:defRPr sz="1200"/>
            </a:lvl8pPr>
            <a:lvl9pPr marL="4846399" indent="0">
              <a:buNone/>
              <a:defRPr sz="1200"/>
            </a:lvl9pPr>
          </a:lstStyle>
          <a:p>
            <a:pPr lvl="0"/>
            <a:r>
              <a:rPr lang="es-ES"/>
              <a:t>Haga clic para modificar el estilo de texto del patrón</a:t>
            </a:r>
          </a:p>
        </p:txBody>
      </p:sp>
      <p:sp>
        <p:nvSpPr>
          <p:cNvPr id="5" name="4 Marcador de fecha"/>
          <p:cNvSpPr>
            <a:spLocks noGrp="1"/>
          </p:cNvSpPr>
          <p:nvPr>
            <p:ph type="dt" sz="half" idx="10"/>
          </p:nvPr>
        </p:nvSpPr>
        <p:spPr/>
        <p:txBody>
          <a:bodyPr/>
          <a:lstStyle>
            <a:lvl1pPr eaLnBrk="0" hangingPunct="0">
              <a:defRPr>
                <a:ea typeface="ＭＳ Ｐゴシック" charset="0"/>
                <a:cs typeface="ＭＳ Ｐゴシック" charset="0"/>
              </a:defRPr>
            </a:lvl1pPr>
          </a:lstStyle>
          <a:p>
            <a:pPr>
              <a:defRPr/>
            </a:pPr>
            <a:endParaRPr lang="it-IT"/>
          </a:p>
        </p:txBody>
      </p:sp>
      <p:sp>
        <p:nvSpPr>
          <p:cNvPr id="6" name="5 Marcador de pie de página"/>
          <p:cNvSpPr>
            <a:spLocks noGrp="1"/>
          </p:cNvSpPr>
          <p:nvPr>
            <p:ph type="ftr" sz="quarter" idx="11"/>
          </p:nvPr>
        </p:nvSpPr>
        <p:spPr/>
        <p:txBody>
          <a:bodyPr/>
          <a:lstStyle>
            <a:lvl1pPr eaLnBrk="0" hangingPunct="0">
              <a:defRPr>
                <a:ea typeface="ＭＳ Ｐゴシック" charset="0"/>
                <a:cs typeface="ＭＳ Ｐゴシック" charset="0"/>
              </a:defRPr>
            </a:lvl1pPr>
          </a:lstStyle>
          <a:p>
            <a:pPr>
              <a:defRPr/>
            </a:pPr>
            <a:endParaRPr lang="it-IT"/>
          </a:p>
        </p:txBody>
      </p:sp>
      <p:sp>
        <p:nvSpPr>
          <p:cNvPr id="7" name="6 Marcador de número de diapositiva"/>
          <p:cNvSpPr>
            <a:spLocks noGrp="1"/>
          </p:cNvSpPr>
          <p:nvPr>
            <p:ph type="sldNum" sz="quarter" idx="12"/>
          </p:nvPr>
        </p:nvSpPr>
        <p:spPr/>
        <p:txBody>
          <a:bodyPr/>
          <a:lstStyle>
            <a:lvl1pPr eaLnBrk="0" hangingPunct="0">
              <a:defRPr/>
            </a:lvl1pPr>
          </a:lstStyle>
          <a:p>
            <a:pPr>
              <a:defRPr/>
            </a:pPr>
            <a:fld id="{51BBF7E5-BA5E-EA40-AFEF-CD63E5AB96B9}" type="slidenum">
              <a:rPr lang="it-IT"/>
              <a:pPr>
                <a:defRPr/>
              </a:pPr>
              <a:t>‹#›</a:t>
            </a:fld>
            <a:endParaRPr lang="it-IT"/>
          </a:p>
        </p:txBody>
      </p:sp>
    </p:spTree>
    <p:extLst>
      <p:ext uri="{BB962C8B-B14F-4D97-AF65-F5344CB8AC3E}">
        <p14:creationId xmlns:p14="http://schemas.microsoft.com/office/powerpoint/2010/main" val="28447268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1450145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texto vertical"/>
          <p:cNvSpPr>
            <a:spLocks noGrp="1"/>
          </p:cNvSpPr>
          <p:nvPr>
            <p:ph type="body" orient="vert" idx="1"/>
          </p:nvPr>
        </p:nvSpPr>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10"/>
          </p:nvPr>
        </p:nvSpPr>
        <p:spPr/>
        <p:txBody>
          <a:bodyPr/>
          <a:lstStyle>
            <a:lvl1pPr eaLnBrk="0" hangingPunct="0">
              <a:defRPr>
                <a:ea typeface="ＭＳ Ｐゴシック" charset="0"/>
                <a:cs typeface="ＭＳ Ｐゴシック" charset="0"/>
              </a:defRPr>
            </a:lvl1pPr>
          </a:lstStyle>
          <a:p>
            <a:pPr>
              <a:defRPr/>
            </a:pPr>
            <a:endParaRPr lang="it-IT"/>
          </a:p>
        </p:txBody>
      </p:sp>
      <p:sp>
        <p:nvSpPr>
          <p:cNvPr id="5" name="4 Marcador de pie de página"/>
          <p:cNvSpPr>
            <a:spLocks noGrp="1"/>
          </p:cNvSpPr>
          <p:nvPr>
            <p:ph type="ftr" sz="quarter" idx="11"/>
          </p:nvPr>
        </p:nvSpPr>
        <p:spPr/>
        <p:txBody>
          <a:bodyPr/>
          <a:lstStyle>
            <a:lvl1pPr eaLnBrk="0" hangingPunct="0">
              <a:defRPr>
                <a:ea typeface="ＭＳ Ｐゴシック" charset="0"/>
                <a:cs typeface="ＭＳ Ｐゴシック" charset="0"/>
              </a:defRPr>
            </a:lvl1pPr>
          </a:lstStyle>
          <a:p>
            <a:pPr>
              <a:defRPr/>
            </a:pPr>
            <a:endParaRPr lang="it-IT"/>
          </a:p>
        </p:txBody>
      </p:sp>
      <p:sp>
        <p:nvSpPr>
          <p:cNvPr id="6" name="5 Marcador de número de diapositiva"/>
          <p:cNvSpPr>
            <a:spLocks noGrp="1"/>
          </p:cNvSpPr>
          <p:nvPr>
            <p:ph type="sldNum" sz="quarter" idx="12"/>
          </p:nvPr>
        </p:nvSpPr>
        <p:spPr/>
        <p:txBody>
          <a:bodyPr/>
          <a:lstStyle>
            <a:lvl1pPr eaLnBrk="0" hangingPunct="0">
              <a:defRPr/>
            </a:lvl1pPr>
          </a:lstStyle>
          <a:p>
            <a:pPr>
              <a:defRPr/>
            </a:pPr>
            <a:fld id="{2246BADF-35AF-064D-BD37-6F8D7CC486CB}" type="slidenum">
              <a:rPr lang="it-IT"/>
              <a:pPr>
                <a:defRPr/>
              </a:pPr>
              <a:t>‹#›</a:t>
            </a:fld>
            <a:endParaRPr lang="it-IT"/>
          </a:p>
        </p:txBody>
      </p:sp>
    </p:spTree>
    <p:extLst>
      <p:ext uri="{BB962C8B-B14F-4D97-AF65-F5344CB8AC3E}">
        <p14:creationId xmlns:p14="http://schemas.microsoft.com/office/powerpoint/2010/main" val="26840586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8839201" y="274665"/>
            <a:ext cx="2743200" cy="5851525"/>
          </a:xfrm>
        </p:spPr>
        <p:txBody>
          <a:bodyPr vert="eaVert"/>
          <a:lstStyle/>
          <a:p>
            <a:r>
              <a:rPr lang="es-ES"/>
              <a:t>Haga clic para modificar el estilo de título del patrón</a:t>
            </a:r>
          </a:p>
        </p:txBody>
      </p:sp>
      <p:sp>
        <p:nvSpPr>
          <p:cNvPr id="3" name="2 Marcador de texto vertical"/>
          <p:cNvSpPr>
            <a:spLocks noGrp="1"/>
          </p:cNvSpPr>
          <p:nvPr>
            <p:ph type="body" orient="vert" idx="1"/>
          </p:nvPr>
        </p:nvSpPr>
        <p:spPr>
          <a:xfrm>
            <a:off x="609604" y="274665"/>
            <a:ext cx="8026400" cy="5851525"/>
          </a:xfrm>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10"/>
          </p:nvPr>
        </p:nvSpPr>
        <p:spPr/>
        <p:txBody>
          <a:bodyPr/>
          <a:lstStyle>
            <a:lvl1pPr eaLnBrk="0" hangingPunct="0">
              <a:defRPr>
                <a:ea typeface="ＭＳ Ｐゴシック" charset="0"/>
                <a:cs typeface="ＭＳ Ｐゴシック" charset="0"/>
              </a:defRPr>
            </a:lvl1pPr>
          </a:lstStyle>
          <a:p>
            <a:pPr>
              <a:defRPr/>
            </a:pPr>
            <a:endParaRPr lang="it-IT"/>
          </a:p>
        </p:txBody>
      </p:sp>
      <p:sp>
        <p:nvSpPr>
          <p:cNvPr id="5" name="4 Marcador de pie de página"/>
          <p:cNvSpPr>
            <a:spLocks noGrp="1"/>
          </p:cNvSpPr>
          <p:nvPr>
            <p:ph type="ftr" sz="quarter" idx="11"/>
          </p:nvPr>
        </p:nvSpPr>
        <p:spPr/>
        <p:txBody>
          <a:bodyPr/>
          <a:lstStyle>
            <a:lvl1pPr eaLnBrk="0" hangingPunct="0">
              <a:defRPr>
                <a:ea typeface="ＭＳ Ｐゴシック" charset="0"/>
                <a:cs typeface="ＭＳ Ｐゴシック" charset="0"/>
              </a:defRPr>
            </a:lvl1pPr>
          </a:lstStyle>
          <a:p>
            <a:pPr>
              <a:defRPr/>
            </a:pPr>
            <a:endParaRPr lang="it-IT"/>
          </a:p>
        </p:txBody>
      </p:sp>
      <p:sp>
        <p:nvSpPr>
          <p:cNvPr id="6" name="5 Marcador de número de diapositiva"/>
          <p:cNvSpPr>
            <a:spLocks noGrp="1"/>
          </p:cNvSpPr>
          <p:nvPr>
            <p:ph type="sldNum" sz="quarter" idx="12"/>
          </p:nvPr>
        </p:nvSpPr>
        <p:spPr/>
        <p:txBody>
          <a:bodyPr/>
          <a:lstStyle>
            <a:lvl1pPr eaLnBrk="0" hangingPunct="0">
              <a:defRPr/>
            </a:lvl1pPr>
          </a:lstStyle>
          <a:p>
            <a:pPr>
              <a:defRPr/>
            </a:pPr>
            <a:fld id="{A838E33F-A88F-0541-882A-D0E28E836961}" type="slidenum">
              <a:rPr lang="it-IT"/>
              <a:pPr>
                <a:defRPr/>
              </a:pPr>
              <a:t>‹#›</a:t>
            </a:fld>
            <a:endParaRPr lang="it-IT"/>
          </a:p>
        </p:txBody>
      </p:sp>
    </p:spTree>
    <p:extLst>
      <p:ext uri="{BB962C8B-B14F-4D97-AF65-F5344CB8AC3E}">
        <p14:creationId xmlns:p14="http://schemas.microsoft.com/office/powerpoint/2010/main" val="29413610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type="objOnly">
  <p:cSld name="Contenido">
    <p:spTree>
      <p:nvGrpSpPr>
        <p:cNvPr id="1" name=""/>
        <p:cNvGrpSpPr/>
        <p:nvPr/>
      </p:nvGrpSpPr>
      <p:grpSpPr>
        <a:xfrm>
          <a:off x="0" y="0"/>
          <a:ext cx="0" cy="0"/>
          <a:chOff x="0" y="0"/>
          <a:chExt cx="0" cy="0"/>
        </a:xfrm>
      </p:grpSpPr>
      <p:sp>
        <p:nvSpPr>
          <p:cNvPr id="2" name="1 Marcador de contenido"/>
          <p:cNvSpPr>
            <a:spLocks noGrp="1"/>
          </p:cNvSpPr>
          <p:nvPr>
            <p:ph/>
          </p:nvPr>
        </p:nvSpPr>
        <p:spPr>
          <a:xfrm>
            <a:off x="609601" y="274665"/>
            <a:ext cx="10972800" cy="5851525"/>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3" name="2 Marcador de fecha"/>
          <p:cNvSpPr>
            <a:spLocks noGrp="1"/>
          </p:cNvSpPr>
          <p:nvPr>
            <p:ph type="dt" sz="half" idx="10"/>
          </p:nvPr>
        </p:nvSpPr>
        <p:spPr/>
        <p:txBody>
          <a:bodyPr/>
          <a:lstStyle>
            <a:lvl1pPr eaLnBrk="0" hangingPunct="0">
              <a:defRPr>
                <a:solidFill>
                  <a:prstClr val="black">
                    <a:tint val="75000"/>
                  </a:prstClr>
                </a:solidFill>
                <a:ea typeface="ＭＳ Ｐゴシック" charset="0"/>
                <a:cs typeface="ＭＳ Ｐゴシック" charset="0"/>
              </a:defRPr>
            </a:lvl1pPr>
          </a:lstStyle>
          <a:p>
            <a:pPr>
              <a:defRPr/>
            </a:pPr>
            <a:endParaRPr lang="en-US"/>
          </a:p>
        </p:txBody>
      </p:sp>
      <p:sp>
        <p:nvSpPr>
          <p:cNvPr id="4" name="3 Marcador de pie de página"/>
          <p:cNvSpPr>
            <a:spLocks noGrp="1"/>
          </p:cNvSpPr>
          <p:nvPr>
            <p:ph type="ftr" sz="quarter" idx="11"/>
          </p:nvPr>
        </p:nvSpPr>
        <p:spPr/>
        <p:txBody>
          <a:bodyPr/>
          <a:lstStyle>
            <a:lvl1pPr eaLnBrk="0" hangingPunct="0">
              <a:defRPr>
                <a:solidFill>
                  <a:prstClr val="black">
                    <a:tint val="75000"/>
                  </a:prstClr>
                </a:solidFill>
                <a:ea typeface="ＭＳ Ｐゴシック" charset="0"/>
                <a:cs typeface="ＭＳ Ｐゴシック" charset="0"/>
              </a:defRPr>
            </a:lvl1pPr>
          </a:lstStyle>
          <a:p>
            <a:pPr>
              <a:defRPr/>
            </a:pPr>
            <a:endParaRPr lang="en-US"/>
          </a:p>
        </p:txBody>
      </p:sp>
      <p:sp>
        <p:nvSpPr>
          <p:cNvPr id="5" name="4 Marcador de número de diapositiva"/>
          <p:cNvSpPr>
            <a:spLocks noGrp="1"/>
          </p:cNvSpPr>
          <p:nvPr>
            <p:ph type="sldNum" sz="quarter" idx="12"/>
          </p:nvPr>
        </p:nvSpPr>
        <p:spPr/>
        <p:txBody>
          <a:bodyPr/>
          <a:lstStyle>
            <a:lvl1pPr eaLnBrk="0" hangingPunct="0">
              <a:defRPr>
                <a:solidFill>
                  <a:srgbClr val="898989"/>
                </a:solidFill>
              </a:defRPr>
            </a:lvl1pPr>
          </a:lstStyle>
          <a:p>
            <a:pPr>
              <a:defRPr/>
            </a:pPr>
            <a:fld id="{8E3D3400-ED3F-B34D-9523-36E503ABF0BB}" type="slidenum">
              <a:rPr lang="en-US"/>
              <a:pPr>
                <a:defRPr/>
              </a:pPr>
              <a:t>‹#›</a:t>
            </a:fld>
            <a:endParaRPr lang="en-US"/>
          </a:p>
        </p:txBody>
      </p:sp>
    </p:spTree>
    <p:extLst>
      <p:ext uri="{BB962C8B-B14F-4D97-AF65-F5344CB8AC3E}">
        <p14:creationId xmlns:p14="http://schemas.microsoft.com/office/powerpoint/2010/main" val="34223619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txAndObj">
  <p:cSld name="Titel, Tex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1268198" y="833443"/>
            <a:ext cx="9664700" cy="1116012"/>
          </a:xfrm>
        </p:spPr>
        <p:txBody>
          <a:bodyPr/>
          <a:lstStyle/>
          <a:p>
            <a:r>
              <a:rPr lang="de-DE"/>
              <a:t>Titelmasterformat durch Klicken bearbeiten</a:t>
            </a:r>
          </a:p>
        </p:txBody>
      </p:sp>
      <p:sp>
        <p:nvSpPr>
          <p:cNvPr id="3" name="Textplatzhalter 2"/>
          <p:cNvSpPr>
            <a:spLocks noGrp="1"/>
          </p:cNvSpPr>
          <p:nvPr>
            <p:ph type="body" sz="half" idx="1"/>
          </p:nvPr>
        </p:nvSpPr>
        <p:spPr>
          <a:xfrm>
            <a:off x="1267998" y="2047880"/>
            <a:ext cx="4730750" cy="3997325"/>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6201942" y="2047880"/>
            <a:ext cx="4730750" cy="3997325"/>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5971917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9" name="Date Placeholder 8">
            <a:extLst>
              <a:ext uri="{FF2B5EF4-FFF2-40B4-BE49-F238E27FC236}">
                <a16:creationId xmlns:a16="http://schemas.microsoft.com/office/drawing/2014/main" id="{9B03F247-4297-4973-90A3-0193475AC741}"/>
              </a:ext>
            </a:extLst>
          </p:cNvPr>
          <p:cNvSpPr>
            <a:spLocks noGrp="1"/>
          </p:cNvSpPr>
          <p:nvPr>
            <p:ph type="dt" sz="half" idx="10"/>
          </p:nvPr>
        </p:nvSpPr>
        <p:spPr/>
        <p:txBody>
          <a:bodyPr/>
          <a:lstStyle/>
          <a:p>
            <a:endParaRPr lang="en-GB"/>
          </a:p>
        </p:txBody>
      </p:sp>
      <p:sp>
        <p:nvSpPr>
          <p:cNvPr id="11" name="Slide Number Placeholder 10">
            <a:extLst>
              <a:ext uri="{FF2B5EF4-FFF2-40B4-BE49-F238E27FC236}">
                <a16:creationId xmlns:a16="http://schemas.microsoft.com/office/drawing/2014/main" id="{E358DA9E-BDF5-4DC7-B478-434301DA6253}"/>
              </a:ext>
            </a:extLst>
          </p:cNvPr>
          <p:cNvSpPr>
            <a:spLocks noGrp="1"/>
          </p:cNvSpPr>
          <p:nvPr>
            <p:ph type="sldNum" sz="quarter" idx="12"/>
          </p:nvPr>
        </p:nvSpPr>
        <p:spPr/>
        <p:txBody>
          <a:bodyPr/>
          <a:lstStyle/>
          <a:p>
            <a:fld id="{F8E47D07-9D1E-4FE9-B31A-2F5863681021}" type="slidenum">
              <a:rPr lang="en-GB" smtClean="0"/>
              <a:pPr/>
              <a:t>‹#›</a:t>
            </a:fld>
            <a:endParaRPr lang="en-GB"/>
          </a:p>
        </p:txBody>
      </p:sp>
      <p:sp>
        <p:nvSpPr>
          <p:cNvPr id="5" name="Text Placeholder 96">
            <a:extLst>
              <a:ext uri="{FF2B5EF4-FFF2-40B4-BE49-F238E27FC236}">
                <a16:creationId xmlns:a16="http://schemas.microsoft.com/office/drawing/2014/main" id="{5D317BC2-3CD5-4931-93AD-CC95F2C50D24}"/>
              </a:ext>
            </a:extLst>
          </p:cNvPr>
          <p:cNvSpPr>
            <a:spLocks noGrp="1"/>
          </p:cNvSpPr>
          <p:nvPr>
            <p:ph type="body" sz="quarter" idx="111" hasCustomPrompt="1"/>
          </p:nvPr>
        </p:nvSpPr>
        <p:spPr>
          <a:xfrm>
            <a:off x="407988" y="6200777"/>
            <a:ext cx="9729787" cy="657226"/>
          </a:xfrm>
        </p:spPr>
        <p:txBody>
          <a:bodyPr anchor="b" anchorCtr="0">
            <a:noAutofit/>
          </a:bodyPr>
          <a:lstStyle>
            <a:lvl1pPr>
              <a:spcAft>
                <a:spcPts val="300"/>
              </a:spcAft>
              <a:buNone/>
              <a:defRPr sz="840"/>
            </a:lvl1pPr>
          </a:lstStyle>
          <a:p>
            <a:pPr lvl="0"/>
            <a:r>
              <a:rPr lang="en-US"/>
              <a:t>Footnotes</a:t>
            </a:r>
          </a:p>
        </p:txBody>
      </p:sp>
    </p:spTree>
    <p:custDataLst>
      <p:tags r:id="rId1"/>
    </p:custDataLst>
    <p:extLst>
      <p:ext uri="{BB962C8B-B14F-4D97-AF65-F5344CB8AC3E}">
        <p14:creationId xmlns:p14="http://schemas.microsoft.com/office/powerpoint/2010/main" val="382145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1"/>
            <a:ext cx="10363200" cy="492443"/>
          </a:xfrm>
          <a:prstGeom prst="rect">
            <a:avLst/>
          </a:prstGeom>
        </p:spPr>
        <p:txBody>
          <a:bodyPr wrap="square" lIns="0" tIns="0" rIns="0" bIns="0">
            <a:spAutoFit/>
          </a:bodyPr>
          <a:lstStyle>
            <a:lvl1pPr>
              <a:defRPr sz="3200" b="1" i="0">
                <a:solidFill>
                  <a:srgbClr val="0A41CD"/>
                </a:solidFill>
                <a:latin typeface="Arial"/>
                <a:cs typeface="Arial"/>
              </a:defRPr>
            </a:lvl1pPr>
          </a:lstStyle>
          <a:p>
            <a:endParaRPr/>
          </a:p>
        </p:txBody>
      </p:sp>
      <p:sp>
        <p:nvSpPr>
          <p:cNvPr id="3" name="Holder 3"/>
          <p:cNvSpPr>
            <a:spLocks noGrp="1"/>
          </p:cNvSpPr>
          <p:nvPr>
            <p:ph type="subTitle" idx="4"/>
          </p:nvPr>
        </p:nvSpPr>
        <p:spPr>
          <a:xfrm>
            <a:off x="1828800" y="3840481"/>
            <a:ext cx="8534400" cy="27699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4/26</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6338549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511809" y="143085"/>
            <a:ext cx="8788400" cy="492443"/>
          </a:xfrm>
        </p:spPr>
        <p:txBody>
          <a:bodyPr lIns="0" tIns="0" rIns="0" bIns="0"/>
          <a:lstStyle>
            <a:lvl1pPr>
              <a:defRPr sz="3200" b="1" i="0">
                <a:solidFill>
                  <a:srgbClr val="0A41CD"/>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4/26</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0647576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511809" y="143085"/>
            <a:ext cx="8788400" cy="492443"/>
          </a:xfrm>
        </p:spPr>
        <p:txBody>
          <a:bodyPr lIns="0" tIns="0" rIns="0" bIns="0"/>
          <a:lstStyle>
            <a:lvl1pPr>
              <a:defRPr sz="3200" b="1" i="0">
                <a:solidFill>
                  <a:srgbClr val="0A41CD"/>
                </a:solidFill>
                <a:latin typeface="Arial"/>
                <a:cs typeface="Arial"/>
              </a:defRPr>
            </a:lvl1pPr>
          </a:lstStyle>
          <a:p>
            <a:endParaRPr/>
          </a:p>
        </p:txBody>
      </p:sp>
      <p:sp>
        <p:nvSpPr>
          <p:cNvPr id="3" name="Holder 3"/>
          <p:cNvSpPr>
            <a:spLocks noGrp="1"/>
          </p:cNvSpPr>
          <p:nvPr>
            <p:ph sz="half" idx="2"/>
          </p:nvPr>
        </p:nvSpPr>
        <p:spPr>
          <a:xfrm>
            <a:off x="609600" y="1577340"/>
            <a:ext cx="530352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4/26</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0685385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511809" y="143085"/>
            <a:ext cx="8788400" cy="492443"/>
          </a:xfrm>
        </p:spPr>
        <p:txBody>
          <a:bodyPr lIns="0" tIns="0" rIns="0" bIns="0"/>
          <a:lstStyle>
            <a:lvl1pPr>
              <a:defRPr sz="3200" b="1" i="0">
                <a:solidFill>
                  <a:srgbClr val="0A41CD"/>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4/26</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3587850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4/26</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5579762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4512067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615497"/>
          </a:xfrm>
          <a:prstGeom prst="rect">
            <a:avLst/>
          </a:prstGeom>
        </p:spPr>
        <p:txBody>
          <a:bodyPr wrap="square" lIns="0" tIns="0" rIns="0" bIns="0">
            <a:spAutoFit/>
          </a:bodyPr>
          <a:lstStyle>
            <a:lvl1pPr>
              <a:defRPr sz="4000" b="0" i="0">
                <a:solidFill>
                  <a:srgbClr val="023CA6"/>
                </a:solidFill>
                <a:latin typeface="Arial"/>
                <a:cs typeface="Arial"/>
              </a:defRPr>
            </a:lvl1pPr>
          </a:lstStyle>
          <a:p>
            <a:endParaRPr/>
          </a:p>
        </p:txBody>
      </p:sp>
      <p:sp>
        <p:nvSpPr>
          <p:cNvPr id="3" name="Holder 3"/>
          <p:cNvSpPr>
            <a:spLocks noGrp="1"/>
          </p:cNvSpPr>
          <p:nvPr>
            <p:ph type="subTitle" idx="4"/>
          </p:nvPr>
        </p:nvSpPr>
        <p:spPr>
          <a:xfrm>
            <a:off x="1828800" y="3840480"/>
            <a:ext cx="8534400" cy="27699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4/26</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76554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914707" y="1402753"/>
            <a:ext cx="10454024" cy="615497"/>
          </a:xfrm>
        </p:spPr>
        <p:txBody>
          <a:bodyPr lIns="0" tIns="0" rIns="0" bIns="0"/>
          <a:lstStyle>
            <a:lvl1pPr>
              <a:defRPr sz="4000" b="0" i="0">
                <a:solidFill>
                  <a:srgbClr val="023CA6"/>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4/26</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0405267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914707" y="1402753"/>
            <a:ext cx="10454024" cy="615497"/>
          </a:xfrm>
        </p:spPr>
        <p:txBody>
          <a:bodyPr lIns="0" tIns="0" rIns="0" bIns="0"/>
          <a:lstStyle>
            <a:lvl1pPr>
              <a:defRPr sz="4000" b="0" i="0">
                <a:solidFill>
                  <a:srgbClr val="023CA6"/>
                </a:solidFill>
                <a:latin typeface="Arial"/>
                <a:cs typeface="Arial"/>
              </a:defRPr>
            </a:lvl1pPr>
          </a:lstStyle>
          <a:p>
            <a:endParaRPr/>
          </a:p>
        </p:txBody>
      </p:sp>
      <p:sp>
        <p:nvSpPr>
          <p:cNvPr id="3" name="Holder 3"/>
          <p:cNvSpPr>
            <a:spLocks noGrp="1"/>
          </p:cNvSpPr>
          <p:nvPr>
            <p:ph sz="half" idx="2"/>
          </p:nvPr>
        </p:nvSpPr>
        <p:spPr>
          <a:xfrm>
            <a:off x="609600" y="1577340"/>
            <a:ext cx="530352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4/26</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5506726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914707" y="1402753"/>
            <a:ext cx="10454024" cy="615497"/>
          </a:xfrm>
        </p:spPr>
        <p:txBody>
          <a:bodyPr lIns="0" tIns="0" rIns="0" bIns="0"/>
          <a:lstStyle>
            <a:lvl1pPr>
              <a:defRPr sz="4000" b="0" i="0">
                <a:solidFill>
                  <a:srgbClr val="023CA6"/>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4/26</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0029262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4/26</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4689016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sz="2800" b="1" i="0">
                <a:solidFill>
                  <a:srgbClr val="0074AA"/>
                </a:solidFill>
                <a:latin typeface="Arial"/>
                <a:cs typeface="Aria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4/26</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460187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1" i="0">
                <a:solidFill>
                  <a:srgbClr val="0074AA"/>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4/26</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8440889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1" i="0">
                <a:solidFill>
                  <a:srgbClr val="0074AA"/>
                </a:solidFill>
                <a:latin typeface="Arial"/>
                <a:cs typeface="Arial"/>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4/26</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1609549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1" i="0">
                <a:solidFill>
                  <a:srgbClr val="0074AA"/>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4/26</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856598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0" y="2792"/>
            <a:ext cx="12192000" cy="6855205"/>
          </a:xfrm>
          <a:prstGeom prst="rect">
            <a:avLst/>
          </a:prstGeom>
        </p:spPr>
      </p:pic>
      <p:sp>
        <p:nvSpPr>
          <p:cNvPr id="17" name="bg object 17"/>
          <p:cNvSpPr/>
          <p:nvPr/>
        </p:nvSpPr>
        <p:spPr>
          <a:xfrm>
            <a:off x="404469" y="3078861"/>
            <a:ext cx="10036175" cy="1395095"/>
          </a:xfrm>
          <a:custGeom>
            <a:avLst/>
            <a:gdLst/>
            <a:ahLst/>
            <a:cxnLst/>
            <a:rect l="l" t="t" r="r" b="b"/>
            <a:pathLst>
              <a:path w="10036175" h="1395095">
                <a:moveTo>
                  <a:pt x="10035921" y="0"/>
                </a:moveTo>
                <a:lnTo>
                  <a:pt x="0" y="0"/>
                </a:lnTo>
                <a:lnTo>
                  <a:pt x="0" y="1394840"/>
                </a:lnTo>
                <a:lnTo>
                  <a:pt x="10035921" y="1394840"/>
                </a:lnTo>
                <a:lnTo>
                  <a:pt x="10035921" y="0"/>
                </a:lnTo>
                <a:close/>
              </a:path>
            </a:pathLst>
          </a:custGeom>
          <a:solidFill>
            <a:srgbClr val="FFFFFF">
              <a:alpha val="72940"/>
            </a:srgbClr>
          </a:solidFill>
        </p:spPr>
        <p:txBody>
          <a:bodyPr wrap="square" lIns="0" tIns="0" rIns="0" bIns="0" rtlCol="0"/>
          <a:lstStyle/>
          <a:p>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4/26</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9545444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399070"/>
            <a:ext cx="9144000" cy="2123615"/>
          </a:xfrm>
        </p:spPr>
        <p:txBody>
          <a:bodyPr anchor="ctr">
            <a:normAutofit/>
          </a:bodyPr>
          <a:lstStyle>
            <a:lvl1pPr algn="ctr">
              <a:defRPr sz="3600"/>
            </a:lvl1pPr>
          </a:lstStyle>
          <a:p>
            <a:r>
              <a:rPr lang="en-US" dirty="0"/>
              <a:t>Click to edit Master title style</a:t>
            </a:r>
          </a:p>
        </p:txBody>
      </p:sp>
      <p:sp>
        <p:nvSpPr>
          <p:cNvPr id="3" name="Subtitle 2"/>
          <p:cNvSpPr>
            <a:spLocks noGrp="1"/>
          </p:cNvSpPr>
          <p:nvPr>
            <p:ph type="subTitle" idx="1"/>
          </p:nvPr>
        </p:nvSpPr>
        <p:spPr>
          <a:xfrm>
            <a:off x="1524000" y="4614761"/>
            <a:ext cx="9144000" cy="1655762"/>
          </a:xfrm>
        </p:spPr>
        <p:txBody>
          <a:bodyPr anchor="t">
            <a:normAutofit/>
          </a:bodyPr>
          <a:lstStyle>
            <a:lvl1pPr marL="0" indent="0" algn="ctr">
              <a:buNone/>
              <a:defRPr sz="3200">
                <a:solidFill>
                  <a:srgbClr val="50515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p:txBody>
          <a:bodyPr/>
          <a:lstStyle/>
          <a:p>
            <a:fld id="{5916FF65-E16B-BA4F-9591-6B4416106527}" type="datetimeFigureOut">
              <a:rPr lang="en-US" smtClean="0"/>
              <a:t>4/24/26</a:t>
            </a:fld>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1206359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sz="2400" b="1" i="0">
                <a:solidFill>
                  <a:srgbClr val="585353"/>
                </a:solidFill>
                <a:latin typeface="Trebuchet MS"/>
                <a:cs typeface="Trebuchet MS"/>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sz="1800" b="0" i="0">
                <a:solidFill>
                  <a:srgbClr val="585353"/>
                </a:solidFill>
                <a:latin typeface="Trebuchet MS"/>
                <a:cs typeface="Trebuchet MS"/>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4/26</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2227741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585353"/>
                </a:solidFill>
                <a:latin typeface="Trebuchet MS"/>
                <a:cs typeface="Trebuchet MS"/>
              </a:defRPr>
            </a:lvl1pPr>
          </a:lstStyle>
          <a:p>
            <a:endParaRPr/>
          </a:p>
        </p:txBody>
      </p:sp>
      <p:sp>
        <p:nvSpPr>
          <p:cNvPr id="3" name="Holder 3"/>
          <p:cNvSpPr>
            <a:spLocks noGrp="1"/>
          </p:cNvSpPr>
          <p:nvPr>
            <p:ph type="body" idx="1"/>
          </p:nvPr>
        </p:nvSpPr>
        <p:spPr/>
        <p:txBody>
          <a:bodyPr lIns="0" tIns="0" rIns="0" bIns="0"/>
          <a:lstStyle>
            <a:lvl1pPr>
              <a:defRPr sz="1800" b="0" i="0">
                <a:solidFill>
                  <a:srgbClr val="585353"/>
                </a:solidFill>
                <a:latin typeface="Trebuchet MS"/>
                <a:cs typeface="Trebuchet MS"/>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4/26</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068419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585353"/>
                </a:solidFill>
                <a:latin typeface="Trebuchet MS"/>
                <a:cs typeface="Trebuchet MS"/>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4/26</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8180766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265175" y="6252971"/>
            <a:ext cx="11621770" cy="0"/>
          </a:xfrm>
          <a:custGeom>
            <a:avLst/>
            <a:gdLst/>
            <a:ahLst/>
            <a:cxnLst/>
            <a:rect l="l" t="t" r="r" b="b"/>
            <a:pathLst>
              <a:path w="11621770">
                <a:moveTo>
                  <a:pt x="0" y="0"/>
                </a:moveTo>
                <a:lnTo>
                  <a:pt x="11621770" y="0"/>
                </a:lnTo>
              </a:path>
            </a:pathLst>
          </a:custGeom>
          <a:ln w="6350">
            <a:solidFill>
              <a:srgbClr val="000000"/>
            </a:solidFill>
          </a:ln>
        </p:spPr>
        <p:txBody>
          <a:bodyPr wrap="square" lIns="0" tIns="0" rIns="0" bIns="0" rtlCol="0"/>
          <a:lstStyle/>
          <a:p>
            <a:endParaRPr/>
          </a:p>
        </p:txBody>
      </p:sp>
      <p:pic>
        <p:nvPicPr>
          <p:cNvPr id="17" name="bg object 17"/>
          <p:cNvPicPr/>
          <p:nvPr/>
        </p:nvPicPr>
        <p:blipFill>
          <a:blip r:embed="rId2" cstate="print"/>
          <a:stretch>
            <a:fillRect/>
          </a:stretch>
        </p:blipFill>
        <p:spPr>
          <a:xfrm>
            <a:off x="288595" y="6383480"/>
            <a:ext cx="710724" cy="345366"/>
          </a:xfrm>
          <a:prstGeom prst="rect">
            <a:avLst/>
          </a:prstGeom>
        </p:spPr>
      </p:pic>
      <p:sp>
        <p:nvSpPr>
          <p:cNvPr id="2" name="Holder 2"/>
          <p:cNvSpPr>
            <a:spLocks noGrp="1"/>
          </p:cNvSpPr>
          <p:nvPr>
            <p:ph type="title"/>
          </p:nvPr>
        </p:nvSpPr>
        <p:spPr/>
        <p:txBody>
          <a:bodyPr lIns="0" tIns="0" rIns="0" bIns="0"/>
          <a:lstStyle>
            <a:lvl1pPr>
              <a:defRPr sz="2400" b="1" i="0">
                <a:solidFill>
                  <a:srgbClr val="585353"/>
                </a:solidFill>
                <a:latin typeface="Trebuchet MS"/>
                <a:cs typeface="Trebuchet MS"/>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4/26</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4237580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4/26</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4026207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ver Slide Light SCRI">
    <p:bg>
      <p:bgPr>
        <a:solidFill>
          <a:schemeClr val="bg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0256AC81-C7C2-FF95-7FA1-EF745252FDFE}"/>
              </a:ext>
            </a:extLst>
          </p:cNvPr>
          <p:cNvPicPr>
            <a:picLocks noChangeAspect="1"/>
          </p:cNvPicPr>
          <p:nvPr userDrawn="1"/>
        </p:nvPicPr>
        <p:blipFill>
          <a:blip r:embed="rId2"/>
          <a:srcRect/>
          <a:stretch/>
        </p:blipFill>
        <p:spPr>
          <a:xfrm>
            <a:off x="2468" y="1389"/>
            <a:ext cx="12189532" cy="6856611"/>
          </a:xfrm>
          <a:prstGeom prst="rect">
            <a:avLst/>
          </a:prstGeom>
        </p:spPr>
      </p:pic>
      <p:sp>
        <p:nvSpPr>
          <p:cNvPr id="4" name="Text Placeholder 3">
            <a:extLst>
              <a:ext uri="{FF2B5EF4-FFF2-40B4-BE49-F238E27FC236}">
                <a16:creationId xmlns:a16="http://schemas.microsoft.com/office/drawing/2014/main" id="{CAC090BF-F266-6A44-0D17-A2F44A134AFF}"/>
              </a:ext>
            </a:extLst>
          </p:cNvPr>
          <p:cNvSpPr>
            <a:spLocks noGrp="1"/>
          </p:cNvSpPr>
          <p:nvPr>
            <p:ph type="body" sz="quarter" idx="10" hasCustomPrompt="1"/>
          </p:nvPr>
        </p:nvSpPr>
        <p:spPr>
          <a:xfrm>
            <a:off x="421341" y="2354199"/>
            <a:ext cx="7970306" cy="1370636"/>
          </a:xfrm>
        </p:spPr>
        <p:txBody>
          <a:bodyPr anchor="b"/>
          <a:lstStyle>
            <a:lvl1pPr marL="0" indent="0">
              <a:buNone/>
              <a:defRPr sz="4400"/>
            </a:lvl1pPr>
          </a:lstStyle>
          <a:p>
            <a:pPr lvl="0"/>
            <a:r>
              <a:rPr lang="en-US" dirty="0"/>
              <a:t>This is Your Presentation Cover Slide Headline – Light (SCRI)</a:t>
            </a:r>
          </a:p>
        </p:txBody>
      </p:sp>
      <p:sp>
        <p:nvSpPr>
          <p:cNvPr id="5" name="Text Placeholder 3">
            <a:extLst>
              <a:ext uri="{FF2B5EF4-FFF2-40B4-BE49-F238E27FC236}">
                <a16:creationId xmlns:a16="http://schemas.microsoft.com/office/drawing/2014/main" id="{B8E19A6A-A3CF-6BB4-F7AE-131D8A939291}"/>
              </a:ext>
            </a:extLst>
          </p:cNvPr>
          <p:cNvSpPr>
            <a:spLocks noGrp="1"/>
          </p:cNvSpPr>
          <p:nvPr>
            <p:ph type="body" sz="quarter" idx="11" hasCustomPrompt="1"/>
          </p:nvPr>
        </p:nvSpPr>
        <p:spPr>
          <a:xfrm>
            <a:off x="421340" y="3846823"/>
            <a:ext cx="7970307" cy="442789"/>
          </a:xfrm>
        </p:spPr>
        <p:txBody>
          <a:bodyPr/>
          <a:lstStyle>
            <a:lvl1pPr marL="0" indent="0">
              <a:buNone/>
              <a:defRPr sz="2400" b="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This is Your Sub-Headline</a:t>
            </a:r>
          </a:p>
        </p:txBody>
      </p:sp>
      <p:sp>
        <p:nvSpPr>
          <p:cNvPr id="3" name="Text Placeholder 3">
            <a:extLst>
              <a:ext uri="{FF2B5EF4-FFF2-40B4-BE49-F238E27FC236}">
                <a16:creationId xmlns:a16="http://schemas.microsoft.com/office/drawing/2014/main" id="{C3F912E7-0773-79BA-D9B6-F800CF098C0D}"/>
              </a:ext>
            </a:extLst>
          </p:cNvPr>
          <p:cNvSpPr>
            <a:spLocks noGrp="1"/>
          </p:cNvSpPr>
          <p:nvPr>
            <p:ph type="body" sz="quarter" idx="12" hasCustomPrompt="1"/>
          </p:nvPr>
        </p:nvSpPr>
        <p:spPr>
          <a:xfrm>
            <a:off x="421341" y="4501197"/>
            <a:ext cx="1741996" cy="338554"/>
          </a:xfrm>
        </p:spPr>
        <p:txBody>
          <a:bodyPr/>
          <a:lstStyle>
            <a:lvl1pPr marL="0" indent="0">
              <a:buNone/>
              <a:defRPr sz="1400" b="0">
                <a:solidFill>
                  <a:schemeClr val="accent6"/>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Month 202X</a:t>
            </a:r>
          </a:p>
        </p:txBody>
      </p:sp>
      <p:pic>
        <p:nvPicPr>
          <p:cNvPr id="6" name="Graphic 5">
            <a:extLst>
              <a:ext uri="{FF2B5EF4-FFF2-40B4-BE49-F238E27FC236}">
                <a16:creationId xmlns:a16="http://schemas.microsoft.com/office/drawing/2014/main" id="{583D2327-A41A-844E-23FD-AA625DF831A4}"/>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463838" y="5535423"/>
            <a:ext cx="2842072" cy="388660"/>
          </a:xfrm>
          <a:prstGeom prst="rect">
            <a:avLst/>
          </a:prstGeom>
        </p:spPr>
      </p:pic>
    </p:spTree>
    <p:extLst>
      <p:ext uri="{BB962C8B-B14F-4D97-AF65-F5344CB8AC3E}">
        <p14:creationId xmlns:p14="http://schemas.microsoft.com/office/powerpoint/2010/main" val="78081470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Divider Slide Light SCRI">
    <p:bg>
      <p:bgPr>
        <a:solidFill>
          <a:schemeClr val="bg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0256AC81-C7C2-FF95-7FA1-EF745252FDFE}"/>
              </a:ext>
            </a:extLst>
          </p:cNvPr>
          <p:cNvPicPr>
            <a:picLocks noChangeAspect="1"/>
          </p:cNvPicPr>
          <p:nvPr userDrawn="1"/>
        </p:nvPicPr>
        <p:blipFill>
          <a:blip r:embed="rId2"/>
          <a:srcRect/>
          <a:stretch/>
        </p:blipFill>
        <p:spPr>
          <a:xfrm>
            <a:off x="0" y="1387"/>
            <a:ext cx="12192000" cy="6858000"/>
          </a:xfrm>
          <a:prstGeom prst="rect">
            <a:avLst/>
          </a:prstGeom>
        </p:spPr>
      </p:pic>
      <p:sp>
        <p:nvSpPr>
          <p:cNvPr id="3" name="Text Placeholder 3">
            <a:extLst>
              <a:ext uri="{FF2B5EF4-FFF2-40B4-BE49-F238E27FC236}">
                <a16:creationId xmlns:a16="http://schemas.microsoft.com/office/drawing/2014/main" id="{90B90765-49D4-B798-EB23-03CC1F4C679D}"/>
              </a:ext>
            </a:extLst>
          </p:cNvPr>
          <p:cNvSpPr>
            <a:spLocks noGrp="1"/>
          </p:cNvSpPr>
          <p:nvPr>
            <p:ph type="body" sz="quarter" idx="10" hasCustomPrompt="1"/>
          </p:nvPr>
        </p:nvSpPr>
        <p:spPr>
          <a:xfrm>
            <a:off x="421340" y="2673233"/>
            <a:ext cx="6250923" cy="1128075"/>
          </a:xfrm>
        </p:spPr>
        <p:txBody>
          <a:bodyPr/>
          <a:lstStyle>
            <a:lvl1pPr marL="0" indent="0">
              <a:buNone/>
              <a:defRPr sz="3400">
                <a:solidFill>
                  <a:schemeClr val="tx1"/>
                </a:solidFill>
              </a:defRPr>
            </a:lvl1pPr>
          </a:lstStyle>
          <a:p>
            <a:pPr lvl="0"/>
            <a:r>
              <a:rPr lang="en-US" dirty="0"/>
              <a:t>This is Your Section Break Slide – Light (SCRI)</a:t>
            </a:r>
          </a:p>
        </p:txBody>
      </p:sp>
      <p:sp>
        <p:nvSpPr>
          <p:cNvPr id="5" name="TextBox 4">
            <a:extLst>
              <a:ext uri="{FF2B5EF4-FFF2-40B4-BE49-F238E27FC236}">
                <a16:creationId xmlns:a16="http://schemas.microsoft.com/office/drawing/2014/main" id="{79908C90-3955-5EF5-50C5-ADA0763B50DE}"/>
              </a:ext>
            </a:extLst>
          </p:cNvPr>
          <p:cNvSpPr txBox="1"/>
          <p:nvPr userDrawn="1"/>
        </p:nvSpPr>
        <p:spPr>
          <a:xfrm>
            <a:off x="2735465" y="6261766"/>
            <a:ext cx="2605404" cy="338554"/>
          </a:xfrm>
          <a:prstGeom prst="rect">
            <a:avLst/>
          </a:prstGeom>
          <a:noFill/>
        </p:spPr>
        <p:txBody>
          <a:bodyPr wrap="square" rtlCol="0">
            <a:spAutoFit/>
          </a:bodyPr>
          <a:lstStyle/>
          <a:p>
            <a:r>
              <a:rPr lang="en-US" sz="800" b="0" dirty="0">
                <a:solidFill>
                  <a:schemeClr val="tx1"/>
                </a:solidFill>
                <a:latin typeface="Arial" panose="020B0604020202020204" pitchFamily="34" charset="0"/>
                <a:cs typeface="Arial" panose="020B0604020202020204" pitchFamily="34" charset="0"/>
              </a:rPr>
              <a:t>CONFIDENTIAL – </a:t>
            </a:r>
            <a:r>
              <a:rPr lang="en-US" sz="800" dirty="0">
                <a:solidFill>
                  <a:schemeClr val="tx1"/>
                </a:solidFill>
                <a:latin typeface="Arial" panose="020B0604020202020204" pitchFamily="34" charset="0"/>
                <a:cs typeface="Arial" panose="020B0604020202020204" pitchFamily="34" charset="0"/>
              </a:rPr>
              <a:t>Contains proprietary information. Not intended for external distribution.</a:t>
            </a:r>
          </a:p>
        </p:txBody>
      </p:sp>
      <p:sp>
        <p:nvSpPr>
          <p:cNvPr id="4" name="TextBox 3">
            <a:extLst>
              <a:ext uri="{FF2B5EF4-FFF2-40B4-BE49-F238E27FC236}">
                <a16:creationId xmlns:a16="http://schemas.microsoft.com/office/drawing/2014/main" id="{78CE8E07-CAFE-F7DE-3EE1-55B612B46CB3}"/>
              </a:ext>
            </a:extLst>
          </p:cNvPr>
          <p:cNvSpPr txBox="1"/>
          <p:nvPr userDrawn="1"/>
        </p:nvSpPr>
        <p:spPr>
          <a:xfrm>
            <a:off x="11595295" y="6354099"/>
            <a:ext cx="341760" cy="246221"/>
          </a:xfrm>
          <a:prstGeom prst="rect">
            <a:avLst/>
          </a:prstGeom>
          <a:noFill/>
        </p:spPr>
        <p:txBody>
          <a:bodyPr wrap="none" rtlCol="0">
            <a:spAutoFit/>
          </a:bodyPr>
          <a:lstStyle/>
          <a:p>
            <a:fld id="{6A63AF19-6634-4843-A9EE-3D2E6FC63B6A}" type="slidenum">
              <a:rPr lang="en-US" sz="1000" smtClean="0"/>
              <a:pPr/>
              <a:t>‹#›</a:t>
            </a:fld>
            <a:endParaRPr lang="en-US" sz="1000" dirty="0"/>
          </a:p>
        </p:txBody>
      </p:sp>
      <p:pic>
        <p:nvPicPr>
          <p:cNvPr id="2" name="Graphic 1">
            <a:extLst>
              <a:ext uri="{FF2B5EF4-FFF2-40B4-BE49-F238E27FC236}">
                <a16:creationId xmlns:a16="http://schemas.microsoft.com/office/drawing/2014/main" id="{4E6AED47-D6C1-8FE3-4F8C-CA662F9F2963}"/>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464000" y="6296749"/>
            <a:ext cx="1964025" cy="268585"/>
          </a:xfrm>
          <a:prstGeom prst="rect">
            <a:avLst/>
          </a:prstGeom>
        </p:spPr>
      </p:pic>
    </p:spTree>
    <p:extLst>
      <p:ext uri="{BB962C8B-B14F-4D97-AF65-F5344CB8AC3E}">
        <p14:creationId xmlns:p14="http://schemas.microsoft.com/office/powerpoint/2010/main" val="333378490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over Slide Light SMO">
    <p:bg>
      <p:bgPr>
        <a:solidFill>
          <a:schemeClr val="bg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0256AC81-C7C2-FF95-7FA1-EF745252FDFE}"/>
              </a:ext>
            </a:extLst>
          </p:cNvPr>
          <p:cNvPicPr>
            <a:picLocks noChangeAspect="1"/>
          </p:cNvPicPr>
          <p:nvPr userDrawn="1"/>
        </p:nvPicPr>
        <p:blipFill>
          <a:blip r:embed="rId2"/>
          <a:srcRect/>
          <a:stretch/>
        </p:blipFill>
        <p:spPr>
          <a:xfrm>
            <a:off x="2467" y="1388"/>
            <a:ext cx="12189530" cy="6856611"/>
          </a:xfrm>
          <a:prstGeom prst="rect">
            <a:avLst/>
          </a:prstGeom>
        </p:spPr>
      </p:pic>
      <p:sp>
        <p:nvSpPr>
          <p:cNvPr id="4" name="Text Placeholder 3">
            <a:extLst>
              <a:ext uri="{FF2B5EF4-FFF2-40B4-BE49-F238E27FC236}">
                <a16:creationId xmlns:a16="http://schemas.microsoft.com/office/drawing/2014/main" id="{CAC090BF-F266-6A44-0D17-A2F44A134AFF}"/>
              </a:ext>
            </a:extLst>
          </p:cNvPr>
          <p:cNvSpPr>
            <a:spLocks noGrp="1"/>
          </p:cNvSpPr>
          <p:nvPr>
            <p:ph type="body" sz="quarter" idx="10" hasCustomPrompt="1"/>
          </p:nvPr>
        </p:nvSpPr>
        <p:spPr>
          <a:xfrm>
            <a:off x="421341" y="2354199"/>
            <a:ext cx="7970306" cy="1370636"/>
          </a:xfrm>
        </p:spPr>
        <p:txBody>
          <a:bodyPr anchor="b"/>
          <a:lstStyle>
            <a:lvl1pPr marL="0" indent="0">
              <a:buNone/>
              <a:defRPr sz="4400">
                <a:solidFill>
                  <a:schemeClr val="accent5"/>
                </a:solidFill>
              </a:defRPr>
            </a:lvl1pPr>
          </a:lstStyle>
          <a:p>
            <a:pPr lvl="0"/>
            <a:r>
              <a:rPr lang="en-US" dirty="0"/>
              <a:t>This is Your Presentation Cover Slide Headline – Light (SMO)</a:t>
            </a:r>
          </a:p>
        </p:txBody>
      </p:sp>
      <p:sp>
        <p:nvSpPr>
          <p:cNvPr id="5" name="Text Placeholder 3">
            <a:extLst>
              <a:ext uri="{FF2B5EF4-FFF2-40B4-BE49-F238E27FC236}">
                <a16:creationId xmlns:a16="http://schemas.microsoft.com/office/drawing/2014/main" id="{B8E19A6A-A3CF-6BB4-F7AE-131D8A939291}"/>
              </a:ext>
            </a:extLst>
          </p:cNvPr>
          <p:cNvSpPr>
            <a:spLocks noGrp="1"/>
          </p:cNvSpPr>
          <p:nvPr>
            <p:ph type="body" sz="quarter" idx="11" hasCustomPrompt="1"/>
          </p:nvPr>
        </p:nvSpPr>
        <p:spPr>
          <a:xfrm>
            <a:off x="421340" y="3846823"/>
            <a:ext cx="7970307" cy="442789"/>
          </a:xfrm>
        </p:spPr>
        <p:txBody>
          <a:bodyPr/>
          <a:lstStyle>
            <a:lvl1pPr marL="0" indent="0">
              <a:buNone/>
              <a:defRPr sz="2400" b="0">
                <a:solidFill>
                  <a:schemeClr val="accent5"/>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This is Your Sub-Headline</a:t>
            </a:r>
          </a:p>
        </p:txBody>
      </p:sp>
      <p:sp>
        <p:nvSpPr>
          <p:cNvPr id="2" name="Text Placeholder 3">
            <a:extLst>
              <a:ext uri="{FF2B5EF4-FFF2-40B4-BE49-F238E27FC236}">
                <a16:creationId xmlns:a16="http://schemas.microsoft.com/office/drawing/2014/main" id="{EEF85F0D-B1C6-5488-260D-01BD8DF5D765}"/>
              </a:ext>
            </a:extLst>
          </p:cNvPr>
          <p:cNvSpPr>
            <a:spLocks noGrp="1"/>
          </p:cNvSpPr>
          <p:nvPr>
            <p:ph type="body" sz="quarter" idx="13" hasCustomPrompt="1"/>
          </p:nvPr>
        </p:nvSpPr>
        <p:spPr>
          <a:xfrm>
            <a:off x="421341" y="4501197"/>
            <a:ext cx="1741996" cy="338554"/>
          </a:xfrm>
        </p:spPr>
        <p:txBody>
          <a:bodyPr/>
          <a:lstStyle>
            <a:lvl1pPr marL="0" indent="0">
              <a:buNone/>
              <a:defRPr sz="1400" b="0">
                <a:solidFill>
                  <a:schemeClr val="accent6"/>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Month 202X</a:t>
            </a:r>
          </a:p>
        </p:txBody>
      </p:sp>
      <p:pic>
        <p:nvPicPr>
          <p:cNvPr id="3" name="Graphic 2">
            <a:extLst>
              <a:ext uri="{FF2B5EF4-FFF2-40B4-BE49-F238E27FC236}">
                <a16:creationId xmlns:a16="http://schemas.microsoft.com/office/drawing/2014/main" id="{BF81726E-E4FE-4A66-D43A-B653B666C53A}"/>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463838" y="5535423"/>
            <a:ext cx="2842072" cy="388660"/>
          </a:xfrm>
          <a:prstGeom prst="rect">
            <a:avLst/>
          </a:prstGeom>
        </p:spPr>
      </p:pic>
    </p:spTree>
    <p:extLst>
      <p:ext uri="{BB962C8B-B14F-4D97-AF65-F5344CB8AC3E}">
        <p14:creationId xmlns:p14="http://schemas.microsoft.com/office/powerpoint/2010/main" val="286592413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ivider Slide Light SMO">
    <p:bg>
      <p:bgPr>
        <a:solidFill>
          <a:schemeClr val="bg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0256AC81-C7C2-FF95-7FA1-EF745252FDFE}"/>
              </a:ext>
            </a:extLst>
          </p:cNvPr>
          <p:cNvPicPr>
            <a:picLocks noChangeAspect="1"/>
          </p:cNvPicPr>
          <p:nvPr userDrawn="1"/>
        </p:nvPicPr>
        <p:blipFill>
          <a:blip r:embed="rId2"/>
          <a:srcRect/>
          <a:stretch/>
        </p:blipFill>
        <p:spPr>
          <a:xfrm>
            <a:off x="0" y="1387"/>
            <a:ext cx="12192000" cy="6858000"/>
          </a:xfrm>
          <a:prstGeom prst="rect">
            <a:avLst/>
          </a:prstGeom>
        </p:spPr>
      </p:pic>
      <p:sp>
        <p:nvSpPr>
          <p:cNvPr id="3" name="Text Placeholder 3">
            <a:extLst>
              <a:ext uri="{FF2B5EF4-FFF2-40B4-BE49-F238E27FC236}">
                <a16:creationId xmlns:a16="http://schemas.microsoft.com/office/drawing/2014/main" id="{90B90765-49D4-B798-EB23-03CC1F4C679D}"/>
              </a:ext>
            </a:extLst>
          </p:cNvPr>
          <p:cNvSpPr>
            <a:spLocks noGrp="1"/>
          </p:cNvSpPr>
          <p:nvPr>
            <p:ph type="body" sz="quarter" idx="10" hasCustomPrompt="1"/>
          </p:nvPr>
        </p:nvSpPr>
        <p:spPr>
          <a:xfrm>
            <a:off x="421340" y="2673233"/>
            <a:ext cx="6250923" cy="1128075"/>
          </a:xfrm>
        </p:spPr>
        <p:txBody>
          <a:bodyPr/>
          <a:lstStyle>
            <a:lvl1pPr marL="0" indent="0">
              <a:buNone/>
              <a:defRPr sz="3400">
                <a:solidFill>
                  <a:schemeClr val="tx1"/>
                </a:solidFill>
              </a:defRPr>
            </a:lvl1pPr>
          </a:lstStyle>
          <a:p>
            <a:pPr lvl="0"/>
            <a:r>
              <a:rPr lang="en-US" dirty="0"/>
              <a:t>This is Your Section Break Slide – Light (SMO)</a:t>
            </a:r>
          </a:p>
        </p:txBody>
      </p:sp>
      <p:sp>
        <p:nvSpPr>
          <p:cNvPr id="5" name="TextBox 4">
            <a:extLst>
              <a:ext uri="{FF2B5EF4-FFF2-40B4-BE49-F238E27FC236}">
                <a16:creationId xmlns:a16="http://schemas.microsoft.com/office/drawing/2014/main" id="{79908C90-3955-5EF5-50C5-ADA0763B50DE}"/>
              </a:ext>
            </a:extLst>
          </p:cNvPr>
          <p:cNvSpPr txBox="1"/>
          <p:nvPr userDrawn="1"/>
        </p:nvSpPr>
        <p:spPr>
          <a:xfrm>
            <a:off x="2735465" y="6261766"/>
            <a:ext cx="2605404" cy="338554"/>
          </a:xfrm>
          <a:prstGeom prst="rect">
            <a:avLst/>
          </a:prstGeom>
          <a:noFill/>
        </p:spPr>
        <p:txBody>
          <a:bodyPr wrap="square" rtlCol="0">
            <a:spAutoFit/>
          </a:bodyPr>
          <a:lstStyle/>
          <a:p>
            <a:r>
              <a:rPr lang="en-US" sz="800" b="0" dirty="0">
                <a:solidFill>
                  <a:schemeClr val="tx1"/>
                </a:solidFill>
                <a:latin typeface="Arial" panose="020B0604020202020204" pitchFamily="34" charset="0"/>
                <a:cs typeface="Arial" panose="020B0604020202020204" pitchFamily="34" charset="0"/>
              </a:rPr>
              <a:t>CONFIDENTIAL – </a:t>
            </a:r>
            <a:r>
              <a:rPr lang="en-US" sz="800" dirty="0">
                <a:solidFill>
                  <a:schemeClr val="tx1"/>
                </a:solidFill>
                <a:latin typeface="Arial" panose="020B0604020202020204" pitchFamily="34" charset="0"/>
                <a:cs typeface="Arial" panose="020B0604020202020204" pitchFamily="34" charset="0"/>
              </a:rPr>
              <a:t>Contains proprietary information. Not intended for external distribution.</a:t>
            </a:r>
          </a:p>
        </p:txBody>
      </p:sp>
      <p:sp>
        <p:nvSpPr>
          <p:cNvPr id="4" name="TextBox 3">
            <a:extLst>
              <a:ext uri="{FF2B5EF4-FFF2-40B4-BE49-F238E27FC236}">
                <a16:creationId xmlns:a16="http://schemas.microsoft.com/office/drawing/2014/main" id="{B6D0E21D-833D-44F3-39BC-BBE14EF7D10F}"/>
              </a:ext>
            </a:extLst>
          </p:cNvPr>
          <p:cNvSpPr txBox="1"/>
          <p:nvPr userDrawn="1"/>
        </p:nvSpPr>
        <p:spPr>
          <a:xfrm>
            <a:off x="11595295" y="6354099"/>
            <a:ext cx="341760" cy="246221"/>
          </a:xfrm>
          <a:prstGeom prst="rect">
            <a:avLst/>
          </a:prstGeom>
          <a:noFill/>
        </p:spPr>
        <p:txBody>
          <a:bodyPr wrap="none" rtlCol="0">
            <a:spAutoFit/>
          </a:bodyPr>
          <a:lstStyle/>
          <a:p>
            <a:fld id="{6A63AF19-6634-4843-A9EE-3D2E6FC63B6A}" type="slidenum">
              <a:rPr lang="en-US" sz="1000" smtClean="0"/>
              <a:pPr/>
              <a:t>‹#›</a:t>
            </a:fld>
            <a:endParaRPr lang="en-US" sz="1000" dirty="0"/>
          </a:p>
        </p:txBody>
      </p:sp>
      <p:pic>
        <p:nvPicPr>
          <p:cNvPr id="6" name="Graphic 5">
            <a:extLst>
              <a:ext uri="{FF2B5EF4-FFF2-40B4-BE49-F238E27FC236}">
                <a16:creationId xmlns:a16="http://schemas.microsoft.com/office/drawing/2014/main" id="{1C7CD658-D3D9-F07F-3F51-53AA85E87185}"/>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464000" y="6296749"/>
            <a:ext cx="1964025" cy="268585"/>
          </a:xfrm>
          <a:prstGeom prst="rect">
            <a:avLst/>
          </a:prstGeom>
        </p:spPr>
      </p:pic>
    </p:spTree>
    <p:extLst>
      <p:ext uri="{BB962C8B-B14F-4D97-AF65-F5344CB8AC3E}">
        <p14:creationId xmlns:p14="http://schemas.microsoft.com/office/powerpoint/2010/main" val="200537740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Text White">
    <p:spTree>
      <p:nvGrpSpPr>
        <p:cNvPr id="1" name=""/>
        <p:cNvGrpSpPr/>
        <p:nvPr/>
      </p:nvGrpSpPr>
      <p:grpSpPr>
        <a:xfrm>
          <a:off x="0" y="0"/>
          <a:ext cx="0" cy="0"/>
          <a:chOff x="0" y="0"/>
          <a:chExt cx="0" cy="0"/>
        </a:xfrm>
      </p:grpSpPr>
      <p:sp>
        <p:nvSpPr>
          <p:cNvPr id="8" name="Title Placeholder 15">
            <a:extLst>
              <a:ext uri="{FF2B5EF4-FFF2-40B4-BE49-F238E27FC236}">
                <a16:creationId xmlns:a16="http://schemas.microsoft.com/office/drawing/2014/main" id="{9F7DCE49-9C18-575F-EE06-2A0BB5527DC2}"/>
              </a:ext>
            </a:extLst>
          </p:cNvPr>
          <p:cNvSpPr>
            <a:spLocks noGrp="1"/>
          </p:cNvSpPr>
          <p:nvPr>
            <p:ph type="title" hasCustomPrompt="1"/>
          </p:nvPr>
        </p:nvSpPr>
        <p:spPr>
          <a:xfrm>
            <a:off x="421340" y="394634"/>
            <a:ext cx="11344835" cy="704257"/>
          </a:xfrm>
          <a:prstGeom prst="rect">
            <a:avLst/>
          </a:prstGeom>
        </p:spPr>
        <p:txBody>
          <a:bodyPr vert="horz" lIns="91440" tIns="45720" rIns="91440" bIns="45720" rtlCol="0" anchor="t" anchorCtr="0">
            <a:noAutofit/>
          </a:bodyPr>
          <a:lstStyle>
            <a:lvl1pPr>
              <a:defRPr sz="3600"/>
            </a:lvl1pPr>
          </a:lstStyle>
          <a:p>
            <a:r>
              <a:rPr lang="en-US" dirty="0"/>
              <a:t>Title Placement</a:t>
            </a:r>
          </a:p>
        </p:txBody>
      </p:sp>
      <p:sp>
        <p:nvSpPr>
          <p:cNvPr id="12" name="Text Placeholder 17">
            <a:extLst>
              <a:ext uri="{FF2B5EF4-FFF2-40B4-BE49-F238E27FC236}">
                <a16:creationId xmlns:a16="http://schemas.microsoft.com/office/drawing/2014/main" id="{D98DF1C9-1835-F786-0800-24087C95E10B}"/>
              </a:ext>
            </a:extLst>
          </p:cNvPr>
          <p:cNvSpPr>
            <a:spLocks noGrp="1"/>
          </p:cNvSpPr>
          <p:nvPr>
            <p:ph idx="1"/>
          </p:nvPr>
        </p:nvSpPr>
        <p:spPr>
          <a:xfrm>
            <a:off x="430212" y="1317624"/>
            <a:ext cx="11363325" cy="4720103"/>
          </a:xfrm>
          <a:prstGeom prst="rect">
            <a:avLst/>
          </a:prstGeom>
        </p:spPr>
        <p:txBody>
          <a:bodyPr vert="horz" lIns="91440" tIns="45720" rIns="91440" bIns="45720" rtlCol="0">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38070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defRPr sz="3200"/>
            </a:lvl1pPr>
            <a:lvl2pPr>
              <a:defRPr sz="2800"/>
            </a:lvl2pPr>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4899588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Mission Statem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E141562-E9F8-B54B-61CE-7CDCF49E19BA}"/>
              </a:ext>
            </a:extLst>
          </p:cNvPr>
          <p:cNvSpPr/>
          <p:nvPr userDrawn="1"/>
        </p:nvSpPr>
        <p:spPr>
          <a:xfrm>
            <a:off x="7227518" y="5968652"/>
            <a:ext cx="4634630" cy="8893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4" name="Picture 3">
            <a:extLst>
              <a:ext uri="{FF2B5EF4-FFF2-40B4-BE49-F238E27FC236}">
                <a16:creationId xmlns:a16="http://schemas.microsoft.com/office/drawing/2014/main" id="{3D370614-7FC8-F209-54D6-E794289B81BB}"/>
              </a:ext>
            </a:extLst>
          </p:cNvPr>
          <p:cNvPicPr>
            <a:picLocks noChangeAspect="1"/>
          </p:cNvPicPr>
          <p:nvPr userDrawn="1"/>
        </p:nvPicPr>
        <p:blipFill>
          <a:blip r:embed="rId2"/>
          <a:srcRect/>
          <a:stretch/>
        </p:blipFill>
        <p:spPr>
          <a:xfrm>
            <a:off x="2470" y="1389"/>
            <a:ext cx="12189530" cy="6856611"/>
          </a:xfrm>
          <a:prstGeom prst="rect">
            <a:avLst/>
          </a:prstGeom>
        </p:spPr>
      </p:pic>
      <p:sp>
        <p:nvSpPr>
          <p:cNvPr id="8" name="Title Placeholder 15">
            <a:extLst>
              <a:ext uri="{FF2B5EF4-FFF2-40B4-BE49-F238E27FC236}">
                <a16:creationId xmlns:a16="http://schemas.microsoft.com/office/drawing/2014/main" id="{9F7DCE49-9C18-575F-EE06-2A0BB5527DC2}"/>
              </a:ext>
            </a:extLst>
          </p:cNvPr>
          <p:cNvSpPr>
            <a:spLocks noGrp="1"/>
          </p:cNvSpPr>
          <p:nvPr>
            <p:ph type="title" hasCustomPrompt="1"/>
          </p:nvPr>
        </p:nvSpPr>
        <p:spPr>
          <a:xfrm>
            <a:off x="1193808" y="1778246"/>
            <a:ext cx="9799898" cy="704257"/>
          </a:xfrm>
          <a:prstGeom prst="rect">
            <a:avLst/>
          </a:prstGeom>
        </p:spPr>
        <p:txBody>
          <a:bodyPr vert="horz" lIns="91440" tIns="45720" rIns="91440" bIns="45720" rtlCol="0" anchor="t" anchorCtr="0">
            <a:noAutofit/>
          </a:bodyPr>
          <a:lstStyle>
            <a:lvl1pPr algn="l">
              <a:defRPr/>
            </a:lvl1pPr>
          </a:lstStyle>
          <a:p>
            <a:r>
              <a:rPr lang="en-US" dirty="0"/>
              <a:t>Our Mission</a:t>
            </a:r>
          </a:p>
        </p:txBody>
      </p:sp>
      <p:sp>
        <p:nvSpPr>
          <p:cNvPr id="5" name="TextBox 4">
            <a:extLst>
              <a:ext uri="{FF2B5EF4-FFF2-40B4-BE49-F238E27FC236}">
                <a16:creationId xmlns:a16="http://schemas.microsoft.com/office/drawing/2014/main" id="{A5ED8BF2-55FB-6901-F9A1-1636BC0BF94C}"/>
              </a:ext>
            </a:extLst>
          </p:cNvPr>
          <p:cNvSpPr txBox="1"/>
          <p:nvPr userDrawn="1"/>
        </p:nvSpPr>
        <p:spPr>
          <a:xfrm>
            <a:off x="2735465" y="6261766"/>
            <a:ext cx="2605404" cy="338554"/>
          </a:xfrm>
          <a:prstGeom prst="rect">
            <a:avLst/>
          </a:prstGeom>
          <a:noFill/>
        </p:spPr>
        <p:txBody>
          <a:bodyPr wrap="square" rtlCol="0">
            <a:spAutoFit/>
          </a:bodyPr>
          <a:lstStyle/>
          <a:p>
            <a:r>
              <a:rPr lang="en-US" sz="800" b="0" dirty="0">
                <a:solidFill>
                  <a:schemeClr val="tx1"/>
                </a:solidFill>
                <a:latin typeface="Arial" panose="020B0604020202020204" pitchFamily="34" charset="0"/>
                <a:cs typeface="Arial" panose="020B0604020202020204" pitchFamily="34" charset="0"/>
              </a:rPr>
              <a:t>CONFIDENTIAL – </a:t>
            </a:r>
            <a:r>
              <a:rPr lang="en-US" sz="800" dirty="0">
                <a:solidFill>
                  <a:schemeClr val="tx1"/>
                </a:solidFill>
                <a:latin typeface="Arial" panose="020B0604020202020204" pitchFamily="34" charset="0"/>
                <a:cs typeface="Arial" panose="020B0604020202020204" pitchFamily="34" charset="0"/>
              </a:rPr>
              <a:t>Contains proprietary information. Not intended for external distribution.</a:t>
            </a:r>
          </a:p>
        </p:txBody>
      </p:sp>
      <p:sp>
        <p:nvSpPr>
          <p:cNvPr id="7" name="Text Placeholder 6">
            <a:extLst>
              <a:ext uri="{FF2B5EF4-FFF2-40B4-BE49-F238E27FC236}">
                <a16:creationId xmlns:a16="http://schemas.microsoft.com/office/drawing/2014/main" id="{1E778582-B6FD-68C9-472C-9FCEBE0F8973}"/>
              </a:ext>
            </a:extLst>
          </p:cNvPr>
          <p:cNvSpPr>
            <a:spLocks noGrp="1"/>
          </p:cNvSpPr>
          <p:nvPr>
            <p:ph type="body" sz="quarter" idx="11" hasCustomPrompt="1"/>
          </p:nvPr>
        </p:nvSpPr>
        <p:spPr>
          <a:xfrm>
            <a:off x="1193808" y="2649849"/>
            <a:ext cx="9364663" cy="1725649"/>
          </a:xfrm>
        </p:spPr>
        <p:txBody>
          <a:bodyPr/>
          <a:lstStyle>
            <a:lvl1pPr>
              <a:defRPr b="0"/>
            </a:lvl1pPr>
          </a:lstStyle>
          <a:p>
            <a:pPr lvl="0"/>
            <a:r>
              <a:rPr lang="en-US" dirty="0"/>
              <a:t>People who face cancer are at the heart of every decision we make. SCRI is transforming cancer care around the world by collaborating with scientific partners, physicians, and patients to advance cutting-edge research.</a:t>
            </a:r>
          </a:p>
        </p:txBody>
      </p:sp>
      <p:sp>
        <p:nvSpPr>
          <p:cNvPr id="2" name="TextBox 1">
            <a:extLst>
              <a:ext uri="{FF2B5EF4-FFF2-40B4-BE49-F238E27FC236}">
                <a16:creationId xmlns:a16="http://schemas.microsoft.com/office/drawing/2014/main" id="{67C7FC81-D76A-34F7-3791-98DE0E05B310}"/>
              </a:ext>
            </a:extLst>
          </p:cNvPr>
          <p:cNvSpPr txBox="1"/>
          <p:nvPr userDrawn="1"/>
        </p:nvSpPr>
        <p:spPr>
          <a:xfrm>
            <a:off x="11595295" y="6354099"/>
            <a:ext cx="341760" cy="246221"/>
          </a:xfrm>
          <a:prstGeom prst="rect">
            <a:avLst/>
          </a:prstGeom>
          <a:noFill/>
        </p:spPr>
        <p:txBody>
          <a:bodyPr wrap="none" rtlCol="0">
            <a:spAutoFit/>
          </a:bodyPr>
          <a:lstStyle/>
          <a:p>
            <a:fld id="{6A63AF19-6634-4843-A9EE-3D2E6FC63B6A}" type="slidenum">
              <a:rPr lang="en-US" sz="1000" smtClean="0">
                <a:solidFill>
                  <a:schemeClr val="bg1"/>
                </a:solidFill>
              </a:rPr>
              <a:pPr/>
              <a:t>‹#›</a:t>
            </a:fld>
            <a:endParaRPr lang="en-US" sz="1000" dirty="0">
              <a:solidFill>
                <a:schemeClr val="bg1"/>
              </a:solidFill>
            </a:endParaRPr>
          </a:p>
        </p:txBody>
      </p:sp>
      <p:pic>
        <p:nvPicPr>
          <p:cNvPr id="3" name="Graphic 2">
            <a:extLst>
              <a:ext uri="{FF2B5EF4-FFF2-40B4-BE49-F238E27FC236}">
                <a16:creationId xmlns:a16="http://schemas.microsoft.com/office/drawing/2014/main" id="{9C0EDD6E-CC74-9ED7-7D0C-28A69C1A3430}"/>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464000" y="6296749"/>
            <a:ext cx="1964025" cy="268585"/>
          </a:xfrm>
          <a:prstGeom prst="rect">
            <a:avLst/>
          </a:prstGeom>
        </p:spPr>
      </p:pic>
    </p:spTree>
    <p:extLst>
      <p:ext uri="{BB962C8B-B14F-4D97-AF65-F5344CB8AC3E}">
        <p14:creationId xmlns:p14="http://schemas.microsoft.com/office/powerpoint/2010/main" val="405171015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E141562-E9F8-B54B-61CE-7CDCF49E19BA}"/>
              </a:ext>
            </a:extLst>
          </p:cNvPr>
          <p:cNvSpPr/>
          <p:nvPr userDrawn="1"/>
        </p:nvSpPr>
        <p:spPr>
          <a:xfrm>
            <a:off x="7227518" y="5968652"/>
            <a:ext cx="4634630" cy="8893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4" name="Picture 3">
            <a:extLst>
              <a:ext uri="{FF2B5EF4-FFF2-40B4-BE49-F238E27FC236}">
                <a16:creationId xmlns:a16="http://schemas.microsoft.com/office/drawing/2014/main" id="{3D370614-7FC8-F209-54D6-E794289B81BB}"/>
              </a:ext>
            </a:extLst>
          </p:cNvPr>
          <p:cNvPicPr>
            <a:picLocks noChangeAspect="1"/>
          </p:cNvPicPr>
          <p:nvPr userDrawn="1"/>
        </p:nvPicPr>
        <p:blipFill>
          <a:blip r:embed="rId2"/>
          <a:srcRect/>
          <a:stretch/>
        </p:blipFill>
        <p:spPr>
          <a:xfrm>
            <a:off x="2467" y="1388"/>
            <a:ext cx="12189530" cy="6856610"/>
          </a:xfrm>
          <a:prstGeom prst="rect">
            <a:avLst/>
          </a:prstGeom>
        </p:spPr>
      </p:pic>
      <p:sp>
        <p:nvSpPr>
          <p:cNvPr id="5" name="TextBox 4">
            <a:extLst>
              <a:ext uri="{FF2B5EF4-FFF2-40B4-BE49-F238E27FC236}">
                <a16:creationId xmlns:a16="http://schemas.microsoft.com/office/drawing/2014/main" id="{A5ED8BF2-55FB-6901-F9A1-1636BC0BF94C}"/>
              </a:ext>
            </a:extLst>
          </p:cNvPr>
          <p:cNvSpPr txBox="1"/>
          <p:nvPr userDrawn="1"/>
        </p:nvSpPr>
        <p:spPr>
          <a:xfrm>
            <a:off x="2735465" y="6261766"/>
            <a:ext cx="2605404" cy="338554"/>
          </a:xfrm>
          <a:prstGeom prst="rect">
            <a:avLst/>
          </a:prstGeom>
          <a:noFill/>
        </p:spPr>
        <p:txBody>
          <a:bodyPr wrap="square" rtlCol="0">
            <a:spAutoFit/>
          </a:bodyPr>
          <a:lstStyle/>
          <a:p>
            <a:r>
              <a:rPr lang="en-US" sz="800" b="0" dirty="0">
                <a:solidFill>
                  <a:schemeClr val="tx1"/>
                </a:solidFill>
                <a:latin typeface="Arial" panose="020B0604020202020204" pitchFamily="34" charset="0"/>
                <a:cs typeface="Arial" panose="020B0604020202020204" pitchFamily="34" charset="0"/>
              </a:rPr>
              <a:t>CONFIDENTIAL – </a:t>
            </a:r>
            <a:r>
              <a:rPr lang="en-US" sz="800" dirty="0">
                <a:solidFill>
                  <a:schemeClr val="tx1"/>
                </a:solidFill>
                <a:latin typeface="Arial" panose="020B0604020202020204" pitchFamily="34" charset="0"/>
                <a:cs typeface="Arial" panose="020B0604020202020204" pitchFamily="34" charset="0"/>
              </a:rPr>
              <a:t>Contains proprietary information. Not intended for external distribution.</a:t>
            </a:r>
          </a:p>
        </p:txBody>
      </p:sp>
      <p:sp>
        <p:nvSpPr>
          <p:cNvPr id="11" name="Text Placeholder 10">
            <a:extLst>
              <a:ext uri="{FF2B5EF4-FFF2-40B4-BE49-F238E27FC236}">
                <a16:creationId xmlns:a16="http://schemas.microsoft.com/office/drawing/2014/main" id="{553996E5-82B0-6E2C-6F72-DAD747C3F032}"/>
              </a:ext>
            </a:extLst>
          </p:cNvPr>
          <p:cNvSpPr>
            <a:spLocks noGrp="1"/>
          </p:cNvSpPr>
          <p:nvPr>
            <p:ph type="body" sz="quarter" idx="14" hasCustomPrompt="1"/>
          </p:nvPr>
        </p:nvSpPr>
        <p:spPr>
          <a:xfrm>
            <a:off x="1736731" y="4156251"/>
            <a:ext cx="4359269" cy="347250"/>
          </a:xfrm>
        </p:spPr>
        <p:txBody>
          <a:bodyPr/>
          <a:lstStyle>
            <a:lvl1pPr>
              <a:defRPr sz="2000" b="0" i="0">
                <a:latin typeface="Arial" panose="020B0604020202020204" pitchFamily="34" charset="0"/>
                <a:cs typeface="Arial" panose="020B0604020202020204" pitchFamily="34" charset="0"/>
              </a:defRPr>
            </a:lvl1pPr>
          </a:lstStyle>
          <a:p>
            <a:pPr lvl="0"/>
            <a:r>
              <a:rPr lang="en-US" dirty="0"/>
              <a:t>- Lorem Ipsum</a:t>
            </a:r>
          </a:p>
        </p:txBody>
      </p:sp>
      <p:sp>
        <p:nvSpPr>
          <p:cNvPr id="13" name="Text Placeholder 12">
            <a:extLst>
              <a:ext uri="{FF2B5EF4-FFF2-40B4-BE49-F238E27FC236}">
                <a16:creationId xmlns:a16="http://schemas.microsoft.com/office/drawing/2014/main" id="{9E8D156C-3945-7894-7198-981ED7F434C8}"/>
              </a:ext>
            </a:extLst>
          </p:cNvPr>
          <p:cNvSpPr>
            <a:spLocks noGrp="1"/>
          </p:cNvSpPr>
          <p:nvPr>
            <p:ph type="body" sz="quarter" idx="15" hasCustomPrompt="1"/>
          </p:nvPr>
        </p:nvSpPr>
        <p:spPr>
          <a:xfrm>
            <a:off x="1736731" y="2393015"/>
            <a:ext cx="6751637" cy="1525301"/>
          </a:xfrm>
        </p:spPr>
        <p:txBody>
          <a:bodyPr/>
          <a:lstStyle/>
          <a:p>
            <a:pPr lvl="0"/>
            <a:r>
              <a:rPr lang="en-US" dirty="0"/>
              <a:t>Your Quote lorem ipsum dolor sit </a:t>
            </a:r>
            <a:r>
              <a:rPr lang="en-US" dirty="0" err="1"/>
              <a:t>amet</a:t>
            </a:r>
            <a:r>
              <a:rPr lang="en-US" dirty="0"/>
              <a:t>, </a:t>
            </a:r>
            <a:r>
              <a:rPr lang="en-US" dirty="0" err="1"/>
              <a:t>conssectetuer</a:t>
            </a:r>
            <a:r>
              <a:rPr lang="en-US" dirty="0"/>
              <a:t> </a:t>
            </a:r>
            <a:r>
              <a:rPr lang="en-US" dirty="0" err="1"/>
              <a:t>adipiscing</a:t>
            </a:r>
            <a:r>
              <a:rPr lang="en-US" dirty="0"/>
              <a:t> </a:t>
            </a:r>
            <a:r>
              <a:rPr lang="en-US" dirty="0" err="1"/>
              <a:t>elit</a:t>
            </a:r>
            <a:r>
              <a:rPr lang="en-US" dirty="0"/>
              <a:t>, sed diam </a:t>
            </a:r>
            <a:r>
              <a:rPr lang="en-US" dirty="0" err="1"/>
              <a:t>nonummy</a:t>
            </a:r>
            <a:r>
              <a:rPr lang="en-US" dirty="0"/>
              <a:t> </a:t>
            </a:r>
            <a:r>
              <a:rPr lang="en-US" dirty="0" err="1"/>
              <a:t>nibh</a:t>
            </a:r>
            <a:r>
              <a:rPr lang="en-US" dirty="0"/>
              <a:t> </a:t>
            </a:r>
            <a:r>
              <a:rPr lang="en-US" dirty="0" err="1"/>
              <a:t>euismod</a:t>
            </a:r>
            <a:r>
              <a:rPr lang="en-US" dirty="0"/>
              <a:t> </a:t>
            </a:r>
            <a:r>
              <a:rPr lang="en-US" dirty="0" err="1"/>
              <a:t>tincideunt</a:t>
            </a:r>
            <a:r>
              <a:rPr lang="en-US" dirty="0"/>
              <a:t> </a:t>
            </a:r>
            <a:r>
              <a:rPr lang="en-US" dirty="0" err="1"/>
              <a:t>ut.</a:t>
            </a:r>
            <a:endParaRPr lang="en-US" dirty="0"/>
          </a:p>
        </p:txBody>
      </p:sp>
      <p:sp>
        <p:nvSpPr>
          <p:cNvPr id="2" name="TextBox 1">
            <a:extLst>
              <a:ext uri="{FF2B5EF4-FFF2-40B4-BE49-F238E27FC236}">
                <a16:creationId xmlns:a16="http://schemas.microsoft.com/office/drawing/2014/main" id="{3997621B-8729-D251-55AF-7C97DAB3FC1E}"/>
              </a:ext>
            </a:extLst>
          </p:cNvPr>
          <p:cNvSpPr txBox="1"/>
          <p:nvPr userDrawn="1"/>
        </p:nvSpPr>
        <p:spPr>
          <a:xfrm>
            <a:off x="11595295" y="6354099"/>
            <a:ext cx="341760" cy="246221"/>
          </a:xfrm>
          <a:prstGeom prst="rect">
            <a:avLst/>
          </a:prstGeom>
          <a:noFill/>
        </p:spPr>
        <p:txBody>
          <a:bodyPr wrap="none" rtlCol="0">
            <a:spAutoFit/>
          </a:bodyPr>
          <a:lstStyle/>
          <a:p>
            <a:fld id="{6A63AF19-6634-4843-A9EE-3D2E6FC63B6A}" type="slidenum">
              <a:rPr lang="en-US" sz="1000" smtClean="0">
                <a:solidFill>
                  <a:schemeClr val="bg1"/>
                </a:solidFill>
              </a:rPr>
              <a:pPr/>
              <a:t>‹#›</a:t>
            </a:fld>
            <a:endParaRPr lang="en-US" sz="1000" dirty="0">
              <a:solidFill>
                <a:schemeClr val="bg1"/>
              </a:solidFill>
            </a:endParaRPr>
          </a:p>
        </p:txBody>
      </p:sp>
      <p:pic>
        <p:nvPicPr>
          <p:cNvPr id="3" name="Graphic 2">
            <a:extLst>
              <a:ext uri="{FF2B5EF4-FFF2-40B4-BE49-F238E27FC236}">
                <a16:creationId xmlns:a16="http://schemas.microsoft.com/office/drawing/2014/main" id="{F2C6ACB0-4E94-0E64-18E9-88D68F802812}"/>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464000" y="6296749"/>
            <a:ext cx="1964025" cy="268585"/>
          </a:xfrm>
          <a:prstGeom prst="rect">
            <a:avLst/>
          </a:prstGeom>
        </p:spPr>
      </p:pic>
    </p:spTree>
    <p:extLst>
      <p:ext uri="{BB962C8B-B14F-4D97-AF65-F5344CB8AC3E}">
        <p14:creationId xmlns:p14="http://schemas.microsoft.com/office/powerpoint/2010/main" val="4102571065"/>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ontent and Quote 1 Slide">
    <p:spTree>
      <p:nvGrpSpPr>
        <p:cNvPr id="1" name=""/>
        <p:cNvGrpSpPr/>
        <p:nvPr/>
      </p:nvGrpSpPr>
      <p:grpSpPr>
        <a:xfrm>
          <a:off x="0" y="0"/>
          <a:ext cx="0" cy="0"/>
          <a:chOff x="0" y="0"/>
          <a:chExt cx="0" cy="0"/>
        </a:xfrm>
      </p:grpSpPr>
      <p:sp>
        <p:nvSpPr>
          <p:cNvPr id="4" name="Title Placeholder 15">
            <a:extLst>
              <a:ext uri="{FF2B5EF4-FFF2-40B4-BE49-F238E27FC236}">
                <a16:creationId xmlns:a16="http://schemas.microsoft.com/office/drawing/2014/main" id="{DF9C074A-6494-48EE-604F-0594D3079689}"/>
              </a:ext>
            </a:extLst>
          </p:cNvPr>
          <p:cNvSpPr>
            <a:spLocks noGrp="1"/>
          </p:cNvSpPr>
          <p:nvPr>
            <p:ph type="title" hasCustomPrompt="1"/>
          </p:nvPr>
        </p:nvSpPr>
        <p:spPr>
          <a:xfrm>
            <a:off x="421341" y="394634"/>
            <a:ext cx="6208060" cy="704257"/>
          </a:xfrm>
          <a:prstGeom prst="rect">
            <a:avLst/>
          </a:prstGeom>
        </p:spPr>
        <p:txBody>
          <a:bodyPr vert="horz" lIns="91440" tIns="45720" rIns="91440" bIns="45720" rtlCol="0" anchor="t" anchorCtr="0">
            <a:noAutofit/>
          </a:bodyPr>
          <a:lstStyle>
            <a:lvl1pPr>
              <a:defRPr sz="3600"/>
            </a:lvl1pPr>
          </a:lstStyle>
          <a:p>
            <a:r>
              <a:rPr lang="en-US" dirty="0"/>
              <a:t>Headline in Title Case</a:t>
            </a:r>
          </a:p>
        </p:txBody>
      </p:sp>
      <p:sp>
        <p:nvSpPr>
          <p:cNvPr id="29" name="Text Placeholder 3">
            <a:extLst>
              <a:ext uri="{FF2B5EF4-FFF2-40B4-BE49-F238E27FC236}">
                <a16:creationId xmlns:a16="http://schemas.microsoft.com/office/drawing/2014/main" id="{9ECC56F8-4314-D036-BF6B-3619DA9AC10D}"/>
              </a:ext>
            </a:extLst>
          </p:cNvPr>
          <p:cNvSpPr>
            <a:spLocks noGrp="1"/>
          </p:cNvSpPr>
          <p:nvPr>
            <p:ph type="body" sz="quarter" idx="26" hasCustomPrompt="1"/>
          </p:nvPr>
        </p:nvSpPr>
        <p:spPr>
          <a:xfrm>
            <a:off x="8246981" y="806784"/>
            <a:ext cx="3093370" cy="769790"/>
          </a:xfrm>
        </p:spPr>
        <p:txBody>
          <a:bodyPr/>
          <a:lstStyle>
            <a:lvl1pPr marL="0" indent="0">
              <a:buNone/>
              <a:defRPr sz="1350" b="1" i="0">
                <a:solidFill>
                  <a:schemeClr val="tx1"/>
                </a:solidFill>
                <a:latin typeface="Arial" panose="020B0604020202020204" pitchFamily="34" charset="0"/>
                <a:cs typeface="Arial" panose="020B0604020202020204" pitchFamily="34" charset="0"/>
              </a:defRPr>
            </a:lvl1pPr>
          </a:lstStyle>
          <a:p>
            <a:pPr lvl="0"/>
            <a:r>
              <a:rPr lang="en-US" dirty="0"/>
              <a:t>Your Quote lorem ipsum dolor sit </a:t>
            </a:r>
            <a:r>
              <a:rPr lang="en-US" dirty="0" err="1"/>
              <a:t>amet</a:t>
            </a:r>
            <a:r>
              <a:rPr lang="en-US" dirty="0"/>
              <a:t>, </a:t>
            </a:r>
            <a:r>
              <a:rPr lang="en-US" dirty="0" err="1"/>
              <a:t>conssectetuer</a:t>
            </a:r>
            <a:r>
              <a:rPr lang="en-US" dirty="0"/>
              <a:t> </a:t>
            </a:r>
            <a:r>
              <a:rPr lang="en-US" dirty="0" err="1"/>
              <a:t>adipiscing</a:t>
            </a:r>
            <a:r>
              <a:rPr lang="en-US" dirty="0"/>
              <a:t> </a:t>
            </a:r>
            <a:r>
              <a:rPr lang="en-US" dirty="0" err="1"/>
              <a:t>elit</a:t>
            </a:r>
            <a:r>
              <a:rPr lang="en-US" dirty="0"/>
              <a:t>, sed diam </a:t>
            </a:r>
            <a:r>
              <a:rPr lang="en-US" dirty="0" err="1"/>
              <a:t>nonummy</a:t>
            </a:r>
            <a:r>
              <a:rPr lang="en-US" dirty="0"/>
              <a:t> </a:t>
            </a:r>
            <a:r>
              <a:rPr lang="en-US" dirty="0" err="1"/>
              <a:t>nibh</a:t>
            </a:r>
            <a:r>
              <a:rPr lang="en-US" dirty="0"/>
              <a:t> </a:t>
            </a:r>
            <a:r>
              <a:rPr lang="en-US" dirty="0" err="1"/>
              <a:t>euismod</a:t>
            </a:r>
            <a:r>
              <a:rPr lang="en-US" dirty="0"/>
              <a:t> </a:t>
            </a:r>
            <a:r>
              <a:rPr lang="en-US" dirty="0" err="1"/>
              <a:t>tincideunt</a:t>
            </a:r>
            <a:r>
              <a:rPr lang="en-US" dirty="0"/>
              <a:t> </a:t>
            </a:r>
            <a:r>
              <a:rPr lang="en-US" dirty="0" err="1"/>
              <a:t>ut</a:t>
            </a:r>
            <a:r>
              <a:rPr lang="en-US" dirty="0"/>
              <a:t> </a:t>
            </a:r>
            <a:r>
              <a:rPr lang="en-US" dirty="0" err="1"/>
              <a:t>justo</a:t>
            </a:r>
            <a:r>
              <a:rPr lang="en-US" dirty="0"/>
              <a:t> </a:t>
            </a:r>
            <a:r>
              <a:rPr lang="en-US" dirty="0" err="1"/>
              <a:t>consectetur</a:t>
            </a:r>
            <a:r>
              <a:rPr lang="en-US" dirty="0"/>
              <a:t>.</a:t>
            </a:r>
          </a:p>
        </p:txBody>
      </p:sp>
      <p:sp>
        <p:nvSpPr>
          <p:cNvPr id="31" name="Text Placeholder 3">
            <a:extLst>
              <a:ext uri="{FF2B5EF4-FFF2-40B4-BE49-F238E27FC236}">
                <a16:creationId xmlns:a16="http://schemas.microsoft.com/office/drawing/2014/main" id="{F02093EB-64CE-8951-26D5-94D00F955CCE}"/>
              </a:ext>
            </a:extLst>
          </p:cNvPr>
          <p:cNvSpPr>
            <a:spLocks noGrp="1"/>
          </p:cNvSpPr>
          <p:nvPr>
            <p:ph type="body" sz="quarter" idx="13" hasCustomPrompt="1"/>
          </p:nvPr>
        </p:nvSpPr>
        <p:spPr>
          <a:xfrm>
            <a:off x="421340" y="2291865"/>
            <a:ext cx="6208060" cy="3627671"/>
          </a:xfrm>
        </p:spPr>
        <p:txBody>
          <a:bodyPr/>
          <a:lstStyle>
            <a:lvl1pPr marL="0" indent="0">
              <a:buNone/>
              <a:defRPr sz="1600" b="0" i="0">
                <a:solidFill>
                  <a:srgbClr val="6A768A"/>
                </a:solidFill>
                <a:latin typeface="Arial" panose="020B0604020202020204" pitchFamily="34" charset="0"/>
                <a:cs typeface="Arial" panose="020B0604020202020204"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sed diam </a:t>
            </a:r>
            <a:r>
              <a:rPr lang="en-US" dirty="0" err="1"/>
              <a:t>nonummy</a:t>
            </a:r>
            <a:r>
              <a:rPr lang="en-US" dirty="0"/>
              <a:t> </a:t>
            </a:r>
            <a:r>
              <a:rPr lang="en-US" dirty="0" err="1"/>
              <a:t>nibh</a:t>
            </a:r>
            <a:r>
              <a:rPr lang="en-US" dirty="0"/>
              <a:t> </a:t>
            </a:r>
            <a:r>
              <a:rPr lang="en-US" dirty="0" err="1"/>
              <a:t>euismod</a:t>
            </a:r>
            <a:r>
              <a:rPr lang="en-US" dirty="0"/>
              <a:t> </a:t>
            </a:r>
            <a:r>
              <a:rPr lang="en-US" dirty="0" err="1"/>
              <a:t>tincidunt</a:t>
            </a:r>
            <a:r>
              <a:rPr lang="en-US" dirty="0"/>
              <a:t> </a:t>
            </a:r>
            <a:r>
              <a:rPr lang="en-US" dirty="0" err="1"/>
              <a:t>ut</a:t>
            </a:r>
            <a:r>
              <a:rPr lang="en-US" dirty="0"/>
              <a:t> </a:t>
            </a:r>
            <a:r>
              <a:rPr lang="en-US" dirty="0" err="1"/>
              <a:t>laoreet</a:t>
            </a:r>
            <a:r>
              <a:rPr lang="en-US" dirty="0"/>
              <a:t> dolore magna </a:t>
            </a:r>
            <a:r>
              <a:rPr lang="en-US" dirty="0" err="1"/>
              <a:t>aliquam</a:t>
            </a:r>
            <a:r>
              <a:rPr lang="en-US" dirty="0"/>
              <a:t> </a:t>
            </a:r>
            <a:r>
              <a:rPr lang="en-US" dirty="0" err="1"/>
              <a:t>erat</a:t>
            </a:r>
            <a:r>
              <a:rPr lang="en-US" dirty="0"/>
              <a:t> </a:t>
            </a:r>
            <a:r>
              <a:rPr lang="en-US" dirty="0" err="1"/>
              <a:t>volutpat</a:t>
            </a:r>
            <a:r>
              <a:rPr lang="en-US" dirty="0"/>
              <a:t>. </a:t>
            </a:r>
            <a:r>
              <a:rPr lang="en-US" dirty="0" err="1"/>
              <a:t>Mivamus</a:t>
            </a:r>
            <a:r>
              <a:rPr lang="en-US" dirty="0"/>
              <a:t> vitae </a:t>
            </a:r>
            <a:r>
              <a:rPr lang="en-US" dirty="0" err="1"/>
              <a:t>dapibus</a:t>
            </a:r>
            <a:r>
              <a:rPr lang="en-US" dirty="0"/>
              <a:t> </a:t>
            </a:r>
            <a:r>
              <a:rPr lang="en-US" dirty="0" err="1"/>
              <a:t>neque</a:t>
            </a:r>
            <a:r>
              <a:rPr lang="en-US" dirty="0"/>
              <a:t>. Nunc </a:t>
            </a:r>
            <a:r>
              <a:rPr lang="en-US" dirty="0" err="1"/>
              <a:t>sodales</a:t>
            </a:r>
            <a:r>
              <a:rPr lang="en-US" dirty="0"/>
              <a:t> </a:t>
            </a:r>
            <a:r>
              <a:rPr lang="en-US" dirty="0" err="1"/>
              <a:t>orci</a:t>
            </a:r>
            <a:r>
              <a:rPr lang="en-US" dirty="0"/>
              <a:t> </a:t>
            </a:r>
            <a:r>
              <a:rPr lang="en-US" dirty="0" err="1"/>
              <a:t>eget</a:t>
            </a:r>
            <a:r>
              <a:rPr lang="en-US" dirty="0"/>
              <a:t> </a:t>
            </a:r>
            <a:r>
              <a:rPr lang="en-US" dirty="0" err="1"/>
              <a:t>luctus</a:t>
            </a:r>
            <a:r>
              <a:rPr lang="en-US" dirty="0"/>
              <a:t> vestibulum. </a:t>
            </a:r>
            <a:r>
              <a:rPr lang="en-US" dirty="0" err="1"/>
              <a:t>Vivamus</a:t>
            </a:r>
            <a:r>
              <a:rPr lang="en-US" dirty="0"/>
              <a:t> </a:t>
            </a:r>
            <a:r>
              <a:rPr lang="en-US" dirty="0" err="1"/>
              <a:t>aliquam</a:t>
            </a:r>
            <a:r>
              <a:rPr lang="en-US" dirty="0"/>
              <a:t> semper diam, et </a:t>
            </a:r>
            <a:r>
              <a:rPr lang="en-US" dirty="0" err="1"/>
              <a:t>blandit</a:t>
            </a:r>
            <a:r>
              <a:rPr lang="en-US" dirty="0"/>
              <a:t> </a:t>
            </a:r>
            <a:r>
              <a:rPr lang="en-US" dirty="0" err="1"/>
              <a:t>quam</a:t>
            </a:r>
            <a:r>
              <a:rPr lang="en-US" dirty="0"/>
              <a:t> maximus vitae. Proin </a:t>
            </a:r>
            <a:r>
              <a:rPr lang="en-US" dirty="0" err="1"/>
              <a:t>posuere</a:t>
            </a:r>
            <a:r>
              <a:rPr lang="en-US" dirty="0"/>
              <a:t> </a:t>
            </a:r>
            <a:r>
              <a:rPr lang="en-US" dirty="0" err="1"/>
              <a:t>leo</a:t>
            </a:r>
            <a:r>
              <a:rPr lang="en-US" dirty="0"/>
              <a:t> id magna </a:t>
            </a:r>
            <a:r>
              <a:rPr lang="en-US" dirty="0" err="1"/>
              <a:t>viverra</a:t>
            </a:r>
            <a:r>
              <a:rPr lang="en-US" dirty="0"/>
              <a:t>, nec </a:t>
            </a:r>
            <a:r>
              <a:rPr lang="en-US" dirty="0" err="1"/>
              <a:t>vehicula</a:t>
            </a:r>
            <a:r>
              <a:rPr lang="en-US" dirty="0"/>
              <a:t> </a:t>
            </a:r>
            <a:r>
              <a:rPr lang="en-US" dirty="0" err="1"/>
              <a:t>sem</a:t>
            </a:r>
            <a:r>
              <a:rPr lang="en-US" dirty="0"/>
              <a:t> </a:t>
            </a:r>
            <a:r>
              <a:rPr lang="en-US" dirty="0" err="1"/>
              <a:t>euismod</a:t>
            </a:r>
            <a:r>
              <a:rPr lang="en-US" dirty="0"/>
              <a:t>.</a:t>
            </a:r>
          </a:p>
          <a:p>
            <a:pPr lvl="0"/>
            <a:endParaRPr lang="en-US" dirty="0"/>
          </a:p>
          <a:p>
            <a:pPr lvl="0"/>
            <a:r>
              <a:rPr lang="en-US" dirty="0"/>
              <a:t>• Sed vel </a:t>
            </a:r>
            <a:r>
              <a:rPr lang="en-US" dirty="0" err="1"/>
              <a:t>risus</a:t>
            </a:r>
            <a:r>
              <a:rPr lang="en-US" dirty="0"/>
              <a:t> dui</a:t>
            </a:r>
            <a:br>
              <a:rPr lang="en-US" dirty="0"/>
            </a:br>
            <a:r>
              <a:rPr lang="en-US" dirty="0"/>
              <a:t>• Proin nec </a:t>
            </a:r>
            <a:r>
              <a:rPr lang="en-US" dirty="0" err="1"/>
              <a:t>odio</a:t>
            </a:r>
            <a:r>
              <a:rPr lang="en-US" dirty="0"/>
              <a:t> </a:t>
            </a:r>
            <a:r>
              <a:rPr lang="en-US" dirty="0" err="1"/>
              <a:t>ultrices</a:t>
            </a:r>
            <a:r>
              <a:rPr lang="en-US" dirty="0"/>
              <a:t>, semper </a:t>
            </a:r>
            <a:r>
              <a:rPr lang="en-US" dirty="0" err="1"/>
              <a:t>est</a:t>
            </a:r>
            <a:r>
              <a:rPr lang="en-US" dirty="0"/>
              <a:t> vel</a:t>
            </a:r>
            <a:br>
              <a:rPr lang="en-US" dirty="0"/>
            </a:br>
            <a:r>
              <a:rPr lang="en-US" dirty="0"/>
              <a:t>• </a:t>
            </a:r>
            <a:r>
              <a:rPr lang="en-US" dirty="0" err="1"/>
              <a:t>Luctus</a:t>
            </a:r>
            <a:r>
              <a:rPr lang="en-US" dirty="0"/>
              <a:t> lorem </a:t>
            </a:r>
            <a:r>
              <a:rPr lang="en-US" dirty="0" err="1"/>
              <a:t>cras</a:t>
            </a:r>
            <a:r>
              <a:rPr lang="en-US" dirty="0"/>
              <a:t> et </a:t>
            </a:r>
            <a:r>
              <a:rPr lang="en-US" dirty="0" err="1"/>
              <a:t>nulla</a:t>
            </a:r>
            <a:r>
              <a:rPr lang="en-US" dirty="0"/>
              <a:t> pharetra</a:t>
            </a:r>
            <a:br>
              <a:rPr lang="en-US" dirty="0"/>
            </a:br>
            <a:r>
              <a:rPr lang="en-US" dirty="0"/>
              <a:t>• Pharetra </a:t>
            </a:r>
            <a:r>
              <a:rPr lang="en-US" dirty="0" err="1"/>
              <a:t>nibh</a:t>
            </a:r>
            <a:r>
              <a:rPr lang="en-US" dirty="0"/>
              <a:t> vel, </a:t>
            </a:r>
            <a:r>
              <a:rPr lang="en-US" dirty="0" err="1"/>
              <a:t>malesuada</a:t>
            </a:r>
            <a:r>
              <a:rPr lang="en-US" dirty="0"/>
              <a:t> libero</a:t>
            </a:r>
            <a:br>
              <a:rPr lang="en-US" dirty="0"/>
            </a:br>
            <a:r>
              <a:rPr lang="en-US" dirty="0"/>
              <a:t>• </a:t>
            </a:r>
            <a:r>
              <a:rPr lang="en-US" dirty="0" err="1"/>
              <a:t>Aliquam</a:t>
            </a:r>
            <a:r>
              <a:rPr lang="en-US" dirty="0"/>
              <a:t> </a:t>
            </a:r>
            <a:r>
              <a:rPr lang="en-US" dirty="0" err="1"/>
              <a:t>erat</a:t>
            </a:r>
            <a:r>
              <a:rPr lang="en-US" dirty="0"/>
              <a:t> </a:t>
            </a:r>
            <a:r>
              <a:rPr lang="en-US" dirty="0" err="1"/>
              <a:t>volutpat</a:t>
            </a:r>
            <a:r>
              <a:rPr lang="en-US" dirty="0"/>
              <a:t> </a:t>
            </a:r>
            <a:r>
              <a:rPr lang="en-US" dirty="0" err="1"/>
              <a:t>pellentesque</a:t>
            </a:r>
            <a:r>
              <a:rPr lang="en-US" dirty="0"/>
              <a:t> </a:t>
            </a:r>
            <a:r>
              <a:rPr lang="en-US" dirty="0" err="1"/>
              <a:t>sodales</a:t>
            </a:r>
            <a:endParaRPr lang="en-US" dirty="0"/>
          </a:p>
        </p:txBody>
      </p:sp>
      <p:sp>
        <p:nvSpPr>
          <p:cNvPr id="5" name="Text Placeholder 12">
            <a:extLst>
              <a:ext uri="{FF2B5EF4-FFF2-40B4-BE49-F238E27FC236}">
                <a16:creationId xmlns:a16="http://schemas.microsoft.com/office/drawing/2014/main" id="{5F438473-E229-4F67-DB5E-DBD76F45CD76}"/>
              </a:ext>
            </a:extLst>
          </p:cNvPr>
          <p:cNvSpPr>
            <a:spLocks noGrp="1"/>
          </p:cNvSpPr>
          <p:nvPr>
            <p:ph type="body" sz="quarter" idx="18" hasCustomPrompt="1"/>
          </p:nvPr>
        </p:nvSpPr>
        <p:spPr>
          <a:xfrm>
            <a:off x="421340" y="1235182"/>
            <a:ext cx="5570386" cy="769790"/>
          </a:xfrm>
        </p:spPr>
        <p:txBody>
          <a:bodyPr/>
          <a:lstStyle>
            <a:lvl1pPr>
              <a:defRPr sz="2600" b="0"/>
            </a:lvl1pPr>
          </a:lstStyle>
          <a:p>
            <a:pPr lvl="0"/>
            <a:r>
              <a:rPr lang="en-US" dirty="0"/>
              <a:t>Title Case Sub-headline </a:t>
            </a:r>
            <a:r>
              <a:rPr lang="en-US" dirty="0" err="1"/>
              <a:t>Risus</a:t>
            </a:r>
            <a:r>
              <a:rPr lang="en-US" dirty="0"/>
              <a:t> vel </a:t>
            </a:r>
            <a:r>
              <a:rPr lang="en-US" dirty="0" err="1"/>
              <a:t>Condimentum</a:t>
            </a:r>
            <a:r>
              <a:rPr lang="en-US" dirty="0"/>
              <a:t> </a:t>
            </a:r>
            <a:r>
              <a:rPr lang="en-US" dirty="0" err="1"/>
              <a:t>Venenatis</a:t>
            </a:r>
            <a:r>
              <a:rPr lang="en-US" dirty="0"/>
              <a:t> </a:t>
            </a:r>
            <a:r>
              <a:rPr lang="en-US" dirty="0" err="1"/>
              <a:t>Commodo</a:t>
            </a:r>
            <a:r>
              <a:rPr lang="en-US" dirty="0"/>
              <a:t> </a:t>
            </a:r>
          </a:p>
        </p:txBody>
      </p:sp>
      <p:sp>
        <p:nvSpPr>
          <p:cNvPr id="6" name="Text Placeholder 3">
            <a:extLst>
              <a:ext uri="{FF2B5EF4-FFF2-40B4-BE49-F238E27FC236}">
                <a16:creationId xmlns:a16="http://schemas.microsoft.com/office/drawing/2014/main" id="{363D1501-7A2F-CEE6-A9A5-0C09BAA86AF2}"/>
              </a:ext>
            </a:extLst>
          </p:cNvPr>
          <p:cNvSpPr>
            <a:spLocks noGrp="1"/>
          </p:cNvSpPr>
          <p:nvPr>
            <p:ph type="body" sz="quarter" idx="27" hasCustomPrompt="1"/>
          </p:nvPr>
        </p:nvSpPr>
        <p:spPr>
          <a:xfrm>
            <a:off x="8246981" y="1769310"/>
            <a:ext cx="3093370" cy="282072"/>
          </a:xfrm>
        </p:spPr>
        <p:txBody>
          <a:bodyPr/>
          <a:lstStyle>
            <a:lvl1pPr marL="0" indent="0">
              <a:buNone/>
              <a:defRPr sz="1000" b="0" i="0">
                <a:solidFill>
                  <a:schemeClr val="tx1"/>
                </a:solidFill>
                <a:latin typeface="Arial" panose="020B0604020202020204" pitchFamily="34" charset="0"/>
                <a:cs typeface="Arial" panose="020B0604020202020204" pitchFamily="34" charset="0"/>
              </a:defRPr>
            </a:lvl1pPr>
          </a:lstStyle>
          <a:p>
            <a:pPr lvl="0"/>
            <a:r>
              <a:rPr lang="en-US" dirty="0"/>
              <a:t>- Lorem ipsum</a:t>
            </a:r>
          </a:p>
        </p:txBody>
      </p:sp>
      <p:sp>
        <p:nvSpPr>
          <p:cNvPr id="38" name="Text Placeholder 3">
            <a:extLst>
              <a:ext uri="{FF2B5EF4-FFF2-40B4-BE49-F238E27FC236}">
                <a16:creationId xmlns:a16="http://schemas.microsoft.com/office/drawing/2014/main" id="{16190256-DC88-4162-9B66-B0C639B4EBEE}"/>
              </a:ext>
            </a:extLst>
          </p:cNvPr>
          <p:cNvSpPr>
            <a:spLocks noGrp="1"/>
          </p:cNvSpPr>
          <p:nvPr>
            <p:ph type="body" sz="quarter" idx="28" hasCustomPrompt="1"/>
          </p:nvPr>
        </p:nvSpPr>
        <p:spPr>
          <a:xfrm>
            <a:off x="8246981" y="2814489"/>
            <a:ext cx="3093370" cy="769790"/>
          </a:xfrm>
        </p:spPr>
        <p:txBody>
          <a:bodyPr/>
          <a:lstStyle>
            <a:lvl1pPr marL="0" indent="0">
              <a:buNone/>
              <a:defRPr sz="1350" b="1" i="0">
                <a:solidFill>
                  <a:schemeClr val="tx1"/>
                </a:solidFill>
                <a:latin typeface="Arial" panose="020B0604020202020204" pitchFamily="34" charset="0"/>
                <a:cs typeface="Arial" panose="020B0604020202020204" pitchFamily="34" charset="0"/>
              </a:defRPr>
            </a:lvl1pPr>
          </a:lstStyle>
          <a:p>
            <a:pPr lvl="0"/>
            <a:r>
              <a:rPr lang="en-US" dirty="0"/>
              <a:t>Your Quote lorem ipsum dolor sit </a:t>
            </a:r>
            <a:r>
              <a:rPr lang="en-US" dirty="0" err="1"/>
              <a:t>amet</a:t>
            </a:r>
            <a:r>
              <a:rPr lang="en-US" dirty="0"/>
              <a:t>, </a:t>
            </a:r>
            <a:r>
              <a:rPr lang="en-US" dirty="0" err="1"/>
              <a:t>conssectetuer</a:t>
            </a:r>
            <a:r>
              <a:rPr lang="en-US" dirty="0"/>
              <a:t> </a:t>
            </a:r>
            <a:r>
              <a:rPr lang="en-US" dirty="0" err="1"/>
              <a:t>adipiscing</a:t>
            </a:r>
            <a:r>
              <a:rPr lang="en-US" dirty="0"/>
              <a:t> </a:t>
            </a:r>
            <a:r>
              <a:rPr lang="en-US" dirty="0" err="1"/>
              <a:t>elit</a:t>
            </a:r>
            <a:r>
              <a:rPr lang="en-US" dirty="0"/>
              <a:t>, sed diam </a:t>
            </a:r>
            <a:r>
              <a:rPr lang="en-US" dirty="0" err="1"/>
              <a:t>nonummy</a:t>
            </a:r>
            <a:r>
              <a:rPr lang="en-US" dirty="0"/>
              <a:t> </a:t>
            </a:r>
            <a:r>
              <a:rPr lang="en-US" dirty="0" err="1"/>
              <a:t>nibh</a:t>
            </a:r>
            <a:r>
              <a:rPr lang="en-US" dirty="0"/>
              <a:t> </a:t>
            </a:r>
            <a:r>
              <a:rPr lang="en-US" dirty="0" err="1"/>
              <a:t>euismod</a:t>
            </a:r>
            <a:r>
              <a:rPr lang="en-US" dirty="0"/>
              <a:t> </a:t>
            </a:r>
            <a:r>
              <a:rPr lang="en-US" dirty="0" err="1"/>
              <a:t>tincideunt</a:t>
            </a:r>
            <a:r>
              <a:rPr lang="en-US" dirty="0"/>
              <a:t> </a:t>
            </a:r>
            <a:r>
              <a:rPr lang="en-US" dirty="0" err="1"/>
              <a:t>ut</a:t>
            </a:r>
            <a:r>
              <a:rPr lang="en-US" dirty="0"/>
              <a:t> </a:t>
            </a:r>
            <a:r>
              <a:rPr lang="en-US" dirty="0" err="1"/>
              <a:t>justo</a:t>
            </a:r>
            <a:r>
              <a:rPr lang="en-US" dirty="0"/>
              <a:t> </a:t>
            </a:r>
            <a:r>
              <a:rPr lang="en-US" dirty="0" err="1"/>
              <a:t>consectetur</a:t>
            </a:r>
            <a:r>
              <a:rPr lang="en-US" dirty="0"/>
              <a:t>.</a:t>
            </a:r>
          </a:p>
        </p:txBody>
      </p:sp>
      <p:sp>
        <p:nvSpPr>
          <p:cNvPr id="39" name="Text Placeholder 3">
            <a:extLst>
              <a:ext uri="{FF2B5EF4-FFF2-40B4-BE49-F238E27FC236}">
                <a16:creationId xmlns:a16="http://schemas.microsoft.com/office/drawing/2014/main" id="{B26C015A-2606-690A-3637-DF211D0E301D}"/>
              </a:ext>
            </a:extLst>
          </p:cNvPr>
          <p:cNvSpPr>
            <a:spLocks noGrp="1"/>
          </p:cNvSpPr>
          <p:nvPr>
            <p:ph type="body" sz="quarter" idx="29" hasCustomPrompt="1"/>
          </p:nvPr>
        </p:nvSpPr>
        <p:spPr>
          <a:xfrm>
            <a:off x="8246981" y="3777015"/>
            <a:ext cx="3093370" cy="282072"/>
          </a:xfrm>
        </p:spPr>
        <p:txBody>
          <a:bodyPr/>
          <a:lstStyle>
            <a:lvl1pPr marL="0" indent="0">
              <a:buNone/>
              <a:defRPr sz="1000" b="0" i="0">
                <a:solidFill>
                  <a:schemeClr val="tx1"/>
                </a:solidFill>
                <a:latin typeface="Arial" panose="020B0604020202020204" pitchFamily="34" charset="0"/>
                <a:cs typeface="Arial" panose="020B0604020202020204" pitchFamily="34" charset="0"/>
              </a:defRPr>
            </a:lvl1pPr>
          </a:lstStyle>
          <a:p>
            <a:pPr lvl="0"/>
            <a:r>
              <a:rPr lang="en-US" dirty="0"/>
              <a:t>- Lorem ipsum</a:t>
            </a:r>
          </a:p>
        </p:txBody>
      </p:sp>
      <p:sp>
        <p:nvSpPr>
          <p:cNvPr id="42" name="Text Placeholder 3">
            <a:extLst>
              <a:ext uri="{FF2B5EF4-FFF2-40B4-BE49-F238E27FC236}">
                <a16:creationId xmlns:a16="http://schemas.microsoft.com/office/drawing/2014/main" id="{724179B5-EF6A-A76E-917B-207FA3D6AB10}"/>
              </a:ext>
            </a:extLst>
          </p:cNvPr>
          <p:cNvSpPr>
            <a:spLocks noGrp="1"/>
          </p:cNvSpPr>
          <p:nvPr>
            <p:ph type="body" sz="quarter" idx="30" hasCustomPrompt="1"/>
          </p:nvPr>
        </p:nvSpPr>
        <p:spPr>
          <a:xfrm>
            <a:off x="8246981" y="4822193"/>
            <a:ext cx="3093370" cy="769790"/>
          </a:xfrm>
        </p:spPr>
        <p:txBody>
          <a:bodyPr/>
          <a:lstStyle>
            <a:lvl1pPr marL="0" indent="0">
              <a:buNone/>
              <a:defRPr sz="1350" b="1" i="0">
                <a:solidFill>
                  <a:schemeClr val="tx1"/>
                </a:solidFill>
                <a:latin typeface="Arial" panose="020B0604020202020204" pitchFamily="34" charset="0"/>
                <a:cs typeface="Arial" panose="020B0604020202020204" pitchFamily="34" charset="0"/>
              </a:defRPr>
            </a:lvl1pPr>
          </a:lstStyle>
          <a:p>
            <a:pPr lvl="0"/>
            <a:r>
              <a:rPr lang="en-US" dirty="0"/>
              <a:t>Your Quote lorem ipsum dolor sit </a:t>
            </a:r>
            <a:r>
              <a:rPr lang="en-US" dirty="0" err="1"/>
              <a:t>amet</a:t>
            </a:r>
            <a:r>
              <a:rPr lang="en-US" dirty="0"/>
              <a:t>, </a:t>
            </a:r>
            <a:r>
              <a:rPr lang="en-US" dirty="0" err="1"/>
              <a:t>conssectetuer</a:t>
            </a:r>
            <a:r>
              <a:rPr lang="en-US" dirty="0"/>
              <a:t> </a:t>
            </a:r>
            <a:r>
              <a:rPr lang="en-US" dirty="0" err="1"/>
              <a:t>adipiscing</a:t>
            </a:r>
            <a:r>
              <a:rPr lang="en-US" dirty="0"/>
              <a:t> </a:t>
            </a:r>
            <a:r>
              <a:rPr lang="en-US" dirty="0" err="1"/>
              <a:t>elit</a:t>
            </a:r>
            <a:r>
              <a:rPr lang="en-US" dirty="0"/>
              <a:t>, sed diam </a:t>
            </a:r>
            <a:r>
              <a:rPr lang="en-US" dirty="0" err="1"/>
              <a:t>nonummy</a:t>
            </a:r>
            <a:r>
              <a:rPr lang="en-US" dirty="0"/>
              <a:t> </a:t>
            </a:r>
            <a:r>
              <a:rPr lang="en-US" dirty="0" err="1"/>
              <a:t>nibh</a:t>
            </a:r>
            <a:r>
              <a:rPr lang="en-US" dirty="0"/>
              <a:t> </a:t>
            </a:r>
            <a:r>
              <a:rPr lang="en-US" dirty="0" err="1"/>
              <a:t>euismod</a:t>
            </a:r>
            <a:r>
              <a:rPr lang="en-US" dirty="0"/>
              <a:t> </a:t>
            </a:r>
            <a:r>
              <a:rPr lang="en-US" dirty="0" err="1"/>
              <a:t>tincideunt</a:t>
            </a:r>
            <a:r>
              <a:rPr lang="en-US" dirty="0"/>
              <a:t> </a:t>
            </a:r>
            <a:r>
              <a:rPr lang="en-US" dirty="0" err="1"/>
              <a:t>ut</a:t>
            </a:r>
            <a:r>
              <a:rPr lang="en-US" dirty="0"/>
              <a:t> </a:t>
            </a:r>
            <a:r>
              <a:rPr lang="en-US" dirty="0" err="1"/>
              <a:t>justo</a:t>
            </a:r>
            <a:r>
              <a:rPr lang="en-US" dirty="0"/>
              <a:t> </a:t>
            </a:r>
            <a:r>
              <a:rPr lang="en-US" dirty="0" err="1"/>
              <a:t>consectetur</a:t>
            </a:r>
            <a:r>
              <a:rPr lang="en-US" dirty="0"/>
              <a:t>.</a:t>
            </a:r>
          </a:p>
        </p:txBody>
      </p:sp>
      <p:sp>
        <p:nvSpPr>
          <p:cNvPr id="43" name="Text Placeholder 3">
            <a:extLst>
              <a:ext uri="{FF2B5EF4-FFF2-40B4-BE49-F238E27FC236}">
                <a16:creationId xmlns:a16="http://schemas.microsoft.com/office/drawing/2014/main" id="{0429E1A1-E7F1-302E-44D1-175CFEADFAEE}"/>
              </a:ext>
            </a:extLst>
          </p:cNvPr>
          <p:cNvSpPr>
            <a:spLocks noGrp="1"/>
          </p:cNvSpPr>
          <p:nvPr>
            <p:ph type="body" sz="quarter" idx="31" hasCustomPrompt="1"/>
          </p:nvPr>
        </p:nvSpPr>
        <p:spPr>
          <a:xfrm>
            <a:off x="8246981" y="5784719"/>
            <a:ext cx="3093370" cy="282072"/>
          </a:xfrm>
        </p:spPr>
        <p:txBody>
          <a:bodyPr/>
          <a:lstStyle>
            <a:lvl1pPr marL="0" indent="0">
              <a:buNone/>
              <a:defRPr sz="1000" b="0" i="0">
                <a:solidFill>
                  <a:schemeClr val="tx1"/>
                </a:solidFill>
                <a:latin typeface="Arial" panose="020B0604020202020204" pitchFamily="34" charset="0"/>
                <a:cs typeface="Arial" panose="020B0604020202020204" pitchFamily="34" charset="0"/>
              </a:defRPr>
            </a:lvl1pPr>
          </a:lstStyle>
          <a:p>
            <a:pPr lvl="0"/>
            <a:r>
              <a:rPr lang="en-US" dirty="0"/>
              <a:t>- Lorem ipsum</a:t>
            </a:r>
          </a:p>
        </p:txBody>
      </p:sp>
    </p:spTree>
    <p:extLst>
      <p:ext uri="{BB962C8B-B14F-4D97-AF65-F5344CB8AC3E}">
        <p14:creationId xmlns:p14="http://schemas.microsoft.com/office/powerpoint/2010/main" val="299123628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Content and Quote 1 Slide">
    <p:spTree>
      <p:nvGrpSpPr>
        <p:cNvPr id="1" name=""/>
        <p:cNvGrpSpPr/>
        <p:nvPr/>
      </p:nvGrpSpPr>
      <p:grpSpPr>
        <a:xfrm>
          <a:off x="0" y="0"/>
          <a:ext cx="0" cy="0"/>
          <a:chOff x="0" y="0"/>
          <a:chExt cx="0" cy="0"/>
        </a:xfrm>
      </p:grpSpPr>
      <p:sp>
        <p:nvSpPr>
          <p:cNvPr id="4" name="Title Placeholder 15">
            <a:extLst>
              <a:ext uri="{FF2B5EF4-FFF2-40B4-BE49-F238E27FC236}">
                <a16:creationId xmlns:a16="http://schemas.microsoft.com/office/drawing/2014/main" id="{DF9C074A-6494-48EE-604F-0594D3079689}"/>
              </a:ext>
            </a:extLst>
          </p:cNvPr>
          <p:cNvSpPr>
            <a:spLocks noGrp="1"/>
          </p:cNvSpPr>
          <p:nvPr>
            <p:ph type="title" hasCustomPrompt="1"/>
          </p:nvPr>
        </p:nvSpPr>
        <p:spPr>
          <a:xfrm>
            <a:off x="421341" y="394634"/>
            <a:ext cx="6208060" cy="704257"/>
          </a:xfrm>
          <a:prstGeom prst="rect">
            <a:avLst/>
          </a:prstGeom>
        </p:spPr>
        <p:txBody>
          <a:bodyPr vert="horz" lIns="91440" tIns="45720" rIns="91440" bIns="45720" rtlCol="0" anchor="t" anchorCtr="0">
            <a:noAutofit/>
          </a:bodyPr>
          <a:lstStyle>
            <a:lvl1pPr>
              <a:defRPr sz="3600"/>
            </a:lvl1pPr>
          </a:lstStyle>
          <a:p>
            <a:r>
              <a:rPr lang="en-US" dirty="0"/>
              <a:t>Headline in Title Case</a:t>
            </a:r>
          </a:p>
        </p:txBody>
      </p:sp>
      <p:sp>
        <p:nvSpPr>
          <p:cNvPr id="29" name="Text Placeholder 3">
            <a:extLst>
              <a:ext uri="{FF2B5EF4-FFF2-40B4-BE49-F238E27FC236}">
                <a16:creationId xmlns:a16="http://schemas.microsoft.com/office/drawing/2014/main" id="{9ECC56F8-4314-D036-BF6B-3619DA9AC10D}"/>
              </a:ext>
            </a:extLst>
          </p:cNvPr>
          <p:cNvSpPr>
            <a:spLocks noGrp="1"/>
          </p:cNvSpPr>
          <p:nvPr>
            <p:ph type="body" sz="quarter" idx="26" hasCustomPrompt="1"/>
          </p:nvPr>
        </p:nvSpPr>
        <p:spPr>
          <a:xfrm>
            <a:off x="8246981" y="806784"/>
            <a:ext cx="3093370" cy="769790"/>
          </a:xfrm>
        </p:spPr>
        <p:txBody>
          <a:bodyPr/>
          <a:lstStyle>
            <a:lvl1pPr marL="0" indent="0">
              <a:buNone/>
              <a:defRPr sz="1350" b="1" i="0">
                <a:solidFill>
                  <a:schemeClr val="tx1"/>
                </a:solidFill>
                <a:latin typeface="Arial" panose="020B0604020202020204" pitchFamily="34" charset="0"/>
                <a:cs typeface="Arial" panose="020B0604020202020204" pitchFamily="34" charset="0"/>
              </a:defRPr>
            </a:lvl1pPr>
          </a:lstStyle>
          <a:p>
            <a:pPr lvl="0"/>
            <a:r>
              <a:rPr lang="en-US" dirty="0"/>
              <a:t>Your Quote lorem ipsum dolor sit </a:t>
            </a:r>
            <a:r>
              <a:rPr lang="en-US" dirty="0" err="1"/>
              <a:t>amet</a:t>
            </a:r>
            <a:r>
              <a:rPr lang="en-US" dirty="0"/>
              <a:t>, </a:t>
            </a:r>
            <a:r>
              <a:rPr lang="en-US" dirty="0" err="1"/>
              <a:t>conssectetuer</a:t>
            </a:r>
            <a:r>
              <a:rPr lang="en-US" dirty="0"/>
              <a:t> </a:t>
            </a:r>
            <a:r>
              <a:rPr lang="en-US" dirty="0" err="1"/>
              <a:t>adipiscing</a:t>
            </a:r>
            <a:r>
              <a:rPr lang="en-US" dirty="0"/>
              <a:t> </a:t>
            </a:r>
            <a:r>
              <a:rPr lang="en-US" dirty="0" err="1"/>
              <a:t>elit</a:t>
            </a:r>
            <a:r>
              <a:rPr lang="en-US" dirty="0"/>
              <a:t>, sed diam </a:t>
            </a:r>
            <a:r>
              <a:rPr lang="en-US" dirty="0" err="1"/>
              <a:t>nonummy</a:t>
            </a:r>
            <a:r>
              <a:rPr lang="en-US" dirty="0"/>
              <a:t> </a:t>
            </a:r>
            <a:r>
              <a:rPr lang="en-US" dirty="0" err="1"/>
              <a:t>nibh</a:t>
            </a:r>
            <a:r>
              <a:rPr lang="en-US" dirty="0"/>
              <a:t> </a:t>
            </a:r>
            <a:r>
              <a:rPr lang="en-US" dirty="0" err="1"/>
              <a:t>euismod</a:t>
            </a:r>
            <a:r>
              <a:rPr lang="en-US" dirty="0"/>
              <a:t> </a:t>
            </a:r>
            <a:r>
              <a:rPr lang="en-US" dirty="0" err="1"/>
              <a:t>tincideunt</a:t>
            </a:r>
            <a:r>
              <a:rPr lang="en-US" dirty="0"/>
              <a:t> </a:t>
            </a:r>
            <a:r>
              <a:rPr lang="en-US" dirty="0" err="1"/>
              <a:t>ut</a:t>
            </a:r>
            <a:r>
              <a:rPr lang="en-US" dirty="0"/>
              <a:t> </a:t>
            </a:r>
            <a:r>
              <a:rPr lang="en-US" dirty="0" err="1"/>
              <a:t>justo</a:t>
            </a:r>
            <a:r>
              <a:rPr lang="en-US" dirty="0"/>
              <a:t> </a:t>
            </a:r>
            <a:r>
              <a:rPr lang="en-US" dirty="0" err="1"/>
              <a:t>consectetur</a:t>
            </a:r>
            <a:r>
              <a:rPr lang="en-US" dirty="0"/>
              <a:t>.</a:t>
            </a:r>
          </a:p>
        </p:txBody>
      </p:sp>
      <p:sp>
        <p:nvSpPr>
          <p:cNvPr id="31" name="Text Placeholder 3">
            <a:extLst>
              <a:ext uri="{FF2B5EF4-FFF2-40B4-BE49-F238E27FC236}">
                <a16:creationId xmlns:a16="http://schemas.microsoft.com/office/drawing/2014/main" id="{F02093EB-64CE-8951-26D5-94D00F955CCE}"/>
              </a:ext>
            </a:extLst>
          </p:cNvPr>
          <p:cNvSpPr>
            <a:spLocks noGrp="1"/>
          </p:cNvSpPr>
          <p:nvPr>
            <p:ph type="body" sz="quarter" idx="13" hasCustomPrompt="1"/>
          </p:nvPr>
        </p:nvSpPr>
        <p:spPr>
          <a:xfrm>
            <a:off x="421340" y="2291865"/>
            <a:ext cx="6208060" cy="3627671"/>
          </a:xfrm>
        </p:spPr>
        <p:txBody>
          <a:bodyPr/>
          <a:lstStyle>
            <a:lvl1pPr marL="0" indent="0">
              <a:buNone/>
              <a:defRPr sz="1600" b="0" i="0">
                <a:solidFill>
                  <a:srgbClr val="6A768A"/>
                </a:solidFill>
                <a:latin typeface="Arial" panose="020B0604020202020204" pitchFamily="34" charset="0"/>
                <a:cs typeface="Arial" panose="020B0604020202020204"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sed diam </a:t>
            </a:r>
            <a:r>
              <a:rPr lang="en-US" dirty="0" err="1"/>
              <a:t>nonummy</a:t>
            </a:r>
            <a:r>
              <a:rPr lang="en-US" dirty="0"/>
              <a:t> </a:t>
            </a:r>
            <a:r>
              <a:rPr lang="en-US" dirty="0" err="1"/>
              <a:t>nibh</a:t>
            </a:r>
            <a:r>
              <a:rPr lang="en-US" dirty="0"/>
              <a:t> </a:t>
            </a:r>
            <a:r>
              <a:rPr lang="en-US" dirty="0" err="1"/>
              <a:t>euismod</a:t>
            </a:r>
            <a:r>
              <a:rPr lang="en-US" dirty="0"/>
              <a:t> </a:t>
            </a:r>
            <a:r>
              <a:rPr lang="en-US" dirty="0" err="1"/>
              <a:t>tincidunt</a:t>
            </a:r>
            <a:r>
              <a:rPr lang="en-US" dirty="0"/>
              <a:t> </a:t>
            </a:r>
            <a:r>
              <a:rPr lang="en-US" dirty="0" err="1"/>
              <a:t>ut</a:t>
            </a:r>
            <a:r>
              <a:rPr lang="en-US" dirty="0"/>
              <a:t> </a:t>
            </a:r>
            <a:r>
              <a:rPr lang="en-US" dirty="0" err="1"/>
              <a:t>laoreet</a:t>
            </a:r>
            <a:r>
              <a:rPr lang="en-US" dirty="0"/>
              <a:t> dolore magna </a:t>
            </a:r>
            <a:r>
              <a:rPr lang="en-US" dirty="0" err="1"/>
              <a:t>aliquam</a:t>
            </a:r>
            <a:r>
              <a:rPr lang="en-US" dirty="0"/>
              <a:t> </a:t>
            </a:r>
            <a:r>
              <a:rPr lang="en-US" dirty="0" err="1"/>
              <a:t>erat</a:t>
            </a:r>
            <a:r>
              <a:rPr lang="en-US" dirty="0"/>
              <a:t> </a:t>
            </a:r>
            <a:r>
              <a:rPr lang="en-US" dirty="0" err="1"/>
              <a:t>volutpat</a:t>
            </a:r>
            <a:r>
              <a:rPr lang="en-US" dirty="0"/>
              <a:t>. </a:t>
            </a:r>
            <a:r>
              <a:rPr lang="en-US" dirty="0" err="1"/>
              <a:t>Mivamus</a:t>
            </a:r>
            <a:r>
              <a:rPr lang="en-US" dirty="0"/>
              <a:t> vitae </a:t>
            </a:r>
            <a:r>
              <a:rPr lang="en-US" dirty="0" err="1"/>
              <a:t>dapibus</a:t>
            </a:r>
            <a:r>
              <a:rPr lang="en-US" dirty="0"/>
              <a:t> </a:t>
            </a:r>
            <a:r>
              <a:rPr lang="en-US" dirty="0" err="1"/>
              <a:t>neque</a:t>
            </a:r>
            <a:r>
              <a:rPr lang="en-US" dirty="0"/>
              <a:t>. Nunc </a:t>
            </a:r>
            <a:r>
              <a:rPr lang="en-US" dirty="0" err="1"/>
              <a:t>sodales</a:t>
            </a:r>
            <a:r>
              <a:rPr lang="en-US" dirty="0"/>
              <a:t> </a:t>
            </a:r>
            <a:r>
              <a:rPr lang="en-US" dirty="0" err="1"/>
              <a:t>orci</a:t>
            </a:r>
            <a:r>
              <a:rPr lang="en-US" dirty="0"/>
              <a:t> </a:t>
            </a:r>
            <a:r>
              <a:rPr lang="en-US" dirty="0" err="1"/>
              <a:t>eget</a:t>
            </a:r>
            <a:r>
              <a:rPr lang="en-US" dirty="0"/>
              <a:t> </a:t>
            </a:r>
            <a:r>
              <a:rPr lang="en-US" dirty="0" err="1"/>
              <a:t>luctus</a:t>
            </a:r>
            <a:r>
              <a:rPr lang="en-US" dirty="0"/>
              <a:t> vestibulum. </a:t>
            </a:r>
            <a:r>
              <a:rPr lang="en-US" dirty="0" err="1"/>
              <a:t>Vivamus</a:t>
            </a:r>
            <a:r>
              <a:rPr lang="en-US" dirty="0"/>
              <a:t> </a:t>
            </a:r>
            <a:r>
              <a:rPr lang="en-US" dirty="0" err="1"/>
              <a:t>aliquam</a:t>
            </a:r>
            <a:r>
              <a:rPr lang="en-US" dirty="0"/>
              <a:t> semper diam, et </a:t>
            </a:r>
            <a:r>
              <a:rPr lang="en-US" dirty="0" err="1"/>
              <a:t>blandit</a:t>
            </a:r>
            <a:r>
              <a:rPr lang="en-US" dirty="0"/>
              <a:t> </a:t>
            </a:r>
            <a:r>
              <a:rPr lang="en-US" dirty="0" err="1"/>
              <a:t>quam</a:t>
            </a:r>
            <a:r>
              <a:rPr lang="en-US" dirty="0"/>
              <a:t> maximus vitae. Proin </a:t>
            </a:r>
            <a:r>
              <a:rPr lang="en-US" dirty="0" err="1"/>
              <a:t>posuere</a:t>
            </a:r>
            <a:r>
              <a:rPr lang="en-US" dirty="0"/>
              <a:t> </a:t>
            </a:r>
            <a:r>
              <a:rPr lang="en-US" dirty="0" err="1"/>
              <a:t>leo</a:t>
            </a:r>
            <a:r>
              <a:rPr lang="en-US" dirty="0"/>
              <a:t> id magna </a:t>
            </a:r>
            <a:r>
              <a:rPr lang="en-US" dirty="0" err="1"/>
              <a:t>viverra</a:t>
            </a:r>
            <a:r>
              <a:rPr lang="en-US" dirty="0"/>
              <a:t>, nec </a:t>
            </a:r>
            <a:r>
              <a:rPr lang="en-US" dirty="0" err="1"/>
              <a:t>vehicula</a:t>
            </a:r>
            <a:r>
              <a:rPr lang="en-US" dirty="0"/>
              <a:t> </a:t>
            </a:r>
            <a:r>
              <a:rPr lang="en-US" dirty="0" err="1"/>
              <a:t>sem</a:t>
            </a:r>
            <a:r>
              <a:rPr lang="en-US" dirty="0"/>
              <a:t> </a:t>
            </a:r>
            <a:r>
              <a:rPr lang="en-US" dirty="0" err="1"/>
              <a:t>euismod</a:t>
            </a:r>
            <a:r>
              <a:rPr lang="en-US" dirty="0"/>
              <a:t>.</a:t>
            </a:r>
          </a:p>
          <a:p>
            <a:pPr lvl="0"/>
            <a:endParaRPr lang="en-US" dirty="0"/>
          </a:p>
          <a:p>
            <a:pPr lvl="0"/>
            <a:r>
              <a:rPr lang="en-US" dirty="0"/>
              <a:t>• Sed vel </a:t>
            </a:r>
            <a:r>
              <a:rPr lang="en-US" dirty="0" err="1"/>
              <a:t>risus</a:t>
            </a:r>
            <a:r>
              <a:rPr lang="en-US" dirty="0"/>
              <a:t> dui</a:t>
            </a:r>
            <a:br>
              <a:rPr lang="en-US" dirty="0"/>
            </a:br>
            <a:r>
              <a:rPr lang="en-US" dirty="0"/>
              <a:t>• Proin nec </a:t>
            </a:r>
            <a:r>
              <a:rPr lang="en-US" dirty="0" err="1"/>
              <a:t>odio</a:t>
            </a:r>
            <a:r>
              <a:rPr lang="en-US" dirty="0"/>
              <a:t> </a:t>
            </a:r>
            <a:r>
              <a:rPr lang="en-US" dirty="0" err="1"/>
              <a:t>ultrices</a:t>
            </a:r>
            <a:r>
              <a:rPr lang="en-US" dirty="0"/>
              <a:t>, semper </a:t>
            </a:r>
            <a:r>
              <a:rPr lang="en-US" dirty="0" err="1"/>
              <a:t>est</a:t>
            </a:r>
            <a:r>
              <a:rPr lang="en-US" dirty="0"/>
              <a:t> vel</a:t>
            </a:r>
            <a:br>
              <a:rPr lang="en-US" dirty="0"/>
            </a:br>
            <a:r>
              <a:rPr lang="en-US" dirty="0"/>
              <a:t>• </a:t>
            </a:r>
            <a:r>
              <a:rPr lang="en-US" dirty="0" err="1"/>
              <a:t>Luctus</a:t>
            </a:r>
            <a:r>
              <a:rPr lang="en-US" dirty="0"/>
              <a:t> lorem </a:t>
            </a:r>
            <a:r>
              <a:rPr lang="en-US" dirty="0" err="1"/>
              <a:t>cras</a:t>
            </a:r>
            <a:r>
              <a:rPr lang="en-US" dirty="0"/>
              <a:t> et </a:t>
            </a:r>
            <a:r>
              <a:rPr lang="en-US" dirty="0" err="1"/>
              <a:t>nulla</a:t>
            </a:r>
            <a:r>
              <a:rPr lang="en-US" dirty="0"/>
              <a:t> pharetra</a:t>
            </a:r>
            <a:br>
              <a:rPr lang="en-US" dirty="0"/>
            </a:br>
            <a:r>
              <a:rPr lang="en-US" dirty="0"/>
              <a:t>• Pharetra </a:t>
            </a:r>
            <a:r>
              <a:rPr lang="en-US" dirty="0" err="1"/>
              <a:t>nibh</a:t>
            </a:r>
            <a:r>
              <a:rPr lang="en-US" dirty="0"/>
              <a:t> vel, </a:t>
            </a:r>
            <a:r>
              <a:rPr lang="en-US" dirty="0" err="1"/>
              <a:t>malesuada</a:t>
            </a:r>
            <a:r>
              <a:rPr lang="en-US" dirty="0"/>
              <a:t> libero</a:t>
            </a:r>
            <a:br>
              <a:rPr lang="en-US" dirty="0"/>
            </a:br>
            <a:r>
              <a:rPr lang="en-US" dirty="0"/>
              <a:t>• </a:t>
            </a:r>
            <a:r>
              <a:rPr lang="en-US" dirty="0" err="1"/>
              <a:t>Aliquam</a:t>
            </a:r>
            <a:r>
              <a:rPr lang="en-US" dirty="0"/>
              <a:t> </a:t>
            </a:r>
            <a:r>
              <a:rPr lang="en-US" dirty="0" err="1"/>
              <a:t>erat</a:t>
            </a:r>
            <a:r>
              <a:rPr lang="en-US" dirty="0"/>
              <a:t> </a:t>
            </a:r>
            <a:r>
              <a:rPr lang="en-US" dirty="0" err="1"/>
              <a:t>volutpat</a:t>
            </a:r>
            <a:r>
              <a:rPr lang="en-US" dirty="0"/>
              <a:t> </a:t>
            </a:r>
            <a:r>
              <a:rPr lang="en-US" dirty="0" err="1"/>
              <a:t>pellentesque</a:t>
            </a:r>
            <a:r>
              <a:rPr lang="en-US" dirty="0"/>
              <a:t> </a:t>
            </a:r>
            <a:r>
              <a:rPr lang="en-US" dirty="0" err="1"/>
              <a:t>sodales</a:t>
            </a:r>
            <a:endParaRPr lang="en-US" dirty="0"/>
          </a:p>
        </p:txBody>
      </p:sp>
      <p:sp>
        <p:nvSpPr>
          <p:cNvPr id="5" name="Text Placeholder 12">
            <a:extLst>
              <a:ext uri="{FF2B5EF4-FFF2-40B4-BE49-F238E27FC236}">
                <a16:creationId xmlns:a16="http://schemas.microsoft.com/office/drawing/2014/main" id="{5F438473-E229-4F67-DB5E-DBD76F45CD76}"/>
              </a:ext>
            </a:extLst>
          </p:cNvPr>
          <p:cNvSpPr>
            <a:spLocks noGrp="1"/>
          </p:cNvSpPr>
          <p:nvPr>
            <p:ph type="body" sz="quarter" idx="18" hasCustomPrompt="1"/>
          </p:nvPr>
        </p:nvSpPr>
        <p:spPr>
          <a:xfrm>
            <a:off x="421340" y="1235182"/>
            <a:ext cx="5570386" cy="769790"/>
          </a:xfrm>
        </p:spPr>
        <p:txBody>
          <a:bodyPr/>
          <a:lstStyle>
            <a:lvl1pPr>
              <a:defRPr sz="2600" b="0"/>
            </a:lvl1pPr>
          </a:lstStyle>
          <a:p>
            <a:pPr lvl="0"/>
            <a:r>
              <a:rPr lang="en-US" dirty="0"/>
              <a:t>Title Case Sub-headline </a:t>
            </a:r>
            <a:r>
              <a:rPr lang="en-US" dirty="0" err="1"/>
              <a:t>Risus</a:t>
            </a:r>
            <a:r>
              <a:rPr lang="en-US" dirty="0"/>
              <a:t> vel </a:t>
            </a:r>
            <a:r>
              <a:rPr lang="en-US" dirty="0" err="1"/>
              <a:t>Condimentum</a:t>
            </a:r>
            <a:r>
              <a:rPr lang="en-US" dirty="0"/>
              <a:t> </a:t>
            </a:r>
            <a:r>
              <a:rPr lang="en-US" dirty="0" err="1"/>
              <a:t>Venenatis</a:t>
            </a:r>
            <a:r>
              <a:rPr lang="en-US" dirty="0"/>
              <a:t> </a:t>
            </a:r>
            <a:r>
              <a:rPr lang="en-US" dirty="0" err="1"/>
              <a:t>Commodo</a:t>
            </a:r>
            <a:r>
              <a:rPr lang="en-US" dirty="0"/>
              <a:t> </a:t>
            </a:r>
          </a:p>
        </p:txBody>
      </p:sp>
      <p:sp>
        <p:nvSpPr>
          <p:cNvPr id="6" name="Text Placeholder 3">
            <a:extLst>
              <a:ext uri="{FF2B5EF4-FFF2-40B4-BE49-F238E27FC236}">
                <a16:creationId xmlns:a16="http://schemas.microsoft.com/office/drawing/2014/main" id="{363D1501-7A2F-CEE6-A9A5-0C09BAA86AF2}"/>
              </a:ext>
            </a:extLst>
          </p:cNvPr>
          <p:cNvSpPr>
            <a:spLocks noGrp="1"/>
          </p:cNvSpPr>
          <p:nvPr>
            <p:ph type="body" sz="quarter" idx="27" hasCustomPrompt="1"/>
          </p:nvPr>
        </p:nvSpPr>
        <p:spPr>
          <a:xfrm>
            <a:off x="8246981" y="1769310"/>
            <a:ext cx="3093370" cy="282072"/>
          </a:xfrm>
        </p:spPr>
        <p:txBody>
          <a:bodyPr/>
          <a:lstStyle>
            <a:lvl1pPr marL="0" indent="0">
              <a:buNone/>
              <a:defRPr sz="1000" b="0" i="0">
                <a:solidFill>
                  <a:schemeClr val="tx1"/>
                </a:solidFill>
                <a:latin typeface="Arial" panose="020B0604020202020204" pitchFamily="34" charset="0"/>
                <a:cs typeface="Arial" panose="020B0604020202020204" pitchFamily="34" charset="0"/>
              </a:defRPr>
            </a:lvl1pPr>
          </a:lstStyle>
          <a:p>
            <a:pPr lvl="0"/>
            <a:r>
              <a:rPr lang="en-US" dirty="0"/>
              <a:t>- Lorem ipsum</a:t>
            </a:r>
          </a:p>
        </p:txBody>
      </p:sp>
      <p:sp>
        <p:nvSpPr>
          <p:cNvPr id="38" name="Text Placeholder 3">
            <a:extLst>
              <a:ext uri="{FF2B5EF4-FFF2-40B4-BE49-F238E27FC236}">
                <a16:creationId xmlns:a16="http://schemas.microsoft.com/office/drawing/2014/main" id="{16190256-DC88-4162-9B66-B0C639B4EBEE}"/>
              </a:ext>
            </a:extLst>
          </p:cNvPr>
          <p:cNvSpPr>
            <a:spLocks noGrp="1"/>
          </p:cNvSpPr>
          <p:nvPr>
            <p:ph type="body" sz="quarter" idx="28" hasCustomPrompt="1"/>
          </p:nvPr>
        </p:nvSpPr>
        <p:spPr>
          <a:xfrm>
            <a:off x="8246981" y="2814489"/>
            <a:ext cx="3093370" cy="769790"/>
          </a:xfrm>
        </p:spPr>
        <p:txBody>
          <a:bodyPr/>
          <a:lstStyle>
            <a:lvl1pPr marL="0" indent="0">
              <a:buNone/>
              <a:defRPr sz="1350" b="1" i="0">
                <a:solidFill>
                  <a:schemeClr val="tx1"/>
                </a:solidFill>
                <a:latin typeface="Arial" panose="020B0604020202020204" pitchFamily="34" charset="0"/>
                <a:cs typeface="Arial" panose="020B0604020202020204" pitchFamily="34" charset="0"/>
              </a:defRPr>
            </a:lvl1pPr>
          </a:lstStyle>
          <a:p>
            <a:pPr lvl="0"/>
            <a:r>
              <a:rPr lang="en-US" dirty="0"/>
              <a:t>Your Quote lorem ipsum dolor sit </a:t>
            </a:r>
            <a:r>
              <a:rPr lang="en-US" dirty="0" err="1"/>
              <a:t>amet</a:t>
            </a:r>
            <a:r>
              <a:rPr lang="en-US" dirty="0"/>
              <a:t>, </a:t>
            </a:r>
            <a:r>
              <a:rPr lang="en-US" dirty="0" err="1"/>
              <a:t>conssectetuer</a:t>
            </a:r>
            <a:r>
              <a:rPr lang="en-US" dirty="0"/>
              <a:t> </a:t>
            </a:r>
            <a:r>
              <a:rPr lang="en-US" dirty="0" err="1"/>
              <a:t>adipiscing</a:t>
            </a:r>
            <a:r>
              <a:rPr lang="en-US" dirty="0"/>
              <a:t> </a:t>
            </a:r>
            <a:r>
              <a:rPr lang="en-US" dirty="0" err="1"/>
              <a:t>elit</a:t>
            </a:r>
            <a:r>
              <a:rPr lang="en-US" dirty="0"/>
              <a:t>, sed diam </a:t>
            </a:r>
            <a:r>
              <a:rPr lang="en-US" dirty="0" err="1"/>
              <a:t>nonummy</a:t>
            </a:r>
            <a:r>
              <a:rPr lang="en-US" dirty="0"/>
              <a:t> </a:t>
            </a:r>
            <a:r>
              <a:rPr lang="en-US" dirty="0" err="1"/>
              <a:t>nibh</a:t>
            </a:r>
            <a:r>
              <a:rPr lang="en-US" dirty="0"/>
              <a:t> </a:t>
            </a:r>
            <a:r>
              <a:rPr lang="en-US" dirty="0" err="1"/>
              <a:t>euismod</a:t>
            </a:r>
            <a:r>
              <a:rPr lang="en-US" dirty="0"/>
              <a:t> </a:t>
            </a:r>
            <a:r>
              <a:rPr lang="en-US" dirty="0" err="1"/>
              <a:t>tincideunt</a:t>
            </a:r>
            <a:r>
              <a:rPr lang="en-US" dirty="0"/>
              <a:t> </a:t>
            </a:r>
            <a:r>
              <a:rPr lang="en-US" dirty="0" err="1"/>
              <a:t>ut</a:t>
            </a:r>
            <a:r>
              <a:rPr lang="en-US" dirty="0"/>
              <a:t> </a:t>
            </a:r>
            <a:r>
              <a:rPr lang="en-US" dirty="0" err="1"/>
              <a:t>justo</a:t>
            </a:r>
            <a:r>
              <a:rPr lang="en-US" dirty="0"/>
              <a:t> </a:t>
            </a:r>
            <a:r>
              <a:rPr lang="en-US" dirty="0" err="1"/>
              <a:t>consectetur</a:t>
            </a:r>
            <a:r>
              <a:rPr lang="en-US" dirty="0"/>
              <a:t>.</a:t>
            </a:r>
          </a:p>
        </p:txBody>
      </p:sp>
      <p:sp>
        <p:nvSpPr>
          <p:cNvPr id="39" name="Text Placeholder 3">
            <a:extLst>
              <a:ext uri="{FF2B5EF4-FFF2-40B4-BE49-F238E27FC236}">
                <a16:creationId xmlns:a16="http://schemas.microsoft.com/office/drawing/2014/main" id="{B26C015A-2606-690A-3637-DF211D0E301D}"/>
              </a:ext>
            </a:extLst>
          </p:cNvPr>
          <p:cNvSpPr>
            <a:spLocks noGrp="1"/>
          </p:cNvSpPr>
          <p:nvPr>
            <p:ph type="body" sz="quarter" idx="29" hasCustomPrompt="1"/>
          </p:nvPr>
        </p:nvSpPr>
        <p:spPr>
          <a:xfrm>
            <a:off x="8246981" y="3777015"/>
            <a:ext cx="3093370" cy="282072"/>
          </a:xfrm>
        </p:spPr>
        <p:txBody>
          <a:bodyPr/>
          <a:lstStyle>
            <a:lvl1pPr marL="0" indent="0">
              <a:buNone/>
              <a:defRPr sz="1000" b="0" i="0">
                <a:solidFill>
                  <a:schemeClr val="tx1"/>
                </a:solidFill>
                <a:latin typeface="Arial" panose="020B0604020202020204" pitchFamily="34" charset="0"/>
                <a:cs typeface="Arial" panose="020B0604020202020204" pitchFamily="34" charset="0"/>
              </a:defRPr>
            </a:lvl1pPr>
          </a:lstStyle>
          <a:p>
            <a:pPr lvl="0"/>
            <a:r>
              <a:rPr lang="en-US" dirty="0"/>
              <a:t>- Lorem ipsum</a:t>
            </a:r>
          </a:p>
        </p:txBody>
      </p:sp>
      <p:sp>
        <p:nvSpPr>
          <p:cNvPr id="42" name="Text Placeholder 3">
            <a:extLst>
              <a:ext uri="{FF2B5EF4-FFF2-40B4-BE49-F238E27FC236}">
                <a16:creationId xmlns:a16="http://schemas.microsoft.com/office/drawing/2014/main" id="{724179B5-EF6A-A76E-917B-207FA3D6AB10}"/>
              </a:ext>
            </a:extLst>
          </p:cNvPr>
          <p:cNvSpPr>
            <a:spLocks noGrp="1"/>
          </p:cNvSpPr>
          <p:nvPr>
            <p:ph type="body" sz="quarter" idx="30" hasCustomPrompt="1"/>
          </p:nvPr>
        </p:nvSpPr>
        <p:spPr>
          <a:xfrm>
            <a:off x="8246981" y="4822193"/>
            <a:ext cx="3093370" cy="769790"/>
          </a:xfrm>
        </p:spPr>
        <p:txBody>
          <a:bodyPr/>
          <a:lstStyle>
            <a:lvl1pPr marL="0" indent="0">
              <a:buNone/>
              <a:defRPr sz="1350" b="1" i="0">
                <a:solidFill>
                  <a:schemeClr val="tx1"/>
                </a:solidFill>
                <a:latin typeface="Arial" panose="020B0604020202020204" pitchFamily="34" charset="0"/>
                <a:cs typeface="Arial" panose="020B0604020202020204" pitchFamily="34" charset="0"/>
              </a:defRPr>
            </a:lvl1pPr>
          </a:lstStyle>
          <a:p>
            <a:pPr lvl="0"/>
            <a:r>
              <a:rPr lang="en-US" dirty="0"/>
              <a:t>Your Quote lorem ipsum dolor sit </a:t>
            </a:r>
            <a:r>
              <a:rPr lang="en-US" dirty="0" err="1"/>
              <a:t>amet</a:t>
            </a:r>
            <a:r>
              <a:rPr lang="en-US" dirty="0"/>
              <a:t>, </a:t>
            </a:r>
            <a:r>
              <a:rPr lang="en-US" dirty="0" err="1"/>
              <a:t>conssectetuer</a:t>
            </a:r>
            <a:r>
              <a:rPr lang="en-US" dirty="0"/>
              <a:t> </a:t>
            </a:r>
            <a:r>
              <a:rPr lang="en-US" dirty="0" err="1"/>
              <a:t>adipiscing</a:t>
            </a:r>
            <a:r>
              <a:rPr lang="en-US" dirty="0"/>
              <a:t> </a:t>
            </a:r>
            <a:r>
              <a:rPr lang="en-US" dirty="0" err="1"/>
              <a:t>elit</a:t>
            </a:r>
            <a:r>
              <a:rPr lang="en-US" dirty="0"/>
              <a:t>, sed diam </a:t>
            </a:r>
            <a:r>
              <a:rPr lang="en-US" dirty="0" err="1"/>
              <a:t>nonummy</a:t>
            </a:r>
            <a:r>
              <a:rPr lang="en-US" dirty="0"/>
              <a:t> </a:t>
            </a:r>
            <a:r>
              <a:rPr lang="en-US" dirty="0" err="1"/>
              <a:t>nibh</a:t>
            </a:r>
            <a:r>
              <a:rPr lang="en-US" dirty="0"/>
              <a:t> </a:t>
            </a:r>
            <a:r>
              <a:rPr lang="en-US" dirty="0" err="1"/>
              <a:t>euismod</a:t>
            </a:r>
            <a:r>
              <a:rPr lang="en-US" dirty="0"/>
              <a:t> </a:t>
            </a:r>
            <a:r>
              <a:rPr lang="en-US" dirty="0" err="1"/>
              <a:t>tincideunt</a:t>
            </a:r>
            <a:r>
              <a:rPr lang="en-US" dirty="0"/>
              <a:t> </a:t>
            </a:r>
            <a:r>
              <a:rPr lang="en-US" dirty="0" err="1"/>
              <a:t>ut</a:t>
            </a:r>
            <a:r>
              <a:rPr lang="en-US" dirty="0"/>
              <a:t> </a:t>
            </a:r>
            <a:r>
              <a:rPr lang="en-US" dirty="0" err="1"/>
              <a:t>justo</a:t>
            </a:r>
            <a:r>
              <a:rPr lang="en-US" dirty="0"/>
              <a:t> </a:t>
            </a:r>
            <a:r>
              <a:rPr lang="en-US" dirty="0" err="1"/>
              <a:t>consectetur</a:t>
            </a:r>
            <a:r>
              <a:rPr lang="en-US" dirty="0"/>
              <a:t>.</a:t>
            </a:r>
          </a:p>
        </p:txBody>
      </p:sp>
      <p:sp>
        <p:nvSpPr>
          <p:cNvPr id="43" name="Text Placeholder 3">
            <a:extLst>
              <a:ext uri="{FF2B5EF4-FFF2-40B4-BE49-F238E27FC236}">
                <a16:creationId xmlns:a16="http://schemas.microsoft.com/office/drawing/2014/main" id="{0429E1A1-E7F1-302E-44D1-175CFEADFAEE}"/>
              </a:ext>
            </a:extLst>
          </p:cNvPr>
          <p:cNvSpPr>
            <a:spLocks noGrp="1"/>
          </p:cNvSpPr>
          <p:nvPr>
            <p:ph type="body" sz="quarter" idx="31" hasCustomPrompt="1"/>
          </p:nvPr>
        </p:nvSpPr>
        <p:spPr>
          <a:xfrm>
            <a:off x="8246981" y="5784719"/>
            <a:ext cx="3093370" cy="282072"/>
          </a:xfrm>
        </p:spPr>
        <p:txBody>
          <a:bodyPr/>
          <a:lstStyle>
            <a:lvl1pPr marL="0" indent="0">
              <a:buNone/>
              <a:defRPr sz="1000" b="0" i="0">
                <a:solidFill>
                  <a:schemeClr val="tx1"/>
                </a:solidFill>
                <a:latin typeface="Arial" panose="020B0604020202020204" pitchFamily="34" charset="0"/>
                <a:cs typeface="Arial" panose="020B0604020202020204" pitchFamily="34" charset="0"/>
              </a:defRPr>
            </a:lvl1pPr>
          </a:lstStyle>
          <a:p>
            <a:pPr lvl="0"/>
            <a:r>
              <a:rPr lang="en-US" dirty="0"/>
              <a:t>- Lorem ipsum</a:t>
            </a:r>
          </a:p>
        </p:txBody>
      </p:sp>
      <p:sp>
        <p:nvSpPr>
          <p:cNvPr id="9" name="TextBox 8">
            <a:extLst>
              <a:ext uri="{FF2B5EF4-FFF2-40B4-BE49-F238E27FC236}">
                <a16:creationId xmlns:a16="http://schemas.microsoft.com/office/drawing/2014/main" id="{AC54045E-624E-A7E4-D472-780638371395}"/>
              </a:ext>
            </a:extLst>
          </p:cNvPr>
          <p:cNvSpPr txBox="1"/>
          <p:nvPr userDrawn="1"/>
        </p:nvSpPr>
        <p:spPr>
          <a:xfrm>
            <a:off x="11595295" y="6354099"/>
            <a:ext cx="341760" cy="246221"/>
          </a:xfrm>
          <a:prstGeom prst="rect">
            <a:avLst/>
          </a:prstGeom>
          <a:noFill/>
        </p:spPr>
        <p:txBody>
          <a:bodyPr wrap="none" rtlCol="0">
            <a:spAutoFit/>
          </a:bodyPr>
          <a:lstStyle/>
          <a:p>
            <a:fld id="{6A63AF19-6634-4843-A9EE-3D2E6FC63B6A}" type="slidenum">
              <a:rPr lang="en-US" sz="1000" smtClean="0"/>
              <a:pPr/>
              <a:t>‹#›</a:t>
            </a:fld>
            <a:endParaRPr lang="en-US" sz="1000" dirty="0"/>
          </a:p>
        </p:txBody>
      </p:sp>
    </p:spTree>
    <p:extLst>
      <p:ext uri="{BB962C8B-B14F-4D97-AF65-F5344CB8AC3E}">
        <p14:creationId xmlns:p14="http://schemas.microsoft.com/office/powerpoint/2010/main" val="293832851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p Flyout Slide">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935E737A-0F20-401F-0A44-17BDE8AEDFDC}"/>
              </a:ext>
            </a:extLst>
          </p:cNvPr>
          <p:cNvSpPr/>
          <p:nvPr userDrawn="1"/>
        </p:nvSpPr>
        <p:spPr>
          <a:xfrm>
            <a:off x="9290760" y="0"/>
            <a:ext cx="2901238" cy="1152071"/>
          </a:xfrm>
          <a:custGeom>
            <a:avLst/>
            <a:gdLst>
              <a:gd name="connsiteX0" fmla="*/ 575869 w 2901238"/>
              <a:gd name="connsiteY0" fmla="*/ 0 h 1152071"/>
              <a:gd name="connsiteX1" fmla="*/ 2901238 w 2901238"/>
              <a:gd name="connsiteY1" fmla="*/ 0 h 1152071"/>
              <a:gd name="connsiteX2" fmla="*/ 2901238 w 2901238"/>
              <a:gd name="connsiteY2" fmla="*/ 1151740 h 1152071"/>
              <a:gd name="connsiteX3" fmla="*/ 579154 w 2901238"/>
              <a:gd name="connsiteY3" fmla="*/ 1151740 h 1152071"/>
              <a:gd name="connsiteX4" fmla="*/ 575870 w 2901238"/>
              <a:gd name="connsiteY4" fmla="*/ 1152071 h 1152071"/>
              <a:gd name="connsiteX5" fmla="*/ 0 w 2901238"/>
              <a:gd name="connsiteY5" fmla="*/ 576201 h 1152071"/>
              <a:gd name="connsiteX6" fmla="*/ 459812 w 2901238"/>
              <a:gd name="connsiteY6" fmla="*/ 12031 h 1152071"/>
              <a:gd name="connsiteX7" fmla="*/ 575869 w 2901238"/>
              <a:gd name="connsiteY7" fmla="*/ 331 h 1152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01238" h="1152071">
                <a:moveTo>
                  <a:pt x="575869" y="0"/>
                </a:moveTo>
                <a:lnTo>
                  <a:pt x="2901238" y="0"/>
                </a:lnTo>
                <a:lnTo>
                  <a:pt x="2901238" y="1151740"/>
                </a:lnTo>
                <a:lnTo>
                  <a:pt x="579154" y="1151740"/>
                </a:lnTo>
                <a:lnTo>
                  <a:pt x="575870" y="1152071"/>
                </a:lnTo>
                <a:cubicBezTo>
                  <a:pt x="257826" y="1152071"/>
                  <a:pt x="0" y="894245"/>
                  <a:pt x="0" y="576201"/>
                </a:cubicBezTo>
                <a:cubicBezTo>
                  <a:pt x="0" y="297913"/>
                  <a:pt x="197398" y="65728"/>
                  <a:pt x="459812" y="12031"/>
                </a:cubicBezTo>
                <a:lnTo>
                  <a:pt x="575869" y="331"/>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4" name="Title Placeholder 15">
            <a:extLst>
              <a:ext uri="{FF2B5EF4-FFF2-40B4-BE49-F238E27FC236}">
                <a16:creationId xmlns:a16="http://schemas.microsoft.com/office/drawing/2014/main" id="{DF9C074A-6494-48EE-604F-0594D3079689}"/>
              </a:ext>
            </a:extLst>
          </p:cNvPr>
          <p:cNvSpPr>
            <a:spLocks noGrp="1"/>
          </p:cNvSpPr>
          <p:nvPr>
            <p:ph type="title" hasCustomPrompt="1"/>
          </p:nvPr>
        </p:nvSpPr>
        <p:spPr>
          <a:xfrm>
            <a:off x="421341" y="394634"/>
            <a:ext cx="6208060" cy="704257"/>
          </a:xfrm>
          <a:prstGeom prst="rect">
            <a:avLst/>
          </a:prstGeom>
        </p:spPr>
        <p:txBody>
          <a:bodyPr vert="horz" lIns="91440" tIns="45720" rIns="91440" bIns="45720" rtlCol="0" anchor="t" anchorCtr="0">
            <a:noAutofit/>
          </a:bodyPr>
          <a:lstStyle>
            <a:lvl1pPr>
              <a:defRPr sz="3600"/>
            </a:lvl1pPr>
          </a:lstStyle>
          <a:p>
            <a:r>
              <a:rPr lang="en-US" dirty="0"/>
              <a:t>Headline in Title Case</a:t>
            </a:r>
          </a:p>
        </p:txBody>
      </p:sp>
      <p:sp>
        <p:nvSpPr>
          <p:cNvPr id="29" name="Text Placeholder 3">
            <a:extLst>
              <a:ext uri="{FF2B5EF4-FFF2-40B4-BE49-F238E27FC236}">
                <a16:creationId xmlns:a16="http://schemas.microsoft.com/office/drawing/2014/main" id="{9ECC56F8-4314-D036-BF6B-3619DA9AC10D}"/>
              </a:ext>
            </a:extLst>
          </p:cNvPr>
          <p:cNvSpPr>
            <a:spLocks noGrp="1"/>
          </p:cNvSpPr>
          <p:nvPr>
            <p:ph type="body" sz="quarter" idx="26" hasCustomPrompt="1"/>
          </p:nvPr>
        </p:nvSpPr>
        <p:spPr>
          <a:xfrm>
            <a:off x="9960545" y="205715"/>
            <a:ext cx="1880430" cy="219759"/>
          </a:xfrm>
        </p:spPr>
        <p:txBody>
          <a:bodyPr/>
          <a:lstStyle>
            <a:lvl1pPr marL="0" indent="0">
              <a:buNone/>
              <a:defRPr sz="1350" b="1" i="0">
                <a:solidFill>
                  <a:schemeClr val="bg1"/>
                </a:solidFill>
                <a:latin typeface="Arial" panose="020B0604020202020204" pitchFamily="34" charset="0"/>
                <a:cs typeface="Arial" panose="020B0604020202020204" pitchFamily="34" charset="0"/>
              </a:defRPr>
            </a:lvl1pPr>
          </a:lstStyle>
          <a:p>
            <a:pPr lvl="0"/>
            <a:r>
              <a:rPr lang="en-US" dirty="0"/>
              <a:t>Tip Title</a:t>
            </a:r>
          </a:p>
        </p:txBody>
      </p:sp>
      <p:sp>
        <p:nvSpPr>
          <p:cNvPr id="31" name="Text Placeholder 3">
            <a:extLst>
              <a:ext uri="{FF2B5EF4-FFF2-40B4-BE49-F238E27FC236}">
                <a16:creationId xmlns:a16="http://schemas.microsoft.com/office/drawing/2014/main" id="{F02093EB-64CE-8951-26D5-94D00F955CCE}"/>
              </a:ext>
            </a:extLst>
          </p:cNvPr>
          <p:cNvSpPr>
            <a:spLocks noGrp="1"/>
          </p:cNvSpPr>
          <p:nvPr>
            <p:ph type="body" sz="quarter" idx="13" hasCustomPrompt="1"/>
          </p:nvPr>
        </p:nvSpPr>
        <p:spPr>
          <a:xfrm>
            <a:off x="421340" y="2291865"/>
            <a:ext cx="6208060" cy="3627671"/>
          </a:xfrm>
        </p:spPr>
        <p:txBody>
          <a:bodyPr/>
          <a:lstStyle>
            <a:lvl1pPr marL="0" indent="0">
              <a:buNone/>
              <a:defRPr sz="1600" b="0" i="0">
                <a:solidFill>
                  <a:srgbClr val="6A768A"/>
                </a:solidFill>
                <a:latin typeface="Arial" panose="020B0604020202020204" pitchFamily="34" charset="0"/>
                <a:cs typeface="Arial" panose="020B0604020202020204"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sed diam </a:t>
            </a:r>
            <a:r>
              <a:rPr lang="en-US" dirty="0" err="1"/>
              <a:t>nonummy</a:t>
            </a:r>
            <a:r>
              <a:rPr lang="en-US" dirty="0"/>
              <a:t> </a:t>
            </a:r>
            <a:r>
              <a:rPr lang="en-US" dirty="0" err="1"/>
              <a:t>nibh</a:t>
            </a:r>
            <a:r>
              <a:rPr lang="en-US" dirty="0"/>
              <a:t> </a:t>
            </a:r>
            <a:r>
              <a:rPr lang="en-US" dirty="0" err="1"/>
              <a:t>euismod</a:t>
            </a:r>
            <a:r>
              <a:rPr lang="en-US" dirty="0"/>
              <a:t> </a:t>
            </a:r>
            <a:r>
              <a:rPr lang="en-US" dirty="0" err="1"/>
              <a:t>tincidunt</a:t>
            </a:r>
            <a:r>
              <a:rPr lang="en-US" dirty="0"/>
              <a:t> </a:t>
            </a:r>
            <a:r>
              <a:rPr lang="en-US" dirty="0" err="1"/>
              <a:t>ut</a:t>
            </a:r>
            <a:r>
              <a:rPr lang="en-US" dirty="0"/>
              <a:t> </a:t>
            </a:r>
            <a:r>
              <a:rPr lang="en-US" dirty="0" err="1"/>
              <a:t>laoreet</a:t>
            </a:r>
            <a:r>
              <a:rPr lang="en-US" dirty="0"/>
              <a:t> dolore magna </a:t>
            </a:r>
            <a:r>
              <a:rPr lang="en-US" dirty="0" err="1"/>
              <a:t>aliquam</a:t>
            </a:r>
            <a:r>
              <a:rPr lang="en-US" dirty="0"/>
              <a:t> </a:t>
            </a:r>
            <a:r>
              <a:rPr lang="en-US" dirty="0" err="1"/>
              <a:t>erat</a:t>
            </a:r>
            <a:r>
              <a:rPr lang="en-US" dirty="0"/>
              <a:t> </a:t>
            </a:r>
            <a:r>
              <a:rPr lang="en-US" dirty="0" err="1"/>
              <a:t>volutpat</a:t>
            </a:r>
            <a:r>
              <a:rPr lang="en-US" dirty="0"/>
              <a:t>. </a:t>
            </a:r>
            <a:r>
              <a:rPr lang="en-US" dirty="0" err="1"/>
              <a:t>Mivamus</a:t>
            </a:r>
            <a:r>
              <a:rPr lang="en-US" dirty="0"/>
              <a:t> vitae </a:t>
            </a:r>
            <a:r>
              <a:rPr lang="en-US" dirty="0" err="1"/>
              <a:t>dapibus</a:t>
            </a:r>
            <a:r>
              <a:rPr lang="en-US" dirty="0"/>
              <a:t> </a:t>
            </a:r>
            <a:r>
              <a:rPr lang="en-US" dirty="0" err="1"/>
              <a:t>neque</a:t>
            </a:r>
            <a:r>
              <a:rPr lang="en-US" dirty="0"/>
              <a:t>. Nunc </a:t>
            </a:r>
            <a:r>
              <a:rPr lang="en-US" dirty="0" err="1"/>
              <a:t>sodales</a:t>
            </a:r>
            <a:r>
              <a:rPr lang="en-US" dirty="0"/>
              <a:t> </a:t>
            </a:r>
            <a:r>
              <a:rPr lang="en-US" dirty="0" err="1"/>
              <a:t>orci</a:t>
            </a:r>
            <a:r>
              <a:rPr lang="en-US" dirty="0"/>
              <a:t> </a:t>
            </a:r>
            <a:r>
              <a:rPr lang="en-US" dirty="0" err="1"/>
              <a:t>eget</a:t>
            </a:r>
            <a:r>
              <a:rPr lang="en-US" dirty="0"/>
              <a:t> </a:t>
            </a:r>
            <a:r>
              <a:rPr lang="en-US" dirty="0" err="1"/>
              <a:t>luctus</a:t>
            </a:r>
            <a:r>
              <a:rPr lang="en-US" dirty="0"/>
              <a:t> vestibulum. </a:t>
            </a:r>
            <a:r>
              <a:rPr lang="en-US" dirty="0" err="1"/>
              <a:t>Vivamus</a:t>
            </a:r>
            <a:r>
              <a:rPr lang="en-US" dirty="0"/>
              <a:t> </a:t>
            </a:r>
            <a:r>
              <a:rPr lang="en-US" dirty="0" err="1"/>
              <a:t>aliquam</a:t>
            </a:r>
            <a:r>
              <a:rPr lang="en-US" dirty="0"/>
              <a:t> semper diam, et </a:t>
            </a:r>
            <a:r>
              <a:rPr lang="en-US" dirty="0" err="1"/>
              <a:t>blandit</a:t>
            </a:r>
            <a:r>
              <a:rPr lang="en-US" dirty="0"/>
              <a:t> </a:t>
            </a:r>
            <a:r>
              <a:rPr lang="en-US" dirty="0" err="1"/>
              <a:t>quam</a:t>
            </a:r>
            <a:r>
              <a:rPr lang="en-US" dirty="0"/>
              <a:t> maximus vitae. Proin </a:t>
            </a:r>
            <a:r>
              <a:rPr lang="en-US" dirty="0" err="1"/>
              <a:t>posuere</a:t>
            </a:r>
            <a:r>
              <a:rPr lang="en-US" dirty="0"/>
              <a:t> </a:t>
            </a:r>
            <a:r>
              <a:rPr lang="en-US" dirty="0" err="1"/>
              <a:t>leo</a:t>
            </a:r>
            <a:r>
              <a:rPr lang="en-US" dirty="0"/>
              <a:t> id magna </a:t>
            </a:r>
            <a:r>
              <a:rPr lang="en-US" dirty="0" err="1"/>
              <a:t>viverra</a:t>
            </a:r>
            <a:r>
              <a:rPr lang="en-US" dirty="0"/>
              <a:t>, nec </a:t>
            </a:r>
            <a:r>
              <a:rPr lang="en-US" dirty="0" err="1"/>
              <a:t>vehicula</a:t>
            </a:r>
            <a:r>
              <a:rPr lang="en-US" dirty="0"/>
              <a:t> </a:t>
            </a:r>
            <a:r>
              <a:rPr lang="en-US" dirty="0" err="1"/>
              <a:t>sem</a:t>
            </a:r>
            <a:r>
              <a:rPr lang="en-US" dirty="0"/>
              <a:t> </a:t>
            </a:r>
            <a:r>
              <a:rPr lang="en-US" dirty="0" err="1"/>
              <a:t>euismod</a:t>
            </a:r>
            <a:r>
              <a:rPr lang="en-US" dirty="0"/>
              <a:t>.</a:t>
            </a:r>
          </a:p>
          <a:p>
            <a:pPr lvl="0"/>
            <a:endParaRPr lang="en-US" dirty="0"/>
          </a:p>
          <a:p>
            <a:pPr lvl="0"/>
            <a:r>
              <a:rPr lang="en-US" dirty="0"/>
              <a:t>• Sed vel </a:t>
            </a:r>
            <a:r>
              <a:rPr lang="en-US" dirty="0" err="1"/>
              <a:t>risus</a:t>
            </a:r>
            <a:r>
              <a:rPr lang="en-US" dirty="0"/>
              <a:t> dui</a:t>
            </a:r>
            <a:br>
              <a:rPr lang="en-US" dirty="0"/>
            </a:br>
            <a:r>
              <a:rPr lang="en-US" dirty="0"/>
              <a:t>• Proin nec </a:t>
            </a:r>
            <a:r>
              <a:rPr lang="en-US" dirty="0" err="1"/>
              <a:t>odio</a:t>
            </a:r>
            <a:r>
              <a:rPr lang="en-US" dirty="0"/>
              <a:t> </a:t>
            </a:r>
            <a:r>
              <a:rPr lang="en-US" dirty="0" err="1"/>
              <a:t>ultrices</a:t>
            </a:r>
            <a:r>
              <a:rPr lang="en-US" dirty="0"/>
              <a:t>, semper </a:t>
            </a:r>
            <a:r>
              <a:rPr lang="en-US" dirty="0" err="1"/>
              <a:t>est</a:t>
            </a:r>
            <a:r>
              <a:rPr lang="en-US" dirty="0"/>
              <a:t> vel</a:t>
            </a:r>
            <a:br>
              <a:rPr lang="en-US" dirty="0"/>
            </a:br>
            <a:r>
              <a:rPr lang="en-US" dirty="0"/>
              <a:t>• </a:t>
            </a:r>
            <a:r>
              <a:rPr lang="en-US" dirty="0" err="1"/>
              <a:t>Luctus</a:t>
            </a:r>
            <a:r>
              <a:rPr lang="en-US" dirty="0"/>
              <a:t> lorem </a:t>
            </a:r>
            <a:r>
              <a:rPr lang="en-US" dirty="0" err="1"/>
              <a:t>cras</a:t>
            </a:r>
            <a:r>
              <a:rPr lang="en-US" dirty="0"/>
              <a:t> et </a:t>
            </a:r>
            <a:r>
              <a:rPr lang="en-US" dirty="0" err="1"/>
              <a:t>nulla</a:t>
            </a:r>
            <a:r>
              <a:rPr lang="en-US" dirty="0"/>
              <a:t> pharetra</a:t>
            </a:r>
            <a:br>
              <a:rPr lang="en-US" dirty="0"/>
            </a:br>
            <a:r>
              <a:rPr lang="en-US" dirty="0"/>
              <a:t>• Pharetra </a:t>
            </a:r>
            <a:r>
              <a:rPr lang="en-US" dirty="0" err="1"/>
              <a:t>nibh</a:t>
            </a:r>
            <a:r>
              <a:rPr lang="en-US" dirty="0"/>
              <a:t> vel, </a:t>
            </a:r>
            <a:r>
              <a:rPr lang="en-US" dirty="0" err="1"/>
              <a:t>malesuada</a:t>
            </a:r>
            <a:r>
              <a:rPr lang="en-US" dirty="0"/>
              <a:t> libero</a:t>
            </a:r>
            <a:br>
              <a:rPr lang="en-US" dirty="0"/>
            </a:br>
            <a:r>
              <a:rPr lang="en-US" dirty="0"/>
              <a:t>• </a:t>
            </a:r>
            <a:r>
              <a:rPr lang="en-US" dirty="0" err="1"/>
              <a:t>Aliquam</a:t>
            </a:r>
            <a:r>
              <a:rPr lang="en-US" dirty="0"/>
              <a:t> </a:t>
            </a:r>
            <a:r>
              <a:rPr lang="en-US" dirty="0" err="1"/>
              <a:t>erat</a:t>
            </a:r>
            <a:r>
              <a:rPr lang="en-US" dirty="0"/>
              <a:t> </a:t>
            </a:r>
            <a:r>
              <a:rPr lang="en-US" dirty="0" err="1"/>
              <a:t>volutpat</a:t>
            </a:r>
            <a:r>
              <a:rPr lang="en-US" dirty="0"/>
              <a:t> </a:t>
            </a:r>
            <a:r>
              <a:rPr lang="en-US" dirty="0" err="1"/>
              <a:t>pellentesque</a:t>
            </a:r>
            <a:r>
              <a:rPr lang="en-US" dirty="0"/>
              <a:t> </a:t>
            </a:r>
            <a:r>
              <a:rPr lang="en-US" dirty="0" err="1"/>
              <a:t>sodales</a:t>
            </a:r>
            <a:endParaRPr lang="en-US" dirty="0"/>
          </a:p>
        </p:txBody>
      </p:sp>
      <p:sp>
        <p:nvSpPr>
          <p:cNvPr id="5" name="Text Placeholder 12">
            <a:extLst>
              <a:ext uri="{FF2B5EF4-FFF2-40B4-BE49-F238E27FC236}">
                <a16:creationId xmlns:a16="http://schemas.microsoft.com/office/drawing/2014/main" id="{5F438473-E229-4F67-DB5E-DBD76F45CD76}"/>
              </a:ext>
            </a:extLst>
          </p:cNvPr>
          <p:cNvSpPr>
            <a:spLocks noGrp="1"/>
          </p:cNvSpPr>
          <p:nvPr>
            <p:ph type="body" sz="quarter" idx="18" hasCustomPrompt="1"/>
          </p:nvPr>
        </p:nvSpPr>
        <p:spPr>
          <a:xfrm>
            <a:off x="421340" y="1235182"/>
            <a:ext cx="5570386" cy="769790"/>
          </a:xfrm>
        </p:spPr>
        <p:txBody>
          <a:bodyPr/>
          <a:lstStyle>
            <a:lvl1pPr>
              <a:defRPr sz="2600" b="0"/>
            </a:lvl1pPr>
          </a:lstStyle>
          <a:p>
            <a:pPr lvl="0"/>
            <a:r>
              <a:rPr lang="en-US" dirty="0"/>
              <a:t>Title Case Sub-headline </a:t>
            </a:r>
            <a:r>
              <a:rPr lang="en-US" dirty="0" err="1"/>
              <a:t>Risus</a:t>
            </a:r>
            <a:r>
              <a:rPr lang="en-US" dirty="0"/>
              <a:t> vel </a:t>
            </a:r>
            <a:r>
              <a:rPr lang="en-US" dirty="0" err="1"/>
              <a:t>Condimentum</a:t>
            </a:r>
            <a:r>
              <a:rPr lang="en-US" dirty="0"/>
              <a:t> </a:t>
            </a:r>
            <a:r>
              <a:rPr lang="en-US" dirty="0" err="1"/>
              <a:t>Venenatis</a:t>
            </a:r>
            <a:r>
              <a:rPr lang="en-US" dirty="0"/>
              <a:t> </a:t>
            </a:r>
            <a:r>
              <a:rPr lang="en-US" dirty="0" err="1"/>
              <a:t>Commodo</a:t>
            </a:r>
            <a:r>
              <a:rPr lang="en-US" dirty="0"/>
              <a:t> </a:t>
            </a:r>
          </a:p>
        </p:txBody>
      </p:sp>
      <p:sp>
        <p:nvSpPr>
          <p:cNvPr id="6" name="Text Placeholder 3">
            <a:extLst>
              <a:ext uri="{FF2B5EF4-FFF2-40B4-BE49-F238E27FC236}">
                <a16:creationId xmlns:a16="http://schemas.microsoft.com/office/drawing/2014/main" id="{363D1501-7A2F-CEE6-A9A5-0C09BAA86AF2}"/>
              </a:ext>
            </a:extLst>
          </p:cNvPr>
          <p:cNvSpPr>
            <a:spLocks noGrp="1"/>
          </p:cNvSpPr>
          <p:nvPr>
            <p:ph type="body" sz="quarter" idx="27" hasCustomPrompt="1"/>
          </p:nvPr>
        </p:nvSpPr>
        <p:spPr>
          <a:xfrm>
            <a:off x="9960546" y="497235"/>
            <a:ext cx="2019252" cy="480826"/>
          </a:xfrm>
        </p:spPr>
        <p:txBody>
          <a:bodyPr/>
          <a:lstStyle>
            <a:lvl1pPr marL="0" indent="0">
              <a:buNone/>
              <a:defRPr sz="750" b="1" i="0">
                <a:solidFill>
                  <a:schemeClr val="bg1"/>
                </a:solidFill>
                <a:latin typeface="Arial" panose="020B0604020202020204" pitchFamily="34" charset="0"/>
                <a:cs typeface="Arial" panose="020B0604020202020204" pitchFamily="34" charset="0"/>
              </a:defRPr>
            </a:lvl1pPr>
          </a:lstStyle>
          <a:p>
            <a:pPr lvl="0"/>
            <a:r>
              <a:rPr lang="en-US" dirty="0" err="1"/>
              <a:t>Quisque</a:t>
            </a:r>
            <a:r>
              <a:rPr lang="en-US" dirty="0"/>
              <a:t> eros diam, </a:t>
            </a:r>
            <a:r>
              <a:rPr lang="en-US" dirty="0" err="1"/>
              <a:t>finibus</a:t>
            </a:r>
            <a:r>
              <a:rPr lang="en-US" dirty="0"/>
              <a:t> sit </a:t>
            </a:r>
            <a:r>
              <a:rPr lang="en-US" dirty="0" err="1"/>
              <a:t>amet</a:t>
            </a:r>
            <a:r>
              <a:rPr lang="en-US" dirty="0"/>
              <a:t> nisi </a:t>
            </a:r>
            <a:r>
              <a:rPr lang="en-US" dirty="0" err="1"/>
              <a:t>quis</a:t>
            </a:r>
            <a:r>
              <a:rPr lang="en-US" dirty="0"/>
              <a:t>, </a:t>
            </a:r>
            <a:r>
              <a:rPr lang="en-US" dirty="0" err="1"/>
              <a:t>luctus</a:t>
            </a:r>
            <a:r>
              <a:rPr lang="en-US" dirty="0"/>
              <a:t> </a:t>
            </a:r>
            <a:r>
              <a:rPr lang="en-US" dirty="0" err="1"/>
              <a:t>interdum</a:t>
            </a:r>
            <a:r>
              <a:rPr lang="en-US" dirty="0"/>
              <a:t> </a:t>
            </a:r>
            <a:r>
              <a:rPr lang="en-US" dirty="0" err="1"/>
              <a:t>mauris</a:t>
            </a:r>
            <a:r>
              <a:rPr lang="en-US" dirty="0"/>
              <a:t>. Donec at </a:t>
            </a:r>
            <a:r>
              <a:rPr lang="en-US" dirty="0" err="1"/>
              <a:t>tellus</a:t>
            </a:r>
            <a:r>
              <a:rPr lang="en-US" dirty="0"/>
              <a:t> vitae </a:t>
            </a:r>
            <a:r>
              <a:rPr lang="en-US" dirty="0" err="1"/>
              <a:t>est</a:t>
            </a:r>
            <a:r>
              <a:rPr lang="en-US" dirty="0"/>
              <a:t> vestibulum </a:t>
            </a:r>
            <a:r>
              <a:rPr lang="en-US" dirty="0" err="1"/>
              <a:t>molestie</a:t>
            </a:r>
            <a:r>
              <a:rPr lang="en-US" dirty="0"/>
              <a:t>.</a:t>
            </a:r>
          </a:p>
        </p:txBody>
      </p:sp>
      <p:sp>
        <p:nvSpPr>
          <p:cNvPr id="9" name="TextBox 8">
            <a:extLst>
              <a:ext uri="{FF2B5EF4-FFF2-40B4-BE49-F238E27FC236}">
                <a16:creationId xmlns:a16="http://schemas.microsoft.com/office/drawing/2014/main" id="{AC54045E-624E-A7E4-D472-780638371395}"/>
              </a:ext>
            </a:extLst>
          </p:cNvPr>
          <p:cNvSpPr txBox="1"/>
          <p:nvPr userDrawn="1"/>
        </p:nvSpPr>
        <p:spPr>
          <a:xfrm>
            <a:off x="11595295" y="6354099"/>
            <a:ext cx="341760" cy="246221"/>
          </a:xfrm>
          <a:prstGeom prst="rect">
            <a:avLst/>
          </a:prstGeom>
          <a:noFill/>
        </p:spPr>
        <p:txBody>
          <a:bodyPr wrap="none" rtlCol="0">
            <a:spAutoFit/>
          </a:bodyPr>
          <a:lstStyle/>
          <a:p>
            <a:fld id="{6A63AF19-6634-4843-A9EE-3D2E6FC63B6A}" type="slidenum">
              <a:rPr lang="en-US" sz="1000" smtClean="0"/>
              <a:pPr/>
              <a:t>‹#›</a:t>
            </a:fld>
            <a:endParaRPr lang="en-US" sz="1000" dirty="0"/>
          </a:p>
        </p:txBody>
      </p:sp>
      <p:sp>
        <p:nvSpPr>
          <p:cNvPr id="15" name="Picture Placeholder 14">
            <a:extLst>
              <a:ext uri="{FF2B5EF4-FFF2-40B4-BE49-F238E27FC236}">
                <a16:creationId xmlns:a16="http://schemas.microsoft.com/office/drawing/2014/main" id="{8C71D4E0-BDBE-BAFC-B9A8-883B99C81453}"/>
              </a:ext>
            </a:extLst>
          </p:cNvPr>
          <p:cNvSpPr>
            <a:spLocks noGrp="1"/>
          </p:cNvSpPr>
          <p:nvPr>
            <p:ph type="pic" sz="quarter" idx="28"/>
          </p:nvPr>
        </p:nvSpPr>
        <p:spPr>
          <a:xfrm>
            <a:off x="7414343" y="2005013"/>
            <a:ext cx="4356317" cy="3914523"/>
          </a:xfrm>
        </p:spPr>
        <p:txBody>
          <a:bodyPr/>
          <a:lstStyle/>
          <a:p>
            <a:r>
              <a:rPr lang="en-US" dirty="0"/>
              <a:t>Click icon to add picture</a:t>
            </a:r>
          </a:p>
        </p:txBody>
      </p:sp>
      <p:pic>
        <p:nvPicPr>
          <p:cNvPr id="3" name="Graphic 2">
            <a:extLst>
              <a:ext uri="{FF2B5EF4-FFF2-40B4-BE49-F238E27FC236}">
                <a16:creationId xmlns:a16="http://schemas.microsoft.com/office/drawing/2014/main" id="{985BDE00-68D7-D561-903E-DBAB845EEDA1}"/>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564220" y="428648"/>
            <a:ext cx="302411" cy="294011"/>
          </a:xfrm>
          <a:prstGeom prst="rect">
            <a:avLst/>
          </a:prstGeom>
        </p:spPr>
      </p:pic>
    </p:spTree>
    <p:extLst>
      <p:ext uri="{BB962C8B-B14F-4D97-AF65-F5344CB8AC3E}">
        <p14:creationId xmlns:p14="http://schemas.microsoft.com/office/powerpoint/2010/main" val="105711550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Left Half Slide Photo">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6304C397-AA7E-7576-310B-5FBD92731776}"/>
              </a:ext>
            </a:extLst>
          </p:cNvPr>
          <p:cNvSpPr/>
          <p:nvPr userDrawn="1"/>
        </p:nvSpPr>
        <p:spPr>
          <a:xfrm>
            <a:off x="0" y="0"/>
            <a:ext cx="12192000" cy="6858000"/>
          </a:xfrm>
          <a:prstGeom prst="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 name="Text Placeholder 3">
            <a:extLst>
              <a:ext uri="{FF2B5EF4-FFF2-40B4-BE49-F238E27FC236}">
                <a16:creationId xmlns:a16="http://schemas.microsoft.com/office/drawing/2014/main" id="{A0FFCE35-02E5-0BD4-FE96-E8EC3F04C31A}"/>
              </a:ext>
            </a:extLst>
          </p:cNvPr>
          <p:cNvSpPr>
            <a:spLocks noGrp="1"/>
          </p:cNvSpPr>
          <p:nvPr>
            <p:ph type="body" sz="quarter" idx="10" hasCustomPrompt="1"/>
          </p:nvPr>
        </p:nvSpPr>
        <p:spPr>
          <a:xfrm>
            <a:off x="6670115" y="562410"/>
            <a:ext cx="5149383" cy="494037"/>
          </a:xfrm>
        </p:spPr>
        <p:txBody>
          <a:bodyPr anchor="b"/>
          <a:lstStyle>
            <a:lvl1pPr marL="0" indent="0">
              <a:buNone/>
              <a:defRPr sz="3400">
                <a:solidFill>
                  <a:schemeClr val="tx1"/>
                </a:solidFill>
              </a:defRPr>
            </a:lvl1pPr>
          </a:lstStyle>
          <a:p>
            <a:pPr lvl="0"/>
            <a:r>
              <a:rPr lang="en-US" dirty="0"/>
              <a:t>This is Your Headline</a:t>
            </a:r>
          </a:p>
        </p:txBody>
      </p:sp>
      <p:sp>
        <p:nvSpPr>
          <p:cNvPr id="4" name="Text Placeholder 3">
            <a:extLst>
              <a:ext uri="{FF2B5EF4-FFF2-40B4-BE49-F238E27FC236}">
                <a16:creationId xmlns:a16="http://schemas.microsoft.com/office/drawing/2014/main" id="{A9A705D9-8693-53F8-9C9C-05A9C729C6FA}"/>
              </a:ext>
            </a:extLst>
          </p:cNvPr>
          <p:cNvSpPr>
            <a:spLocks noGrp="1"/>
          </p:cNvSpPr>
          <p:nvPr>
            <p:ph type="body" sz="quarter" idx="13" hasCustomPrompt="1"/>
          </p:nvPr>
        </p:nvSpPr>
        <p:spPr>
          <a:xfrm>
            <a:off x="6670115" y="1373298"/>
            <a:ext cx="5149383" cy="722174"/>
          </a:xfrm>
        </p:spPr>
        <p:txBody>
          <a:bodyPr/>
          <a:lstStyle>
            <a:lvl1pPr marL="0" indent="0">
              <a:buNone/>
              <a:defRPr sz="1600" b="0" i="0">
                <a:solidFill>
                  <a:srgbClr val="6A768A"/>
                </a:solidFill>
                <a:latin typeface="Arial" panose="020B0604020202020204" pitchFamily="34" charset="0"/>
                <a:cs typeface="Arial" panose="020B0604020202020204" pitchFamily="34" charset="0"/>
              </a:defRPr>
            </a:lvl1pPr>
          </a:lstStyle>
          <a:p>
            <a:pPr lvl="0"/>
            <a:r>
              <a:rPr lang="en-US" dirty="0"/>
              <a:t>Lorem ipsum dolor sit amet, consectetuer adipiscing elit, sed diam nonummy nibh euismod tincidunt ut laoreet dolore magna aliquam erat volutpat.</a:t>
            </a:r>
          </a:p>
        </p:txBody>
      </p:sp>
      <p:sp>
        <p:nvSpPr>
          <p:cNvPr id="14" name="Text Placeholder 3">
            <a:extLst>
              <a:ext uri="{FF2B5EF4-FFF2-40B4-BE49-F238E27FC236}">
                <a16:creationId xmlns:a16="http://schemas.microsoft.com/office/drawing/2014/main" id="{8E73C156-CB49-1CB4-CE08-986699746275}"/>
              </a:ext>
            </a:extLst>
          </p:cNvPr>
          <p:cNvSpPr>
            <a:spLocks noGrp="1"/>
          </p:cNvSpPr>
          <p:nvPr>
            <p:ph type="body" sz="quarter" idx="14" hasCustomPrompt="1"/>
          </p:nvPr>
        </p:nvSpPr>
        <p:spPr>
          <a:xfrm>
            <a:off x="7658100" y="2605227"/>
            <a:ext cx="4161398" cy="214173"/>
          </a:xfrm>
        </p:spPr>
        <p:txBody>
          <a:bodyPr/>
          <a:lstStyle>
            <a:lvl1pPr marL="0" indent="0">
              <a:buNone/>
              <a:defRPr sz="1300" b="1" i="0">
                <a:solidFill>
                  <a:srgbClr val="0C2340"/>
                </a:solidFill>
                <a:latin typeface="Arial" panose="020B0604020202020204" pitchFamily="34" charset="0"/>
                <a:cs typeface="Arial" panose="020B0604020202020204" pitchFamily="34" charset="0"/>
              </a:defRPr>
            </a:lvl1pPr>
          </a:lstStyle>
          <a:p>
            <a:pPr lvl="0"/>
            <a:r>
              <a:rPr lang="en-US" dirty="0"/>
              <a:t>Lorem ipsum dolor sit amet</a:t>
            </a:r>
          </a:p>
        </p:txBody>
      </p:sp>
      <p:sp>
        <p:nvSpPr>
          <p:cNvPr id="17" name="Text Placeholder 3">
            <a:extLst>
              <a:ext uri="{FF2B5EF4-FFF2-40B4-BE49-F238E27FC236}">
                <a16:creationId xmlns:a16="http://schemas.microsoft.com/office/drawing/2014/main" id="{FDA70112-D2E4-0E98-1A90-C02909432B9F}"/>
              </a:ext>
            </a:extLst>
          </p:cNvPr>
          <p:cNvSpPr>
            <a:spLocks noGrp="1"/>
          </p:cNvSpPr>
          <p:nvPr>
            <p:ph type="body" sz="quarter" idx="15" hasCustomPrompt="1"/>
          </p:nvPr>
        </p:nvSpPr>
        <p:spPr>
          <a:xfrm>
            <a:off x="7658100" y="2948128"/>
            <a:ext cx="4161398" cy="582474"/>
          </a:xfrm>
        </p:spPr>
        <p:txBody>
          <a:bodyPr/>
          <a:lstStyle>
            <a:lvl1pPr marL="0" indent="0">
              <a:buNone/>
              <a:defRPr sz="1300" b="0" i="0">
                <a:solidFill>
                  <a:srgbClr val="6A768A"/>
                </a:solidFill>
                <a:latin typeface="Arial" panose="020B0604020202020204" pitchFamily="34" charset="0"/>
                <a:cs typeface="Arial" panose="020B0604020202020204" pitchFamily="34" charset="0"/>
              </a:defRPr>
            </a:lvl1pPr>
          </a:lstStyle>
          <a:p>
            <a:pPr lvl="0"/>
            <a:r>
              <a:rPr lang="en-US" dirty="0"/>
              <a:t>Lorem ipsum dolor sit amet, consectetuer adipiscing elit, sed diam nonummy nibh euismod tincidunt ut laoreet dolore.</a:t>
            </a:r>
          </a:p>
        </p:txBody>
      </p:sp>
      <p:sp>
        <p:nvSpPr>
          <p:cNvPr id="21" name="Text Placeholder 3">
            <a:extLst>
              <a:ext uri="{FF2B5EF4-FFF2-40B4-BE49-F238E27FC236}">
                <a16:creationId xmlns:a16="http://schemas.microsoft.com/office/drawing/2014/main" id="{19F5A257-DF89-9A3B-4DBB-8EF8F261EC9D}"/>
              </a:ext>
            </a:extLst>
          </p:cNvPr>
          <p:cNvSpPr>
            <a:spLocks noGrp="1"/>
          </p:cNvSpPr>
          <p:nvPr>
            <p:ph type="body" sz="quarter" idx="16" hasCustomPrompt="1"/>
          </p:nvPr>
        </p:nvSpPr>
        <p:spPr>
          <a:xfrm>
            <a:off x="7658100" y="3875227"/>
            <a:ext cx="4161398" cy="214173"/>
          </a:xfrm>
        </p:spPr>
        <p:txBody>
          <a:bodyPr/>
          <a:lstStyle>
            <a:lvl1pPr marL="0" indent="0">
              <a:buNone/>
              <a:defRPr sz="1300" b="1" i="0">
                <a:solidFill>
                  <a:srgbClr val="0C2340"/>
                </a:solidFill>
                <a:latin typeface="Arial" panose="020B0604020202020204" pitchFamily="34" charset="0"/>
                <a:cs typeface="Arial" panose="020B0604020202020204" pitchFamily="34" charset="0"/>
              </a:defRPr>
            </a:lvl1pPr>
          </a:lstStyle>
          <a:p>
            <a:pPr lvl="0"/>
            <a:r>
              <a:rPr lang="en-US" dirty="0"/>
              <a:t>Lorem ipsum dolor sit amet</a:t>
            </a:r>
          </a:p>
        </p:txBody>
      </p:sp>
      <p:sp>
        <p:nvSpPr>
          <p:cNvPr id="22" name="Text Placeholder 3">
            <a:extLst>
              <a:ext uri="{FF2B5EF4-FFF2-40B4-BE49-F238E27FC236}">
                <a16:creationId xmlns:a16="http://schemas.microsoft.com/office/drawing/2014/main" id="{6256EBB3-C08B-2D14-BA3A-845DC3FE07E4}"/>
              </a:ext>
            </a:extLst>
          </p:cNvPr>
          <p:cNvSpPr>
            <a:spLocks noGrp="1"/>
          </p:cNvSpPr>
          <p:nvPr>
            <p:ph type="body" sz="quarter" idx="17" hasCustomPrompt="1"/>
          </p:nvPr>
        </p:nvSpPr>
        <p:spPr>
          <a:xfrm>
            <a:off x="7658100" y="4218128"/>
            <a:ext cx="4161398" cy="582474"/>
          </a:xfrm>
        </p:spPr>
        <p:txBody>
          <a:bodyPr/>
          <a:lstStyle>
            <a:lvl1pPr marL="0" indent="0">
              <a:buNone/>
              <a:defRPr sz="1300" b="0" i="0">
                <a:solidFill>
                  <a:srgbClr val="6A768A"/>
                </a:solidFill>
                <a:latin typeface="Arial" panose="020B0604020202020204" pitchFamily="34" charset="0"/>
                <a:cs typeface="Arial" panose="020B0604020202020204" pitchFamily="34" charset="0"/>
              </a:defRPr>
            </a:lvl1pPr>
          </a:lstStyle>
          <a:p>
            <a:pPr lvl="0"/>
            <a:r>
              <a:rPr lang="en-US" dirty="0"/>
              <a:t>Lorem ipsum dolor sit amet, consectetuer adipiscing elit, sed diam nonummy nibh euismod tincidunt ut laoreet dolore.</a:t>
            </a:r>
          </a:p>
        </p:txBody>
      </p:sp>
      <p:sp>
        <p:nvSpPr>
          <p:cNvPr id="23" name="Text Placeholder 3">
            <a:extLst>
              <a:ext uri="{FF2B5EF4-FFF2-40B4-BE49-F238E27FC236}">
                <a16:creationId xmlns:a16="http://schemas.microsoft.com/office/drawing/2014/main" id="{DFCA0786-A567-0E28-1AEB-E1BD447B5F59}"/>
              </a:ext>
            </a:extLst>
          </p:cNvPr>
          <p:cNvSpPr>
            <a:spLocks noGrp="1"/>
          </p:cNvSpPr>
          <p:nvPr>
            <p:ph type="body" sz="quarter" idx="18" hasCustomPrompt="1"/>
          </p:nvPr>
        </p:nvSpPr>
        <p:spPr>
          <a:xfrm>
            <a:off x="7658100" y="5145227"/>
            <a:ext cx="4161398" cy="214173"/>
          </a:xfrm>
        </p:spPr>
        <p:txBody>
          <a:bodyPr/>
          <a:lstStyle>
            <a:lvl1pPr marL="0" indent="0">
              <a:buNone/>
              <a:defRPr sz="1300" b="1" i="0">
                <a:solidFill>
                  <a:srgbClr val="0C2340"/>
                </a:solidFill>
                <a:latin typeface="Arial" panose="020B0604020202020204" pitchFamily="34" charset="0"/>
                <a:cs typeface="Arial" panose="020B0604020202020204" pitchFamily="34" charset="0"/>
              </a:defRPr>
            </a:lvl1pPr>
          </a:lstStyle>
          <a:p>
            <a:pPr lvl="0"/>
            <a:r>
              <a:rPr lang="en-US" dirty="0"/>
              <a:t>Lorem ipsum dolor sit amet</a:t>
            </a:r>
          </a:p>
        </p:txBody>
      </p:sp>
      <p:sp>
        <p:nvSpPr>
          <p:cNvPr id="24" name="Text Placeholder 3">
            <a:extLst>
              <a:ext uri="{FF2B5EF4-FFF2-40B4-BE49-F238E27FC236}">
                <a16:creationId xmlns:a16="http://schemas.microsoft.com/office/drawing/2014/main" id="{F6AD983F-E27F-500D-761D-BAD79BA18429}"/>
              </a:ext>
            </a:extLst>
          </p:cNvPr>
          <p:cNvSpPr>
            <a:spLocks noGrp="1"/>
          </p:cNvSpPr>
          <p:nvPr>
            <p:ph type="body" sz="quarter" idx="19" hasCustomPrompt="1"/>
          </p:nvPr>
        </p:nvSpPr>
        <p:spPr>
          <a:xfrm>
            <a:off x="7658100" y="5488128"/>
            <a:ext cx="4161398" cy="582474"/>
          </a:xfrm>
        </p:spPr>
        <p:txBody>
          <a:bodyPr/>
          <a:lstStyle>
            <a:lvl1pPr marL="0" indent="0">
              <a:buNone/>
              <a:defRPr sz="1300" b="0" i="0">
                <a:solidFill>
                  <a:srgbClr val="6A768A"/>
                </a:solidFill>
                <a:latin typeface="Arial" panose="020B0604020202020204" pitchFamily="34" charset="0"/>
                <a:cs typeface="Arial" panose="020B0604020202020204" pitchFamily="34" charset="0"/>
              </a:defRPr>
            </a:lvl1pPr>
          </a:lstStyle>
          <a:p>
            <a:pPr lvl="0"/>
            <a:r>
              <a:rPr lang="en-US" dirty="0"/>
              <a:t>Lorem ipsum dolor sit amet, consectetuer adipiscing elit, sed diam nonummy nibh euismod tincidunt ut laoreet dolore.</a:t>
            </a:r>
          </a:p>
        </p:txBody>
      </p:sp>
      <p:sp>
        <p:nvSpPr>
          <p:cNvPr id="8" name="Freeform 7">
            <a:extLst>
              <a:ext uri="{FF2B5EF4-FFF2-40B4-BE49-F238E27FC236}">
                <a16:creationId xmlns:a16="http://schemas.microsoft.com/office/drawing/2014/main" id="{E8D9A524-A5D9-4DC0-8059-6CD1E2287A14}"/>
              </a:ext>
            </a:extLst>
          </p:cNvPr>
          <p:cNvSpPr/>
          <p:nvPr userDrawn="1"/>
        </p:nvSpPr>
        <p:spPr>
          <a:xfrm>
            <a:off x="-5444" y="-1"/>
            <a:ext cx="6253844" cy="6858001"/>
          </a:xfrm>
          <a:custGeom>
            <a:avLst/>
            <a:gdLst>
              <a:gd name="connsiteX0" fmla="*/ 0 w 6858001"/>
              <a:gd name="connsiteY0" fmla="*/ 0 h 6858001"/>
              <a:gd name="connsiteX1" fmla="*/ 3486478 w 6858001"/>
              <a:gd name="connsiteY1" fmla="*/ 0 h 6858001"/>
              <a:gd name="connsiteX2" fmla="*/ 3486478 w 6858001"/>
              <a:gd name="connsiteY2" fmla="*/ 1454 h 6858001"/>
              <a:gd name="connsiteX3" fmla="*/ 3605457 w 6858001"/>
              <a:gd name="connsiteY3" fmla="*/ 4463 h 6858001"/>
              <a:gd name="connsiteX4" fmla="*/ 6858001 w 6858001"/>
              <a:gd name="connsiteY4" fmla="*/ 3429001 h 6858001"/>
              <a:gd name="connsiteX5" fmla="*/ 3605457 w 6858001"/>
              <a:gd name="connsiteY5" fmla="*/ 6853539 h 6858001"/>
              <a:gd name="connsiteX6" fmla="*/ 3486478 w 6858001"/>
              <a:gd name="connsiteY6" fmla="*/ 6856548 h 6858001"/>
              <a:gd name="connsiteX7" fmla="*/ 3486478 w 6858001"/>
              <a:gd name="connsiteY7" fmla="*/ 6858001 h 6858001"/>
              <a:gd name="connsiteX8" fmla="*/ 3429001 w 6858001"/>
              <a:gd name="connsiteY8" fmla="*/ 6858001 h 6858001"/>
              <a:gd name="connsiteX9" fmla="*/ 0 w 6858001"/>
              <a:gd name="connsiteY9" fmla="*/ 6858001 h 6858001"/>
              <a:gd name="connsiteX0" fmla="*/ 1518558 w 6858001"/>
              <a:gd name="connsiteY0" fmla="*/ 0 h 6858001"/>
              <a:gd name="connsiteX1" fmla="*/ 3486478 w 6858001"/>
              <a:gd name="connsiteY1" fmla="*/ 0 h 6858001"/>
              <a:gd name="connsiteX2" fmla="*/ 3486478 w 6858001"/>
              <a:gd name="connsiteY2" fmla="*/ 1454 h 6858001"/>
              <a:gd name="connsiteX3" fmla="*/ 3605457 w 6858001"/>
              <a:gd name="connsiteY3" fmla="*/ 4463 h 6858001"/>
              <a:gd name="connsiteX4" fmla="*/ 6858001 w 6858001"/>
              <a:gd name="connsiteY4" fmla="*/ 3429001 h 6858001"/>
              <a:gd name="connsiteX5" fmla="*/ 3605457 w 6858001"/>
              <a:gd name="connsiteY5" fmla="*/ 6853539 h 6858001"/>
              <a:gd name="connsiteX6" fmla="*/ 3486478 w 6858001"/>
              <a:gd name="connsiteY6" fmla="*/ 6856548 h 6858001"/>
              <a:gd name="connsiteX7" fmla="*/ 3486478 w 6858001"/>
              <a:gd name="connsiteY7" fmla="*/ 6858001 h 6858001"/>
              <a:gd name="connsiteX8" fmla="*/ 3429001 w 6858001"/>
              <a:gd name="connsiteY8" fmla="*/ 6858001 h 6858001"/>
              <a:gd name="connsiteX9" fmla="*/ 0 w 6858001"/>
              <a:gd name="connsiteY9" fmla="*/ 6858001 h 6858001"/>
              <a:gd name="connsiteX10" fmla="*/ 1518558 w 6858001"/>
              <a:gd name="connsiteY10" fmla="*/ 0 h 6858001"/>
              <a:gd name="connsiteX0" fmla="*/ 604158 w 6858001"/>
              <a:gd name="connsiteY0" fmla="*/ 0 h 6858001"/>
              <a:gd name="connsiteX1" fmla="*/ 3486478 w 6858001"/>
              <a:gd name="connsiteY1" fmla="*/ 0 h 6858001"/>
              <a:gd name="connsiteX2" fmla="*/ 3486478 w 6858001"/>
              <a:gd name="connsiteY2" fmla="*/ 1454 h 6858001"/>
              <a:gd name="connsiteX3" fmla="*/ 3605457 w 6858001"/>
              <a:gd name="connsiteY3" fmla="*/ 4463 h 6858001"/>
              <a:gd name="connsiteX4" fmla="*/ 6858001 w 6858001"/>
              <a:gd name="connsiteY4" fmla="*/ 3429001 h 6858001"/>
              <a:gd name="connsiteX5" fmla="*/ 3605457 w 6858001"/>
              <a:gd name="connsiteY5" fmla="*/ 6853539 h 6858001"/>
              <a:gd name="connsiteX6" fmla="*/ 3486478 w 6858001"/>
              <a:gd name="connsiteY6" fmla="*/ 6856548 h 6858001"/>
              <a:gd name="connsiteX7" fmla="*/ 3486478 w 6858001"/>
              <a:gd name="connsiteY7" fmla="*/ 6858001 h 6858001"/>
              <a:gd name="connsiteX8" fmla="*/ 3429001 w 6858001"/>
              <a:gd name="connsiteY8" fmla="*/ 6858001 h 6858001"/>
              <a:gd name="connsiteX9" fmla="*/ 0 w 6858001"/>
              <a:gd name="connsiteY9" fmla="*/ 6858001 h 6858001"/>
              <a:gd name="connsiteX10" fmla="*/ 604158 w 6858001"/>
              <a:gd name="connsiteY10" fmla="*/ 0 h 6858001"/>
              <a:gd name="connsiteX0" fmla="*/ 0 w 6253843"/>
              <a:gd name="connsiteY0" fmla="*/ 0 h 6858001"/>
              <a:gd name="connsiteX1" fmla="*/ 2882320 w 6253843"/>
              <a:gd name="connsiteY1" fmla="*/ 0 h 6858001"/>
              <a:gd name="connsiteX2" fmla="*/ 2882320 w 6253843"/>
              <a:gd name="connsiteY2" fmla="*/ 1454 h 6858001"/>
              <a:gd name="connsiteX3" fmla="*/ 3001299 w 6253843"/>
              <a:gd name="connsiteY3" fmla="*/ 4463 h 6858001"/>
              <a:gd name="connsiteX4" fmla="*/ 6253843 w 6253843"/>
              <a:gd name="connsiteY4" fmla="*/ 3429001 h 6858001"/>
              <a:gd name="connsiteX5" fmla="*/ 3001299 w 6253843"/>
              <a:gd name="connsiteY5" fmla="*/ 6853539 h 6858001"/>
              <a:gd name="connsiteX6" fmla="*/ 2882320 w 6253843"/>
              <a:gd name="connsiteY6" fmla="*/ 6856548 h 6858001"/>
              <a:gd name="connsiteX7" fmla="*/ 2882320 w 6253843"/>
              <a:gd name="connsiteY7" fmla="*/ 6858001 h 6858001"/>
              <a:gd name="connsiteX8" fmla="*/ 2824843 w 6253843"/>
              <a:gd name="connsiteY8" fmla="*/ 6858001 h 6858001"/>
              <a:gd name="connsiteX9" fmla="*/ 1142999 w 6253843"/>
              <a:gd name="connsiteY9" fmla="*/ 6858001 h 6858001"/>
              <a:gd name="connsiteX10" fmla="*/ 0 w 6253843"/>
              <a:gd name="connsiteY10" fmla="*/ 0 h 6858001"/>
              <a:gd name="connsiteX0" fmla="*/ 1 w 6253844"/>
              <a:gd name="connsiteY0" fmla="*/ 0 h 6858001"/>
              <a:gd name="connsiteX1" fmla="*/ 2882321 w 6253844"/>
              <a:gd name="connsiteY1" fmla="*/ 0 h 6858001"/>
              <a:gd name="connsiteX2" fmla="*/ 2882321 w 6253844"/>
              <a:gd name="connsiteY2" fmla="*/ 1454 h 6858001"/>
              <a:gd name="connsiteX3" fmla="*/ 3001300 w 6253844"/>
              <a:gd name="connsiteY3" fmla="*/ 4463 h 6858001"/>
              <a:gd name="connsiteX4" fmla="*/ 6253844 w 6253844"/>
              <a:gd name="connsiteY4" fmla="*/ 3429001 h 6858001"/>
              <a:gd name="connsiteX5" fmla="*/ 3001300 w 6253844"/>
              <a:gd name="connsiteY5" fmla="*/ 6853539 h 6858001"/>
              <a:gd name="connsiteX6" fmla="*/ 2882321 w 6253844"/>
              <a:gd name="connsiteY6" fmla="*/ 6856548 h 6858001"/>
              <a:gd name="connsiteX7" fmla="*/ 2882321 w 6253844"/>
              <a:gd name="connsiteY7" fmla="*/ 6858001 h 6858001"/>
              <a:gd name="connsiteX8" fmla="*/ 2824844 w 6253844"/>
              <a:gd name="connsiteY8" fmla="*/ 6858001 h 6858001"/>
              <a:gd name="connsiteX9" fmla="*/ 0 w 6253844"/>
              <a:gd name="connsiteY9" fmla="*/ 6858001 h 6858001"/>
              <a:gd name="connsiteX10" fmla="*/ 1 w 6253844"/>
              <a:gd name="connsiteY10" fmla="*/ 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53844" h="6858001">
                <a:moveTo>
                  <a:pt x="1" y="0"/>
                </a:moveTo>
                <a:lnTo>
                  <a:pt x="2882321" y="0"/>
                </a:lnTo>
                <a:lnTo>
                  <a:pt x="2882321" y="1454"/>
                </a:lnTo>
                <a:lnTo>
                  <a:pt x="3001300" y="4463"/>
                </a:lnTo>
                <a:cubicBezTo>
                  <a:pt x="4813080" y="96302"/>
                  <a:pt x="6253844" y="1594398"/>
                  <a:pt x="6253844" y="3429001"/>
                </a:cubicBezTo>
                <a:cubicBezTo>
                  <a:pt x="6253844" y="5263605"/>
                  <a:pt x="4813080" y="6761700"/>
                  <a:pt x="3001300" y="6853539"/>
                </a:cubicBezTo>
                <a:lnTo>
                  <a:pt x="2882321" y="6856548"/>
                </a:lnTo>
                <a:lnTo>
                  <a:pt x="2882321" y="6858001"/>
                </a:lnTo>
                <a:lnTo>
                  <a:pt x="2824844" y="6858001"/>
                </a:lnTo>
                <a:lnTo>
                  <a:pt x="0" y="6858001"/>
                </a:lnTo>
                <a:cubicBezTo>
                  <a:pt x="0" y="4572001"/>
                  <a:pt x="1" y="2286000"/>
                  <a:pt x="1" y="0"/>
                </a:cubicBezTo>
                <a:close/>
              </a:path>
            </a:pathLst>
          </a:custGeom>
          <a:blipFill dpi="0" rotWithShape="1">
            <a:blip r:embed="rId2">
              <a:extLst>
                <a:ext uri="{28A0092B-C50C-407E-A947-70E740481C1C}">
                  <a14:useLocalDpi xmlns:a14="http://schemas.microsoft.com/office/drawing/2010/main" val="0"/>
                </a:ext>
              </a:extLst>
            </a:blip>
            <a:srcRect/>
            <a:stretch>
              <a:fillRect l="-252" r="-64240"/>
            </a:stretch>
          </a:bli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2" name="TextBox 31">
            <a:extLst>
              <a:ext uri="{FF2B5EF4-FFF2-40B4-BE49-F238E27FC236}">
                <a16:creationId xmlns:a16="http://schemas.microsoft.com/office/drawing/2014/main" id="{B558369A-9145-BA9F-C666-CEC6D5AFDE2F}"/>
              </a:ext>
            </a:extLst>
          </p:cNvPr>
          <p:cNvSpPr txBox="1"/>
          <p:nvPr userDrawn="1"/>
        </p:nvSpPr>
        <p:spPr>
          <a:xfrm>
            <a:off x="2735465" y="6261766"/>
            <a:ext cx="2605404" cy="338554"/>
          </a:xfrm>
          <a:prstGeom prst="rect">
            <a:avLst/>
          </a:prstGeom>
          <a:noFill/>
        </p:spPr>
        <p:txBody>
          <a:bodyPr wrap="square" rtlCol="0">
            <a:spAutoFit/>
          </a:bodyPr>
          <a:lstStyle/>
          <a:p>
            <a:r>
              <a:rPr lang="en-US" sz="800" b="0" dirty="0">
                <a:solidFill>
                  <a:schemeClr val="bg1"/>
                </a:solidFill>
                <a:latin typeface="Arial" panose="020B0604020202020204" pitchFamily="34" charset="0"/>
                <a:cs typeface="Arial" panose="020B0604020202020204" pitchFamily="34" charset="0"/>
              </a:rPr>
              <a:t>CONFIDENTIAL – </a:t>
            </a:r>
            <a:r>
              <a:rPr lang="en-US" sz="800" dirty="0">
                <a:solidFill>
                  <a:schemeClr val="bg1"/>
                </a:solidFill>
                <a:latin typeface="Arial" panose="020B0604020202020204" pitchFamily="34" charset="0"/>
                <a:cs typeface="Arial" panose="020B0604020202020204" pitchFamily="34" charset="0"/>
              </a:rPr>
              <a:t>Contains proprietary information. Not intended for external distribution.</a:t>
            </a:r>
          </a:p>
        </p:txBody>
      </p:sp>
      <p:sp>
        <p:nvSpPr>
          <p:cNvPr id="10" name="TextBox 9">
            <a:extLst>
              <a:ext uri="{FF2B5EF4-FFF2-40B4-BE49-F238E27FC236}">
                <a16:creationId xmlns:a16="http://schemas.microsoft.com/office/drawing/2014/main" id="{F3E04201-B801-8596-ECE7-A3FD29EE7164}"/>
              </a:ext>
            </a:extLst>
          </p:cNvPr>
          <p:cNvSpPr txBox="1"/>
          <p:nvPr userDrawn="1"/>
        </p:nvSpPr>
        <p:spPr>
          <a:xfrm>
            <a:off x="11595295" y="6354099"/>
            <a:ext cx="341760" cy="246221"/>
          </a:xfrm>
          <a:prstGeom prst="rect">
            <a:avLst/>
          </a:prstGeom>
          <a:noFill/>
        </p:spPr>
        <p:txBody>
          <a:bodyPr wrap="none" rtlCol="0">
            <a:spAutoFit/>
          </a:bodyPr>
          <a:lstStyle/>
          <a:p>
            <a:fld id="{6A63AF19-6634-4843-A9EE-3D2E6FC63B6A}" type="slidenum">
              <a:rPr lang="en-US" sz="1000" smtClean="0"/>
              <a:pPr/>
              <a:t>‹#›</a:t>
            </a:fld>
            <a:endParaRPr lang="en-US" sz="1000" dirty="0"/>
          </a:p>
        </p:txBody>
      </p:sp>
      <p:pic>
        <p:nvPicPr>
          <p:cNvPr id="6" name="Graphic 5">
            <a:extLst>
              <a:ext uri="{FF2B5EF4-FFF2-40B4-BE49-F238E27FC236}">
                <a16:creationId xmlns:a16="http://schemas.microsoft.com/office/drawing/2014/main" id="{B417D6B6-23DF-4E49-DEB5-B4633034F1C3}"/>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464000" y="6296748"/>
            <a:ext cx="1964025" cy="268585"/>
          </a:xfrm>
          <a:prstGeom prst="rect">
            <a:avLst/>
          </a:prstGeom>
        </p:spPr>
      </p:pic>
    </p:spTree>
    <p:extLst>
      <p:ext uri="{BB962C8B-B14F-4D97-AF65-F5344CB8AC3E}">
        <p14:creationId xmlns:p14="http://schemas.microsoft.com/office/powerpoint/2010/main" val="2117728552"/>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Alt Left Half Slide Photo">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CB26276-7C70-EC9D-53D1-18A838219F58}"/>
              </a:ext>
            </a:extLst>
          </p:cNvPr>
          <p:cNvSpPr/>
          <p:nvPr userDrawn="1"/>
        </p:nvSpPr>
        <p:spPr>
          <a:xfrm>
            <a:off x="0" y="6063916"/>
            <a:ext cx="2637322" cy="79408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3" name="Picture 2">
            <a:extLst>
              <a:ext uri="{FF2B5EF4-FFF2-40B4-BE49-F238E27FC236}">
                <a16:creationId xmlns:a16="http://schemas.microsoft.com/office/drawing/2014/main" id="{77AC96D3-42D5-65B8-2748-74D6FB51F289}"/>
              </a:ext>
            </a:extLst>
          </p:cNvPr>
          <p:cNvPicPr>
            <a:picLocks noChangeAspect="1"/>
          </p:cNvPicPr>
          <p:nvPr userDrawn="1"/>
        </p:nvPicPr>
        <p:blipFill>
          <a:blip r:embed="rId2"/>
          <a:stretch>
            <a:fillRect/>
          </a:stretch>
        </p:blipFill>
        <p:spPr>
          <a:xfrm flipH="1">
            <a:off x="0" y="4572000"/>
            <a:ext cx="2286000" cy="2286000"/>
          </a:xfrm>
          <a:prstGeom prst="rect">
            <a:avLst/>
          </a:prstGeom>
        </p:spPr>
      </p:pic>
      <p:sp>
        <p:nvSpPr>
          <p:cNvPr id="4" name="Title Placeholder 15">
            <a:extLst>
              <a:ext uri="{FF2B5EF4-FFF2-40B4-BE49-F238E27FC236}">
                <a16:creationId xmlns:a16="http://schemas.microsoft.com/office/drawing/2014/main" id="{DF9C074A-6494-48EE-604F-0594D3079689}"/>
              </a:ext>
            </a:extLst>
          </p:cNvPr>
          <p:cNvSpPr>
            <a:spLocks noGrp="1"/>
          </p:cNvSpPr>
          <p:nvPr>
            <p:ph type="title" hasCustomPrompt="1"/>
          </p:nvPr>
        </p:nvSpPr>
        <p:spPr>
          <a:xfrm>
            <a:off x="6096000" y="394634"/>
            <a:ext cx="5674659" cy="704257"/>
          </a:xfrm>
          <a:prstGeom prst="rect">
            <a:avLst/>
          </a:prstGeom>
        </p:spPr>
        <p:txBody>
          <a:bodyPr vert="horz" lIns="91440" tIns="45720" rIns="91440" bIns="45720" rtlCol="0" anchor="t" anchorCtr="0">
            <a:noAutofit/>
          </a:bodyPr>
          <a:lstStyle>
            <a:lvl1pPr>
              <a:defRPr sz="3600"/>
            </a:lvl1pPr>
          </a:lstStyle>
          <a:p>
            <a:r>
              <a:rPr lang="en-US" dirty="0"/>
              <a:t>Headline in Title Case</a:t>
            </a:r>
          </a:p>
        </p:txBody>
      </p:sp>
      <p:sp>
        <p:nvSpPr>
          <p:cNvPr id="31" name="Text Placeholder 3">
            <a:extLst>
              <a:ext uri="{FF2B5EF4-FFF2-40B4-BE49-F238E27FC236}">
                <a16:creationId xmlns:a16="http://schemas.microsoft.com/office/drawing/2014/main" id="{F02093EB-64CE-8951-26D5-94D00F955CCE}"/>
              </a:ext>
            </a:extLst>
          </p:cNvPr>
          <p:cNvSpPr>
            <a:spLocks noGrp="1"/>
          </p:cNvSpPr>
          <p:nvPr>
            <p:ph type="body" sz="quarter" idx="13" hasCustomPrompt="1"/>
          </p:nvPr>
        </p:nvSpPr>
        <p:spPr>
          <a:xfrm>
            <a:off x="6095999" y="2291865"/>
            <a:ext cx="5674659" cy="3627671"/>
          </a:xfrm>
        </p:spPr>
        <p:txBody>
          <a:bodyPr/>
          <a:lstStyle>
            <a:lvl1pPr marL="0" indent="0">
              <a:buNone/>
              <a:defRPr sz="1600" b="0" i="0">
                <a:solidFill>
                  <a:srgbClr val="6A768A"/>
                </a:solidFill>
                <a:latin typeface="Arial" panose="020B0604020202020204" pitchFamily="34" charset="0"/>
                <a:cs typeface="Arial" panose="020B0604020202020204"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sed diam </a:t>
            </a:r>
            <a:r>
              <a:rPr lang="en-US" dirty="0" err="1"/>
              <a:t>nonummy</a:t>
            </a:r>
            <a:r>
              <a:rPr lang="en-US" dirty="0"/>
              <a:t> </a:t>
            </a:r>
            <a:r>
              <a:rPr lang="en-US" dirty="0" err="1"/>
              <a:t>nibh</a:t>
            </a:r>
            <a:r>
              <a:rPr lang="en-US" dirty="0"/>
              <a:t> </a:t>
            </a:r>
            <a:r>
              <a:rPr lang="en-US" dirty="0" err="1"/>
              <a:t>euismod</a:t>
            </a:r>
            <a:r>
              <a:rPr lang="en-US" dirty="0"/>
              <a:t> </a:t>
            </a:r>
            <a:r>
              <a:rPr lang="en-US" dirty="0" err="1"/>
              <a:t>tincidunt</a:t>
            </a:r>
            <a:r>
              <a:rPr lang="en-US" dirty="0"/>
              <a:t> </a:t>
            </a:r>
            <a:r>
              <a:rPr lang="en-US" dirty="0" err="1"/>
              <a:t>ut</a:t>
            </a:r>
            <a:r>
              <a:rPr lang="en-US" dirty="0"/>
              <a:t> </a:t>
            </a:r>
            <a:r>
              <a:rPr lang="en-US" dirty="0" err="1"/>
              <a:t>laoreet</a:t>
            </a:r>
            <a:r>
              <a:rPr lang="en-US" dirty="0"/>
              <a:t> dolore magna </a:t>
            </a:r>
            <a:r>
              <a:rPr lang="en-US" dirty="0" err="1"/>
              <a:t>aliquam</a:t>
            </a:r>
            <a:r>
              <a:rPr lang="en-US" dirty="0"/>
              <a:t> </a:t>
            </a:r>
            <a:r>
              <a:rPr lang="en-US" dirty="0" err="1"/>
              <a:t>erat</a:t>
            </a:r>
            <a:r>
              <a:rPr lang="en-US" dirty="0"/>
              <a:t> </a:t>
            </a:r>
            <a:r>
              <a:rPr lang="en-US" dirty="0" err="1"/>
              <a:t>volutpat</a:t>
            </a:r>
            <a:r>
              <a:rPr lang="en-US" dirty="0"/>
              <a:t>. </a:t>
            </a:r>
            <a:r>
              <a:rPr lang="en-US" dirty="0" err="1"/>
              <a:t>Mivamus</a:t>
            </a:r>
            <a:r>
              <a:rPr lang="en-US" dirty="0"/>
              <a:t> vitae </a:t>
            </a:r>
            <a:r>
              <a:rPr lang="en-US" dirty="0" err="1"/>
              <a:t>dapibus</a:t>
            </a:r>
            <a:r>
              <a:rPr lang="en-US" dirty="0"/>
              <a:t> </a:t>
            </a:r>
            <a:r>
              <a:rPr lang="en-US" dirty="0" err="1"/>
              <a:t>neque</a:t>
            </a:r>
            <a:r>
              <a:rPr lang="en-US" dirty="0"/>
              <a:t>. Nunc </a:t>
            </a:r>
            <a:r>
              <a:rPr lang="en-US" dirty="0" err="1"/>
              <a:t>sodales</a:t>
            </a:r>
            <a:r>
              <a:rPr lang="en-US" dirty="0"/>
              <a:t> </a:t>
            </a:r>
            <a:r>
              <a:rPr lang="en-US" dirty="0" err="1"/>
              <a:t>orci</a:t>
            </a:r>
            <a:r>
              <a:rPr lang="en-US" dirty="0"/>
              <a:t> </a:t>
            </a:r>
            <a:r>
              <a:rPr lang="en-US" dirty="0" err="1"/>
              <a:t>eget</a:t>
            </a:r>
            <a:r>
              <a:rPr lang="en-US" dirty="0"/>
              <a:t> </a:t>
            </a:r>
            <a:r>
              <a:rPr lang="en-US" dirty="0" err="1"/>
              <a:t>luctus</a:t>
            </a:r>
            <a:r>
              <a:rPr lang="en-US" dirty="0"/>
              <a:t> vestibulum. </a:t>
            </a:r>
            <a:r>
              <a:rPr lang="en-US" dirty="0" err="1"/>
              <a:t>Vivamus</a:t>
            </a:r>
            <a:r>
              <a:rPr lang="en-US" dirty="0"/>
              <a:t> </a:t>
            </a:r>
            <a:r>
              <a:rPr lang="en-US" dirty="0" err="1"/>
              <a:t>aliquam</a:t>
            </a:r>
            <a:r>
              <a:rPr lang="en-US" dirty="0"/>
              <a:t> semper diam, et </a:t>
            </a:r>
            <a:r>
              <a:rPr lang="en-US" dirty="0" err="1"/>
              <a:t>blandit</a:t>
            </a:r>
            <a:r>
              <a:rPr lang="en-US" dirty="0"/>
              <a:t> </a:t>
            </a:r>
            <a:r>
              <a:rPr lang="en-US" dirty="0" err="1"/>
              <a:t>quam</a:t>
            </a:r>
            <a:r>
              <a:rPr lang="en-US" dirty="0"/>
              <a:t> maximus vitae. Proin </a:t>
            </a:r>
            <a:r>
              <a:rPr lang="en-US" dirty="0" err="1"/>
              <a:t>posuere</a:t>
            </a:r>
            <a:r>
              <a:rPr lang="en-US" dirty="0"/>
              <a:t> </a:t>
            </a:r>
            <a:r>
              <a:rPr lang="en-US" dirty="0" err="1"/>
              <a:t>leo</a:t>
            </a:r>
            <a:r>
              <a:rPr lang="en-US" dirty="0"/>
              <a:t> id magna </a:t>
            </a:r>
            <a:r>
              <a:rPr lang="en-US" dirty="0" err="1"/>
              <a:t>viverra</a:t>
            </a:r>
            <a:r>
              <a:rPr lang="en-US" dirty="0"/>
              <a:t>, nec </a:t>
            </a:r>
            <a:r>
              <a:rPr lang="en-US" dirty="0" err="1"/>
              <a:t>vehicula</a:t>
            </a:r>
            <a:r>
              <a:rPr lang="en-US" dirty="0"/>
              <a:t> </a:t>
            </a:r>
            <a:r>
              <a:rPr lang="en-US" dirty="0" err="1"/>
              <a:t>sem</a:t>
            </a:r>
            <a:r>
              <a:rPr lang="en-US" dirty="0"/>
              <a:t> </a:t>
            </a:r>
            <a:r>
              <a:rPr lang="en-US" dirty="0" err="1"/>
              <a:t>euismod</a:t>
            </a:r>
            <a:r>
              <a:rPr lang="en-US" dirty="0"/>
              <a:t>.</a:t>
            </a:r>
          </a:p>
          <a:p>
            <a:pPr lvl="0"/>
            <a:endParaRPr lang="en-US" dirty="0"/>
          </a:p>
          <a:p>
            <a:pPr lvl="0"/>
            <a:r>
              <a:rPr lang="en-US" dirty="0"/>
              <a:t>• Sed vel </a:t>
            </a:r>
            <a:r>
              <a:rPr lang="en-US" dirty="0" err="1"/>
              <a:t>risus</a:t>
            </a:r>
            <a:r>
              <a:rPr lang="en-US" dirty="0"/>
              <a:t> dui</a:t>
            </a:r>
            <a:br>
              <a:rPr lang="en-US" dirty="0"/>
            </a:br>
            <a:r>
              <a:rPr lang="en-US" dirty="0"/>
              <a:t>• Proin nec </a:t>
            </a:r>
            <a:r>
              <a:rPr lang="en-US" dirty="0" err="1"/>
              <a:t>odio</a:t>
            </a:r>
            <a:r>
              <a:rPr lang="en-US" dirty="0"/>
              <a:t> </a:t>
            </a:r>
            <a:r>
              <a:rPr lang="en-US" dirty="0" err="1"/>
              <a:t>ultrices</a:t>
            </a:r>
            <a:r>
              <a:rPr lang="en-US" dirty="0"/>
              <a:t>, semper </a:t>
            </a:r>
            <a:r>
              <a:rPr lang="en-US" dirty="0" err="1"/>
              <a:t>est</a:t>
            </a:r>
            <a:r>
              <a:rPr lang="en-US" dirty="0"/>
              <a:t> vel</a:t>
            </a:r>
            <a:br>
              <a:rPr lang="en-US" dirty="0"/>
            </a:br>
            <a:r>
              <a:rPr lang="en-US" dirty="0"/>
              <a:t>• </a:t>
            </a:r>
            <a:r>
              <a:rPr lang="en-US" dirty="0" err="1"/>
              <a:t>Luctus</a:t>
            </a:r>
            <a:r>
              <a:rPr lang="en-US" dirty="0"/>
              <a:t> lorem </a:t>
            </a:r>
            <a:r>
              <a:rPr lang="en-US" dirty="0" err="1"/>
              <a:t>cras</a:t>
            </a:r>
            <a:r>
              <a:rPr lang="en-US" dirty="0"/>
              <a:t> et </a:t>
            </a:r>
            <a:r>
              <a:rPr lang="en-US" dirty="0" err="1"/>
              <a:t>nulla</a:t>
            </a:r>
            <a:r>
              <a:rPr lang="en-US" dirty="0"/>
              <a:t> pharetra</a:t>
            </a:r>
            <a:br>
              <a:rPr lang="en-US" dirty="0"/>
            </a:br>
            <a:r>
              <a:rPr lang="en-US" dirty="0"/>
              <a:t>• Pharetra </a:t>
            </a:r>
            <a:r>
              <a:rPr lang="en-US" dirty="0" err="1"/>
              <a:t>nibh</a:t>
            </a:r>
            <a:r>
              <a:rPr lang="en-US" dirty="0"/>
              <a:t> vel, </a:t>
            </a:r>
            <a:r>
              <a:rPr lang="en-US" dirty="0" err="1"/>
              <a:t>malesuada</a:t>
            </a:r>
            <a:r>
              <a:rPr lang="en-US" dirty="0"/>
              <a:t> libero</a:t>
            </a:r>
            <a:br>
              <a:rPr lang="en-US" dirty="0"/>
            </a:br>
            <a:r>
              <a:rPr lang="en-US" dirty="0"/>
              <a:t>• </a:t>
            </a:r>
            <a:r>
              <a:rPr lang="en-US" dirty="0" err="1"/>
              <a:t>Aliquam</a:t>
            </a:r>
            <a:r>
              <a:rPr lang="en-US" dirty="0"/>
              <a:t> </a:t>
            </a:r>
            <a:r>
              <a:rPr lang="en-US" dirty="0" err="1"/>
              <a:t>erat</a:t>
            </a:r>
            <a:r>
              <a:rPr lang="en-US" dirty="0"/>
              <a:t> </a:t>
            </a:r>
            <a:r>
              <a:rPr lang="en-US" dirty="0" err="1"/>
              <a:t>volutpat</a:t>
            </a:r>
            <a:r>
              <a:rPr lang="en-US" dirty="0"/>
              <a:t> </a:t>
            </a:r>
            <a:r>
              <a:rPr lang="en-US" dirty="0" err="1"/>
              <a:t>pellentesque</a:t>
            </a:r>
            <a:r>
              <a:rPr lang="en-US" dirty="0"/>
              <a:t> </a:t>
            </a:r>
            <a:r>
              <a:rPr lang="en-US" dirty="0" err="1"/>
              <a:t>sodales</a:t>
            </a:r>
            <a:endParaRPr lang="en-US" dirty="0"/>
          </a:p>
        </p:txBody>
      </p:sp>
      <p:sp>
        <p:nvSpPr>
          <p:cNvPr id="5" name="Text Placeholder 12">
            <a:extLst>
              <a:ext uri="{FF2B5EF4-FFF2-40B4-BE49-F238E27FC236}">
                <a16:creationId xmlns:a16="http://schemas.microsoft.com/office/drawing/2014/main" id="{5F438473-E229-4F67-DB5E-DBD76F45CD76}"/>
              </a:ext>
            </a:extLst>
          </p:cNvPr>
          <p:cNvSpPr>
            <a:spLocks noGrp="1"/>
          </p:cNvSpPr>
          <p:nvPr>
            <p:ph type="body" sz="quarter" idx="18" hasCustomPrompt="1"/>
          </p:nvPr>
        </p:nvSpPr>
        <p:spPr>
          <a:xfrm>
            <a:off x="6095999" y="1235182"/>
            <a:ext cx="5570386" cy="769790"/>
          </a:xfrm>
        </p:spPr>
        <p:txBody>
          <a:bodyPr/>
          <a:lstStyle>
            <a:lvl1pPr>
              <a:defRPr sz="2600" b="0"/>
            </a:lvl1pPr>
          </a:lstStyle>
          <a:p>
            <a:pPr lvl="0"/>
            <a:r>
              <a:rPr lang="en-US" dirty="0"/>
              <a:t>Title Case Sub-headline </a:t>
            </a:r>
            <a:r>
              <a:rPr lang="en-US" dirty="0" err="1"/>
              <a:t>Risus</a:t>
            </a:r>
            <a:r>
              <a:rPr lang="en-US" dirty="0"/>
              <a:t> vel </a:t>
            </a:r>
            <a:r>
              <a:rPr lang="en-US" dirty="0" err="1"/>
              <a:t>Condimentum</a:t>
            </a:r>
            <a:r>
              <a:rPr lang="en-US" dirty="0"/>
              <a:t> </a:t>
            </a:r>
            <a:r>
              <a:rPr lang="en-US" dirty="0" err="1"/>
              <a:t>Venenatis</a:t>
            </a:r>
            <a:r>
              <a:rPr lang="en-US" dirty="0"/>
              <a:t> </a:t>
            </a:r>
            <a:r>
              <a:rPr lang="en-US" dirty="0" err="1"/>
              <a:t>Commodo</a:t>
            </a:r>
            <a:r>
              <a:rPr lang="en-US" dirty="0"/>
              <a:t> </a:t>
            </a:r>
          </a:p>
        </p:txBody>
      </p:sp>
      <p:sp>
        <p:nvSpPr>
          <p:cNvPr id="9" name="TextBox 8">
            <a:extLst>
              <a:ext uri="{FF2B5EF4-FFF2-40B4-BE49-F238E27FC236}">
                <a16:creationId xmlns:a16="http://schemas.microsoft.com/office/drawing/2014/main" id="{AC54045E-624E-A7E4-D472-780638371395}"/>
              </a:ext>
            </a:extLst>
          </p:cNvPr>
          <p:cNvSpPr txBox="1"/>
          <p:nvPr userDrawn="1"/>
        </p:nvSpPr>
        <p:spPr>
          <a:xfrm>
            <a:off x="11595295" y="6354099"/>
            <a:ext cx="341760" cy="246221"/>
          </a:xfrm>
          <a:prstGeom prst="rect">
            <a:avLst/>
          </a:prstGeom>
          <a:noFill/>
        </p:spPr>
        <p:txBody>
          <a:bodyPr wrap="none" rtlCol="0">
            <a:spAutoFit/>
          </a:bodyPr>
          <a:lstStyle/>
          <a:p>
            <a:fld id="{6A63AF19-6634-4843-A9EE-3D2E6FC63B6A}" type="slidenum">
              <a:rPr lang="en-US" sz="1000" smtClean="0"/>
              <a:pPr/>
              <a:t>‹#›</a:t>
            </a:fld>
            <a:endParaRPr lang="en-US" sz="1000" dirty="0"/>
          </a:p>
        </p:txBody>
      </p:sp>
      <p:sp>
        <p:nvSpPr>
          <p:cNvPr id="18" name="Freeform 17">
            <a:extLst>
              <a:ext uri="{FF2B5EF4-FFF2-40B4-BE49-F238E27FC236}">
                <a16:creationId xmlns:a16="http://schemas.microsoft.com/office/drawing/2014/main" id="{9C0EABAE-DDC4-2D16-C836-BF577446C122}"/>
              </a:ext>
            </a:extLst>
          </p:cNvPr>
          <p:cNvSpPr/>
          <p:nvPr userDrawn="1"/>
        </p:nvSpPr>
        <p:spPr>
          <a:xfrm flipH="1">
            <a:off x="0" y="-1"/>
            <a:ext cx="5751576" cy="4572001"/>
          </a:xfrm>
          <a:custGeom>
            <a:avLst/>
            <a:gdLst>
              <a:gd name="connsiteX0" fmla="*/ 2274377 w 5746750"/>
              <a:gd name="connsiteY0" fmla="*/ 2286000 h 4572001"/>
              <a:gd name="connsiteX1" fmla="*/ 5746750 w 5746750"/>
              <a:gd name="connsiteY1" fmla="*/ 2286000 h 4572001"/>
              <a:gd name="connsiteX2" fmla="*/ 5746750 w 5746750"/>
              <a:gd name="connsiteY2" fmla="*/ 4571999 h 4572001"/>
              <a:gd name="connsiteX3" fmla="*/ 2274416 w 5746750"/>
              <a:gd name="connsiteY3" fmla="*/ 4571999 h 4572001"/>
              <a:gd name="connsiteX4" fmla="*/ 2274377 w 5746750"/>
              <a:gd name="connsiteY4" fmla="*/ 4572001 h 4572001"/>
              <a:gd name="connsiteX5" fmla="*/ 1131377 w 5746750"/>
              <a:gd name="connsiteY5" fmla="*/ 3429001 h 4572001"/>
              <a:gd name="connsiteX6" fmla="*/ 2274377 w 5746750"/>
              <a:gd name="connsiteY6" fmla="*/ 2286001 h 4572001"/>
              <a:gd name="connsiteX7" fmla="*/ 1143000 w 5746750"/>
              <a:gd name="connsiteY7" fmla="*/ 0 h 4572001"/>
              <a:gd name="connsiteX8" fmla="*/ 5746750 w 5746750"/>
              <a:gd name="connsiteY8" fmla="*/ 0 h 4572001"/>
              <a:gd name="connsiteX9" fmla="*/ 5746750 w 5746750"/>
              <a:gd name="connsiteY9" fmla="*/ 2285999 h 4572001"/>
              <a:gd name="connsiteX10" fmla="*/ 1271985 w 5746750"/>
              <a:gd name="connsiteY10" fmla="*/ 2285999 h 4572001"/>
              <a:gd name="connsiteX11" fmla="*/ 1259865 w 5746750"/>
              <a:gd name="connsiteY11" fmla="*/ 2287849 h 4572001"/>
              <a:gd name="connsiteX12" fmla="*/ 1143000 w 5746750"/>
              <a:gd name="connsiteY12" fmla="*/ 2293750 h 4572001"/>
              <a:gd name="connsiteX13" fmla="*/ 0 w 5746750"/>
              <a:gd name="connsiteY13" fmla="*/ 1150750 h 4572001"/>
              <a:gd name="connsiteX14" fmla="*/ 1143000 w 5746750"/>
              <a:gd name="connsiteY14" fmla="*/ 7750 h 4572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46750" h="4572001">
                <a:moveTo>
                  <a:pt x="2274377" y="2286000"/>
                </a:moveTo>
                <a:lnTo>
                  <a:pt x="5746750" y="2286000"/>
                </a:lnTo>
                <a:lnTo>
                  <a:pt x="5746750" y="4571999"/>
                </a:lnTo>
                <a:lnTo>
                  <a:pt x="2274416" y="4571999"/>
                </a:lnTo>
                <a:lnTo>
                  <a:pt x="2274377" y="4572001"/>
                </a:lnTo>
                <a:cubicBezTo>
                  <a:pt x="1643116" y="4572001"/>
                  <a:pt x="1131377" y="4060262"/>
                  <a:pt x="1131377" y="3429001"/>
                </a:cubicBezTo>
                <a:cubicBezTo>
                  <a:pt x="1131377" y="2797740"/>
                  <a:pt x="1643116" y="2286001"/>
                  <a:pt x="2274377" y="2286001"/>
                </a:cubicBezTo>
                <a:close/>
                <a:moveTo>
                  <a:pt x="1143000" y="0"/>
                </a:moveTo>
                <a:lnTo>
                  <a:pt x="5746750" y="0"/>
                </a:lnTo>
                <a:lnTo>
                  <a:pt x="5746750" y="2285999"/>
                </a:lnTo>
                <a:lnTo>
                  <a:pt x="1271985" y="2285999"/>
                </a:lnTo>
                <a:lnTo>
                  <a:pt x="1259865" y="2287849"/>
                </a:lnTo>
                <a:cubicBezTo>
                  <a:pt x="1221441" y="2291751"/>
                  <a:pt x="1182454" y="2293750"/>
                  <a:pt x="1143000" y="2293750"/>
                </a:cubicBezTo>
                <a:cubicBezTo>
                  <a:pt x="511739" y="2293750"/>
                  <a:pt x="0" y="1782011"/>
                  <a:pt x="0" y="1150750"/>
                </a:cubicBezTo>
                <a:cubicBezTo>
                  <a:pt x="0" y="519489"/>
                  <a:pt x="511739" y="7750"/>
                  <a:pt x="1143000" y="7750"/>
                </a:cubicBezTo>
                <a:close/>
              </a:path>
            </a:pathLst>
          </a:custGeom>
          <a:blipFill dpi="0" rotWithShape="1">
            <a:blip r:embed="rId3"/>
            <a:srcRect/>
            <a:stretch>
              <a:fillRect l="-3834" r="-15442"/>
            </a:stretch>
          </a:bli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2" name="Graphic 1">
            <a:extLst>
              <a:ext uri="{FF2B5EF4-FFF2-40B4-BE49-F238E27FC236}">
                <a16:creationId xmlns:a16="http://schemas.microsoft.com/office/drawing/2014/main" id="{CBCAB65C-DAE9-9B35-78DC-250B17AD85A8}"/>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464000" y="6296749"/>
            <a:ext cx="1964025" cy="268585"/>
          </a:xfrm>
          <a:prstGeom prst="rect">
            <a:avLst/>
          </a:prstGeom>
        </p:spPr>
      </p:pic>
    </p:spTree>
    <p:extLst>
      <p:ext uri="{BB962C8B-B14F-4D97-AF65-F5344CB8AC3E}">
        <p14:creationId xmlns:p14="http://schemas.microsoft.com/office/powerpoint/2010/main" val="85482035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Right Half Slide Photo">
    <p:spTree>
      <p:nvGrpSpPr>
        <p:cNvPr id="1" name=""/>
        <p:cNvGrpSpPr/>
        <p:nvPr/>
      </p:nvGrpSpPr>
      <p:grpSpPr>
        <a:xfrm>
          <a:off x="0" y="0"/>
          <a:ext cx="0" cy="0"/>
          <a:chOff x="0" y="0"/>
          <a:chExt cx="0" cy="0"/>
        </a:xfrm>
      </p:grpSpPr>
      <p:sp>
        <p:nvSpPr>
          <p:cNvPr id="34" name="Text Placeholder 3">
            <a:extLst>
              <a:ext uri="{FF2B5EF4-FFF2-40B4-BE49-F238E27FC236}">
                <a16:creationId xmlns:a16="http://schemas.microsoft.com/office/drawing/2014/main" id="{68F54D59-3CEA-2BC1-AA65-110C80128225}"/>
              </a:ext>
            </a:extLst>
          </p:cNvPr>
          <p:cNvSpPr>
            <a:spLocks noGrp="1"/>
          </p:cNvSpPr>
          <p:nvPr>
            <p:ph type="body" sz="quarter" idx="10" hasCustomPrompt="1"/>
          </p:nvPr>
        </p:nvSpPr>
        <p:spPr>
          <a:xfrm>
            <a:off x="310513" y="992867"/>
            <a:ext cx="5198943" cy="494037"/>
          </a:xfrm>
        </p:spPr>
        <p:txBody>
          <a:bodyPr anchor="b"/>
          <a:lstStyle>
            <a:lvl1pPr marL="0" indent="0">
              <a:buNone/>
              <a:defRPr sz="3400">
                <a:solidFill>
                  <a:schemeClr val="tx1"/>
                </a:solidFill>
              </a:defRPr>
            </a:lvl1pPr>
          </a:lstStyle>
          <a:p>
            <a:pPr lvl="0"/>
            <a:r>
              <a:rPr lang="en-US" dirty="0"/>
              <a:t>This is Your Headline</a:t>
            </a:r>
          </a:p>
        </p:txBody>
      </p:sp>
      <p:sp>
        <p:nvSpPr>
          <p:cNvPr id="36" name="Text Placeholder 3">
            <a:extLst>
              <a:ext uri="{FF2B5EF4-FFF2-40B4-BE49-F238E27FC236}">
                <a16:creationId xmlns:a16="http://schemas.microsoft.com/office/drawing/2014/main" id="{6D60FAA9-49CC-0AD8-65B3-628876BD359F}"/>
              </a:ext>
            </a:extLst>
          </p:cNvPr>
          <p:cNvSpPr>
            <a:spLocks noGrp="1"/>
          </p:cNvSpPr>
          <p:nvPr>
            <p:ph type="body" sz="quarter" idx="13" hasCustomPrompt="1"/>
          </p:nvPr>
        </p:nvSpPr>
        <p:spPr>
          <a:xfrm>
            <a:off x="310513" y="1803755"/>
            <a:ext cx="5149383" cy="1607220"/>
          </a:xfrm>
        </p:spPr>
        <p:txBody>
          <a:bodyPr/>
          <a:lstStyle>
            <a:lvl1pPr marL="0" indent="0">
              <a:buNone/>
              <a:defRPr sz="1800" b="0" i="0">
                <a:solidFill>
                  <a:srgbClr val="6A768A"/>
                </a:solidFill>
                <a:latin typeface="Arial" panose="020B0604020202020204" pitchFamily="34" charset="0"/>
                <a:cs typeface="Arial" panose="020B0604020202020204"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sed diam </a:t>
            </a:r>
            <a:r>
              <a:rPr lang="en-US" dirty="0" err="1"/>
              <a:t>nonummy</a:t>
            </a:r>
            <a:r>
              <a:rPr lang="en-US" dirty="0"/>
              <a:t> </a:t>
            </a:r>
            <a:r>
              <a:rPr lang="en-US" dirty="0" err="1"/>
              <a:t>nibh</a:t>
            </a:r>
            <a:r>
              <a:rPr lang="en-US" dirty="0"/>
              <a:t> </a:t>
            </a:r>
            <a:r>
              <a:rPr lang="en-US" dirty="0" err="1"/>
              <a:t>euismod</a:t>
            </a:r>
            <a:r>
              <a:rPr lang="en-US" dirty="0"/>
              <a:t> </a:t>
            </a:r>
            <a:r>
              <a:rPr lang="en-US" dirty="0" err="1"/>
              <a:t>tincidunt</a:t>
            </a:r>
            <a:r>
              <a:rPr lang="en-US" dirty="0"/>
              <a:t> </a:t>
            </a:r>
            <a:r>
              <a:rPr lang="en-US" dirty="0" err="1"/>
              <a:t>ut</a:t>
            </a:r>
            <a:r>
              <a:rPr lang="en-US" dirty="0"/>
              <a:t> </a:t>
            </a:r>
            <a:r>
              <a:rPr lang="en-US" dirty="0" err="1"/>
              <a:t>laoreet</a:t>
            </a:r>
            <a:r>
              <a:rPr lang="en-US" dirty="0"/>
              <a:t> dolore magna </a:t>
            </a:r>
            <a:r>
              <a:rPr lang="en-US" dirty="0" err="1"/>
              <a:t>aliquam</a:t>
            </a:r>
            <a:r>
              <a:rPr lang="en-US" dirty="0"/>
              <a:t> </a:t>
            </a:r>
            <a:r>
              <a:rPr lang="en-US" dirty="0" err="1"/>
              <a:t>erat</a:t>
            </a:r>
            <a:r>
              <a:rPr lang="en-US" dirty="0"/>
              <a:t> </a:t>
            </a:r>
            <a:r>
              <a:rPr lang="en-US" dirty="0" err="1"/>
              <a:t>volutpat</a:t>
            </a:r>
            <a:r>
              <a:rPr lang="en-US" dirty="0"/>
              <a:t>. Ut </a:t>
            </a:r>
            <a:r>
              <a:rPr lang="en-US" dirty="0" err="1"/>
              <a:t>wisi</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a:t>
            </a:r>
            <a:r>
              <a:rPr lang="en-US" dirty="0" err="1"/>
              <a:t>exerci</a:t>
            </a:r>
            <a:r>
              <a:rPr lang="en-US" dirty="0"/>
              <a:t> </a:t>
            </a:r>
            <a:r>
              <a:rPr lang="en-US" dirty="0" err="1"/>
              <a:t>tation</a:t>
            </a:r>
            <a:r>
              <a:rPr lang="en-US" dirty="0"/>
              <a:t> </a:t>
            </a:r>
            <a:r>
              <a:rPr lang="en-US" dirty="0" err="1"/>
              <a:t>ullamcorper</a:t>
            </a:r>
            <a:r>
              <a:rPr lang="en-US" dirty="0"/>
              <a:t> </a:t>
            </a:r>
            <a:r>
              <a:rPr lang="en-US" dirty="0" err="1"/>
              <a:t>suscipit</a:t>
            </a:r>
            <a:r>
              <a:rPr lang="en-US" dirty="0"/>
              <a:t> </a:t>
            </a:r>
            <a:r>
              <a:rPr lang="en-US" dirty="0" err="1"/>
              <a:t>lobortis</a:t>
            </a:r>
            <a:r>
              <a:rPr lang="en-US" dirty="0"/>
              <a:t> </a:t>
            </a:r>
            <a:r>
              <a:rPr lang="en-US" dirty="0" err="1"/>
              <a:t>nisl</a:t>
            </a:r>
            <a:r>
              <a:rPr lang="en-US" dirty="0"/>
              <a:t>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a:t>
            </a:r>
          </a:p>
        </p:txBody>
      </p:sp>
      <p:sp>
        <p:nvSpPr>
          <p:cNvPr id="37" name="Text Placeholder 3">
            <a:extLst>
              <a:ext uri="{FF2B5EF4-FFF2-40B4-BE49-F238E27FC236}">
                <a16:creationId xmlns:a16="http://schemas.microsoft.com/office/drawing/2014/main" id="{4BBB4396-0ECD-4C6A-78A6-A513C4992A73}"/>
              </a:ext>
            </a:extLst>
          </p:cNvPr>
          <p:cNvSpPr>
            <a:spLocks noGrp="1"/>
          </p:cNvSpPr>
          <p:nvPr>
            <p:ph type="body" sz="quarter" idx="14" hasCustomPrompt="1"/>
          </p:nvPr>
        </p:nvSpPr>
        <p:spPr>
          <a:xfrm>
            <a:off x="310513" y="5311203"/>
            <a:ext cx="5149383" cy="586014"/>
          </a:xfrm>
        </p:spPr>
        <p:txBody>
          <a:bodyPr/>
          <a:lstStyle>
            <a:lvl1pPr marL="0" indent="0">
              <a:buNone/>
              <a:defRPr sz="1200" b="0" i="1">
                <a:solidFill>
                  <a:schemeClr val="bg1">
                    <a:lumMod val="75000"/>
                  </a:schemeClr>
                </a:solidFill>
                <a:latin typeface="Arial" panose="020B0604020202020204" pitchFamily="34" charset="0"/>
                <a:cs typeface="Arial" panose="020B0604020202020204" pitchFamily="34" charset="0"/>
              </a:defRPr>
            </a:lvl1pPr>
          </a:lstStyle>
          <a:p>
            <a:pPr lvl="0"/>
            <a:r>
              <a:rPr lang="en-US" dirty="0"/>
              <a:t>Lorem ipsum dolor sit amet, consectetuer adipiscing elit, sed diam nonummy nibh euismod tincidunt ut laoreet dolore magna aliquam erat volutpat lobortis nisl ut aliquip.</a:t>
            </a:r>
          </a:p>
        </p:txBody>
      </p:sp>
      <p:sp>
        <p:nvSpPr>
          <p:cNvPr id="50" name="Text Placeholder 3">
            <a:extLst>
              <a:ext uri="{FF2B5EF4-FFF2-40B4-BE49-F238E27FC236}">
                <a16:creationId xmlns:a16="http://schemas.microsoft.com/office/drawing/2014/main" id="{8B152243-4948-EE19-97D7-804AF7494A23}"/>
              </a:ext>
            </a:extLst>
          </p:cNvPr>
          <p:cNvSpPr>
            <a:spLocks noGrp="1"/>
          </p:cNvSpPr>
          <p:nvPr>
            <p:ph type="body" sz="quarter" idx="15" hasCustomPrompt="1"/>
          </p:nvPr>
        </p:nvSpPr>
        <p:spPr>
          <a:xfrm>
            <a:off x="301463" y="4473430"/>
            <a:ext cx="1462869" cy="399117"/>
          </a:xfrm>
        </p:spPr>
        <p:txBody>
          <a:bodyPr/>
          <a:lstStyle>
            <a:lvl1pPr marL="0" indent="0">
              <a:buNone/>
              <a:defRPr sz="1200" b="1" i="0">
                <a:solidFill>
                  <a:schemeClr val="tx1"/>
                </a:solidFill>
                <a:latin typeface="Arial" panose="020B0604020202020204" pitchFamily="34" charset="0"/>
                <a:cs typeface="Arial" panose="020B0604020202020204" pitchFamily="34" charset="0"/>
              </a:defRPr>
            </a:lvl1pPr>
          </a:lstStyle>
          <a:p>
            <a:pPr lvl="0"/>
            <a:r>
              <a:rPr lang="en-US" dirty="0"/>
              <a:t>Lorem ipsum dolor sit </a:t>
            </a:r>
            <a:r>
              <a:rPr lang="en-US" dirty="0" err="1"/>
              <a:t>amet</a:t>
            </a:r>
            <a:endParaRPr lang="en-US" dirty="0"/>
          </a:p>
        </p:txBody>
      </p:sp>
      <p:sp>
        <p:nvSpPr>
          <p:cNvPr id="51" name="Text Placeholder 3">
            <a:extLst>
              <a:ext uri="{FF2B5EF4-FFF2-40B4-BE49-F238E27FC236}">
                <a16:creationId xmlns:a16="http://schemas.microsoft.com/office/drawing/2014/main" id="{A9ECCE7B-8BDF-A7F6-F396-062A87214DB7}"/>
              </a:ext>
            </a:extLst>
          </p:cNvPr>
          <p:cNvSpPr>
            <a:spLocks noGrp="1"/>
          </p:cNvSpPr>
          <p:nvPr>
            <p:ph type="body" sz="quarter" idx="16" hasCustomPrompt="1"/>
          </p:nvPr>
        </p:nvSpPr>
        <p:spPr>
          <a:xfrm>
            <a:off x="2171490" y="4473430"/>
            <a:ext cx="1462869" cy="399117"/>
          </a:xfrm>
        </p:spPr>
        <p:txBody>
          <a:bodyPr/>
          <a:lstStyle>
            <a:lvl1pPr marL="0" indent="0">
              <a:buNone/>
              <a:defRPr sz="1200" b="1" i="0">
                <a:solidFill>
                  <a:schemeClr val="tx1"/>
                </a:solidFill>
                <a:latin typeface="Arial" panose="020B0604020202020204" pitchFamily="34" charset="0"/>
                <a:cs typeface="Arial" panose="020B0604020202020204" pitchFamily="34" charset="0"/>
              </a:defRPr>
            </a:lvl1pPr>
          </a:lstStyle>
          <a:p>
            <a:pPr lvl="0"/>
            <a:r>
              <a:rPr lang="en-US" dirty="0"/>
              <a:t>Lorem ipsum dolor sit </a:t>
            </a:r>
            <a:r>
              <a:rPr lang="en-US" dirty="0" err="1"/>
              <a:t>amet</a:t>
            </a:r>
            <a:endParaRPr lang="en-US" dirty="0"/>
          </a:p>
        </p:txBody>
      </p:sp>
      <p:sp>
        <p:nvSpPr>
          <p:cNvPr id="52" name="Text Placeholder 3">
            <a:extLst>
              <a:ext uri="{FF2B5EF4-FFF2-40B4-BE49-F238E27FC236}">
                <a16:creationId xmlns:a16="http://schemas.microsoft.com/office/drawing/2014/main" id="{3D955AAA-9F58-5681-E4FD-11E10E5BD737}"/>
              </a:ext>
            </a:extLst>
          </p:cNvPr>
          <p:cNvSpPr>
            <a:spLocks noGrp="1"/>
          </p:cNvSpPr>
          <p:nvPr>
            <p:ph type="body" sz="quarter" idx="17" hasCustomPrompt="1"/>
          </p:nvPr>
        </p:nvSpPr>
        <p:spPr>
          <a:xfrm>
            <a:off x="4046587" y="4473430"/>
            <a:ext cx="1462869" cy="399117"/>
          </a:xfrm>
        </p:spPr>
        <p:txBody>
          <a:bodyPr/>
          <a:lstStyle>
            <a:lvl1pPr marL="0" indent="0">
              <a:buNone/>
              <a:defRPr sz="1200" b="1" i="0">
                <a:solidFill>
                  <a:schemeClr val="tx1"/>
                </a:solidFill>
                <a:latin typeface="Arial" panose="020B0604020202020204" pitchFamily="34" charset="0"/>
                <a:cs typeface="Arial" panose="020B0604020202020204" pitchFamily="34" charset="0"/>
              </a:defRPr>
            </a:lvl1pPr>
          </a:lstStyle>
          <a:p>
            <a:pPr lvl="0"/>
            <a:r>
              <a:rPr lang="en-US" dirty="0"/>
              <a:t>Lorem ipsum dolor sit </a:t>
            </a:r>
            <a:r>
              <a:rPr lang="en-US" dirty="0" err="1"/>
              <a:t>amet</a:t>
            </a:r>
            <a:endParaRPr lang="en-US" dirty="0"/>
          </a:p>
        </p:txBody>
      </p:sp>
      <p:sp>
        <p:nvSpPr>
          <p:cNvPr id="2" name="Freeform 1">
            <a:extLst>
              <a:ext uri="{FF2B5EF4-FFF2-40B4-BE49-F238E27FC236}">
                <a16:creationId xmlns:a16="http://schemas.microsoft.com/office/drawing/2014/main" id="{B0C3C95E-DEA5-72D2-5565-D1B175123FD9}"/>
              </a:ext>
            </a:extLst>
          </p:cNvPr>
          <p:cNvSpPr>
            <a:spLocks/>
          </p:cNvSpPr>
          <p:nvPr userDrawn="1"/>
        </p:nvSpPr>
        <p:spPr>
          <a:xfrm>
            <a:off x="5943600" y="0"/>
            <a:ext cx="6248400" cy="6858000"/>
          </a:xfrm>
          <a:custGeom>
            <a:avLst/>
            <a:gdLst>
              <a:gd name="connsiteX0" fmla="*/ 3429000 w 6248400"/>
              <a:gd name="connsiteY0" fmla="*/ 0 h 6858000"/>
              <a:gd name="connsiteX1" fmla="*/ 3435138 w 6248400"/>
              <a:gd name="connsiteY1" fmla="*/ 155 h 6858000"/>
              <a:gd name="connsiteX2" fmla="*/ 3435138 w 6248400"/>
              <a:gd name="connsiteY2" fmla="*/ 0 h 6858000"/>
              <a:gd name="connsiteX3" fmla="*/ 6248400 w 6248400"/>
              <a:gd name="connsiteY3" fmla="*/ 0 h 6858000"/>
              <a:gd name="connsiteX4" fmla="*/ 6248400 w 6248400"/>
              <a:gd name="connsiteY4" fmla="*/ 6858000 h 6858000"/>
              <a:gd name="connsiteX5" fmla="*/ 3435138 w 6248400"/>
              <a:gd name="connsiteY5" fmla="*/ 6858000 h 6858000"/>
              <a:gd name="connsiteX6" fmla="*/ 3435138 w 6248400"/>
              <a:gd name="connsiteY6" fmla="*/ 6857845 h 6858000"/>
              <a:gd name="connsiteX7" fmla="*/ 3429000 w 6248400"/>
              <a:gd name="connsiteY7" fmla="*/ 6858000 h 6858000"/>
              <a:gd name="connsiteX8" fmla="*/ 0 w 6248400"/>
              <a:gd name="connsiteY8" fmla="*/ 3429000 h 6858000"/>
              <a:gd name="connsiteX9" fmla="*/ 3429000 w 6248400"/>
              <a:gd name="connsiteY9"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8400" h="6858000">
                <a:moveTo>
                  <a:pt x="3429000" y="0"/>
                </a:moveTo>
                <a:lnTo>
                  <a:pt x="3435138" y="155"/>
                </a:lnTo>
                <a:lnTo>
                  <a:pt x="3435138" y="0"/>
                </a:lnTo>
                <a:lnTo>
                  <a:pt x="6248400" y="0"/>
                </a:lnTo>
                <a:lnTo>
                  <a:pt x="6248400" y="6858000"/>
                </a:lnTo>
                <a:lnTo>
                  <a:pt x="3435138" y="6858000"/>
                </a:lnTo>
                <a:lnTo>
                  <a:pt x="3435138" y="6857845"/>
                </a:lnTo>
                <a:lnTo>
                  <a:pt x="3429000" y="6858000"/>
                </a:lnTo>
                <a:cubicBezTo>
                  <a:pt x="1535216" y="6858000"/>
                  <a:pt x="0" y="5322784"/>
                  <a:pt x="0" y="3429000"/>
                </a:cubicBezTo>
                <a:cubicBezTo>
                  <a:pt x="0" y="1535216"/>
                  <a:pt x="1535216" y="0"/>
                  <a:pt x="3429000" y="0"/>
                </a:cubicBezTo>
                <a:close/>
              </a:path>
            </a:pathLst>
          </a:custGeom>
          <a:blipFill>
            <a:blip r:embed="rId2"/>
            <a:srcRect/>
            <a:stretch>
              <a:fillRect l="-32317" r="-32317"/>
            </a:stretch>
          </a:bli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 name="TextBox 2">
            <a:extLst>
              <a:ext uri="{FF2B5EF4-FFF2-40B4-BE49-F238E27FC236}">
                <a16:creationId xmlns:a16="http://schemas.microsoft.com/office/drawing/2014/main" id="{516E68F7-2BE2-9EB0-307F-9CA60BBBDD93}"/>
              </a:ext>
            </a:extLst>
          </p:cNvPr>
          <p:cNvSpPr txBox="1"/>
          <p:nvPr userDrawn="1"/>
        </p:nvSpPr>
        <p:spPr>
          <a:xfrm>
            <a:off x="11595295" y="6354099"/>
            <a:ext cx="341760" cy="246221"/>
          </a:xfrm>
          <a:prstGeom prst="rect">
            <a:avLst/>
          </a:prstGeom>
          <a:noFill/>
        </p:spPr>
        <p:txBody>
          <a:bodyPr wrap="none" rtlCol="0">
            <a:spAutoFit/>
          </a:bodyPr>
          <a:lstStyle/>
          <a:p>
            <a:fld id="{6A63AF19-6634-4843-A9EE-3D2E6FC63B6A}" type="slidenum">
              <a:rPr lang="en-US" sz="1000" smtClean="0">
                <a:solidFill>
                  <a:schemeClr val="bg1"/>
                </a:solidFill>
              </a:rPr>
              <a:pPr/>
              <a:t>‹#›</a:t>
            </a:fld>
            <a:endParaRPr lang="en-US" sz="1000" dirty="0">
              <a:solidFill>
                <a:schemeClr val="bg1"/>
              </a:solidFill>
            </a:endParaRPr>
          </a:p>
        </p:txBody>
      </p:sp>
    </p:spTree>
    <p:extLst>
      <p:ext uri="{BB962C8B-B14F-4D97-AF65-F5344CB8AC3E}">
        <p14:creationId xmlns:p14="http://schemas.microsoft.com/office/powerpoint/2010/main" val="122765960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Alt Right Half Slide Photo">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7AC96D3-42D5-65B8-2748-74D6FB51F289}"/>
              </a:ext>
            </a:extLst>
          </p:cNvPr>
          <p:cNvPicPr>
            <a:picLocks noChangeAspect="1"/>
          </p:cNvPicPr>
          <p:nvPr userDrawn="1"/>
        </p:nvPicPr>
        <p:blipFill>
          <a:blip r:embed="rId2"/>
          <a:stretch>
            <a:fillRect/>
          </a:stretch>
        </p:blipFill>
        <p:spPr>
          <a:xfrm>
            <a:off x="9906000" y="4572000"/>
            <a:ext cx="2286000" cy="2286000"/>
          </a:xfrm>
          <a:prstGeom prst="rect">
            <a:avLst/>
          </a:prstGeom>
        </p:spPr>
      </p:pic>
      <p:sp>
        <p:nvSpPr>
          <p:cNvPr id="4" name="Title Placeholder 15">
            <a:extLst>
              <a:ext uri="{FF2B5EF4-FFF2-40B4-BE49-F238E27FC236}">
                <a16:creationId xmlns:a16="http://schemas.microsoft.com/office/drawing/2014/main" id="{DF9C074A-6494-48EE-604F-0594D3079689}"/>
              </a:ext>
            </a:extLst>
          </p:cNvPr>
          <p:cNvSpPr>
            <a:spLocks noGrp="1"/>
          </p:cNvSpPr>
          <p:nvPr>
            <p:ph type="title" hasCustomPrompt="1"/>
          </p:nvPr>
        </p:nvSpPr>
        <p:spPr>
          <a:xfrm>
            <a:off x="421341" y="394634"/>
            <a:ext cx="5674659" cy="704257"/>
          </a:xfrm>
          <a:prstGeom prst="rect">
            <a:avLst/>
          </a:prstGeom>
        </p:spPr>
        <p:txBody>
          <a:bodyPr vert="horz" lIns="91440" tIns="45720" rIns="91440" bIns="45720" rtlCol="0" anchor="t" anchorCtr="0">
            <a:noAutofit/>
          </a:bodyPr>
          <a:lstStyle>
            <a:lvl1pPr>
              <a:defRPr sz="3600"/>
            </a:lvl1pPr>
          </a:lstStyle>
          <a:p>
            <a:r>
              <a:rPr lang="en-US" dirty="0"/>
              <a:t>Headline in Title Case</a:t>
            </a:r>
          </a:p>
        </p:txBody>
      </p:sp>
      <p:sp>
        <p:nvSpPr>
          <p:cNvPr id="31" name="Text Placeholder 3">
            <a:extLst>
              <a:ext uri="{FF2B5EF4-FFF2-40B4-BE49-F238E27FC236}">
                <a16:creationId xmlns:a16="http://schemas.microsoft.com/office/drawing/2014/main" id="{F02093EB-64CE-8951-26D5-94D00F955CCE}"/>
              </a:ext>
            </a:extLst>
          </p:cNvPr>
          <p:cNvSpPr>
            <a:spLocks noGrp="1"/>
          </p:cNvSpPr>
          <p:nvPr>
            <p:ph type="body" sz="quarter" idx="13" hasCustomPrompt="1"/>
          </p:nvPr>
        </p:nvSpPr>
        <p:spPr>
          <a:xfrm>
            <a:off x="421340" y="2291865"/>
            <a:ext cx="5674659" cy="3627671"/>
          </a:xfrm>
        </p:spPr>
        <p:txBody>
          <a:bodyPr/>
          <a:lstStyle>
            <a:lvl1pPr marL="0" indent="0">
              <a:buNone/>
              <a:defRPr sz="1600" b="0" i="0">
                <a:solidFill>
                  <a:srgbClr val="6A768A"/>
                </a:solidFill>
                <a:latin typeface="Arial" panose="020B0604020202020204" pitchFamily="34" charset="0"/>
                <a:cs typeface="Arial" panose="020B0604020202020204"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sed diam </a:t>
            </a:r>
            <a:r>
              <a:rPr lang="en-US" dirty="0" err="1"/>
              <a:t>nonummy</a:t>
            </a:r>
            <a:r>
              <a:rPr lang="en-US" dirty="0"/>
              <a:t> </a:t>
            </a:r>
            <a:r>
              <a:rPr lang="en-US" dirty="0" err="1"/>
              <a:t>nibh</a:t>
            </a:r>
            <a:r>
              <a:rPr lang="en-US" dirty="0"/>
              <a:t> </a:t>
            </a:r>
            <a:r>
              <a:rPr lang="en-US" dirty="0" err="1"/>
              <a:t>euismod</a:t>
            </a:r>
            <a:r>
              <a:rPr lang="en-US" dirty="0"/>
              <a:t> </a:t>
            </a:r>
            <a:r>
              <a:rPr lang="en-US" dirty="0" err="1"/>
              <a:t>tincidunt</a:t>
            </a:r>
            <a:r>
              <a:rPr lang="en-US" dirty="0"/>
              <a:t> </a:t>
            </a:r>
            <a:r>
              <a:rPr lang="en-US" dirty="0" err="1"/>
              <a:t>ut</a:t>
            </a:r>
            <a:r>
              <a:rPr lang="en-US" dirty="0"/>
              <a:t> </a:t>
            </a:r>
            <a:r>
              <a:rPr lang="en-US" dirty="0" err="1"/>
              <a:t>laoreet</a:t>
            </a:r>
            <a:r>
              <a:rPr lang="en-US" dirty="0"/>
              <a:t> dolore magna </a:t>
            </a:r>
            <a:r>
              <a:rPr lang="en-US" dirty="0" err="1"/>
              <a:t>aliquam</a:t>
            </a:r>
            <a:r>
              <a:rPr lang="en-US" dirty="0"/>
              <a:t> </a:t>
            </a:r>
            <a:r>
              <a:rPr lang="en-US" dirty="0" err="1"/>
              <a:t>erat</a:t>
            </a:r>
            <a:r>
              <a:rPr lang="en-US" dirty="0"/>
              <a:t> </a:t>
            </a:r>
            <a:r>
              <a:rPr lang="en-US" dirty="0" err="1"/>
              <a:t>volutpat</a:t>
            </a:r>
            <a:r>
              <a:rPr lang="en-US" dirty="0"/>
              <a:t>. </a:t>
            </a:r>
            <a:r>
              <a:rPr lang="en-US" dirty="0" err="1"/>
              <a:t>Mivamus</a:t>
            </a:r>
            <a:r>
              <a:rPr lang="en-US" dirty="0"/>
              <a:t> vitae </a:t>
            </a:r>
            <a:r>
              <a:rPr lang="en-US" dirty="0" err="1"/>
              <a:t>dapibus</a:t>
            </a:r>
            <a:r>
              <a:rPr lang="en-US" dirty="0"/>
              <a:t> </a:t>
            </a:r>
            <a:r>
              <a:rPr lang="en-US" dirty="0" err="1"/>
              <a:t>neque</a:t>
            </a:r>
            <a:r>
              <a:rPr lang="en-US" dirty="0"/>
              <a:t>. Nunc </a:t>
            </a:r>
            <a:r>
              <a:rPr lang="en-US" dirty="0" err="1"/>
              <a:t>sodales</a:t>
            </a:r>
            <a:r>
              <a:rPr lang="en-US" dirty="0"/>
              <a:t> </a:t>
            </a:r>
            <a:r>
              <a:rPr lang="en-US" dirty="0" err="1"/>
              <a:t>orci</a:t>
            </a:r>
            <a:r>
              <a:rPr lang="en-US" dirty="0"/>
              <a:t> </a:t>
            </a:r>
            <a:r>
              <a:rPr lang="en-US" dirty="0" err="1"/>
              <a:t>eget</a:t>
            </a:r>
            <a:r>
              <a:rPr lang="en-US" dirty="0"/>
              <a:t> </a:t>
            </a:r>
            <a:r>
              <a:rPr lang="en-US" dirty="0" err="1"/>
              <a:t>luctus</a:t>
            </a:r>
            <a:r>
              <a:rPr lang="en-US" dirty="0"/>
              <a:t> vestibulum. </a:t>
            </a:r>
            <a:r>
              <a:rPr lang="en-US" dirty="0" err="1"/>
              <a:t>Vivamus</a:t>
            </a:r>
            <a:r>
              <a:rPr lang="en-US" dirty="0"/>
              <a:t> </a:t>
            </a:r>
            <a:r>
              <a:rPr lang="en-US" dirty="0" err="1"/>
              <a:t>aliquam</a:t>
            </a:r>
            <a:r>
              <a:rPr lang="en-US" dirty="0"/>
              <a:t> semper diam, et </a:t>
            </a:r>
            <a:r>
              <a:rPr lang="en-US" dirty="0" err="1"/>
              <a:t>blandit</a:t>
            </a:r>
            <a:r>
              <a:rPr lang="en-US" dirty="0"/>
              <a:t> </a:t>
            </a:r>
            <a:r>
              <a:rPr lang="en-US" dirty="0" err="1"/>
              <a:t>quam</a:t>
            </a:r>
            <a:r>
              <a:rPr lang="en-US" dirty="0"/>
              <a:t> maximus vitae. Proin </a:t>
            </a:r>
            <a:r>
              <a:rPr lang="en-US" dirty="0" err="1"/>
              <a:t>posuere</a:t>
            </a:r>
            <a:r>
              <a:rPr lang="en-US" dirty="0"/>
              <a:t> </a:t>
            </a:r>
            <a:r>
              <a:rPr lang="en-US" dirty="0" err="1"/>
              <a:t>leo</a:t>
            </a:r>
            <a:r>
              <a:rPr lang="en-US" dirty="0"/>
              <a:t> id magna </a:t>
            </a:r>
            <a:r>
              <a:rPr lang="en-US" dirty="0" err="1"/>
              <a:t>viverra</a:t>
            </a:r>
            <a:r>
              <a:rPr lang="en-US" dirty="0"/>
              <a:t>, nec </a:t>
            </a:r>
            <a:r>
              <a:rPr lang="en-US" dirty="0" err="1"/>
              <a:t>vehicula</a:t>
            </a:r>
            <a:r>
              <a:rPr lang="en-US" dirty="0"/>
              <a:t> </a:t>
            </a:r>
            <a:r>
              <a:rPr lang="en-US" dirty="0" err="1"/>
              <a:t>sem</a:t>
            </a:r>
            <a:r>
              <a:rPr lang="en-US" dirty="0"/>
              <a:t> </a:t>
            </a:r>
            <a:r>
              <a:rPr lang="en-US" dirty="0" err="1"/>
              <a:t>euismod</a:t>
            </a:r>
            <a:r>
              <a:rPr lang="en-US" dirty="0"/>
              <a:t>.</a:t>
            </a:r>
          </a:p>
          <a:p>
            <a:pPr lvl="0"/>
            <a:endParaRPr lang="en-US" dirty="0"/>
          </a:p>
          <a:p>
            <a:pPr lvl="0"/>
            <a:r>
              <a:rPr lang="en-US" dirty="0"/>
              <a:t>• Sed vel </a:t>
            </a:r>
            <a:r>
              <a:rPr lang="en-US" dirty="0" err="1"/>
              <a:t>risus</a:t>
            </a:r>
            <a:r>
              <a:rPr lang="en-US" dirty="0"/>
              <a:t> dui</a:t>
            </a:r>
            <a:br>
              <a:rPr lang="en-US" dirty="0"/>
            </a:br>
            <a:r>
              <a:rPr lang="en-US" dirty="0"/>
              <a:t>• Proin nec </a:t>
            </a:r>
            <a:r>
              <a:rPr lang="en-US" dirty="0" err="1"/>
              <a:t>odio</a:t>
            </a:r>
            <a:r>
              <a:rPr lang="en-US" dirty="0"/>
              <a:t> </a:t>
            </a:r>
            <a:r>
              <a:rPr lang="en-US" dirty="0" err="1"/>
              <a:t>ultrices</a:t>
            </a:r>
            <a:r>
              <a:rPr lang="en-US" dirty="0"/>
              <a:t>, semper </a:t>
            </a:r>
            <a:r>
              <a:rPr lang="en-US" dirty="0" err="1"/>
              <a:t>est</a:t>
            </a:r>
            <a:r>
              <a:rPr lang="en-US" dirty="0"/>
              <a:t> vel</a:t>
            </a:r>
            <a:br>
              <a:rPr lang="en-US" dirty="0"/>
            </a:br>
            <a:r>
              <a:rPr lang="en-US" dirty="0"/>
              <a:t>• </a:t>
            </a:r>
            <a:r>
              <a:rPr lang="en-US" dirty="0" err="1"/>
              <a:t>Luctus</a:t>
            </a:r>
            <a:r>
              <a:rPr lang="en-US" dirty="0"/>
              <a:t> lorem </a:t>
            </a:r>
            <a:r>
              <a:rPr lang="en-US" dirty="0" err="1"/>
              <a:t>cras</a:t>
            </a:r>
            <a:r>
              <a:rPr lang="en-US" dirty="0"/>
              <a:t> et </a:t>
            </a:r>
            <a:r>
              <a:rPr lang="en-US" dirty="0" err="1"/>
              <a:t>nulla</a:t>
            </a:r>
            <a:r>
              <a:rPr lang="en-US" dirty="0"/>
              <a:t> pharetra</a:t>
            </a:r>
            <a:br>
              <a:rPr lang="en-US" dirty="0"/>
            </a:br>
            <a:r>
              <a:rPr lang="en-US" dirty="0"/>
              <a:t>• Pharetra </a:t>
            </a:r>
            <a:r>
              <a:rPr lang="en-US" dirty="0" err="1"/>
              <a:t>nibh</a:t>
            </a:r>
            <a:r>
              <a:rPr lang="en-US" dirty="0"/>
              <a:t> vel, </a:t>
            </a:r>
            <a:r>
              <a:rPr lang="en-US" dirty="0" err="1"/>
              <a:t>malesuada</a:t>
            </a:r>
            <a:r>
              <a:rPr lang="en-US" dirty="0"/>
              <a:t> libero</a:t>
            </a:r>
            <a:br>
              <a:rPr lang="en-US" dirty="0"/>
            </a:br>
            <a:r>
              <a:rPr lang="en-US" dirty="0"/>
              <a:t>• </a:t>
            </a:r>
            <a:r>
              <a:rPr lang="en-US" dirty="0" err="1"/>
              <a:t>Aliquam</a:t>
            </a:r>
            <a:r>
              <a:rPr lang="en-US" dirty="0"/>
              <a:t> </a:t>
            </a:r>
            <a:r>
              <a:rPr lang="en-US" dirty="0" err="1"/>
              <a:t>erat</a:t>
            </a:r>
            <a:r>
              <a:rPr lang="en-US" dirty="0"/>
              <a:t> </a:t>
            </a:r>
            <a:r>
              <a:rPr lang="en-US" dirty="0" err="1"/>
              <a:t>volutpat</a:t>
            </a:r>
            <a:r>
              <a:rPr lang="en-US" dirty="0"/>
              <a:t> </a:t>
            </a:r>
            <a:r>
              <a:rPr lang="en-US" dirty="0" err="1"/>
              <a:t>pellentesque</a:t>
            </a:r>
            <a:r>
              <a:rPr lang="en-US" dirty="0"/>
              <a:t> </a:t>
            </a:r>
            <a:r>
              <a:rPr lang="en-US" dirty="0" err="1"/>
              <a:t>sodales</a:t>
            </a:r>
            <a:endParaRPr lang="en-US" dirty="0"/>
          </a:p>
        </p:txBody>
      </p:sp>
      <p:sp>
        <p:nvSpPr>
          <p:cNvPr id="5" name="Text Placeholder 12">
            <a:extLst>
              <a:ext uri="{FF2B5EF4-FFF2-40B4-BE49-F238E27FC236}">
                <a16:creationId xmlns:a16="http://schemas.microsoft.com/office/drawing/2014/main" id="{5F438473-E229-4F67-DB5E-DBD76F45CD76}"/>
              </a:ext>
            </a:extLst>
          </p:cNvPr>
          <p:cNvSpPr>
            <a:spLocks noGrp="1"/>
          </p:cNvSpPr>
          <p:nvPr>
            <p:ph type="body" sz="quarter" idx="18" hasCustomPrompt="1"/>
          </p:nvPr>
        </p:nvSpPr>
        <p:spPr>
          <a:xfrm>
            <a:off x="421340" y="1235182"/>
            <a:ext cx="5570386" cy="769790"/>
          </a:xfrm>
        </p:spPr>
        <p:txBody>
          <a:bodyPr/>
          <a:lstStyle>
            <a:lvl1pPr>
              <a:defRPr sz="2600" b="0"/>
            </a:lvl1pPr>
          </a:lstStyle>
          <a:p>
            <a:pPr lvl="0"/>
            <a:r>
              <a:rPr lang="en-US" dirty="0"/>
              <a:t>Title Case Sub-headline </a:t>
            </a:r>
            <a:r>
              <a:rPr lang="en-US" dirty="0" err="1"/>
              <a:t>Risus</a:t>
            </a:r>
            <a:r>
              <a:rPr lang="en-US" dirty="0"/>
              <a:t> vel </a:t>
            </a:r>
            <a:r>
              <a:rPr lang="en-US" dirty="0" err="1"/>
              <a:t>Condimentum</a:t>
            </a:r>
            <a:r>
              <a:rPr lang="en-US" dirty="0"/>
              <a:t> </a:t>
            </a:r>
            <a:r>
              <a:rPr lang="en-US" dirty="0" err="1"/>
              <a:t>Venenatis</a:t>
            </a:r>
            <a:r>
              <a:rPr lang="en-US" dirty="0"/>
              <a:t> </a:t>
            </a:r>
            <a:r>
              <a:rPr lang="en-US" dirty="0" err="1"/>
              <a:t>Commodo</a:t>
            </a:r>
            <a:r>
              <a:rPr lang="en-US" dirty="0"/>
              <a:t> </a:t>
            </a:r>
          </a:p>
        </p:txBody>
      </p:sp>
      <p:sp>
        <p:nvSpPr>
          <p:cNvPr id="9" name="TextBox 8">
            <a:extLst>
              <a:ext uri="{FF2B5EF4-FFF2-40B4-BE49-F238E27FC236}">
                <a16:creationId xmlns:a16="http://schemas.microsoft.com/office/drawing/2014/main" id="{AC54045E-624E-A7E4-D472-780638371395}"/>
              </a:ext>
            </a:extLst>
          </p:cNvPr>
          <p:cNvSpPr txBox="1"/>
          <p:nvPr userDrawn="1"/>
        </p:nvSpPr>
        <p:spPr>
          <a:xfrm>
            <a:off x="11595295" y="6354099"/>
            <a:ext cx="341760" cy="246221"/>
          </a:xfrm>
          <a:prstGeom prst="rect">
            <a:avLst/>
          </a:prstGeom>
          <a:noFill/>
        </p:spPr>
        <p:txBody>
          <a:bodyPr wrap="none" rtlCol="0">
            <a:spAutoFit/>
          </a:bodyPr>
          <a:lstStyle/>
          <a:p>
            <a:fld id="{6A63AF19-6634-4843-A9EE-3D2E6FC63B6A}" type="slidenum">
              <a:rPr lang="en-US" sz="1000" smtClean="0"/>
              <a:pPr/>
              <a:t>‹#›</a:t>
            </a:fld>
            <a:endParaRPr lang="en-US" sz="1000" dirty="0"/>
          </a:p>
        </p:txBody>
      </p:sp>
      <p:sp>
        <p:nvSpPr>
          <p:cNvPr id="6" name="TextBox 5">
            <a:extLst>
              <a:ext uri="{FF2B5EF4-FFF2-40B4-BE49-F238E27FC236}">
                <a16:creationId xmlns:a16="http://schemas.microsoft.com/office/drawing/2014/main" id="{8BF211D3-4FD8-2E86-219C-42012B44D27A}"/>
              </a:ext>
            </a:extLst>
          </p:cNvPr>
          <p:cNvSpPr txBox="1"/>
          <p:nvPr userDrawn="1"/>
        </p:nvSpPr>
        <p:spPr>
          <a:xfrm>
            <a:off x="10406743" y="-827314"/>
            <a:ext cx="184731" cy="369332"/>
          </a:xfrm>
          <a:prstGeom prst="rect">
            <a:avLst/>
          </a:prstGeom>
          <a:noFill/>
        </p:spPr>
        <p:txBody>
          <a:bodyPr wrap="none" rtlCol="0">
            <a:spAutoFit/>
          </a:bodyPr>
          <a:lstStyle/>
          <a:p>
            <a:endParaRPr lang="en-US" dirty="0"/>
          </a:p>
        </p:txBody>
      </p:sp>
      <p:sp>
        <p:nvSpPr>
          <p:cNvPr id="7" name="Freeform 6">
            <a:extLst>
              <a:ext uri="{FF2B5EF4-FFF2-40B4-BE49-F238E27FC236}">
                <a16:creationId xmlns:a16="http://schemas.microsoft.com/office/drawing/2014/main" id="{6683F0F5-031F-92FF-242F-31CB757AF596}"/>
              </a:ext>
            </a:extLst>
          </p:cNvPr>
          <p:cNvSpPr/>
          <p:nvPr userDrawn="1"/>
        </p:nvSpPr>
        <p:spPr>
          <a:xfrm>
            <a:off x="6440424" y="-1"/>
            <a:ext cx="5751576" cy="4572001"/>
          </a:xfrm>
          <a:custGeom>
            <a:avLst/>
            <a:gdLst>
              <a:gd name="connsiteX0" fmla="*/ 2274377 w 5746750"/>
              <a:gd name="connsiteY0" fmla="*/ 2286000 h 4572001"/>
              <a:gd name="connsiteX1" fmla="*/ 5746750 w 5746750"/>
              <a:gd name="connsiteY1" fmla="*/ 2286000 h 4572001"/>
              <a:gd name="connsiteX2" fmla="*/ 5746750 w 5746750"/>
              <a:gd name="connsiteY2" fmla="*/ 4571999 h 4572001"/>
              <a:gd name="connsiteX3" fmla="*/ 2274416 w 5746750"/>
              <a:gd name="connsiteY3" fmla="*/ 4571999 h 4572001"/>
              <a:gd name="connsiteX4" fmla="*/ 2274377 w 5746750"/>
              <a:gd name="connsiteY4" fmla="*/ 4572001 h 4572001"/>
              <a:gd name="connsiteX5" fmla="*/ 1131377 w 5746750"/>
              <a:gd name="connsiteY5" fmla="*/ 3429001 h 4572001"/>
              <a:gd name="connsiteX6" fmla="*/ 2274377 w 5746750"/>
              <a:gd name="connsiteY6" fmla="*/ 2286001 h 4572001"/>
              <a:gd name="connsiteX7" fmla="*/ 1143000 w 5746750"/>
              <a:gd name="connsiteY7" fmla="*/ 0 h 4572001"/>
              <a:gd name="connsiteX8" fmla="*/ 5746750 w 5746750"/>
              <a:gd name="connsiteY8" fmla="*/ 0 h 4572001"/>
              <a:gd name="connsiteX9" fmla="*/ 5746750 w 5746750"/>
              <a:gd name="connsiteY9" fmla="*/ 2285999 h 4572001"/>
              <a:gd name="connsiteX10" fmla="*/ 1271985 w 5746750"/>
              <a:gd name="connsiteY10" fmla="*/ 2285999 h 4572001"/>
              <a:gd name="connsiteX11" fmla="*/ 1259865 w 5746750"/>
              <a:gd name="connsiteY11" fmla="*/ 2287849 h 4572001"/>
              <a:gd name="connsiteX12" fmla="*/ 1143000 w 5746750"/>
              <a:gd name="connsiteY12" fmla="*/ 2293750 h 4572001"/>
              <a:gd name="connsiteX13" fmla="*/ 0 w 5746750"/>
              <a:gd name="connsiteY13" fmla="*/ 1150750 h 4572001"/>
              <a:gd name="connsiteX14" fmla="*/ 1143000 w 5746750"/>
              <a:gd name="connsiteY14" fmla="*/ 7750 h 4572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46750" h="4572001">
                <a:moveTo>
                  <a:pt x="2274377" y="2286000"/>
                </a:moveTo>
                <a:lnTo>
                  <a:pt x="5746750" y="2286000"/>
                </a:lnTo>
                <a:lnTo>
                  <a:pt x="5746750" y="4571999"/>
                </a:lnTo>
                <a:lnTo>
                  <a:pt x="2274416" y="4571999"/>
                </a:lnTo>
                <a:lnTo>
                  <a:pt x="2274377" y="4572001"/>
                </a:lnTo>
                <a:cubicBezTo>
                  <a:pt x="1643116" y="4572001"/>
                  <a:pt x="1131377" y="4060262"/>
                  <a:pt x="1131377" y="3429001"/>
                </a:cubicBezTo>
                <a:cubicBezTo>
                  <a:pt x="1131377" y="2797740"/>
                  <a:pt x="1643116" y="2286001"/>
                  <a:pt x="2274377" y="2286001"/>
                </a:cubicBezTo>
                <a:close/>
                <a:moveTo>
                  <a:pt x="1143000" y="0"/>
                </a:moveTo>
                <a:lnTo>
                  <a:pt x="5746750" y="0"/>
                </a:lnTo>
                <a:lnTo>
                  <a:pt x="5746750" y="2285999"/>
                </a:lnTo>
                <a:lnTo>
                  <a:pt x="1271985" y="2285999"/>
                </a:lnTo>
                <a:lnTo>
                  <a:pt x="1259865" y="2287849"/>
                </a:lnTo>
                <a:cubicBezTo>
                  <a:pt x="1221441" y="2291751"/>
                  <a:pt x="1182454" y="2293750"/>
                  <a:pt x="1143000" y="2293750"/>
                </a:cubicBezTo>
                <a:cubicBezTo>
                  <a:pt x="511739" y="2293750"/>
                  <a:pt x="0" y="1782011"/>
                  <a:pt x="0" y="1150750"/>
                </a:cubicBezTo>
                <a:cubicBezTo>
                  <a:pt x="0" y="519489"/>
                  <a:pt x="511739" y="7750"/>
                  <a:pt x="1143000" y="7750"/>
                </a:cubicBezTo>
                <a:close/>
              </a:path>
            </a:pathLst>
          </a:custGeom>
          <a:blipFill dpi="0" rotWithShape="0">
            <a:blip r:embed="rId3"/>
            <a:srcRect/>
            <a:stretch>
              <a:fillRect l="-4175" r="-15101"/>
            </a:stretch>
          </a:bli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Tree>
    <p:extLst>
      <p:ext uri="{BB962C8B-B14F-4D97-AF65-F5344CB8AC3E}">
        <p14:creationId xmlns:p14="http://schemas.microsoft.com/office/powerpoint/2010/main" val="7029718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Icons and Categories 1 Slide">
    <p:spTree>
      <p:nvGrpSpPr>
        <p:cNvPr id="1" name=""/>
        <p:cNvGrpSpPr/>
        <p:nvPr/>
      </p:nvGrpSpPr>
      <p:grpSpPr>
        <a:xfrm>
          <a:off x="0" y="0"/>
          <a:ext cx="0" cy="0"/>
          <a:chOff x="0" y="0"/>
          <a:chExt cx="0" cy="0"/>
        </a:xfrm>
      </p:grpSpPr>
      <p:sp>
        <p:nvSpPr>
          <p:cNvPr id="37" name="Text Placeholder 3">
            <a:extLst>
              <a:ext uri="{FF2B5EF4-FFF2-40B4-BE49-F238E27FC236}">
                <a16:creationId xmlns:a16="http://schemas.microsoft.com/office/drawing/2014/main" id="{4BBB4396-0ECD-4C6A-78A6-A513C4992A73}"/>
              </a:ext>
            </a:extLst>
          </p:cNvPr>
          <p:cNvSpPr>
            <a:spLocks noGrp="1"/>
          </p:cNvSpPr>
          <p:nvPr>
            <p:ph type="body" sz="quarter" idx="14" hasCustomPrompt="1"/>
          </p:nvPr>
        </p:nvSpPr>
        <p:spPr>
          <a:xfrm>
            <a:off x="421342" y="4088813"/>
            <a:ext cx="2556635" cy="1236947"/>
          </a:xfrm>
        </p:spPr>
        <p:txBody>
          <a:bodyPr/>
          <a:lstStyle>
            <a:lvl1pPr marL="0" indent="0">
              <a:buNone/>
              <a:defRPr sz="1250" b="0" i="0">
                <a:solidFill>
                  <a:schemeClr val="accent6"/>
                </a:solidFill>
                <a:latin typeface="Arial" panose="020B0604020202020204" pitchFamily="34" charset="0"/>
                <a:cs typeface="Arial" panose="020B0604020202020204" pitchFamily="34" charset="0"/>
              </a:defRPr>
            </a:lvl1pPr>
          </a:lstStyle>
          <a:p>
            <a:pPr lvl="0"/>
            <a:r>
              <a:rPr lang="en-US" dirty="0"/>
              <a:t>Nam </a:t>
            </a:r>
            <a:r>
              <a:rPr lang="en-US" dirty="0" err="1"/>
              <a:t>pretium</a:t>
            </a:r>
            <a:r>
              <a:rPr lang="en-US" dirty="0"/>
              <a:t>, </a:t>
            </a:r>
            <a:r>
              <a:rPr lang="en-US" dirty="0" err="1"/>
              <a:t>neque</a:t>
            </a:r>
            <a:r>
              <a:rPr lang="en-US" dirty="0"/>
              <a:t> </a:t>
            </a:r>
            <a:r>
              <a:rPr lang="en-US" dirty="0" err="1"/>
              <a:t>quis</a:t>
            </a:r>
            <a:r>
              <a:rPr lang="en-US" dirty="0"/>
              <a:t> </a:t>
            </a:r>
            <a:r>
              <a:rPr lang="en-US" dirty="0" err="1"/>
              <a:t>hendrerit</a:t>
            </a:r>
            <a:r>
              <a:rPr lang="en-US" dirty="0"/>
              <a:t> </a:t>
            </a:r>
            <a:r>
              <a:rPr lang="en-US" dirty="0" err="1"/>
              <a:t>pellentesque</a:t>
            </a:r>
            <a:r>
              <a:rPr lang="en-US" dirty="0"/>
              <a:t>, </a:t>
            </a:r>
            <a:r>
              <a:rPr lang="en-US" dirty="0" err="1"/>
              <a:t>orci</a:t>
            </a:r>
            <a:r>
              <a:rPr lang="en-US" dirty="0"/>
              <a:t> </a:t>
            </a:r>
            <a:r>
              <a:rPr lang="en-US" dirty="0" err="1"/>
              <a:t>nulla</a:t>
            </a:r>
            <a:r>
              <a:rPr lang="en-US" dirty="0"/>
              <a:t> </a:t>
            </a:r>
            <a:r>
              <a:rPr lang="en-US" dirty="0" err="1"/>
              <a:t>elementum</a:t>
            </a:r>
            <a:r>
              <a:rPr lang="en-US" dirty="0"/>
              <a:t> </a:t>
            </a:r>
            <a:r>
              <a:rPr lang="en-US" dirty="0" err="1"/>
              <a:t>est</a:t>
            </a:r>
            <a:r>
              <a:rPr lang="en-US" dirty="0"/>
              <a:t>, </a:t>
            </a:r>
            <a:r>
              <a:rPr lang="en-US" dirty="0" err="1"/>
              <a:t>quis</a:t>
            </a:r>
            <a:r>
              <a:rPr lang="en-US" dirty="0"/>
              <a:t> </a:t>
            </a:r>
            <a:r>
              <a:rPr lang="en-US" dirty="0" err="1"/>
              <a:t>finibus</a:t>
            </a:r>
            <a:r>
              <a:rPr lang="en-US" dirty="0"/>
              <a:t> </a:t>
            </a:r>
            <a:r>
              <a:rPr lang="en-US" dirty="0" err="1"/>
              <a:t>lectus</a:t>
            </a:r>
            <a:r>
              <a:rPr lang="en-US" dirty="0"/>
              <a:t> </a:t>
            </a:r>
            <a:r>
              <a:rPr lang="en-US" dirty="0" err="1"/>
              <a:t>tortor</a:t>
            </a:r>
            <a:r>
              <a:rPr lang="en-US" dirty="0"/>
              <a:t> non </a:t>
            </a:r>
            <a:r>
              <a:rPr lang="en-US" dirty="0" err="1"/>
              <a:t>odio</a:t>
            </a:r>
            <a:r>
              <a:rPr lang="en-US" dirty="0"/>
              <a:t>. </a:t>
            </a:r>
            <a:r>
              <a:rPr lang="en-US" dirty="0" err="1"/>
              <a:t>Quisque</a:t>
            </a:r>
            <a:r>
              <a:rPr lang="en-US" dirty="0"/>
              <a:t> vel </a:t>
            </a:r>
            <a:r>
              <a:rPr lang="en-US" dirty="0" err="1"/>
              <a:t>mollis</a:t>
            </a:r>
            <a:r>
              <a:rPr lang="en-US" dirty="0"/>
              <a:t> </a:t>
            </a:r>
            <a:r>
              <a:rPr lang="en-US" dirty="0" err="1"/>
              <a:t>massa</a:t>
            </a:r>
            <a:r>
              <a:rPr lang="en-US" dirty="0"/>
              <a:t>, vel </a:t>
            </a:r>
            <a:r>
              <a:rPr lang="en-US" dirty="0" err="1"/>
              <a:t>feugiat</a:t>
            </a:r>
            <a:r>
              <a:rPr lang="en-US" dirty="0"/>
              <a:t> </a:t>
            </a:r>
            <a:r>
              <a:rPr lang="en-US" dirty="0" err="1"/>
              <a:t>turpis</a:t>
            </a:r>
            <a:r>
              <a:rPr lang="en-US" dirty="0"/>
              <a:t>. </a:t>
            </a:r>
            <a:r>
              <a:rPr lang="en-US" dirty="0" err="1"/>
              <a:t>Curabtur</a:t>
            </a:r>
            <a:r>
              <a:rPr lang="en-US" dirty="0"/>
              <a:t> </a:t>
            </a:r>
            <a:r>
              <a:rPr lang="en-US" dirty="0" err="1"/>
              <a:t>rutrum</a:t>
            </a:r>
            <a:r>
              <a:rPr lang="en-US" dirty="0"/>
              <a:t> </a:t>
            </a:r>
            <a:r>
              <a:rPr lang="en-US" dirty="0" err="1"/>
              <a:t>eleifend</a:t>
            </a:r>
            <a:r>
              <a:rPr lang="en-US" dirty="0"/>
              <a:t> </a:t>
            </a:r>
            <a:r>
              <a:rPr lang="en-US" dirty="0" err="1"/>
              <a:t>porttitor</a:t>
            </a:r>
            <a:r>
              <a:rPr lang="en-US" dirty="0"/>
              <a:t>.</a:t>
            </a:r>
          </a:p>
        </p:txBody>
      </p:sp>
      <p:sp>
        <p:nvSpPr>
          <p:cNvPr id="50" name="Text Placeholder 3">
            <a:extLst>
              <a:ext uri="{FF2B5EF4-FFF2-40B4-BE49-F238E27FC236}">
                <a16:creationId xmlns:a16="http://schemas.microsoft.com/office/drawing/2014/main" id="{8B152243-4948-EE19-97D7-804AF7494A23}"/>
              </a:ext>
            </a:extLst>
          </p:cNvPr>
          <p:cNvSpPr>
            <a:spLocks noGrp="1"/>
          </p:cNvSpPr>
          <p:nvPr>
            <p:ph type="body" sz="quarter" idx="15" hasCustomPrompt="1"/>
          </p:nvPr>
        </p:nvSpPr>
        <p:spPr>
          <a:xfrm>
            <a:off x="421340" y="3196420"/>
            <a:ext cx="2556637" cy="837773"/>
          </a:xfrm>
        </p:spPr>
        <p:txBody>
          <a:bodyPr/>
          <a:lstStyle>
            <a:lvl1pPr marL="0" indent="0">
              <a:buNone/>
              <a:defRPr sz="1500" b="1" i="0">
                <a:solidFill>
                  <a:schemeClr val="accent1"/>
                </a:solidFill>
                <a:latin typeface="Arial" panose="020B0604020202020204" pitchFamily="34" charset="0"/>
                <a:cs typeface="Arial" panose="020B0604020202020204" pitchFamily="34" charset="0"/>
              </a:defRPr>
            </a:lvl1pPr>
          </a:lstStyle>
          <a:p>
            <a:pPr lvl="0"/>
            <a:r>
              <a:rPr lang="en-US" dirty="0"/>
              <a:t>Title Case Sub-headline </a:t>
            </a:r>
            <a:r>
              <a:rPr lang="en-US" dirty="0" err="1"/>
              <a:t>Risus</a:t>
            </a:r>
            <a:r>
              <a:rPr lang="en-US" dirty="0"/>
              <a:t> vel </a:t>
            </a:r>
            <a:r>
              <a:rPr lang="en-US" dirty="0" err="1"/>
              <a:t>Condimentum</a:t>
            </a:r>
            <a:r>
              <a:rPr lang="en-US" dirty="0"/>
              <a:t> </a:t>
            </a:r>
            <a:r>
              <a:rPr lang="en-US" dirty="0" err="1"/>
              <a:t>Venenatis</a:t>
            </a:r>
            <a:r>
              <a:rPr lang="en-US" dirty="0"/>
              <a:t> </a:t>
            </a:r>
            <a:r>
              <a:rPr lang="en-US" dirty="0" err="1"/>
              <a:t>Commodo</a:t>
            </a:r>
            <a:endParaRPr lang="en-US" dirty="0"/>
          </a:p>
        </p:txBody>
      </p:sp>
      <p:sp>
        <p:nvSpPr>
          <p:cNvPr id="4" name="Title Placeholder 15">
            <a:extLst>
              <a:ext uri="{FF2B5EF4-FFF2-40B4-BE49-F238E27FC236}">
                <a16:creationId xmlns:a16="http://schemas.microsoft.com/office/drawing/2014/main" id="{DF9C074A-6494-48EE-604F-0594D3079689}"/>
              </a:ext>
            </a:extLst>
          </p:cNvPr>
          <p:cNvSpPr>
            <a:spLocks noGrp="1"/>
          </p:cNvSpPr>
          <p:nvPr>
            <p:ph type="title" hasCustomPrompt="1"/>
          </p:nvPr>
        </p:nvSpPr>
        <p:spPr>
          <a:xfrm>
            <a:off x="421340" y="394634"/>
            <a:ext cx="11344835" cy="704257"/>
          </a:xfrm>
          <a:prstGeom prst="rect">
            <a:avLst/>
          </a:prstGeom>
        </p:spPr>
        <p:txBody>
          <a:bodyPr vert="horz" lIns="91440" tIns="45720" rIns="91440" bIns="45720" rtlCol="0" anchor="t" anchorCtr="0">
            <a:noAutofit/>
          </a:bodyPr>
          <a:lstStyle>
            <a:lvl1pPr>
              <a:defRPr sz="3600"/>
            </a:lvl1pPr>
          </a:lstStyle>
          <a:p>
            <a:r>
              <a:rPr lang="en-US" dirty="0"/>
              <a:t>Headline in Title Case</a:t>
            </a:r>
          </a:p>
        </p:txBody>
      </p:sp>
      <p:sp>
        <p:nvSpPr>
          <p:cNvPr id="5" name="Text Placeholder 12">
            <a:extLst>
              <a:ext uri="{FF2B5EF4-FFF2-40B4-BE49-F238E27FC236}">
                <a16:creationId xmlns:a16="http://schemas.microsoft.com/office/drawing/2014/main" id="{014170B3-D417-72E7-066E-189F980B5983}"/>
              </a:ext>
            </a:extLst>
          </p:cNvPr>
          <p:cNvSpPr>
            <a:spLocks noGrp="1"/>
          </p:cNvSpPr>
          <p:nvPr>
            <p:ph type="body" sz="quarter" idx="18" hasCustomPrompt="1"/>
          </p:nvPr>
        </p:nvSpPr>
        <p:spPr>
          <a:xfrm>
            <a:off x="421340" y="2462774"/>
            <a:ext cx="2556637" cy="466772"/>
          </a:xfrm>
        </p:spPr>
        <p:txBody>
          <a:bodyPr/>
          <a:lstStyle>
            <a:lvl1pPr>
              <a:defRPr sz="2600"/>
            </a:lvl1pPr>
          </a:lstStyle>
          <a:p>
            <a:pPr lvl="0"/>
            <a:r>
              <a:rPr lang="en-US" dirty="0"/>
              <a:t>Category</a:t>
            </a:r>
          </a:p>
        </p:txBody>
      </p:sp>
      <p:sp>
        <p:nvSpPr>
          <p:cNvPr id="6" name="Text Placeholder 3">
            <a:extLst>
              <a:ext uri="{FF2B5EF4-FFF2-40B4-BE49-F238E27FC236}">
                <a16:creationId xmlns:a16="http://schemas.microsoft.com/office/drawing/2014/main" id="{C67E38CB-A706-747C-3CAF-B03E0A68A253}"/>
              </a:ext>
            </a:extLst>
          </p:cNvPr>
          <p:cNvSpPr>
            <a:spLocks noGrp="1"/>
          </p:cNvSpPr>
          <p:nvPr>
            <p:ph type="body" sz="quarter" idx="19" hasCustomPrompt="1"/>
          </p:nvPr>
        </p:nvSpPr>
        <p:spPr>
          <a:xfrm>
            <a:off x="3337535" y="4088813"/>
            <a:ext cx="2556635" cy="1236947"/>
          </a:xfrm>
        </p:spPr>
        <p:txBody>
          <a:bodyPr/>
          <a:lstStyle>
            <a:lvl1pPr marL="0" indent="0">
              <a:buNone/>
              <a:defRPr sz="1250" b="0" i="0">
                <a:solidFill>
                  <a:schemeClr val="accent6"/>
                </a:solidFill>
                <a:latin typeface="Arial" panose="020B0604020202020204" pitchFamily="34" charset="0"/>
                <a:cs typeface="Arial" panose="020B0604020202020204" pitchFamily="34" charset="0"/>
              </a:defRPr>
            </a:lvl1pPr>
          </a:lstStyle>
          <a:p>
            <a:pPr lvl="0"/>
            <a:r>
              <a:rPr lang="en-US" dirty="0"/>
              <a:t>Nam </a:t>
            </a:r>
            <a:r>
              <a:rPr lang="en-US" dirty="0" err="1"/>
              <a:t>pretium</a:t>
            </a:r>
            <a:r>
              <a:rPr lang="en-US" dirty="0"/>
              <a:t>, </a:t>
            </a:r>
            <a:r>
              <a:rPr lang="en-US" dirty="0" err="1"/>
              <a:t>neque</a:t>
            </a:r>
            <a:r>
              <a:rPr lang="en-US" dirty="0"/>
              <a:t> </a:t>
            </a:r>
            <a:r>
              <a:rPr lang="en-US" dirty="0" err="1"/>
              <a:t>quis</a:t>
            </a:r>
            <a:r>
              <a:rPr lang="en-US" dirty="0"/>
              <a:t> </a:t>
            </a:r>
            <a:r>
              <a:rPr lang="en-US" dirty="0" err="1"/>
              <a:t>hendrerit</a:t>
            </a:r>
            <a:r>
              <a:rPr lang="en-US" dirty="0"/>
              <a:t> </a:t>
            </a:r>
            <a:r>
              <a:rPr lang="en-US" dirty="0" err="1"/>
              <a:t>pellentesque</a:t>
            </a:r>
            <a:r>
              <a:rPr lang="en-US" dirty="0"/>
              <a:t>, </a:t>
            </a:r>
            <a:r>
              <a:rPr lang="en-US" dirty="0" err="1"/>
              <a:t>orci</a:t>
            </a:r>
            <a:r>
              <a:rPr lang="en-US" dirty="0"/>
              <a:t> </a:t>
            </a:r>
            <a:r>
              <a:rPr lang="en-US" dirty="0" err="1"/>
              <a:t>nulla</a:t>
            </a:r>
            <a:r>
              <a:rPr lang="en-US" dirty="0"/>
              <a:t> </a:t>
            </a:r>
            <a:r>
              <a:rPr lang="en-US" dirty="0" err="1"/>
              <a:t>elementum</a:t>
            </a:r>
            <a:r>
              <a:rPr lang="en-US" dirty="0"/>
              <a:t> </a:t>
            </a:r>
            <a:r>
              <a:rPr lang="en-US" dirty="0" err="1"/>
              <a:t>est</a:t>
            </a:r>
            <a:r>
              <a:rPr lang="en-US" dirty="0"/>
              <a:t>, </a:t>
            </a:r>
            <a:r>
              <a:rPr lang="en-US" dirty="0" err="1"/>
              <a:t>quis</a:t>
            </a:r>
            <a:r>
              <a:rPr lang="en-US" dirty="0"/>
              <a:t> </a:t>
            </a:r>
            <a:r>
              <a:rPr lang="en-US" dirty="0" err="1"/>
              <a:t>finibus</a:t>
            </a:r>
            <a:r>
              <a:rPr lang="en-US" dirty="0"/>
              <a:t> </a:t>
            </a:r>
            <a:r>
              <a:rPr lang="en-US" dirty="0" err="1"/>
              <a:t>lectus</a:t>
            </a:r>
            <a:r>
              <a:rPr lang="en-US" dirty="0"/>
              <a:t> </a:t>
            </a:r>
            <a:r>
              <a:rPr lang="en-US" dirty="0" err="1"/>
              <a:t>tortor</a:t>
            </a:r>
            <a:r>
              <a:rPr lang="en-US" dirty="0"/>
              <a:t> non </a:t>
            </a:r>
            <a:r>
              <a:rPr lang="en-US" dirty="0" err="1"/>
              <a:t>odio</a:t>
            </a:r>
            <a:r>
              <a:rPr lang="en-US" dirty="0"/>
              <a:t>. </a:t>
            </a:r>
            <a:r>
              <a:rPr lang="en-US" dirty="0" err="1"/>
              <a:t>Quisque</a:t>
            </a:r>
            <a:r>
              <a:rPr lang="en-US" dirty="0"/>
              <a:t> vel </a:t>
            </a:r>
            <a:r>
              <a:rPr lang="en-US" dirty="0" err="1"/>
              <a:t>mollis</a:t>
            </a:r>
            <a:r>
              <a:rPr lang="en-US" dirty="0"/>
              <a:t> </a:t>
            </a:r>
            <a:r>
              <a:rPr lang="en-US" dirty="0" err="1"/>
              <a:t>massa</a:t>
            </a:r>
            <a:r>
              <a:rPr lang="en-US" dirty="0"/>
              <a:t>, vel </a:t>
            </a:r>
            <a:r>
              <a:rPr lang="en-US" dirty="0" err="1"/>
              <a:t>feugiat</a:t>
            </a:r>
            <a:r>
              <a:rPr lang="en-US" dirty="0"/>
              <a:t> </a:t>
            </a:r>
            <a:r>
              <a:rPr lang="en-US" dirty="0" err="1"/>
              <a:t>turpis</a:t>
            </a:r>
            <a:r>
              <a:rPr lang="en-US" dirty="0"/>
              <a:t>. </a:t>
            </a:r>
            <a:r>
              <a:rPr lang="en-US" dirty="0" err="1"/>
              <a:t>Curabtur</a:t>
            </a:r>
            <a:r>
              <a:rPr lang="en-US" dirty="0"/>
              <a:t> </a:t>
            </a:r>
            <a:r>
              <a:rPr lang="en-US" dirty="0" err="1"/>
              <a:t>rutrum</a:t>
            </a:r>
            <a:r>
              <a:rPr lang="en-US" dirty="0"/>
              <a:t> </a:t>
            </a:r>
            <a:r>
              <a:rPr lang="en-US" dirty="0" err="1"/>
              <a:t>eleifend</a:t>
            </a:r>
            <a:r>
              <a:rPr lang="en-US" dirty="0"/>
              <a:t> </a:t>
            </a:r>
            <a:r>
              <a:rPr lang="en-US" dirty="0" err="1"/>
              <a:t>porttitor</a:t>
            </a:r>
            <a:r>
              <a:rPr lang="en-US" dirty="0"/>
              <a:t>.</a:t>
            </a:r>
          </a:p>
        </p:txBody>
      </p:sp>
      <p:sp>
        <p:nvSpPr>
          <p:cNvPr id="7" name="Text Placeholder 3">
            <a:extLst>
              <a:ext uri="{FF2B5EF4-FFF2-40B4-BE49-F238E27FC236}">
                <a16:creationId xmlns:a16="http://schemas.microsoft.com/office/drawing/2014/main" id="{DD2CCD63-DD73-92FE-1FA1-562D9FCF7563}"/>
              </a:ext>
            </a:extLst>
          </p:cNvPr>
          <p:cNvSpPr>
            <a:spLocks noGrp="1"/>
          </p:cNvSpPr>
          <p:nvPr>
            <p:ph type="body" sz="quarter" idx="20" hasCustomPrompt="1"/>
          </p:nvPr>
        </p:nvSpPr>
        <p:spPr>
          <a:xfrm>
            <a:off x="3337533" y="3196420"/>
            <a:ext cx="2556637" cy="837773"/>
          </a:xfrm>
        </p:spPr>
        <p:txBody>
          <a:bodyPr/>
          <a:lstStyle>
            <a:lvl1pPr marL="0" indent="0">
              <a:buNone/>
              <a:defRPr sz="1500" b="1" i="0">
                <a:solidFill>
                  <a:schemeClr val="accent1"/>
                </a:solidFill>
                <a:latin typeface="Arial" panose="020B0604020202020204" pitchFamily="34" charset="0"/>
                <a:cs typeface="Arial" panose="020B0604020202020204" pitchFamily="34" charset="0"/>
              </a:defRPr>
            </a:lvl1pPr>
          </a:lstStyle>
          <a:p>
            <a:pPr lvl="0"/>
            <a:r>
              <a:rPr lang="en-US" dirty="0"/>
              <a:t>Title Case Sub-headline </a:t>
            </a:r>
            <a:r>
              <a:rPr lang="en-US" dirty="0" err="1"/>
              <a:t>Risus</a:t>
            </a:r>
            <a:r>
              <a:rPr lang="en-US" dirty="0"/>
              <a:t> vel </a:t>
            </a:r>
            <a:r>
              <a:rPr lang="en-US" dirty="0" err="1"/>
              <a:t>Condimentum</a:t>
            </a:r>
            <a:r>
              <a:rPr lang="en-US" dirty="0"/>
              <a:t> </a:t>
            </a:r>
            <a:r>
              <a:rPr lang="en-US" dirty="0" err="1"/>
              <a:t>Venenatis</a:t>
            </a:r>
            <a:r>
              <a:rPr lang="en-US" dirty="0"/>
              <a:t> </a:t>
            </a:r>
            <a:r>
              <a:rPr lang="en-US" dirty="0" err="1"/>
              <a:t>Commodo</a:t>
            </a:r>
            <a:endParaRPr lang="en-US" dirty="0"/>
          </a:p>
        </p:txBody>
      </p:sp>
      <p:sp>
        <p:nvSpPr>
          <p:cNvPr id="8" name="Text Placeholder 12">
            <a:extLst>
              <a:ext uri="{FF2B5EF4-FFF2-40B4-BE49-F238E27FC236}">
                <a16:creationId xmlns:a16="http://schemas.microsoft.com/office/drawing/2014/main" id="{F2F36E3C-A410-50EA-AF02-9154B02721E4}"/>
              </a:ext>
            </a:extLst>
          </p:cNvPr>
          <p:cNvSpPr>
            <a:spLocks noGrp="1"/>
          </p:cNvSpPr>
          <p:nvPr>
            <p:ph type="body" sz="quarter" idx="21" hasCustomPrompt="1"/>
          </p:nvPr>
        </p:nvSpPr>
        <p:spPr>
          <a:xfrm>
            <a:off x="3337533" y="2462774"/>
            <a:ext cx="2556637" cy="466772"/>
          </a:xfrm>
        </p:spPr>
        <p:txBody>
          <a:bodyPr/>
          <a:lstStyle>
            <a:lvl1pPr>
              <a:defRPr sz="2600"/>
            </a:lvl1pPr>
          </a:lstStyle>
          <a:p>
            <a:pPr lvl="0"/>
            <a:r>
              <a:rPr lang="en-US" dirty="0"/>
              <a:t>Category</a:t>
            </a:r>
          </a:p>
        </p:txBody>
      </p:sp>
      <p:sp>
        <p:nvSpPr>
          <p:cNvPr id="11" name="Text Placeholder 3">
            <a:extLst>
              <a:ext uri="{FF2B5EF4-FFF2-40B4-BE49-F238E27FC236}">
                <a16:creationId xmlns:a16="http://schemas.microsoft.com/office/drawing/2014/main" id="{4CF61DF8-9C6A-89D6-1B5F-CA13FE881924}"/>
              </a:ext>
            </a:extLst>
          </p:cNvPr>
          <p:cNvSpPr>
            <a:spLocks noGrp="1"/>
          </p:cNvSpPr>
          <p:nvPr>
            <p:ph type="body" sz="quarter" idx="22" hasCustomPrompt="1"/>
          </p:nvPr>
        </p:nvSpPr>
        <p:spPr>
          <a:xfrm>
            <a:off x="6253729" y="4088813"/>
            <a:ext cx="2556635" cy="1236947"/>
          </a:xfrm>
        </p:spPr>
        <p:txBody>
          <a:bodyPr/>
          <a:lstStyle>
            <a:lvl1pPr marL="0" indent="0">
              <a:buNone/>
              <a:defRPr sz="1250" b="0" i="0">
                <a:solidFill>
                  <a:schemeClr val="accent6"/>
                </a:solidFill>
                <a:latin typeface="Arial" panose="020B0604020202020204" pitchFamily="34" charset="0"/>
                <a:cs typeface="Arial" panose="020B0604020202020204" pitchFamily="34" charset="0"/>
              </a:defRPr>
            </a:lvl1pPr>
          </a:lstStyle>
          <a:p>
            <a:pPr lvl="0"/>
            <a:r>
              <a:rPr lang="en-US" dirty="0"/>
              <a:t>Nam </a:t>
            </a:r>
            <a:r>
              <a:rPr lang="en-US" dirty="0" err="1"/>
              <a:t>pretium</a:t>
            </a:r>
            <a:r>
              <a:rPr lang="en-US" dirty="0"/>
              <a:t>, </a:t>
            </a:r>
            <a:r>
              <a:rPr lang="en-US" dirty="0" err="1"/>
              <a:t>neque</a:t>
            </a:r>
            <a:r>
              <a:rPr lang="en-US" dirty="0"/>
              <a:t> </a:t>
            </a:r>
            <a:r>
              <a:rPr lang="en-US" dirty="0" err="1"/>
              <a:t>quis</a:t>
            </a:r>
            <a:r>
              <a:rPr lang="en-US" dirty="0"/>
              <a:t> </a:t>
            </a:r>
            <a:r>
              <a:rPr lang="en-US" dirty="0" err="1"/>
              <a:t>hendrerit</a:t>
            </a:r>
            <a:r>
              <a:rPr lang="en-US" dirty="0"/>
              <a:t> </a:t>
            </a:r>
            <a:r>
              <a:rPr lang="en-US" dirty="0" err="1"/>
              <a:t>pellentesque</a:t>
            </a:r>
            <a:r>
              <a:rPr lang="en-US" dirty="0"/>
              <a:t>, </a:t>
            </a:r>
            <a:r>
              <a:rPr lang="en-US" dirty="0" err="1"/>
              <a:t>orci</a:t>
            </a:r>
            <a:r>
              <a:rPr lang="en-US" dirty="0"/>
              <a:t> </a:t>
            </a:r>
            <a:r>
              <a:rPr lang="en-US" dirty="0" err="1"/>
              <a:t>nulla</a:t>
            </a:r>
            <a:r>
              <a:rPr lang="en-US" dirty="0"/>
              <a:t> </a:t>
            </a:r>
            <a:r>
              <a:rPr lang="en-US" dirty="0" err="1"/>
              <a:t>elementum</a:t>
            </a:r>
            <a:r>
              <a:rPr lang="en-US" dirty="0"/>
              <a:t> </a:t>
            </a:r>
            <a:r>
              <a:rPr lang="en-US" dirty="0" err="1"/>
              <a:t>est</a:t>
            </a:r>
            <a:r>
              <a:rPr lang="en-US" dirty="0"/>
              <a:t>, </a:t>
            </a:r>
            <a:r>
              <a:rPr lang="en-US" dirty="0" err="1"/>
              <a:t>quis</a:t>
            </a:r>
            <a:r>
              <a:rPr lang="en-US" dirty="0"/>
              <a:t> </a:t>
            </a:r>
            <a:r>
              <a:rPr lang="en-US" dirty="0" err="1"/>
              <a:t>finibus</a:t>
            </a:r>
            <a:r>
              <a:rPr lang="en-US" dirty="0"/>
              <a:t> </a:t>
            </a:r>
            <a:r>
              <a:rPr lang="en-US" dirty="0" err="1"/>
              <a:t>lectus</a:t>
            </a:r>
            <a:r>
              <a:rPr lang="en-US" dirty="0"/>
              <a:t> </a:t>
            </a:r>
            <a:r>
              <a:rPr lang="en-US" dirty="0" err="1"/>
              <a:t>tortor</a:t>
            </a:r>
            <a:r>
              <a:rPr lang="en-US" dirty="0"/>
              <a:t> non </a:t>
            </a:r>
            <a:r>
              <a:rPr lang="en-US" dirty="0" err="1"/>
              <a:t>odio</a:t>
            </a:r>
            <a:r>
              <a:rPr lang="en-US" dirty="0"/>
              <a:t>. </a:t>
            </a:r>
            <a:r>
              <a:rPr lang="en-US" dirty="0" err="1"/>
              <a:t>Quisque</a:t>
            </a:r>
            <a:r>
              <a:rPr lang="en-US" dirty="0"/>
              <a:t> vel </a:t>
            </a:r>
            <a:r>
              <a:rPr lang="en-US" dirty="0" err="1"/>
              <a:t>mollis</a:t>
            </a:r>
            <a:r>
              <a:rPr lang="en-US" dirty="0"/>
              <a:t> </a:t>
            </a:r>
            <a:r>
              <a:rPr lang="en-US" dirty="0" err="1"/>
              <a:t>massa</a:t>
            </a:r>
            <a:r>
              <a:rPr lang="en-US" dirty="0"/>
              <a:t>, vel </a:t>
            </a:r>
            <a:r>
              <a:rPr lang="en-US" dirty="0" err="1"/>
              <a:t>feugiat</a:t>
            </a:r>
            <a:r>
              <a:rPr lang="en-US" dirty="0"/>
              <a:t> </a:t>
            </a:r>
            <a:r>
              <a:rPr lang="en-US" dirty="0" err="1"/>
              <a:t>turpis</a:t>
            </a:r>
            <a:r>
              <a:rPr lang="en-US" dirty="0"/>
              <a:t>. </a:t>
            </a:r>
            <a:r>
              <a:rPr lang="en-US" dirty="0" err="1"/>
              <a:t>Curabtur</a:t>
            </a:r>
            <a:r>
              <a:rPr lang="en-US" dirty="0"/>
              <a:t> </a:t>
            </a:r>
            <a:r>
              <a:rPr lang="en-US" dirty="0" err="1"/>
              <a:t>rutrum</a:t>
            </a:r>
            <a:r>
              <a:rPr lang="en-US" dirty="0"/>
              <a:t> </a:t>
            </a:r>
            <a:r>
              <a:rPr lang="en-US" dirty="0" err="1"/>
              <a:t>eleifend</a:t>
            </a:r>
            <a:r>
              <a:rPr lang="en-US" dirty="0"/>
              <a:t> </a:t>
            </a:r>
            <a:r>
              <a:rPr lang="en-US" dirty="0" err="1"/>
              <a:t>porttitor</a:t>
            </a:r>
            <a:r>
              <a:rPr lang="en-US" dirty="0"/>
              <a:t>.</a:t>
            </a:r>
          </a:p>
        </p:txBody>
      </p:sp>
      <p:sp>
        <p:nvSpPr>
          <p:cNvPr id="12" name="Text Placeholder 3">
            <a:extLst>
              <a:ext uri="{FF2B5EF4-FFF2-40B4-BE49-F238E27FC236}">
                <a16:creationId xmlns:a16="http://schemas.microsoft.com/office/drawing/2014/main" id="{5C553888-99BD-3569-85AC-38697A2B1E87}"/>
              </a:ext>
            </a:extLst>
          </p:cNvPr>
          <p:cNvSpPr>
            <a:spLocks noGrp="1"/>
          </p:cNvSpPr>
          <p:nvPr>
            <p:ph type="body" sz="quarter" idx="23" hasCustomPrompt="1"/>
          </p:nvPr>
        </p:nvSpPr>
        <p:spPr>
          <a:xfrm>
            <a:off x="6253727" y="3196420"/>
            <a:ext cx="2556637" cy="837773"/>
          </a:xfrm>
        </p:spPr>
        <p:txBody>
          <a:bodyPr/>
          <a:lstStyle>
            <a:lvl1pPr marL="0" indent="0">
              <a:buNone/>
              <a:defRPr sz="1500" b="1" i="0">
                <a:solidFill>
                  <a:schemeClr val="accent1"/>
                </a:solidFill>
                <a:latin typeface="Arial" panose="020B0604020202020204" pitchFamily="34" charset="0"/>
                <a:cs typeface="Arial" panose="020B0604020202020204" pitchFamily="34" charset="0"/>
              </a:defRPr>
            </a:lvl1pPr>
          </a:lstStyle>
          <a:p>
            <a:pPr lvl="0"/>
            <a:r>
              <a:rPr lang="en-US" dirty="0"/>
              <a:t>Title Case Sub-headline </a:t>
            </a:r>
            <a:r>
              <a:rPr lang="en-US" dirty="0" err="1"/>
              <a:t>Risus</a:t>
            </a:r>
            <a:r>
              <a:rPr lang="en-US" dirty="0"/>
              <a:t> vel </a:t>
            </a:r>
            <a:r>
              <a:rPr lang="en-US" dirty="0" err="1"/>
              <a:t>Condimentum</a:t>
            </a:r>
            <a:r>
              <a:rPr lang="en-US" dirty="0"/>
              <a:t> </a:t>
            </a:r>
            <a:r>
              <a:rPr lang="en-US" dirty="0" err="1"/>
              <a:t>Venenatis</a:t>
            </a:r>
            <a:r>
              <a:rPr lang="en-US" dirty="0"/>
              <a:t> </a:t>
            </a:r>
            <a:r>
              <a:rPr lang="en-US" dirty="0" err="1"/>
              <a:t>Commodo</a:t>
            </a:r>
            <a:endParaRPr lang="en-US" dirty="0"/>
          </a:p>
        </p:txBody>
      </p:sp>
      <p:sp>
        <p:nvSpPr>
          <p:cNvPr id="13" name="Text Placeholder 12">
            <a:extLst>
              <a:ext uri="{FF2B5EF4-FFF2-40B4-BE49-F238E27FC236}">
                <a16:creationId xmlns:a16="http://schemas.microsoft.com/office/drawing/2014/main" id="{2D530EF3-5E19-6F10-611D-C5A9B050C40E}"/>
              </a:ext>
            </a:extLst>
          </p:cNvPr>
          <p:cNvSpPr>
            <a:spLocks noGrp="1"/>
          </p:cNvSpPr>
          <p:nvPr>
            <p:ph type="body" sz="quarter" idx="24" hasCustomPrompt="1"/>
          </p:nvPr>
        </p:nvSpPr>
        <p:spPr>
          <a:xfrm>
            <a:off x="6253727" y="2462774"/>
            <a:ext cx="2556637" cy="466772"/>
          </a:xfrm>
        </p:spPr>
        <p:txBody>
          <a:bodyPr/>
          <a:lstStyle>
            <a:lvl1pPr>
              <a:defRPr sz="2600"/>
            </a:lvl1pPr>
          </a:lstStyle>
          <a:p>
            <a:pPr lvl="0"/>
            <a:r>
              <a:rPr lang="en-US" dirty="0"/>
              <a:t>Category</a:t>
            </a:r>
          </a:p>
        </p:txBody>
      </p:sp>
      <p:sp>
        <p:nvSpPr>
          <p:cNvPr id="14" name="Text Placeholder 3">
            <a:extLst>
              <a:ext uri="{FF2B5EF4-FFF2-40B4-BE49-F238E27FC236}">
                <a16:creationId xmlns:a16="http://schemas.microsoft.com/office/drawing/2014/main" id="{47503C2B-3916-D942-2EAD-3FB92A3848D6}"/>
              </a:ext>
            </a:extLst>
          </p:cNvPr>
          <p:cNvSpPr>
            <a:spLocks noGrp="1"/>
          </p:cNvSpPr>
          <p:nvPr>
            <p:ph type="body" sz="quarter" idx="25" hasCustomPrompt="1"/>
          </p:nvPr>
        </p:nvSpPr>
        <p:spPr>
          <a:xfrm>
            <a:off x="9206995" y="4088813"/>
            <a:ext cx="2556635" cy="1236947"/>
          </a:xfrm>
        </p:spPr>
        <p:txBody>
          <a:bodyPr/>
          <a:lstStyle>
            <a:lvl1pPr marL="0" indent="0">
              <a:buNone/>
              <a:defRPr sz="1250" b="0" i="0">
                <a:solidFill>
                  <a:schemeClr val="accent6"/>
                </a:solidFill>
                <a:latin typeface="Arial" panose="020B0604020202020204" pitchFamily="34" charset="0"/>
                <a:cs typeface="Arial" panose="020B0604020202020204" pitchFamily="34" charset="0"/>
              </a:defRPr>
            </a:lvl1pPr>
          </a:lstStyle>
          <a:p>
            <a:pPr lvl="0"/>
            <a:r>
              <a:rPr lang="en-US" dirty="0"/>
              <a:t>Nam </a:t>
            </a:r>
            <a:r>
              <a:rPr lang="en-US" dirty="0" err="1"/>
              <a:t>pretium</a:t>
            </a:r>
            <a:r>
              <a:rPr lang="en-US" dirty="0"/>
              <a:t>, </a:t>
            </a:r>
            <a:r>
              <a:rPr lang="en-US" dirty="0" err="1"/>
              <a:t>neque</a:t>
            </a:r>
            <a:r>
              <a:rPr lang="en-US" dirty="0"/>
              <a:t> </a:t>
            </a:r>
            <a:r>
              <a:rPr lang="en-US" dirty="0" err="1"/>
              <a:t>quis</a:t>
            </a:r>
            <a:r>
              <a:rPr lang="en-US" dirty="0"/>
              <a:t> </a:t>
            </a:r>
            <a:r>
              <a:rPr lang="en-US" dirty="0" err="1"/>
              <a:t>hendrerit</a:t>
            </a:r>
            <a:r>
              <a:rPr lang="en-US" dirty="0"/>
              <a:t> </a:t>
            </a:r>
            <a:r>
              <a:rPr lang="en-US" dirty="0" err="1"/>
              <a:t>pellentesque</a:t>
            </a:r>
            <a:r>
              <a:rPr lang="en-US" dirty="0"/>
              <a:t>, </a:t>
            </a:r>
            <a:r>
              <a:rPr lang="en-US" dirty="0" err="1"/>
              <a:t>orci</a:t>
            </a:r>
            <a:r>
              <a:rPr lang="en-US" dirty="0"/>
              <a:t> </a:t>
            </a:r>
            <a:r>
              <a:rPr lang="en-US" dirty="0" err="1"/>
              <a:t>nulla</a:t>
            </a:r>
            <a:r>
              <a:rPr lang="en-US" dirty="0"/>
              <a:t> </a:t>
            </a:r>
            <a:r>
              <a:rPr lang="en-US" dirty="0" err="1"/>
              <a:t>elementum</a:t>
            </a:r>
            <a:r>
              <a:rPr lang="en-US" dirty="0"/>
              <a:t> </a:t>
            </a:r>
            <a:r>
              <a:rPr lang="en-US" dirty="0" err="1"/>
              <a:t>est</a:t>
            </a:r>
            <a:r>
              <a:rPr lang="en-US" dirty="0"/>
              <a:t>, </a:t>
            </a:r>
            <a:r>
              <a:rPr lang="en-US" dirty="0" err="1"/>
              <a:t>quis</a:t>
            </a:r>
            <a:r>
              <a:rPr lang="en-US" dirty="0"/>
              <a:t> </a:t>
            </a:r>
            <a:r>
              <a:rPr lang="en-US" dirty="0" err="1"/>
              <a:t>finibus</a:t>
            </a:r>
            <a:r>
              <a:rPr lang="en-US" dirty="0"/>
              <a:t> </a:t>
            </a:r>
            <a:r>
              <a:rPr lang="en-US" dirty="0" err="1"/>
              <a:t>lectus</a:t>
            </a:r>
            <a:r>
              <a:rPr lang="en-US" dirty="0"/>
              <a:t> </a:t>
            </a:r>
            <a:r>
              <a:rPr lang="en-US" dirty="0" err="1"/>
              <a:t>tortor</a:t>
            </a:r>
            <a:r>
              <a:rPr lang="en-US" dirty="0"/>
              <a:t> non </a:t>
            </a:r>
            <a:r>
              <a:rPr lang="en-US" dirty="0" err="1"/>
              <a:t>odio</a:t>
            </a:r>
            <a:r>
              <a:rPr lang="en-US" dirty="0"/>
              <a:t>. </a:t>
            </a:r>
            <a:r>
              <a:rPr lang="en-US" dirty="0" err="1"/>
              <a:t>Quisque</a:t>
            </a:r>
            <a:r>
              <a:rPr lang="en-US" dirty="0"/>
              <a:t> vel </a:t>
            </a:r>
            <a:r>
              <a:rPr lang="en-US" dirty="0" err="1"/>
              <a:t>mollis</a:t>
            </a:r>
            <a:r>
              <a:rPr lang="en-US" dirty="0"/>
              <a:t> </a:t>
            </a:r>
            <a:r>
              <a:rPr lang="en-US" dirty="0" err="1"/>
              <a:t>massa</a:t>
            </a:r>
            <a:r>
              <a:rPr lang="en-US" dirty="0"/>
              <a:t>, vel </a:t>
            </a:r>
            <a:r>
              <a:rPr lang="en-US" dirty="0" err="1"/>
              <a:t>feugiat</a:t>
            </a:r>
            <a:r>
              <a:rPr lang="en-US" dirty="0"/>
              <a:t> </a:t>
            </a:r>
            <a:r>
              <a:rPr lang="en-US" dirty="0" err="1"/>
              <a:t>turpis</a:t>
            </a:r>
            <a:r>
              <a:rPr lang="en-US" dirty="0"/>
              <a:t>. </a:t>
            </a:r>
            <a:r>
              <a:rPr lang="en-US" dirty="0" err="1"/>
              <a:t>Curabtur</a:t>
            </a:r>
            <a:r>
              <a:rPr lang="en-US" dirty="0"/>
              <a:t> </a:t>
            </a:r>
            <a:r>
              <a:rPr lang="en-US" dirty="0" err="1"/>
              <a:t>rutrum</a:t>
            </a:r>
            <a:r>
              <a:rPr lang="en-US" dirty="0"/>
              <a:t> </a:t>
            </a:r>
            <a:r>
              <a:rPr lang="en-US" dirty="0" err="1"/>
              <a:t>eleifend</a:t>
            </a:r>
            <a:r>
              <a:rPr lang="en-US" dirty="0"/>
              <a:t> </a:t>
            </a:r>
            <a:r>
              <a:rPr lang="en-US" dirty="0" err="1"/>
              <a:t>porttitor</a:t>
            </a:r>
            <a:r>
              <a:rPr lang="en-US" dirty="0"/>
              <a:t>.</a:t>
            </a:r>
          </a:p>
        </p:txBody>
      </p:sp>
      <p:sp>
        <p:nvSpPr>
          <p:cNvPr id="15" name="Text Placeholder 3">
            <a:extLst>
              <a:ext uri="{FF2B5EF4-FFF2-40B4-BE49-F238E27FC236}">
                <a16:creationId xmlns:a16="http://schemas.microsoft.com/office/drawing/2014/main" id="{91A527B1-B7C0-28BB-9D82-CDBC8CC19F63}"/>
              </a:ext>
            </a:extLst>
          </p:cNvPr>
          <p:cNvSpPr>
            <a:spLocks noGrp="1"/>
          </p:cNvSpPr>
          <p:nvPr>
            <p:ph type="body" sz="quarter" idx="26" hasCustomPrompt="1"/>
          </p:nvPr>
        </p:nvSpPr>
        <p:spPr>
          <a:xfrm>
            <a:off x="9206993" y="3196420"/>
            <a:ext cx="2556637" cy="837773"/>
          </a:xfrm>
        </p:spPr>
        <p:txBody>
          <a:bodyPr/>
          <a:lstStyle>
            <a:lvl1pPr marL="0" indent="0">
              <a:buNone/>
              <a:defRPr sz="1500" b="1" i="0">
                <a:solidFill>
                  <a:schemeClr val="accent1"/>
                </a:solidFill>
                <a:latin typeface="Arial" panose="020B0604020202020204" pitchFamily="34" charset="0"/>
                <a:cs typeface="Arial" panose="020B0604020202020204" pitchFamily="34" charset="0"/>
              </a:defRPr>
            </a:lvl1pPr>
          </a:lstStyle>
          <a:p>
            <a:pPr lvl="0"/>
            <a:r>
              <a:rPr lang="en-US" dirty="0"/>
              <a:t>Title Case Sub-headline </a:t>
            </a:r>
            <a:r>
              <a:rPr lang="en-US" dirty="0" err="1"/>
              <a:t>Risus</a:t>
            </a:r>
            <a:r>
              <a:rPr lang="en-US" dirty="0"/>
              <a:t> vel </a:t>
            </a:r>
            <a:r>
              <a:rPr lang="en-US" dirty="0" err="1"/>
              <a:t>Condimentum</a:t>
            </a:r>
            <a:r>
              <a:rPr lang="en-US" dirty="0"/>
              <a:t> </a:t>
            </a:r>
            <a:r>
              <a:rPr lang="en-US" dirty="0" err="1"/>
              <a:t>Venenatis</a:t>
            </a:r>
            <a:r>
              <a:rPr lang="en-US" dirty="0"/>
              <a:t> </a:t>
            </a:r>
            <a:r>
              <a:rPr lang="en-US" dirty="0" err="1"/>
              <a:t>Commodo</a:t>
            </a:r>
            <a:endParaRPr lang="en-US" dirty="0"/>
          </a:p>
        </p:txBody>
      </p:sp>
      <p:sp>
        <p:nvSpPr>
          <p:cNvPr id="16" name="Text Placeholder 12">
            <a:extLst>
              <a:ext uri="{FF2B5EF4-FFF2-40B4-BE49-F238E27FC236}">
                <a16:creationId xmlns:a16="http://schemas.microsoft.com/office/drawing/2014/main" id="{C7834659-4DF6-26E6-1CEB-0EFAE7419424}"/>
              </a:ext>
            </a:extLst>
          </p:cNvPr>
          <p:cNvSpPr>
            <a:spLocks noGrp="1"/>
          </p:cNvSpPr>
          <p:nvPr>
            <p:ph type="body" sz="quarter" idx="27" hasCustomPrompt="1"/>
          </p:nvPr>
        </p:nvSpPr>
        <p:spPr>
          <a:xfrm>
            <a:off x="9206993" y="2462774"/>
            <a:ext cx="2556637" cy="466772"/>
          </a:xfrm>
        </p:spPr>
        <p:txBody>
          <a:bodyPr/>
          <a:lstStyle>
            <a:lvl1pPr>
              <a:defRPr sz="2600"/>
            </a:lvl1pPr>
          </a:lstStyle>
          <a:p>
            <a:pPr lvl="0"/>
            <a:r>
              <a:rPr lang="en-US" dirty="0"/>
              <a:t>Category</a:t>
            </a:r>
          </a:p>
        </p:txBody>
      </p:sp>
    </p:spTree>
    <p:extLst>
      <p:ext uri="{BB962C8B-B14F-4D97-AF65-F5344CB8AC3E}">
        <p14:creationId xmlns:p14="http://schemas.microsoft.com/office/powerpoint/2010/main" val="4247908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18585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Icons and Categories 2 Slide">
    <p:spTree>
      <p:nvGrpSpPr>
        <p:cNvPr id="1" name=""/>
        <p:cNvGrpSpPr/>
        <p:nvPr/>
      </p:nvGrpSpPr>
      <p:grpSpPr>
        <a:xfrm>
          <a:off x="0" y="0"/>
          <a:ext cx="0" cy="0"/>
          <a:chOff x="0" y="0"/>
          <a:chExt cx="0" cy="0"/>
        </a:xfrm>
      </p:grpSpPr>
      <p:sp>
        <p:nvSpPr>
          <p:cNvPr id="37" name="Text Placeholder 3">
            <a:extLst>
              <a:ext uri="{FF2B5EF4-FFF2-40B4-BE49-F238E27FC236}">
                <a16:creationId xmlns:a16="http://schemas.microsoft.com/office/drawing/2014/main" id="{4BBB4396-0ECD-4C6A-78A6-A513C4992A73}"/>
              </a:ext>
            </a:extLst>
          </p:cNvPr>
          <p:cNvSpPr>
            <a:spLocks noGrp="1"/>
          </p:cNvSpPr>
          <p:nvPr>
            <p:ph type="body" sz="quarter" idx="14" hasCustomPrompt="1"/>
          </p:nvPr>
        </p:nvSpPr>
        <p:spPr>
          <a:xfrm>
            <a:off x="421342" y="3196420"/>
            <a:ext cx="2556635" cy="165547"/>
          </a:xfrm>
        </p:spPr>
        <p:txBody>
          <a:bodyPr/>
          <a:lstStyle>
            <a:lvl1pPr marL="0" indent="0">
              <a:buNone/>
              <a:defRPr sz="1000" b="1" i="0">
                <a:solidFill>
                  <a:schemeClr val="accent1"/>
                </a:solidFill>
                <a:latin typeface="Arial" panose="020B0604020202020204" pitchFamily="34" charset="0"/>
                <a:cs typeface="Arial" panose="020B0604020202020204" pitchFamily="34" charset="0"/>
              </a:defRPr>
            </a:lvl1pPr>
          </a:lstStyle>
          <a:p>
            <a:pPr lvl="0"/>
            <a:r>
              <a:rPr lang="en-US" dirty="0"/>
              <a:t>Title Case Sub-headline</a:t>
            </a:r>
          </a:p>
        </p:txBody>
      </p:sp>
      <p:sp>
        <p:nvSpPr>
          <p:cNvPr id="4" name="Title Placeholder 15">
            <a:extLst>
              <a:ext uri="{FF2B5EF4-FFF2-40B4-BE49-F238E27FC236}">
                <a16:creationId xmlns:a16="http://schemas.microsoft.com/office/drawing/2014/main" id="{DF9C074A-6494-48EE-604F-0594D3079689}"/>
              </a:ext>
            </a:extLst>
          </p:cNvPr>
          <p:cNvSpPr>
            <a:spLocks noGrp="1"/>
          </p:cNvSpPr>
          <p:nvPr>
            <p:ph type="title" hasCustomPrompt="1"/>
          </p:nvPr>
        </p:nvSpPr>
        <p:spPr>
          <a:xfrm>
            <a:off x="421340" y="394634"/>
            <a:ext cx="11344835" cy="704257"/>
          </a:xfrm>
          <a:prstGeom prst="rect">
            <a:avLst/>
          </a:prstGeom>
        </p:spPr>
        <p:txBody>
          <a:bodyPr vert="horz" lIns="91440" tIns="45720" rIns="91440" bIns="45720" rtlCol="0" anchor="t" anchorCtr="0">
            <a:noAutofit/>
          </a:bodyPr>
          <a:lstStyle>
            <a:lvl1pPr>
              <a:defRPr sz="3600"/>
            </a:lvl1pPr>
          </a:lstStyle>
          <a:p>
            <a:r>
              <a:rPr lang="en-US" dirty="0"/>
              <a:t>Headline in Title Case</a:t>
            </a:r>
          </a:p>
        </p:txBody>
      </p:sp>
      <p:sp>
        <p:nvSpPr>
          <p:cNvPr id="5" name="Text Placeholder 12">
            <a:extLst>
              <a:ext uri="{FF2B5EF4-FFF2-40B4-BE49-F238E27FC236}">
                <a16:creationId xmlns:a16="http://schemas.microsoft.com/office/drawing/2014/main" id="{014170B3-D417-72E7-066E-189F980B5983}"/>
              </a:ext>
            </a:extLst>
          </p:cNvPr>
          <p:cNvSpPr>
            <a:spLocks noGrp="1"/>
          </p:cNvSpPr>
          <p:nvPr>
            <p:ph type="body" sz="quarter" idx="18" hasCustomPrompt="1"/>
          </p:nvPr>
        </p:nvSpPr>
        <p:spPr>
          <a:xfrm>
            <a:off x="421340" y="2462774"/>
            <a:ext cx="2556637" cy="466772"/>
          </a:xfrm>
        </p:spPr>
        <p:txBody>
          <a:bodyPr/>
          <a:lstStyle>
            <a:lvl1pPr>
              <a:defRPr sz="2600"/>
            </a:lvl1pPr>
          </a:lstStyle>
          <a:p>
            <a:pPr lvl="0"/>
            <a:r>
              <a:rPr lang="en-US" dirty="0"/>
              <a:t>Category</a:t>
            </a:r>
          </a:p>
        </p:txBody>
      </p:sp>
      <p:sp>
        <p:nvSpPr>
          <p:cNvPr id="8" name="Text Placeholder 12">
            <a:extLst>
              <a:ext uri="{FF2B5EF4-FFF2-40B4-BE49-F238E27FC236}">
                <a16:creationId xmlns:a16="http://schemas.microsoft.com/office/drawing/2014/main" id="{F2F36E3C-A410-50EA-AF02-9154B02721E4}"/>
              </a:ext>
            </a:extLst>
          </p:cNvPr>
          <p:cNvSpPr>
            <a:spLocks noGrp="1"/>
          </p:cNvSpPr>
          <p:nvPr>
            <p:ph type="body" sz="quarter" idx="21" hasCustomPrompt="1"/>
          </p:nvPr>
        </p:nvSpPr>
        <p:spPr>
          <a:xfrm>
            <a:off x="3337533" y="2462774"/>
            <a:ext cx="2556637" cy="466772"/>
          </a:xfrm>
        </p:spPr>
        <p:txBody>
          <a:bodyPr/>
          <a:lstStyle>
            <a:lvl1pPr>
              <a:defRPr sz="2600"/>
            </a:lvl1pPr>
          </a:lstStyle>
          <a:p>
            <a:pPr lvl="0"/>
            <a:r>
              <a:rPr lang="en-US" dirty="0"/>
              <a:t>Category</a:t>
            </a:r>
          </a:p>
        </p:txBody>
      </p:sp>
      <p:sp>
        <p:nvSpPr>
          <p:cNvPr id="13" name="Text Placeholder 12">
            <a:extLst>
              <a:ext uri="{FF2B5EF4-FFF2-40B4-BE49-F238E27FC236}">
                <a16:creationId xmlns:a16="http://schemas.microsoft.com/office/drawing/2014/main" id="{2D530EF3-5E19-6F10-611D-C5A9B050C40E}"/>
              </a:ext>
            </a:extLst>
          </p:cNvPr>
          <p:cNvSpPr>
            <a:spLocks noGrp="1"/>
          </p:cNvSpPr>
          <p:nvPr>
            <p:ph type="body" sz="quarter" idx="24" hasCustomPrompt="1"/>
          </p:nvPr>
        </p:nvSpPr>
        <p:spPr>
          <a:xfrm>
            <a:off x="6253727" y="2462774"/>
            <a:ext cx="2556637" cy="466772"/>
          </a:xfrm>
        </p:spPr>
        <p:txBody>
          <a:bodyPr/>
          <a:lstStyle>
            <a:lvl1pPr>
              <a:defRPr sz="2600"/>
            </a:lvl1pPr>
          </a:lstStyle>
          <a:p>
            <a:pPr lvl="0"/>
            <a:r>
              <a:rPr lang="en-US" dirty="0"/>
              <a:t>Category</a:t>
            </a:r>
          </a:p>
        </p:txBody>
      </p:sp>
      <p:sp>
        <p:nvSpPr>
          <p:cNvPr id="16" name="Text Placeholder 12">
            <a:extLst>
              <a:ext uri="{FF2B5EF4-FFF2-40B4-BE49-F238E27FC236}">
                <a16:creationId xmlns:a16="http://schemas.microsoft.com/office/drawing/2014/main" id="{C7834659-4DF6-26E6-1CEB-0EFAE7419424}"/>
              </a:ext>
            </a:extLst>
          </p:cNvPr>
          <p:cNvSpPr>
            <a:spLocks noGrp="1"/>
          </p:cNvSpPr>
          <p:nvPr>
            <p:ph type="body" sz="quarter" idx="27" hasCustomPrompt="1"/>
          </p:nvPr>
        </p:nvSpPr>
        <p:spPr>
          <a:xfrm>
            <a:off x="9206993" y="2462774"/>
            <a:ext cx="2556637" cy="466772"/>
          </a:xfrm>
        </p:spPr>
        <p:txBody>
          <a:bodyPr/>
          <a:lstStyle>
            <a:lvl1pPr>
              <a:defRPr sz="2600"/>
            </a:lvl1pPr>
          </a:lstStyle>
          <a:p>
            <a:pPr lvl="0"/>
            <a:r>
              <a:rPr lang="en-US" dirty="0"/>
              <a:t>Category</a:t>
            </a:r>
          </a:p>
        </p:txBody>
      </p:sp>
      <p:sp>
        <p:nvSpPr>
          <p:cNvPr id="24" name="Text Placeholder 3">
            <a:extLst>
              <a:ext uri="{FF2B5EF4-FFF2-40B4-BE49-F238E27FC236}">
                <a16:creationId xmlns:a16="http://schemas.microsoft.com/office/drawing/2014/main" id="{4C76AE82-989E-6521-699A-82D487D89766}"/>
              </a:ext>
            </a:extLst>
          </p:cNvPr>
          <p:cNvSpPr>
            <a:spLocks noGrp="1"/>
          </p:cNvSpPr>
          <p:nvPr>
            <p:ph type="body" sz="quarter" idx="28" hasCustomPrompt="1"/>
          </p:nvPr>
        </p:nvSpPr>
        <p:spPr>
          <a:xfrm>
            <a:off x="421340" y="3376698"/>
            <a:ext cx="2556635" cy="551757"/>
          </a:xfrm>
        </p:spPr>
        <p:txBody>
          <a:bodyPr/>
          <a:lstStyle>
            <a:lvl1pPr marL="0" indent="0">
              <a:buNone/>
              <a:defRPr sz="1000" b="0" i="0">
                <a:solidFill>
                  <a:schemeClr val="accent6"/>
                </a:solidFill>
                <a:latin typeface="Arial" panose="020B0604020202020204" pitchFamily="34" charset="0"/>
                <a:cs typeface="Arial" panose="020B0604020202020204" pitchFamily="34" charset="0"/>
              </a:defRPr>
            </a:lvl1pPr>
          </a:lstStyle>
          <a:p>
            <a:pPr lvl="0"/>
            <a:r>
              <a:rPr lang="en-US" dirty="0"/>
              <a:t>Nam </a:t>
            </a:r>
            <a:r>
              <a:rPr lang="en-US" dirty="0" err="1"/>
              <a:t>pretium</a:t>
            </a:r>
            <a:r>
              <a:rPr lang="en-US" dirty="0"/>
              <a:t>, </a:t>
            </a:r>
            <a:r>
              <a:rPr lang="en-US" dirty="0" err="1"/>
              <a:t>neque</a:t>
            </a:r>
            <a:r>
              <a:rPr lang="en-US" dirty="0"/>
              <a:t> </a:t>
            </a:r>
            <a:r>
              <a:rPr lang="en-US" dirty="0" err="1"/>
              <a:t>quis</a:t>
            </a:r>
            <a:r>
              <a:rPr lang="en-US" dirty="0"/>
              <a:t> </a:t>
            </a:r>
            <a:r>
              <a:rPr lang="en-US" dirty="0" err="1"/>
              <a:t>hendrerit</a:t>
            </a:r>
            <a:r>
              <a:rPr lang="en-US" dirty="0"/>
              <a:t> </a:t>
            </a:r>
            <a:r>
              <a:rPr lang="en-US" dirty="0" err="1"/>
              <a:t>pellentesque</a:t>
            </a:r>
            <a:r>
              <a:rPr lang="en-US" dirty="0"/>
              <a:t>, </a:t>
            </a:r>
            <a:r>
              <a:rPr lang="en-US" dirty="0" err="1"/>
              <a:t>orci</a:t>
            </a:r>
            <a:r>
              <a:rPr lang="en-US" dirty="0"/>
              <a:t> </a:t>
            </a:r>
            <a:r>
              <a:rPr lang="en-US" dirty="0" err="1"/>
              <a:t>nulla</a:t>
            </a:r>
            <a:r>
              <a:rPr lang="en-US" dirty="0"/>
              <a:t> </a:t>
            </a:r>
            <a:r>
              <a:rPr lang="en-US" dirty="0" err="1"/>
              <a:t>elementum</a:t>
            </a:r>
            <a:r>
              <a:rPr lang="en-US" dirty="0"/>
              <a:t> </a:t>
            </a:r>
            <a:r>
              <a:rPr lang="en-US" dirty="0" err="1"/>
              <a:t>est</a:t>
            </a:r>
            <a:r>
              <a:rPr lang="en-US" dirty="0"/>
              <a:t>, </a:t>
            </a:r>
            <a:r>
              <a:rPr lang="en-US" dirty="0" err="1"/>
              <a:t>quis</a:t>
            </a:r>
            <a:r>
              <a:rPr lang="en-US" dirty="0"/>
              <a:t> </a:t>
            </a:r>
            <a:r>
              <a:rPr lang="en-US" dirty="0" err="1"/>
              <a:t>finibus</a:t>
            </a:r>
            <a:r>
              <a:rPr lang="en-US" dirty="0"/>
              <a:t> </a:t>
            </a:r>
            <a:r>
              <a:rPr lang="en-US" dirty="0" err="1"/>
              <a:t>lectus</a:t>
            </a:r>
            <a:r>
              <a:rPr lang="en-US" dirty="0"/>
              <a:t> </a:t>
            </a:r>
            <a:r>
              <a:rPr lang="en-US" dirty="0" err="1"/>
              <a:t>tortor</a:t>
            </a:r>
            <a:r>
              <a:rPr lang="en-US" dirty="0"/>
              <a:t> non </a:t>
            </a:r>
            <a:r>
              <a:rPr lang="en-US" dirty="0" err="1"/>
              <a:t>odio</a:t>
            </a:r>
            <a:r>
              <a:rPr lang="en-US" dirty="0"/>
              <a:t>.</a:t>
            </a:r>
          </a:p>
        </p:txBody>
      </p:sp>
      <p:sp>
        <p:nvSpPr>
          <p:cNvPr id="25" name="Text Placeholder 3">
            <a:extLst>
              <a:ext uri="{FF2B5EF4-FFF2-40B4-BE49-F238E27FC236}">
                <a16:creationId xmlns:a16="http://schemas.microsoft.com/office/drawing/2014/main" id="{D6E39FA8-269F-96EE-74F3-FA061AA8E040}"/>
              </a:ext>
            </a:extLst>
          </p:cNvPr>
          <p:cNvSpPr>
            <a:spLocks noGrp="1"/>
          </p:cNvSpPr>
          <p:nvPr>
            <p:ph type="body" sz="quarter" idx="29" hasCustomPrompt="1"/>
          </p:nvPr>
        </p:nvSpPr>
        <p:spPr>
          <a:xfrm>
            <a:off x="421342" y="4186447"/>
            <a:ext cx="2556635" cy="165547"/>
          </a:xfrm>
        </p:spPr>
        <p:txBody>
          <a:bodyPr/>
          <a:lstStyle>
            <a:lvl1pPr marL="0" indent="0">
              <a:buNone/>
              <a:defRPr sz="1000" b="1" i="0">
                <a:solidFill>
                  <a:schemeClr val="accent1"/>
                </a:solidFill>
                <a:latin typeface="Arial" panose="020B0604020202020204" pitchFamily="34" charset="0"/>
                <a:cs typeface="Arial" panose="020B0604020202020204" pitchFamily="34" charset="0"/>
              </a:defRPr>
            </a:lvl1pPr>
          </a:lstStyle>
          <a:p>
            <a:pPr lvl="0"/>
            <a:r>
              <a:rPr lang="en-US" dirty="0"/>
              <a:t>Title Case Sub-headline</a:t>
            </a:r>
          </a:p>
        </p:txBody>
      </p:sp>
      <p:sp>
        <p:nvSpPr>
          <p:cNvPr id="26" name="Text Placeholder 3">
            <a:extLst>
              <a:ext uri="{FF2B5EF4-FFF2-40B4-BE49-F238E27FC236}">
                <a16:creationId xmlns:a16="http://schemas.microsoft.com/office/drawing/2014/main" id="{4A5EDD25-3F91-A433-B0E4-9106726775EF}"/>
              </a:ext>
            </a:extLst>
          </p:cNvPr>
          <p:cNvSpPr>
            <a:spLocks noGrp="1"/>
          </p:cNvSpPr>
          <p:nvPr>
            <p:ph type="body" sz="quarter" idx="30" hasCustomPrompt="1"/>
          </p:nvPr>
        </p:nvSpPr>
        <p:spPr>
          <a:xfrm>
            <a:off x="421340" y="4366725"/>
            <a:ext cx="2556635" cy="551757"/>
          </a:xfrm>
        </p:spPr>
        <p:txBody>
          <a:bodyPr/>
          <a:lstStyle>
            <a:lvl1pPr marL="0" indent="0">
              <a:buNone/>
              <a:defRPr sz="1000" b="0" i="0">
                <a:solidFill>
                  <a:schemeClr val="accent6"/>
                </a:solidFill>
                <a:latin typeface="Arial" panose="020B0604020202020204" pitchFamily="34" charset="0"/>
                <a:cs typeface="Arial" panose="020B0604020202020204" pitchFamily="34" charset="0"/>
              </a:defRPr>
            </a:lvl1pPr>
          </a:lstStyle>
          <a:p>
            <a:pPr lvl="0"/>
            <a:r>
              <a:rPr lang="en-US" dirty="0"/>
              <a:t>Nam </a:t>
            </a:r>
            <a:r>
              <a:rPr lang="en-US" dirty="0" err="1"/>
              <a:t>pretium</a:t>
            </a:r>
            <a:r>
              <a:rPr lang="en-US" dirty="0"/>
              <a:t>, </a:t>
            </a:r>
            <a:r>
              <a:rPr lang="en-US" dirty="0" err="1"/>
              <a:t>neque</a:t>
            </a:r>
            <a:r>
              <a:rPr lang="en-US" dirty="0"/>
              <a:t> </a:t>
            </a:r>
            <a:r>
              <a:rPr lang="en-US" dirty="0" err="1"/>
              <a:t>quis</a:t>
            </a:r>
            <a:r>
              <a:rPr lang="en-US" dirty="0"/>
              <a:t> </a:t>
            </a:r>
            <a:r>
              <a:rPr lang="en-US" dirty="0" err="1"/>
              <a:t>hendrerit</a:t>
            </a:r>
            <a:r>
              <a:rPr lang="en-US" dirty="0"/>
              <a:t> </a:t>
            </a:r>
            <a:r>
              <a:rPr lang="en-US" dirty="0" err="1"/>
              <a:t>pellentesque</a:t>
            </a:r>
            <a:r>
              <a:rPr lang="en-US" dirty="0"/>
              <a:t>, </a:t>
            </a:r>
            <a:r>
              <a:rPr lang="en-US" dirty="0" err="1"/>
              <a:t>orci</a:t>
            </a:r>
            <a:r>
              <a:rPr lang="en-US" dirty="0"/>
              <a:t> </a:t>
            </a:r>
            <a:r>
              <a:rPr lang="en-US" dirty="0" err="1"/>
              <a:t>nulla</a:t>
            </a:r>
            <a:r>
              <a:rPr lang="en-US" dirty="0"/>
              <a:t> </a:t>
            </a:r>
            <a:r>
              <a:rPr lang="en-US" dirty="0" err="1"/>
              <a:t>elementum</a:t>
            </a:r>
            <a:r>
              <a:rPr lang="en-US" dirty="0"/>
              <a:t> </a:t>
            </a:r>
            <a:r>
              <a:rPr lang="en-US" dirty="0" err="1"/>
              <a:t>est</a:t>
            </a:r>
            <a:r>
              <a:rPr lang="en-US" dirty="0"/>
              <a:t>, </a:t>
            </a:r>
            <a:r>
              <a:rPr lang="en-US" dirty="0" err="1"/>
              <a:t>quis</a:t>
            </a:r>
            <a:r>
              <a:rPr lang="en-US" dirty="0"/>
              <a:t> </a:t>
            </a:r>
            <a:r>
              <a:rPr lang="en-US" dirty="0" err="1"/>
              <a:t>finibus</a:t>
            </a:r>
            <a:r>
              <a:rPr lang="en-US" dirty="0"/>
              <a:t> </a:t>
            </a:r>
            <a:r>
              <a:rPr lang="en-US" dirty="0" err="1"/>
              <a:t>lectus</a:t>
            </a:r>
            <a:r>
              <a:rPr lang="en-US" dirty="0"/>
              <a:t> </a:t>
            </a:r>
            <a:r>
              <a:rPr lang="en-US" dirty="0" err="1"/>
              <a:t>tortor</a:t>
            </a:r>
            <a:r>
              <a:rPr lang="en-US" dirty="0"/>
              <a:t> non </a:t>
            </a:r>
            <a:r>
              <a:rPr lang="en-US" dirty="0" err="1"/>
              <a:t>odio</a:t>
            </a:r>
            <a:r>
              <a:rPr lang="en-US" dirty="0"/>
              <a:t>.</a:t>
            </a:r>
          </a:p>
        </p:txBody>
      </p:sp>
      <p:sp>
        <p:nvSpPr>
          <p:cNvPr id="28" name="Text Placeholder 3">
            <a:extLst>
              <a:ext uri="{FF2B5EF4-FFF2-40B4-BE49-F238E27FC236}">
                <a16:creationId xmlns:a16="http://schemas.microsoft.com/office/drawing/2014/main" id="{8C5A5699-5764-224F-3EF1-ECE74F5CB0A8}"/>
              </a:ext>
            </a:extLst>
          </p:cNvPr>
          <p:cNvSpPr>
            <a:spLocks noGrp="1"/>
          </p:cNvSpPr>
          <p:nvPr>
            <p:ph type="body" sz="quarter" idx="32" hasCustomPrompt="1"/>
          </p:nvPr>
        </p:nvSpPr>
        <p:spPr>
          <a:xfrm>
            <a:off x="421342" y="5183349"/>
            <a:ext cx="2556635" cy="165547"/>
          </a:xfrm>
        </p:spPr>
        <p:txBody>
          <a:bodyPr/>
          <a:lstStyle>
            <a:lvl1pPr marL="0" indent="0">
              <a:buNone/>
              <a:defRPr sz="1000" b="1" i="0">
                <a:solidFill>
                  <a:schemeClr val="accent1"/>
                </a:solidFill>
                <a:latin typeface="Arial" panose="020B0604020202020204" pitchFamily="34" charset="0"/>
                <a:cs typeface="Arial" panose="020B0604020202020204" pitchFamily="34" charset="0"/>
              </a:defRPr>
            </a:lvl1pPr>
          </a:lstStyle>
          <a:p>
            <a:pPr lvl="0"/>
            <a:r>
              <a:rPr lang="en-US" dirty="0"/>
              <a:t>Title Case Sub-headline</a:t>
            </a:r>
          </a:p>
        </p:txBody>
      </p:sp>
      <p:sp>
        <p:nvSpPr>
          <p:cNvPr id="29" name="Text Placeholder 3">
            <a:extLst>
              <a:ext uri="{FF2B5EF4-FFF2-40B4-BE49-F238E27FC236}">
                <a16:creationId xmlns:a16="http://schemas.microsoft.com/office/drawing/2014/main" id="{6E0F48E6-E8C2-A51B-79A7-D6C57DAA6A66}"/>
              </a:ext>
            </a:extLst>
          </p:cNvPr>
          <p:cNvSpPr>
            <a:spLocks noGrp="1"/>
          </p:cNvSpPr>
          <p:nvPr>
            <p:ph type="body" sz="quarter" idx="33" hasCustomPrompt="1"/>
          </p:nvPr>
        </p:nvSpPr>
        <p:spPr>
          <a:xfrm>
            <a:off x="421340" y="5363627"/>
            <a:ext cx="2556635" cy="551757"/>
          </a:xfrm>
        </p:spPr>
        <p:txBody>
          <a:bodyPr/>
          <a:lstStyle>
            <a:lvl1pPr marL="0" indent="0">
              <a:buNone/>
              <a:defRPr sz="1000" b="0" i="0">
                <a:solidFill>
                  <a:schemeClr val="accent6"/>
                </a:solidFill>
                <a:latin typeface="Arial" panose="020B0604020202020204" pitchFamily="34" charset="0"/>
                <a:cs typeface="Arial" panose="020B0604020202020204" pitchFamily="34" charset="0"/>
              </a:defRPr>
            </a:lvl1pPr>
          </a:lstStyle>
          <a:p>
            <a:pPr lvl="0"/>
            <a:r>
              <a:rPr lang="en-US" dirty="0"/>
              <a:t>Nam </a:t>
            </a:r>
            <a:r>
              <a:rPr lang="en-US" dirty="0" err="1"/>
              <a:t>pretium</a:t>
            </a:r>
            <a:r>
              <a:rPr lang="en-US" dirty="0"/>
              <a:t>, </a:t>
            </a:r>
            <a:r>
              <a:rPr lang="en-US" dirty="0" err="1"/>
              <a:t>neque</a:t>
            </a:r>
            <a:r>
              <a:rPr lang="en-US" dirty="0"/>
              <a:t> </a:t>
            </a:r>
            <a:r>
              <a:rPr lang="en-US" dirty="0" err="1"/>
              <a:t>quis</a:t>
            </a:r>
            <a:r>
              <a:rPr lang="en-US" dirty="0"/>
              <a:t> </a:t>
            </a:r>
            <a:r>
              <a:rPr lang="en-US" dirty="0" err="1"/>
              <a:t>hendrerit</a:t>
            </a:r>
            <a:r>
              <a:rPr lang="en-US" dirty="0"/>
              <a:t> </a:t>
            </a:r>
            <a:r>
              <a:rPr lang="en-US" dirty="0" err="1"/>
              <a:t>pellentesque</a:t>
            </a:r>
            <a:r>
              <a:rPr lang="en-US" dirty="0"/>
              <a:t>, </a:t>
            </a:r>
            <a:r>
              <a:rPr lang="en-US" dirty="0" err="1"/>
              <a:t>orci</a:t>
            </a:r>
            <a:r>
              <a:rPr lang="en-US" dirty="0"/>
              <a:t> </a:t>
            </a:r>
            <a:r>
              <a:rPr lang="en-US" dirty="0" err="1"/>
              <a:t>nulla</a:t>
            </a:r>
            <a:r>
              <a:rPr lang="en-US" dirty="0"/>
              <a:t> </a:t>
            </a:r>
            <a:r>
              <a:rPr lang="en-US" dirty="0" err="1"/>
              <a:t>elementum</a:t>
            </a:r>
            <a:r>
              <a:rPr lang="en-US" dirty="0"/>
              <a:t> </a:t>
            </a:r>
            <a:r>
              <a:rPr lang="en-US" dirty="0" err="1"/>
              <a:t>est</a:t>
            </a:r>
            <a:r>
              <a:rPr lang="en-US" dirty="0"/>
              <a:t>, </a:t>
            </a:r>
            <a:r>
              <a:rPr lang="en-US" dirty="0" err="1"/>
              <a:t>quis</a:t>
            </a:r>
            <a:r>
              <a:rPr lang="en-US" dirty="0"/>
              <a:t> </a:t>
            </a:r>
            <a:r>
              <a:rPr lang="en-US" dirty="0" err="1"/>
              <a:t>finibus</a:t>
            </a:r>
            <a:r>
              <a:rPr lang="en-US" dirty="0"/>
              <a:t> </a:t>
            </a:r>
            <a:r>
              <a:rPr lang="en-US" dirty="0" err="1"/>
              <a:t>lectus</a:t>
            </a:r>
            <a:r>
              <a:rPr lang="en-US" dirty="0"/>
              <a:t> </a:t>
            </a:r>
            <a:r>
              <a:rPr lang="en-US" dirty="0" err="1"/>
              <a:t>tortor</a:t>
            </a:r>
            <a:r>
              <a:rPr lang="en-US" dirty="0"/>
              <a:t> non </a:t>
            </a:r>
            <a:r>
              <a:rPr lang="en-US" dirty="0" err="1"/>
              <a:t>odio</a:t>
            </a:r>
            <a:r>
              <a:rPr lang="en-US" dirty="0"/>
              <a:t>.</a:t>
            </a:r>
          </a:p>
        </p:txBody>
      </p:sp>
      <p:cxnSp>
        <p:nvCxnSpPr>
          <p:cNvPr id="36" name="Straight Connector 35">
            <a:extLst>
              <a:ext uri="{FF2B5EF4-FFF2-40B4-BE49-F238E27FC236}">
                <a16:creationId xmlns:a16="http://schemas.microsoft.com/office/drawing/2014/main" id="{3C58C637-2F24-9A57-5D85-790460DB954F}"/>
              </a:ext>
            </a:extLst>
          </p:cNvPr>
          <p:cNvCxnSpPr>
            <a:cxnSpLocks/>
          </p:cNvCxnSpPr>
          <p:nvPr userDrawn="1"/>
        </p:nvCxnSpPr>
        <p:spPr>
          <a:xfrm flipH="1">
            <a:off x="523925" y="4026404"/>
            <a:ext cx="2348671"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6BA7F15C-5DCA-96F9-0761-95903725DD09}"/>
              </a:ext>
            </a:extLst>
          </p:cNvPr>
          <p:cNvCxnSpPr>
            <a:cxnSpLocks/>
          </p:cNvCxnSpPr>
          <p:nvPr userDrawn="1"/>
        </p:nvCxnSpPr>
        <p:spPr>
          <a:xfrm flipH="1">
            <a:off x="523925" y="5027068"/>
            <a:ext cx="2348671"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sp>
        <p:nvSpPr>
          <p:cNvPr id="43" name="Text Placeholder 3">
            <a:extLst>
              <a:ext uri="{FF2B5EF4-FFF2-40B4-BE49-F238E27FC236}">
                <a16:creationId xmlns:a16="http://schemas.microsoft.com/office/drawing/2014/main" id="{E7922F8B-0439-93B6-6D78-2D1B5EEF1118}"/>
              </a:ext>
            </a:extLst>
          </p:cNvPr>
          <p:cNvSpPr>
            <a:spLocks noGrp="1"/>
          </p:cNvSpPr>
          <p:nvPr>
            <p:ph type="body" sz="quarter" idx="34" hasCustomPrompt="1"/>
          </p:nvPr>
        </p:nvSpPr>
        <p:spPr>
          <a:xfrm>
            <a:off x="3337070" y="3196420"/>
            <a:ext cx="2556635" cy="165547"/>
          </a:xfrm>
        </p:spPr>
        <p:txBody>
          <a:bodyPr/>
          <a:lstStyle>
            <a:lvl1pPr marL="0" indent="0">
              <a:buNone/>
              <a:defRPr sz="1000" b="1" i="0">
                <a:solidFill>
                  <a:schemeClr val="accent1"/>
                </a:solidFill>
                <a:latin typeface="Arial" panose="020B0604020202020204" pitchFamily="34" charset="0"/>
                <a:cs typeface="Arial" panose="020B0604020202020204" pitchFamily="34" charset="0"/>
              </a:defRPr>
            </a:lvl1pPr>
          </a:lstStyle>
          <a:p>
            <a:pPr lvl="0"/>
            <a:r>
              <a:rPr lang="en-US" dirty="0"/>
              <a:t>Title Case Sub-headline</a:t>
            </a:r>
          </a:p>
        </p:txBody>
      </p:sp>
      <p:sp>
        <p:nvSpPr>
          <p:cNvPr id="44" name="Text Placeholder 3">
            <a:extLst>
              <a:ext uri="{FF2B5EF4-FFF2-40B4-BE49-F238E27FC236}">
                <a16:creationId xmlns:a16="http://schemas.microsoft.com/office/drawing/2014/main" id="{C1D55D93-3356-7DE5-FEA0-6A66FCCF8FE3}"/>
              </a:ext>
            </a:extLst>
          </p:cNvPr>
          <p:cNvSpPr>
            <a:spLocks noGrp="1"/>
          </p:cNvSpPr>
          <p:nvPr>
            <p:ph type="body" sz="quarter" idx="35" hasCustomPrompt="1"/>
          </p:nvPr>
        </p:nvSpPr>
        <p:spPr>
          <a:xfrm>
            <a:off x="3337068" y="3376698"/>
            <a:ext cx="2556635" cy="551757"/>
          </a:xfrm>
        </p:spPr>
        <p:txBody>
          <a:bodyPr/>
          <a:lstStyle>
            <a:lvl1pPr marL="0" indent="0">
              <a:buNone/>
              <a:defRPr sz="1000" b="0" i="0">
                <a:solidFill>
                  <a:schemeClr val="accent6"/>
                </a:solidFill>
                <a:latin typeface="Arial" panose="020B0604020202020204" pitchFamily="34" charset="0"/>
                <a:cs typeface="Arial" panose="020B0604020202020204" pitchFamily="34" charset="0"/>
              </a:defRPr>
            </a:lvl1pPr>
          </a:lstStyle>
          <a:p>
            <a:pPr lvl="0"/>
            <a:r>
              <a:rPr lang="en-US" dirty="0"/>
              <a:t>Nam </a:t>
            </a:r>
            <a:r>
              <a:rPr lang="en-US" dirty="0" err="1"/>
              <a:t>pretium</a:t>
            </a:r>
            <a:r>
              <a:rPr lang="en-US" dirty="0"/>
              <a:t>, </a:t>
            </a:r>
            <a:r>
              <a:rPr lang="en-US" dirty="0" err="1"/>
              <a:t>neque</a:t>
            </a:r>
            <a:r>
              <a:rPr lang="en-US" dirty="0"/>
              <a:t> </a:t>
            </a:r>
            <a:r>
              <a:rPr lang="en-US" dirty="0" err="1"/>
              <a:t>quis</a:t>
            </a:r>
            <a:r>
              <a:rPr lang="en-US" dirty="0"/>
              <a:t> </a:t>
            </a:r>
            <a:r>
              <a:rPr lang="en-US" dirty="0" err="1"/>
              <a:t>hendrerit</a:t>
            </a:r>
            <a:r>
              <a:rPr lang="en-US" dirty="0"/>
              <a:t> </a:t>
            </a:r>
            <a:r>
              <a:rPr lang="en-US" dirty="0" err="1"/>
              <a:t>pellentesque</a:t>
            </a:r>
            <a:r>
              <a:rPr lang="en-US" dirty="0"/>
              <a:t>, </a:t>
            </a:r>
            <a:r>
              <a:rPr lang="en-US" dirty="0" err="1"/>
              <a:t>orci</a:t>
            </a:r>
            <a:r>
              <a:rPr lang="en-US" dirty="0"/>
              <a:t> </a:t>
            </a:r>
            <a:r>
              <a:rPr lang="en-US" dirty="0" err="1"/>
              <a:t>nulla</a:t>
            </a:r>
            <a:r>
              <a:rPr lang="en-US" dirty="0"/>
              <a:t> </a:t>
            </a:r>
            <a:r>
              <a:rPr lang="en-US" dirty="0" err="1"/>
              <a:t>elementum</a:t>
            </a:r>
            <a:r>
              <a:rPr lang="en-US" dirty="0"/>
              <a:t> </a:t>
            </a:r>
            <a:r>
              <a:rPr lang="en-US" dirty="0" err="1"/>
              <a:t>est</a:t>
            </a:r>
            <a:r>
              <a:rPr lang="en-US" dirty="0"/>
              <a:t>, </a:t>
            </a:r>
            <a:r>
              <a:rPr lang="en-US" dirty="0" err="1"/>
              <a:t>quis</a:t>
            </a:r>
            <a:r>
              <a:rPr lang="en-US" dirty="0"/>
              <a:t> </a:t>
            </a:r>
            <a:r>
              <a:rPr lang="en-US" dirty="0" err="1"/>
              <a:t>finibus</a:t>
            </a:r>
            <a:r>
              <a:rPr lang="en-US" dirty="0"/>
              <a:t> </a:t>
            </a:r>
            <a:r>
              <a:rPr lang="en-US" dirty="0" err="1"/>
              <a:t>lectus</a:t>
            </a:r>
            <a:r>
              <a:rPr lang="en-US" dirty="0"/>
              <a:t> </a:t>
            </a:r>
            <a:r>
              <a:rPr lang="en-US" dirty="0" err="1"/>
              <a:t>tortor</a:t>
            </a:r>
            <a:r>
              <a:rPr lang="en-US" dirty="0"/>
              <a:t> non </a:t>
            </a:r>
            <a:r>
              <a:rPr lang="en-US" dirty="0" err="1"/>
              <a:t>odio</a:t>
            </a:r>
            <a:r>
              <a:rPr lang="en-US" dirty="0"/>
              <a:t>.</a:t>
            </a:r>
          </a:p>
        </p:txBody>
      </p:sp>
      <p:sp>
        <p:nvSpPr>
          <p:cNvPr id="45" name="Text Placeholder 3">
            <a:extLst>
              <a:ext uri="{FF2B5EF4-FFF2-40B4-BE49-F238E27FC236}">
                <a16:creationId xmlns:a16="http://schemas.microsoft.com/office/drawing/2014/main" id="{198A7A1D-7C2D-DE4D-BD38-01FF5728B866}"/>
              </a:ext>
            </a:extLst>
          </p:cNvPr>
          <p:cNvSpPr>
            <a:spLocks noGrp="1"/>
          </p:cNvSpPr>
          <p:nvPr>
            <p:ph type="body" sz="quarter" idx="36" hasCustomPrompt="1"/>
          </p:nvPr>
        </p:nvSpPr>
        <p:spPr>
          <a:xfrm>
            <a:off x="3337070" y="4186447"/>
            <a:ext cx="2556635" cy="165547"/>
          </a:xfrm>
        </p:spPr>
        <p:txBody>
          <a:bodyPr/>
          <a:lstStyle>
            <a:lvl1pPr marL="0" indent="0">
              <a:buNone/>
              <a:defRPr sz="1000" b="1" i="0">
                <a:solidFill>
                  <a:schemeClr val="accent1"/>
                </a:solidFill>
                <a:latin typeface="Arial" panose="020B0604020202020204" pitchFamily="34" charset="0"/>
                <a:cs typeface="Arial" panose="020B0604020202020204" pitchFamily="34" charset="0"/>
              </a:defRPr>
            </a:lvl1pPr>
          </a:lstStyle>
          <a:p>
            <a:pPr lvl="0"/>
            <a:r>
              <a:rPr lang="en-US" dirty="0"/>
              <a:t>Title Case Sub-headline</a:t>
            </a:r>
          </a:p>
        </p:txBody>
      </p:sp>
      <p:sp>
        <p:nvSpPr>
          <p:cNvPr id="46" name="Text Placeholder 3">
            <a:extLst>
              <a:ext uri="{FF2B5EF4-FFF2-40B4-BE49-F238E27FC236}">
                <a16:creationId xmlns:a16="http://schemas.microsoft.com/office/drawing/2014/main" id="{8249D444-3F8C-EAC4-B4F2-C86493B4AB62}"/>
              </a:ext>
            </a:extLst>
          </p:cNvPr>
          <p:cNvSpPr>
            <a:spLocks noGrp="1"/>
          </p:cNvSpPr>
          <p:nvPr>
            <p:ph type="body" sz="quarter" idx="37" hasCustomPrompt="1"/>
          </p:nvPr>
        </p:nvSpPr>
        <p:spPr>
          <a:xfrm>
            <a:off x="3337068" y="4366725"/>
            <a:ext cx="2556635" cy="551757"/>
          </a:xfrm>
        </p:spPr>
        <p:txBody>
          <a:bodyPr/>
          <a:lstStyle>
            <a:lvl1pPr marL="0" indent="0">
              <a:buNone/>
              <a:defRPr sz="1000" b="0" i="0">
                <a:solidFill>
                  <a:schemeClr val="accent6"/>
                </a:solidFill>
                <a:latin typeface="Arial" panose="020B0604020202020204" pitchFamily="34" charset="0"/>
                <a:cs typeface="Arial" panose="020B0604020202020204" pitchFamily="34" charset="0"/>
              </a:defRPr>
            </a:lvl1pPr>
          </a:lstStyle>
          <a:p>
            <a:pPr lvl="0"/>
            <a:r>
              <a:rPr lang="en-US" dirty="0"/>
              <a:t>Nam </a:t>
            </a:r>
            <a:r>
              <a:rPr lang="en-US" dirty="0" err="1"/>
              <a:t>pretium</a:t>
            </a:r>
            <a:r>
              <a:rPr lang="en-US" dirty="0"/>
              <a:t>, </a:t>
            </a:r>
            <a:r>
              <a:rPr lang="en-US" dirty="0" err="1"/>
              <a:t>neque</a:t>
            </a:r>
            <a:r>
              <a:rPr lang="en-US" dirty="0"/>
              <a:t> </a:t>
            </a:r>
            <a:r>
              <a:rPr lang="en-US" dirty="0" err="1"/>
              <a:t>quis</a:t>
            </a:r>
            <a:r>
              <a:rPr lang="en-US" dirty="0"/>
              <a:t> </a:t>
            </a:r>
            <a:r>
              <a:rPr lang="en-US" dirty="0" err="1"/>
              <a:t>hendrerit</a:t>
            </a:r>
            <a:r>
              <a:rPr lang="en-US" dirty="0"/>
              <a:t> </a:t>
            </a:r>
            <a:r>
              <a:rPr lang="en-US" dirty="0" err="1"/>
              <a:t>pellentesque</a:t>
            </a:r>
            <a:r>
              <a:rPr lang="en-US" dirty="0"/>
              <a:t>, </a:t>
            </a:r>
            <a:r>
              <a:rPr lang="en-US" dirty="0" err="1"/>
              <a:t>orci</a:t>
            </a:r>
            <a:r>
              <a:rPr lang="en-US" dirty="0"/>
              <a:t> </a:t>
            </a:r>
            <a:r>
              <a:rPr lang="en-US" dirty="0" err="1"/>
              <a:t>nulla</a:t>
            </a:r>
            <a:r>
              <a:rPr lang="en-US" dirty="0"/>
              <a:t> </a:t>
            </a:r>
            <a:r>
              <a:rPr lang="en-US" dirty="0" err="1"/>
              <a:t>elementum</a:t>
            </a:r>
            <a:r>
              <a:rPr lang="en-US" dirty="0"/>
              <a:t> </a:t>
            </a:r>
            <a:r>
              <a:rPr lang="en-US" dirty="0" err="1"/>
              <a:t>est</a:t>
            </a:r>
            <a:r>
              <a:rPr lang="en-US" dirty="0"/>
              <a:t>, </a:t>
            </a:r>
            <a:r>
              <a:rPr lang="en-US" dirty="0" err="1"/>
              <a:t>quis</a:t>
            </a:r>
            <a:r>
              <a:rPr lang="en-US" dirty="0"/>
              <a:t> </a:t>
            </a:r>
            <a:r>
              <a:rPr lang="en-US" dirty="0" err="1"/>
              <a:t>finibus</a:t>
            </a:r>
            <a:r>
              <a:rPr lang="en-US" dirty="0"/>
              <a:t> </a:t>
            </a:r>
            <a:r>
              <a:rPr lang="en-US" dirty="0" err="1"/>
              <a:t>lectus</a:t>
            </a:r>
            <a:r>
              <a:rPr lang="en-US" dirty="0"/>
              <a:t> </a:t>
            </a:r>
            <a:r>
              <a:rPr lang="en-US" dirty="0" err="1"/>
              <a:t>tortor</a:t>
            </a:r>
            <a:r>
              <a:rPr lang="en-US" dirty="0"/>
              <a:t> non </a:t>
            </a:r>
            <a:r>
              <a:rPr lang="en-US" dirty="0" err="1"/>
              <a:t>odio</a:t>
            </a:r>
            <a:r>
              <a:rPr lang="en-US" dirty="0"/>
              <a:t>.</a:t>
            </a:r>
          </a:p>
        </p:txBody>
      </p:sp>
      <p:sp>
        <p:nvSpPr>
          <p:cNvPr id="47" name="Text Placeholder 3">
            <a:extLst>
              <a:ext uri="{FF2B5EF4-FFF2-40B4-BE49-F238E27FC236}">
                <a16:creationId xmlns:a16="http://schemas.microsoft.com/office/drawing/2014/main" id="{73433571-CBF5-CB84-E0EE-A8142CBA4F8D}"/>
              </a:ext>
            </a:extLst>
          </p:cNvPr>
          <p:cNvSpPr>
            <a:spLocks noGrp="1"/>
          </p:cNvSpPr>
          <p:nvPr>
            <p:ph type="body" sz="quarter" idx="38" hasCustomPrompt="1"/>
          </p:nvPr>
        </p:nvSpPr>
        <p:spPr>
          <a:xfrm>
            <a:off x="3337070" y="5183349"/>
            <a:ext cx="2556635" cy="165547"/>
          </a:xfrm>
        </p:spPr>
        <p:txBody>
          <a:bodyPr/>
          <a:lstStyle>
            <a:lvl1pPr marL="0" indent="0">
              <a:buNone/>
              <a:defRPr sz="1000" b="1" i="0">
                <a:solidFill>
                  <a:schemeClr val="accent1"/>
                </a:solidFill>
                <a:latin typeface="Arial" panose="020B0604020202020204" pitchFamily="34" charset="0"/>
                <a:cs typeface="Arial" panose="020B0604020202020204" pitchFamily="34" charset="0"/>
              </a:defRPr>
            </a:lvl1pPr>
          </a:lstStyle>
          <a:p>
            <a:pPr lvl="0"/>
            <a:r>
              <a:rPr lang="en-US" dirty="0"/>
              <a:t>Title Case Sub-headline</a:t>
            </a:r>
          </a:p>
        </p:txBody>
      </p:sp>
      <p:sp>
        <p:nvSpPr>
          <p:cNvPr id="48" name="Text Placeholder 3">
            <a:extLst>
              <a:ext uri="{FF2B5EF4-FFF2-40B4-BE49-F238E27FC236}">
                <a16:creationId xmlns:a16="http://schemas.microsoft.com/office/drawing/2014/main" id="{648136A3-548C-8DBB-3EB5-93860EF79D10}"/>
              </a:ext>
            </a:extLst>
          </p:cNvPr>
          <p:cNvSpPr>
            <a:spLocks noGrp="1"/>
          </p:cNvSpPr>
          <p:nvPr>
            <p:ph type="body" sz="quarter" idx="39" hasCustomPrompt="1"/>
          </p:nvPr>
        </p:nvSpPr>
        <p:spPr>
          <a:xfrm>
            <a:off x="3337068" y="5363627"/>
            <a:ext cx="2556635" cy="551757"/>
          </a:xfrm>
        </p:spPr>
        <p:txBody>
          <a:bodyPr/>
          <a:lstStyle>
            <a:lvl1pPr marL="0" indent="0">
              <a:buNone/>
              <a:defRPr sz="1000" b="0" i="0">
                <a:solidFill>
                  <a:schemeClr val="accent6"/>
                </a:solidFill>
                <a:latin typeface="Arial" panose="020B0604020202020204" pitchFamily="34" charset="0"/>
                <a:cs typeface="Arial" panose="020B0604020202020204" pitchFamily="34" charset="0"/>
              </a:defRPr>
            </a:lvl1pPr>
          </a:lstStyle>
          <a:p>
            <a:pPr lvl="0"/>
            <a:r>
              <a:rPr lang="en-US" dirty="0"/>
              <a:t>Nam </a:t>
            </a:r>
            <a:r>
              <a:rPr lang="en-US" dirty="0" err="1"/>
              <a:t>pretium</a:t>
            </a:r>
            <a:r>
              <a:rPr lang="en-US" dirty="0"/>
              <a:t>, </a:t>
            </a:r>
            <a:r>
              <a:rPr lang="en-US" dirty="0" err="1"/>
              <a:t>neque</a:t>
            </a:r>
            <a:r>
              <a:rPr lang="en-US" dirty="0"/>
              <a:t> </a:t>
            </a:r>
            <a:r>
              <a:rPr lang="en-US" dirty="0" err="1"/>
              <a:t>quis</a:t>
            </a:r>
            <a:r>
              <a:rPr lang="en-US" dirty="0"/>
              <a:t> </a:t>
            </a:r>
            <a:r>
              <a:rPr lang="en-US" dirty="0" err="1"/>
              <a:t>hendrerit</a:t>
            </a:r>
            <a:r>
              <a:rPr lang="en-US" dirty="0"/>
              <a:t> </a:t>
            </a:r>
            <a:r>
              <a:rPr lang="en-US" dirty="0" err="1"/>
              <a:t>pellentesque</a:t>
            </a:r>
            <a:r>
              <a:rPr lang="en-US" dirty="0"/>
              <a:t>, </a:t>
            </a:r>
            <a:r>
              <a:rPr lang="en-US" dirty="0" err="1"/>
              <a:t>orci</a:t>
            </a:r>
            <a:r>
              <a:rPr lang="en-US" dirty="0"/>
              <a:t> </a:t>
            </a:r>
            <a:r>
              <a:rPr lang="en-US" dirty="0" err="1"/>
              <a:t>nulla</a:t>
            </a:r>
            <a:r>
              <a:rPr lang="en-US" dirty="0"/>
              <a:t> </a:t>
            </a:r>
            <a:r>
              <a:rPr lang="en-US" dirty="0" err="1"/>
              <a:t>elementum</a:t>
            </a:r>
            <a:r>
              <a:rPr lang="en-US" dirty="0"/>
              <a:t> </a:t>
            </a:r>
            <a:r>
              <a:rPr lang="en-US" dirty="0" err="1"/>
              <a:t>est</a:t>
            </a:r>
            <a:r>
              <a:rPr lang="en-US" dirty="0"/>
              <a:t>, </a:t>
            </a:r>
            <a:r>
              <a:rPr lang="en-US" dirty="0" err="1"/>
              <a:t>quis</a:t>
            </a:r>
            <a:r>
              <a:rPr lang="en-US" dirty="0"/>
              <a:t> </a:t>
            </a:r>
            <a:r>
              <a:rPr lang="en-US" dirty="0" err="1"/>
              <a:t>finibus</a:t>
            </a:r>
            <a:r>
              <a:rPr lang="en-US" dirty="0"/>
              <a:t> </a:t>
            </a:r>
            <a:r>
              <a:rPr lang="en-US" dirty="0" err="1"/>
              <a:t>lectus</a:t>
            </a:r>
            <a:r>
              <a:rPr lang="en-US" dirty="0"/>
              <a:t> </a:t>
            </a:r>
            <a:r>
              <a:rPr lang="en-US" dirty="0" err="1"/>
              <a:t>tortor</a:t>
            </a:r>
            <a:r>
              <a:rPr lang="en-US" dirty="0"/>
              <a:t> non </a:t>
            </a:r>
            <a:r>
              <a:rPr lang="en-US" dirty="0" err="1"/>
              <a:t>odio</a:t>
            </a:r>
            <a:r>
              <a:rPr lang="en-US" dirty="0"/>
              <a:t>.</a:t>
            </a:r>
          </a:p>
        </p:txBody>
      </p:sp>
      <p:cxnSp>
        <p:nvCxnSpPr>
          <p:cNvPr id="49" name="Straight Connector 48">
            <a:extLst>
              <a:ext uri="{FF2B5EF4-FFF2-40B4-BE49-F238E27FC236}">
                <a16:creationId xmlns:a16="http://schemas.microsoft.com/office/drawing/2014/main" id="{AE9AAA07-89DB-7AF9-92BC-438ADB664353}"/>
              </a:ext>
            </a:extLst>
          </p:cNvPr>
          <p:cNvCxnSpPr>
            <a:cxnSpLocks/>
          </p:cNvCxnSpPr>
          <p:nvPr userDrawn="1"/>
        </p:nvCxnSpPr>
        <p:spPr>
          <a:xfrm flipH="1">
            <a:off x="3439653" y="4026404"/>
            <a:ext cx="2348671"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BDD87091-CBBA-3914-835C-92C08E85F321}"/>
              </a:ext>
            </a:extLst>
          </p:cNvPr>
          <p:cNvCxnSpPr>
            <a:cxnSpLocks/>
          </p:cNvCxnSpPr>
          <p:nvPr userDrawn="1"/>
        </p:nvCxnSpPr>
        <p:spPr>
          <a:xfrm flipH="1">
            <a:off x="3439653" y="5027068"/>
            <a:ext cx="2348671"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sp>
        <p:nvSpPr>
          <p:cNvPr id="52" name="Text Placeholder 3">
            <a:extLst>
              <a:ext uri="{FF2B5EF4-FFF2-40B4-BE49-F238E27FC236}">
                <a16:creationId xmlns:a16="http://schemas.microsoft.com/office/drawing/2014/main" id="{5E4FBF2B-65C3-94B6-4333-4B8FFD96EEB3}"/>
              </a:ext>
            </a:extLst>
          </p:cNvPr>
          <p:cNvSpPr>
            <a:spLocks noGrp="1"/>
          </p:cNvSpPr>
          <p:nvPr>
            <p:ph type="body" sz="quarter" idx="40" hasCustomPrompt="1"/>
          </p:nvPr>
        </p:nvSpPr>
        <p:spPr>
          <a:xfrm>
            <a:off x="6252798" y="3196420"/>
            <a:ext cx="2556635" cy="165547"/>
          </a:xfrm>
        </p:spPr>
        <p:txBody>
          <a:bodyPr/>
          <a:lstStyle>
            <a:lvl1pPr marL="0" indent="0">
              <a:buNone/>
              <a:defRPr sz="1000" b="1" i="0">
                <a:solidFill>
                  <a:schemeClr val="accent1"/>
                </a:solidFill>
                <a:latin typeface="Arial" panose="020B0604020202020204" pitchFamily="34" charset="0"/>
                <a:cs typeface="Arial" panose="020B0604020202020204" pitchFamily="34" charset="0"/>
              </a:defRPr>
            </a:lvl1pPr>
          </a:lstStyle>
          <a:p>
            <a:pPr lvl="0"/>
            <a:r>
              <a:rPr lang="en-US" dirty="0"/>
              <a:t>Title Case Sub-headline</a:t>
            </a:r>
          </a:p>
        </p:txBody>
      </p:sp>
      <p:sp>
        <p:nvSpPr>
          <p:cNvPr id="53" name="Text Placeholder 3">
            <a:extLst>
              <a:ext uri="{FF2B5EF4-FFF2-40B4-BE49-F238E27FC236}">
                <a16:creationId xmlns:a16="http://schemas.microsoft.com/office/drawing/2014/main" id="{05CA9FA7-1E4E-BB01-F7E2-C27A5A68860F}"/>
              </a:ext>
            </a:extLst>
          </p:cNvPr>
          <p:cNvSpPr>
            <a:spLocks noGrp="1"/>
          </p:cNvSpPr>
          <p:nvPr>
            <p:ph type="body" sz="quarter" idx="41" hasCustomPrompt="1"/>
          </p:nvPr>
        </p:nvSpPr>
        <p:spPr>
          <a:xfrm>
            <a:off x="6252796" y="3376698"/>
            <a:ext cx="2556635" cy="551757"/>
          </a:xfrm>
        </p:spPr>
        <p:txBody>
          <a:bodyPr/>
          <a:lstStyle>
            <a:lvl1pPr marL="0" indent="0">
              <a:buNone/>
              <a:defRPr sz="1000" b="0" i="0">
                <a:solidFill>
                  <a:schemeClr val="accent6"/>
                </a:solidFill>
                <a:latin typeface="Arial" panose="020B0604020202020204" pitchFamily="34" charset="0"/>
                <a:cs typeface="Arial" panose="020B0604020202020204" pitchFamily="34" charset="0"/>
              </a:defRPr>
            </a:lvl1pPr>
          </a:lstStyle>
          <a:p>
            <a:pPr lvl="0"/>
            <a:r>
              <a:rPr lang="en-US" dirty="0"/>
              <a:t>Nam </a:t>
            </a:r>
            <a:r>
              <a:rPr lang="en-US" dirty="0" err="1"/>
              <a:t>pretium</a:t>
            </a:r>
            <a:r>
              <a:rPr lang="en-US" dirty="0"/>
              <a:t>, </a:t>
            </a:r>
            <a:r>
              <a:rPr lang="en-US" dirty="0" err="1"/>
              <a:t>neque</a:t>
            </a:r>
            <a:r>
              <a:rPr lang="en-US" dirty="0"/>
              <a:t> </a:t>
            </a:r>
            <a:r>
              <a:rPr lang="en-US" dirty="0" err="1"/>
              <a:t>quis</a:t>
            </a:r>
            <a:r>
              <a:rPr lang="en-US" dirty="0"/>
              <a:t> </a:t>
            </a:r>
            <a:r>
              <a:rPr lang="en-US" dirty="0" err="1"/>
              <a:t>hendrerit</a:t>
            </a:r>
            <a:r>
              <a:rPr lang="en-US" dirty="0"/>
              <a:t> </a:t>
            </a:r>
            <a:r>
              <a:rPr lang="en-US" dirty="0" err="1"/>
              <a:t>pellentesque</a:t>
            </a:r>
            <a:r>
              <a:rPr lang="en-US" dirty="0"/>
              <a:t>, </a:t>
            </a:r>
            <a:r>
              <a:rPr lang="en-US" dirty="0" err="1"/>
              <a:t>orci</a:t>
            </a:r>
            <a:r>
              <a:rPr lang="en-US" dirty="0"/>
              <a:t> </a:t>
            </a:r>
            <a:r>
              <a:rPr lang="en-US" dirty="0" err="1"/>
              <a:t>nulla</a:t>
            </a:r>
            <a:r>
              <a:rPr lang="en-US" dirty="0"/>
              <a:t> </a:t>
            </a:r>
            <a:r>
              <a:rPr lang="en-US" dirty="0" err="1"/>
              <a:t>elementum</a:t>
            </a:r>
            <a:r>
              <a:rPr lang="en-US" dirty="0"/>
              <a:t> </a:t>
            </a:r>
            <a:r>
              <a:rPr lang="en-US" dirty="0" err="1"/>
              <a:t>est</a:t>
            </a:r>
            <a:r>
              <a:rPr lang="en-US" dirty="0"/>
              <a:t>, </a:t>
            </a:r>
            <a:r>
              <a:rPr lang="en-US" dirty="0" err="1"/>
              <a:t>quis</a:t>
            </a:r>
            <a:r>
              <a:rPr lang="en-US" dirty="0"/>
              <a:t> </a:t>
            </a:r>
            <a:r>
              <a:rPr lang="en-US" dirty="0" err="1"/>
              <a:t>finibus</a:t>
            </a:r>
            <a:r>
              <a:rPr lang="en-US" dirty="0"/>
              <a:t> </a:t>
            </a:r>
            <a:r>
              <a:rPr lang="en-US" dirty="0" err="1"/>
              <a:t>lectus</a:t>
            </a:r>
            <a:r>
              <a:rPr lang="en-US" dirty="0"/>
              <a:t> </a:t>
            </a:r>
            <a:r>
              <a:rPr lang="en-US" dirty="0" err="1"/>
              <a:t>tortor</a:t>
            </a:r>
            <a:r>
              <a:rPr lang="en-US" dirty="0"/>
              <a:t> non </a:t>
            </a:r>
            <a:r>
              <a:rPr lang="en-US" dirty="0" err="1"/>
              <a:t>odio</a:t>
            </a:r>
            <a:r>
              <a:rPr lang="en-US" dirty="0"/>
              <a:t>.</a:t>
            </a:r>
          </a:p>
        </p:txBody>
      </p:sp>
      <p:sp>
        <p:nvSpPr>
          <p:cNvPr id="54" name="Text Placeholder 3">
            <a:extLst>
              <a:ext uri="{FF2B5EF4-FFF2-40B4-BE49-F238E27FC236}">
                <a16:creationId xmlns:a16="http://schemas.microsoft.com/office/drawing/2014/main" id="{C26F1B35-271A-C6F1-487E-1D5F02A94FF9}"/>
              </a:ext>
            </a:extLst>
          </p:cNvPr>
          <p:cNvSpPr>
            <a:spLocks noGrp="1"/>
          </p:cNvSpPr>
          <p:nvPr>
            <p:ph type="body" sz="quarter" idx="42" hasCustomPrompt="1"/>
          </p:nvPr>
        </p:nvSpPr>
        <p:spPr>
          <a:xfrm>
            <a:off x="6252798" y="4186447"/>
            <a:ext cx="2556635" cy="165547"/>
          </a:xfrm>
        </p:spPr>
        <p:txBody>
          <a:bodyPr/>
          <a:lstStyle>
            <a:lvl1pPr marL="0" indent="0">
              <a:buNone/>
              <a:defRPr sz="1000" b="1" i="0">
                <a:solidFill>
                  <a:schemeClr val="accent1"/>
                </a:solidFill>
                <a:latin typeface="Arial" panose="020B0604020202020204" pitchFamily="34" charset="0"/>
                <a:cs typeface="Arial" panose="020B0604020202020204" pitchFamily="34" charset="0"/>
              </a:defRPr>
            </a:lvl1pPr>
          </a:lstStyle>
          <a:p>
            <a:pPr lvl="0"/>
            <a:r>
              <a:rPr lang="en-US" dirty="0"/>
              <a:t>Title Case Sub-headline</a:t>
            </a:r>
          </a:p>
        </p:txBody>
      </p:sp>
      <p:sp>
        <p:nvSpPr>
          <p:cNvPr id="55" name="Text Placeholder 3">
            <a:extLst>
              <a:ext uri="{FF2B5EF4-FFF2-40B4-BE49-F238E27FC236}">
                <a16:creationId xmlns:a16="http://schemas.microsoft.com/office/drawing/2014/main" id="{E29EBE81-8296-239B-44C5-FFF53DB91858}"/>
              </a:ext>
            </a:extLst>
          </p:cNvPr>
          <p:cNvSpPr>
            <a:spLocks noGrp="1"/>
          </p:cNvSpPr>
          <p:nvPr>
            <p:ph type="body" sz="quarter" idx="43" hasCustomPrompt="1"/>
          </p:nvPr>
        </p:nvSpPr>
        <p:spPr>
          <a:xfrm>
            <a:off x="6252796" y="4366725"/>
            <a:ext cx="2556635" cy="551757"/>
          </a:xfrm>
        </p:spPr>
        <p:txBody>
          <a:bodyPr/>
          <a:lstStyle>
            <a:lvl1pPr marL="0" indent="0">
              <a:buNone/>
              <a:defRPr sz="1000" b="0" i="0">
                <a:solidFill>
                  <a:schemeClr val="accent6"/>
                </a:solidFill>
                <a:latin typeface="Arial" panose="020B0604020202020204" pitchFamily="34" charset="0"/>
                <a:cs typeface="Arial" panose="020B0604020202020204" pitchFamily="34" charset="0"/>
              </a:defRPr>
            </a:lvl1pPr>
          </a:lstStyle>
          <a:p>
            <a:pPr lvl="0"/>
            <a:r>
              <a:rPr lang="en-US" dirty="0"/>
              <a:t>Nam </a:t>
            </a:r>
            <a:r>
              <a:rPr lang="en-US" dirty="0" err="1"/>
              <a:t>pretium</a:t>
            </a:r>
            <a:r>
              <a:rPr lang="en-US" dirty="0"/>
              <a:t>, </a:t>
            </a:r>
            <a:r>
              <a:rPr lang="en-US" dirty="0" err="1"/>
              <a:t>neque</a:t>
            </a:r>
            <a:r>
              <a:rPr lang="en-US" dirty="0"/>
              <a:t> </a:t>
            </a:r>
            <a:r>
              <a:rPr lang="en-US" dirty="0" err="1"/>
              <a:t>quis</a:t>
            </a:r>
            <a:r>
              <a:rPr lang="en-US" dirty="0"/>
              <a:t> </a:t>
            </a:r>
            <a:r>
              <a:rPr lang="en-US" dirty="0" err="1"/>
              <a:t>hendrerit</a:t>
            </a:r>
            <a:r>
              <a:rPr lang="en-US" dirty="0"/>
              <a:t> </a:t>
            </a:r>
            <a:r>
              <a:rPr lang="en-US" dirty="0" err="1"/>
              <a:t>pellentesque</a:t>
            </a:r>
            <a:r>
              <a:rPr lang="en-US" dirty="0"/>
              <a:t>, </a:t>
            </a:r>
            <a:r>
              <a:rPr lang="en-US" dirty="0" err="1"/>
              <a:t>orci</a:t>
            </a:r>
            <a:r>
              <a:rPr lang="en-US" dirty="0"/>
              <a:t> </a:t>
            </a:r>
            <a:r>
              <a:rPr lang="en-US" dirty="0" err="1"/>
              <a:t>nulla</a:t>
            </a:r>
            <a:r>
              <a:rPr lang="en-US" dirty="0"/>
              <a:t> </a:t>
            </a:r>
            <a:r>
              <a:rPr lang="en-US" dirty="0" err="1"/>
              <a:t>elementum</a:t>
            </a:r>
            <a:r>
              <a:rPr lang="en-US" dirty="0"/>
              <a:t> </a:t>
            </a:r>
            <a:r>
              <a:rPr lang="en-US" dirty="0" err="1"/>
              <a:t>est</a:t>
            </a:r>
            <a:r>
              <a:rPr lang="en-US" dirty="0"/>
              <a:t>, </a:t>
            </a:r>
            <a:r>
              <a:rPr lang="en-US" dirty="0" err="1"/>
              <a:t>quis</a:t>
            </a:r>
            <a:r>
              <a:rPr lang="en-US" dirty="0"/>
              <a:t> </a:t>
            </a:r>
            <a:r>
              <a:rPr lang="en-US" dirty="0" err="1"/>
              <a:t>finibus</a:t>
            </a:r>
            <a:r>
              <a:rPr lang="en-US" dirty="0"/>
              <a:t> </a:t>
            </a:r>
            <a:r>
              <a:rPr lang="en-US" dirty="0" err="1"/>
              <a:t>lectus</a:t>
            </a:r>
            <a:r>
              <a:rPr lang="en-US" dirty="0"/>
              <a:t> </a:t>
            </a:r>
            <a:r>
              <a:rPr lang="en-US" dirty="0" err="1"/>
              <a:t>tortor</a:t>
            </a:r>
            <a:r>
              <a:rPr lang="en-US" dirty="0"/>
              <a:t> non </a:t>
            </a:r>
            <a:r>
              <a:rPr lang="en-US" dirty="0" err="1"/>
              <a:t>odio</a:t>
            </a:r>
            <a:r>
              <a:rPr lang="en-US" dirty="0"/>
              <a:t>.</a:t>
            </a:r>
          </a:p>
        </p:txBody>
      </p:sp>
      <p:sp>
        <p:nvSpPr>
          <p:cNvPr id="56" name="Text Placeholder 3">
            <a:extLst>
              <a:ext uri="{FF2B5EF4-FFF2-40B4-BE49-F238E27FC236}">
                <a16:creationId xmlns:a16="http://schemas.microsoft.com/office/drawing/2014/main" id="{E7D94F0F-1A0D-4AD7-8BA2-3C576CD31944}"/>
              </a:ext>
            </a:extLst>
          </p:cNvPr>
          <p:cNvSpPr>
            <a:spLocks noGrp="1"/>
          </p:cNvSpPr>
          <p:nvPr>
            <p:ph type="body" sz="quarter" idx="44" hasCustomPrompt="1"/>
          </p:nvPr>
        </p:nvSpPr>
        <p:spPr>
          <a:xfrm>
            <a:off x="6252798" y="5183349"/>
            <a:ext cx="2556635" cy="165547"/>
          </a:xfrm>
        </p:spPr>
        <p:txBody>
          <a:bodyPr/>
          <a:lstStyle>
            <a:lvl1pPr marL="0" indent="0">
              <a:buNone/>
              <a:defRPr sz="1000" b="1" i="0">
                <a:solidFill>
                  <a:schemeClr val="accent1"/>
                </a:solidFill>
                <a:latin typeface="Arial" panose="020B0604020202020204" pitchFamily="34" charset="0"/>
                <a:cs typeface="Arial" panose="020B0604020202020204" pitchFamily="34" charset="0"/>
              </a:defRPr>
            </a:lvl1pPr>
          </a:lstStyle>
          <a:p>
            <a:pPr lvl="0"/>
            <a:r>
              <a:rPr lang="en-US" dirty="0"/>
              <a:t>Title Case Sub-headline</a:t>
            </a:r>
          </a:p>
        </p:txBody>
      </p:sp>
      <p:sp>
        <p:nvSpPr>
          <p:cNvPr id="57" name="Text Placeholder 3">
            <a:extLst>
              <a:ext uri="{FF2B5EF4-FFF2-40B4-BE49-F238E27FC236}">
                <a16:creationId xmlns:a16="http://schemas.microsoft.com/office/drawing/2014/main" id="{4E74DB85-45B6-FA28-83AA-9E3F7513A7E1}"/>
              </a:ext>
            </a:extLst>
          </p:cNvPr>
          <p:cNvSpPr>
            <a:spLocks noGrp="1"/>
          </p:cNvSpPr>
          <p:nvPr>
            <p:ph type="body" sz="quarter" idx="45" hasCustomPrompt="1"/>
          </p:nvPr>
        </p:nvSpPr>
        <p:spPr>
          <a:xfrm>
            <a:off x="6252796" y="5363627"/>
            <a:ext cx="2556635" cy="551757"/>
          </a:xfrm>
        </p:spPr>
        <p:txBody>
          <a:bodyPr/>
          <a:lstStyle>
            <a:lvl1pPr marL="0" indent="0">
              <a:buNone/>
              <a:defRPr sz="1000" b="0" i="0">
                <a:solidFill>
                  <a:schemeClr val="accent6"/>
                </a:solidFill>
                <a:latin typeface="Arial" panose="020B0604020202020204" pitchFamily="34" charset="0"/>
                <a:cs typeface="Arial" panose="020B0604020202020204" pitchFamily="34" charset="0"/>
              </a:defRPr>
            </a:lvl1pPr>
          </a:lstStyle>
          <a:p>
            <a:pPr lvl="0"/>
            <a:r>
              <a:rPr lang="en-US" dirty="0"/>
              <a:t>Nam </a:t>
            </a:r>
            <a:r>
              <a:rPr lang="en-US" dirty="0" err="1"/>
              <a:t>pretium</a:t>
            </a:r>
            <a:r>
              <a:rPr lang="en-US" dirty="0"/>
              <a:t>, </a:t>
            </a:r>
            <a:r>
              <a:rPr lang="en-US" dirty="0" err="1"/>
              <a:t>neque</a:t>
            </a:r>
            <a:r>
              <a:rPr lang="en-US" dirty="0"/>
              <a:t> </a:t>
            </a:r>
            <a:r>
              <a:rPr lang="en-US" dirty="0" err="1"/>
              <a:t>quis</a:t>
            </a:r>
            <a:r>
              <a:rPr lang="en-US" dirty="0"/>
              <a:t> </a:t>
            </a:r>
            <a:r>
              <a:rPr lang="en-US" dirty="0" err="1"/>
              <a:t>hendrerit</a:t>
            </a:r>
            <a:r>
              <a:rPr lang="en-US" dirty="0"/>
              <a:t> </a:t>
            </a:r>
            <a:r>
              <a:rPr lang="en-US" dirty="0" err="1"/>
              <a:t>pellentesque</a:t>
            </a:r>
            <a:r>
              <a:rPr lang="en-US" dirty="0"/>
              <a:t>, </a:t>
            </a:r>
            <a:r>
              <a:rPr lang="en-US" dirty="0" err="1"/>
              <a:t>orci</a:t>
            </a:r>
            <a:r>
              <a:rPr lang="en-US" dirty="0"/>
              <a:t> </a:t>
            </a:r>
            <a:r>
              <a:rPr lang="en-US" dirty="0" err="1"/>
              <a:t>nulla</a:t>
            </a:r>
            <a:r>
              <a:rPr lang="en-US" dirty="0"/>
              <a:t> </a:t>
            </a:r>
            <a:r>
              <a:rPr lang="en-US" dirty="0" err="1"/>
              <a:t>elementum</a:t>
            </a:r>
            <a:r>
              <a:rPr lang="en-US" dirty="0"/>
              <a:t> </a:t>
            </a:r>
            <a:r>
              <a:rPr lang="en-US" dirty="0" err="1"/>
              <a:t>est</a:t>
            </a:r>
            <a:r>
              <a:rPr lang="en-US" dirty="0"/>
              <a:t>, </a:t>
            </a:r>
            <a:r>
              <a:rPr lang="en-US" dirty="0" err="1"/>
              <a:t>quis</a:t>
            </a:r>
            <a:r>
              <a:rPr lang="en-US" dirty="0"/>
              <a:t> </a:t>
            </a:r>
            <a:r>
              <a:rPr lang="en-US" dirty="0" err="1"/>
              <a:t>finibus</a:t>
            </a:r>
            <a:r>
              <a:rPr lang="en-US" dirty="0"/>
              <a:t> </a:t>
            </a:r>
            <a:r>
              <a:rPr lang="en-US" dirty="0" err="1"/>
              <a:t>lectus</a:t>
            </a:r>
            <a:r>
              <a:rPr lang="en-US" dirty="0"/>
              <a:t> </a:t>
            </a:r>
            <a:r>
              <a:rPr lang="en-US" dirty="0" err="1"/>
              <a:t>tortor</a:t>
            </a:r>
            <a:r>
              <a:rPr lang="en-US" dirty="0"/>
              <a:t> non </a:t>
            </a:r>
            <a:r>
              <a:rPr lang="en-US" dirty="0" err="1"/>
              <a:t>odio</a:t>
            </a:r>
            <a:r>
              <a:rPr lang="en-US" dirty="0"/>
              <a:t>.</a:t>
            </a:r>
          </a:p>
        </p:txBody>
      </p:sp>
      <p:cxnSp>
        <p:nvCxnSpPr>
          <p:cNvPr id="58" name="Straight Connector 57">
            <a:extLst>
              <a:ext uri="{FF2B5EF4-FFF2-40B4-BE49-F238E27FC236}">
                <a16:creationId xmlns:a16="http://schemas.microsoft.com/office/drawing/2014/main" id="{FDD3CDD0-60AD-A839-0BFD-50E7F8481696}"/>
              </a:ext>
            </a:extLst>
          </p:cNvPr>
          <p:cNvCxnSpPr>
            <a:cxnSpLocks/>
          </p:cNvCxnSpPr>
          <p:nvPr userDrawn="1"/>
        </p:nvCxnSpPr>
        <p:spPr>
          <a:xfrm flipH="1">
            <a:off x="6355381" y="4026404"/>
            <a:ext cx="2348671"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0A06104D-F1D0-7789-57EC-7C539E9D0C8A}"/>
              </a:ext>
            </a:extLst>
          </p:cNvPr>
          <p:cNvCxnSpPr>
            <a:cxnSpLocks/>
          </p:cNvCxnSpPr>
          <p:nvPr userDrawn="1"/>
        </p:nvCxnSpPr>
        <p:spPr>
          <a:xfrm flipH="1">
            <a:off x="6355381" y="5027068"/>
            <a:ext cx="2348671"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sp>
        <p:nvSpPr>
          <p:cNvPr id="60" name="Text Placeholder 3">
            <a:extLst>
              <a:ext uri="{FF2B5EF4-FFF2-40B4-BE49-F238E27FC236}">
                <a16:creationId xmlns:a16="http://schemas.microsoft.com/office/drawing/2014/main" id="{8A2ECB70-0344-CBE7-2B4B-FF3EA80544D8}"/>
              </a:ext>
            </a:extLst>
          </p:cNvPr>
          <p:cNvSpPr>
            <a:spLocks noGrp="1"/>
          </p:cNvSpPr>
          <p:nvPr>
            <p:ph type="body" sz="quarter" idx="46" hasCustomPrompt="1"/>
          </p:nvPr>
        </p:nvSpPr>
        <p:spPr>
          <a:xfrm>
            <a:off x="9272044" y="3196420"/>
            <a:ext cx="2556635" cy="165547"/>
          </a:xfrm>
        </p:spPr>
        <p:txBody>
          <a:bodyPr/>
          <a:lstStyle>
            <a:lvl1pPr marL="0" indent="0">
              <a:buNone/>
              <a:defRPr sz="1000" b="1" i="0">
                <a:solidFill>
                  <a:schemeClr val="accent1"/>
                </a:solidFill>
                <a:latin typeface="Arial" panose="020B0604020202020204" pitchFamily="34" charset="0"/>
                <a:cs typeface="Arial" panose="020B0604020202020204" pitchFamily="34" charset="0"/>
              </a:defRPr>
            </a:lvl1pPr>
          </a:lstStyle>
          <a:p>
            <a:pPr lvl="0"/>
            <a:r>
              <a:rPr lang="en-US" dirty="0"/>
              <a:t>Title Case Sub-headline</a:t>
            </a:r>
          </a:p>
        </p:txBody>
      </p:sp>
      <p:sp>
        <p:nvSpPr>
          <p:cNvPr id="61" name="Text Placeholder 3">
            <a:extLst>
              <a:ext uri="{FF2B5EF4-FFF2-40B4-BE49-F238E27FC236}">
                <a16:creationId xmlns:a16="http://schemas.microsoft.com/office/drawing/2014/main" id="{8F7B8D46-D7E3-2707-EE79-2E3B82A7E65E}"/>
              </a:ext>
            </a:extLst>
          </p:cNvPr>
          <p:cNvSpPr>
            <a:spLocks noGrp="1"/>
          </p:cNvSpPr>
          <p:nvPr>
            <p:ph type="body" sz="quarter" idx="47" hasCustomPrompt="1"/>
          </p:nvPr>
        </p:nvSpPr>
        <p:spPr>
          <a:xfrm>
            <a:off x="9272042" y="3376698"/>
            <a:ext cx="2556635" cy="551757"/>
          </a:xfrm>
        </p:spPr>
        <p:txBody>
          <a:bodyPr/>
          <a:lstStyle>
            <a:lvl1pPr marL="0" indent="0">
              <a:buNone/>
              <a:defRPr sz="1000" b="0" i="0">
                <a:solidFill>
                  <a:schemeClr val="accent6"/>
                </a:solidFill>
                <a:latin typeface="Arial" panose="020B0604020202020204" pitchFamily="34" charset="0"/>
                <a:cs typeface="Arial" panose="020B0604020202020204" pitchFamily="34" charset="0"/>
              </a:defRPr>
            </a:lvl1pPr>
          </a:lstStyle>
          <a:p>
            <a:pPr lvl="0"/>
            <a:r>
              <a:rPr lang="en-US" dirty="0"/>
              <a:t>Nam </a:t>
            </a:r>
            <a:r>
              <a:rPr lang="en-US" dirty="0" err="1"/>
              <a:t>pretium</a:t>
            </a:r>
            <a:r>
              <a:rPr lang="en-US" dirty="0"/>
              <a:t>, </a:t>
            </a:r>
            <a:r>
              <a:rPr lang="en-US" dirty="0" err="1"/>
              <a:t>neque</a:t>
            </a:r>
            <a:r>
              <a:rPr lang="en-US" dirty="0"/>
              <a:t> </a:t>
            </a:r>
            <a:r>
              <a:rPr lang="en-US" dirty="0" err="1"/>
              <a:t>quis</a:t>
            </a:r>
            <a:r>
              <a:rPr lang="en-US" dirty="0"/>
              <a:t> </a:t>
            </a:r>
            <a:r>
              <a:rPr lang="en-US" dirty="0" err="1"/>
              <a:t>hendrerit</a:t>
            </a:r>
            <a:r>
              <a:rPr lang="en-US" dirty="0"/>
              <a:t> </a:t>
            </a:r>
            <a:r>
              <a:rPr lang="en-US" dirty="0" err="1"/>
              <a:t>pellentesque</a:t>
            </a:r>
            <a:r>
              <a:rPr lang="en-US" dirty="0"/>
              <a:t>, </a:t>
            </a:r>
            <a:r>
              <a:rPr lang="en-US" dirty="0" err="1"/>
              <a:t>orci</a:t>
            </a:r>
            <a:r>
              <a:rPr lang="en-US" dirty="0"/>
              <a:t> </a:t>
            </a:r>
            <a:r>
              <a:rPr lang="en-US" dirty="0" err="1"/>
              <a:t>nulla</a:t>
            </a:r>
            <a:r>
              <a:rPr lang="en-US" dirty="0"/>
              <a:t> </a:t>
            </a:r>
            <a:r>
              <a:rPr lang="en-US" dirty="0" err="1"/>
              <a:t>elementum</a:t>
            </a:r>
            <a:r>
              <a:rPr lang="en-US" dirty="0"/>
              <a:t> </a:t>
            </a:r>
            <a:r>
              <a:rPr lang="en-US" dirty="0" err="1"/>
              <a:t>est</a:t>
            </a:r>
            <a:r>
              <a:rPr lang="en-US" dirty="0"/>
              <a:t>, </a:t>
            </a:r>
            <a:r>
              <a:rPr lang="en-US" dirty="0" err="1"/>
              <a:t>quis</a:t>
            </a:r>
            <a:r>
              <a:rPr lang="en-US" dirty="0"/>
              <a:t> </a:t>
            </a:r>
            <a:r>
              <a:rPr lang="en-US" dirty="0" err="1"/>
              <a:t>finibus</a:t>
            </a:r>
            <a:r>
              <a:rPr lang="en-US" dirty="0"/>
              <a:t> </a:t>
            </a:r>
            <a:r>
              <a:rPr lang="en-US" dirty="0" err="1"/>
              <a:t>lectus</a:t>
            </a:r>
            <a:r>
              <a:rPr lang="en-US" dirty="0"/>
              <a:t> </a:t>
            </a:r>
            <a:r>
              <a:rPr lang="en-US" dirty="0" err="1"/>
              <a:t>tortor</a:t>
            </a:r>
            <a:r>
              <a:rPr lang="en-US" dirty="0"/>
              <a:t> non </a:t>
            </a:r>
            <a:r>
              <a:rPr lang="en-US" dirty="0" err="1"/>
              <a:t>odio</a:t>
            </a:r>
            <a:r>
              <a:rPr lang="en-US" dirty="0"/>
              <a:t>.</a:t>
            </a:r>
          </a:p>
        </p:txBody>
      </p:sp>
      <p:sp>
        <p:nvSpPr>
          <p:cNvPr id="62" name="Text Placeholder 3">
            <a:extLst>
              <a:ext uri="{FF2B5EF4-FFF2-40B4-BE49-F238E27FC236}">
                <a16:creationId xmlns:a16="http://schemas.microsoft.com/office/drawing/2014/main" id="{C28677DE-6BAF-A10C-F141-2F65E286E57C}"/>
              </a:ext>
            </a:extLst>
          </p:cNvPr>
          <p:cNvSpPr>
            <a:spLocks noGrp="1"/>
          </p:cNvSpPr>
          <p:nvPr>
            <p:ph type="body" sz="quarter" idx="48" hasCustomPrompt="1"/>
          </p:nvPr>
        </p:nvSpPr>
        <p:spPr>
          <a:xfrm>
            <a:off x="9272044" y="4186447"/>
            <a:ext cx="2556635" cy="165547"/>
          </a:xfrm>
        </p:spPr>
        <p:txBody>
          <a:bodyPr/>
          <a:lstStyle>
            <a:lvl1pPr marL="0" indent="0">
              <a:buNone/>
              <a:defRPr sz="1000" b="1" i="0">
                <a:solidFill>
                  <a:schemeClr val="accent1"/>
                </a:solidFill>
                <a:latin typeface="Arial" panose="020B0604020202020204" pitchFamily="34" charset="0"/>
                <a:cs typeface="Arial" panose="020B0604020202020204" pitchFamily="34" charset="0"/>
              </a:defRPr>
            </a:lvl1pPr>
          </a:lstStyle>
          <a:p>
            <a:pPr lvl="0"/>
            <a:r>
              <a:rPr lang="en-US" dirty="0"/>
              <a:t>Title Case Sub-headline</a:t>
            </a:r>
          </a:p>
        </p:txBody>
      </p:sp>
      <p:sp>
        <p:nvSpPr>
          <p:cNvPr id="63" name="Text Placeholder 3">
            <a:extLst>
              <a:ext uri="{FF2B5EF4-FFF2-40B4-BE49-F238E27FC236}">
                <a16:creationId xmlns:a16="http://schemas.microsoft.com/office/drawing/2014/main" id="{95BDE852-963A-4C33-DC47-5192F123C91E}"/>
              </a:ext>
            </a:extLst>
          </p:cNvPr>
          <p:cNvSpPr>
            <a:spLocks noGrp="1"/>
          </p:cNvSpPr>
          <p:nvPr>
            <p:ph type="body" sz="quarter" idx="49" hasCustomPrompt="1"/>
          </p:nvPr>
        </p:nvSpPr>
        <p:spPr>
          <a:xfrm>
            <a:off x="9272042" y="4366725"/>
            <a:ext cx="2556635" cy="551757"/>
          </a:xfrm>
        </p:spPr>
        <p:txBody>
          <a:bodyPr/>
          <a:lstStyle>
            <a:lvl1pPr marL="0" indent="0">
              <a:buNone/>
              <a:defRPr sz="1000" b="0" i="0">
                <a:solidFill>
                  <a:schemeClr val="accent6"/>
                </a:solidFill>
                <a:latin typeface="Arial" panose="020B0604020202020204" pitchFamily="34" charset="0"/>
                <a:cs typeface="Arial" panose="020B0604020202020204" pitchFamily="34" charset="0"/>
              </a:defRPr>
            </a:lvl1pPr>
          </a:lstStyle>
          <a:p>
            <a:pPr lvl="0"/>
            <a:r>
              <a:rPr lang="en-US" dirty="0"/>
              <a:t>Nam </a:t>
            </a:r>
            <a:r>
              <a:rPr lang="en-US" dirty="0" err="1"/>
              <a:t>pretium</a:t>
            </a:r>
            <a:r>
              <a:rPr lang="en-US" dirty="0"/>
              <a:t>, </a:t>
            </a:r>
            <a:r>
              <a:rPr lang="en-US" dirty="0" err="1"/>
              <a:t>neque</a:t>
            </a:r>
            <a:r>
              <a:rPr lang="en-US" dirty="0"/>
              <a:t> </a:t>
            </a:r>
            <a:r>
              <a:rPr lang="en-US" dirty="0" err="1"/>
              <a:t>quis</a:t>
            </a:r>
            <a:r>
              <a:rPr lang="en-US" dirty="0"/>
              <a:t> </a:t>
            </a:r>
            <a:r>
              <a:rPr lang="en-US" dirty="0" err="1"/>
              <a:t>hendrerit</a:t>
            </a:r>
            <a:r>
              <a:rPr lang="en-US" dirty="0"/>
              <a:t> </a:t>
            </a:r>
            <a:r>
              <a:rPr lang="en-US" dirty="0" err="1"/>
              <a:t>pellentesque</a:t>
            </a:r>
            <a:r>
              <a:rPr lang="en-US" dirty="0"/>
              <a:t>, </a:t>
            </a:r>
            <a:r>
              <a:rPr lang="en-US" dirty="0" err="1"/>
              <a:t>orci</a:t>
            </a:r>
            <a:r>
              <a:rPr lang="en-US" dirty="0"/>
              <a:t> </a:t>
            </a:r>
            <a:r>
              <a:rPr lang="en-US" dirty="0" err="1"/>
              <a:t>nulla</a:t>
            </a:r>
            <a:r>
              <a:rPr lang="en-US" dirty="0"/>
              <a:t> </a:t>
            </a:r>
            <a:r>
              <a:rPr lang="en-US" dirty="0" err="1"/>
              <a:t>elementum</a:t>
            </a:r>
            <a:r>
              <a:rPr lang="en-US" dirty="0"/>
              <a:t> </a:t>
            </a:r>
            <a:r>
              <a:rPr lang="en-US" dirty="0" err="1"/>
              <a:t>est</a:t>
            </a:r>
            <a:r>
              <a:rPr lang="en-US" dirty="0"/>
              <a:t>, </a:t>
            </a:r>
            <a:r>
              <a:rPr lang="en-US" dirty="0" err="1"/>
              <a:t>quis</a:t>
            </a:r>
            <a:r>
              <a:rPr lang="en-US" dirty="0"/>
              <a:t> </a:t>
            </a:r>
            <a:r>
              <a:rPr lang="en-US" dirty="0" err="1"/>
              <a:t>finibus</a:t>
            </a:r>
            <a:r>
              <a:rPr lang="en-US" dirty="0"/>
              <a:t> </a:t>
            </a:r>
            <a:r>
              <a:rPr lang="en-US" dirty="0" err="1"/>
              <a:t>lectus</a:t>
            </a:r>
            <a:r>
              <a:rPr lang="en-US" dirty="0"/>
              <a:t> </a:t>
            </a:r>
            <a:r>
              <a:rPr lang="en-US" dirty="0" err="1"/>
              <a:t>tortor</a:t>
            </a:r>
            <a:r>
              <a:rPr lang="en-US" dirty="0"/>
              <a:t> non </a:t>
            </a:r>
            <a:r>
              <a:rPr lang="en-US" dirty="0" err="1"/>
              <a:t>odio</a:t>
            </a:r>
            <a:r>
              <a:rPr lang="en-US" dirty="0"/>
              <a:t>.</a:t>
            </a:r>
          </a:p>
        </p:txBody>
      </p:sp>
      <p:sp>
        <p:nvSpPr>
          <p:cNvPr id="64" name="Text Placeholder 3">
            <a:extLst>
              <a:ext uri="{FF2B5EF4-FFF2-40B4-BE49-F238E27FC236}">
                <a16:creationId xmlns:a16="http://schemas.microsoft.com/office/drawing/2014/main" id="{3D30C875-36B6-F488-82A7-DD757A4DC401}"/>
              </a:ext>
            </a:extLst>
          </p:cNvPr>
          <p:cNvSpPr>
            <a:spLocks noGrp="1"/>
          </p:cNvSpPr>
          <p:nvPr>
            <p:ph type="body" sz="quarter" idx="50" hasCustomPrompt="1"/>
          </p:nvPr>
        </p:nvSpPr>
        <p:spPr>
          <a:xfrm>
            <a:off x="9272044" y="5183349"/>
            <a:ext cx="2556635" cy="165547"/>
          </a:xfrm>
        </p:spPr>
        <p:txBody>
          <a:bodyPr/>
          <a:lstStyle>
            <a:lvl1pPr marL="0" indent="0">
              <a:buNone/>
              <a:defRPr sz="1000" b="1" i="0">
                <a:solidFill>
                  <a:schemeClr val="accent1"/>
                </a:solidFill>
                <a:latin typeface="Arial" panose="020B0604020202020204" pitchFamily="34" charset="0"/>
                <a:cs typeface="Arial" panose="020B0604020202020204" pitchFamily="34" charset="0"/>
              </a:defRPr>
            </a:lvl1pPr>
          </a:lstStyle>
          <a:p>
            <a:pPr lvl="0"/>
            <a:r>
              <a:rPr lang="en-US" dirty="0"/>
              <a:t>Title Case Sub-headline</a:t>
            </a:r>
          </a:p>
        </p:txBody>
      </p:sp>
      <p:sp>
        <p:nvSpPr>
          <p:cNvPr id="65" name="Text Placeholder 3">
            <a:extLst>
              <a:ext uri="{FF2B5EF4-FFF2-40B4-BE49-F238E27FC236}">
                <a16:creationId xmlns:a16="http://schemas.microsoft.com/office/drawing/2014/main" id="{56232D7D-5028-1481-53FA-C2C4986451EC}"/>
              </a:ext>
            </a:extLst>
          </p:cNvPr>
          <p:cNvSpPr>
            <a:spLocks noGrp="1"/>
          </p:cNvSpPr>
          <p:nvPr>
            <p:ph type="body" sz="quarter" idx="51" hasCustomPrompt="1"/>
          </p:nvPr>
        </p:nvSpPr>
        <p:spPr>
          <a:xfrm>
            <a:off x="9272042" y="5363627"/>
            <a:ext cx="2556635" cy="551757"/>
          </a:xfrm>
        </p:spPr>
        <p:txBody>
          <a:bodyPr/>
          <a:lstStyle>
            <a:lvl1pPr marL="0" indent="0">
              <a:buNone/>
              <a:defRPr sz="1000" b="0" i="0">
                <a:solidFill>
                  <a:schemeClr val="accent6"/>
                </a:solidFill>
                <a:latin typeface="Arial" panose="020B0604020202020204" pitchFamily="34" charset="0"/>
                <a:cs typeface="Arial" panose="020B0604020202020204" pitchFamily="34" charset="0"/>
              </a:defRPr>
            </a:lvl1pPr>
          </a:lstStyle>
          <a:p>
            <a:pPr lvl="0"/>
            <a:r>
              <a:rPr lang="en-US" dirty="0"/>
              <a:t>Nam </a:t>
            </a:r>
            <a:r>
              <a:rPr lang="en-US" dirty="0" err="1"/>
              <a:t>pretium</a:t>
            </a:r>
            <a:r>
              <a:rPr lang="en-US" dirty="0"/>
              <a:t>, </a:t>
            </a:r>
            <a:r>
              <a:rPr lang="en-US" dirty="0" err="1"/>
              <a:t>neque</a:t>
            </a:r>
            <a:r>
              <a:rPr lang="en-US" dirty="0"/>
              <a:t> </a:t>
            </a:r>
            <a:r>
              <a:rPr lang="en-US" dirty="0" err="1"/>
              <a:t>quis</a:t>
            </a:r>
            <a:r>
              <a:rPr lang="en-US" dirty="0"/>
              <a:t> </a:t>
            </a:r>
            <a:r>
              <a:rPr lang="en-US" dirty="0" err="1"/>
              <a:t>hendrerit</a:t>
            </a:r>
            <a:r>
              <a:rPr lang="en-US" dirty="0"/>
              <a:t> </a:t>
            </a:r>
            <a:r>
              <a:rPr lang="en-US" dirty="0" err="1"/>
              <a:t>pellentesque</a:t>
            </a:r>
            <a:r>
              <a:rPr lang="en-US" dirty="0"/>
              <a:t>, </a:t>
            </a:r>
            <a:r>
              <a:rPr lang="en-US" dirty="0" err="1"/>
              <a:t>orci</a:t>
            </a:r>
            <a:r>
              <a:rPr lang="en-US" dirty="0"/>
              <a:t> </a:t>
            </a:r>
            <a:r>
              <a:rPr lang="en-US" dirty="0" err="1"/>
              <a:t>nulla</a:t>
            </a:r>
            <a:r>
              <a:rPr lang="en-US" dirty="0"/>
              <a:t> </a:t>
            </a:r>
            <a:r>
              <a:rPr lang="en-US" dirty="0" err="1"/>
              <a:t>elementum</a:t>
            </a:r>
            <a:r>
              <a:rPr lang="en-US" dirty="0"/>
              <a:t> </a:t>
            </a:r>
            <a:r>
              <a:rPr lang="en-US" dirty="0" err="1"/>
              <a:t>est</a:t>
            </a:r>
            <a:r>
              <a:rPr lang="en-US" dirty="0"/>
              <a:t>, </a:t>
            </a:r>
            <a:r>
              <a:rPr lang="en-US" dirty="0" err="1"/>
              <a:t>quis</a:t>
            </a:r>
            <a:r>
              <a:rPr lang="en-US" dirty="0"/>
              <a:t> </a:t>
            </a:r>
            <a:r>
              <a:rPr lang="en-US" dirty="0" err="1"/>
              <a:t>finibus</a:t>
            </a:r>
            <a:r>
              <a:rPr lang="en-US" dirty="0"/>
              <a:t> </a:t>
            </a:r>
            <a:r>
              <a:rPr lang="en-US" dirty="0" err="1"/>
              <a:t>lectus</a:t>
            </a:r>
            <a:r>
              <a:rPr lang="en-US" dirty="0"/>
              <a:t> </a:t>
            </a:r>
            <a:r>
              <a:rPr lang="en-US" dirty="0" err="1"/>
              <a:t>tortor</a:t>
            </a:r>
            <a:r>
              <a:rPr lang="en-US" dirty="0"/>
              <a:t> non </a:t>
            </a:r>
            <a:r>
              <a:rPr lang="en-US" dirty="0" err="1"/>
              <a:t>odio</a:t>
            </a:r>
            <a:r>
              <a:rPr lang="en-US" dirty="0"/>
              <a:t>.</a:t>
            </a:r>
          </a:p>
        </p:txBody>
      </p:sp>
      <p:cxnSp>
        <p:nvCxnSpPr>
          <p:cNvPr id="66" name="Straight Connector 65">
            <a:extLst>
              <a:ext uri="{FF2B5EF4-FFF2-40B4-BE49-F238E27FC236}">
                <a16:creationId xmlns:a16="http://schemas.microsoft.com/office/drawing/2014/main" id="{0D5A60C7-E2BB-193E-254D-0D729E2AA608}"/>
              </a:ext>
            </a:extLst>
          </p:cNvPr>
          <p:cNvCxnSpPr>
            <a:cxnSpLocks/>
          </p:cNvCxnSpPr>
          <p:nvPr userDrawn="1"/>
        </p:nvCxnSpPr>
        <p:spPr>
          <a:xfrm flipH="1">
            <a:off x="9374627" y="4026404"/>
            <a:ext cx="2348671"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F0294432-160F-F603-4764-040D5384FA29}"/>
              </a:ext>
            </a:extLst>
          </p:cNvPr>
          <p:cNvCxnSpPr>
            <a:cxnSpLocks/>
          </p:cNvCxnSpPr>
          <p:nvPr userDrawn="1"/>
        </p:nvCxnSpPr>
        <p:spPr>
          <a:xfrm flipH="1">
            <a:off x="9374627" y="5027068"/>
            <a:ext cx="2348671"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141675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Icons and Progress Bar Slide">
    <p:spTree>
      <p:nvGrpSpPr>
        <p:cNvPr id="1" name=""/>
        <p:cNvGrpSpPr/>
        <p:nvPr/>
      </p:nvGrpSpPr>
      <p:grpSpPr>
        <a:xfrm>
          <a:off x="0" y="0"/>
          <a:ext cx="0" cy="0"/>
          <a:chOff x="0" y="0"/>
          <a:chExt cx="0" cy="0"/>
        </a:xfrm>
      </p:grpSpPr>
      <p:sp>
        <p:nvSpPr>
          <p:cNvPr id="3" name="Freeform 2">
            <a:extLst>
              <a:ext uri="{FF2B5EF4-FFF2-40B4-BE49-F238E27FC236}">
                <a16:creationId xmlns:a16="http://schemas.microsoft.com/office/drawing/2014/main" id="{EAB10C03-E312-828C-77D2-6F928A21A415}"/>
              </a:ext>
            </a:extLst>
          </p:cNvPr>
          <p:cNvSpPr/>
          <p:nvPr userDrawn="1"/>
        </p:nvSpPr>
        <p:spPr>
          <a:xfrm rot="10800000">
            <a:off x="6320850" y="2718008"/>
            <a:ext cx="5758343" cy="2286617"/>
          </a:xfrm>
          <a:custGeom>
            <a:avLst/>
            <a:gdLst>
              <a:gd name="connsiteX0" fmla="*/ 575869 w 2901238"/>
              <a:gd name="connsiteY0" fmla="*/ 0 h 1152071"/>
              <a:gd name="connsiteX1" fmla="*/ 2901238 w 2901238"/>
              <a:gd name="connsiteY1" fmla="*/ 0 h 1152071"/>
              <a:gd name="connsiteX2" fmla="*/ 2901238 w 2901238"/>
              <a:gd name="connsiteY2" fmla="*/ 1151740 h 1152071"/>
              <a:gd name="connsiteX3" fmla="*/ 579154 w 2901238"/>
              <a:gd name="connsiteY3" fmla="*/ 1151740 h 1152071"/>
              <a:gd name="connsiteX4" fmla="*/ 575870 w 2901238"/>
              <a:gd name="connsiteY4" fmla="*/ 1152071 h 1152071"/>
              <a:gd name="connsiteX5" fmla="*/ 0 w 2901238"/>
              <a:gd name="connsiteY5" fmla="*/ 576201 h 1152071"/>
              <a:gd name="connsiteX6" fmla="*/ 459812 w 2901238"/>
              <a:gd name="connsiteY6" fmla="*/ 12031 h 1152071"/>
              <a:gd name="connsiteX7" fmla="*/ 575869 w 2901238"/>
              <a:gd name="connsiteY7" fmla="*/ 331 h 1152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01238" h="1152071">
                <a:moveTo>
                  <a:pt x="575869" y="0"/>
                </a:moveTo>
                <a:lnTo>
                  <a:pt x="2901238" y="0"/>
                </a:lnTo>
                <a:lnTo>
                  <a:pt x="2901238" y="1151740"/>
                </a:lnTo>
                <a:lnTo>
                  <a:pt x="579154" y="1151740"/>
                </a:lnTo>
                <a:lnTo>
                  <a:pt x="575870" y="1152071"/>
                </a:lnTo>
                <a:cubicBezTo>
                  <a:pt x="257826" y="1152071"/>
                  <a:pt x="0" y="894245"/>
                  <a:pt x="0" y="576201"/>
                </a:cubicBezTo>
                <a:cubicBezTo>
                  <a:pt x="0" y="297913"/>
                  <a:pt x="197398" y="65728"/>
                  <a:pt x="459812" y="12031"/>
                </a:cubicBezTo>
                <a:lnTo>
                  <a:pt x="575869" y="331"/>
                </a:lnTo>
                <a:close/>
              </a:path>
            </a:pathLst>
          </a:cu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5" name="Freeform 4">
            <a:extLst>
              <a:ext uri="{FF2B5EF4-FFF2-40B4-BE49-F238E27FC236}">
                <a16:creationId xmlns:a16="http://schemas.microsoft.com/office/drawing/2014/main" id="{C23CAD66-9058-7206-044F-763AF3C94DCC}"/>
              </a:ext>
            </a:extLst>
          </p:cNvPr>
          <p:cNvSpPr/>
          <p:nvPr userDrawn="1"/>
        </p:nvSpPr>
        <p:spPr>
          <a:xfrm rot="10800000">
            <a:off x="2469499" y="2718008"/>
            <a:ext cx="5758343" cy="2286617"/>
          </a:xfrm>
          <a:custGeom>
            <a:avLst/>
            <a:gdLst>
              <a:gd name="connsiteX0" fmla="*/ 575869 w 2901238"/>
              <a:gd name="connsiteY0" fmla="*/ 0 h 1152071"/>
              <a:gd name="connsiteX1" fmla="*/ 2901238 w 2901238"/>
              <a:gd name="connsiteY1" fmla="*/ 0 h 1152071"/>
              <a:gd name="connsiteX2" fmla="*/ 2901238 w 2901238"/>
              <a:gd name="connsiteY2" fmla="*/ 1151740 h 1152071"/>
              <a:gd name="connsiteX3" fmla="*/ 579154 w 2901238"/>
              <a:gd name="connsiteY3" fmla="*/ 1151740 h 1152071"/>
              <a:gd name="connsiteX4" fmla="*/ 575870 w 2901238"/>
              <a:gd name="connsiteY4" fmla="*/ 1152071 h 1152071"/>
              <a:gd name="connsiteX5" fmla="*/ 0 w 2901238"/>
              <a:gd name="connsiteY5" fmla="*/ 576201 h 1152071"/>
              <a:gd name="connsiteX6" fmla="*/ 459812 w 2901238"/>
              <a:gd name="connsiteY6" fmla="*/ 12031 h 1152071"/>
              <a:gd name="connsiteX7" fmla="*/ 575869 w 2901238"/>
              <a:gd name="connsiteY7" fmla="*/ 331 h 1152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01238" h="1152071">
                <a:moveTo>
                  <a:pt x="575869" y="0"/>
                </a:moveTo>
                <a:lnTo>
                  <a:pt x="2901238" y="0"/>
                </a:lnTo>
                <a:lnTo>
                  <a:pt x="2901238" y="1151740"/>
                </a:lnTo>
                <a:lnTo>
                  <a:pt x="579154" y="1151740"/>
                </a:lnTo>
                <a:lnTo>
                  <a:pt x="575870" y="1152071"/>
                </a:lnTo>
                <a:cubicBezTo>
                  <a:pt x="257826" y="1152071"/>
                  <a:pt x="0" y="894245"/>
                  <a:pt x="0" y="576201"/>
                </a:cubicBezTo>
                <a:cubicBezTo>
                  <a:pt x="0" y="297913"/>
                  <a:pt x="197398" y="65728"/>
                  <a:pt x="459812" y="12031"/>
                </a:cubicBezTo>
                <a:lnTo>
                  <a:pt x="575869" y="331"/>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6" name="Freeform 5">
            <a:extLst>
              <a:ext uri="{FF2B5EF4-FFF2-40B4-BE49-F238E27FC236}">
                <a16:creationId xmlns:a16="http://schemas.microsoft.com/office/drawing/2014/main" id="{B7088342-E159-3991-99A2-3EFBC118CE17}"/>
              </a:ext>
            </a:extLst>
          </p:cNvPr>
          <p:cNvSpPr/>
          <p:nvPr userDrawn="1"/>
        </p:nvSpPr>
        <p:spPr>
          <a:xfrm rot="10800000">
            <a:off x="-1307041" y="2718008"/>
            <a:ext cx="5758343" cy="2286617"/>
          </a:xfrm>
          <a:custGeom>
            <a:avLst/>
            <a:gdLst>
              <a:gd name="connsiteX0" fmla="*/ 575869 w 2901238"/>
              <a:gd name="connsiteY0" fmla="*/ 0 h 1152071"/>
              <a:gd name="connsiteX1" fmla="*/ 2901238 w 2901238"/>
              <a:gd name="connsiteY1" fmla="*/ 0 h 1152071"/>
              <a:gd name="connsiteX2" fmla="*/ 2901238 w 2901238"/>
              <a:gd name="connsiteY2" fmla="*/ 1151740 h 1152071"/>
              <a:gd name="connsiteX3" fmla="*/ 579154 w 2901238"/>
              <a:gd name="connsiteY3" fmla="*/ 1151740 h 1152071"/>
              <a:gd name="connsiteX4" fmla="*/ 575870 w 2901238"/>
              <a:gd name="connsiteY4" fmla="*/ 1152071 h 1152071"/>
              <a:gd name="connsiteX5" fmla="*/ 0 w 2901238"/>
              <a:gd name="connsiteY5" fmla="*/ 576201 h 1152071"/>
              <a:gd name="connsiteX6" fmla="*/ 459812 w 2901238"/>
              <a:gd name="connsiteY6" fmla="*/ 12031 h 1152071"/>
              <a:gd name="connsiteX7" fmla="*/ 575869 w 2901238"/>
              <a:gd name="connsiteY7" fmla="*/ 331 h 1152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01238" h="1152071">
                <a:moveTo>
                  <a:pt x="575869" y="0"/>
                </a:moveTo>
                <a:lnTo>
                  <a:pt x="2901238" y="0"/>
                </a:lnTo>
                <a:lnTo>
                  <a:pt x="2901238" y="1151740"/>
                </a:lnTo>
                <a:lnTo>
                  <a:pt x="579154" y="1151740"/>
                </a:lnTo>
                <a:lnTo>
                  <a:pt x="575870" y="1152071"/>
                </a:lnTo>
                <a:cubicBezTo>
                  <a:pt x="257826" y="1152071"/>
                  <a:pt x="0" y="894245"/>
                  <a:pt x="0" y="576201"/>
                </a:cubicBezTo>
                <a:cubicBezTo>
                  <a:pt x="0" y="297913"/>
                  <a:pt x="197398" y="65728"/>
                  <a:pt x="459812" y="12031"/>
                </a:cubicBezTo>
                <a:lnTo>
                  <a:pt x="575869" y="331"/>
                </a:lnTo>
                <a:close/>
              </a:path>
            </a:pathLst>
          </a:custGeom>
          <a:solidFill>
            <a:srgbClr val="E8F7F7"/>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4" name="Title Placeholder 15">
            <a:extLst>
              <a:ext uri="{FF2B5EF4-FFF2-40B4-BE49-F238E27FC236}">
                <a16:creationId xmlns:a16="http://schemas.microsoft.com/office/drawing/2014/main" id="{DF9C074A-6494-48EE-604F-0594D3079689}"/>
              </a:ext>
            </a:extLst>
          </p:cNvPr>
          <p:cNvSpPr>
            <a:spLocks noGrp="1"/>
          </p:cNvSpPr>
          <p:nvPr>
            <p:ph type="title" hasCustomPrompt="1"/>
          </p:nvPr>
        </p:nvSpPr>
        <p:spPr>
          <a:xfrm>
            <a:off x="421340" y="394634"/>
            <a:ext cx="11344835" cy="704257"/>
          </a:xfrm>
          <a:prstGeom prst="rect">
            <a:avLst/>
          </a:prstGeom>
        </p:spPr>
        <p:txBody>
          <a:bodyPr vert="horz" lIns="91440" tIns="45720" rIns="91440" bIns="45720" rtlCol="0" anchor="t" anchorCtr="0">
            <a:noAutofit/>
          </a:bodyPr>
          <a:lstStyle>
            <a:lvl1pPr>
              <a:defRPr sz="3600"/>
            </a:lvl1pPr>
          </a:lstStyle>
          <a:p>
            <a:r>
              <a:rPr lang="en-US" dirty="0"/>
              <a:t>Headline in Title Case</a:t>
            </a:r>
          </a:p>
        </p:txBody>
      </p:sp>
      <p:sp>
        <p:nvSpPr>
          <p:cNvPr id="11" name="Text Placeholder 3">
            <a:extLst>
              <a:ext uri="{FF2B5EF4-FFF2-40B4-BE49-F238E27FC236}">
                <a16:creationId xmlns:a16="http://schemas.microsoft.com/office/drawing/2014/main" id="{4CF61DF8-9C6A-89D6-1B5F-CA13FE881924}"/>
              </a:ext>
            </a:extLst>
          </p:cNvPr>
          <p:cNvSpPr>
            <a:spLocks noGrp="1"/>
          </p:cNvSpPr>
          <p:nvPr>
            <p:ph type="body" sz="quarter" idx="22" hasCustomPrompt="1"/>
          </p:nvPr>
        </p:nvSpPr>
        <p:spPr>
          <a:xfrm>
            <a:off x="8829088" y="3818543"/>
            <a:ext cx="2835657" cy="769790"/>
          </a:xfrm>
        </p:spPr>
        <p:txBody>
          <a:bodyPr/>
          <a:lstStyle>
            <a:lvl1pPr marL="0" indent="0">
              <a:buNone/>
              <a:defRPr sz="1100" b="0" i="0">
                <a:solidFill>
                  <a:schemeClr val="bg1"/>
                </a:solidFill>
                <a:latin typeface="Arial" panose="020B0604020202020204" pitchFamily="34" charset="0"/>
                <a:cs typeface="Arial" panose="020B0604020202020204" pitchFamily="34" charset="0"/>
              </a:defRPr>
            </a:lvl1pPr>
          </a:lstStyle>
          <a:p>
            <a:pPr lvl="0"/>
            <a:r>
              <a:rPr lang="en-US" dirty="0"/>
              <a:t>Nunc </a:t>
            </a:r>
            <a:r>
              <a:rPr lang="en-US" dirty="0" err="1"/>
              <a:t>mattis</a:t>
            </a:r>
            <a:r>
              <a:rPr lang="en-US" dirty="0"/>
              <a:t> </a:t>
            </a:r>
            <a:r>
              <a:rPr lang="en-US" dirty="0" err="1"/>
              <a:t>eleifend</a:t>
            </a:r>
            <a:r>
              <a:rPr lang="en-US" dirty="0"/>
              <a:t> dolor, id fermentum </a:t>
            </a:r>
            <a:r>
              <a:rPr lang="en-US" dirty="0" err="1"/>
              <a:t>lectus</a:t>
            </a:r>
            <a:r>
              <a:rPr lang="en-US" dirty="0"/>
              <a:t> gravida vel </a:t>
            </a:r>
            <a:r>
              <a:rPr lang="en-US" dirty="0" err="1"/>
              <a:t>aenean</a:t>
            </a:r>
            <a:r>
              <a:rPr lang="en-US" dirty="0"/>
              <a:t> vel </a:t>
            </a:r>
            <a:r>
              <a:rPr lang="en-US" dirty="0" err="1"/>
              <a:t>scelerisque</a:t>
            </a:r>
            <a:r>
              <a:rPr lang="en-US" dirty="0"/>
              <a:t> </a:t>
            </a:r>
            <a:r>
              <a:rPr lang="en-US" dirty="0" err="1"/>
              <a:t>justo</a:t>
            </a:r>
            <a:r>
              <a:rPr lang="en-US" dirty="0"/>
              <a:t> </a:t>
            </a:r>
            <a:r>
              <a:rPr lang="en-US" dirty="0" err="1"/>
              <a:t>cras</a:t>
            </a:r>
            <a:r>
              <a:rPr lang="en-US" dirty="0"/>
              <a:t> id maximus </a:t>
            </a:r>
            <a:r>
              <a:rPr lang="en-US" dirty="0" err="1"/>
              <a:t>leo</a:t>
            </a:r>
            <a:r>
              <a:rPr lang="en-US" dirty="0"/>
              <a:t> </a:t>
            </a:r>
            <a:r>
              <a:rPr lang="en-US" dirty="0" err="1"/>
              <a:t>fusce</a:t>
            </a:r>
            <a:r>
              <a:rPr lang="en-US" dirty="0"/>
              <a:t> lacinia in ligula vel </a:t>
            </a:r>
            <a:r>
              <a:rPr lang="en-US" dirty="0" err="1"/>
              <a:t>imperdiet</a:t>
            </a:r>
            <a:r>
              <a:rPr lang="en-US" dirty="0"/>
              <a:t> </a:t>
            </a:r>
            <a:r>
              <a:rPr lang="en-US" dirty="0" err="1"/>
              <a:t>aliquam</a:t>
            </a:r>
            <a:r>
              <a:rPr lang="en-US" dirty="0"/>
              <a:t> </a:t>
            </a:r>
            <a:r>
              <a:rPr lang="en-US" dirty="0" err="1"/>
              <a:t>erat</a:t>
            </a:r>
            <a:r>
              <a:rPr lang="en-US" dirty="0"/>
              <a:t>.</a:t>
            </a:r>
          </a:p>
        </p:txBody>
      </p:sp>
      <p:sp>
        <p:nvSpPr>
          <p:cNvPr id="12" name="Text Placeholder 3">
            <a:extLst>
              <a:ext uri="{FF2B5EF4-FFF2-40B4-BE49-F238E27FC236}">
                <a16:creationId xmlns:a16="http://schemas.microsoft.com/office/drawing/2014/main" id="{5C553888-99BD-3569-85AC-38697A2B1E87}"/>
              </a:ext>
            </a:extLst>
          </p:cNvPr>
          <p:cNvSpPr>
            <a:spLocks noGrp="1"/>
          </p:cNvSpPr>
          <p:nvPr>
            <p:ph type="body" sz="quarter" idx="23" hasCustomPrompt="1"/>
          </p:nvPr>
        </p:nvSpPr>
        <p:spPr>
          <a:xfrm>
            <a:off x="8829086" y="3196420"/>
            <a:ext cx="2556637" cy="459807"/>
          </a:xfrm>
        </p:spPr>
        <p:txBody>
          <a:bodyPr/>
          <a:lstStyle>
            <a:lvl1pPr marL="0" indent="0">
              <a:buNone/>
              <a:defRPr sz="1500" b="1" i="0">
                <a:solidFill>
                  <a:schemeClr val="bg1"/>
                </a:solidFill>
                <a:latin typeface="Arial" panose="020B0604020202020204" pitchFamily="34" charset="0"/>
                <a:cs typeface="Arial" panose="020B0604020202020204" pitchFamily="34" charset="0"/>
              </a:defRPr>
            </a:lvl1pPr>
          </a:lstStyle>
          <a:p>
            <a:pPr lvl="0"/>
            <a:r>
              <a:rPr lang="en-US" dirty="0"/>
              <a:t>Category Shown in Title Case Lorem Ipsum</a:t>
            </a:r>
          </a:p>
        </p:txBody>
      </p:sp>
      <p:sp>
        <p:nvSpPr>
          <p:cNvPr id="24" name="Text Placeholder 3">
            <a:extLst>
              <a:ext uri="{FF2B5EF4-FFF2-40B4-BE49-F238E27FC236}">
                <a16:creationId xmlns:a16="http://schemas.microsoft.com/office/drawing/2014/main" id="{90CC770B-2405-90B7-2C8F-BD9A983397D3}"/>
              </a:ext>
            </a:extLst>
          </p:cNvPr>
          <p:cNvSpPr>
            <a:spLocks noGrp="1"/>
          </p:cNvSpPr>
          <p:nvPr>
            <p:ph type="body" sz="quarter" idx="24" hasCustomPrompt="1"/>
          </p:nvPr>
        </p:nvSpPr>
        <p:spPr>
          <a:xfrm>
            <a:off x="5042534" y="3818543"/>
            <a:ext cx="2835657" cy="769790"/>
          </a:xfrm>
        </p:spPr>
        <p:txBody>
          <a:bodyPr/>
          <a:lstStyle>
            <a:lvl1pPr marL="0" indent="0">
              <a:buNone/>
              <a:defRPr sz="1100" b="0" i="0">
                <a:solidFill>
                  <a:schemeClr val="tx1"/>
                </a:solidFill>
                <a:latin typeface="Arial" panose="020B0604020202020204" pitchFamily="34" charset="0"/>
                <a:cs typeface="Arial" panose="020B0604020202020204" pitchFamily="34" charset="0"/>
              </a:defRPr>
            </a:lvl1pPr>
          </a:lstStyle>
          <a:p>
            <a:pPr lvl="0"/>
            <a:r>
              <a:rPr lang="en-US" dirty="0"/>
              <a:t>Nunc </a:t>
            </a:r>
            <a:r>
              <a:rPr lang="en-US" dirty="0" err="1"/>
              <a:t>mattis</a:t>
            </a:r>
            <a:r>
              <a:rPr lang="en-US" dirty="0"/>
              <a:t> </a:t>
            </a:r>
            <a:r>
              <a:rPr lang="en-US" dirty="0" err="1"/>
              <a:t>eleifend</a:t>
            </a:r>
            <a:r>
              <a:rPr lang="en-US" dirty="0"/>
              <a:t> dolor, id fermentum </a:t>
            </a:r>
            <a:r>
              <a:rPr lang="en-US" dirty="0" err="1"/>
              <a:t>lectus</a:t>
            </a:r>
            <a:r>
              <a:rPr lang="en-US" dirty="0"/>
              <a:t> gravida vel </a:t>
            </a:r>
            <a:r>
              <a:rPr lang="en-US" dirty="0" err="1"/>
              <a:t>aenean</a:t>
            </a:r>
            <a:r>
              <a:rPr lang="en-US" dirty="0"/>
              <a:t> vel </a:t>
            </a:r>
            <a:r>
              <a:rPr lang="en-US" dirty="0" err="1"/>
              <a:t>scelerisque</a:t>
            </a:r>
            <a:r>
              <a:rPr lang="en-US" dirty="0"/>
              <a:t> </a:t>
            </a:r>
            <a:r>
              <a:rPr lang="en-US" dirty="0" err="1"/>
              <a:t>justo</a:t>
            </a:r>
            <a:r>
              <a:rPr lang="en-US" dirty="0"/>
              <a:t> </a:t>
            </a:r>
            <a:r>
              <a:rPr lang="en-US" dirty="0" err="1"/>
              <a:t>cras</a:t>
            </a:r>
            <a:r>
              <a:rPr lang="en-US" dirty="0"/>
              <a:t> id maximus </a:t>
            </a:r>
            <a:r>
              <a:rPr lang="en-US" dirty="0" err="1"/>
              <a:t>leo</a:t>
            </a:r>
            <a:r>
              <a:rPr lang="en-US" dirty="0"/>
              <a:t> </a:t>
            </a:r>
            <a:r>
              <a:rPr lang="en-US" dirty="0" err="1"/>
              <a:t>fusce</a:t>
            </a:r>
            <a:r>
              <a:rPr lang="en-US" dirty="0"/>
              <a:t> lacinia in ligula vel </a:t>
            </a:r>
            <a:r>
              <a:rPr lang="en-US" dirty="0" err="1"/>
              <a:t>imperdiet</a:t>
            </a:r>
            <a:r>
              <a:rPr lang="en-US" dirty="0"/>
              <a:t> </a:t>
            </a:r>
            <a:r>
              <a:rPr lang="en-US" dirty="0" err="1"/>
              <a:t>aliquam</a:t>
            </a:r>
            <a:r>
              <a:rPr lang="en-US" dirty="0"/>
              <a:t> </a:t>
            </a:r>
            <a:r>
              <a:rPr lang="en-US" dirty="0" err="1"/>
              <a:t>erat</a:t>
            </a:r>
            <a:r>
              <a:rPr lang="en-US" dirty="0"/>
              <a:t>.</a:t>
            </a:r>
          </a:p>
        </p:txBody>
      </p:sp>
      <p:sp>
        <p:nvSpPr>
          <p:cNvPr id="25" name="Text Placeholder 3">
            <a:extLst>
              <a:ext uri="{FF2B5EF4-FFF2-40B4-BE49-F238E27FC236}">
                <a16:creationId xmlns:a16="http://schemas.microsoft.com/office/drawing/2014/main" id="{A362FF87-ED2C-7BDB-5904-B684DEC0B070}"/>
              </a:ext>
            </a:extLst>
          </p:cNvPr>
          <p:cNvSpPr>
            <a:spLocks noGrp="1"/>
          </p:cNvSpPr>
          <p:nvPr>
            <p:ph type="body" sz="quarter" idx="25" hasCustomPrompt="1"/>
          </p:nvPr>
        </p:nvSpPr>
        <p:spPr>
          <a:xfrm>
            <a:off x="5042532" y="3196420"/>
            <a:ext cx="2556637" cy="459807"/>
          </a:xfrm>
        </p:spPr>
        <p:txBody>
          <a:bodyPr/>
          <a:lstStyle>
            <a:lvl1pPr marL="0" indent="0">
              <a:buNone/>
              <a:defRPr sz="1500" b="1" i="0">
                <a:solidFill>
                  <a:schemeClr val="tx1"/>
                </a:solidFill>
                <a:latin typeface="Arial" panose="020B0604020202020204" pitchFamily="34" charset="0"/>
                <a:cs typeface="Arial" panose="020B0604020202020204" pitchFamily="34" charset="0"/>
              </a:defRPr>
            </a:lvl1pPr>
          </a:lstStyle>
          <a:p>
            <a:pPr lvl="0"/>
            <a:r>
              <a:rPr lang="en-US" dirty="0"/>
              <a:t>Category Shown in Title Case Lorem Ipsum</a:t>
            </a:r>
          </a:p>
        </p:txBody>
      </p:sp>
      <p:sp>
        <p:nvSpPr>
          <p:cNvPr id="29" name="Text Placeholder 3">
            <a:extLst>
              <a:ext uri="{FF2B5EF4-FFF2-40B4-BE49-F238E27FC236}">
                <a16:creationId xmlns:a16="http://schemas.microsoft.com/office/drawing/2014/main" id="{9ECC56F8-4314-D036-BF6B-3619DA9AC10D}"/>
              </a:ext>
            </a:extLst>
          </p:cNvPr>
          <p:cNvSpPr>
            <a:spLocks noGrp="1"/>
          </p:cNvSpPr>
          <p:nvPr>
            <p:ph type="body" sz="quarter" idx="26" hasCustomPrompt="1"/>
          </p:nvPr>
        </p:nvSpPr>
        <p:spPr>
          <a:xfrm>
            <a:off x="1261366" y="3818543"/>
            <a:ext cx="2835657" cy="769790"/>
          </a:xfrm>
        </p:spPr>
        <p:txBody>
          <a:bodyPr/>
          <a:lstStyle>
            <a:lvl1pPr marL="0" indent="0">
              <a:buNone/>
              <a:defRPr sz="1100" b="0" i="0">
                <a:solidFill>
                  <a:schemeClr val="tx1"/>
                </a:solidFill>
                <a:latin typeface="Arial" panose="020B0604020202020204" pitchFamily="34" charset="0"/>
                <a:cs typeface="Arial" panose="020B0604020202020204" pitchFamily="34" charset="0"/>
              </a:defRPr>
            </a:lvl1pPr>
          </a:lstStyle>
          <a:p>
            <a:pPr lvl="0"/>
            <a:r>
              <a:rPr lang="en-US" dirty="0"/>
              <a:t>Nunc </a:t>
            </a:r>
            <a:r>
              <a:rPr lang="en-US" dirty="0" err="1"/>
              <a:t>mattis</a:t>
            </a:r>
            <a:r>
              <a:rPr lang="en-US" dirty="0"/>
              <a:t> </a:t>
            </a:r>
            <a:r>
              <a:rPr lang="en-US" dirty="0" err="1"/>
              <a:t>eleifend</a:t>
            </a:r>
            <a:r>
              <a:rPr lang="en-US" dirty="0"/>
              <a:t> dolor, id fermentum </a:t>
            </a:r>
            <a:r>
              <a:rPr lang="en-US" dirty="0" err="1"/>
              <a:t>lectus</a:t>
            </a:r>
            <a:r>
              <a:rPr lang="en-US" dirty="0"/>
              <a:t> gravida vel </a:t>
            </a:r>
            <a:r>
              <a:rPr lang="en-US" dirty="0" err="1"/>
              <a:t>aenean</a:t>
            </a:r>
            <a:r>
              <a:rPr lang="en-US" dirty="0"/>
              <a:t> vel </a:t>
            </a:r>
            <a:r>
              <a:rPr lang="en-US" dirty="0" err="1"/>
              <a:t>scelerisque</a:t>
            </a:r>
            <a:r>
              <a:rPr lang="en-US" dirty="0"/>
              <a:t> </a:t>
            </a:r>
            <a:r>
              <a:rPr lang="en-US" dirty="0" err="1"/>
              <a:t>justo</a:t>
            </a:r>
            <a:r>
              <a:rPr lang="en-US" dirty="0"/>
              <a:t> </a:t>
            </a:r>
            <a:r>
              <a:rPr lang="en-US" dirty="0" err="1"/>
              <a:t>cras</a:t>
            </a:r>
            <a:r>
              <a:rPr lang="en-US" dirty="0"/>
              <a:t> id maximus </a:t>
            </a:r>
            <a:r>
              <a:rPr lang="en-US" dirty="0" err="1"/>
              <a:t>leo</a:t>
            </a:r>
            <a:r>
              <a:rPr lang="en-US" dirty="0"/>
              <a:t> </a:t>
            </a:r>
            <a:r>
              <a:rPr lang="en-US" dirty="0" err="1"/>
              <a:t>fusce</a:t>
            </a:r>
            <a:r>
              <a:rPr lang="en-US" dirty="0"/>
              <a:t> lacinia in ligula vel </a:t>
            </a:r>
            <a:r>
              <a:rPr lang="en-US" dirty="0" err="1"/>
              <a:t>imperdiet</a:t>
            </a:r>
            <a:r>
              <a:rPr lang="en-US" dirty="0"/>
              <a:t> </a:t>
            </a:r>
            <a:r>
              <a:rPr lang="en-US" dirty="0" err="1"/>
              <a:t>aliquam</a:t>
            </a:r>
            <a:r>
              <a:rPr lang="en-US" dirty="0"/>
              <a:t> </a:t>
            </a:r>
            <a:r>
              <a:rPr lang="en-US" dirty="0" err="1"/>
              <a:t>erat</a:t>
            </a:r>
            <a:r>
              <a:rPr lang="en-US" dirty="0"/>
              <a:t>.</a:t>
            </a:r>
          </a:p>
        </p:txBody>
      </p:sp>
      <p:sp>
        <p:nvSpPr>
          <p:cNvPr id="30" name="Text Placeholder 3">
            <a:extLst>
              <a:ext uri="{FF2B5EF4-FFF2-40B4-BE49-F238E27FC236}">
                <a16:creationId xmlns:a16="http://schemas.microsoft.com/office/drawing/2014/main" id="{1CED0089-0EA4-251C-7580-2C40A7344E51}"/>
              </a:ext>
            </a:extLst>
          </p:cNvPr>
          <p:cNvSpPr>
            <a:spLocks noGrp="1"/>
          </p:cNvSpPr>
          <p:nvPr>
            <p:ph type="body" sz="quarter" idx="27" hasCustomPrompt="1"/>
          </p:nvPr>
        </p:nvSpPr>
        <p:spPr>
          <a:xfrm>
            <a:off x="1261364" y="3196420"/>
            <a:ext cx="2556637" cy="459807"/>
          </a:xfrm>
        </p:spPr>
        <p:txBody>
          <a:bodyPr/>
          <a:lstStyle>
            <a:lvl1pPr marL="0" indent="0">
              <a:buNone/>
              <a:defRPr sz="1500" b="1" i="0">
                <a:solidFill>
                  <a:schemeClr val="tx1"/>
                </a:solidFill>
                <a:latin typeface="Arial" panose="020B0604020202020204" pitchFamily="34" charset="0"/>
                <a:cs typeface="Arial" panose="020B0604020202020204" pitchFamily="34" charset="0"/>
              </a:defRPr>
            </a:lvl1pPr>
          </a:lstStyle>
          <a:p>
            <a:pPr lvl="0"/>
            <a:r>
              <a:rPr lang="en-US" dirty="0"/>
              <a:t>Category Shown in Title Case Lorem Ipsum</a:t>
            </a:r>
          </a:p>
        </p:txBody>
      </p:sp>
      <p:sp>
        <p:nvSpPr>
          <p:cNvPr id="31" name="Text Placeholder 3">
            <a:extLst>
              <a:ext uri="{FF2B5EF4-FFF2-40B4-BE49-F238E27FC236}">
                <a16:creationId xmlns:a16="http://schemas.microsoft.com/office/drawing/2014/main" id="{F02093EB-64CE-8951-26D5-94D00F955CCE}"/>
              </a:ext>
            </a:extLst>
          </p:cNvPr>
          <p:cNvSpPr>
            <a:spLocks noGrp="1"/>
          </p:cNvSpPr>
          <p:nvPr>
            <p:ph type="body" sz="quarter" idx="13" hasCustomPrompt="1"/>
          </p:nvPr>
        </p:nvSpPr>
        <p:spPr>
          <a:xfrm>
            <a:off x="469981" y="1248617"/>
            <a:ext cx="5149383" cy="722174"/>
          </a:xfrm>
        </p:spPr>
        <p:txBody>
          <a:bodyPr/>
          <a:lstStyle>
            <a:lvl1pPr marL="0" indent="0">
              <a:buNone/>
              <a:defRPr sz="1600" b="0" i="0">
                <a:solidFill>
                  <a:srgbClr val="6A768A"/>
                </a:solidFill>
                <a:latin typeface="Arial" panose="020B0604020202020204" pitchFamily="34" charset="0"/>
                <a:cs typeface="Arial" panose="020B0604020202020204"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sed diam </a:t>
            </a:r>
            <a:r>
              <a:rPr lang="en-US" dirty="0" err="1"/>
              <a:t>nonummy</a:t>
            </a:r>
            <a:r>
              <a:rPr lang="en-US" dirty="0"/>
              <a:t> </a:t>
            </a:r>
            <a:r>
              <a:rPr lang="en-US" dirty="0" err="1"/>
              <a:t>nibh</a:t>
            </a:r>
            <a:r>
              <a:rPr lang="en-US" dirty="0"/>
              <a:t> </a:t>
            </a:r>
            <a:r>
              <a:rPr lang="en-US" dirty="0" err="1"/>
              <a:t>euismod</a:t>
            </a:r>
            <a:r>
              <a:rPr lang="en-US" dirty="0"/>
              <a:t> </a:t>
            </a:r>
            <a:r>
              <a:rPr lang="en-US" dirty="0" err="1"/>
              <a:t>tincidunt</a:t>
            </a:r>
            <a:r>
              <a:rPr lang="en-US" dirty="0"/>
              <a:t> </a:t>
            </a:r>
            <a:r>
              <a:rPr lang="en-US" dirty="0" err="1"/>
              <a:t>ut</a:t>
            </a:r>
            <a:r>
              <a:rPr lang="en-US" dirty="0"/>
              <a:t> </a:t>
            </a:r>
            <a:r>
              <a:rPr lang="en-US" dirty="0" err="1"/>
              <a:t>laoreet</a:t>
            </a:r>
            <a:r>
              <a:rPr lang="en-US" dirty="0"/>
              <a:t> dolore magna </a:t>
            </a:r>
            <a:r>
              <a:rPr lang="en-US" dirty="0" err="1"/>
              <a:t>aliquam</a:t>
            </a:r>
            <a:r>
              <a:rPr lang="en-US" dirty="0"/>
              <a:t> </a:t>
            </a:r>
            <a:r>
              <a:rPr lang="en-US" dirty="0" err="1"/>
              <a:t>erat</a:t>
            </a:r>
            <a:r>
              <a:rPr lang="en-US" dirty="0"/>
              <a:t> </a:t>
            </a:r>
            <a:r>
              <a:rPr lang="en-US" dirty="0" err="1"/>
              <a:t>volutpat</a:t>
            </a:r>
            <a:r>
              <a:rPr lang="en-US" dirty="0"/>
              <a:t>.</a:t>
            </a:r>
          </a:p>
        </p:txBody>
      </p:sp>
    </p:spTree>
    <p:extLst>
      <p:ext uri="{BB962C8B-B14F-4D97-AF65-F5344CB8AC3E}">
        <p14:creationId xmlns:p14="http://schemas.microsoft.com/office/powerpoint/2010/main" val="344268147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Partial Beam">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C8CFB09-D6AA-29AE-8CB9-D14986A85D43}"/>
              </a:ext>
            </a:extLst>
          </p:cNvPr>
          <p:cNvSpPr/>
          <p:nvPr userDrawn="1"/>
        </p:nvSpPr>
        <p:spPr>
          <a:xfrm>
            <a:off x="12700" y="0"/>
            <a:ext cx="12192000" cy="685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accent1"/>
              </a:solidFill>
            </a:endParaRPr>
          </a:p>
        </p:txBody>
      </p:sp>
      <p:sp>
        <p:nvSpPr>
          <p:cNvPr id="12" name="Oval 11">
            <a:extLst>
              <a:ext uri="{FF2B5EF4-FFF2-40B4-BE49-F238E27FC236}">
                <a16:creationId xmlns:a16="http://schemas.microsoft.com/office/drawing/2014/main" id="{331960D1-2E18-74EA-5573-91DF9B8EF9C0}"/>
              </a:ext>
            </a:extLst>
          </p:cNvPr>
          <p:cNvSpPr/>
          <p:nvPr userDrawn="1"/>
        </p:nvSpPr>
        <p:spPr>
          <a:xfrm>
            <a:off x="4203700" y="0"/>
            <a:ext cx="6858000" cy="6858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3" name="Rectangle 12">
            <a:extLst>
              <a:ext uri="{FF2B5EF4-FFF2-40B4-BE49-F238E27FC236}">
                <a16:creationId xmlns:a16="http://schemas.microsoft.com/office/drawing/2014/main" id="{CF90DEEF-8729-FC24-EABC-3A18F2AC61DA}"/>
              </a:ext>
            </a:extLst>
          </p:cNvPr>
          <p:cNvSpPr/>
          <p:nvPr userDrawn="1"/>
        </p:nvSpPr>
        <p:spPr>
          <a:xfrm>
            <a:off x="0" y="0"/>
            <a:ext cx="76581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 name="Title 1">
            <a:extLst>
              <a:ext uri="{FF2B5EF4-FFF2-40B4-BE49-F238E27FC236}">
                <a16:creationId xmlns:a16="http://schemas.microsoft.com/office/drawing/2014/main" id="{3F25D89A-74FB-4791-21C6-F25EDAFFBE40}"/>
              </a:ext>
            </a:extLst>
          </p:cNvPr>
          <p:cNvSpPr>
            <a:spLocks noGrp="1"/>
          </p:cNvSpPr>
          <p:nvPr>
            <p:ph type="title"/>
          </p:nvPr>
        </p:nvSpPr>
        <p:spPr>
          <a:xfrm>
            <a:off x="421341" y="394634"/>
            <a:ext cx="8557560" cy="704257"/>
          </a:xfrm>
        </p:spPr>
        <p:txBody>
          <a:bodyPr/>
          <a:lstStyle>
            <a:lvl1pPr>
              <a:defRPr sz="3600">
                <a:solidFill>
                  <a:schemeClr val="tx1"/>
                </a:solidFill>
              </a:defRPr>
            </a:lvl1pPr>
          </a:lstStyle>
          <a:p>
            <a:r>
              <a:rPr lang="en-US"/>
              <a:t>Click to edit Master title style</a:t>
            </a:r>
            <a:endParaRPr lang="en-US" dirty="0"/>
          </a:p>
        </p:txBody>
      </p:sp>
      <p:sp>
        <p:nvSpPr>
          <p:cNvPr id="16" name="TextBox 15">
            <a:extLst>
              <a:ext uri="{FF2B5EF4-FFF2-40B4-BE49-F238E27FC236}">
                <a16:creationId xmlns:a16="http://schemas.microsoft.com/office/drawing/2014/main" id="{AF20FF94-7A80-B6ED-EFA1-57A381E68CCD}"/>
              </a:ext>
            </a:extLst>
          </p:cNvPr>
          <p:cNvSpPr txBox="1"/>
          <p:nvPr userDrawn="1"/>
        </p:nvSpPr>
        <p:spPr>
          <a:xfrm>
            <a:off x="2735465" y="6261766"/>
            <a:ext cx="2605404" cy="338554"/>
          </a:xfrm>
          <a:prstGeom prst="rect">
            <a:avLst/>
          </a:prstGeom>
          <a:noFill/>
        </p:spPr>
        <p:txBody>
          <a:bodyPr wrap="square" rtlCol="0">
            <a:spAutoFit/>
          </a:bodyPr>
          <a:lstStyle/>
          <a:p>
            <a:r>
              <a:rPr lang="en-US" sz="800" b="0" dirty="0">
                <a:solidFill>
                  <a:schemeClr val="tx1"/>
                </a:solidFill>
                <a:latin typeface="Arial" panose="020B0604020202020204" pitchFamily="34" charset="0"/>
                <a:cs typeface="Arial" panose="020B0604020202020204" pitchFamily="34" charset="0"/>
              </a:rPr>
              <a:t>CONFIDENTIAL – </a:t>
            </a:r>
            <a:r>
              <a:rPr lang="en-US" sz="800" dirty="0">
                <a:solidFill>
                  <a:schemeClr val="tx1"/>
                </a:solidFill>
                <a:latin typeface="Arial" panose="020B0604020202020204" pitchFamily="34" charset="0"/>
                <a:cs typeface="Arial" panose="020B0604020202020204" pitchFamily="34" charset="0"/>
              </a:rPr>
              <a:t>Contains proprietary information. Not intended for external distribution.</a:t>
            </a:r>
          </a:p>
        </p:txBody>
      </p:sp>
      <p:sp>
        <p:nvSpPr>
          <p:cNvPr id="3" name="TextBox 2">
            <a:extLst>
              <a:ext uri="{FF2B5EF4-FFF2-40B4-BE49-F238E27FC236}">
                <a16:creationId xmlns:a16="http://schemas.microsoft.com/office/drawing/2014/main" id="{8420838D-9BBD-E5D8-E2C8-1D5F3847E695}"/>
              </a:ext>
            </a:extLst>
          </p:cNvPr>
          <p:cNvSpPr txBox="1"/>
          <p:nvPr userDrawn="1"/>
        </p:nvSpPr>
        <p:spPr>
          <a:xfrm>
            <a:off x="11595295" y="6354099"/>
            <a:ext cx="341760" cy="246221"/>
          </a:xfrm>
          <a:prstGeom prst="rect">
            <a:avLst/>
          </a:prstGeom>
          <a:noFill/>
        </p:spPr>
        <p:txBody>
          <a:bodyPr wrap="none" rtlCol="0">
            <a:spAutoFit/>
          </a:bodyPr>
          <a:lstStyle/>
          <a:p>
            <a:fld id="{6A63AF19-6634-4843-A9EE-3D2E6FC63B6A}" type="slidenum">
              <a:rPr lang="en-US" sz="1000" smtClean="0">
                <a:solidFill>
                  <a:schemeClr val="bg1"/>
                </a:solidFill>
              </a:rPr>
              <a:pPr/>
              <a:t>‹#›</a:t>
            </a:fld>
            <a:endParaRPr lang="en-US" sz="1000" dirty="0">
              <a:solidFill>
                <a:schemeClr val="bg1"/>
              </a:solidFill>
            </a:endParaRPr>
          </a:p>
        </p:txBody>
      </p:sp>
      <p:pic>
        <p:nvPicPr>
          <p:cNvPr id="5" name="Graphic 4">
            <a:extLst>
              <a:ext uri="{FF2B5EF4-FFF2-40B4-BE49-F238E27FC236}">
                <a16:creationId xmlns:a16="http://schemas.microsoft.com/office/drawing/2014/main" id="{5425B6A3-F570-2A2B-67B2-49899CBE2FB8}"/>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64000" y="6296749"/>
            <a:ext cx="1964025" cy="268585"/>
          </a:xfrm>
          <a:prstGeom prst="rect">
            <a:avLst/>
          </a:prstGeom>
        </p:spPr>
      </p:pic>
    </p:spTree>
    <p:extLst>
      <p:ext uri="{BB962C8B-B14F-4D97-AF65-F5344CB8AC3E}">
        <p14:creationId xmlns:p14="http://schemas.microsoft.com/office/powerpoint/2010/main" val="1536589186"/>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2" name="Title Placeholder 15">
            <a:extLst>
              <a:ext uri="{FF2B5EF4-FFF2-40B4-BE49-F238E27FC236}">
                <a16:creationId xmlns:a16="http://schemas.microsoft.com/office/drawing/2014/main" id="{BCF25F47-E9B6-1B4D-5C54-3447F075A1C5}"/>
              </a:ext>
            </a:extLst>
          </p:cNvPr>
          <p:cNvSpPr>
            <a:spLocks noGrp="1"/>
          </p:cNvSpPr>
          <p:nvPr>
            <p:ph type="title" hasCustomPrompt="1"/>
          </p:nvPr>
        </p:nvSpPr>
        <p:spPr>
          <a:xfrm>
            <a:off x="421340" y="394634"/>
            <a:ext cx="11344835" cy="704257"/>
          </a:xfrm>
          <a:prstGeom prst="rect">
            <a:avLst/>
          </a:prstGeom>
        </p:spPr>
        <p:txBody>
          <a:bodyPr vert="horz" lIns="91440" tIns="45720" rIns="91440" bIns="45720" rtlCol="0" anchor="t" anchorCtr="0">
            <a:noAutofit/>
          </a:bodyPr>
          <a:lstStyle>
            <a:lvl1pPr>
              <a:defRPr sz="3600"/>
            </a:lvl1pPr>
          </a:lstStyle>
          <a:p>
            <a:r>
              <a:rPr lang="en-US" dirty="0"/>
              <a:t>Title Placement</a:t>
            </a:r>
          </a:p>
        </p:txBody>
      </p:sp>
      <p:sp>
        <p:nvSpPr>
          <p:cNvPr id="6" name="Text Placeholder 17">
            <a:extLst>
              <a:ext uri="{FF2B5EF4-FFF2-40B4-BE49-F238E27FC236}">
                <a16:creationId xmlns:a16="http://schemas.microsoft.com/office/drawing/2014/main" id="{FF08CE58-E46C-6220-7A90-24B7B2882F3F}"/>
              </a:ext>
            </a:extLst>
          </p:cNvPr>
          <p:cNvSpPr>
            <a:spLocks noGrp="1"/>
          </p:cNvSpPr>
          <p:nvPr>
            <p:ph idx="10"/>
          </p:nvPr>
        </p:nvSpPr>
        <p:spPr>
          <a:xfrm>
            <a:off x="5053808" y="1317624"/>
            <a:ext cx="6721882" cy="4720103"/>
          </a:xfrm>
          <a:prstGeom prst="rect">
            <a:avLst/>
          </a:prstGeom>
        </p:spPr>
        <p:txBody>
          <a:bodyPr vert="horz" lIns="91440" tIns="45720" rIns="91440" bIns="45720" rtlCol="0">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2">
            <a:extLst>
              <a:ext uri="{FF2B5EF4-FFF2-40B4-BE49-F238E27FC236}">
                <a16:creationId xmlns:a16="http://schemas.microsoft.com/office/drawing/2014/main" id="{3863F1EC-CDB6-C9D3-2E44-8CCE09604DF1}"/>
              </a:ext>
            </a:extLst>
          </p:cNvPr>
          <p:cNvSpPr>
            <a:spLocks noGrp="1"/>
          </p:cNvSpPr>
          <p:nvPr>
            <p:ph sz="quarter" idx="12"/>
          </p:nvPr>
        </p:nvSpPr>
        <p:spPr>
          <a:xfrm>
            <a:off x="416310" y="1317160"/>
            <a:ext cx="3709603" cy="47201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2953993"/>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2" name="Title Placeholder 15">
            <a:extLst>
              <a:ext uri="{FF2B5EF4-FFF2-40B4-BE49-F238E27FC236}">
                <a16:creationId xmlns:a16="http://schemas.microsoft.com/office/drawing/2014/main" id="{BCF25F47-E9B6-1B4D-5C54-3447F075A1C5}"/>
              </a:ext>
            </a:extLst>
          </p:cNvPr>
          <p:cNvSpPr>
            <a:spLocks noGrp="1"/>
          </p:cNvSpPr>
          <p:nvPr>
            <p:ph type="title" hasCustomPrompt="1"/>
          </p:nvPr>
        </p:nvSpPr>
        <p:spPr>
          <a:xfrm>
            <a:off x="421340" y="394634"/>
            <a:ext cx="11344835" cy="704257"/>
          </a:xfrm>
          <a:prstGeom prst="rect">
            <a:avLst/>
          </a:prstGeom>
        </p:spPr>
        <p:txBody>
          <a:bodyPr vert="horz" lIns="91440" tIns="45720" rIns="91440" bIns="45720" rtlCol="0" anchor="t" anchorCtr="0">
            <a:noAutofit/>
          </a:bodyPr>
          <a:lstStyle/>
          <a:p>
            <a:r>
              <a:rPr lang="en-US" dirty="0"/>
              <a:t>Title Placement</a:t>
            </a:r>
          </a:p>
        </p:txBody>
      </p:sp>
      <p:sp>
        <p:nvSpPr>
          <p:cNvPr id="5" name="Text Placeholder 17">
            <a:extLst>
              <a:ext uri="{FF2B5EF4-FFF2-40B4-BE49-F238E27FC236}">
                <a16:creationId xmlns:a16="http://schemas.microsoft.com/office/drawing/2014/main" id="{48F2343F-77EF-3916-E13C-5544B4783E66}"/>
              </a:ext>
            </a:extLst>
          </p:cNvPr>
          <p:cNvSpPr>
            <a:spLocks noGrp="1"/>
          </p:cNvSpPr>
          <p:nvPr>
            <p:ph idx="1"/>
          </p:nvPr>
        </p:nvSpPr>
        <p:spPr>
          <a:xfrm>
            <a:off x="430212" y="1317624"/>
            <a:ext cx="3628831" cy="4720103"/>
          </a:xfrm>
          <a:prstGeom prst="rect">
            <a:avLst/>
          </a:prstGeom>
        </p:spPr>
        <p:txBody>
          <a:bodyPr vert="horz" lIns="91440" tIns="45720" rIns="91440" bIns="45720" rtlCol="0">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17">
            <a:extLst>
              <a:ext uri="{FF2B5EF4-FFF2-40B4-BE49-F238E27FC236}">
                <a16:creationId xmlns:a16="http://schemas.microsoft.com/office/drawing/2014/main" id="{FF08CE58-E46C-6220-7A90-24B7B2882F3F}"/>
              </a:ext>
            </a:extLst>
          </p:cNvPr>
          <p:cNvSpPr>
            <a:spLocks noGrp="1"/>
          </p:cNvSpPr>
          <p:nvPr>
            <p:ph idx="10"/>
          </p:nvPr>
        </p:nvSpPr>
        <p:spPr>
          <a:xfrm>
            <a:off x="8146858" y="1317624"/>
            <a:ext cx="3628831" cy="4720103"/>
          </a:xfrm>
          <a:prstGeom prst="rect">
            <a:avLst/>
          </a:prstGeom>
        </p:spPr>
        <p:txBody>
          <a:bodyPr vert="horz" lIns="91440" tIns="45720" rIns="91440" bIns="45720" rtlCol="0">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17">
            <a:extLst>
              <a:ext uri="{FF2B5EF4-FFF2-40B4-BE49-F238E27FC236}">
                <a16:creationId xmlns:a16="http://schemas.microsoft.com/office/drawing/2014/main" id="{C9C5FAAB-F57A-7162-0586-566460B3E318}"/>
              </a:ext>
            </a:extLst>
          </p:cNvPr>
          <p:cNvSpPr>
            <a:spLocks noGrp="1"/>
          </p:cNvSpPr>
          <p:nvPr>
            <p:ph idx="11"/>
          </p:nvPr>
        </p:nvSpPr>
        <p:spPr>
          <a:xfrm>
            <a:off x="4288535" y="1317624"/>
            <a:ext cx="3628831" cy="4720103"/>
          </a:xfrm>
          <a:prstGeom prst="rect">
            <a:avLst/>
          </a:prstGeom>
        </p:spPr>
        <p:txBody>
          <a:bodyPr vert="horz" lIns="91440" tIns="45720" rIns="91440" bIns="45720" rtlCol="0">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351453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Headsho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CA3867-6EAC-C7DE-F5C9-19D7B3589481}"/>
              </a:ext>
            </a:extLst>
          </p:cNvPr>
          <p:cNvSpPr>
            <a:spLocks noGrp="1"/>
          </p:cNvSpPr>
          <p:nvPr>
            <p:ph type="title"/>
          </p:nvPr>
        </p:nvSpPr>
        <p:spPr/>
        <p:txBody>
          <a:bodyPr/>
          <a:lstStyle/>
          <a:p>
            <a:r>
              <a:rPr lang="en-US"/>
              <a:t>Click to edit Master title style</a:t>
            </a:r>
            <a:endParaRPr lang="en-US" dirty="0"/>
          </a:p>
        </p:txBody>
      </p:sp>
      <p:sp>
        <p:nvSpPr>
          <p:cNvPr id="7" name="Picture Placeholder 6">
            <a:extLst>
              <a:ext uri="{FF2B5EF4-FFF2-40B4-BE49-F238E27FC236}">
                <a16:creationId xmlns:a16="http://schemas.microsoft.com/office/drawing/2014/main" id="{59267120-08F9-1447-12AA-469174A950FC}"/>
              </a:ext>
            </a:extLst>
          </p:cNvPr>
          <p:cNvSpPr>
            <a:spLocks noGrp="1"/>
          </p:cNvSpPr>
          <p:nvPr>
            <p:ph type="pic" sz="quarter" idx="10"/>
          </p:nvPr>
        </p:nvSpPr>
        <p:spPr>
          <a:xfrm>
            <a:off x="421340" y="1338805"/>
            <a:ext cx="1406396" cy="1404395"/>
          </a:xfrm>
          <a:prstGeom prst="ellipse">
            <a:avLst/>
          </a:prstGeom>
        </p:spPr>
        <p:txBody>
          <a:bodyPr/>
          <a:lstStyle>
            <a:lvl1pPr algn="ctr">
              <a:defRPr sz="1200"/>
            </a:lvl1pPr>
          </a:lstStyle>
          <a:p>
            <a:r>
              <a:rPr lang="en-US" dirty="0"/>
              <a:t>Click icon to add picture</a:t>
            </a:r>
          </a:p>
        </p:txBody>
      </p:sp>
      <p:sp>
        <p:nvSpPr>
          <p:cNvPr id="9" name="Text Placeholder 8">
            <a:extLst>
              <a:ext uri="{FF2B5EF4-FFF2-40B4-BE49-F238E27FC236}">
                <a16:creationId xmlns:a16="http://schemas.microsoft.com/office/drawing/2014/main" id="{79B3A7FD-003F-4246-E347-5B415FF8F37C}"/>
              </a:ext>
            </a:extLst>
          </p:cNvPr>
          <p:cNvSpPr>
            <a:spLocks noGrp="1"/>
          </p:cNvSpPr>
          <p:nvPr>
            <p:ph type="body" sz="quarter" idx="11" hasCustomPrompt="1"/>
          </p:nvPr>
        </p:nvSpPr>
        <p:spPr>
          <a:xfrm>
            <a:off x="1961214" y="1549942"/>
            <a:ext cx="2207709" cy="245404"/>
          </a:xfrm>
        </p:spPr>
        <p:txBody>
          <a:bodyPr/>
          <a:lstStyle>
            <a:lvl1pPr>
              <a:defRPr sz="1100"/>
            </a:lvl1pPr>
          </a:lstStyle>
          <a:p>
            <a:pPr lvl="0"/>
            <a:r>
              <a:rPr lang="en-US" dirty="0"/>
              <a:t>Click to edit name</a:t>
            </a:r>
          </a:p>
        </p:txBody>
      </p:sp>
      <p:sp>
        <p:nvSpPr>
          <p:cNvPr id="11" name="Text Placeholder 8">
            <a:extLst>
              <a:ext uri="{FF2B5EF4-FFF2-40B4-BE49-F238E27FC236}">
                <a16:creationId xmlns:a16="http://schemas.microsoft.com/office/drawing/2014/main" id="{53716E18-E44C-DE33-5ADB-8C8E3F2139C0}"/>
              </a:ext>
            </a:extLst>
          </p:cNvPr>
          <p:cNvSpPr>
            <a:spLocks noGrp="1"/>
          </p:cNvSpPr>
          <p:nvPr>
            <p:ph type="body" sz="quarter" idx="12" hasCustomPrompt="1"/>
          </p:nvPr>
        </p:nvSpPr>
        <p:spPr>
          <a:xfrm>
            <a:off x="1961214" y="1762786"/>
            <a:ext cx="2207709" cy="458250"/>
          </a:xfrm>
        </p:spPr>
        <p:txBody>
          <a:bodyPr/>
          <a:lstStyle>
            <a:lvl1pPr>
              <a:spcBef>
                <a:spcPts val="400"/>
              </a:spcBef>
              <a:defRPr sz="1100" b="0"/>
            </a:lvl1pPr>
          </a:lstStyle>
          <a:p>
            <a:pPr lvl="0"/>
            <a:r>
              <a:rPr lang="en-US" dirty="0"/>
              <a:t>Click to edit title</a:t>
            </a:r>
          </a:p>
        </p:txBody>
      </p:sp>
      <p:sp>
        <p:nvSpPr>
          <p:cNvPr id="12" name="Picture Placeholder 6">
            <a:extLst>
              <a:ext uri="{FF2B5EF4-FFF2-40B4-BE49-F238E27FC236}">
                <a16:creationId xmlns:a16="http://schemas.microsoft.com/office/drawing/2014/main" id="{88B48C2C-4B58-3A9C-8BDF-83D98B21FD02}"/>
              </a:ext>
            </a:extLst>
          </p:cNvPr>
          <p:cNvSpPr>
            <a:spLocks noGrp="1"/>
          </p:cNvSpPr>
          <p:nvPr>
            <p:ph type="pic" sz="quarter" idx="13"/>
          </p:nvPr>
        </p:nvSpPr>
        <p:spPr>
          <a:xfrm>
            <a:off x="421340" y="2978034"/>
            <a:ext cx="1406396" cy="1404395"/>
          </a:xfrm>
          <a:prstGeom prst="ellipse">
            <a:avLst/>
          </a:prstGeom>
        </p:spPr>
        <p:txBody>
          <a:bodyPr/>
          <a:lstStyle>
            <a:lvl1pPr algn="ctr">
              <a:defRPr sz="1200"/>
            </a:lvl1pPr>
          </a:lstStyle>
          <a:p>
            <a:r>
              <a:rPr lang="en-US" dirty="0"/>
              <a:t>Click icon to add picture</a:t>
            </a:r>
          </a:p>
        </p:txBody>
      </p:sp>
      <p:sp>
        <p:nvSpPr>
          <p:cNvPr id="13" name="Text Placeholder 8">
            <a:extLst>
              <a:ext uri="{FF2B5EF4-FFF2-40B4-BE49-F238E27FC236}">
                <a16:creationId xmlns:a16="http://schemas.microsoft.com/office/drawing/2014/main" id="{16EFEC34-D23E-F123-E7AC-CC2AB1143B0A}"/>
              </a:ext>
            </a:extLst>
          </p:cNvPr>
          <p:cNvSpPr>
            <a:spLocks noGrp="1"/>
          </p:cNvSpPr>
          <p:nvPr>
            <p:ph type="body" sz="quarter" idx="14" hasCustomPrompt="1"/>
          </p:nvPr>
        </p:nvSpPr>
        <p:spPr>
          <a:xfrm>
            <a:off x="1961214" y="3189171"/>
            <a:ext cx="2207709" cy="245404"/>
          </a:xfrm>
        </p:spPr>
        <p:txBody>
          <a:bodyPr/>
          <a:lstStyle>
            <a:lvl1pPr>
              <a:defRPr sz="1100"/>
            </a:lvl1pPr>
          </a:lstStyle>
          <a:p>
            <a:pPr lvl="0"/>
            <a:r>
              <a:rPr lang="en-US" dirty="0"/>
              <a:t>Click to edit name</a:t>
            </a:r>
          </a:p>
        </p:txBody>
      </p:sp>
      <p:sp>
        <p:nvSpPr>
          <p:cNvPr id="14" name="Text Placeholder 8">
            <a:extLst>
              <a:ext uri="{FF2B5EF4-FFF2-40B4-BE49-F238E27FC236}">
                <a16:creationId xmlns:a16="http://schemas.microsoft.com/office/drawing/2014/main" id="{462E09A6-5105-AFC7-BA78-6B69A1715031}"/>
              </a:ext>
            </a:extLst>
          </p:cNvPr>
          <p:cNvSpPr>
            <a:spLocks noGrp="1"/>
          </p:cNvSpPr>
          <p:nvPr>
            <p:ph type="body" sz="quarter" idx="15" hasCustomPrompt="1"/>
          </p:nvPr>
        </p:nvSpPr>
        <p:spPr>
          <a:xfrm>
            <a:off x="1961214" y="3402016"/>
            <a:ext cx="2207709" cy="464306"/>
          </a:xfrm>
        </p:spPr>
        <p:txBody>
          <a:bodyPr/>
          <a:lstStyle>
            <a:lvl1pPr>
              <a:spcBef>
                <a:spcPts val="400"/>
              </a:spcBef>
              <a:defRPr sz="1100" b="0"/>
            </a:lvl1pPr>
          </a:lstStyle>
          <a:p>
            <a:pPr lvl="0"/>
            <a:r>
              <a:rPr lang="en-US" dirty="0"/>
              <a:t>Click to edit title</a:t>
            </a:r>
          </a:p>
        </p:txBody>
      </p:sp>
      <p:sp>
        <p:nvSpPr>
          <p:cNvPr id="15" name="Picture Placeholder 6">
            <a:extLst>
              <a:ext uri="{FF2B5EF4-FFF2-40B4-BE49-F238E27FC236}">
                <a16:creationId xmlns:a16="http://schemas.microsoft.com/office/drawing/2014/main" id="{79C369F3-EAE5-990B-4965-797F1D9DC495}"/>
              </a:ext>
            </a:extLst>
          </p:cNvPr>
          <p:cNvSpPr>
            <a:spLocks noGrp="1"/>
          </p:cNvSpPr>
          <p:nvPr>
            <p:ph type="pic" sz="quarter" idx="16"/>
          </p:nvPr>
        </p:nvSpPr>
        <p:spPr>
          <a:xfrm>
            <a:off x="421340" y="4617263"/>
            <a:ext cx="1406396" cy="1404395"/>
          </a:xfrm>
          <a:prstGeom prst="ellipse">
            <a:avLst/>
          </a:prstGeom>
        </p:spPr>
        <p:txBody>
          <a:bodyPr/>
          <a:lstStyle>
            <a:lvl1pPr algn="ctr">
              <a:defRPr sz="1200"/>
            </a:lvl1pPr>
          </a:lstStyle>
          <a:p>
            <a:r>
              <a:rPr lang="en-US" dirty="0"/>
              <a:t>Click icon to add picture</a:t>
            </a:r>
          </a:p>
        </p:txBody>
      </p:sp>
      <p:sp>
        <p:nvSpPr>
          <p:cNvPr id="16" name="Text Placeholder 8">
            <a:extLst>
              <a:ext uri="{FF2B5EF4-FFF2-40B4-BE49-F238E27FC236}">
                <a16:creationId xmlns:a16="http://schemas.microsoft.com/office/drawing/2014/main" id="{7249B0B3-9CD5-6F03-BF78-E13E5A32A59C}"/>
              </a:ext>
            </a:extLst>
          </p:cNvPr>
          <p:cNvSpPr>
            <a:spLocks noGrp="1"/>
          </p:cNvSpPr>
          <p:nvPr>
            <p:ph type="body" sz="quarter" idx="17" hasCustomPrompt="1"/>
          </p:nvPr>
        </p:nvSpPr>
        <p:spPr>
          <a:xfrm>
            <a:off x="1961214" y="4828400"/>
            <a:ext cx="2207709" cy="245404"/>
          </a:xfrm>
        </p:spPr>
        <p:txBody>
          <a:bodyPr/>
          <a:lstStyle>
            <a:lvl1pPr>
              <a:defRPr sz="1100"/>
            </a:lvl1pPr>
          </a:lstStyle>
          <a:p>
            <a:pPr lvl="0"/>
            <a:r>
              <a:rPr lang="en-US" dirty="0"/>
              <a:t>Click to edit name</a:t>
            </a:r>
          </a:p>
        </p:txBody>
      </p:sp>
      <p:sp>
        <p:nvSpPr>
          <p:cNvPr id="17" name="Text Placeholder 8">
            <a:extLst>
              <a:ext uri="{FF2B5EF4-FFF2-40B4-BE49-F238E27FC236}">
                <a16:creationId xmlns:a16="http://schemas.microsoft.com/office/drawing/2014/main" id="{9CE40643-8754-0D21-EF1B-2FC12F08C52B}"/>
              </a:ext>
            </a:extLst>
          </p:cNvPr>
          <p:cNvSpPr>
            <a:spLocks noGrp="1"/>
          </p:cNvSpPr>
          <p:nvPr>
            <p:ph type="body" sz="quarter" idx="18" hasCustomPrompt="1"/>
          </p:nvPr>
        </p:nvSpPr>
        <p:spPr>
          <a:xfrm>
            <a:off x="1961214" y="5041245"/>
            <a:ext cx="2207709" cy="435216"/>
          </a:xfrm>
        </p:spPr>
        <p:txBody>
          <a:bodyPr/>
          <a:lstStyle>
            <a:lvl1pPr>
              <a:spcBef>
                <a:spcPts val="400"/>
              </a:spcBef>
              <a:defRPr sz="1100" b="0"/>
            </a:lvl1pPr>
          </a:lstStyle>
          <a:p>
            <a:pPr lvl="0"/>
            <a:r>
              <a:rPr lang="en-US" dirty="0"/>
              <a:t>Click to edit title</a:t>
            </a:r>
          </a:p>
        </p:txBody>
      </p:sp>
      <p:sp>
        <p:nvSpPr>
          <p:cNvPr id="18" name="Picture Placeholder 6">
            <a:extLst>
              <a:ext uri="{FF2B5EF4-FFF2-40B4-BE49-F238E27FC236}">
                <a16:creationId xmlns:a16="http://schemas.microsoft.com/office/drawing/2014/main" id="{44F181A5-5953-AE72-2C83-DFBC7ABB09DF}"/>
              </a:ext>
            </a:extLst>
          </p:cNvPr>
          <p:cNvSpPr>
            <a:spLocks noGrp="1"/>
          </p:cNvSpPr>
          <p:nvPr>
            <p:ph type="pic" sz="quarter" idx="19"/>
          </p:nvPr>
        </p:nvSpPr>
        <p:spPr>
          <a:xfrm>
            <a:off x="4324267" y="1338805"/>
            <a:ext cx="1406396" cy="1404395"/>
          </a:xfrm>
          <a:prstGeom prst="ellipse">
            <a:avLst/>
          </a:prstGeom>
        </p:spPr>
        <p:txBody>
          <a:bodyPr/>
          <a:lstStyle>
            <a:lvl1pPr algn="ctr">
              <a:defRPr sz="1200"/>
            </a:lvl1pPr>
          </a:lstStyle>
          <a:p>
            <a:r>
              <a:rPr lang="en-US" dirty="0"/>
              <a:t>Click icon to add picture</a:t>
            </a:r>
          </a:p>
        </p:txBody>
      </p:sp>
      <p:sp>
        <p:nvSpPr>
          <p:cNvPr id="19" name="Text Placeholder 8">
            <a:extLst>
              <a:ext uri="{FF2B5EF4-FFF2-40B4-BE49-F238E27FC236}">
                <a16:creationId xmlns:a16="http://schemas.microsoft.com/office/drawing/2014/main" id="{52E3B887-7617-2F6C-BFE3-A76C40AC6FB0}"/>
              </a:ext>
            </a:extLst>
          </p:cNvPr>
          <p:cNvSpPr>
            <a:spLocks noGrp="1"/>
          </p:cNvSpPr>
          <p:nvPr>
            <p:ph type="body" sz="quarter" idx="20" hasCustomPrompt="1"/>
          </p:nvPr>
        </p:nvSpPr>
        <p:spPr>
          <a:xfrm>
            <a:off x="5864141" y="1549942"/>
            <a:ext cx="2207709" cy="245404"/>
          </a:xfrm>
        </p:spPr>
        <p:txBody>
          <a:bodyPr/>
          <a:lstStyle>
            <a:lvl1pPr>
              <a:defRPr sz="1100"/>
            </a:lvl1pPr>
          </a:lstStyle>
          <a:p>
            <a:pPr lvl="0"/>
            <a:r>
              <a:rPr lang="en-US" dirty="0"/>
              <a:t>Click to edit name</a:t>
            </a:r>
          </a:p>
        </p:txBody>
      </p:sp>
      <p:sp>
        <p:nvSpPr>
          <p:cNvPr id="20" name="Text Placeholder 8">
            <a:extLst>
              <a:ext uri="{FF2B5EF4-FFF2-40B4-BE49-F238E27FC236}">
                <a16:creationId xmlns:a16="http://schemas.microsoft.com/office/drawing/2014/main" id="{1B756308-E22A-1A97-0F1F-643C34C4839C}"/>
              </a:ext>
            </a:extLst>
          </p:cNvPr>
          <p:cNvSpPr>
            <a:spLocks noGrp="1"/>
          </p:cNvSpPr>
          <p:nvPr>
            <p:ph type="body" sz="quarter" idx="21" hasCustomPrompt="1"/>
          </p:nvPr>
        </p:nvSpPr>
        <p:spPr>
          <a:xfrm>
            <a:off x="5864141" y="1762786"/>
            <a:ext cx="2207709" cy="458249"/>
          </a:xfrm>
        </p:spPr>
        <p:txBody>
          <a:bodyPr/>
          <a:lstStyle>
            <a:lvl1pPr>
              <a:spcBef>
                <a:spcPts val="400"/>
              </a:spcBef>
              <a:defRPr sz="1100" b="0"/>
            </a:lvl1pPr>
          </a:lstStyle>
          <a:p>
            <a:pPr lvl="0"/>
            <a:r>
              <a:rPr lang="en-US" dirty="0"/>
              <a:t>Click to edit title</a:t>
            </a:r>
          </a:p>
        </p:txBody>
      </p:sp>
      <p:sp>
        <p:nvSpPr>
          <p:cNvPr id="21" name="Picture Placeholder 6">
            <a:extLst>
              <a:ext uri="{FF2B5EF4-FFF2-40B4-BE49-F238E27FC236}">
                <a16:creationId xmlns:a16="http://schemas.microsoft.com/office/drawing/2014/main" id="{6B4F7C54-BD7A-CDBF-3855-341C74E25E3E}"/>
              </a:ext>
            </a:extLst>
          </p:cNvPr>
          <p:cNvSpPr>
            <a:spLocks noGrp="1"/>
          </p:cNvSpPr>
          <p:nvPr>
            <p:ph type="pic" sz="quarter" idx="22"/>
          </p:nvPr>
        </p:nvSpPr>
        <p:spPr>
          <a:xfrm>
            <a:off x="4324267" y="2978034"/>
            <a:ext cx="1406396" cy="1404395"/>
          </a:xfrm>
          <a:prstGeom prst="ellipse">
            <a:avLst/>
          </a:prstGeom>
        </p:spPr>
        <p:txBody>
          <a:bodyPr/>
          <a:lstStyle>
            <a:lvl1pPr algn="ctr">
              <a:defRPr sz="1200"/>
            </a:lvl1pPr>
          </a:lstStyle>
          <a:p>
            <a:r>
              <a:rPr lang="en-US" dirty="0"/>
              <a:t>Click icon to add picture</a:t>
            </a:r>
          </a:p>
        </p:txBody>
      </p:sp>
      <p:sp>
        <p:nvSpPr>
          <p:cNvPr id="22" name="Text Placeholder 8">
            <a:extLst>
              <a:ext uri="{FF2B5EF4-FFF2-40B4-BE49-F238E27FC236}">
                <a16:creationId xmlns:a16="http://schemas.microsoft.com/office/drawing/2014/main" id="{5E1937F0-4FC1-CB01-A1FF-5FECA8175B15}"/>
              </a:ext>
            </a:extLst>
          </p:cNvPr>
          <p:cNvSpPr>
            <a:spLocks noGrp="1"/>
          </p:cNvSpPr>
          <p:nvPr>
            <p:ph type="body" sz="quarter" idx="23" hasCustomPrompt="1"/>
          </p:nvPr>
        </p:nvSpPr>
        <p:spPr>
          <a:xfrm>
            <a:off x="5864141" y="3189171"/>
            <a:ext cx="2207709" cy="245404"/>
          </a:xfrm>
        </p:spPr>
        <p:txBody>
          <a:bodyPr/>
          <a:lstStyle>
            <a:lvl1pPr>
              <a:defRPr sz="1100"/>
            </a:lvl1pPr>
          </a:lstStyle>
          <a:p>
            <a:pPr lvl="0"/>
            <a:r>
              <a:rPr lang="en-US" dirty="0"/>
              <a:t>Click to edit name</a:t>
            </a:r>
          </a:p>
        </p:txBody>
      </p:sp>
      <p:sp>
        <p:nvSpPr>
          <p:cNvPr id="23" name="Text Placeholder 8">
            <a:extLst>
              <a:ext uri="{FF2B5EF4-FFF2-40B4-BE49-F238E27FC236}">
                <a16:creationId xmlns:a16="http://schemas.microsoft.com/office/drawing/2014/main" id="{8C2B28EF-AC99-7067-6E9B-3E27990451EE}"/>
              </a:ext>
            </a:extLst>
          </p:cNvPr>
          <p:cNvSpPr>
            <a:spLocks noGrp="1"/>
          </p:cNvSpPr>
          <p:nvPr>
            <p:ph type="body" sz="quarter" idx="24" hasCustomPrompt="1"/>
          </p:nvPr>
        </p:nvSpPr>
        <p:spPr>
          <a:xfrm>
            <a:off x="5864141" y="3402016"/>
            <a:ext cx="2207709" cy="464306"/>
          </a:xfrm>
        </p:spPr>
        <p:txBody>
          <a:bodyPr/>
          <a:lstStyle>
            <a:lvl1pPr>
              <a:spcBef>
                <a:spcPts val="400"/>
              </a:spcBef>
              <a:defRPr sz="1100" b="0"/>
            </a:lvl1pPr>
          </a:lstStyle>
          <a:p>
            <a:pPr lvl="0"/>
            <a:r>
              <a:rPr lang="en-US" dirty="0"/>
              <a:t>Click to edit title</a:t>
            </a:r>
          </a:p>
        </p:txBody>
      </p:sp>
      <p:sp>
        <p:nvSpPr>
          <p:cNvPr id="24" name="Picture Placeholder 6">
            <a:extLst>
              <a:ext uri="{FF2B5EF4-FFF2-40B4-BE49-F238E27FC236}">
                <a16:creationId xmlns:a16="http://schemas.microsoft.com/office/drawing/2014/main" id="{32DC28D0-3E91-CC60-74F4-C87E5562319E}"/>
              </a:ext>
            </a:extLst>
          </p:cNvPr>
          <p:cNvSpPr>
            <a:spLocks noGrp="1"/>
          </p:cNvSpPr>
          <p:nvPr>
            <p:ph type="pic" sz="quarter" idx="25"/>
          </p:nvPr>
        </p:nvSpPr>
        <p:spPr>
          <a:xfrm>
            <a:off x="4324267" y="4617263"/>
            <a:ext cx="1406396" cy="1404395"/>
          </a:xfrm>
          <a:prstGeom prst="ellipse">
            <a:avLst/>
          </a:prstGeom>
        </p:spPr>
        <p:txBody>
          <a:bodyPr/>
          <a:lstStyle>
            <a:lvl1pPr algn="ctr">
              <a:defRPr sz="1200"/>
            </a:lvl1pPr>
          </a:lstStyle>
          <a:p>
            <a:r>
              <a:rPr lang="en-US" dirty="0"/>
              <a:t>Click icon to add picture</a:t>
            </a:r>
          </a:p>
        </p:txBody>
      </p:sp>
      <p:sp>
        <p:nvSpPr>
          <p:cNvPr id="25" name="Text Placeholder 8">
            <a:extLst>
              <a:ext uri="{FF2B5EF4-FFF2-40B4-BE49-F238E27FC236}">
                <a16:creationId xmlns:a16="http://schemas.microsoft.com/office/drawing/2014/main" id="{58089323-679E-8233-60FC-1EF617A0AEDB}"/>
              </a:ext>
            </a:extLst>
          </p:cNvPr>
          <p:cNvSpPr>
            <a:spLocks noGrp="1"/>
          </p:cNvSpPr>
          <p:nvPr>
            <p:ph type="body" sz="quarter" idx="26" hasCustomPrompt="1"/>
          </p:nvPr>
        </p:nvSpPr>
        <p:spPr>
          <a:xfrm>
            <a:off x="5864141" y="4828400"/>
            <a:ext cx="2207709" cy="245404"/>
          </a:xfrm>
        </p:spPr>
        <p:txBody>
          <a:bodyPr/>
          <a:lstStyle>
            <a:lvl1pPr>
              <a:defRPr sz="1100"/>
            </a:lvl1pPr>
          </a:lstStyle>
          <a:p>
            <a:pPr lvl="0"/>
            <a:r>
              <a:rPr lang="en-US" dirty="0"/>
              <a:t>Click to edit name</a:t>
            </a:r>
          </a:p>
        </p:txBody>
      </p:sp>
      <p:sp>
        <p:nvSpPr>
          <p:cNvPr id="26" name="Text Placeholder 8">
            <a:extLst>
              <a:ext uri="{FF2B5EF4-FFF2-40B4-BE49-F238E27FC236}">
                <a16:creationId xmlns:a16="http://schemas.microsoft.com/office/drawing/2014/main" id="{CB6890FE-DDA5-6636-16F7-2CA6C002A4CA}"/>
              </a:ext>
            </a:extLst>
          </p:cNvPr>
          <p:cNvSpPr>
            <a:spLocks noGrp="1"/>
          </p:cNvSpPr>
          <p:nvPr>
            <p:ph type="body" sz="quarter" idx="27" hasCustomPrompt="1"/>
          </p:nvPr>
        </p:nvSpPr>
        <p:spPr>
          <a:xfrm>
            <a:off x="5864141" y="5041245"/>
            <a:ext cx="2207709" cy="435216"/>
          </a:xfrm>
        </p:spPr>
        <p:txBody>
          <a:bodyPr/>
          <a:lstStyle>
            <a:lvl1pPr>
              <a:spcBef>
                <a:spcPts val="400"/>
              </a:spcBef>
              <a:defRPr sz="1100" b="0"/>
            </a:lvl1pPr>
          </a:lstStyle>
          <a:p>
            <a:pPr lvl="0"/>
            <a:r>
              <a:rPr lang="en-US" dirty="0"/>
              <a:t>Click to edit title</a:t>
            </a:r>
          </a:p>
        </p:txBody>
      </p:sp>
      <p:sp>
        <p:nvSpPr>
          <p:cNvPr id="27" name="Picture Placeholder 6">
            <a:extLst>
              <a:ext uri="{FF2B5EF4-FFF2-40B4-BE49-F238E27FC236}">
                <a16:creationId xmlns:a16="http://schemas.microsoft.com/office/drawing/2014/main" id="{3ED139A8-8AA3-07AF-B47E-60497C1AADC5}"/>
              </a:ext>
            </a:extLst>
          </p:cNvPr>
          <p:cNvSpPr>
            <a:spLocks noGrp="1"/>
          </p:cNvSpPr>
          <p:nvPr>
            <p:ph type="pic" sz="quarter" idx="28"/>
          </p:nvPr>
        </p:nvSpPr>
        <p:spPr>
          <a:xfrm>
            <a:off x="8227193" y="1338805"/>
            <a:ext cx="1406396" cy="1404395"/>
          </a:xfrm>
          <a:prstGeom prst="ellipse">
            <a:avLst/>
          </a:prstGeom>
        </p:spPr>
        <p:txBody>
          <a:bodyPr/>
          <a:lstStyle>
            <a:lvl1pPr algn="ctr">
              <a:defRPr sz="1200"/>
            </a:lvl1pPr>
          </a:lstStyle>
          <a:p>
            <a:r>
              <a:rPr lang="en-US" dirty="0"/>
              <a:t>Click icon to add picture</a:t>
            </a:r>
          </a:p>
        </p:txBody>
      </p:sp>
      <p:sp>
        <p:nvSpPr>
          <p:cNvPr id="28" name="Text Placeholder 8">
            <a:extLst>
              <a:ext uri="{FF2B5EF4-FFF2-40B4-BE49-F238E27FC236}">
                <a16:creationId xmlns:a16="http://schemas.microsoft.com/office/drawing/2014/main" id="{9C3AEEB0-69DC-FC8D-058E-5254912C22ED}"/>
              </a:ext>
            </a:extLst>
          </p:cNvPr>
          <p:cNvSpPr>
            <a:spLocks noGrp="1"/>
          </p:cNvSpPr>
          <p:nvPr>
            <p:ph type="body" sz="quarter" idx="29" hasCustomPrompt="1"/>
          </p:nvPr>
        </p:nvSpPr>
        <p:spPr>
          <a:xfrm>
            <a:off x="9767067" y="1549942"/>
            <a:ext cx="2207709" cy="245404"/>
          </a:xfrm>
        </p:spPr>
        <p:txBody>
          <a:bodyPr/>
          <a:lstStyle>
            <a:lvl1pPr>
              <a:defRPr sz="1100"/>
            </a:lvl1pPr>
          </a:lstStyle>
          <a:p>
            <a:pPr lvl="0"/>
            <a:r>
              <a:rPr lang="en-US" dirty="0"/>
              <a:t>Click to edit name</a:t>
            </a:r>
          </a:p>
        </p:txBody>
      </p:sp>
      <p:sp>
        <p:nvSpPr>
          <p:cNvPr id="29" name="Text Placeholder 8">
            <a:extLst>
              <a:ext uri="{FF2B5EF4-FFF2-40B4-BE49-F238E27FC236}">
                <a16:creationId xmlns:a16="http://schemas.microsoft.com/office/drawing/2014/main" id="{8088B529-5F38-C750-0E82-530B16E8DEE0}"/>
              </a:ext>
            </a:extLst>
          </p:cNvPr>
          <p:cNvSpPr>
            <a:spLocks noGrp="1"/>
          </p:cNvSpPr>
          <p:nvPr>
            <p:ph type="body" sz="quarter" idx="30" hasCustomPrompt="1"/>
          </p:nvPr>
        </p:nvSpPr>
        <p:spPr>
          <a:xfrm>
            <a:off x="9767067" y="1762787"/>
            <a:ext cx="2207709" cy="458248"/>
          </a:xfrm>
        </p:spPr>
        <p:txBody>
          <a:bodyPr/>
          <a:lstStyle>
            <a:lvl1pPr>
              <a:spcBef>
                <a:spcPts val="400"/>
              </a:spcBef>
              <a:defRPr sz="1100" b="0"/>
            </a:lvl1pPr>
          </a:lstStyle>
          <a:p>
            <a:pPr lvl="0"/>
            <a:r>
              <a:rPr lang="en-US" dirty="0"/>
              <a:t>Click to edit title</a:t>
            </a:r>
          </a:p>
        </p:txBody>
      </p:sp>
      <p:sp>
        <p:nvSpPr>
          <p:cNvPr id="30" name="Picture Placeholder 6">
            <a:extLst>
              <a:ext uri="{FF2B5EF4-FFF2-40B4-BE49-F238E27FC236}">
                <a16:creationId xmlns:a16="http://schemas.microsoft.com/office/drawing/2014/main" id="{3BF96D62-B862-3214-8A5A-2BDCC29AAB0D}"/>
              </a:ext>
            </a:extLst>
          </p:cNvPr>
          <p:cNvSpPr>
            <a:spLocks noGrp="1"/>
          </p:cNvSpPr>
          <p:nvPr>
            <p:ph type="pic" sz="quarter" idx="31"/>
          </p:nvPr>
        </p:nvSpPr>
        <p:spPr>
          <a:xfrm>
            <a:off x="8227193" y="2978034"/>
            <a:ext cx="1406396" cy="1404395"/>
          </a:xfrm>
          <a:prstGeom prst="ellipse">
            <a:avLst/>
          </a:prstGeom>
        </p:spPr>
        <p:txBody>
          <a:bodyPr/>
          <a:lstStyle>
            <a:lvl1pPr algn="ctr">
              <a:defRPr sz="1200"/>
            </a:lvl1pPr>
          </a:lstStyle>
          <a:p>
            <a:r>
              <a:rPr lang="en-US" dirty="0"/>
              <a:t>Click icon to add picture</a:t>
            </a:r>
          </a:p>
        </p:txBody>
      </p:sp>
      <p:sp>
        <p:nvSpPr>
          <p:cNvPr id="31" name="Text Placeholder 8">
            <a:extLst>
              <a:ext uri="{FF2B5EF4-FFF2-40B4-BE49-F238E27FC236}">
                <a16:creationId xmlns:a16="http://schemas.microsoft.com/office/drawing/2014/main" id="{8911EBB8-2046-7C53-A666-F417B57916A2}"/>
              </a:ext>
            </a:extLst>
          </p:cNvPr>
          <p:cNvSpPr>
            <a:spLocks noGrp="1"/>
          </p:cNvSpPr>
          <p:nvPr>
            <p:ph type="body" sz="quarter" idx="32" hasCustomPrompt="1"/>
          </p:nvPr>
        </p:nvSpPr>
        <p:spPr>
          <a:xfrm>
            <a:off x="9767067" y="3189171"/>
            <a:ext cx="2207709" cy="245404"/>
          </a:xfrm>
        </p:spPr>
        <p:txBody>
          <a:bodyPr/>
          <a:lstStyle>
            <a:lvl1pPr>
              <a:defRPr sz="1100"/>
            </a:lvl1pPr>
          </a:lstStyle>
          <a:p>
            <a:pPr lvl="0"/>
            <a:r>
              <a:rPr lang="en-US" dirty="0"/>
              <a:t>Click to edit name</a:t>
            </a:r>
          </a:p>
        </p:txBody>
      </p:sp>
      <p:sp>
        <p:nvSpPr>
          <p:cNvPr id="32" name="Text Placeholder 8">
            <a:extLst>
              <a:ext uri="{FF2B5EF4-FFF2-40B4-BE49-F238E27FC236}">
                <a16:creationId xmlns:a16="http://schemas.microsoft.com/office/drawing/2014/main" id="{E6E1F549-8C25-F1FF-D061-4D816C296277}"/>
              </a:ext>
            </a:extLst>
          </p:cNvPr>
          <p:cNvSpPr>
            <a:spLocks noGrp="1"/>
          </p:cNvSpPr>
          <p:nvPr>
            <p:ph type="body" sz="quarter" idx="33" hasCustomPrompt="1"/>
          </p:nvPr>
        </p:nvSpPr>
        <p:spPr>
          <a:xfrm>
            <a:off x="9767067" y="3402016"/>
            <a:ext cx="2207709" cy="464306"/>
          </a:xfrm>
        </p:spPr>
        <p:txBody>
          <a:bodyPr/>
          <a:lstStyle>
            <a:lvl1pPr>
              <a:spcBef>
                <a:spcPts val="400"/>
              </a:spcBef>
              <a:defRPr sz="1100" b="0"/>
            </a:lvl1pPr>
          </a:lstStyle>
          <a:p>
            <a:pPr lvl="0"/>
            <a:r>
              <a:rPr lang="en-US" dirty="0"/>
              <a:t>Click to edit title</a:t>
            </a:r>
          </a:p>
        </p:txBody>
      </p:sp>
      <p:sp>
        <p:nvSpPr>
          <p:cNvPr id="33" name="Picture Placeholder 6">
            <a:extLst>
              <a:ext uri="{FF2B5EF4-FFF2-40B4-BE49-F238E27FC236}">
                <a16:creationId xmlns:a16="http://schemas.microsoft.com/office/drawing/2014/main" id="{7344E644-3067-4C45-E73B-00CA7195B061}"/>
              </a:ext>
            </a:extLst>
          </p:cNvPr>
          <p:cNvSpPr>
            <a:spLocks noGrp="1"/>
          </p:cNvSpPr>
          <p:nvPr>
            <p:ph type="pic" sz="quarter" idx="34"/>
          </p:nvPr>
        </p:nvSpPr>
        <p:spPr>
          <a:xfrm>
            <a:off x="8227193" y="4617263"/>
            <a:ext cx="1406396" cy="1404395"/>
          </a:xfrm>
          <a:prstGeom prst="ellipse">
            <a:avLst/>
          </a:prstGeom>
        </p:spPr>
        <p:txBody>
          <a:bodyPr/>
          <a:lstStyle>
            <a:lvl1pPr algn="ctr">
              <a:defRPr sz="1200"/>
            </a:lvl1pPr>
          </a:lstStyle>
          <a:p>
            <a:r>
              <a:rPr lang="en-US" dirty="0"/>
              <a:t>Click icon to add picture</a:t>
            </a:r>
          </a:p>
        </p:txBody>
      </p:sp>
      <p:sp>
        <p:nvSpPr>
          <p:cNvPr id="34" name="Text Placeholder 8">
            <a:extLst>
              <a:ext uri="{FF2B5EF4-FFF2-40B4-BE49-F238E27FC236}">
                <a16:creationId xmlns:a16="http://schemas.microsoft.com/office/drawing/2014/main" id="{23E1229B-C01B-390E-FC46-118DC209FDFA}"/>
              </a:ext>
            </a:extLst>
          </p:cNvPr>
          <p:cNvSpPr>
            <a:spLocks noGrp="1"/>
          </p:cNvSpPr>
          <p:nvPr>
            <p:ph type="body" sz="quarter" idx="35" hasCustomPrompt="1"/>
          </p:nvPr>
        </p:nvSpPr>
        <p:spPr>
          <a:xfrm>
            <a:off x="9767067" y="4828400"/>
            <a:ext cx="2207709" cy="245404"/>
          </a:xfrm>
        </p:spPr>
        <p:txBody>
          <a:bodyPr/>
          <a:lstStyle>
            <a:lvl1pPr>
              <a:defRPr sz="1100"/>
            </a:lvl1pPr>
          </a:lstStyle>
          <a:p>
            <a:pPr lvl="0"/>
            <a:r>
              <a:rPr lang="en-US" dirty="0"/>
              <a:t>Click to edit name</a:t>
            </a:r>
          </a:p>
        </p:txBody>
      </p:sp>
      <p:sp>
        <p:nvSpPr>
          <p:cNvPr id="35" name="Text Placeholder 8">
            <a:extLst>
              <a:ext uri="{FF2B5EF4-FFF2-40B4-BE49-F238E27FC236}">
                <a16:creationId xmlns:a16="http://schemas.microsoft.com/office/drawing/2014/main" id="{438E94CD-D3A1-595E-A425-9AB95CB40C48}"/>
              </a:ext>
            </a:extLst>
          </p:cNvPr>
          <p:cNvSpPr>
            <a:spLocks noGrp="1"/>
          </p:cNvSpPr>
          <p:nvPr>
            <p:ph type="body" sz="quarter" idx="36" hasCustomPrompt="1"/>
          </p:nvPr>
        </p:nvSpPr>
        <p:spPr>
          <a:xfrm>
            <a:off x="9767067" y="5041245"/>
            <a:ext cx="2207709" cy="435216"/>
          </a:xfrm>
        </p:spPr>
        <p:txBody>
          <a:bodyPr/>
          <a:lstStyle>
            <a:lvl1pPr>
              <a:spcBef>
                <a:spcPts val="400"/>
              </a:spcBef>
              <a:defRPr sz="1100" b="0"/>
            </a:lvl1pPr>
          </a:lstStyle>
          <a:p>
            <a:pPr lvl="0"/>
            <a:r>
              <a:rPr lang="en-US" dirty="0"/>
              <a:t>Click to edit title</a:t>
            </a:r>
          </a:p>
        </p:txBody>
      </p:sp>
    </p:spTree>
    <p:extLst>
      <p:ext uri="{BB962C8B-B14F-4D97-AF65-F5344CB8AC3E}">
        <p14:creationId xmlns:p14="http://schemas.microsoft.com/office/powerpoint/2010/main" val="60324086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789904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bg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AF204A0-C988-D053-B0A5-4808A9033B81}"/>
              </a:ext>
            </a:extLst>
          </p:cNvPr>
          <p:cNvPicPr>
            <a:picLocks noChangeAspect="1"/>
          </p:cNvPicPr>
          <p:nvPr userDrawn="1"/>
        </p:nvPicPr>
        <p:blipFill>
          <a:blip r:embed="rId2"/>
          <a:srcRect/>
          <a:stretch/>
        </p:blipFill>
        <p:spPr>
          <a:xfrm>
            <a:off x="0" y="0"/>
            <a:ext cx="12192000" cy="6858000"/>
          </a:xfrm>
          <a:prstGeom prst="rect">
            <a:avLst/>
          </a:prstGeom>
        </p:spPr>
      </p:pic>
      <p:sp>
        <p:nvSpPr>
          <p:cNvPr id="4" name="Text Placeholder 3">
            <a:extLst>
              <a:ext uri="{FF2B5EF4-FFF2-40B4-BE49-F238E27FC236}">
                <a16:creationId xmlns:a16="http://schemas.microsoft.com/office/drawing/2014/main" id="{2A4B621E-B1D0-014C-46CA-5624B983A51A}"/>
              </a:ext>
            </a:extLst>
          </p:cNvPr>
          <p:cNvSpPr>
            <a:spLocks noGrp="1"/>
          </p:cNvSpPr>
          <p:nvPr>
            <p:ph type="body" sz="quarter" idx="10" hasCustomPrompt="1"/>
          </p:nvPr>
        </p:nvSpPr>
        <p:spPr>
          <a:xfrm>
            <a:off x="421340" y="3051116"/>
            <a:ext cx="6250923" cy="755767"/>
          </a:xfrm>
        </p:spPr>
        <p:txBody>
          <a:bodyPr/>
          <a:lstStyle>
            <a:lvl1pPr marL="0" indent="0">
              <a:buNone/>
              <a:defRPr sz="5400">
                <a:solidFill>
                  <a:schemeClr val="tx1"/>
                </a:solidFill>
              </a:defRPr>
            </a:lvl1pPr>
          </a:lstStyle>
          <a:p>
            <a:pPr lvl="0"/>
            <a:r>
              <a:rPr lang="en-US" dirty="0"/>
              <a:t>Thank you.</a:t>
            </a:r>
          </a:p>
        </p:txBody>
      </p:sp>
      <p:sp>
        <p:nvSpPr>
          <p:cNvPr id="3" name="TextBox 2">
            <a:extLst>
              <a:ext uri="{FF2B5EF4-FFF2-40B4-BE49-F238E27FC236}">
                <a16:creationId xmlns:a16="http://schemas.microsoft.com/office/drawing/2014/main" id="{447EDE03-7388-33B0-F116-C10EB5E84DA0}"/>
              </a:ext>
            </a:extLst>
          </p:cNvPr>
          <p:cNvSpPr txBox="1"/>
          <p:nvPr userDrawn="1"/>
        </p:nvSpPr>
        <p:spPr>
          <a:xfrm>
            <a:off x="2735465" y="6261766"/>
            <a:ext cx="2605404" cy="338554"/>
          </a:xfrm>
          <a:prstGeom prst="rect">
            <a:avLst/>
          </a:prstGeom>
          <a:noFill/>
        </p:spPr>
        <p:txBody>
          <a:bodyPr wrap="square" rtlCol="0">
            <a:spAutoFit/>
          </a:bodyPr>
          <a:lstStyle/>
          <a:p>
            <a:r>
              <a:rPr lang="en-US" sz="800" b="0" dirty="0">
                <a:solidFill>
                  <a:schemeClr val="tx1"/>
                </a:solidFill>
                <a:latin typeface="Arial" panose="020B0604020202020204" pitchFamily="34" charset="0"/>
                <a:cs typeface="Arial" panose="020B0604020202020204" pitchFamily="34" charset="0"/>
              </a:rPr>
              <a:t>CONFIDENTIAL – </a:t>
            </a:r>
            <a:r>
              <a:rPr lang="en-US" sz="800" dirty="0">
                <a:solidFill>
                  <a:schemeClr val="tx1"/>
                </a:solidFill>
                <a:latin typeface="Arial" panose="020B0604020202020204" pitchFamily="34" charset="0"/>
                <a:cs typeface="Arial" panose="020B0604020202020204" pitchFamily="34" charset="0"/>
              </a:rPr>
              <a:t>Contains proprietary information. Not intended for external distribution.</a:t>
            </a:r>
          </a:p>
        </p:txBody>
      </p:sp>
      <p:pic>
        <p:nvPicPr>
          <p:cNvPr id="5" name="Graphic 4">
            <a:extLst>
              <a:ext uri="{FF2B5EF4-FFF2-40B4-BE49-F238E27FC236}">
                <a16:creationId xmlns:a16="http://schemas.microsoft.com/office/drawing/2014/main" id="{B1F22600-ABB7-F379-6A3D-472F4B496FAF}"/>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464000" y="6296749"/>
            <a:ext cx="1964025" cy="268585"/>
          </a:xfrm>
          <a:prstGeom prst="rect">
            <a:avLst/>
          </a:prstGeom>
        </p:spPr>
      </p:pic>
    </p:spTree>
    <p:extLst>
      <p:ext uri="{BB962C8B-B14F-4D97-AF65-F5344CB8AC3E}">
        <p14:creationId xmlns:p14="http://schemas.microsoft.com/office/powerpoint/2010/main" val="180539629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35EE0C0-A7A5-474B-9C34-97FC315466E1}" type="datetimeFigureOut">
              <a:rPr lang="en-US" smtClean="0"/>
              <a:t>4/24/26</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2C21E83-DB80-534B-91D0-C8A051E91C57}" type="slidenum">
              <a:rPr lang="en-US" smtClean="0"/>
              <a:t>‹#›</a:t>
            </a:fld>
            <a:endParaRPr lang="en-US" dirty="0"/>
          </a:p>
        </p:txBody>
      </p:sp>
    </p:spTree>
    <p:extLst>
      <p:ext uri="{BB962C8B-B14F-4D97-AF65-F5344CB8AC3E}">
        <p14:creationId xmlns:p14="http://schemas.microsoft.com/office/powerpoint/2010/main" val="426750442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699911" y="110072"/>
            <a:ext cx="10792178" cy="1138367"/>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a:xfrm>
            <a:off x="699911" y="1346200"/>
            <a:ext cx="10792178" cy="4622800"/>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AA05E7F9-8454-DD4F-BDAC-3D5705533B91}"/>
              </a:ext>
            </a:extLst>
          </p:cNvPr>
          <p:cNvSpPr>
            <a:spLocks noGrp="1"/>
          </p:cNvSpPr>
          <p:nvPr>
            <p:ph type="sldNum" sz="quarter" idx="4"/>
          </p:nvPr>
        </p:nvSpPr>
        <p:spPr>
          <a:xfrm>
            <a:off x="11425286" y="6463722"/>
            <a:ext cx="699911" cy="284206"/>
          </a:xfrm>
          <a:prstGeom prst="rect">
            <a:avLst/>
          </a:prstGeom>
        </p:spPr>
        <p:txBody>
          <a:bodyPr lIns="182880" anchor="ctr"/>
          <a:lstStyle>
            <a:lvl1pPr algn="l">
              <a:defRPr sz="1200">
                <a:solidFill>
                  <a:schemeClr val="accent2"/>
                </a:solidFill>
              </a:defRPr>
            </a:lvl1pPr>
          </a:lstStyle>
          <a:p>
            <a:fld id="{2DB2551F-0F36-184F-87EE-E0604C929E46}" type="slidenum">
              <a:rPr lang="en-US" smtClean="0"/>
              <a:pPr/>
              <a:t>‹#›</a:t>
            </a:fld>
            <a:endParaRPr lang="en-US" dirty="0"/>
          </a:p>
        </p:txBody>
      </p:sp>
      <p:sp>
        <p:nvSpPr>
          <p:cNvPr id="5" name="Text Placeholder 4">
            <a:extLst>
              <a:ext uri="{FF2B5EF4-FFF2-40B4-BE49-F238E27FC236}">
                <a16:creationId xmlns:a16="http://schemas.microsoft.com/office/drawing/2014/main" id="{33CBFE31-F981-4B47-ABF8-4E35F06D07FB}"/>
              </a:ext>
            </a:extLst>
          </p:cNvPr>
          <p:cNvSpPr>
            <a:spLocks noGrp="1"/>
          </p:cNvSpPr>
          <p:nvPr>
            <p:ph type="body" sz="quarter" idx="10"/>
          </p:nvPr>
        </p:nvSpPr>
        <p:spPr>
          <a:xfrm>
            <a:off x="699911" y="6149088"/>
            <a:ext cx="6310489" cy="598839"/>
          </a:xfrm>
        </p:spPr>
        <p:txBody>
          <a:bodyPr anchor="b">
            <a:noAutofit/>
          </a:bodyPr>
          <a:lstStyle>
            <a:lvl1pPr marL="0" indent="0">
              <a:spcAft>
                <a:spcPts val="0"/>
              </a:spcAft>
              <a:buNone/>
              <a:defRPr sz="10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42342698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 Plain Cropp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73749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2DE7A4-96FB-AF45-B018-0505EDE9017F}"/>
              </a:ext>
            </a:extLst>
          </p:cNvPr>
          <p:cNvSpPr>
            <a:spLocks noGrp="1"/>
          </p:cNvSpPr>
          <p:nvPr>
            <p:ph type="title"/>
          </p:nvPr>
        </p:nvSpPr>
        <p:spPr/>
        <p:txBody>
          <a:bodyPr/>
          <a:lstStyle>
            <a:lvl1pPr algn="ctr">
              <a:defRPr/>
            </a:lvl1pPr>
          </a:lstStyle>
          <a:p>
            <a:r>
              <a:rPr lang="en-US"/>
              <a:t>Click to edit Master title style</a:t>
            </a:r>
          </a:p>
        </p:txBody>
      </p:sp>
      <p:sp>
        <p:nvSpPr>
          <p:cNvPr id="3" name="Content Placeholder 2">
            <a:extLst>
              <a:ext uri="{FF2B5EF4-FFF2-40B4-BE49-F238E27FC236}">
                <a16:creationId xmlns:a16="http://schemas.microsoft.com/office/drawing/2014/main" id="{94B16FE7-66E2-7142-A11C-4BE071B331C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8AB92575-9757-3C4F-9FA0-9F76C8955746}"/>
              </a:ext>
            </a:extLst>
          </p:cNvPr>
          <p:cNvSpPr>
            <a:spLocks noGrp="1"/>
          </p:cNvSpPr>
          <p:nvPr>
            <p:ph type="sldNum" sz="quarter" idx="12"/>
          </p:nvPr>
        </p:nvSpPr>
        <p:spPr>
          <a:xfrm>
            <a:off x="4724400" y="6492875"/>
            <a:ext cx="2743200" cy="365125"/>
          </a:xfrm>
          <a:prstGeom prst="rect">
            <a:avLst/>
          </a:prstGeom>
        </p:spPr>
        <p:txBody>
          <a:bodyPr anchor="ctr"/>
          <a:lstStyle>
            <a:lvl1pPr algn="ctr">
              <a:defRPr/>
            </a:lvl1pPr>
          </a:lstStyle>
          <a:p>
            <a:fld id="{815F6B07-3205-5640-96C9-387DC4AB2463}" type="slidenum">
              <a:rPr lang="en-US" smtClean="0"/>
              <a:pPr/>
              <a:t>‹#›</a:t>
            </a:fld>
            <a:endParaRPr lang="en-US" dirty="0"/>
          </a:p>
        </p:txBody>
      </p:sp>
    </p:spTree>
    <p:extLst>
      <p:ext uri="{BB962C8B-B14F-4D97-AF65-F5344CB8AC3E}">
        <p14:creationId xmlns:p14="http://schemas.microsoft.com/office/powerpoint/2010/main" val="249595240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FA34FA-2DC9-BE5A-B48D-CC95C109BCA0}"/>
              </a:ext>
            </a:extLst>
          </p:cNvPr>
          <p:cNvSpPr>
            <a:spLocks noGrp="1"/>
          </p:cNvSpPr>
          <p:nvPr>
            <p:ph type="title"/>
          </p:nvPr>
        </p:nvSpPr>
        <p:spPr>
          <a:xfrm>
            <a:off x="462280" y="154143"/>
            <a:ext cx="10190112" cy="506257"/>
          </a:xfrm>
        </p:spPr>
        <p:txBody>
          <a:bodyPr/>
          <a:lstStyle/>
          <a:p>
            <a:r>
              <a:rPr lang="en-US"/>
              <a:t>Click to edit Master title style</a:t>
            </a:r>
          </a:p>
        </p:txBody>
      </p:sp>
      <p:sp>
        <p:nvSpPr>
          <p:cNvPr id="10" name="Text Placeholder 5">
            <a:extLst>
              <a:ext uri="{FF2B5EF4-FFF2-40B4-BE49-F238E27FC236}">
                <a16:creationId xmlns:a16="http://schemas.microsoft.com/office/drawing/2014/main" id="{FCB6DF43-AFDD-B2F3-E4A7-C5F25B857DAF}"/>
              </a:ext>
            </a:extLst>
          </p:cNvPr>
          <p:cNvSpPr>
            <a:spLocks noGrp="1"/>
          </p:cNvSpPr>
          <p:nvPr>
            <p:ph type="body" sz="quarter" idx="10" hasCustomPrompt="1"/>
          </p:nvPr>
        </p:nvSpPr>
        <p:spPr>
          <a:xfrm>
            <a:off x="1203960" y="5903278"/>
            <a:ext cx="2438082" cy="202882"/>
          </a:xfrm>
        </p:spPr>
        <p:txBody>
          <a:bodyPr wrap="none">
            <a:noAutofit/>
          </a:bodyPr>
          <a:lstStyle>
            <a:lvl1pPr>
              <a:buNone/>
              <a:defRPr sz="1200"/>
            </a:lvl1pPr>
            <a:lvl2pPr>
              <a:defRPr sz="1200"/>
            </a:lvl2pPr>
            <a:lvl3pPr>
              <a:defRPr sz="1200"/>
            </a:lvl3pPr>
            <a:lvl4pPr>
              <a:defRPr sz="1200"/>
            </a:lvl4pPr>
            <a:lvl5pPr>
              <a:defRPr sz="1200"/>
            </a:lvl5pPr>
          </a:lstStyle>
          <a:p>
            <a:pPr lvl="0"/>
            <a:r>
              <a:rPr lang="en-US" dirty="0"/>
              <a:t>Click to insert Author, Date</a:t>
            </a:r>
          </a:p>
        </p:txBody>
      </p:sp>
      <p:sp>
        <p:nvSpPr>
          <p:cNvPr id="11" name="Text Placeholder 5">
            <a:extLst>
              <a:ext uri="{FF2B5EF4-FFF2-40B4-BE49-F238E27FC236}">
                <a16:creationId xmlns:a16="http://schemas.microsoft.com/office/drawing/2014/main" id="{EB751C37-188F-1A0C-1E94-04F9B27527CF}"/>
              </a:ext>
            </a:extLst>
          </p:cNvPr>
          <p:cNvSpPr>
            <a:spLocks noGrp="1"/>
          </p:cNvSpPr>
          <p:nvPr>
            <p:ph type="body" sz="quarter" idx="11" hasCustomPrompt="1"/>
          </p:nvPr>
        </p:nvSpPr>
        <p:spPr>
          <a:xfrm>
            <a:off x="1305560" y="6561935"/>
            <a:ext cx="4353560" cy="202882"/>
          </a:xfrm>
        </p:spPr>
        <p:txBody>
          <a:bodyPr wrap="none">
            <a:noAutofit/>
          </a:bodyPr>
          <a:lstStyle>
            <a:lvl1pPr>
              <a:buNone/>
              <a:defRPr sz="1200"/>
            </a:lvl1pPr>
            <a:lvl2pPr>
              <a:defRPr sz="1200"/>
            </a:lvl2pPr>
            <a:lvl3pPr>
              <a:defRPr sz="1200"/>
            </a:lvl3pPr>
            <a:lvl4pPr>
              <a:defRPr sz="1200"/>
            </a:lvl4pPr>
            <a:lvl5pPr>
              <a:defRPr sz="1200"/>
            </a:lvl5pPr>
          </a:lstStyle>
          <a:p>
            <a:pPr lvl="0"/>
            <a:r>
              <a:rPr lang="en-US" dirty="0"/>
              <a:t>Click to insert Name, Institution, X handle</a:t>
            </a:r>
          </a:p>
        </p:txBody>
      </p:sp>
    </p:spTree>
    <p:extLst>
      <p:ext uri="{BB962C8B-B14F-4D97-AF65-F5344CB8AC3E}">
        <p14:creationId xmlns:p14="http://schemas.microsoft.com/office/powerpoint/2010/main" val="1778300796"/>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83116" y="2377734"/>
            <a:ext cx="11425767" cy="1620837"/>
          </a:xfrm>
        </p:spPr>
        <p:txBody>
          <a:bodyPr/>
          <a:lstStyle/>
          <a:p>
            <a:r>
              <a:rPr lang="en-US"/>
              <a:t>Click to edit Master title style</a:t>
            </a:r>
          </a:p>
        </p:txBody>
      </p:sp>
      <p:sp>
        <p:nvSpPr>
          <p:cNvPr id="3" name="Subtitle 2"/>
          <p:cNvSpPr>
            <a:spLocks noGrp="1"/>
          </p:cNvSpPr>
          <p:nvPr>
            <p:ph type="subTitle" idx="1"/>
          </p:nvPr>
        </p:nvSpPr>
        <p:spPr>
          <a:xfrm>
            <a:off x="1391707" y="4293017"/>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9543669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5214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4235462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45926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935206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10991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12998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9487163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916FF65-E16B-BA4F-9591-6B4416106527}"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6489130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324613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93930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11369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6784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13503848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2306832068"/>
      </p:ext>
    </p:extLst>
  </p:cSld>
  <p:clrMapOvr>
    <a:masterClrMapping/>
  </p:clrMapOvr>
  <p:transition spd="slow" advClick="0"/>
</p:sldLayout>
</file>

<file path=ppt/slideLayouts/slideLayout176.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3334342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7989086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4502207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7597E8-CCC4-7447-B8A7-EA0DEE77DDD1}"/>
              </a:ext>
            </a:extLst>
          </p:cNvPr>
          <p:cNvSpPr>
            <a:spLocks noGrp="1"/>
          </p:cNvSpPr>
          <p:nvPr>
            <p:ph type="ctrTitle"/>
          </p:nvPr>
        </p:nvSpPr>
        <p:spPr>
          <a:xfrm>
            <a:off x="1524000" y="1122363"/>
            <a:ext cx="9144000" cy="2387600"/>
          </a:xfrm>
        </p:spPr>
        <p:txBody>
          <a:bodyPr anchor="b"/>
          <a:lstStyle>
            <a:lvl1pPr algn="ctr">
              <a:defRPr sz="3375"/>
            </a:lvl1pPr>
          </a:lstStyle>
          <a:p>
            <a:r>
              <a:rPr lang="en-US"/>
              <a:t>Click to edit Master title style</a:t>
            </a:r>
          </a:p>
        </p:txBody>
      </p:sp>
      <p:sp>
        <p:nvSpPr>
          <p:cNvPr id="3" name="Subtitle 2">
            <a:extLst>
              <a:ext uri="{FF2B5EF4-FFF2-40B4-BE49-F238E27FC236}">
                <a16:creationId xmlns:a16="http://schemas.microsoft.com/office/drawing/2014/main" id="{DABE1919-D938-174C-B577-2A843DC1F926}"/>
              </a:ext>
            </a:extLst>
          </p:cNvPr>
          <p:cNvSpPr>
            <a:spLocks noGrp="1"/>
          </p:cNvSpPr>
          <p:nvPr>
            <p:ph type="subTitle" idx="1"/>
          </p:nvPr>
        </p:nvSpPr>
        <p:spPr>
          <a:xfrm>
            <a:off x="1524000" y="3602038"/>
            <a:ext cx="9144000" cy="1655762"/>
          </a:xfrm>
        </p:spPr>
        <p:txBody>
          <a:bodyPr/>
          <a:lstStyle>
            <a:lvl1pPr marL="0" indent="0" algn="ctr">
              <a:buNone/>
              <a:defRPr sz="1350"/>
            </a:lvl1pPr>
            <a:lvl2pPr marL="257168" indent="0" algn="ctr">
              <a:buNone/>
              <a:defRPr sz="1125"/>
            </a:lvl2pPr>
            <a:lvl3pPr marL="514337" indent="0" algn="ctr">
              <a:buNone/>
              <a:defRPr sz="1013"/>
            </a:lvl3pPr>
            <a:lvl4pPr marL="771506" indent="0" algn="ctr">
              <a:buNone/>
              <a:defRPr sz="900"/>
            </a:lvl4pPr>
            <a:lvl5pPr marL="1028675" indent="0" algn="ctr">
              <a:buNone/>
              <a:defRPr sz="900"/>
            </a:lvl5pPr>
            <a:lvl6pPr marL="1285843" indent="0" algn="ctr">
              <a:buNone/>
              <a:defRPr sz="900"/>
            </a:lvl6pPr>
            <a:lvl7pPr marL="1543012" indent="0" algn="ctr">
              <a:buNone/>
              <a:defRPr sz="900"/>
            </a:lvl7pPr>
            <a:lvl8pPr marL="1800180" indent="0" algn="ctr">
              <a:buNone/>
              <a:defRPr sz="900"/>
            </a:lvl8pPr>
            <a:lvl9pPr marL="2057348" indent="0" algn="ctr">
              <a:buNone/>
              <a:defRPr sz="900"/>
            </a:lvl9pPr>
          </a:lstStyle>
          <a:p>
            <a:r>
              <a:rPr lang="en-US"/>
              <a:t>Click to edit Master subtitle style</a:t>
            </a:r>
          </a:p>
        </p:txBody>
      </p:sp>
      <p:sp>
        <p:nvSpPr>
          <p:cNvPr id="4" name="Date Placeholder 3">
            <a:extLst>
              <a:ext uri="{FF2B5EF4-FFF2-40B4-BE49-F238E27FC236}">
                <a16:creationId xmlns:a16="http://schemas.microsoft.com/office/drawing/2014/main" id="{BCAC926F-CD89-1442-BDB5-BCE19D24CEB1}"/>
              </a:ext>
            </a:extLst>
          </p:cNvPr>
          <p:cNvSpPr>
            <a:spLocks noGrp="1"/>
          </p:cNvSpPr>
          <p:nvPr>
            <p:ph type="dt" sz="half" idx="10"/>
          </p:nvPr>
        </p:nvSpPr>
        <p:spPr/>
        <p:txBody>
          <a:bodyPr/>
          <a:lstStyle/>
          <a:p>
            <a:fld id="{559A4995-99F3-6C48-8980-DDECA35E6552}" type="datetimeFigureOut">
              <a:rPr lang="en-US" smtClean="0"/>
              <a:t>4/24/26</a:t>
            </a:fld>
            <a:endParaRPr lang="en-US"/>
          </a:p>
        </p:txBody>
      </p:sp>
      <p:sp>
        <p:nvSpPr>
          <p:cNvPr id="5" name="Footer Placeholder 4">
            <a:extLst>
              <a:ext uri="{FF2B5EF4-FFF2-40B4-BE49-F238E27FC236}">
                <a16:creationId xmlns:a16="http://schemas.microsoft.com/office/drawing/2014/main" id="{A3154943-B6B3-2749-A2CE-E2083192AF7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884EB47-C744-084B-9EEC-794449C67D8F}"/>
              </a:ext>
            </a:extLst>
          </p:cNvPr>
          <p:cNvSpPr>
            <a:spLocks noGrp="1"/>
          </p:cNvSpPr>
          <p:nvPr>
            <p:ph type="sldNum" sz="quarter" idx="12"/>
          </p:nvPr>
        </p:nvSpPr>
        <p:spPr/>
        <p:txBody>
          <a:bodyPr/>
          <a:lstStyle/>
          <a:p>
            <a:fld id="{1FFE3454-E3CA-2442-AE8B-56036A740230}" type="slidenum">
              <a:rPr lang="en-US" smtClean="0"/>
              <a:t>‹#›</a:t>
            </a:fld>
            <a:endParaRPr lang="en-US"/>
          </a:p>
        </p:txBody>
      </p:sp>
      <p:sp>
        <p:nvSpPr>
          <p:cNvPr id="7" name="bk object 16">
            <a:extLst>
              <a:ext uri="{FF2B5EF4-FFF2-40B4-BE49-F238E27FC236}">
                <a16:creationId xmlns:a16="http://schemas.microsoft.com/office/drawing/2014/main" id="{7D04E270-60AB-89A2-2DF9-2C1EA81EF81F}"/>
              </a:ext>
            </a:extLst>
          </p:cNvPr>
          <p:cNvSpPr/>
          <p:nvPr userDrawn="1"/>
        </p:nvSpPr>
        <p:spPr>
          <a:xfrm>
            <a:off x="334327" y="6516692"/>
            <a:ext cx="1404827" cy="341308"/>
          </a:xfrm>
          <a:prstGeom prst="rect">
            <a:avLst/>
          </a:prstGeom>
          <a:blipFill>
            <a:blip r:embed="rId2" cstate="print"/>
            <a:stretch>
              <a:fillRect/>
            </a:stretch>
          </a:blipFill>
        </p:spPr>
        <p:txBody>
          <a:bodyPr wrap="square" lIns="0" tIns="0" rIns="0" bIns="0" rtlCol="0"/>
          <a:lstStyle/>
          <a:p>
            <a:endParaRPr sz="1800"/>
          </a:p>
        </p:txBody>
      </p:sp>
    </p:spTree>
    <p:extLst>
      <p:ext uri="{BB962C8B-B14F-4D97-AF65-F5344CB8AC3E}">
        <p14:creationId xmlns:p14="http://schemas.microsoft.com/office/powerpoint/2010/main" val="211919358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916FF65-E16B-BA4F-9591-6B4416106527}" type="datetimeFigureOut">
              <a:rPr lang="en-US" smtClean="0"/>
              <a:t>4/24/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34320497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0F9B13-101C-F043-A48A-94EC909EC2C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C97A7A4-B19E-764A-A35B-B1112892E4F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916F9B7-D018-644B-BBD8-53EF371D4FC1}"/>
              </a:ext>
            </a:extLst>
          </p:cNvPr>
          <p:cNvSpPr>
            <a:spLocks noGrp="1"/>
          </p:cNvSpPr>
          <p:nvPr>
            <p:ph type="dt" sz="half" idx="10"/>
          </p:nvPr>
        </p:nvSpPr>
        <p:spPr/>
        <p:txBody>
          <a:bodyPr/>
          <a:lstStyle/>
          <a:p>
            <a:fld id="{559A4995-99F3-6C48-8980-DDECA35E6552}" type="datetimeFigureOut">
              <a:rPr lang="en-US" smtClean="0"/>
              <a:t>4/24/26</a:t>
            </a:fld>
            <a:endParaRPr lang="en-US"/>
          </a:p>
        </p:txBody>
      </p:sp>
      <p:sp>
        <p:nvSpPr>
          <p:cNvPr id="5" name="Footer Placeholder 4">
            <a:extLst>
              <a:ext uri="{FF2B5EF4-FFF2-40B4-BE49-F238E27FC236}">
                <a16:creationId xmlns:a16="http://schemas.microsoft.com/office/drawing/2014/main" id="{CFF62C6E-35F4-5F41-9CAA-70CD537CD39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51984FE-F696-0043-B594-044F4A4B8249}"/>
              </a:ext>
            </a:extLst>
          </p:cNvPr>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405899102"/>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C083EA-099B-7A42-B7AF-42C8675EE893}"/>
              </a:ext>
            </a:extLst>
          </p:cNvPr>
          <p:cNvSpPr>
            <a:spLocks noGrp="1"/>
          </p:cNvSpPr>
          <p:nvPr>
            <p:ph type="title"/>
          </p:nvPr>
        </p:nvSpPr>
        <p:spPr>
          <a:xfrm>
            <a:off x="831851" y="1709744"/>
            <a:ext cx="10515600" cy="2852737"/>
          </a:xfrm>
        </p:spPr>
        <p:txBody>
          <a:bodyPr anchor="b"/>
          <a:lstStyle>
            <a:lvl1pPr>
              <a:defRPr sz="3375"/>
            </a:lvl1pPr>
          </a:lstStyle>
          <a:p>
            <a:r>
              <a:rPr lang="en-US"/>
              <a:t>Click to edit Master title style</a:t>
            </a:r>
          </a:p>
        </p:txBody>
      </p:sp>
      <p:sp>
        <p:nvSpPr>
          <p:cNvPr id="3" name="Text Placeholder 2">
            <a:extLst>
              <a:ext uri="{FF2B5EF4-FFF2-40B4-BE49-F238E27FC236}">
                <a16:creationId xmlns:a16="http://schemas.microsoft.com/office/drawing/2014/main" id="{96AA8509-942F-8947-9B73-8A06ADCC1BDD}"/>
              </a:ext>
            </a:extLst>
          </p:cNvPr>
          <p:cNvSpPr>
            <a:spLocks noGrp="1"/>
          </p:cNvSpPr>
          <p:nvPr>
            <p:ph type="body" idx="1"/>
          </p:nvPr>
        </p:nvSpPr>
        <p:spPr>
          <a:xfrm>
            <a:off x="831851" y="4589469"/>
            <a:ext cx="10515600" cy="1500187"/>
          </a:xfrm>
        </p:spPr>
        <p:txBody>
          <a:bodyPr/>
          <a:lstStyle>
            <a:lvl1pPr marL="0" indent="0">
              <a:buNone/>
              <a:defRPr sz="1350">
                <a:solidFill>
                  <a:schemeClr val="tx1">
                    <a:tint val="75000"/>
                  </a:schemeClr>
                </a:solidFill>
              </a:defRPr>
            </a:lvl1pPr>
            <a:lvl2pPr marL="257168" indent="0">
              <a:buNone/>
              <a:defRPr sz="1125">
                <a:solidFill>
                  <a:schemeClr val="tx1">
                    <a:tint val="75000"/>
                  </a:schemeClr>
                </a:solidFill>
              </a:defRPr>
            </a:lvl2pPr>
            <a:lvl3pPr marL="514337" indent="0">
              <a:buNone/>
              <a:defRPr sz="1013">
                <a:solidFill>
                  <a:schemeClr val="tx1">
                    <a:tint val="75000"/>
                  </a:schemeClr>
                </a:solidFill>
              </a:defRPr>
            </a:lvl3pPr>
            <a:lvl4pPr marL="771506" indent="0">
              <a:buNone/>
              <a:defRPr sz="900">
                <a:solidFill>
                  <a:schemeClr val="tx1">
                    <a:tint val="75000"/>
                  </a:schemeClr>
                </a:solidFill>
              </a:defRPr>
            </a:lvl4pPr>
            <a:lvl5pPr marL="1028675" indent="0">
              <a:buNone/>
              <a:defRPr sz="900">
                <a:solidFill>
                  <a:schemeClr val="tx1">
                    <a:tint val="75000"/>
                  </a:schemeClr>
                </a:solidFill>
              </a:defRPr>
            </a:lvl5pPr>
            <a:lvl6pPr marL="1285843" indent="0">
              <a:buNone/>
              <a:defRPr sz="900">
                <a:solidFill>
                  <a:schemeClr val="tx1">
                    <a:tint val="75000"/>
                  </a:schemeClr>
                </a:solidFill>
              </a:defRPr>
            </a:lvl6pPr>
            <a:lvl7pPr marL="1543012" indent="0">
              <a:buNone/>
              <a:defRPr sz="900">
                <a:solidFill>
                  <a:schemeClr val="tx1">
                    <a:tint val="75000"/>
                  </a:schemeClr>
                </a:solidFill>
              </a:defRPr>
            </a:lvl7pPr>
            <a:lvl8pPr marL="1800180" indent="0">
              <a:buNone/>
              <a:defRPr sz="900">
                <a:solidFill>
                  <a:schemeClr val="tx1">
                    <a:tint val="75000"/>
                  </a:schemeClr>
                </a:solidFill>
              </a:defRPr>
            </a:lvl8pPr>
            <a:lvl9pPr marL="2057348" indent="0">
              <a:buNone/>
              <a:defRPr sz="9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0DDA8AE-A535-E74B-8075-6DFF897BED78}"/>
              </a:ext>
            </a:extLst>
          </p:cNvPr>
          <p:cNvSpPr>
            <a:spLocks noGrp="1"/>
          </p:cNvSpPr>
          <p:nvPr>
            <p:ph type="dt" sz="half" idx="10"/>
          </p:nvPr>
        </p:nvSpPr>
        <p:spPr/>
        <p:txBody>
          <a:bodyPr/>
          <a:lstStyle/>
          <a:p>
            <a:fld id="{559A4995-99F3-6C48-8980-DDECA35E6552}" type="datetimeFigureOut">
              <a:rPr lang="en-US" smtClean="0"/>
              <a:t>4/24/26</a:t>
            </a:fld>
            <a:endParaRPr lang="en-US"/>
          </a:p>
        </p:txBody>
      </p:sp>
      <p:sp>
        <p:nvSpPr>
          <p:cNvPr id="5" name="Footer Placeholder 4">
            <a:extLst>
              <a:ext uri="{FF2B5EF4-FFF2-40B4-BE49-F238E27FC236}">
                <a16:creationId xmlns:a16="http://schemas.microsoft.com/office/drawing/2014/main" id="{0FE3842A-85E9-EC45-AE13-43A91891A0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1104DAA-7994-3843-ADC2-455A8CD96EE4}"/>
              </a:ext>
            </a:extLst>
          </p:cNvPr>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352193437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649D1B-3927-BB43-8534-F92FEFE92B0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23BBB28-4717-3343-B76E-78C111D0745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A26FFAD-5651-D14E-82E6-E0ED30756DB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1B1DEB6-E078-8C40-B750-DD784FE9A314}"/>
              </a:ext>
            </a:extLst>
          </p:cNvPr>
          <p:cNvSpPr>
            <a:spLocks noGrp="1"/>
          </p:cNvSpPr>
          <p:nvPr>
            <p:ph type="dt" sz="half" idx="10"/>
          </p:nvPr>
        </p:nvSpPr>
        <p:spPr/>
        <p:txBody>
          <a:bodyPr/>
          <a:lstStyle/>
          <a:p>
            <a:fld id="{559A4995-99F3-6C48-8980-DDECA35E6552}" type="datetimeFigureOut">
              <a:rPr lang="en-US" smtClean="0"/>
              <a:t>4/24/26</a:t>
            </a:fld>
            <a:endParaRPr lang="en-US"/>
          </a:p>
        </p:txBody>
      </p:sp>
      <p:sp>
        <p:nvSpPr>
          <p:cNvPr id="6" name="Footer Placeholder 5">
            <a:extLst>
              <a:ext uri="{FF2B5EF4-FFF2-40B4-BE49-F238E27FC236}">
                <a16:creationId xmlns:a16="http://schemas.microsoft.com/office/drawing/2014/main" id="{DC3A1A2F-5ABA-A243-BF07-2BE5E90EEDE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2C656A8-2DE4-BF4B-8CE6-EEE9B20E5B22}"/>
              </a:ext>
            </a:extLst>
          </p:cNvPr>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412305930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B9B7DA-8070-684A-B73B-034B1F3E2F6B}"/>
              </a:ext>
            </a:extLst>
          </p:cNvPr>
          <p:cNvSpPr>
            <a:spLocks noGrp="1"/>
          </p:cNvSpPr>
          <p:nvPr>
            <p:ph type="title"/>
          </p:nvPr>
        </p:nvSpPr>
        <p:spPr>
          <a:xfrm>
            <a:off x="839788" y="365129"/>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01CA913-56F2-DF40-B702-4AE2ECF9DF78}"/>
              </a:ext>
            </a:extLst>
          </p:cNvPr>
          <p:cNvSpPr>
            <a:spLocks noGrp="1"/>
          </p:cNvSpPr>
          <p:nvPr>
            <p:ph type="body" idx="1"/>
          </p:nvPr>
        </p:nvSpPr>
        <p:spPr>
          <a:xfrm>
            <a:off x="839789" y="1681163"/>
            <a:ext cx="5157787" cy="823912"/>
          </a:xfrm>
        </p:spPr>
        <p:txBody>
          <a:bodyPr anchor="b"/>
          <a:lstStyle>
            <a:lvl1pPr marL="0" indent="0">
              <a:buNone/>
              <a:defRPr sz="1350" b="1"/>
            </a:lvl1pPr>
            <a:lvl2pPr marL="257168" indent="0">
              <a:buNone/>
              <a:defRPr sz="1125" b="1"/>
            </a:lvl2pPr>
            <a:lvl3pPr marL="514337" indent="0">
              <a:buNone/>
              <a:defRPr sz="1013" b="1"/>
            </a:lvl3pPr>
            <a:lvl4pPr marL="771506" indent="0">
              <a:buNone/>
              <a:defRPr sz="900" b="1"/>
            </a:lvl4pPr>
            <a:lvl5pPr marL="1028675" indent="0">
              <a:buNone/>
              <a:defRPr sz="900" b="1"/>
            </a:lvl5pPr>
            <a:lvl6pPr marL="1285843" indent="0">
              <a:buNone/>
              <a:defRPr sz="900" b="1"/>
            </a:lvl6pPr>
            <a:lvl7pPr marL="1543012" indent="0">
              <a:buNone/>
              <a:defRPr sz="900" b="1"/>
            </a:lvl7pPr>
            <a:lvl8pPr marL="1800180" indent="0">
              <a:buNone/>
              <a:defRPr sz="900" b="1"/>
            </a:lvl8pPr>
            <a:lvl9pPr marL="2057348" indent="0">
              <a:buNone/>
              <a:defRPr sz="900" b="1"/>
            </a:lvl9pPr>
          </a:lstStyle>
          <a:p>
            <a:pPr lvl="0"/>
            <a:r>
              <a:rPr lang="en-US"/>
              <a:t>Click to edit Master text styles</a:t>
            </a:r>
          </a:p>
        </p:txBody>
      </p:sp>
      <p:sp>
        <p:nvSpPr>
          <p:cNvPr id="4" name="Content Placeholder 3">
            <a:extLst>
              <a:ext uri="{FF2B5EF4-FFF2-40B4-BE49-F238E27FC236}">
                <a16:creationId xmlns:a16="http://schemas.microsoft.com/office/drawing/2014/main" id="{51022CE3-A2EF-EA40-BAD1-5A8BA381B257}"/>
              </a:ext>
            </a:extLst>
          </p:cNvPr>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69A5494-B8F6-5142-B3C9-60F749A57C1F}"/>
              </a:ext>
            </a:extLst>
          </p:cNvPr>
          <p:cNvSpPr>
            <a:spLocks noGrp="1"/>
          </p:cNvSpPr>
          <p:nvPr>
            <p:ph type="body" sz="quarter" idx="3"/>
          </p:nvPr>
        </p:nvSpPr>
        <p:spPr>
          <a:xfrm>
            <a:off x="6172203" y="1681163"/>
            <a:ext cx="5183188" cy="823912"/>
          </a:xfrm>
        </p:spPr>
        <p:txBody>
          <a:bodyPr anchor="b"/>
          <a:lstStyle>
            <a:lvl1pPr marL="0" indent="0">
              <a:buNone/>
              <a:defRPr sz="1350" b="1"/>
            </a:lvl1pPr>
            <a:lvl2pPr marL="257168" indent="0">
              <a:buNone/>
              <a:defRPr sz="1125" b="1"/>
            </a:lvl2pPr>
            <a:lvl3pPr marL="514337" indent="0">
              <a:buNone/>
              <a:defRPr sz="1013" b="1"/>
            </a:lvl3pPr>
            <a:lvl4pPr marL="771506" indent="0">
              <a:buNone/>
              <a:defRPr sz="900" b="1"/>
            </a:lvl4pPr>
            <a:lvl5pPr marL="1028675" indent="0">
              <a:buNone/>
              <a:defRPr sz="900" b="1"/>
            </a:lvl5pPr>
            <a:lvl6pPr marL="1285843" indent="0">
              <a:buNone/>
              <a:defRPr sz="900" b="1"/>
            </a:lvl6pPr>
            <a:lvl7pPr marL="1543012" indent="0">
              <a:buNone/>
              <a:defRPr sz="900" b="1"/>
            </a:lvl7pPr>
            <a:lvl8pPr marL="1800180" indent="0">
              <a:buNone/>
              <a:defRPr sz="900" b="1"/>
            </a:lvl8pPr>
            <a:lvl9pPr marL="2057348" indent="0">
              <a:buNone/>
              <a:defRPr sz="900" b="1"/>
            </a:lvl9pPr>
          </a:lstStyle>
          <a:p>
            <a:pPr lvl="0"/>
            <a:r>
              <a:rPr lang="en-US"/>
              <a:t>Click to edit Master text styles</a:t>
            </a:r>
          </a:p>
        </p:txBody>
      </p:sp>
      <p:sp>
        <p:nvSpPr>
          <p:cNvPr id="6" name="Content Placeholder 5">
            <a:extLst>
              <a:ext uri="{FF2B5EF4-FFF2-40B4-BE49-F238E27FC236}">
                <a16:creationId xmlns:a16="http://schemas.microsoft.com/office/drawing/2014/main" id="{F5505BCE-DD5D-2044-8956-C9DB95306DCC}"/>
              </a:ext>
            </a:extLst>
          </p:cNvPr>
          <p:cNvSpPr>
            <a:spLocks noGrp="1"/>
          </p:cNvSpPr>
          <p:nvPr>
            <p:ph sz="quarter" idx="4"/>
          </p:nvPr>
        </p:nvSpPr>
        <p:spPr>
          <a:xfrm>
            <a:off x="6172203"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FD9A675-DC22-2649-8F83-3646A44F3EB1}"/>
              </a:ext>
            </a:extLst>
          </p:cNvPr>
          <p:cNvSpPr>
            <a:spLocks noGrp="1"/>
          </p:cNvSpPr>
          <p:nvPr>
            <p:ph type="dt" sz="half" idx="10"/>
          </p:nvPr>
        </p:nvSpPr>
        <p:spPr/>
        <p:txBody>
          <a:bodyPr/>
          <a:lstStyle/>
          <a:p>
            <a:fld id="{559A4995-99F3-6C48-8980-DDECA35E6552}" type="datetimeFigureOut">
              <a:rPr lang="en-US" smtClean="0"/>
              <a:t>4/24/26</a:t>
            </a:fld>
            <a:endParaRPr lang="en-US"/>
          </a:p>
        </p:txBody>
      </p:sp>
      <p:sp>
        <p:nvSpPr>
          <p:cNvPr id="8" name="Footer Placeholder 7">
            <a:extLst>
              <a:ext uri="{FF2B5EF4-FFF2-40B4-BE49-F238E27FC236}">
                <a16:creationId xmlns:a16="http://schemas.microsoft.com/office/drawing/2014/main" id="{DD968C7C-BFBF-7547-81E2-7C6A13B3AC6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A97FF57-E90D-2C4D-BDB2-DBAB43E3B85E}"/>
              </a:ext>
            </a:extLst>
          </p:cNvPr>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3439764826"/>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6AF89D-A0AD-424D-AF22-50AA5056102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AAB2B05-3BA9-C24B-BA87-8C3DFA35AF86}"/>
              </a:ext>
            </a:extLst>
          </p:cNvPr>
          <p:cNvSpPr>
            <a:spLocks noGrp="1"/>
          </p:cNvSpPr>
          <p:nvPr>
            <p:ph type="dt" sz="half" idx="10"/>
          </p:nvPr>
        </p:nvSpPr>
        <p:spPr/>
        <p:txBody>
          <a:bodyPr/>
          <a:lstStyle/>
          <a:p>
            <a:fld id="{559A4995-99F3-6C48-8980-DDECA35E6552}" type="datetimeFigureOut">
              <a:rPr lang="en-US" smtClean="0"/>
              <a:t>4/24/26</a:t>
            </a:fld>
            <a:endParaRPr lang="en-US"/>
          </a:p>
        </p:txBody>
      </p:sp>
      <p:sp>
        <p:nvSpPr>
          <p:cNvPr id="4" name="Footer Placeholder 3">
            <a:extLst>
              <a:ext uri="{FF2B5EF4-FFF2-40B4-BE49-F238E27FC236}">
                <a16:creationId xmlns:a16="http://schemas.microsoft.com/office/drawing/2014/main" id="{68EF628F-1D9A-BA46-A7AF-17834A6C211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BFF8EBD-6BD9-B143-8493-6A51B5AC913B}"/>
              </a:ext>
            </a:extLst>
          </p:cNvPr>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2856210437"/>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455277C-62FB-074E-8732-2C266101D24C}"/>
              </a:ext>
            </a:extLst>
          </p:cNvPr>
          <p:cNvSpPr>
            <a:spLocks noGrp="1"/>
          </p:cNvSpPr>
          <p:nvPr>
            <p:ph type="dt" sz="half" idx="10"/>
          </p:nvPr>
        </p:nvSpPr>
        <p:spPr/>
        <p:txBody>
          <a:bodyPr/>
          <a:lstStyle/>
          <a:p>
            <a:fld id="{559A4995-99F3-6C48-8980-DDECA35E6552}" type="datetimeFigureOut">
              <a:rPr lang="en-US" smtClean="0"/>
              <a:t>4/24/26</a:t>
            </a:fld>
            <a:endParaRPr lang="en-US"/>
          </a:p>
        </p:txBody>
      </p:sp>
      <p:sp>
        <p:nvSpPr>
          <p:cNvPr id="3" name="Footer Placeholder 2">
            <a:extLst>
              <a:ext uri="{FF2B5EF4-FFF2-40B4-BE49-F238E27FC236}">
                <a16:creationId xmlns:a16="http://schemas.microsoft.com/office/drawing/2014/main" id="{D5EB783E-79B9-2844-9EDB-C7A81B0D81B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E434E37-10A4-F64A-ABF7-827AAD3D7B75}"/>
              </a:ext>
            </a:extLst>
          </p:cNvPr>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2316105945"/>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818C4D-46D2-B44A-86A3-E70E2E12B941}"/>
              </a:ext>
            </a:extLst>
          </p:cNvPr>
          <p:cNvSpPr>
            <a:spLocks noGrp="1"/>
          </p:cNvSpPr>
          <p:nvPr>
            <p:ph type="title"/>
          </p:nvPr>
        </p:nvSpPr>
        <p:spPr>
          <a:xfrm>
            <a:off x="839788" y="457200"/>
            <a:ext cx="3932237" cy="1600200"/>
          </a:xfrm>
        </p:spPr>
        <p:txBody>
          <a:bodyPr anchor="b"/>
          <a:lstStyle>
            <a:lvl1pPr>
              <a:defRPr sz="1800"/>
            </a:lvl1pPr>
          </a:lstStyle>
          <a:p>
            <a:r>
              <a:rPr lang="en-US"/>
              <a:t>Click to edit Master title style</a:t>
            </a:r>
          </a:p>
        </p:txBody>
      </p:sp>
      <p:sp>
        <p:nvSpPr>
          <p:cNvPr id="3" name="Content Placeholder 2">
            <a:extLst>
              <a:ext uri="{FF2B5EF4-FFF2-40B4-BE49-F238E27FC236}">
                <a16:creationId xmlns:a16="http://schemas.microsoft.com/office/drawing/2014/main" id="{13590091-E322-D94B-85C0-E27D3C33BF51}"/>
              </a:ext>
            </a:extLst>
          </p:cNvPr>
          <p:cNvSpPr>
            <a:spLocks noGrp="1"/>
          </p:cNvSpPr>
          <p:nvPr>
            <p:ph idx="1"/>
          </p:nvPr>
        </p:nvSpPr>
        <p:spPr>
          <a:xfrm>
            <a:off x="5183188" y="987431"/>
            <a:ext cx="6172200" cy="4873625"/>
          </a:xfrm>
        </p:spPr>
        <p:txBody>
          <a:bodyPr/>
          <a:lstStyle>
            <a:lvl1pPr>
              <a:defRPr sz="1800"/>
            </a:lvl1pPr>
            <a:lvl2pPr>
              <a:defRPr sz="1575"/>
            </a:lvl2pPr>
            <a:lvl3pPr>
              <a:defRPr sz="1350"/>
            </a:lvl3pPr>
            <a:lvl4pPr>
              <a:defRPr sz="1125"/>
            </a:lvl4pPr>
            <a:lvl5pPr>
              <a:defRPr sz="1125"/>
            </a:lvl5pPr>
            <a:lvl6pPr>
              <a:defRPr sz="1125"/>
            </a:lvl6pPr>
            <a:lvl7pPr>
              <a:defRPr sz="1125"/>
            </a:lvl7pPr>
            <a:lvl8pPr>
              <a:defRPr sz="1125"/>
            </a:lvl8pPr>
            <a:lvl9pPr>
              <a:defRPr sz="112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213CC5D-7191-D040-93BC-BC500E016BA8}"/>
              </a:ext>
            </a:extLst>
          </p:cNvPr>
          <p:cNvSpPr>
            <a:spLocks noGrp="1"/>
          </p:cNvSpPr>
          <p:nvPr>
            <p:ph type="body" sz="half" idx="2"/>
          </p:nvPr>
        </p:nvSpPr>
        <p:spPr>
          <a:xfrm>
            <a:off x="839788" y="2057400"/>
            <a:ext cx="3932237" cy="3811588"/>
          </a:xfrm>
        </p:spPr>
        <p:txBody>
          <a:bodyPr/>
          <a:lstStyle>
            <a:lvl1pPr marL="0" indent="0">
              <a:buNone/>
              <a:defRPr sz="900"/>
            </a:lvl1pPr>
            <a:lvl2pPr marL="257168" indent="0">
              <a:buNone/>
              <a:defRPr sz="788"/>
            </a:lvl2pPr>
            <a:lvl3pPr marL="514337" indent="0">
              <a:buNone/>
              <a:defRPr sz="675"/>
            </a:lvl3pPr>
            <a:lvl4pPr marL="771506" indent="0">
              <a:buNone/>
              <a:defRPr sz="563"/>
            </a:lvl4pPr>
            <a:lvl5pPr marL="1028675" indent="0">
              <a:buNone/>
              <a:defRPr sz="563"/>
            </a:lvl5pPr>
            <a:lvl6pPr marL="1285843" indent="0">
              <a:buNone/>
              <a:defRPr sz="563"/>
            </a:lvl6pPr>
            <a:lvl7pPr marL="1543012" indent="0">
              <a:buNone/>
              <a:defRPr sz="563"/>
            </a:lvl7pPr>
            <a:lvl8pPr marL="1800180" indent="0">
              <a:buNone/>
              <a:defRPr sz="563"/>
            </a:lvl8pPr>
            <a:lvl9pPr marL="2057348" indent="0">
              <a:buNone/>
              <a:defRPr sz="563"/>
            </a:lvl9pPr>
          </a:lstStyle>
          <a:p>
            <a:pPr lvl="0"/>
            <a:r>
              <a:rPr lang="en-US"/>
              <a:t>Click to edit Master text styles</a:t>
            </a:r>
          </a:p>
        </p:txBody>
      </p:sp>
      <p:sp>
        <p:nvSpPr>
          <p:cNvPr id="5" name="Date Placeholder 4">
            <a:extLst>
              <a:ext uri="{FF2B5EF4-FFF2-40B4-BE49-F238E27FC236}">
                <a16:creationId xmlns:a16="http://schemas.microsoft.com/office/drawing/2014/main" id="{337AA2E6-A775-9C4B-8E3A-A3A892CF3856}"/>
              </a:ext>
            </a:extLst>
          </p:cNvPr>
          <p:cNvSpPr>
            <a:spLocks noGrp="1"/>
          </p:cNvSpPr>
          <p:nvPr>
            <p:ph type="dt" sz="half" idx="10"/>
          </p:nvPr>
        </p:nvSpPr>
        <p:spPr/>
        <p:txBody>
          <a:bodyPr/>
          <a:lstStyle/>
          <a:p>
            <a:fld id="{559A4995-99F3-6C48-8980-DDECA35E6552}" type="datetimeFigureOut">
              <a:rPr lang="en-US" smtClean="0"/>
              <a:t>4/24/26</a:t>
            </a:fld>
            <a:endParaRPr lang="en-US"/>
          </a:p>
        </p:txBody>
      </p:sp>
      <p:sp>
        <p:nvSpPr>
          <p:cNvPr id="6" name="Footer Placeholder 5">
            <a:extLst>
              <a:ext uri="{FF2B5EF4-FFF2-40B4-BE49-F238E27FC236}">
                <a16:creationId xmlns:a16="http://schemas.microsoft.com/office/drawing/2014/main" id="{49163C24-ED9F-CF43-9BE5-291C88AB503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7148698-79A0-9140-8372-AEF7AFB0D453}"/>
              </a:ext>
            </a:extLst>
          </p:cNvPr>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7326351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AFE61-74D9-7E4A-A5B5-6C3E53E6271E}"/>
              </a:ext>
            </a:extLst>
          </p:cNvPr>
          <p:cNvSpPr>
            <a:spLocks noGrp="1"/>
          </p:cNvSpPr>
          <p:nvPr>
            <p:ph type="title"/>
          </p:nvPr>
        </p:nvSpPr>
        <p:spPr>
          <a:xfrm>
            <a:off x="839788" y="457200"/>
            <a:ext cx="3932237" cy="1600200"/>
          </a:xfrm>
        </p:spPr>
        <p:txBody>
          <a:bodyPr anchor="b"/>
          <a:lstStyle>
            <a:lvl1pPr>
              <a:defRPr sz="1800"/>
            </a:lvl1pPr>
          </a:lstStyle>
          <a:p>
            <a:r>
              <a:rPr lang="en-US"/>
              <a:t>Click to edit Master title style</a:t>
            </a:r>
          </a:p>
        </p:txBody>
      </p:sp>
      <p:sp>
        <p:nvSpPr>
          <p:cNvPr id="3" name="Picture Placeholder 2">
            <a:extLst>
              <a:ext uri="{FF2B5EF4-FFF2-40B4-BE49-F238E27FC236}">
                <a16:creationId xmlns:a16="http://schemas.microsoft.com/office/drawing/2014/main" id="{751AA79F-0E9D-E844-97C3-E99F1EC7DE0D}"/>
              </a:ext>
            </a:extLst>
          </p:cNvPr>
          <p:cNvSpPr>
            <a:spLocks noGrp="1"/>
          </p:cNvSpPr>
          <p:nvPr>
            <p:ph type="pic" idx="1"/>
          </p:nvPr>
        </p:nvSpPr>
        <p:spPr>
          <a:xfrm>
            <a:off x="5183188" y="987431"/>
            <a:ext cx="6172200" cy="4873625"/>
          </a:xfrm>
        </p:spPr>
        <p:txBody>
          <a:bodyPr/>
          <a:lstStyle>
            <a:lvl1pPr marL="0" indent="0">
              <a:buNone/>
              <a:defRPr sz="1800"/>
            </a:lvl1pPr>
            <a:lvl2pPr marL="257168" indent="0">
              <a:buNone/>
              <a:defRPr sz="1575"/>
            </a:lvl2pPr>
            <a:lvl3pPr marL="514337" indent="0">
              <a:buNone/>
              <a:defRPr sz="1350"/>
            </a:lvl3pPr>
            <a:lvl4pPr marL="771506" indent="0">
              <a:buNone/>
              <a:defRPr sz="1125"/>
            </a:lvl4pPr>
            <a:lvl5pPr marL="1028675" indent="0">
              <a:buNone/>
              <a:defRPr sz="1125"/>
            </a:lvl5pPr>
            <a:lvl6pPr marL="1285843" indent="0">
              <a:buNone/>
              <a:defRPr sz="1125"/>
            </a:lvl6pPr>
            <a:lvl7pPr marL="1543012" indent="0">
              <a:buNone/>
              <a:defRPr sz="1125"/>
            </a:lvl7pPr>
            <a:lvl8pPr marL="1800180" indent="0">
              <a:buNone/>
              <a:defRPr sz="1125"/>
            </a:lvl8pPr>
            <a:lvl9pPr marL="2057348" indent="0">
              <a:buNone/>
              <a:defRPr sz="1125"/>
            </a:lvl9pPr>
          </a:lstStyle>
          <a:p>
            <a:endParaRPr lang="en-US"/>
          </a:p>
        </p:txBody>
      </p:sp>
      <p:sp>
        <p:nvSpPr>
          <p:cNvPr id="4" name="Text Placeholder 3">
            <a:extLst>
              <a:ext uri="{FF2B5EF4-FFF2-40B4-BE49-F238E27FC236}">
                <a16:creationId xmlns:a16="http://schemas.microsoft.com/office/drawing/2014/main" id="{3F08C160-CF83-3945-A784-A844F3081961}"/>
              </a:ext>
            </a:extLst>
          </p:cNvPr>
          <p:cNvSpPr>
            <a:spLocks noGrp="1"/>
          </p:cNvSpPr>
          <p:nvPr>
            <p:ph type="body" sz="half" idx="2"/>
          </p:nvPr>
        </p:nvSpPr>
        <p:spPr>
          <a:xfrm>
            <a:off x="839788" y="2057400"/>
            <a:ext cx="3932237" cy="3811588"/>
          </a:xfrm>
        </p:spPr>
        <p:txBody>
          <a:bodyPr/>
          <a:lstStyle>
            <a:lvl1pPr marL="0" indent="0">
              <a:buNone/>
              <a:defRPr sz="900"/>
            </a:lvl1pPr>
            <a:lvl2pPr marL="257168" indent="0">
              <a:buNone/>
              <a:defRPr sz="788"/>
            </a:lvl2pPr>
            <a:lvl3pPr marL="514337" indent="0">
              <a:buNone/>
              <a:defRPr sz="675"/>
            </a:lvl3pPr>
            <a:lvl4pPr marL="771506" indent="0">
              <a:buNone/>
              <a:defRPr sz="563"/>
            </a:lvl4pPr>
            <a:lvl5pPr marL="1028675" indent="0">
              <a:buNone/>
              <a:defRPr sz="563"/>
            </a:lvl5pPr>
            <a:lvl6pPr marL="1285843" indent="0">
              <a:buNone/>
              <a:defRPr sz="563"/>
            </a:lvl6pPr>
            <a:lvl7pPr marL="1543012" indent="0">
              <a:buNone/>
              <a:defRPr sz="563"/>
            </a:lvl7pPr>
            <a:lvl8pPr marL="1800180" indent="0">
              <a:buNone/>
              <a:defRPr sz="563"/>
            </a:lvl8pPr>
            <a:lvl9pPr marL="2057348" indent="0">
              <a:buNone/>
              <a:defRPr sz="563"/>
            </a:lvl9pPr>
          </a:lstStyle>
          <a:p>
            <a:pPr lvl="0"/>
            <a:r>
              <a:rPr lang="en-US"/>
              <a:t>Click to edit Master text styles</a:t>
            </a:r>
          </a:p>
        </p:txBody>
      </p:sp>
      <p:sp>
        <p:nvSpPr>
          <p:cNvPr id="5" name="Date Placeholder 4">
            <a:extLst>
              <a:ext uri="{FF2B5EF4-FFF2-40B4-BE49-F238E27FC236}">
                <a16:creationId xmlns:a16="http://schemas.microsoft.com/office/drawing/2014/main" id="{A715C371-7864-A04F-898F-BD95A39CB425}"/>
              </a:ext>
            </a:extLst>
          </p:cNvPr>
          <p:cNvSpPr>
            <a:spLocks noGrp="1"/>
          </p:cNvSpPr>
          <p:nvPr>
            <p:ph type="dt" sz="half" idx="10"/>
          </p:nvPr>
        </p:nvSpPr>
        <p:spPr/>
        <p:txBody>
          <a:bodyPr/>
          <a:lstStyle/>
          <a:p>
            <a:fld id="{559A4995-99F3-6C48-8980-DDECA35E6552}" type="datetimeFigureOut">
              <a:rPr lang="en-US" smtClean="0"/>
              <a:t>4/24/26</a:t>
            </a:fld>
            <a:endParaRPr lang="en-US"/>
          </a:p>
        </p:txBody>
      </p:sp>
      <p:sp>
        <p:nvSpPr>
          <p:cNvPr id="6" name="Footer Placeholder 5">
            <a:extLst>
              <a:ext uri="{FF2B5EF4-FFF2-40B4-BE49-F238E27FC236}">
                <a16:creationId xmlns:a16="http://schemas.microsoft.com/office/drawing/2014/main" id="{76D8AD07-6553-AE40-B1C3-B5D6D484F3E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1C889FD-1636-984C-AA18-9776DBEFE15C}"/>
              </a:ext>
            </a:extLst>
          </p:cNvPr>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202671874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638A26-43F1-FF4F-8D60-CE1F4276B75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8A3A0F6-BC76-4847-AB09-CAC0D806675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0ABB59F-E18B-904D-945F-45F2DC6BC149}"/>
              </a:ext>
            </a:extLst>
          </p:cNvPr>
          <p:cNvSpPr>
            <a:spLocks noGrp="1"/>
          </p:cNvSpPr>
          <p:nvPr>
            <p:ph type="dt" sz="half" idx="10"/>
          </p:nvPr>
        </p:nvSpPr>
        <p:spPr/>
        <p:txBody>
          <a:bodyPr/>
          <a:lstStyle/>
          <a:p>
            <a:fld id="{559A4995-99F3-6C48-8980-DDECA35E6552}" type="datetimeFigureOut">
              <a:rPr lang="en-US" smtClean="0"/>
              <a:t>4/24/26</a:t>
            </a:fld>
            <a:endParaRPr lang="en-US"/>
          </a:p>
        </p:txBody>
      </p:sp>
      <p:sp>
        <p:nvSpPr>
          <p:cNvPr id="5" name="Footer Placeholder 4">
            <a:extLst>
              <a:ext uri="{FF2B5EF4-FFF2-40B4-BE49-F238E27FC236}">
                <a16:creationId xmlns:a16="http://schemas.microsoft.com/office/drawing/2014/main" id="{E3FB87FD-22D3-0A48-B7CC-5AFAA872CA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126885D-97D5-4B42-B020-806CD9AA1969}"/>
              </a:ext>
            </a:extLst>
          </p:cNvPr>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279729811"/>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211FA34-99E1-2C42-98B3-0CA95805C299}"/>
              </a:ext>
            </a:extLst>
          </p:cNvPr>
          <p:cNvSpPr>
            <a:spLocks noGrp="1"/>
          </p:cNvSpPr>
          <p:nvPr>
            <p:ph type="title" orient="vert"/>
          </p:nvPr>
        </p:nvSpPr>
        <p:spPr>
          <a:xfrm>
            <a:off x="8724902"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DB51D3E-D331-E346-B45C-00932B67FDAC}"/>
              </a:ext>
            </a:extLst>
          </p:cNvPr>
          <p:cNvSpPr>
            <a:spLocks noGrp="1"/>
          </p:cNvSpPr>
          <p:nvPr>
            <p:ph type="body" orient="vert" idx="1"/>
          </p:nvPr>
        </p:nvSpPr>
        <p:spPr>
          <a:xfrm>
            <a:off x="838203"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2B02F57-300D-3C45-8574-E741AF4DA481}"/>
              </a:ext>
            </a:extLst>
          </p:cNvPr>
          <p:cNvSpPr>
            <a:spLocks noGrp="1"/>
          </p:cNvSpPr>
          <p:nvPr>
            <p:ph type="dt" sz="half" idx="10"/>
          </p:nvPr>
        </p:nvSpPr>
        <p:spPr/>
        <p:txBody>
          <a:bodyPr/>
          <a:lstStyle/>
          <a:p>
            <a:fld id="{559A4995-99F3-6C48-8980-DDECA35E6552}" type="datetimeFigureOut">
              <a:rPr lang="en-US" smtClean="0"/>
              <a:t>4/24/26</a:t>
            </a:fld>
            <a:endParaRPr lang="en-US"/>
          </a:p>
        </p:txBody>
      </p:sp>
      <p:sp>
        <p:nvSpPr>
          <p:cNvPr id="5" name="Footer Placeholder 4">
            <a:extLst>
              <a:ext uri="{FF2B5EF4-FFF2-40B4-BE49-F238E27FC236}">
                <a16:creationId xmlns:a16="http://schemas.microsoft.com/office/drawing/2014/main" id="{A7FE98A0-6BE6-5D45-B648-32AEBC9B390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29C215D-3D9B-C241-B34E-72989860B4CB}"/>
              </a:ext>
            </a:extLst>
          </p:cNvPr>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23158374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916FF65-E16B-BA4F-9591-6B4416106527}" type="datetimeFigureOut">
              <a:rPr lang="en-US" smtClean="0"/>
              <a:t>4/24/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2914747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type="obj">
  <p:cSld name="1_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15" b="0" i="0">
                <a:solidFill>
                  <a:srgbClr val="2A444B"/>
                </a:solidFill>
                <a:latin typeface="Times New Roman"/>
                <a:cs typeface="Times New Roman"/>
              </a:defRPr>
            </a:lvl1pPr>
          </a:lstStyle>
          <a:p>
            <a:endParaRPr/>
          </a:p>
        </p:txBody>
      </p:sp>
      <p:sp>
        <p:nvSpPr>
          <p:cNvPr id="3" name="Holder 3"/>
          <p:cNvSpPr>
            <a:spLocks noGrp="1"/>
          </p:cNvSpPr>
          <p:nvPr>
            <p:ph sz="half" idx="2"/>
          </p:nvPr>
        </p:nvSpPr>
        <p:spPr>
          <a:xfrm>
            <a:off x="609600" y="1401288"/>
            <a:ext cx="5303520" cy="218137"/>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401288"/>
            <a:ext cx="5303520" cy="218137"/>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4/26</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171598933"/>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text pag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vl1pPr>
          </a:lstStyle>
          <a:p>
            <a:fld id="{87DE6A48-BD34-9247-8CD2-A207D07E22B4}" type="datetime1">
              <a:rPr lang="en-US"/>
              <a:pPr/>
              <a:t>4/24/26</a:t>
            </a:fld>
            <a:endParaRPr lang="en-US"/>
          </a:p>
        </p:txBody>
      </p:sp>
      <p:sp>
        <p:nvSpPr>
          <p:cNvPr id="6" name="Slide Number Placeholder 5"/>
          <p:cNvSpPr>
            <a:spLocks noGrp="1"/>
          </p:cNvSpPr>
          <p:nvPr>
            <p:ph type="sldNum" sz="quarter" idx="12"/>
          </p:nvPr>
        </p:nvSpPr>
        <p:spPr/>
        <p:txBody>
          <a:bodyPr/>
          <a:lstStyle>
            <a:lvl1pPr>
              <a:defRPr/>
            </a:lvl1pPr>
          </a:lstStyle>
          <a:p>
            <a:fld id="{02941447-81A8-E34A-8E29-11F044513D7E}" type="slidenum">
              <a:rPr lang="en-US"/>
              <a:pPr/>
              <a:t>‹#›</a:t>
            </a:fld>
            <a:endParaRPr lang="en-US"/>
          </a:p>
        </p:txBody>
      </p:sp>
      <p:sp>
        <p:nvSpPr>
          <p:cNvPr id="7" name="Title 1"/>
          <p:cNvSpPr>
            <a:spLocks noGrp="1"/>
          </p:cNvSpPr>
          <p:nvPr>
            <p:ph type="title"/>
          </p:nvPr>
        </p:nvSpPr>
        <p:spPr>
          <a:xfrm>
            <a:off x="609600" y="490458"/>
            <a:ext cx="10972800" cy="713539"/>
          </a:xfrm>
          <a:prstGeom prst="rect">
            <a:avLst/>
          </a:prstGeom>
        </p:spPr>
        <p:txBody>
          <a:bodyPr/>
          <a:lstStyle>
            <a:lvl1pPr>
              <a:defRPr>
                <a:solidFill>
                  <a:srgbClr val="CD113B"/>
                </a:solidFill>
              </a:defRPr>
            </a:lvl1pPr>
          </a:lstStyle>
          <a:p>
            <a:r>
              <a:rPr lang="en-US"/>
              <a:t>Click to edit Master title style</a:t>
            </a:r>
          </a:p>
        </p:txBody>
      </p:sp>
      <p:sp>
        <p:nvSpPr>
          <p:cNvPr id="8" name="Content Placeholder 2"/>
          <p:cNvSpPr>
            <a:spLocks noGrp="1"/>
          </p:cNvSpPr>
          <p:nvPr>
            <p:ph idx="1"/>
          </p:nvPr>
        </p:nvSpPr>
        <p:spPr>
          <a:xfrm>
            <a:off x="609600" y="1368927"/>
            <a:ext cx="10972800" cy="4947903"/>
          </a:xfrm>
          <a:prstGeom prst="rect">
            <a:avLst/>
          </a:prstGeom>
        </p:spPr>
        <p:txBody>
          <a:bodyPr/>
          <a:lstStyle>
            <a:lvl1pPr>
              <a:defRPr sz="1500">
                <a:solidFill>
                  <a:schemeClr val="tx1"/>
                </a:solidFill>
              </a:defRPr>
            </a:lvl1pPr>
            <a:lvl2pPr>
              <a:defRPr sz="1350">
                <a:solidFill>
                  <a:schemeClr val="tx1"/>
                </a:solidFill>
              </a:defRPr>
            </a:lvl2pPr>
            <a:lvl3pPr>
              <a:defRPr sz="1200">
                <a:solidFill>
                  <a:schemeClr val="tx1"/>
                </a:solidFill>
              </a:defRPr>
            </a:lvl3pPr>
            <a:lvl4pPr>
              <a:defRPr sz="1050">
                <a:solidFill>
                  <a:schemeClr val="tx1"/>
                </a:solidFill>
              </a:defRPr>
            </a:lvl4pPr>
            <a:lvl5pPr>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0179619"/>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Title Contents">
    <p:bg>
      <p:bgRef idx="1001">
        <a:schemeClr val="bg1"/>
      </p:bgRef>
    </p:bg>
    <p:spTree>
      <p:nvGrpSpPr>
        <p:cNvPr id="1" name=""/>
        <p:cNvGrpSpPr/>
        <p:nvPr/>
      </p:nvGrpSpPr>
      <p:grpSpPr>
        <a:xfrm>
          <a:off x="0" y="0"/>
          <a:ext cx="0" cy="0"/>
          <a:chOff x="0" y="0"/>
          <a:chExt cx="0" cy="0"/>
        </a:xfrm>
      </p:grpSpPr>
      <p:sp>
        <p:nvSpPr>
          <p:cNvPr id="19" name="Content Placeholder 2">
            <a:extLst>
              <a:ext uri="{FF2B5EF4-FFF2-40B4-BE49-F238E27FC236}">
                <a16:creationId xmlns:a16="http://schemas.microsoft.com/office/drawing/2014/main" id="{DD96BF95-46DC-03DC-C2B7-7BE7F6444389}"/>
              </a:ext>
            </a:extLst>
          </p:cNvPr>
          <p:cNvSpPr>
            <a:spLocks noGrp="1"/>
          </p:cNvSpPr>
          <p:nvPr>
            <p:ph idx="1"/>
          </p:nvPr>
        </p:nvSpPr>
        <p:spPr>
          <a:xfrm>
            <a:off x="515937" y="1960510"/>
            <a:ext cx="11039475" cy="3909287"/>
          </a:xfrm>
        </p:spPr>
        <p:txBody>
          <a:bodyPr/>
          <a:lstStyle>
            <a:lvl1pPr>
              <a:buClr>
                <a:schemeClr val="tx2"/>
              </a:buCl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6" name="Content Placeholder 2">
            <a:extLst>
              <a:ext uri="{FF2B5EF4-FFF2-40B4-BE49-F238E27FC236}">
                <a16:creationId xmlns:a16="http://schemas.microsoft.com/office/drawing/2014/main" id="{C6B8C8DC-9033-8CA0-3998-8EF058FCB50F}"/>
              </a:ext>
            </a:extLst>
          </p:cNvPr>
          <p:cNvSpPr>
            <a:spLocks noGrp="1"/>
          </p:cNvSpPr>
          <p:nvPr>
            <p:ph idx="11"/>
          </p:nvPr>
        </p:nvSpPr>
        <p:spPr>
          <a:xfrm>
            <a:off x="515937" y="1233460"/>
            <a:ext cx="11039475" cy="577179"/>
          </a:xfrm>
        </p:spPr>
        <p:txBody>
          <a:bodyPr/>
          <a:lstStyle>
            <a:lvl1pPr marL="0" indent="0">
              <a:buClr>
                <a:schemeClr val="tx2"/>
              </a:buClr>
              <a:buNone/>
              <a:defRPr sz="1200">
                <a:solidFill>
                  <a:schemeClr val="accent1"/>
                </a:solidFill>
              </a:defRPr>
            </a:lvl1pPr>
            <a:lvl2pPr marL="197644" indent="0">
              <a:buNone/>
              <a:defRPr>
                <a:solidFill>
                  <a:schemeClr val="tx2"/>
                </a:solidFill>
              </a:defRPr>
            </a:lvl2pPr>
            <a:lvl3pPr marL="402431" indent="0">
              <a:buNone/>
              <a:defRPr>
                <a:solidFill>
                  <a:schemeClr val="tx2"/>
                </a:solidFill>
              </a:defRPr>
            </a:lvl3pPr>
            <a:lvl4pPr marL="608410" indent="0">
              <a:buNone/>
              <a:defRPr>
                <a:solidFill>
                  <a:schemeClr val="tx2"/>
                </a:solidFill>
              </a:defRPr>
            </a:lvl4pPr>
            <a:lvl5pPr marL="806054" indent="0">
              <a:buNone/>
              <a:defRPr>
                <a:solidFill>
                  <a:schemeClr val="tx2"/>
                </a:solidFill>
              </a:defRPr>
            </a:lvl5pPr>
          </a:lstStyle>
          <a:p>
            <a:pPr lvl="0"/>
            <a:r>
              <a:rPr lang="en-US" dirty="0"/>
              <a:t>Click to edit Master text styles</a:t>
            </a:r>
            <a:endParaRPr lang="en-GB" dirty="0"/>
          </a:p>
        </p:txBody>
      </p:sp>
      <p:pic>
        <p:nvPicPr>
          <p:cNvPr id="27" name="Picture 26" descr="A black and grey logo&#10;&#10;Description automatically generated">
            <a:extLst>
              <a:ext uri="{FF2B5EF4-FFF2-40B4-BE49-F238E27FC236}">
                <a16:creationId xmlns:a16="http://schemas.microsoft.com/office/drawing/2014/main" id="{DB57837A-AB51-C086-D166-8F99EECA4EF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5939" y="6276276"/>
            <a:ext cx="1991711" cy="321163"/>
          </a:xfrm>
          <a:prstGeom prst="rect">
            <a:avLst/>
          </a:prstGeom>
        </p:spPr>
      </p:pic>
      <p:sp>
        <p:nvSpPr>
          <p:cNvPr id="18" name="Title 1">
            <a:extLst>
              <a:ext uri="{FF2B5EF4-FFF2-40B4-BE49-F238E27FC236}">
                <a16:creationId xmlns:a16="http://schemas.microsoft.com/office/drawing/2014/main" id="{80C499CF-E13D-E059-6CCF-7C436EFB1A3F}"/>
              </a:ext>
            </a:extLst>
          </p:cNvPr>
          <p:cNvSpPr>
            <a:spLocks noGrp="1"/>
          </p:cNvSpPr>
          <p:nvPr>
            <p:ph type="title"/>
          </p:nvPr>
        </p:nvSpPr>
        <p:spPr>
          <a:xfrm>
            <a:off x="515937" y="307546"/>
            <a:ext cx="11039475" cy="748256"/>
          </a:xfrm>
        </p:spPr>
        <p:txBody>
          <a:bodyPr/>
          <a:lstStyle>
            <a:lvl1pPr>
              <a:defRPr>
                <a:solidFill>
                  <a:schemeClr val="tx1"/>
                </a:solidFill>
              </a:defRPr>
            </a:lvl1pPr>
          </a:lstStyle>
          <a:p>
            <a:r>
              <a:rPr lang="en-US" dirty="0"/>
              <a:t>Click to edit Master title style</a:t>
            </a:r>
            <a:endParaRPr lang="en-GB" dirty="0"/>
          </a:p>
        </p:txBody>
      </p:sp>
      <p:pic>
        <p:nvPicPr>
          <p:cNvPr id="5" name="Picture 4" descr="A purple circle with arrows&#10;&#10;Description automatically generated">
            <a:extLst>
              <a:ext uri="{FF2B5EF4-FFF2-40B4-BE49-F238E27FC236}">
                <a16:creationId xmlns:a16="http://schemas.microsoft.com/office/drawing/2014/main" id="{B01E05FA-73E2-0B34-D9A0-303EC3A74D7A}"/>
              </a:ext>
            </a:extLst>
          </p:cNvPr>
          <p:cNvPicPr>
            <a:picLocks noChangeAspect="1"/>
          </p:cNvPicPr>
          <p:nvPr userDrawn="1"/>
        </p:nvPicPr>
        <p:blipFill>
          <a:blip r:embed="rId3">
            <a:alphaModFix amt="27000"/>
          </a:blip>
          <a:srcRect l="5149" t="36700" r="89035" b="4675"/>
          <a:stretch/>
        </p:blipFill>
        <p:spPr>
          <a:xfrm rot="10800000" flipH="1">
            <a:off x="11741124" y="4297680"/>
            <a:ext cx="450877" cy="2560320"/>
          </a:xfrm>
          <a:prstGeom prst="rect">
            <a:avLst/>
          </a:prstGeom>
        </p:spPr>
      </p:pic>
      <p:pic>
        <p:nvPicPr>
          <p:cNvPr id="8" name="Picture 7" descr="A purple circle with arrows&#10;&#10;Description automatically generated">
            <a:extLst>
              <a:ext uri="{FF2B5EF4-FFF2-40B4-BE49-F238E27FC236}">
                <a16:creationId xmlns:a16="http://schemas.microsoft.com/office/drawing/2014/main" id="{89CB22B1-7E28-6096-C573-6F68483C3C5D}"/>
              </a:ext>
            </a:extLst>
          </p:cNvPr>
          <p:cNvPicPr>
            <a:picLocks noChangeAspect="1"/>
          </p:cNvPicPr>
          <p:nvPr userDrawn="1"/>
        </p:nvPicPr>
        <p:blipFill>
          <a:blip r:embed="rId3">
            <a:alphaModFix amt="27000"/>
          </a:blip>
          <a:srcRect l="5149" t="36700" r="89035" b="4675"/>
          <a:stretch/>
        </p:blipFill>
        <p:spPr>
          <a:xfrm flipH="1">
            <a:off x="-1669" y="0"/>
            <a:ext cx="450877" cy="2560320"/>
          </a:xfrm>
          <a:prstGeom prst="rect">
            <a:avLst/>
          </a:prstGeom>
          <a:solidFill>
            <a:schemeClr val="bg1"/>
          </a:solidFill>
        </p:spPr>
      </p:pic>
      <p:sp>
        <p:nvSpPr>
          <p:cNvPr id="2" name="Text Placeholder 9">
            <a:extLst>
              <a:ext uri="{FF2B5EF4-FFF2-40B4-BE49-F238E27FC236}">
                <a16:creationId xmlns:a16="http://schemas.microsoft.com/office/drawing/2014/main" id="{AB30FE5E-8D29-3A9E-6ED6-D7E63F83D64E}"/>
              </a:ext>
            </a:extLst>
          </p:cNvPr>
          <p:cNvSpPr>
            <a:spLocks noGrp="1"/>
          </p:cNvSpPr>
          <p:nvPr>
            <p:ph type="body" sz="quarter" idx="12" hasCustomPrompt="1"/>
          </p:nvPr>
        </p:nvSpPr>
        <p:spPr>
          <a:xfrm>
            <a:off x="518562" y="6034699"/>
            <a:ext cx="11301964" cy="124650"/>
          </a:xfrm>
        </p:spPr>
        <p:txBody>
          <a:bodyPr wrap="square" lIns="0" tIns="0" rIns="0" bIns="0" anchor="b">
            <a:noAutofit/>
          </a:bodyPr>
          <a:lstStyle>
            <a:lvl1pPr marL="0" indent="0">
              <a:lnSpc>
                <a:spcPct val="90000"/>
              </a:lnSpc>
              <a:spcBef>
                <a:spcPts val="0"/>
              </a:spcBef>
              <a:spcAft>
                <a:spcPts val="0"/>
              </a:spcAft>
              <a:buNone/>
              <a:defRPr sz="675"/>
            </a:lvl1pPr>
          </a:lstStyle>
          <a:p>
            <a:pPr lvl="0"/>
            <a:r>
              <a:rPr lang="en-US" dirty="0"/>
              <a:t>Footer</a:t>
            </a:r>
            <a:endParaRPr lang="en-GB" dirty="0"/>
          </a:p>
        </p:txBody>
      </p:sp>
      <p:sp>
        <p:nvSpPr>
          <p:cNvPr id="4" name="Text Placeholder 12">
            <a:extLst>
              <a:ext uri="{FF2B5EF4-FFF2-40B4-BE49-F238E27FC236}">
                <a16:creationId xmlns:a16="http://schemas.microsoft.com/office/drawing/2014/main" id="{E4A8117E-54C1-7EB2-878C-FF69E18F3CB7}"/>
              </a:ext>
            </a:extLst>
          </p:cNvPr>
          <p:cNvSpPr>
            <a:spLocks noGrp="1"/>
          </p:cNvSpPr>
          <p:nvPr>
            <p:ph type="body" sz="quarter" idx="21" hasCustomPrompt="1"/>
          </p:nvPr>
        </p:nvSpPr>
        <p:spPr>
          <a:xfrm>
            <a:off x="3286038" y="6392751"/>
            <a:ext cx="5499276" cy="184666"/>
          </a:xfrm>
          <a:noFill/>
        </p:spPr>
        <p:txBody>
          <a:bodyPr wrap="square" anchor="ctr">
            <a:spAutoFit/>
          </a:bodyPr>
          <a:lstStyle>
            <a:lvl1pPr marL="0" indent="0" algn="ctr">
              <a:lnSpc>
                <a:spcPct val="100000"/>
              </a:lnSpc>
              <a:spcBef>
                <a:spcPts val="450"/>
              </a:spcBef>
              <a:spcAft>
                <a:spcPts val="0"/>
              </a:spcAft>
              <a:buNone/>
              <a:defRPr sz="600">
                <a:solidFill>
                  <a:schemeClr val="tx1"/>
                </a:solidFill>
                <a:latin typeface="+mn-lt"/>
              </a:defRPr>
            </a:lvl1pPr>
            <a:lvl2pPr marL="197644" indent="0">
              <a:buNone/>
              <a:defRPr>
                <a:solidFill>
                  <a:schemeClr val="bg1"/>
                </a:solidFill>
                <a:latin typeface="+mn-lt"/>
              </a:defRPr>
            </a:lvl2pPr>
            <a:lvl3pPr marL="402431" indent="0">
              <a:buNone/>
              <a:defRPr>
                <a:solidFill>
                  <a:schemeClr val="bg1"/>
                </a:solidFill>
                <a:latin typeface="+mn-lt"/>
              </a:defRPr>
            </a:lvl3pPr>
            <a:lvl4pPr marL="608410" indent="0">
              <a:buNone/>
              <a:defRPr>
                <a:solidFill>
                  <a:schemeClr val="bg1"/>
                </a:solidFill>
                <a:latin typeface="+mn-lt"/>
              </a:defRPr>
            </a:lvl4pPr>
            <a:lvl5pPr marL="806054" indent="0">
              <a:buNone/>
              <a:defRPr>
                <a:solidFill>
                  <a:schemeClr val="bg1"/>
                </a:solidFill>
                <a:latin typeface="+mn-lt"/>
              </a:defRPr>
            </a:lvl5pPr>
          </a:lstStyle>
          <a:p>
            <a:pPr lvl="0"/>
            <a:r>
              <a:rPr lang="en-US" dirty="0"/>
              <a:t>Click to edit text</a:t>
            </a:r>
          </a:p>
        </p:txBody>
      </p:sp>
    </p:spTree>
    <p:extLst>
      <p:ext uri="{BB962C8B-B14F-4D97-AF65-F5344CB8AC3E}">
        <p14:creationId xmlns:p14="http://schemas.microsoft.com/office/powerpoint/2010/main" val="2521698234"/>
      </p:ext>
    </p:extLst>
  </p:cSld>
  <p:clrMapOvr>
    <a:overrideClrMapping bg1="lt1" tx1="dk1" bg2="lt2" tx2="dk2" accent1="accent1" accent2="accent2" accent3="accent3" accent4="accent4" accent5="accent5" accent6="accent6" hlink="hlink" folHlink="folHlink"/>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a:xfrm>
            <a:off x="838200" y="6356352"/>
            <a:ext cx="2743200" cy="365125"/>
          </a:xfrm>
          <a:prstGeom prst="rect">
            <a:avLst/>
          </a:prstGeom>
        </p:spPr>
        <p:txBody>
          <a:bodyPr/>
          <a:lstStyle/>
          <a:p>
            <a:fld id="{51EF199A-A142-4C3B-87E4-16D4041B3E0B}" type="datetime1">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fld id="{1FFE3454-E3CA-2442-AE8B-56036A740230}" type="slidenum">
              <a:rPr lang="en-US" smtClean="0"/>
              <a:t>‹#›</a:t>
            </a:fld>
            <a:endParaRPr lang="en-US"/>
          </a:p>
        </p:txBody>
      </p:sp>
      <p:sp>
        <p:nvSpPr>
          <p:cNvPr id="7" name="bk object 16">
            <a:extLst>
              <a:ext uri="{FF2B5EF4-FFF2-40B4-BE49-F238E27FC236}">
                <a16:creationId xmlns:a16="http://schemas.microsoft.com/office/drawing/2014/main" id="{1F304965-4904-5772-3567-41FCF21E7EA6}"/>
              </a:ext>
            </a:extLst>
          </p:cNvPr>
          <p:cNvSpPr/>
          <p:nvPr userDrawn="1"/>
        </p:nvSpPr>
        <p:spPr>
          <a:xfrm>
            <a:off x="334327" y="6516692"/>
            <a:ext cx="1404827" cy="341308"/>
          </a:xfrm>
          <a:prstGeom prst="rect">
            <a:avLst/>
          </a:prstGeom>
          <a:blipFill>
            <a:blip r:embed="rId2" cstate="print"/>
            <a:stretch>
              <a:fillRect/>
            </a:stretch>
          </a:blipFill>
        </p:spPr>
        <p:txBody>
          <a:bodyPr wrap="square" lIns="0" tIns="0" rIns="0" bIns="0" rtlCol="0"/>
          <a:lstStyle/>
          <a:p>
            <a:endParaRPr sz="1800"/>
          </a:p>
        </p:txBody>
      </p:sp>
    </p:spTree>
    <p:extLst>
      <p:ext uri="{BB962C8B-B14F-4D97-AF65-F5344CB8AC3E}">
        <p14:creationId xmlns:p14="http://schemas.microsoft.com/office/powerpoint/2010/main" val="114476127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5761" y="365127"/>
            <a:ext cx="11460479" cy="915035"/>
          </a:xfr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Date Placeholder 15">
            <a:extLst>
              <a:ext uri="{FF2B5EF4-FFF2-40B4-BE49-F238E27FC236}">
                <a16:creationId xmlns:a16="http://schemas.microsoft.com/office/drawing/2014/main" id="{52A49D84-D272-4A87-5B10-89980EE8BADC}"/>
              </a:ext>
            </a:extLst>
          </p:cNvPr>
          <p:cNvSpPr>
            <a:spLocks noGrp="1"/>
          </p:cNvSpPr>
          <p:nvPr>
            <p:ph type="dt" sz="half" idx="10"/>
          </p:nvPr>
        </p:nvSpPr>
        <p:spPr>
          <a:xfrm>
            <a:off x="838200" y="6356352"/>
            <a:ext cx="2743200" cy="365125"/>
          </a:xfrm>
          <a:prstGeom prst="rect">
            <a:avLst/>
          </a:prstGeom>
        </p:spPr>
        <p:txBody>
          <a:bodyPr/>
          <a:lstStyle/>
          <a:p>
            <a:fld id="{EFB4A599-1A08-4CD1-92C4-065019336E39}" type="datetime1">
              <a:rPr lang="en-US" smtClean="0"/>
              <a:t>4/24/26</a:t>
            </a:fld>
            <a:endParaRPr lang="en-US"/>
          </a:p>
        </p:txBody>
      </p:sp>
      <p:sp>
        <p:nvSpPr>
          <p:cNvPr id="17" name="Footer Placeholder 16">
            <a:extLst>
              <a:ext uri="{FF2B5EF4-FFF2-40B4-BE49-F238E27FC236}">
                <a16:creationId xmlns:a16="http://schemas.microsoft.com/office/drawing/2014/main" id="{3303634E-5448-21D3-23CB-772481C50FEF}"/>
              </a:ext>
            </a:extLst>
          </p:cNvPr>
          <p:cNvSpPr>
            <a:spLocks noGrp="1"/>
          </p:cNvSpPr>
          <p:nvPr>
            <p:ph type="ftr" sz="quarter" idx="11"/>
          </p:nvPr>
        </p:nvSpPr>
        <p:spPr/>
        <p:txBody>
          <a:bodyPr/>
          <a:lstStyle/>
          <a:p>
            <a:endParaRPr lang="en-US"/>
          </a:p>
        </p:txBody>
      </p:sp>
      <p:sp>
        <p:nvSpPr>
          <p:cNvPr id="18" name="Slide Number Placeholder 17">
            <a:extLst>
              <a:ext uri="{FF2B5EF4-FFF2-40B4-BE49-F238E27FC236}">
                <a16:creationId xmlns:a16="http://schemas.microsoft.com/office/drawing/2014/main" id="{8F1D1CB7-B469-9CE9-257C-5BBC83CFC3C5}"/>
              </a:ext>
            </a:extLst>
          </p:cNvPr>
          <p:cNvSpPr>
            <a:spLocks noGrp="1"/>
          </p:cNvSpPr>
          <p:nvPr>
            <p:ph type="sldNum" sz="quarter" idx="12"/>
          </p:nvPr>
        </p:nvSpPr>
        <p:spPr>
          <a:xfrm>
            <a:off x="8610600" y="6356352"/>
            <a:ext cx="2743200" cy="365125"/>
          </a:xfrm>
          <a:prstGeom prst="rect">
            <a:avLst/>
          </a:prstGeom>
        </p:spPr>
        <p:txBody>
          <a:bodyPr/>
          <a:lstStyle/>
          <a:p>
            <a:fld id="{1FFE3454-E3CA-2442-AE8B-56036A740230}" type="slidenum">
              <a:rPr lang="en-US" smtClean="0"/>
              <a:t>‹#›</a:t>
            </a:fld>
            <a:endParaRPr lang="en-US"/>
          </a:p>
        </p:txBody>
      </p:sp>
      <p:sp>
        <p:nvSpPr>
          <p:cNvPr id="4" name="bk object 16">
            <a:extLst>
              <a:ext uri="{FF2B5EF4-FFF2-40B4-BE49-F238E27FC236}">
                <a16:creationId xmlns:a16="http://schemas.microsoft.com/office/drawing/2014/main" id="{A51E364F-01EA-26E9-8EA6-3180ADC08D08}"/>
              </a:ext>
            </a:extLst>
          </p:cNvPr>
          <p:cNvSpPr/>
          <p:nvPr userDrawn="1"/>
        </p:nvSpPr>
        <p:spPr>
          <a:xfrm>
            <a:off x="334327" y="6516692"/>
            <a:ext cx="1404827" cy="341308"/>
          </a:xfrm>
          <a:prstGeom prst="rect">
            <a:avLst/>
          </a:prstGeom>
          <a:blipFill>
            <a:blip r:embed="rId2" cstate="print"/>
            <a:stretch>
              <a:fillRect/>
            </a:stretch>
          </a:blipFill>
        </p:spPr>
        <p:txBody>
          <a:bodyPr wrap="square" lIns="0" tIns="0" rIns="0" bIns="0" rtlCol="0"/>
          <a:lstStyle/>
          <a:p>
            <a:endParaRPr sz="1800"/>
          </a:p>
        </p:txBody>
      </p:sp>
      <p:sp>
        <p:nvSpPr>
          <p:cNvPr id="5" name="bk object 18">
            <a:extLst>
              <a:ext uri="{FF2B5EF4-FFF2-40B4-BE49-F238E27FC236}">
                <a16:creationId xmlns:a16="http://schemas.microsoft.com/office/drawing/2014/main" id="{4D724F88-438A-9738-7D64-3C73C4CEA00F}"/>
              </a:ext>
            </a:extLst>
          </p:cNvPr>
          <p:cNvSpPr/>
          <p:nvPr userDrawn="1"/>
        </p:nvSpPr>
        <p:spPr>
          <a:xfrm>
            <a:off x="2" y="0"/>
            <a:ext cx="107156" cy="6858000"/>
          </a:xfrm>
          <a:custGeom>
            <a:avLst/>
            <a:gdLst/>
            <a:ahLst/>
            <a:cxnLst/>
            <a:rect l="l" t="t" r="r" b="b"/>
            <a:pathLst>
              <a:path w="142875" h="6858000">
                <a:moveTo>
                  <a:pt x="0" y="6858000"/>
                </a:moveTo>
                <a:lnTo>
                  <a:pt x="142494" y="6858000"/>
                </a:lnTo>
                <a:lnTo>
                  <a:pt x="142494" y="0"/>
                </a:lnTo>
                <a:lnTo>
                  <a:pt x="0" y="0"/>
                </a:lnTo>
                <a:lnTo>
                  <a:pt x="0" y="6858000"/>
                </a:lnTo>
                <a:close/>
              </a:path>
            </a:pathLst>
          </a:custGeom>
          <a:solidFill>
            <a:srgbClr val="CBB379"/>
          </a:solidFill>
        </p:spPr>
        <p:txBody>
          <a:bodyPr wrap="square" lIns="0" tIns="0" rIns="0" bIns="0" rtlCol="0"/>
          <a:lstStyle/>
          <a:p>
            <a:endParaRPr sz="1800"/>
          </a:p>
        </p:txBody>
      </p:sp>
    </p:spTree>
    <p:extLst>
      <p:ext uri="{BB962C8B-B14F-4D97-AF65-F5344CB8AC3E}">
        <p14:creationId xmlns:p14="http://schemas.microsoft.com/office/powerpoint/2010/main" val="54319539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49" y="1709739"/>
            <a:ext cx="10515600" cy="2852737"/>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831849" y="4589465"/>
            <a:ext cx="105156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38200" y="6356352"/>
            <a:ext cx="2743200" cy="365125"/>
          </a:xfrm>
          <a:prstGeom prst="rect">
            <a:avLst/>
          </a:prstGeom>
        </p:spPr>
        <p:txBody>
          <a:bodyPr/>
          <a:lstStyle/>
          <a:p>
            <a:fld id="{91578DC6-2966-4842-B7CB-171F405432DB}" type="datetime1">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1541959051"/>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0" y="6356352"/>
            <a:ext cx="2743200" cy="365125"/>
          </a:xfrm>
          <a:prstGeom prst="rect">
            <a:avLst/>
          </a:prstGeom>
        </p:spPr>
        <p:txBody>
          <a:bodyPr/>
          <a:lstStyle/>
          <a:p>
            <a:fld id="{DC904DB2-D217-4859-AD96-675542A41556}" type="datetime1">
              <a:rPr lang="en-US" smtClean="0"/>
              <a:t>4/24/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610600" y="6356352"/>
            <a:ext cx="2743200" cy="365125"/>
          </a:xfrm>
          <a:prstGeom prst="rect">
            <a:avLst/>
          </a:prstGeom>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467781548"/>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8200" y="6356352"/>
            <a:ext cx="2743200" cy="365125"/>
          </a:xfrm>
          <a:prstGeom prst="rect">
            <a:avLst/>
          </a:prstGeom>
        </p:spPr>
        <p:txBody>
          <a:bodyPr/>
          <a:lstStyle/>
          <a:p>
            <a:fld id="{AD0A118C-D344-40E5-B920-34B26B724B76}" type="datetime1">
              <a:rPr lang="en-US" smtClean="0"/>
              <a:t>4/24/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a:xfrm>
            <a:off x="8610600" y="6356352"/>
            <a:ext cx="2743200" cy="365125"/>
          </a:xfrm>
          <a:prstGeom prst="rect">
            <a:avLst/>
          </a:prstGeom>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33343239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0" y="6356352"/>
            <a:ext cx="2743200" cy="365125"/>
          </a:xfrm>
          <a:prstGeom prst="rect">
            <a:avLst/>
          </a:prstGeom>
        </p:spPr>
        <p:txBody>
          <a:bodyPr/>
          <a:lstStyle/>
          <a:p>
            <a:fld id="{2D13D086-32FF-4843-8F98-502F004465D5}" type="datetime1">
              <a:rPr lang="en-US" smtClean="0"/>
              <a:t>4/24/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a:xfrm>
            <a:off x="8610600" y="6356352"/>
            <a:ext cx="2743200" cy="365125"/>
          </a:xfrm>
          <a:prstGeom prst="rect">
            <a:avLst/>
          </a:prstGeom>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364437753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2"/>
            <a:ext cx="2743200" cy="365125"/>
          </a:xfrm>
          <a:prstGeom prst="rect">
            <a:avLst/>
          </a:prstGeom>
        </p:spPr>
        <p:txBody>
          <a:bodyPr/>
          <a:lstStyle/>
          <a:p>
            <a:fld id="{0AB54205-631E-46DC-8E32-106CE797C610}" type="datetime1">
              <a:rPr lang="en-US" smtClean="0"/>
              <a:t>4/24/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a:xfrm>
            <a:off x="8610600" y="6356352"/>
            <a:ext cx="2743200" cy="365125"/>
          </a:xfrm>
          <a:prstGeom prst="rect">
            <a:avLst/>
          </a:prstGeom>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28673875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defRPr sz="3200"/>
            </a:lvl1pPr>
            <a:lvl2pPr>
              <a:defRPr sz="2800"/>
            </a:lvl2pPr>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9584439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916FF65-E16B-BA4F-9591-6B4416106527}" type="datetimeFigureOut">
              <a:rPr lang="en-US" smtClean="0"/>
              <a:t>4/24/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4332480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5183188" y="987427"/>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a:xfrm>
            <a:off x="838200" y="6356352"/>
            <a:ext cx="2743200" cy="365125"/>
          </a:xfrm>
          <a:prstGeom prst="rect">
            <a:avLst/>
          </a:prstGeom>
        </p:spPr>
        <p:txBody>
          <a:bodyPr/>
          <a:lstStyle/>
          <a:p>
            <a:fld id="{1708FAEF-422B-467B-9904-D16F44F515CC}" type="datetime1">
              <a:rPr lang="en-US" smtClean="0"/>
              <a:t>4/24/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610600" y="6356352"/>
            <a:ext cx="2743200" cy="365125"/>
          </a:xfrm>
          <a:prstGeom prst="rect">
            <a:avLst/>
          </a:prstGeom>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4079460528"/>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a:xfrm>
            <a:off x="838200" y="6356352"/>
            <a:ext cx="2743200" cy="365125"/>
          </a:xfrm>
          <a:prstGeom prst="rect">
            <a:avLst/>
          </a:prstGeom>
        </p:spPr>
        <p:txBody>
          <a:bodyPr/>
          <a:lstStyle/>
          <a:p>
            <a:fld id="{EC45E583-00D7-43F4-A5CB-8915349A7D87}" type="datetime1">
              <a:rPr lang="en-US" smtClean="0"/>
              <a:t>4/24/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610600" y="6356352"/>
            <a:ext cx="2743200" cy="365125"/>
          </a:xfrm>
          <a:prstGeom prst="rect">
            <a:avLst/>
          </a:prstGeom>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95912701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2"/>
            <a:ext cx="2743200" cy="365125"/>
          </a:xfrm>
          <a:prstGeom prst="rect">
            <a:avLst/>
          </a:prstGeom>
        </p:spPr>
        <p:txBody>
          <a:bodyPr/>
          <a:lstStyle/>
          <a:p>
            <a:fld id="{CE670BB4-05E8-408C-B761-99B54A9F8326}" type="datetime1">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2080512593"/>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2"/>
            <a:ext cx="2743200" cy="365125"/>
          </a:xfrm>
          <a:prstGeom prst="rect">
            <a:avLst/>
          </a:prstGeom>
        </p:spPr>
        <p:txBody>
          <a:bodyPr/>
          <a:lstStyle/>
          <a:p>
            <a:fld id="{BCD1E496-C690-4052-A8F9-B4306022A2B1}" type="datetime1">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1706677514"/>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77D43C-8061-4F4B-A58C-537B44EA7F0E}"/>
              </a:ext>
            </a:extLst>
          </p:cNvPr>
          <p:cNvSpPr>
            <a:spLocks noGrp="1"/>
          </p:cNvSpPr>
          <p:nvPr>
            <p:ph type="title" hasCustomPrompt="1"/>
          </p:nvPr>
        </p:nvSpPr>
        <p:spPr/>
        <p:txBody>
          <a:bodyPr/>
          <a:lstStyle>
            <a:lvl1pPr>
              <a:defRPr/>
            </a:lvl1pPr>
          </a:lstStyle>
          <a:p>
            <a:r>
              <a:rPr lang="en-US"/>
              <a:t>[Slide title]</a:t>
            </a:r>
          </a:p>
        </p:txBody>
      </p:sp>
      <p:sp>
        <p:nvSpPr>
          <p:cNvPr id="3" name="Content Placeholder 2">
            <a:extLst>
              <a:ext uri="{FF2B5EF4-FFF2-40B4-BE49-F238E27FC236}">
                <a16:creationId xmlns:a16="http://schemas.microsoft.com/office/drawing/2014/main" id="{58BCB52D-820B-4886-993D-F1BD3CE0A1BF}"/>
              </a:ext>
            </a:extLst>
          </p:cNvPr>
          <p:cNvSpPr>
            <a:spLocks noGrp="1"/>
          </p:cNvSpPr>
          <p:nvPr>
            <p:ph idx="1"/>
          </p:nvPr>
        </p:nvSpPr>
        <p:spPr>
          <a:xfrm>
            <a:off x="365760" y="1554480"/>
            <a:ext cx="8524240" cy="4572000"/>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3">
            <a:extLst>
              <a:ext uri="{FF2B5EF4-FFF2-40B4-BE49-F238E27FC236}">
                <a16:creationId xmlns:a16="http://schemas.microsoft.com/office/drawing/2014/main" id="{A7A49372-BC99-44B1-93F3-52B055BA1B4C}"/>
              </a:ext>
            </a:extLst>
          </p:cNvPr>
          <p:cNvSpPr>
            <a:spLocks noGrp="1"/>
          </p:cNvSpPr>
          <p:nvPr>
            <p:ph type="sldNum" sz="quarter" idx="12"/>
          </p:nvPr>
        </p:nvSpPr>
        <p:spPr>
          <a:xfrm>
            <a:off x="8610600" y="6356352"/>
            <a:ext cx="2743200" cy="365125"/>
          </a:xfrm>
          <a:prstGeom prst="rect">
            <a:avLst/>
          </a:prstGeom>
        </p:spPr>
        <p:txBody>
          <a:bodyPr/>
          <a:lstStyle/>
          <a:p>
            <a:fld id="{B58DE5F1-E0F9-4CCA-92B7-7A6FC4DFEE14}" type="slidenum">
              <a:rPr lang="en-US" smtClean="0"/>
              <a:t>‹#›</a:t>
            </a:fld>
            <a:endParaRPr lang="en-US"/>
          </a:p>
        </p:txBody>
      </p:sp>
      <p:sp>
        <p:nvSpPr>
          <p:cNvPr id="5" name="Content Placeholder 4">
            <a:extLst>
              <a:ext uri="{FF2B5EF4-FFF2-40B4-BE49-F238E27FC236}">
                <a16:creationId xmlns:a16="http://schemas.microsoft.com/office/drawing/2014/main" id="{CCEDBFF4-E1B6-4EE0-8F6D-B5A441B7A8C1}"/>
              </a:ext>
            </a:extLst>
          </p:cNvPr>
          <p:cNvSpPr>
            <a:spLocks noGrp="1"/>
          </p:cNvSpPr>
          <p:nvPr>
            <p:ph sz="quarter" idx="13" hasCustomPrompt="1"/>
          </p:nvPr>
        </p:nvSpPr>
        <p:spPr>
          <a:xfrm>
            <a:off x="365765" y="6099083"/>
            <a:ext cx="11461751" cy="228600"/>
          </a:xfrm>
        </p:spPr>
        <p:txBody>
          <a:bodyPr anchor="b" anchorCtr="0"/>
          <a:lstStyle>
            <a:lvl1pPr marL="0" indent="0">
              <a:buNone/>
              <a:defRPr sz="450"/>
            </a:lvl1pPr>
          </a:lstStyle>
          <a:p>
            <a:pPr lvl="0"/>
            <a:r>
              <a:rPr lang="en-US"/>
              <a:t>Footer</a:t>
            </a:r>
            <a:endParaRPr lang="en-GB"/>
          </a:p>
        </p:txBody>
      </p:sp>
    </p:spTree>
    <p:extLst>
      <p:ext uri="{BB962C8B-B14F-4D97-AF65-F5344CB8AC3E}">
        <p14:creationId xmlns:p14="http://schemas.microsoft.com/office/powerpoint/2010/main" val="287155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467">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text pag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vl1pPr>
          </a:lstStyle>
          <a:p>
            <a:fld id="{87DE6A48-BD34-9247-8CD2-A207D07E22B4}" type="datetime1">
              <a:rPr lang="en-US"/>
              <a:pPr/>
              <a:t>4/24/26</a:t>
            </a:fld>
            <a:endParaRPr lang="en-US"/>
          </a:p>
        </p:txBody>
      </p:sp>
      <p:sp>
        <p:nvSpPr>
          <p:cNvPr id="6" name="Slide Number Placeholder 5"/>
          <p:cNvSpPr>
            <a:spLocks noGrp="1"/>
          </p:cNvSpPr>
          <p:nvPr>
            <p:ph type="sldNum" sz="quarter" idx="12"/>
          </p:nvPr>
        </p:nvSpPr>
        <p:spPr/>
        <p:txBody>
          <a:bodyPr/>
          <a:lstStyle>
            <a:lvl1pPr>
              <a:defRPr/>
            </a:lvl1pPr>
          </a:lstStyle>
          <a:p>
            <a:fld id="{02941447-81A8-E34A-8E29-11F044513D7E}" type="slidenum">
              <a:rPr lang="en-US"/>
              <a:pPr/>
              <a:t>‹#›</a:t>
            </a:fld>
            <a:endParaRPr lang="en-US"/>
          </a:p>
        </p:txBody>
      </p:sp>
      <p:sp>
        <p:nvSpPr>
          <p:cNvPr id="7" name="Title 1"/>
          <p:cNvSpPr>
            <a:spLocks noGrp="1"/>
          </p:cNvSpPr>
          <p:nvPr>
            <p:ph type="title"/>
          </p:nvPr>
        </p:nvSpPr>
        <p:spPr>
          <a:xfrm>
            <a:off x="609600" y="490454"/>
            <a:ext cx="10972800" cy="713539"/>
          </a:xfrm>
          <a:prstGeom prst="rect">
            <a:avLst/>
          </a:prstGeom>
        </p:spPr>
        <p:txBody>
          <a:bodyPr/>
          <a:lstStyle>
            <a:lvl1pPr>
              <a:defRPr>
                <a:solidFill>
                  <a:srgbClr val="CD113B"/>
                </a:solidFill>
              </a:defRPr>
            </a:lvl1pPr>
          </a:lstStyle>
          <a:p>
            <a:r>
              <a:rPr lang="en-US"/>
              <a:t>Click to edit Master title style</a:t>
            </a:r>
          </a:p>
        </p:txBody>
      </p:sp>
      <p:sp>
        <p:nvSpPr>
          <p:cNvPr id="8" name="Content Placeholder 2"/>
          <p:cNvSpPr>
            <a:spLocks noGrp="1"/>
          </p:cNvSpPr>
          <p:nvPr>
            <p:ph idx="1"/>
          </p:nvPr>
        </p:nvSpPr>
        <p:spPr>
          <a:xfrm>
            <a:off x="609600" y="1368923"/>
            <a:ext cx="10972800" cy="4947903"/>
          </a:xfrm>
          <a:prstGeom prst="rect">
            <a:avLst/>
          </a:prstGeom>
        </p:spPr>
        <p:txBody>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2668441"/>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7597E8-CCC4-7447-B8A7-EA0DEE77DDD1}"/>
              </a:ext>
            </a:extLst>
          </p:cNvPr>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DABE1919-D938-174C-B577-2A843DC1F926}"/>
              </a:ext>
            </a:extLst>
          </p:cNvPr>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BCAC926F-CD89-1442-BDB5-BCE19D24CEB1}"/>
              </a:ext>
            </a:extLst>
          </p:cNvPr>
          <p:cNvSpPr>
            <a:spLocks noGrp="1"/>
          </p:cNvSpPr>
          <p:nvPr>
            <p:ph type="dt" sz="half" idx="10"/>
          </p:nvPr>
        </p:nvSpPr>
        <p:spPr/>
        <p:txBody>
          <a:bodyPr/>
          <a:lstStyle/>
          <a:p>
            <a:fld id="{559A4995-99F3-6C48-8980-DDECA35E6552}" type="datetimeFigureOut">
              <a:rPr lang="en-US" smtClean="0"/>
              <a:t>4/24/26</a:t>
            </a:fld>
            <a:endParaRPr lang="en-US"/>
          </a:p>
        </p:txBody>
      </p:sp>
      <p:sp>
        <p:nvSpPr>
          <p:cNvPr id="5" name="Footer Placeholder 4">
            <a:extLst>
              <a:ext uri="{FF2B5EF4-FFF2-40B4-BE49-F238E27FC236}">
                <a16:creationId xmlns:a16="http://schemas.microsoft.com/office/drawing/2014/main" id="{A3154943-B6B3-2749-A2CE-E2083192AF7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884EB47-C744-084B-9EEC-794449C67D8F}"/>
              </a:ext>
            </a:extLst>
          </p:cNvPr>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1740231254"/>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0F9B13-101C-F043-A48A-94EC909EC2C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C97A7A4-B19E-764A-A35B-B1112892E4F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916F9B7-D018-644B-BBD8-53EF371D4FC1}"/>
              </a:ext>
            </a:extLst>
          </p:cNvPr>
          <p:cNvSpPr>
            <a:spLocks noGrp="1"/>
          </p:cNvSpPr>
          <p:nvPr>
            <p:ph type="dt" sz="half" idx="10"/>
          </p:nvPr>
        </p:nvSpPr>
        <p:spPr/>
        <p:txBody>
          <a:bodyPr/>
          <a:lstStyle/>
          <a:p>
            <a:fld id="{559A4995-99F3-6C48-8980-DDECA35E6552}" type="datetimeFigureOut">
              <a:rPr lang="en-US" smtClean="0"/>
              <a:t>4/24/26</a:t>
            </a:fld>
            <a:endParaRPr lang="en-US"/>
          </a:p>
        </p:txBody>
      </p:sp>
      <p:sp>
        <p:nvSpPr>
          <p:cNvPr id="5" name="Footer Placeholder 4">
            <a:extLst>
              <a:ext uri="{FF2B5EF4-FFF2-40B4-BE49-F238E27FC236}">
                <a16:creationId xmlns:a16="http://schemas.microsoft.com/office/drawing/2014/main" id="{CFF62C6E-35F4-5F41-9CAA-70CD537CD39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51984FE-F696-0043-B594-044F4A4B8249}"/>
              </a:ext>
            </a:extLst>
          </p:cNvPr>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920774209"/>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C083EA-099B-7A42-B7AF-42C8675EE893}"/>
              </a:ext>
            </a:extLst>
          </p:cNvPr>
          <p:cNvSpPr>
            <a:spLocks noGrp="1"/>
          </p:cNvSpPr>
          <p:nvPr>
            <p:ph type="title"/>
          </p:nvPr>
        </p:nvSpPr>
        <p:spPr>
          <a:xfrm>
            <a:off x="831851" y="1709740"/>
            <a:ext cx="10515600" cy="2852737"/>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96AA8509-942F-8947-9B73-8A06ADCC1BDD}"/>
              </a:ext>
            </a:extLst>
          </p:cNvPr>
          <p:cNvSpPr>
            <a:spLocks noGrp="1"/>
          </p:cNvSpPr>
          <p:nvPr>
            <p:ph type="body" idx="1"/>
          </p:nvPr>
        </p:nvSpPr>
        <p:spPr>
          <a:xfrm>
            <a:off x="831851" y="4589465"/>
            <a:ext cx="105156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0DDA8AE-A535-E74B-8075-6DFF897BED78}"/>
              </a:ext>
            </a:extLst>
          </p:cNvPr>
          <p:cNvSpPr>
            <a:spLocks noGrp="1"/>
          </p:cNvSpPr>
          <p:nvPr>
            <p:ph type="dt" sz="half" idx="10"/>
          </p:nvPr>
        </p:nvSpPr>
        <p:spPr/>
        <p:txBody>
          <a:bodyPr/>
          <a:lstStyle/>
          <a:p>
            <a:fld id="{559A4995-99F3-6C48-8980-DDECA35E6552}" type="datetimeFigureOut">
              <a:rPr lang="en-US" smtClean="0"/>
              <a:t>4/24/26</a:t>
            </a:fld>
            <a:endParaRPr lang="en-US"/>
          </a:p>
        </p:txBody>
      </p:sp>
      <p:sp>
        <p:nvSpPr>
          <p:cNvPr id="5" name="Footer Placeholder 4">
            <a:extLst>
              <a:ext uri="{FF2B5EF4-FFF2-40B4-BE49-F238E27FC236}">
                <a16:creationId xmlns:a16="http://schemas.microsoft.com/office/drawing/2014/main" id="{0FE3842A-85E9-EC45-AE13-43A91891A0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1104DAA-7994-3843-ADC2-455A8CD96EE4}"/>
              </a:ext>
            </a:extLst>
          </p:cNvPr>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302788264"/>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649D1B-3927-BB43-8534-F92FEFE92B0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23BBB28-4717-3343-B76E-78C111D0745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A26FFAD-5651-D14E-82E6-E0ED30756DB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1B1DEB6-E078-8C40-B750-DD784FE9A314}"/>
              </a:ext>
            </a:extLst>
          </p:cNvPr>
          <p:cNvSpPr>
            <a:spLocks noGrp="1"/>
          </p:cNvSpPr>
          <p:nvPr>
            <p:ph type="dt" sz="half" idx="10"/>
          </p:nvPr>
        </p:nvSpPr>
        <p:spPr/>
        <p:txBody>
          <a:bodyPr/>
          <a:lstStyle/>
          <a:p>
            <a:fld id="{559A4995-99F3-6C48-8980-DDECA35E6552}" type="datetimeFigureOut">
              <a:rPr lang="en-US" smtClean="0"/>
              <a:t>4/24/26</a:t>
            </a:fld>
            <a:endParaRPr lang="en-US"/>
          </a:p>
        </p:txBody>
      </p:sp>
      <p:sp>
        <p:nvSpPr>
          <p:cNvPr id="6" name="Footer Placeholder 5">
            <a:extLst>
              <a:ext uri="{FF2B5EF4-FFF2-40B4-BE49-F238E27FC236}">
                <a16:creationId xmlns:a16="http://schemas.microsoft.com/office/drawing/2014/main" id="{DC3A1A2F-5ABA-A243-BF07-2BE5E90EEDE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2C656A8-2DE4-BF4B-8CE6-EEE9B20E5B22}"/>
              </a:ext>
            </a:extLst>
          </p:cNvPr>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3027576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916FF65-E16B-BA4F-9591-6B4416106527}" type="datetimeFigureOut">
              <a:rPr lang="en-US" smtClean="0"/>
              <a:t>4/24/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40431716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B9B7DA-8070-684A-B73B-034B1F3E2F6B}"/>
              </a:ext>
            </a:extLst>
          </p:cNvPr>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01CA913-56F2-DF40-B702-4AE2ECF9DF78}"/>
              </a:ext>
            </a:extLst>
          </p:cNvPr>
          <p:cNvSpPr>
            <a:spLocks noGrp="1"/>
          </p:cNvSpPr>
          <p:nvPr>
            <p:ph type="body" idx="1"/>
          </p:nvPr>
        </p:nvSpPr>
        <p:spPr>
          <a:xfrm>
            <a:off x="839789" y="1681163"/>
            <a:ext cx="5157787"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51022CE3-A2EF-EA40-BAD1-5A8BA381B257}"/>
              </a:ext>
            </a:extLst>
          </p:cNvPr>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69A5494-B8F6-5142-B3C9-60F749A57C1F}"/>
              </a:ext>
            </a:extLst>
          </p:cNvPr>
          <p:cNvSpPr>
            <a:spLocks noGrp="1"/>
          </p:cNvSpPr>
          <p:nvPr>
            <p:ph type="body" sz="quarter" idx="3"/>
          </p:nvPr>
        </p:nvSpPr>
        <p:spPr>
          <a:xfrm>
            <a:off x="6172201" y="1681163"/>
            <a:ext cx="5183188"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F5505BCE-DD5D-2044-8956-C9DB95306DCC}"/>
              </a:ext>
            </a:extLst>
          </p:cNvPr>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FD9A675-DC22-2649-8F83-3646A44F3EB1}"/>
              </a:ext>
            </a:extLst>
          </p:cNvPr>
          <p:cNvSpPr>
            <a:spLocks noGrp="1"/>
          </p:cNvSpPr>
          <p:nvPr>
            <p:ph type="dt" sz="half" idx="10"/>
          </p:nvPr>
        </p:nvSpPr>
        <p:spPr/>
        <p:txBody>
          <a:bodyPr/>
          <a:lstStyle/>
          <a:p>
            <a:fld id="{559A4995-99F3-6C48-8980-DDECA35E6552}" type="datetimeFigureOut">
              <a:rPr lang="en-US" smtClean="0"/>
              <a:t>4/24/26</a:t>
            </a:fld>
            <a:endParaRPr lang="en-US"/>
          </a:p>
        </p:txBody>
      </p:sp>
      <p:sp>
        <p:nvSpPr>
          <p:cNvPr id="8" name="Footer Placeholder 7">
            <a:extLst>
              <a:ext uri="{FF2B5EF4-FFF2-40B4-BE49-F238E27FC236}">
                <a16:creationId xmlns:a16="http://schemas.microsoft.com/office/drawing/2014/main" id="{DD968C7C-BFBF-7547-81E2-7C6A13B3AC6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A97FF57-E90D-2C4D-BDB2-DBAB43E3B85E}"/>
              </a:ext>
            </a:extLst>
          </p:cNvPr>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1362678906"/>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6AF89D-A0AD-424D-AF22-50AA5056102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AAB2B05-3BA9-C24B-BA87-8C3DFA35AF86}"/>
              </a:ext>
            </a:extLst>
          </p:cNvPr>
          <p:cNvSpPr>
            <a:spLocks noGrp="1"/>
          </p:cNvSpPr>
          <p:nvPr>
            <p:ph type="dt" sz="half" idx="10"/>
          </p:nvPr>
        </p:nvSpPr>
        <p:spPr/>
        <p:txBody>
          <a:bodyPr/>
          <a:lstStyle/>
          <a:p>
            <a:fld id="{559A4995-99F3-6C48-8980-DDECA35E6552}" type="datetimeFigureOut">
              <a:rPr lang="en-US" smtClean="0"/>
              <a:t>4/24/26</a:t>
            </a:fld>
            <a:endParaRPr lang="en-US"/>
          </a:p>
        </p:txBody>
      </p:sp>
      <p:sp>
        <p:nvSpPr>
          <p:cNvPr id="4" name="Footer Placeholder 3">
            <a:extLst>
              <a:ext uri="{FF2B5EF4-FFF2-40B4-BE49-F238E27FC236}">
                <a16:creationId xmlns:a16="http://schemas.microsoft.com/office/drawing/2014/main" id="{68EF628F-1D9A-BA46-A7AF-17834A6C211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BFF8EBD-6BD9-B143-8493-6A51B5AC913B}"/>
              </a:ext>
            </a:extLst>
          </p:cNvPr>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346219114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455277C-62FB-074E-8732-2C266101D24C}"/>
              </a:ext>
            </a:extLst>
          </p:cNvPr>
          <p:cNvSpPr>
            <a:spLocks noGrp="1"/>
          </p:cNvSpPr>
          <p:nvPr>
            <p:ph type="dt" sz="half" idx="10"/>
          </p:nvPr>
        </p:nvSpPr>
        <p:spPr/>
        <p:txBody>
          <a:bodyPr/>
          <a:lstStyle/>
          <a:p>
            <a:fld id="{559A4995-99F3-6C48-8980-DDECA35E6552}" type="datetimeFigureOut">
              <a:rPr lang="en-US" smtClean="0"/>
              <a:t>4/24/26</a:t>
            </a:fld>
            <a:endParaRPr lang="en-US"/>
          </a:p>
        </p:txBody>
      </p:sp>
      <p:sp>
        <p:nvSpPr>
          <p:cNvPr id="3" name="Footer Placeholder 2">
            <a:extLst>
              <a:ext uri="{FF2B5EF4-FFF2-40B4-BE49-F238E27FC236}">
                <a16:creationId xmlns:a16="http://schemas.microsoft.com/office/drawing/2014/main" id="{D5EB783E-79B9-2844-9EDB-C7A81B0D81B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E434E37-10A4-F64A-ABF7-827AAD3D7B75}"/>
              </a:ext>
            </a:extLst>
          </p:cNvPr>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3097649702"/>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818C4D-46D2-B44A-86A3-E70E2E12B941}"/>
              </a:ext>
            </a:extLst>
          </p:cNvPr>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13590091-E322-D94B-85C0-E27D3C33BF51}"/>
              </a:ext>
            </a:extLst>
          </p:cNvPr>
          <p:cNvSpPr>
            <a:spLocks noGrp="1"/>
          </p:cNvSpPr>
          <p:nvPr>
            <p:ph idx="1"/>
          </p:nvPr>
        </p:nvSpPr>
        <p:spPr>
          <a:xfrm>
            <a:off x="5183188" y="987427"/>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213CC5D-7191-D040-93BC-BC500E016BA8}"/>
              </a:ext>
            </a:extLst>
          </p:cNvPr>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337AA2E6-A775-9C4B-8E3A-A3A892CF3856}"/>
              </a:ext>
            </a:extLst>
          </p:cNvPr>
          <p:cNvSpPr>
            <a:spLocks noGrp="1"/>
          </p:cNvSpPr>
          <p:nvPr>
            <p:ph type="dt" sz="half" idx="10"/>
          </p:nvPr>
        </p:nvSpPr>
        <p:spPr/>
        <p:txBody>
          <a:bodyPr/>
          <a:lstStyle/>
          <a:p>
            <a:fld id="{559A4995-99F3-6C48-8980-DDECA35E6552}" type="datetimeFigureOut">
              <a:rPr lang="en-US" smtClean="0"/>
              <a:t>4/24/26</a:t>
            </a:fld>
            <a:endParaRPr lang="en-US"/>
          </a:p>
        </p:txBody>
      </p:sp>
      <p:sp>
        <p:nvSpPr>
          <p:cNvPr id="6" name="Footer Placeholder 5">
            <a:extLst>
              <a:ext uri="{FF2B5EF4-FFF2-40B4-BE49-F238E27FC236}">
                <a16:creationId xmlns:a16="http://schemas.microsoft.com/office/drawing/2014/main" id="{49163C24-ED9F-CF43-9BE5-291C88AB503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7148698-79A0-9140-8372-AEF7AFB0D453}"/>
              </a:ext>
            </a:extLst>
          </p:cNvPr>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294862785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AFE61-74D9-7E4A-A5B5-6C3E53E6271E}"/>
              </a:ext>
            </a:extLst>
          </p:cNvPr>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751AA79F-0E9D-E844-97C3-E99F1EC7DE0D}"/>
              </a:ext>
            </a:extLst>
          </p:cNvPr>
          <p:cNvSpPr>
            <a:spLocks noGrp="1"/>
          </p:cNvSpPr>
          <p:nvPr>
            <p:ph type="pic" idx="1"/>
          </p:nvPr>
        </p:nvSpPr>
        <p:spPr>
          <a:xfrm>
            <a:off x="5183188" y="987427"/>
            <a:ext cx="617220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3F08C160-CF83-3945-A784-A844F3081961}"/>
              </a:ext>
            </a:extLst>
          </p:cNvPr>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A715C371-7864-A04F-898F-BD95A39CB425}"/>
              </a:ext>
            </a:extLst>
          </p:cNvPr>
          <p:cNvSpPr>
            <a:spLocks noGrp="1"/>
          </p:cNvSpPr>
          <p:nvPr>
            <p:ph type="dt" sz="half" idx="10"/>
          </p:nvPr>
        </p:nvSpPr>
        <p:spPr/>
        <p:txBody>
          <a:bodyPr/>
          <a:lstStyle/>
          <a:p>
            <a:fld id="{559A4995-99F3-6C48-8980-DDECA35E6552}" type="datetimeFigureOut">
              <a:rPr lang="en-US" smtClean="0"/>
              <a:t>4/24/26</a:t>
            </a:fld>
            <a:endParaRPr lang="en-US"/>
          </a:p>
        </p:txBody>
      </p:sp>
      <p:sp>
        <p:nvSpPr>
          <p:cNvPr id="6" name="Footer Placeholder 5">
            <a:extLst>
              <a:ext uri="{FF2B5EF4-FFF2-40B4-BE49-F238E27FC236}">
                <a16:creationId xmlns:a16="http://schemas.microsoft.com/office/drawing/2014/main" id="{76D8AD07-6553-AE40-B1C3-B5D6D484F3E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1C889FD-1636-984C-AA18-9776DBEFE15C}"/>
              </a:ext>
            </a:extLst>
          </p:cNvPr>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3632018299"/>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638A26-43F1-FF4F-8D60-CE1F4276B75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8A3A0F6-BC76-4847-AB09-CAC0D806675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0ABB59F-E18B-904D-945F-45F2DC6BC149}"/>
              </a:ext>
            </a:extLst>
          </p:cNvPr>
          <p:cNvSpPr>
            <a:spLocks noGrp="1"/>
          </p:cNvSpPr>
          <p:nvPr>
            <p:ph type="dt" sz="half" idx="10"/>
          </p:nvPr>
        </p:nvSpPr>
        <p:spPr/>
        <p:txBody>
          <a:bodyPr/>
          <a:lstStyle/>
          <a:p>
            <a:fld id="{559A4995-99F3-6C48-8980-DDECA35E6552}" type="datetimeFigureOut">
              <a:rPr lang="en-US" smtClean="0"/>
              <a:t>4/24/26</a:t>
            </a:fld>
            <a:endParaRPr lang="en-US"/>
          </a:p>
        </p:txBody>
      </p:sp>
      <p:sp>
        <p:nvSpPr>
          <p:cNvPr id="5" name="Footer Placeholder 4">
            <a:extLst>
              <a:ext uri="{FF2B5EF4-FFF2-40B4-BE49-F238E27FC236}">
                <a16:creationId xmlns:a16="http://schemas.microsoft.com/office/drawing/2014/main" id="{E3FB87FD-22D3-0A48-B7CC-5AFAA872CA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126885D-97D5-4B42-B020-806CD9AA1969}"/>
              </a:ext>
            </a:extLst>
          </p:cNvPr>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3656185687"/>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211FA34-99E1-2C42-98B3-0CA95805C299}"/>
              </a:ext>
            </a:extLst>
          </p:cNvPr>
          <p:cNvSpPr>
            <a:spLocks noGrp="1"/>
          </p:cNvSpPr>
          <p:nvPr>
            <p:ph type="title" orient="vert"/>
          </p:nvPr>
        </p:nvSpPr>
        <p:spPr>
          <a:xfrm>
            <a:off x="8724901"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DB51D3E-D331-E346-B45C-00932B67FDAC}"/>
              </a:ext>
            </a:extLst>
          </p:cNvPr>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2B02F57-300D-3C45-8574-E741AF4DA481}"/>
              </a:ext>
            </a:extLst>
          </p:cNvPr>
          <p:cNvSpPr>
            <a:spLocks noGrp="1"/>
          </p:cNvSpPr>
          <p:nvPr>
            <p:ph type="dt" sz="half" idx="10"/>
          </p:nvPr>
        </p:nvSpPr>
        <p:spPr/>
        <p:txBody>
          <a:bodyPr/>
          <a:lstStyle/>
          <a:p>
            <a:fld id="{559A4995-99F3-6C48-8980-DDECA35E6552}" type="datetimeFigureOut">
              <a:rPr lang="en-US" smtClean="0"/>
              <a:t>4/24/26</a:t>
            </a:fld>
            <a:endParaRPr lang="en-US"/>
          </a:p>
        </p:txBody>
      </p:sp>
      <p:sp>
        <p:nvSpPr>
          <p:cNvPr id="5" name="Footer Placeholder 4">
            <a:extLst>
              <a:ext uri="{FF2B5EF4-FFF2-40B4-BE49-F238E27FC236}">
                <a16:creationId xmlns:a16="http://schemas.microsoft.com/office/drawing/2014/main" id="{A7FE98A0-6BE6-5D45-B648-32AEBC9B390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29C215D-3D9B-C241-B34E-72989860B4CB}"/>
              </a:ext>
            </a:extLst>
          </p:cNvPr>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3355155836"/>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obj">
  <p:cSld name="1_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7" b="0" i="0">
                <a:solidFill>
                  <a:srgbClr val="2A444B"/>
                </a:solidFill>
                <a:latin typeface="Times New Roman"/>
                <a:cs typeface="Times New Roman"/>
              </a:defRPr>
            </a:lvl1pPr>
          </a:lstStyle>
          <a:p>
            <a:endParaRPr/>
          </a:p>
        </p:txBody>
      </p:sp>
      <p:sp>
        <p:nvSpPr>
          <p:cNvPr id="3" name="Holder 3"/>
          <p:cNvSpPr>
            <a:spLocks noGrp="1"/>
          </p:cNvSpPr>
          <p:nvPr>
            <p:ph sz="half" idx="2"/>
          </p:nvPr>
        </p:nvSpPr>
        <p:spPr>
          <a:xfrm>
            <a:off x="609600" y="1401284"/>
            <a:ext cx="5303520" cy="29084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401284"/>
            <a:ext cx="5303520" cy="29084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4/26</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67260936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5A6F13-24F7-8A5C-AC73-8B91791DE8F0}"/>
              </a:ext>
            </a:extLst>
          </p:cNvPr>
          <p:cNvSpPr>
            <a:spLocks noGrp="1"/>
          </p:cNvSpPr>
          <p:nvPr>
            <p:ph type="title"/>
          </p:nvPr>
        </p:nvSpPr>
        <p:spPr>
          <a:xfrm>
            <a:off x="743709" y="153525"/>
            <a:ext cx="10515600" cy="891107"/>
          </a:xfrm>
        </p:spPr>
        <p:txBody>
          <a:bodyPr>
            <a:normAutofit/>
          </a:bodyPr>
          <a:lstStyle>
            <a:lvl1pPr>
              <a:defRPr sz="2400"/>
            </a:lvl1pPr>
          </a:lstStyle>
          <a:p>
            <a:r>
              <a:rPr lang="en-US"/>
              <a:t>Click to edit Master title style</a:t>
            </a:r>
          </a:p>
        </p:txBody>
      </p:sp>
      <p:sp>
        <p:nvSpPr>
          <p:cNvPr id="4" name="Content Placeholder 23">
            <a:extLst>
              <a:ext uri="{FF2B5EF4-FFF2-40B4-BE49-F238E27FC236}">
                <a16:creationId xmlns:a16="http://schemas.microsoft.com/office/drawing/2014/main" id="{1788884B-E278-F67B-7F7C-8AEAC394B3A7}"/>
              </a:ext>
            </a:extLst>
          </p:cNvPr>
          <p:cNvSpPr>
            <a:spLocks noGrp="1"/>
          </p:cNvSpPr>
          <p:nvPr>
            <p:ph sz="quarter" idx="14" hasCustomPrompt="1"/>
          </p:nvPr>
        </p:nvSpPr>
        <p:spPr>
          <a:xfrm>
            <a:off x="743709" y="6304666"/>
            <a:ext cx="10872787" cy="81817"/>
          </a:xfrm>
          <a:prstGeom prst="rect">
            <a:avLst/>
          </a:prstGeom>
        </p:spPr>
        <p:txBody>
          <a:bodyPr wrap="square" lIns="0" tIns="0" rIns="0" bIns="0" anchor="b" anchorCtr="0">
            <a:spAutoFit/>
          </a:bodyPr>
          <a:lstStyle>
            <a:lvl1pPr marL="0" indent="0">
              <a:lnSpc>
                <a:spcPct val="90000"/>
              </a:lnSpc>
              <a:spcBef>
                <a:spcPts val="0"/>
              </a:spcBef>
              <a:spcAft>
                <a:spcPts val="0"/>
              </a:spcAft>
              <a:buFontTx/>
              <a:buNone/>
              <a:defRPr sz="591"/>
            </a:lvl1pPr>
            <a:lvl2pPr marL="257168" indent="0">
              <a:buFontTx/>
              <a:buNone/>
              <a:defRPr sz="450"/>
            </a:lvl2pPr>
            <a:lvl3pPr marL="514337" indent="0">
              <a:buFontTx/>
              <a:buNone/>
              <a:defRPr sz="450"/>
            </a:lvl3pPr>
            <a:lvl4pPr marL="771506" indent="0">
              <a:buFontTx/>
              <a:buNone/>
              <a:defRPr sz="450"/>
            </a:lvl4pPr>
            <a:lvl5pPr marL="1028675" indent="0">
              <a:buFontTx/>
              <a:buNone/>
              <a:defRPr sz="450"/>
            </a:lvl5pPr>
          </a:lstStyle>
          <a:p>
            <a:pPr lvl="0"/>
            <a:r>
              <a:rPr lang="en-US"/>
              <a:t>Footer</a:t>
            </a:r>
          </a:p>
        </p:txBody>
      </p:sp>
      <p:sp>
        <p:nvSpPr>
          <p:cNvPr id="3" name="bk object 18">
            <a:extLst>
              <a:ext uri="{FF2B5EF4-FFF2-40B4-BE49-F238E27FC236}">
                <a16:creationId xmlns:a16="http://schemas.microsoft.com/office/drawing/2014/main" id="{A21F3C06-E803-42C9-5EEA-FF2F6F748052}"/>
              </a:ext>
            </a:extLst>
          </p:cNvPr>
          <p:cNvSpPr/>
          <p:nvPr userDrawn="1"/>
        </p:nvSpPr>
        <p:spPr>
          <a:xfrm>
            <a:off x="2" y="0"/>
            <a:ext cx="107156" cy="6858000"/>
          </a:xfrm>
          <a:custGeom>
            <a:avLst/>
            <a:gdLst/>
            <a:ahLst/>
            <a:cxnLst/>
            <a:rect l="l" t="t" r="r" b="b"/>
            <a:pathLst>
              <a:path w="142875" h="6858000">
                <a:moveTo>
                  <a:pt x="0" y="6858000"/>
                </a:moveTo>
                <a:lnTo>
                  <a:pt x="142494" y="6858000"/>
                </a:lnTo>
                <a:lnTo>
                  <a:pt x="142494" y="0"/>
                </a:lnTo>
                <a:lnTo>
                  <a:pt x="0" y="0"/>
                </a:lnTo>
                <a:lnTo>
                  <a:pt x="0" y="6858000"/>
                </a:lnTo>
                <a:close/>
              </a:path>
            </a:pathLst>
          </a:custGeom>
          <a:solidFill>
            <a:srgbClr val="CBB379"/>
          </a:solidFill>
        </p:spPr>
        <p:txBody>
          <a:bodyPr wrap="square" lIns="0" tIns="0" rIns="0" bIns="0" rtlCol="0"/>
          <a:lstStyle/>
          <a:p>
            <a:endParaRPr sz="1800"/>
          </a:p>
        </p:txBody>
      </p:sp>
    </p:spTree>
    <p:extLst>
      <p:ext uri="{BB962C8B-B14F-4D97-AF65-F5344CB8AC3E}">
        <p14:creationId xmlns:p14="http://schemas.microsoft.com/office/powerpoint/2010/main" val="1334150162"/>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14400" y="3466469"/>
            <a:ext cx="10363200" cy="891931"/>
          </a:xfrm>
          <a:prstGeom prst="rect">
            <a:avLst/>
          </a:prstGeom>
        </p:spPr>
        <p:txBody>
          <a:bodyPr>
            <a:normAutofit/>
          </a:bodyPr>
          <a:lstStyle>
            <a:lvl1pPr algn="ctr">
              <a:defRPr sz="3200" b="0" i="0">
                <a:solidFill>
                  <a:srgbClr val="CD113B"/>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1738671" y="5429211"/>
            <a:ext cx="8534400" cy="1073769"/>
          </a:xfrm>
          <a:prstGeom prst="rect">
            <a:avLst/>
          </a:prstGeom>
        </p:spPr>
        <p:txBody>
          <a:bodyPr>
            <a:normAutofit/>
          </a:bodyPr>
          <a:lstStyle>
            <a:lvl1pPr marL="0" indent="0" algn="ctr">
              <a:buNone/>
              <a:defRPr sz="1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fld id="{12F42DBC-C000-474C-847A-96A1FE0230FB}" type="datetime1">
              <a:rPr lang="en-US"/>
              <a:pPr/>
              <a:t>4/24/26</a:t>
            </a:fld>
            <a:endParaRPr lang="en-US"/>
          </a:p>
        </p:txBody>
      </p:sp>
      <p:sp>
        <p:nvSpPr>
          <p:cNvPr id="6" name="Slide Number Placeholder 5"/>
          <p:cNvSpPr>
            <a:spLocks noGrp="1"/>
          </p:cNvSpPr>
          <p:nvPr>
            <p:ph type="sldNum" sz="quarter" idx="12"/>
          </p:nvPr>
        </p:nvSpPr>
        <p:spPr/>
        <p:txBody>
          <a:bodyPr/>
          <a:lstStyle>
            <a:lvl1pPr>
              <a:defRPr/>
            </a:lvl1pPr>
          </a:lstStyle>
          <a:p>
            <a:fld id="{D8009FEC-A01C-EB4F-9AED-98C23E3BD7AC}" type="slidenum">
              <a:rPr lang="en-US"/>
              <a:pPr/>
              <a:t>‹#›</a:t>
            </a:fld>
            <a:endParaRPr lang="en-US"/>
          </a:p>
        </p:txBody>
      </p:sp>
    </p:spTree>
    <p:extLst>
      <p:ext uri="{BB962C8B-B14F-4D97-AF65-F5344CB8AC3E}">
        <p14:creationId xmlns:p14="http://schemas.microsoft.com/office/powerpoint/2010/main" val="31654198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916FF65-E16B-BA4F-9591-6B4416106527}" type="datetimeFigureOut">
              <a:rPr lang="en-US" smtClean="0"/>
              <a:t>4/24/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6634158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ext pag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vl1pPr>
          </a:lstStyle>
          <a:p>
            <a:fld id="{87DE6A48-BD34-9247-8CD2-A207D07E22B4}" type="datetime1">
              <a:rPr lang="en-US"/>
              <a:pPr/>
              <a:t>4/24/26</a:t>
            </a:fld>
            <a:endParaRPr lang="en-US"/>
          </a:p>
        </p:txBody>
      </p:sp>
      <p:sp>
        <p:nvSpPr>
          <p:cNvPr id="6" name="Slide Number Placeholder 5"/>
          <p:cNvSpPr>
            <a:spLocks noGrp="1"/>
          </p:cNvSpPr>
          <p:nvPr>
            <p:ph type="sldNum" sz="quarter" idx="12"/>
          </p:nvPr>
        </p:nvSpPr>
        <p:spPr/>
        <p:txBody>
          <a:bodyPr/>
          <a:lstStyle>
            <a:lvl1pPr>
              <a:defRPr/>
            </a:lvl1pPr>
          </a:lstStyle>
          <a:p>
            <a:fld id="{02941447-81A8-E34A-8E29-11F044513D7E}" type="slidenum">
              <a:rPr lang="en-US"/>
              <a:pPr/>
              <a:t>‹#›</a:t>
            </a:fld>
            <a:endParaRPr lang="en-US"/>
          </a:p>
        </p:txBody>
      </p:sp>
      <p:sp>
        <p:nvSpPr>
          <p:cNvPr id="7" name="Title 1"/>
          <p:cNvSpPr>
            <a:spLocks noGrp="1"/>
          </p:cNvSpPr>
          <p:nvPr>
            <p:ph type="title"/>
          </p:nvPr>
        </p:nvSpPr>
        <p:spPr>
          <a:xfrm>
            <a:off x="609600" y="490454"/>
            <a:ext cx="10972800" cy="713539"/>
          </a:xfrm>
          <a:prstGeom prst="rect">
            <a:avLst/>
          </a:prstGeom>
        </p:spPr>
        <p:txBody>
          <a:bodyPr/>
          <a:lstStyle>
            <a:lvl1pPr>
              <a:defRPr>
                <a:solidFill>
                  <a:srgbClr val="CD113B"/>
                </a:solidFill>
              </a:defRPr>
            </a:lvl1pPr>
          </a:lstStyle>
          <a:p>
            <a:r>
              <a:rPr lang="en-US"/>
              <a:t>Click to edit Master title style</a:t>
            </a:r>
          </a:p>
        </p:txBody>
      </p:sp>
      <p:sp>
        <p:nvSpPr>
          <p:cNvPr id="8" name="Content Placeholder 2"/>
          <p:cNvSpPr>
            <a:spLocks noGrp="1"/>
          </p:cNvSpPr>
          <p:nvPr>
            <p:ph idx="1"/>
          </p:nvPr>
        </p:nvSpPr>
        <p:spPr>
          <a:xfrm>
            <a:off x="609600" y="1368923"/>
            <a:ext cx="10972800" cy="4947903"/>
          </a:xfrm>
          <a:prstGeom prst="rect">
            <a:avLst/>
          </a:prstGeom>
        </p:spPr>
        <p:txBody>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0667558"/>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1362075"/>
          </a:xfrm>
          <a:prstGeom prst="rect">
            <a:avLst/>
          </a:prstGeom>
        </p:spPr>
        <p:txBody>
          <a:bodyPr anchor="t"/>
          <a:lstStyle>
            <a:lvl1pPr algn="l">
              <a:defRPr sz="32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a:prstGeom prst="rect">
            <a:avLst/>
          </a:prstGeom>
        </p:spPr>
        <p:txBody>
          <a:bodyPr anchor="b"/>
          <a:lstStyle>
            <a:lvl1pPr marL="0" indent="0">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fld id="{1CEA077D-40D2-7645-91D9-F5061C772B13}" type="datetime1">
              <a:rPr lang="en-US"/>
              <a:pPr/>
              <a:t>4/24/26</a:t>
            </a:fld>
            <a:endParaRPr lang="en-US"/>
          </a:p>
        </p:txBody>
      </p:sp>
      <p:sp>
        <p:nvSpPr>
          <p:cNvPr id="6" name="Slide Number Placeholder 5"/>
          <p:cNvSpPr>
            <a:spLocks noGrp="1"/>
          </p:cNvSpPr>
          <p:nvPr>
            <p:ph type="sldNum" sz="quarter" idx="12"/>
          </p:nvPr>
        </p:nvSpPr>
        <p:spPr/>
        <p:txBody>
          <a:bodyPr/>
          <a:lstStyle>
            <a:lvl1pPr>
              <a:defRPr/>
            </a:lvl1pPr>
          </a:lstStyle>
          <a:p>
            <a:fld id="{24AA7F1F-F248-F943-913A-EBF08A13E994}" type="slidenum">
              <a:rPr lang="en-US"/>
              <a:pPr/>
              <a:t>‹#›</a:t>
            </a:fld>
            <a:endParaRPr lang="en-US"/>
          </a:p>
        </p:txBody>
      </p:sp>
    </p:spTree>
    <p:extLst>
      <p:ext uri="{BB962C8B-B14F-4D97-AF65-F5344CB8AC3E}">
        <p14:creationId xmlns:p14="http://schemas.microsoft.com/office/powerpoint/2010/main" val="3881118847"/>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368923"/>
            <a:ext cx="5384800" cy="3537599"/>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368923"/>
            <a:ext cx="5384800" cy="3537599"/>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fld id="{2112AE92-20AD-8D4C-BE5B-92E66A82D5FE}" type="datetime1">
              <a:rPr lang="en-US"/>
              <a:pPr/>
              <a:t>4/24/26</a:t>
            </a:fld>
            <a:endParaRPr lang="en-US"/>
          </a:p>
        </p:txBody>
      </p:sp>
      <p:sp>
        <p:nvSpPr>
          <p:cNvPr id="7" name="Slide Number Placeholder 5"/>
          <p:cNvSpPr>
            <a:spLocks noGrp="1"/>
          </p:cNvSpPr>
          <p:nvPr>
            <p:ph type="sldNum" sz="quarter" idx="12"/>
          </p:nvPr>
        </p:nvSpPr>
        <p:spPr/>
        <p:txBody>
          <a:bodyPr/>
          <a:lstStyle>
            <a:lvl1pPr>
              <a:defRPr/>
            </a:lvl1pPr>
          </a:lstStyle>
          <a:p>
            <a:fld id="{590444B3-43E0-CD49-8543-3A769AE78B9D}" type="slidenum">
              <a:rPr lang="en-US"/>
              <a:pPr/>
              <a:t>‹#›</a:t>
            </a:fld>
            <a:endParaRPr lang="en-US"/>
          </a:p>
        </p:txBody>
      </p:sp>
      <p:sp>
        <p:nvSpPr>
          <p:cNvPr id="8" name="Title 1"/>
          <p:cNvSpPr>
            <a:spLocks noGrp="1"/>
          </p:cNvSpPr>
          <p:nvPr>
            <p:ph type="title"/>
          </p:nvPr>
        </p:nvSpPr>
        <p:spPr>
          <a:xfrm>
            <a:off x="609600" y="490454"/>
            <a:ext cx="10972800" cy="713539"/>
          </a:xfrm>
          <a:prstGeom prst="rect">
            <a:avLst/>
          </a:prstGeom>
        </p:spPr>
        <p:txBody>
          <a:bodyPr/>
          <a:lstStyle>
            <a:lvl1pPr>
              <a:defRPr>
                <a:solidFill>
                  <a:srgbClr val="CD113B"/>
                </a:solidFill>
              </a:defRPr>
            </a:lvl1pPr>
          </a:lstStyle>
          <a:p>
            <a:r>
              <a:rPr lang="en-US"/>
              <a:t>Click to edit Master title style</a:t>
            </a:r>
          </a:p>
        </p:txBody>
      </p:sp>
    </p:spTree>
    <p:extLst>
      <p:ext uri="{BB962C8B-B14F-4D97-AF65-F5344CB8AC3E}">
        <p14:creationId xmlns:p14="http://schemas.microsoft.com/office/powerpoint/2010/main" val="3962347277"/>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2389717" y="1368923"/>
            <a:ext cx="7315200" cy="4727077"/>
          </a:xfrm>
          <a:prstGeom prst="rect">
            <a:avLst/>
          </a:prstGeo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7" name="Slide Number Placeholder 5"/>
          <p:cNvSpPr>
            <a:spLocks noGrp="1"/>
          </p:cNvSpPr>
          <p:nvPr>
            <p:ph type="sldNum" sz="quarter" idx="12"/>
          </p:nvPr>
        </p:nvSpPr>
        <p:spPr/>
        <p:txBody>
          <a:bodyPr/>
          <a:lstStyle>
            <a:lvl1pPr>
              <a:defRPr/>
            </a:lvl1pPr>
          </a:lstStyle>
          <a:p>
            <a:fld id="{7C5520E0-F525-124B-8DCB-FDFCBFF95DED}" type="slidenum">
              <a:rPr lang="en-US"/>
              <a:pPr/>
              <a:t>‹#›</a:t>
            </a:fld>
            <a:endParaRPr lang="en-US"/>
          </a:p>
        </p:txBody>
      </p:sp>
      <p:sp>
        <p:nvSpPr>
          <p:cNvPr id="8" name="Title 1"/>
          <p:cNvSpPr>
            <a:spLocks noGrp="1"/>
          </p:cNvSpPr>
          <p:nvPr>
            <p:ph type="title"/>
          </p:nvPr>
        </p:nvSpPr>
        <p:spPr>
          <a:xfrm>
            <a:off x="609600" y="490454"/>
            <a:ext cx="10972800" cy="713539"/>
          </a:xfrm>
          <a:prstGeom prst="rect">
            <a:avLst/>
          </a:prstGeom>
        </p:spPr>
        <p:txBody>
          <a:bodyPr/>
          <a:lstStyle>
            <a:lvl1pPr>
              <a:defRPr>
                <a:solidFill>
                  <a:srgbClr val="CD113B"/>
                </a:solidFill>
              </a:defRPr>
            </a:lvl1pPr>
          </a:lstStyle>
          <a:p>
            <a:r>
              <a:rPr lang="en-US"/>
              <a:t>Click to edit Master title style</a:t>
            </a:r>
          </a:p>
        </p:txBody>
      </p:sp>
    </p:spTree>
    <p:extLst>
      <p:ext uri="{BB962C8B-B14F-4D97-AF65-F5344CB8AC3E}">
        <p14:creationId xmlns:p14="http://schemas.microsoft.com/office/powerpoint/2010/main" val="2586288137"/>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1800"/>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4" name="Date Placeholder 3"/>
          <p:cNvSpPr>
            <a:spLocks noGrp="1"/>
          </p:cNvSpPr>
          <p:nvPr>
            <p:ph type="dt" sz="half" idx="10"/>
          </p:nvPr>
        </p:nvSpPr>
        <p:spPr>
          <a:xfrm>
            <a:off x="838200" y="6356354"/>
            <a:ext cx="2743200" cy="365125"/>
          </a:xfrm>
          <a:prstGeom prst="rect">
            <a:avLst/>
          </a:prstGeom>
        </p:spPr>
        <p:txBody>
          <a:bodyPr/>
          <a:lstStyle/>
          <a:p>
            <a:fld id="{559A4995-99F3-6C48-8980-DDECA35E6552}"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610600" y="6356354"/>
            <a:ext cx="2743200" cy="365125"/>
          </a:xfrm>
          <a:prstGeom prst="rect">
            <a:avLst/>
          </a:prstGeom>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4008480077"/>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4"/>
            <a:ext cx="2743200" cy="365125"/>
          </a:xfrm>
          <a:prstGeom prst="rect">
            <a:avLst/>
          </a:prstGeom>
        </p:spPr>
        <p:txBody>
          <a:bodyPr/>
          <a:lstStyle/>
          <a:p>
            <a:fld id="{559A4995-99F3-6C48-8980-DDECA35E6552}"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610600" y="6356354"/>
            <a:ext cx="2743200" cy="365125"/>
          </a:xfrm>
          <a:prstGeom prst="rect">
            <a:avLst/>
          </a:prstGeom>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182095344"/>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2"/>
            <a:ext cx="10515600" cy="2852737"/>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831851" y="4589467"/>
            <a:ext cx="10515600" cy="1500187"/>
          </a:xfrm>
        </p:spPr>
        <p:txBody>
          <a:bodyPr/>
          <a:lstStyle>
            <a:lvl1pPr marL="0" indent="0">
              <a:buNone/>
              <a:defRPr sz="1800">
                <a:solidFill>
                  <a:schemeClr val="tx1">
                    <a:tint val="75000"/>
                  </a:schemeClr>
                </a:solidFill>
              </a:defRPr>
            </a:lvl1pPr>
            <a:lvl2pPr marL="342892" indent="0">
              <a:buNone/>
              <a:defRPr sz="1500">
                <a:solidFill>
                  <a:schemeClr val="tx1">
                    <a:tint val="75000"/>
                  </a:schemeClr>
                </a:solidFill>
              </a:defRPr>
            </a:lvl2pPr>
            <a:lvl3pPr marL="685783" indent="0">
              <a:buNone/>
              <a:defRPr sz="1350">
                <a:solidFill>
                  <a:schemeClr val="tx1">
                    <a:tint val="75000"/>
                  </a:schemeClr>
                </a:solidFill>
              </a:defRPr>
            </a:lvl3pPr>
            <a:lvl4pPr marL="1028675"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8" indent="0">
              <a:buNone/>
              <a:defRPr sz="1200">
                <a:solidFill>
                  <a:schemeClr val="tx1">
                    <a:tint val="75000"/>
                  </a:schemeClr>
                </a:solidFill>
              </a:defRPr>
            </a:lvl7pPr>
            <a:lvl8pPr marL="2400240" indent="0">
              <a:buNone/>
              <a:defRPr sz="1200">
                <a:solidFill>
                  <a:schemeClr val="tx1">
                    <a:tint val="75000"/>
                  </a:schemeClr>
                </a:solidFill>
              </a:defRPr>
            </a:lvl8pPr>
            <a:lvl9pPr marL="2743132"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38200" y="6356354"/>
            <a:ext cx="2743200" cy="365125"/>
          </a:xfrm>
          <a:prstGeom prst="rect">
            <a:avLst/>
          </a:prstGeom>
        </p:spPr>
        <p:txBody>
          <a:bodyPr/>
          <a:lstStyle/>
          <a:p>
            <a:fld id="{559A4995-99F3-6C48-8980-DDECA35E6552}"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610600" y="6356354"/>
            <a:ext cx="2743200" cy="365125"/>
          </a:xfrm>
          <a:prstGeom prst="rect">
            <a:avLst/>
          </a:prstGeom>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115711714"/>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0" y="6356354"/>
            <a:ext cx="2743200" cy="365125"/>
          </a:xfrm>
          <a:prstGeom prst="rect">
            <a:avLst/>
          </a:prstGeom>
        </p:spPr>
        <p:txBody>
          <a:bodyPr/>
          <a:lstStyle/>
          <a:p>
            <a:fld id="{559A4995-99F3-6C48-8980-DDECA35E6552}" type="datetimeFigureOut">
              <a:rPr lang="en-US" smtClean="0"/>
              <a:t>4/24/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610600" y="6356354"/>
            <a:ext cx="2743200" cy="365125"/>
          </a:xfrm>
          <a:prstGeom prst="rect">
            <a:avLst/>
          </a:prstGeom>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2668942626"/>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9"/>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1800" b="1"/>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2" y="1681163"/>
            <a:ext cx="5183188" cy="823912"/>
          </a:xfrm>
        </p:spPr>
        <p:txBody>
          <a:bodyPr anchor="b"/>
          <a:lstStyle>
            <a:lvl1pPr marL="0" indent="0">
              <a:buNone/>
              <a:defRPr sz="1800" b="1"/>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a:t>Click to edit Master text styles</a:t>
            </a:r>
          </a:p>
        </p:txBody>
      </p:sp>
      <p:sp>
        <p:nvSpPr>
          <p:cNvPr id="6" name="Content Placeholder 5"/>
          <p:cNvSpPr>
            <a:spLocks noGrp="1"/>
          </p:cNvSpPr>
          <p:nvPr>
            <p:ph sz="quarter" idx="4"/>
          </p:nvPr>
        </p:nvSpPr>
        <p:spPr>
          <a:xfrm>
            <a:off x="6172202"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8200" y="6356354"/>
            <a:ext cx="2743200" cy="365125"/>
          </a:xfrm>
          <a:prstGeom prst="rect">
            <a:avLst/>
          </a:prstGeom>
        </p:spPr>
        <p:txBody>
          <a:bodyPr/>
          <a:lstStyle/>
          <a:p>
            <a:fld id="{559A4995-99F3-6C48-8980-DDECA35E6552}" type="datetimeFigureOut">
              <a:rPr lang="en-US" smtClean="0"/>
              <a:t>4/24/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a:xfrm>
            <a:off x="8610600" y="6356354"/>
            <a:ext cx="2743200" cy="365125"/>
          </a:xfrm>
          <a:prstGeom prst="rect">
            <a:avLst/>
          </a:prstGeom>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564147784"/>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0" y="6356354"/>
            <a:ext cx="2743200" cy="365125"/>
          </a:xfrm>
          <a:prstGeom prst="rect">
            <a:avLst/>
          </a:prstGeom>
        </p:spPr>
        <p:txBody>
          <a:bodyPr/>
          <a:lstStyle/>
          <a:p>
            <a:fld id="{559A4995-99F3-6C48-8980-DDECA35E6552}" type="datetimeFigureOut">
              <a:rPr lang="en-US" smtClean="0"/>
              <a:t>4/24/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a:xfrm>
            <a:off x="8610600" y="6356354"/>
            <a:ext cx="2743200" cy="365125"/>
          </a:xfrm>
          <a:prstGeom prst="rect">
            <a:avLst/>
          </a:prstGeom>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39125878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916FF65-E16B-BA4F-9591-6B4416106527}" type="datetimeFigureOut">
              <a:rPr lang="en-US" smtClean="0"/>
              <a:t>4/24/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3970503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4"/>
            <a:ext cx="2743200" cy="365125"/>
          </a:xfrm>
          <a:prstGeom prst="rect">
            <a:avLst/>
          </a:prstGeom>
        </p:spPr>
        <p:txBody>
          <a:bodyPr/>
          <a:lstStyle/>
          <a:p>
            <a:fld id="{559A4995-99F3-6C48-8980-DDECA35E6552}" type="datetimeFigureOut">
              <a:rPr lang="en-US" smtClean="0"/>
              <a:t>4/24/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a:xfrm>
            <a:off x="8610600" y="6356354"/>
            <a:ext cx="2743200" cy="365125"/>
          </a:xfrm>
          <a:prstGeom prst="rect">
            <a:avLst/>
          </a:prstGeom>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1946226984"/>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5183188" y="987428"/>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892" indent="0">
              <a:buNone/>
              <a:defRPr sz="1050"/>
            </a:lvl2pPr>
            <a:lvl3pPr marL="685783" indent="0">
              <a:buNone/>
              <a:defRPr sz="900"/>
            </a:lvl3pPr>
            <a:lvl4pPr marL="1028675" indent="0">
              <a:buNone/>
              <a:defRPr sz="750"/>
            </a:lvl4pPr>
            <a:lvl5pPr marL="1371566" indent="0">
              <a:buNone/>
              <a:defRPr sz="750"/>
            </a:lvl5pPr>
            <a:lvl6pPr marL="1714457" indent="0">
              <a:buNone/>
              <a:defRPr sz="750"/>
            </a:lvl6pPr>
            <a:lvl7pPr marL="2057348" indent="0">
              <a:buNone/>
              <a:defRPr sz="750"/>
            </a:lvl7pPr>
            <a:lvl8pPr marL="2400240" indent="0">
              <a:buNone/>
              <a:defRPr sz="750"/>
            </a:lvl8pPr>
            <a:lvl9pPr marL="2743132" indent="0">
              <a:buNone/>
              <a:defRPr sz="750"/>
            </a:lvl9pPr>
          </a:lstStyle>
          <a:p>
            <a:pPr lvl="0"/>
            <a:r>
              <a:rPr lang="en-US"/>
              <a:t>Click to edit Master text styles</a:t>
            </a:r>
          </a:p>
        </p:txBody>
      </p:sp>
      <p:sp>
        <p:nvSpPr>
          <p:cNvPr id="5" name="Date Placeholder 4"/>
          <p:cNvSpPr>
            <a:spLocks noGrp="1"/>
          </p:cNvSpPr>
          <p:nvPr>
            <p:ph type="dt" sz="half" idx="10"/>
          </p:nvPr>
        </p:nvSpPr>
        <p:spPr>
          <a:xfrm>
            <a:off x="838200" y="6356354"/>
            <a:ext cx="2743200" cy="365125"/>
          </a:xfrm>
          <a:prstGeom prst="rect">
            <a:avLst/>
          </a:prstGeom>
        </p:spPr>
        <p:txBody>
          <a:bodyPr/>
          <a:lstStyle/>
          <a:p>
            <a:fld id="{559A4995-99F3-6C48-8980-DDECA35E6552}" type="datetimeFigureOut">
              <a:rPr lang="en-US" smtClean="0"/>
              <a:t>4/24/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610600" y="6356354"/>
            <a:ext cx="2743200" cy="365125"/>
          </a:xfrm>
          <a:prstGeom prst="rect">
            <a:avLst/>
          </a:prstGeom>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3921367768"/>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Picture Placeholder 2"/>
          <p:cNvSpPr>
            <a:spLocks noGrp="1" noChangeAspect="1"/>
          </p:cNvSpPr>
          <p:nvPr>
            <p:ph type="pic" idx="1"/>
          </p:nvPr>
        </p:nvSpPr>
        <p:spPr>
          <a:xfrm>
            <a:off x="5183188" y="987428"/>
            <a:ext cx="6172200" cy="4873625"/>
          </a:xfrm>
        </p:spPr>
        <p:txBody>
          <a:bodyPr anchor="t"/>
          <a:lstStyle>
            <a:lvl1pPr marL="0" indent="0">
              <a:buNone/>
              <a:defRPr sz="2400"/>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892" indent="0">
              <a:buNone/>
              <a:defRPr sz="1050"/>
            </a:lvl2pPr>
            <a:lvl3pPr marL="685783" indent="0">
              <a:buNone/>
              <a:defRPr sz="900"/>
            </a:lvl3pPr>
            <a:lvl4pPr marL="1028675" indent="0">
              <a:buNone/>
              <a:defRPr sz="750"/>
            </a:lvl4pPr>
            <a:lvl5pPr marL="1371566" indent="0">
              <a:buNone/>
              <a:defRPr sz="750"/>
            </a:lvl5pPr>
            <a:lvl6pPr marL="1714457" indent="0">
              <a:buNone/>
              <a:defRPr sz="750"/>
            </a:lvl6pPr>
            <a:lvl7pPr marL="2057348" indent="0">
              <a:buNone/>
              <a:defRPr sz="750"/>
            </a:lvl7pPr>
            <a:lvl8pPr marL="2400240" indent="0">
              <a:buNone/>
              <a:defRPr sz="750"/>
            </a:lvl8pPr>
            <a:lvl9pPr marL="2743132" indent="0">
              <a:buNone/>
              <a:defRPr sz="750"/>
            </a:lvl9pPr>
          </a:lstStyle>
          <a:p>
            <a:pPr lvl="0"/>
            <a:r>
              <a:rPr lang="en-US"/>
              <a:t>Click to edit Master text styles</a:t>
            </a:r>
          </a:p>
        </p:txBody>
      </p:sp>
      <p:sp>
        <p:nvSpPr>
          <p:cNvPr id="5" name="Date Placeholder 4"/>
          <p:cNvSpPr>
            <a:spLocks noGrp="1"/>
          </p:cNvSpPr>
          <p:nvPr>
            <p:ph type="dt" sz="half" idx="10"/>
          </p:nvPr>
        </p:nvSpPr>
        <p:spPr>
          <a:xfrm>
            <a:off x="838200" y="6356354"/>
            <a:ext cx="2743200" cy="365125"/>
          </a:xfrm>
          <a:prstGeom prst="rect">
            <a:avLst/>
          </a:prstGeom>
        </p:spPr>
        <p:txBody>
          <a:bodyPr/>
          <a:lstStyle/>
          <a:p>
            <a:fld id="{559A4995-99F3-6C48-8980-DDECA35E6552}" type="datetimeFigureOut">
              <a:rPr lang="en-US" smtClean="0"/>
              <a:t>4/24/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610600" y="6356354"/>
            <a:ext cx="2743200" cy="365125"/>
          </a:xfrm>
          <a:prstGeom prst="rect">
            <a:avLst/>
          </a:prstGeom>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1302363649"/>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4"/>
            <a:ext cx="2743200" cy="365125"/>
          </a:xfrm>
          <a:prstGeom prst="rect">
            <a:avLst/>
          </a:prstGeom>
        </p:spPr>
        <p:txBody>
          <a:bodyPr/>
          <a:lstStyle/>
          <a:p>
            <a:fld id="{559A4995-99F3-6C48-8980-DDECA35E6552}"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610600" y="6356354"/>
            <a:ext cx="2743200" cy="365125"/>
          </a:xfrm>
          <a:prstGeom prst="rect">
            <a:avLst/>
          </a:prstGeom>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147671399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2"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2"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4"/>
            <a:ext cx="2743200" cy="365125"/>
          </a:xfrm>
          <a:prstGeom prst="rect">
            <a:avLst/>
          </a:prstGeom>
        </p:spPr>
        <p:txBody>
          <a:bodyPr/>
          <a:lstStyle/>
          <a:p>
            <a:fld id="{559A4995-99F3-6C48-8980-DDECA35E6552}"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610600" y="6356354"/>
            <a:ext cx="2743200" cy="365125"/>
          </a:xfrm>
          <a:prstGeom prst="rect">
            <a:avLst/>
          </a:prstGeom>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2178952555"/>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a:xfrm>
            <a:off x="8610600" y="6356354"/>
            <a:ext cx="2743200" cy="365125"/>
          </a:xfrm>
          <a:prstGeom prst="rect">
            <a:avLst/>
          </a:prstGeom>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52"/>
            <a:ext cx="5852160" cy="281355"/>
          </a:xfrm>
        </p:spPr>
        <p:txBody>
          <a:bodyPr lIns="0" tIns="0" rIns="0" bIns="0" anchor="b" anchorCtr="0">
            <a:noAutofit/>
          </a:bodyPr>
          <a:lstStyle>
            <a:lvl1pPr marL="0" indent="0">
              <a:spcBef>
                <a:spcPts val="0"/>
              </a:spcBef>
              <a:buFontTx/>
              <a:buNone/>
              <a:defRPr sz="563">
                <a:solidFill>
                  <a:srgbClr val="002557"/>
                </a:solidFill>
              </a:defRPr>
            </a:lvl1pPr>
            <a:lvl2pPr>
              <a:defRPr sz="506">
                <a:solidFill>
                  <a:srgbClr val="002557"/>
                </a:solidFill>
              </a:defRPr>
            </a:lvl2pPr>
            <a:lvl3pPr>
              <a:defRPr sz="506">
                <a:solidFill>
                  <a:srgbClr val="002557"/>
                </a:solidFill>
              </a:defRPr>
            </a:lvl3pPr>
            <a:lvl4pPr>
              <a:defRPr sz="506">
                <a:solidFill>
                  <a:srgbClr val="002557"/>
                </a:solidFill>
              </a:defRPr>
            </a:lvl4pPr>
            <a:lvl5pPr>
              <a:defRPr sz="506">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4238606454"/>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5A6F13-24F7-8A5C-AC73-8B91791DE8F0}"/>
              </a:ext>
            </a:extLst>
          </p:cNvPr>
          <p:cNvSpPr>
            <a:spLocks noGrp="1"/>
          </p:cNvSpPr>
          <p:nvPr>
            <p:ph type="title"/>
          </p:nvPr>
        </p:nvSpPr>
        <p:spPr>
          <a:xfrm>
            <a:off x="743709" y="153525"/>
            <a:ext cx="10515600" cy="891107"/>
          </a:xfrm>
        </p:spPr>
        <p:txBody>
          <a:bodyPr>
            <a:normAutofit/>
          </a:bodyPr>
          <a:lstStyle>
            <a:lvl1pPr>
              <a:defRPr sz="2400"/>
            </a:lvl1pPr>
          </a:lstStyle>
          <a:p>
            <a:r>
              <a:rPr lang="en-US"/>
              <a:t>Click to edit Master title style</a:t>
            </a:r>
          </a:p>
        </p:txBody>
      </p:sp>
      <p:sp>
        <p:nvSpPr>
          <p:cNvPr id="4" name="Content Placeholder 23">
            <a:extLst>
              <a:ext uri="{FF2B5EF4-FFF2-40B4-BE49-F238E27FC236}">
                <a16:creationId xmlns:a16="http://schemas.microsoft.com/office/drawing/2014/main" id="{1788884B-E278-F67B-7F7C-8AEAC394B3A7}"/>
              </a:ext>
            </a:extLst>
          </p:cNvPr>
          <p:cNvSpPr>
            <a:spLocks noGrp="1"/>
          </p:cNvSpPr>
          <p:nvPr>
            <p:ph sz="quarter" idx="14" hasCustomPrompt="1"/>
          </p:nvPr>
        </p:nvSpPr>
        <p:spPr>
          <a:xfrm>
            <a:off x="743709" y="6304666"/>
            <a:ext cx="10872787" cy="81817"/>
          </a:xfrm>
          <a:prstGeom prst="rect">
            <a:avLst/>
          </a:prstGeom>
        </p:spPr>
        <p:txBody>
          <a:bodyPr wrap="square" lIns="0" tIns="0" rIns="0" bIns="0" anchor="b" anchorCtr="0">
            <a:spAutoFit/>
          </a:bodyPr>
          <a:lstStyle>
            <a:lvl1pPr marL="0" indent="0">
              <a:lnSpc>
                <a:spcPct val="90000"/>
              </a:lnSpc>
              <a:spcBef>
                <a:spcPts val="0"/>
              </a:spcBef>
              <a:spcAft>
                <a:spcPts val="0"/>
              </a:spcAft>
              <a:buFontTx/>
              <a:buNone/>
              <a:defRPr sz="591"/>
            </a:lvl1pPr>
            <a:lvl2pPr marL="257168" indent="0">
              <a:buFontTx/>
              <a:buNone/>
              <a:defRPr sz="450"/>
            </a:lvl2pPr>
            <a:lvl3pPr marL="514337" indent="0">
              <a:buFontTx/>
              <a:buNone/>
              <a:defRPr sz="450"/>
            </a:lvl3pPr>
            <a:lvl4pPr marL="771506" indent="0">
              <a:buFontTx/>
              <a:buNone/>
              <a:defRPr sz="450"/>
            </a:lvl4pPr>
            <a:lvl5pPr marL="1028675" indent="0">
              <a:buFontTx/>
              <a:buNone/>
              <a:defRPr sz="450"/>
            </a:lvl5pPr>
          </a:lstStyle>
          <a:p>
            <a:pPr lvl="0"/>
            <a:r>
              <a:rPr lang="en-US"/>
              <a:t>Footer</a:t>
            </a:r>
          </a:p>
        </p:txBody>
      </p:sp>
      <p:sp>
        <p:nvSpPr>
          <p:cNvPr id="3" name="bk object 18">
            <a:extLst>
              <a:ext uri="{FF2B5EF4-FFF2-40B4-BE49-F238E27FC236}">
                <a16:creationId xmlns:a16="http://schemas.microsoft.com/office/drawing/2014/main" id="{A21F3C06-E803-42C9-5EEA-FF2F6F748052}"/>
              </a:ext>
            </a:extLst>
          </p:cNvPr>
          <p:cNvSpPr/>
          <p:nvPr userDrawn="1"/>
        </p:nvSpPr>
        <p:spPr>
          <a:xfrm>
            <a:off x="2" y="0"/>
            <a:ext cx="107156" cy="6858000"/>
          </a:xfrm>
          <a:custGeom>
            <a:avLst/>
            <a:gdLst/>
            <a:ahLst/>
            <a:cxnLst/>
            <a:rect l="l" t="t" r="r" b="b"/>
            <a:pathLst>
              <a:path w="142875" h="6858000">
                <a:moveTo>
                  <a:pt x="0" y="6858000"/>
                </a:moveTo>
                <a:lnTo>
                  <a:pt x="142494" y="6858000"/>
                </a:lnTo>
                <a:lnTo>
                  <a:pt x="142494" y="0"/>
                </a:lnTo>
                <a:lnTo>
                  <a:pt x="0" y="0"/>
                </a:lnTo>
                <a:lnTo>
                  <a:pt x="0" y="6858000"/>
                </a:lnTo>
                <a:close/>
              </a:path>
            </a:pathLst>
          </a:custGeom>
          <a:solidFill>
            <a:srgbClr val="CBB379"/>
          </a:solidFill>
        </p:spPr>
        <p:txBody>
          <a:bodyPr wrap="square" lIns="0" tIns="0" rIns="0" bIns="0" rtlCol="0"/>
          <a:lstStyle/>
          <a:p>
            <a:endParaRPr sz="1800"/>
          </a:p>
        </p:txBody>
      </p:sp>
    </p:spTree>
    <p:extLst>
      <p:ext uri="{BB962C8B-B14F-4D97-AF65-F5344CB8AC3E}">
        <p14:creationId xmlns:p14="http://schemas.microsoft.com/office/powerpoint/2010/main" val="3918480404"/>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605A4A-6623-1F90-F653-2974337CA761}"/>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E2F280F1-A8A3-F899-BD63-4B29DDBFA3BC}"/>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1347469787"/>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00D8B1-1581-4488-A1A4-886D01EEFD4F}"/>
              </a:ext>
            </a:extLst>
          </p:cNvPr>
          <p:cNvSpPr>
            <a:spLocks noGrp="1"/>
          </p:cNvSpPr>
          <p:nvPr>
            <p:ph type="title" hasCustomPrompt="1"/>
          </p:nvPr>
        </p:nvSpPr>
        <p:spPr/>
        <p:txBody>
          <a:bodyPr/>
          <a:lstStyle>
            <a:lvl1pPr>
              <a:defRPr/>
            </a:lvl1pPr>
          </a:lstStyle>
          <a:p>
            <a:r>
              <a:rPr lang="en-US"/>
              <a:t>[Slide title]</a:t>
            </a:r>
          </a:p>
        </p:txBody>
      </p:sp>
      <p:sp>
        <p:nvSpPr>
          <p:cNvPr id="5" name="Slide Number Placeholder 2">
            <a:extLst>
              <a:ext uri="{FF2B5EF4-FFF2-40B4-BE49-F238E27FC236}">
                <a16:creationId xmlns:a16="http://schemas.microsoft.com/office/drawing/2014/main" id="{6CF9CDAC-EC28-4BA6-9827-D58133E18874}"/>
              </a:ext>
            </a:extLst>
          </p:cNvPr>
          <p:cNvSpPr>
            <a:spLocks noGrp="1"/>
          </p:cNvSpPr>
          <p:nvPr>
            <p:ph type="sldNum" sz="quarter" idx="12"/>
          </p:nvPr>
        </p:nvSpPr>
        <p:spPr/>
        <p:txBody>
          <a:bodyPr/>
          <a:lstStyle/>
          <a:p>
            <a:fld id="{B58DE5F1-E0F9-4CCA-92B7-7A6FC4DFEE14}" type="slidenum">
              <a:rPr lang="en-US" smtClean="0"/>
              <a:t>‹#›</a:t>
            </a:fld>
            <a:endParaRPr lang="en-US"/>
          </a:p>
        </p:txBody>
      </p:sp>
      <p:sp>
        <p:nvSpPr>
          <p:cNvPr id="7" name="Content Placeholder 23">
            <a:extLst>
              <a:ext uri="{FF2B5EF4-FFF2-40B4-BE49-F238E27FC236}">
                <a16:creationId xmlns:a16="http://schemas.microsoft.com/office/drawing/2014/main" id="{B3ABCDB3-CD54-7DD1-5C78-E03262F50C48}"/>
              </a:ext>
            </a:extLst>
          </p:cNvPr>
          <p:cNvSpPr>
            <a:spLocks noGrp="1"/>
          </p:cNvSpPr>
          <p:nvPr>
            <p:ph sz="quarter" idx="15"/>
          </p:nvPr>
        </p:nvSpPr>
        <p:spPr>
          <a:xfrm>
            <a:off x="376240" y="6246409"/>
            <a:ext cx="10872787" cy="83100"/>
          </a:xfrm>
          <a:prstGeom prst="rect">
            <a:avLst/>
          </a:prstGeom>
        </p:spPr>
        <p:txBody>
          <a:bodyPr wrap="square" lIns="0" tIns="0" rIns="0" bIns="0" anchor="b" anchorCtr="0">
            <a:spAutoFit/>
          </a:bodyPr>
          <a:lstStyle>
            <a:lvl1pPr marL="0" indent="0">
              <a:lnSpc>
                <a:spcPct val="90000"/>
              </a:lnSpc>
              <a:spcBef>
                <a:spcPts val="0"/>
              </a:spcBef>
              <a:spcAft>
                <a:spcPts val="0"/>
              </a:spcAft>
              <a:buFontTx/>
              <a:buNone/>
              <a:defRPr sz="600"/>
            </a:lvl1pPr>
            <a:lvl2pPr marL="342892" indent="0">
              <a:buFontTx/>
              <a:buNone/>
              <a:defRPr sz="600"/>
            </a:lvl2pPr>
            <a:lvl3pPr marL="685783" indent="0">
              <a:buFontTx/>
              <a:buNone/>
              <a:defRPr sz="600"/>
            </a:lvl3pPr>
            <a:lvl4pPr marL="1028675" indent="0">
              <a:buFontTx/>
              <a:buNone/>
              <a:defRPr sz="600"/>
            </a:lvl4pPr>
            <a:lvl5pPr marL="1371566" indent="0">
              <a:buFontTx/>
              <a:buNone/>
              <a:defRPr sz="600"/>
            </a:lvl5pPr>
          </a:lstStyle>
          <a:p>
            <a:pPr lvl="0"/>
            <a:r>
              <a:rPr lang="en-US"/>
              <a:t>Click to edit Master text styles</a:t>
            </a:r>
          </a:p>
        </p:txBody>
      </p:sp>
    </p:spTree>
    <p:extLst>
      <p:ext uri="{BB962C8B-B14F-4D97-AF65-F5344CB8AC3E}">
        <p14:creationId xmlns:p14="http://schemas.microsoft.com/office/powerpoint/2010/main" val="542051225"/>
      </p:ext>
    </p:extLst>
  </p:cSld>
  <p:clrMapOvr>
    <a:masterClrMapping/>
  </p:clrMapOvr>
  <p:extLst>
    <p:ext uri="{DCECCB84-F9BA-43D5-87BE-67443E8EF086}">
      <p15:sldGuideLst xmlns:p15="http://schemas.microsoft.com/office/powerpoint/2012/main"/>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5BE734-87B0-9FF2-5E01-25E18F10C679}"/>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46CBF08F-D34D-4142-2901-5911800B0D01}"/>
              </a:ext>
            </a:extLst>
          </p:cNvPr>
          <p:cNvSpPr>
            <a:spLocks noGrp="1"/>
          </p:cNvSpPr>
          <p:nvPr>
            <p:ph type="ftr" sz="quarter" idx="10"/>
          </p:nvPr>
        </p:nvSpPr>
        <p:spPr/>
        <p:txBody>
          <a:bodyPr/>
          <a:lstStyle/>
          <a:p>
            <a:r>
              <a:rPr lang="de-DE"/>
              <a:t>Titel | Abteilung/Institut | Datum</a:t>
            </a:r>
          </a:p>
        </p:txBody>
      </p:sp>
      <p:sp>
        <p:nvSpPr>
          <p:cNvPr id="4" name="Slide Number Placeholder 3">
            <a:extLst>
              <a:ext uri="{FF2B5EF4-FFF2-40B4-BE49-F238E27FC236}">
                <a16:creationId xmlns:a16="http://schemas.microsoft.com/office/drawing/2014/main" id="{285EF948-C8DB-BAA5-FEE8-2202E80ABE42}"/>
              </a:ext>
            </a:extLst>
          </p:cNvPr>
          <p:cNvSpPr>
            <a:spLocks noGrp="1"/>
          </p:cNvSpPr>
          <p:nvPr>
            <p:ph type="sldNum" sz="quarter" idx="11"/>
          </p:nvPr>
        </p:nvSpPr>
        <p:spPr/>
        <p:txBody>
          <a:bodyPr/>
          <a:lstStyle/>
          <a:p>
            <a:fld id="{C457A7E8-3F45-46AC-80A6-5B03F18BB502}" type="slidenum">
              <a:rPr lang="de-DE" smtClean="0"/>
              <a:pPr/>
              <a:t>‹#›</a:t>
            </a:fld>
            <a:endParaRPr lang="de-DE"/>
          </a:p>
        </p:txBody>
      </p:sp>
    </p:spTree>
    <p:extLst>
      <p:ext uri="{BB962C8B-B14F-4D97-AF65-F5344CB8AC3E}">
        <p14:creationId xmlns:p14="http://schemas.microsoft.com/office/powerpoint/2010/main" val="300666671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6237961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ext pag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vl1pPr>
          </a:lstStyle>
          <a:p>
            <a:fld id="{87DE6A48-BD34-9247-8CD2-A207D07E22B4}" type="datetime1">
              <a:rPr lang="en-US"/>
              <a:pPr/>
              <a:t>4/24/26</a:t>
            </a:fld>
            <a:endParaRPr lang="en-US"/>
          </a:p>
        </p:txBody>
      </p:sp>
      <p:sp>
        <p:nvSpPr>
          <p:cNvPr id="6" name="Slide Number Placeholder 5"/>
          <p:cNvSpPr>
            <a:spLocks noGrp="1"/>
          </p:cNvSpPr>
          <p:nvPr>
            <p:ph type="sldNum" sz="quarter" idx="12"/>
          </p:nvPr>
        </p:nvSpPr>
        <p:spPr/>
        <p:txBody>
          <a:bodyPr/>
          <a:lstStyle>
            <a:lvl1pPr>
              <a:defRPr/>
            </a:lvl1pPr>
          </a:lstStyle>
          <a:p>
            <a:fld id="{02941447-81A8-E34A-8E29-11F044513D7E}" type="slidenum">
              <a:rPr lang="en-US"/>
              <a:pPr/>
              <a:t>‹#›</a:t>
            </a:fld>
            <a:endParaRPr lang="en-US"/>
          </a:p>
        </p:txBody>
      </p:sp>
      <p:sp>
        <p:nvSpPr>
          <p:cNvPr id="7" name="Title 1"/>
          <p:cNvSpPr>
            <a:spLocks noGrp="1"/>
          </p:cNvSpPr>
          <p:nvPr>
            <p:ph type="title"/>
          </p:nvPr>
        </p:nvSpPr>
        <p:spPr>
          <a:xfrm>
            <a:off x="609600" y="490458"/>
            <a:ext cx="10972800" cy="713539"/>
          </a:xfrm>
          <a:prstGeom prst="rect">
            <a:avLst/>
          </a:prstGeom>
        </p:spPr>
        <p:txBody>
          <a:bodyPr/>
          <a:lstStyle>
            <a:lvl1pPr>
              <a:defRPr>
                <a:solidFill>
                  <a:srgbClr val="CD113B"/>
                </a:solidFill>
              </a:defRPr>
            </a:lvl1pPr>
          </a:lstStyle>
          <a:p>
            <a:r>
              <a:rPr lang="en-US"/>
              <a:t>Click to edit Master title style</a:t>
            </a:r>
          </a:p>
        </p:txBody>
      </p:sp>
      <p:sp>
        <p:nvSpPr>
          <p:cNvPr id="8" name="Content Placeholder 2"/>
          <p:cNvSpPr>
            <a:spLocks noGrp="1"/>
          </p:cNvSpPr>
          <p:nvPr>
            <p:ph idx="1"/>
          </p:nvPr>
        </p:nvSpPr>
        <p:spPr>
          <a:xfrm>
            <a:off x="609600" y="1368927"/>
            <a:ext cx="10972800" cy="4947903"/>
          </a:xfrm>
          <a:prstGeom prst="rect">
            <a:avLst/>
          </a:prstGeom>
        </p:spPr>
        <p:txBody>
          <a:bodyPr/>
          <a:lstStyle>
            <a:lvl1pPr>
              <a:defRPr sz="1500">
                <a:solidFill>
                  <a:schemeClr val="tx1"/>
                </a:solidFill>
              </a:defRPr>
            </a:lvl1pPr>
            <a:lvl2pPr>
              <a:defRPr sz="1350">
                <a:solidFill>
                  <a:schemeClr val="tx1"/>
                </a:solidFill>
              </a:defRPr>
            </a:lvl2pPr>
            <a:lvl3pPr>
              <a:defRPr sz="1200">
                <a:solidFill>
                  <a:schemeClr val="tx1"/>
                </a:solidFill>
              </a:defRPr>
            </a:lvl3pPr>
            <a:lvl4pPr>
              <a:defRPr sz="1050">
                <a:solidFill>
                  <a:schemeClr val="tx1"/>
                </a:solidFill>
              </a:defRPr>
            </a:lvl4pPr>
            <a:lvl5pPr>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bk object 18">
            <a:extLst>
              <a:ext uri="{FF2B5EF4-FFF2-40B4-BE49-F238E27FC236}">
                <a16:creationId xmlns:a16="http://schemas.microsoft.com/office/drawing/2014/main" id="{25EAD37F-746E-8DE9-7184-64F3FB19EA7C}"/>
              </a:ext>
            </a:extLst>
          </p:cNvPr>
          <p:cNvSpPr/>
          <p:nvPr userDrawn="1"/>
        </p:nvSpPr>
        <p:spPr>
          <a:xfrm>
            <a:off x="2" y="0"/>
            <a:ext cx="107156" cy="6858000"/>
          </a:xfrm>
          <a:custGeom>
            <a:avLst/>
            <a:gdLst/>
            <a:ahLst/>
            <a:cxnLst/>
            <a:rect l="l" t="t" r="r" b="b"/>
            <a:pathLst>
              <a:path w="142875" h="6858000">
                <a:moveTo>
                  <a:pt x="0" y="6858000"/>
                </a:moveTo>
                <a:lnTo>
                  <a:pt x="142494" y="6858000"/>
                </a:lnTo>
                <a:lnTo>
                  <a:pt x="142494" y="0"/>
                </a:lnTo>
                <a:lnTo>
                  <a:pt x="0" y="0"/>
                </a:lnTo>
                <a:lnTo>
                  <a:pt x="0" y="6858000"/>
                </a:lnTo>
                <a:close/>
              </a:path>
            </a:pathLst>
          </a:custGeom>
          <a:solidFill>
            <a:srgbClr val="CBB379"/>
          </a:solidFill>
        </p:spPr>
        <p:txBody>
          <a:bodyPr wrap="square" lIns="0" tIns="0" rIns="0" bIns="0" rtlCol="0"/>
          <a:lstStyle/>
          <a:p>
            <a:endParaRPr sz="1800"/>
          </a:p>
        </p:txBody>
      </p:sp>
    </p:spTree>
    <p:extLst>
      <p:ext uri="{BB962C8B-B14F-4D97-AF65-F5344CB8AC3E}">
        <p14:creationId xmlns:p14="http://schemas.microsoft.com/office/powerpoint/2010/main" val="418369739"/>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dirty="0"/>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8"/>
            <a:ext cx="5852160" cy="281355"/>
          </a:xfrm>
        </p:spPr>
        <p:txBody>
          <a:bodyPr lIns="0" tIns="0" rIns="0" bIns="0" anchor="b" anchorCtr="0">
            <a:noAutofit/>
          </a:bodyPr>
          <a:lstStyle>
            <a:lvl1pPr marL="0" indent="0">
              <a:spcBef>
                <a:spcPts val="0"/>
              </a:spcBef>
              <a:buFontTx/>
              <a:buNone/>
              <a:defRPr sz="750">
                <a:solidFill>
                  <a:srgbClr val="002557"/>
                </a:solidFill>
              </a:defRPr>
            </a:lvl1pPr>
            <a:lvl2pPr>
              <a:defRPr sz="675">
                <a:solidFill>
                  <a:srgbClr val="002557"/>
                </a:solidFill>
              </a:defRPr>
            </a:lvl2pPr>
            <a:lvl3pPr>
              <a:defRPr sz="675">
                <a:solidFill>
                  <a:srgbClr val="002557"/>
                </a:solidFill>
              </a:defRPr>
            </a:lvl3pPr>
            <a:lvl4pPr>
              <a:defRPr sz="675">
                <a:solidFill>
                  <a:srgbClr val="002557"/>
                </a:solidFill>
              </a:defRPr>
            </a:lvl4pPr>
            <a:lvl5pPr>
              <a:defRPr sz="675">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2448182808"/>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3375"/>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1350"/>
            </a:lvl1pPr>
            <a:lvl2pPr marL="257169" indent="0" algn="ctr">
              <a:buNone/>
              <a:defRPr sz="1125"/>
            </a:lvl2pPr>
            <a:lvl3pPr marL="514337" indent="0" algn="ctr">
              <a:buNone/>
              <a:defRPr sz="1013"/>
            </a:lvl3pPr>
            <a:lvl4pPr marL="771506" indent="0" algn="ctr">
              <a:buNone/>
              <a:defRPr sz="900"/>
            </a:lvl4pPr>
            <a:lvl5pPr marL="1028675" indent="0" algn="ctr">
              <a:buNone/>
              <a:defRPr sz="900"/>
            </a:lvl5pPr>
            <a:lvl6pPr marL="1285843" indent="0" algn="ctr">
              <a:buNone/>
              <a:defRPr sz="900"/>
            </a:lvl6pPr>
            <a:lvl7pPr marL="1543011" indent="0" algn="ctr">
              <a:buNone/>
              <a:defRPr sz="900"/>
            </a:lvl7pPr>
            <a:lvl8pPr marL="1800180" indent="0" algn="ctr">
              <a:buNone/>
              <a:defRPr sz="900"/>
            </a:lvl8pPr>
            <a:lvl9pPr marL="2057349" indent="0" algn="ctr">
              <a:buNone/>
              <a:defRPr sz="900"/>
            </a:lvl9pPr>
          </a:lstStyle>
          <a:p>
            <a:r>
              <a:rPr lang="en-US"/>
              <a:t>Click to edit Master subtitle style</a:t>
            </a:r>
          </a:p>
        </p:txBody>
      </p:sp>
      <p:sp>
        <p:nvSpPr>
          <p:cNvPr id="4" name="Date Placeholder 3"/>
          <p:cNvSpPr>
            <a:spLocks noGrp="1"/>
          </p:cNvSpPr>
          <p:nvPr>
            <p:ph type="dt" sz="half" idx="10"/>
          </p:nvPr>
        </p:nvSpPr>
        <p:spPr>
          <a:xfrm>
            <a:off x="838200" y="6356356"/>
            <a:ext cx="2743200" cy="365125"/>
          </a:xfrm>
          <a:prstGeom prst="rect">
            <a:avLst/>
          </a:prstGeom>
        </p:spPr>
        <p:txBody>
          <a:bodyPr/>
          <a:lstStyle/>
          <a:p>
            <a:fld id="{559A4995-99F3-6C48-8980-DDECA35E6552}"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610600" y="6356356"/>
            <a:ext cx="2743200" cy="365125"/>
          </a:xfrm>
          <a:prstGeom prst="rect">
            <a:avLst/>
          </a:prstGeom>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1105263270"/>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6"/>
            <a:ext cx="2743200" cy="365125"/>
          </a:xfrm>
          <a:prstGeom prst="rect">
            <a:avLst/>
          </a:prstGeom>
        </p:spPr>
        <p:txBody>
          <a:bodyPr/>
          <a:lstStyle/>
          <a:p>
            <a:fld id="{559A4995-99F3-6C48-8980-DDECA35E6552}"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610600" y="6356356"/>
            <a:ext cx="2743200" cy="365125"/>
          </a:xfrm>
          <a:prstGeom prst="rect">
            <a:avLst/>
          </a:prstGeom>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3863247131"/>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4"/>
            <a:ext cx="10515600" cy="2852737"/>
          </a:xfrm>
        </p:spPr>
        <p:txBody>
          <a:bodyPr anchor="b"/>
          <a:lstStyle>
            <a:lvl1pPr>
              <a:defRPr sz="3375"/>
            </a:lvl1pPr>
          </a:lstStyle>
          <a:p>
            <a:r>
              <a:rPr lang="en-US"/>
              <a:t>Click to edit Master title style</a:t>
            </a:r>
          </a:p>
        </p:txBody>
      </p:sp>
      <p:sp>
        <p:nvSpPr>
          <p:cNvPr id="3" name="Text Placeholder 2"/>
          <p:cNvSpPr>
            <a:spLocks noGrp="1"/>
          </p:cNvSpPr>
          <p:nvPr>
            <p:ph type="body" idx="1"/>
          </p:nvPr>
        </p:nvSpPr>
        <p:spPr>
          <a:xfrm>
            <a:off x="831851" y="4589469"/>
            <a:ext cx="10515600" cy="1500187"/>
          </a:xfrm>
        </p:spPr>
        <p:txBody>
          <a:bodyPr/>
          <a:lstStyle>
            <a:lvl1pPr marL="0" indent="0">
              <a:buNone/>
              <a:defRPr sz="1350">
                <a:solidFill>
                  <a:schemeClr val="tx1">
                    <a:tint val="75000"/>
                  </a:schemeClr>
                </a:solidFill>
              </a:defRPr>
            </a:lvl1pPr>
            <a:lvl2pPr marL="257169" indent="0">
              <a:buNone/>
              <a:defRPr sz="1125">
                <a:solidFill>
                  <a:schemeClr val="tx1">
                    <a:tint val="75000"/>
                  </a:schemeClr>
                </a:solidFill>
              </a:defRPr>
            </a:lvl2pPr>
            <a:lvl3pPr marL="514337" indent="0">
              <a:buNone/>
              <a:defRPr sz="1013">
                <a:solidFill>
                  <a:schemeClr val="tx1">
                    <a:tint val="75000"/>
                  </a:schemeClr>
                </a:solidFill>
              </a:defRPr>
            </a:lvl3pPr>
            <a:lvl4pPr marL="771506" indent="0">
              <a:buNone/>
              <a:defRPr sz="900">
                <a:solidFill>
                  <a:schemeClr val="tx1">
                    <a:tint val="75000"/>
                  </a:schemeClr>
                </a:solidFill>
              </a:defRPr>
            </a:lvl4pPr>
            <a:lvl5pPr marL="1028675" indent="0">
              <a:buNone/>
              <a:defRPr sz="900">
                <a:solidFill>
                  <a:schemeClr val="tx1">
                    <a:tint val="75000"/>
                  </a:schemeClr>
                </a:solidFill>
              </a:defRPr>
            </a:lvl5pPr>
            <a:lvl6pPr marL="1285843" indent="0">
              <a:buNone/>
              <a:defRPr sz="900">
                <a:solidFill>
                  <a:schemeClr val="tx1">
                    <a:tint val="75000"/>
                  </a:schemeClr>
                </a:solidFill>
              </a:defRPr>
            </a:lvl6pPr>
            <a:lvl7pPr marL="1543011" indent="0">
              <a:buNone/>
              <a:defRPr sz="900">
                <a:solidFill>
                  <a:schemeClr val="tx1">
                    <a:tint val="75000"/>
                  </a:schemeClr>
                </a:solidFill>
              </a:defRPr>
            </a:lvl7pPr>
            <a:lvl8pPr marL="1800180" indent="0">
              <a:buNone/>
              <a:defRPr sz="900">
                <a:solidFill>
                  <a:schemeClr val="tx1">
                    <a:tint val="75000"/>
                  </a:schemeClr>
                </a:solidFill>
              </a:defRPr>
            </a:lvl8pPr>
            <a:lvl9pPr marL="2057349" indent="0">
              <a:buNone/>
              <a:defRPr sz="9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38200" y="6356356"/>
            <a:ext cx="2743200" cy="365125"/>
          </a:xfrm>
          <a:prstGeom prst="rect">
            <a:avLst/>
          </a:prstGeom>
        </p:spPr>
        <p:txBody>
          <a:bodyPr/>
          <a:lstStyle/>
          <a:p>
            <a:fld id="{559A4995-99F3-6C48-8980-DDECA35E6552}"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610600" y="6356356"/>
            <a:ext cx="2743200" cy="365125"/>
          </a:xfrm>
          <a:prstGeom prst="rect">
            <a:avLst/>
          </a:prstGeom>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1188922764"/>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0" y="6356356"/>
            <a:ext cx="2743200" cy="365125"/>
          </a:xfrm>
          <a:prstGeom prst="rect">
            <a:avLst/>
          </a:prstGeom>
        </p:spPr>
        <p:txBody>
          <a:bodyPr/>
          <a:lstStyle/>
          <a:p>
            <a:fld id="{559A4995-99F3-6C48-8980-DDECA35E6552}" type="datetimeFigureOut">
              <a:rPr lang="en-US" smtClean="0"/>
              <a:t>4/24/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610600" y="6356356"/>
            <a:ext cx="2743200" cy="365125"/>
          </a:xfrm>
          <a:prstGeom prst="rect">
            <a:avLst/>
          </a:prstGeom>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954488164"/>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9"/>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1350" b="1"/>
            </a:lvl1pPr>
            <a:lvl2pPr marL="257169" indent="0">
              <a:buNone/>
              <a:defRPr sz="1125" b="1"/>
            </a:lvl2pPr>
            <a:lvl3pPr marL="514337" indent="0">
              <a:buNone/>
              <a:defRPr sz="1013" b="1"/>
            </a:lvl3pPr>
            <a:lvl4pPr marL="771506" indent="0">
              <a:buNone/>
              <a:defRPr sz="900" b="1"/>
            </a:lvl4pPr>
            <a:lvl5pPr marL="1028675" indent="0">
              <a:buNone/>
              <a:defRPr sz="900" b="1"/>
            </a:lvl5pPr>
            <a:lvl6pPr marL="1285843" indent="0">
              <a:buNone/>
              <a:defRPr sz="900" b="1"/>
            </a:lvl6pPr>
            <a:lvl7pPr marL="1543011" indent="0">
              <a:buNone/>
              <a:defRPr sz="900" b="1"/>
            </a:lvl7pPr>
            <a:lvl8pPr marL="1800180" indent="0">
              <a:buNone/>
              <a:defRPr sz="900" b="1"/>
            </a:lvl8pPr>
            <a:lvl9pPr marL="2057349" indent="0">
              <a:buNone/>
              <a:defRPr sz="9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3" y="1681163"/>
            <a:ext cx="5183188" cy="823912"/>
          </a:xfrm>
        </p:spPr>
        <p:txBody>
          <a:bodyPr anchor="b"/>
          <a:lstStyle>
            <a:lvl1pPr marL="0" indent="0">
              <a:buNone/>
              <a:defRPr sz="1350" b="1"/>
            </a:lvl1pPr>
            <a:lvl2pPr marL="257169" indent="0">
              <a:buNone/>
              <a:defRPr sz="1125" b="1"/>
            </a:lvl2pPr>
            <a:lvl3pPr marL="514337" indent="0">
              <a:buNone/>
              <a:defRPr sz="1013" b="1"/>
            </a:lvl3pPr>
            <a:lvl4pPr marL="771506" indent="0">
              <a:buNone/>
              <a:defRPr sz="900" b="1"/>
            </a:lvl4pPr>
            <a:lvl5pPr marL="1028675" indent="0">
              <a:buNone/>
              <a:defRPr sz="900" b="1"/>
            </a:lvl5pPr>
            <a:lvl6pPr marL="1285843" indent="0">
              <a:buNone/>
              <a:defRPr sz="900" b="1"/>
            </a:lvl6pPr>
            <a:lvl7pPr marL="1543011" indent="0">
              <a:buNone/>
              <a:defRPr sz="900" b="1"/>
            </a:lvl7pPr>
            <a:lvl8pPr marL="1800180" indent="0">
              <a:buNone/>
              <a:defRPr sz="900" b="1"/>
            </a:lvl8pPr>
            <a:lvl9pPr marL="2057349" indent="0">
              <a:buNone/>
              <a:defRPr sz="900" b="1"/>
            </a:lvl9pPr>
          </a:lstStyle>
          <a:p>
            <a:pPr lvl="0"/>
            <a:r>
              <a:rPr lang="en-US"/>
              <a:t>Click to edit Master text styles</a:t>
            </a:r>
          </a:p>
        </p:txBody>
      </p:sp>
      <p:sp>
        <p:nvSpPr>
          <p:cNvPr id="6" name="Content Placeholder 5"/>
          <p:cNvSpPr>
            <a:spLocks noGrp="1"/>
          </p:cNvSpPr>
          <p:nvPr>
            <p:ph sz="quarter" idx="4"/>
          </p:nvPr>
        </p:nvSpPr>
        <p:spPr>
          <a:xfrm>
            <a:off x="6172203"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8200" y="6356356"/>
            <a:ext cx="2743200" cy="365125"/>
          </a:xfrm>
          <a:prstGeom prst="rect">
            <a:avLst/>
          </a:prstGeom>
        </p:spPr>
        <p:txBody>
          <a:bodyPr/>
          <a:lstStyle/>
          <a:p>
            <a:fld id="{559A4995-99F3-6C48-8980-DDECA35E6552}" type="datetimeFigureOut">
              <a:rPr lang="en-US" smtClean="0"/>
              <a:t>4/24/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a:xfrm>
            <a:off x="8610600" y="6356356"/>
            <a:ext cx="2743200" cy="365125"/>
          </a:xfrm>
          <a:prstGeom prst="rect">
            <a:avLst/>
          </a:prstGeom>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524743759"/>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0" y="6356356"/>
            <a:ext cx="2743200" cy="365125"/>
          </a:xfrm>
          <a:prstGeom prst="rect">
            <a:avLst/>
          </a:prstGeom>
        </p:spPr>
        <p:txBody>
          <a:bodyPr/>
          <a:lstStyle/>
          <a:p>
            <a:fld id="{559A4995-99F3-6C48-8980-DDECA35E6552}" type="datetimeFigureOut">
              <a:rPr lang="en-US" smtClean="0"/>
              <a:t>4/24/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a:xfrm>
            <a:off x="8610600" y="6356356"/>
            <a:ext cx="2743200" cy="365125"/>
          </a:xfrm>
          <a:prstGeom prst="rect">
            <a:avLst/>
          </a:prstGeom>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3716142356"/>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6"/>
            <a:ext cx="2743200" cy="365125"/>
          </a:xfrm>
          <a:prstGeom prst="rect">
            <a:avLst/>
          </a:prstGeom>
        </p:spPr>
        <p:txBody>
          <a:bodyPr/>
          <a:lstStyle/>
          <a:p>
            <a:fld id="{559A4995-99F3-6C48-8980-DDECA35E6552}" type="datetimeFigureOut">
              <a:rPr lang="en-US" smtClean="0"/>
              <a:t>4/24/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a:xfrm>
            <a:off x="8610600" y="6356356"/>
            <a:ext cx="2743200" cy="365125"/>
          </a:xfrm>
          <a:prstGeom prst="rect">
            <a:avLst/>
          </a:prstGeom>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2085772130"/>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1800"/>
            </a:lvl1pPr>
          </a:lstStyle>
          <a:p>
            <a:r>
              <a:rPr lang="en-US"/>
              <a:t>Click to edit Master title style</a:t>
            </a:r>
          </a:p>
        </p:txBody>
      </p:sp>
      <p:sp>
        <p:nvSpPr>
          <p:cNvPr id="3" name="Content Placeholder 2"/>
          <p:cNvSpPr>
            <a:spLocks noGrp="1"/>
          </p:cNvSpPr>
          <p:nvPr>
            <p:ph idx="1"/>
          </p:nvPr>
        </p:nvSpPr>
        <p:spPr>
          <a:xfrm>
            <a:off x="5183188" y="987428"/>
            <a:ext cx="6172200" cy="4873625"/>
          </a:xfrm>
        </p:spPr>
        <p:txBody>
          <a:bodyPr/>
          <a:lstStyle>
            <a:lvl1pPr>
              <a:defRPr sz="1800"/>
            </a:lvl1pPr>
            <a:lvl2pPr>
              <a:defRPr sz="1575"/>
            </a:lvl2pPr>
            <a:lvl3pPr>
              <a:defRPr sz="1350"/>
            </a:lvl3pPr>
            <a:lvl4pPr>
              <a:defRPr sz="1125"/>
            </a:lvl4pPr>
            <a:lvl5pPr>
              <a:defRPr sz="1125"/>
            </a:lvl5pPr>
            <a:lvl6pPr>
              <a:defRPr sz="1125"/>
            </a:lvl6pPr>
            <a:lvl7pPr>
              <a:defRPr sz="1125"/>
            </a:lvl7pPr>
            <a:lvl8pPr>
              <a:defRPr sz="1125"/>
            </a:lvl8pPr>
            <a:lvl9pPr>
              <a:defRPr sz="112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900"/>
            </a:lvl1pPr>
            <a:lvl2pPr marL="257169" indent="0">
              <a:buNone/>
              <a:defRPr sz="788"/>
            </a:lvl2pPr>
            <a:lvl3pPr marL="514337" indent="0">
              <a:buNone/>
              <a:defRPr sz="675"/>
            </a:lvl3pPr>
            <a:lvl4pPr marL="771506" indent="0">
              <a:buNone/>
              <a:defRPr sz="563"/>
            </a:lvl4pPr>
            <a:lvl5pPr marL="1028675" indent="0">
              <a:buNone/>
              <a:defRPr sz="563"/>
            </a:lvl5pPr>
            <a:lvl6pPr marL="1285843" indent="0">
              <a:buNone/>
              <a:defRPr sz="563"/>
            </a:lvl6pPr>
            <a:lvl7pPr marL="1543011" indent="0">
              <a:buNone/>
              <a:defRPr sz="563"/>
            </a:lvl7pPr>
            <a:lvl8pPr marL="1800180" indent="0">
              <a:buNone/>
              <a:defRPr sz="563"/>
            </a:lvl8pPr>
            <a:lvl9pPr marL="2057349" indent="0">
              <a:buNone/>
              <a:defRPr sz="563"/>
            </a:lvl9pPr>
          </a:lstStyle>
          <a:p>
            <a:pPr lvl="0"/>
            <a:r>
              <a:rPr lang="en-US"/>
              <a:t>Click to edit Master text styles</a:t>
            </a:r>
          </a:p>
        </p:txBody>
      </p:sp>
      <p:sp>
        <p:nvSpPr>
          <p:cNvPr id="5" name="Date Placeholder 4"/>
          <p:cNvSpPr>
            <a:spLocks noGrp="1"/>
          </p:cNvSpPr>
          <p:nvPr>
            <p:ph type="dt" sz="half" idx="10"/>
          </p:nvPr>
        </p:nvSpPr>
        <p:spPr>
          <a:xfrm>
            <a:off x="838200" y="6356356"/>
            <a:ext cx="2743200" cy="365125"/>
          </a:xfrm>
          <a:prstGeom prst="rect">
            <a:avLst/>
          </a:prstGeom>
        </p:spPr>
        <p:txBody>
          <a:bodyPr/>
          <a:lstStyle/>
          <a:p>
            <a:fld id="{559A4995-99F3-6C48-8980-DDECA35E6552}" type="datetimeFigureOut">
              <a:rPr lang="en-US" smtClean="0"/>
              <a:t>4/24/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610600" y="6356356"/>
            <a:ext cx="2743200" cy="365125"/>
          </a:xfrm>
          <a:prstGeom prst="rect">
            <a:avLst/>
          </a:prstGeom>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3148653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5419041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1800"/>
            </a:lvl1pPr>
          </a:lstStyle>
          <a:p>
            <a:r>
              <a:rPr lang="en-US"/>
              <a:t>Click to edit Master title style</a:t>
            </a:r>
          </a:p>
        </p:txBody>
      </p:sp>
      <p:sp>
        <p:nvSpPr>
          <p:cNvPr id="3" name="Picture Placeholder 2"/>
          <p:cNvSpPr>
            <a:spLocks noGrp="1" noChangeAspect="1"/>
          </p:cNvSpPr>
          <p:nvPr>
            <p:ph type="pic" idx="1"/>
          </p:nvPr>
        </p:nvSpPr>
        <p:spPr>
          <a:xfrm>
            <a:off x="5183188" y="987428"/>
            <a:ext cx="6172200" cy="4873625"/>
          </a:xfrm>
        </p:spPr>
        <p:txBody>
          <a:bodyPr anchor="t"/>
          <a:lstStyle>
            <a:lvl1pPr marL="0" indent="0">
              <a:buNone/>
              <a:defRPr sz="1800"/>
            </a:lvl1pPr>
            <a:lvl2pPr marL="257169" indent="0">
              <a:buNone/>
              <a:defRPr sz="1575"/>
            </a:lvl2pPr>
            <a:lvl3pPr marL="514337" indent="0">
              <a:buNone/>
              <a:defRPr sz="1350"/>
            </a:lvl3pPr>
            <a:lvl4pPr marL="771506" indent="0">
              <a:buNone/>
              <a:defRPr sz="1125"/>
            </a:lvl4pPr>
            <a:lvl5pPr marL="1028675" indent="0">
              <a:buNone/>
              <a:defRPr sz="1125"/>
            </a:lvl5pPr>
            <a:lvl6pPr marL="1285843" indent="0">
              <a:buNone/>
              <a:defRPr sz="1125"/>
            </a:lvl6pPr>
            <a:lvl7pPr marL="1543011" indent="0">
              <a:buNone/>
              <a:defRPr sz="1125"/>
            </a:lvl7pPr>
            <a:lvl8pPr marL="1800180" indent="0">
              <a:buNone/>
              <a:defRPr sz="1125"/>
            </a:lvl8pPr>
            <a:lvl9pPr marL="2057349" indent="0">
              <a:buNone/>
              <a:defRPr sz="1125"/>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900"/>
            </a:lvl1pPr>
            <a:lvl2pPr marL="257169" indent="0">
              <a:buNone/>
              <a:defRPr sz="788"/>
            </a:lvl2pPr>
            <a:lvl3pPr marL="514337" indent="0">
              <a:buNone/>
              <a:defRPr sz="675"/>
            </a:lvl3pPr>
            <a:lvl4pPr marL="771506" indent="0">
              <a:buNone/>
              <a:defRPr sz="563"/>
            </a:lvl4pPr>
            <a:lvl5pPr marL="1028675" indent="0">
              <a:buNone/>
              <a:defRPr sz="563"/>
            </a:lvl5pPr>
            <a:lvl6pPr marL="1285843" indent="0">
              <a:buNone/>
              <a:defRPr sz="563"/>
            </a:lvl6pPr>
            <a:lvl7pPr marL="1543011" indent="0">
              <a:buNone/>
              <a:defRPr sz="563"/>
            </a:lvl7pPr>
            <a:lvl8pPr marL="1800180" indent="0">
              <a:buNone/>
              <a:defRPr sz="563"/>
            </a:lvl8pPr>
            <a:lvl9pPr marL="2057349" indent="0">
              <a:buNone/>
              <a:defRPr sz="563"/>
            </a:lvl9pPr>
          </a:lstStyle>
          <a:p>
            <a:pPr lvl="0"/>
            <a:r>
              <a:rPr lang="en-US"/>
              <a:t>Click to edit Master text styles</a:t>
            </a:r>
          </a:p>
        </p:txBody>
      </p:sp>
      <p:sp>
        <p:nvSpPr>
          <p:cNvPr id="5" name="Date Placeholder 4"/>
          <p:cNvSpPr>
            <a:spLocks noGrp="1"/>
          </p:cNvSpPr>
          <p:nvPr>
            <p:ph type="dt" sz="half" idx="10"/>
          </p:nvPr>
        </p:nvSpPr>
        <p:spPr>
          <a:xfrm>
            <a:off x="838200" y="6356356"/>
            <a:ext cx="2743200" cy="365125"/>
          </a:xfrm>
          <a:prstGeom prst="rect">
            <a:avLst/>
          </a:prstGeom>
        </p:spPr>
        <p:txBody>
          <a:bodyPr/>
          <a:lstStyle/>
          <a:p>
            <a:fld id="{559A4995-99F3-6C48-8980-DDECA35E6552}" type="datetimeFigureOut">
              <a:rPr lang="en-US" smtClean="0"/>
              <a:t>4/24/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610600" y="6356356"/>
            <a:ext cx="2743200" cy="365125"/>
          </a:xfrm>
          <a:prstGeom prst="rect">
            <a:avLst/>
          </a:prstGeom>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3914224488"/>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6"/>
            <a:ext cx="2743200" cy="365125"/>
          </a:xfrm>
          <a:prstGeom prst="rect">
            <a:avLst/>
          </a:prstGeom>
        </p:spPr>
        <p:txBody>
          <a:bodyPr/>
          <a:lstStyle/>
          <a:p>
            <a:fld id="{559A4995-99F3-6C48-8980-DDECA35E6552}"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610600" y="6356356"/>
            <a:ext cx="2743200" cy="365125"/>
          </a:xfrm>
          <a:prstGeom prst="rect">
            <a:avLst/>
          </a:prstGeom>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2328772217"/>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2"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3"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6"/>
            <a:ext cx="2743200" cy="365125"/>
          </a:xfrm>
          <a:prstGeom prst="rect">
            <a:avLst/>
          </a:prstGeom>
        </p:spPr>
        <p:txBody>
          <a:bodyPr/>
          <a:lstStyle/>
          <a:p>
            <a:fld id="{559A4995-99F3-6C48-8980-DDECA35E6552}"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610600" y="6356356"/>
            <a:ext cx="2743200" cy="365125"/>
          </a:xfrm>
          <a:prstGeom prst="rect">
            <a:avLst/>
          </a:prstGeom>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3639810046"/>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a:xfrm>
            <a:off x="8610600" y="6356356"/>
            <a:ext cx="2743200" cy="365125"/>
          </a:xfrm>
          <a:prstGeom prst="rect">
            <a:avLst/>
          </a:prstGeom>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54"/>
            <a:ext cx="5852160" cy="281355"/>
          </a:xfrm>
        </p:spPr>
        <p:txBody>
          <a:bodyPr lIns="0" tIns="0" rIns="0" bIns="0" anchor="b" anchorCtr="0">
            <a:noAutofit/>
          </a:bodyPr>
          <a:lstStyle>
            <a:lvl1pPr marL="0" indent="0">
              <a:spcBef>
                <a:spcPts val="0"/>
              </a:spcBef>
              <a:buFontTx/>
              <a:buNone/>
              <a:defRPr sz="422">
                <a:solidFill>
                  <a:srgbClr val="002557"/>
                </a:solidFill>
              </a:defRPr>
            </a:lvl1pPr>
            <a:lvl2pPr>
              <a:defRPr sz="380">
                <a:solidFill>
                  <a:srgbClr val="002557"/>
                </a:solidFill>
              </a:defRPr>
            </a:lvl2pPr>
            <a:lvl3pPr>
              <a:defRPr sz="380">
                <a:solidFill>
                  <a:srgbClr val="002557"/>
                </a:solidFill>
              </a:defRPr>
            </a:lvl3pPr>
            <a:lvl4pPr>
              <a:defRPr sz="380">
                <a:solidFill>
                  <a:srgbClr val="002557"/>
                </a:solidFill>
              </a:defRPr>
            </a:lvl4pPr>
            <a:lvl5pPr>
              <a:defRPr sz="38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3008344958"/>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5A6F13-24F7-8A5C-AC73-8B91791DE8F0}"/>
              </a:ext>
            </a:extLst>
          </p:cNvPr>
          <p:cNvSpPr>
            <a:spLocks noGrp="1"/>
          </p:cNvSpPr>
          <p:nvPr>
            <p:ph type="title"/>
          </p:nvPr>
        </p:nvSpPr>
        <p:spPr>
          <a:xfrm>
            <a:off x="743709" y="153527"/>
            <a:ext cx="10515600" cy="891107"/>
          </a:xfrm>
        </p:spPr>
        <p:txBody>
          <a:bodyPr>
            <a:normAutofit/>
          </a:bodyPr>
          <a:lstStyle>
            <a:lvl1pPr>
              <a:defRPr sz="1800"/>
            </a:lvl1pPr>
          </a:lstStyle>
          <a:p>
            <a:r>
              <a:rPr lang="en-US"/>
              <a:t>Click to edit Master title style</a:t>
            </a:r>
          </a:p>
        </p:txBody>
      </p:sp>
      <p:sp>
        <p:nvSpPr>
          <p:cNvPr id="4" name="Content Placeholder 23">
            <a:extLst>
              <a:ext uri="{FF2B5EF4-FFF2-40B4-BE49-F238E27FC236}">
                <a16:creationId xmlns:a16="http://schemas.microsoft.com/office/drawing/2014/main" id="{1788884B-E278-F67B-7F7C-8AEAC394B3A7}"/>
              </a:ext>
            </a:extLst>
          </p:cNvPr>
          <p:cNvSpPr>
            <a:spLocks noGrp="1"/>
          </p:cNvSpPr>
          <p:nvPr>
            <p:ph sz="quarter" idx="14" hasCustomPrompt="1"/>
          </p:nvPr>
        </p:nvSpPr>
        <p:spPr>
          <a:xfrm>
            <a:off x="743709" y="6325122"/>
            <a:ext cx="10872787" cy="61363"/>
          </a:xfrm>
          <a:prstGeom prst="rect">
            <a:avLst/>
          </a:prstGeom>
        </p:spPr>
        <p:txBody>
          <a:bodyPr wrap="square" lIns="0" tIns="0" rIns="0" bIns="0" anchor="b" anchorCtr="0">
            <a:spAutoFit/>
          </a:bodyPr>
          <a:lstStyle>
            <a:lvl1pPr marL="0" indent="0">
              <a:lnSpc>
                <a:spcPct val="90000"/>
              </a:lnSpc>
              <a:spcBef>
                <a:spcPts val="0"/>
              </a:spcBef>
              <a:spcAft>
                <a:spcPts val="0"/>
              </a:spcAft>
              <a:buFontTx/>
              <a:buNone/>
              <a:defRPr sz="443"/>
            </a:lvl1pPr>
            <a:lvl2pPr marL="192876" indent="0">
              <a:buFontTx/>
              <a:buNone/>
              <a:defRPr sz="338"/>
            </a:lvl2pPr>
            <a:lvl3pPr marL="385753" indent="0">
              <a:buFontTx/>
              <a:buNone/>
              <a:defRPr sz="338"/>
            </a:lvl3pPr>
            <a:lvl4pPr marL="578630" indent="0">
              <a:buFontTx/>
              <a:buNone/>
              <a:defRPr sz="338"/>
            </a:lvl4pPr>
            <a:lvl5pPr marL="771506" indent="0">
              <a:buFontTx/>
              <a:buNone/>
              <a:defRPr sz="338"/>
            </a:lvl5pPr>
          </a:lstStyle>
          <a:p>
            <a:pPr lvl="0"/>
            <a:r>
              <a:rPr lang="en-US"/>
              <a:t>Footer</a:t>
            </a:r>
          </a:p>
        </p:txBody>
      </p:sp>
      <p:sp>
        <p:nvSpPr>
          <p:cNvPr id="3" name="bk object 18">
            <a:extLst>
              <a:ext uri="{FF2B5EF4-FFF2-40B4-BE49-F238E27FC236}">
                <a16:creationId xmlns:a16="http://schemas.microsoft.com/office/drawing/2014/main" id="{A21F3C06-E803-42C9-5EEA-FF2F6F748052}"/>
              </a:ext>
            </a:extLst>
          </p:cNvPr>
          <p:cNvSpPr/>
          <p:nvPr userDrawn="1"/>
        </p:nvSpPr>
        <p:spPr>
          <a:xfrm>
            <a:off x="3" y="0"/>
            <a:ext cx="107156" cy="6858000"/>
          </a:xfrm>
          <a:custGeom>
            <a:avLst/>
            <a:gdLst/>
            <a:ahLst/>
            <a:cxnLst/>
            <a:rect l="l" t="t" r="r" b="b"/>
            <a:pathLst>
              <a:path w="142875" h="6858000">
                <a:moveTo>
                  <a:pt x="0" y="6858000"/>
                </a:moveTo>
                <a:lnTo>
                  <a:pt x="142494" y="6858000"/>
                </a:lnTo>
                <a:lnTo>
                  <a:pt x="142494" y="0"/>
                </a:lnTo>
                <a:lnTo>
                  <a:pt x="0" y="0"/>
                </a:lnTo>
                <a:lnTo>
                  <a:pt x="0" y="6858000"/>
                </a:lnTo>
                <a:close/>
              </a:path>
            </a:pathLst>
          </a:custGeom>
          <a:solidFill>
            <a:srgbClr val="CBB379"/>
          </a:solidFill>
        </p:spPr>
        <p:txBody>
          <a:bodyPr wrap="square" lIns="0" tIns="0" rIns="0" bIns="0" rtlCol="0"/>
          <a:lstStyle/>
          <a:p>
            <a:endParaRPr sz="1350"/>
          </a:p>
        </p:txBody>
      </p:sp>
    </p:spTree>
    <p:extLst>
      <p:ext uri="{BB962C8B-B14F-4D97-AF65-F5344CB8AC3E}">
        <p14:creationId xmlns:p14="http://schemas.microsoft.com/office/powerpoint/2010/main" val="1143080115"/>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605A4A-6623-1F90-F653-2974337CA761}"/>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E2F280F1-A8A3-F899-BD63-4B29DDBFA3BC}"/>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2815139529"/>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00D8B1-1581-4488-A1A4-886D01EEFD4F}"/>
              </a:ext>
            </a:extLst>
          </p:cNvPr>
          <p:cNvSpPr>
            <a:spLocks noGrp="1"/>
          </p:cNvSpPr>
          <p:nvPr>
            <p:ph type="title" hasCustomPrompt="1"/>
          </p:nvPr>
        </p:nvSpPr>
        <p:spPr/>
        <p:txBody>
          <a:bodyPr/>
          <a:lstStyle>
            <a:lvl1pPr>
              <a:defRPr/>
            </a:lvl1pPr>
          </a:lstStyle>
          <a:p>
            <a:r>
              <a:rPr lang="en-US"/>
              <a:t>[Slide title]</a:t>
            </a:r>
          </a:p>
        </p:txBody>
      </p:sp>
      <p:sp>
        <p:nvSpPr>
          <p:cNvPr id="5" name="Slide Number Placeholder 2">
            <a:extLst>
              <a:ext uri="{FF2B5EF4-FFF2-40B4-BE49-F238E27FC236}">
                <a16:creationId xmlns:a16="http://schemas.microsoft.com/office/drawing/2014/main" id="{6CF9CDAC-EC28-4BA6-9827-D58133E18874}"/>
              </a:ext>
            </a:extLst>
          </p:cNvPr>
          <p:cNvSpPr>
            <a:spLocks noGrp="1"/>
          </p:cNvSpPr>
          <p:nvPr>
            <p:ph type="sldNum" sz="quarter" idx="12"/>
          </p:nvPr>
        </p:nvSpPr>
        <p:spPr/>
        <p:txBody>
          <a:bodyPr/>
          <a:lstStyle/>
          <a:p>
            <a:fld id="{B58DE5F1-E0F9-4CCA-92B7-7A6FC4DFEE14}" type="slidenum">
              <a:rPr lang="en-US" smtClean="0"/>
              <a:t>‹#›</a:t>
            </a:fld>
            <a:endParaRPr lang="en-US"/>
          </a:p>
        </p:txBody>
      </p:sp>
      <p:sp>
        <p:nvSpPr>
          <p:cNvPr id="7" name="Content Placeholder 23">
            <a:extLst>
              <a:ext uri="{FF2B5EF4-FFF2-40B4-BE49-F238E27FC236}">
                <a16:creationId xmlns:a16="http://schemas.microsoft.com/office/drawing/2014/main" id="{B3ABCDB3-CD54-7DD1-5C78-E03262F50C48}"/>
              </a:ext>
            </a:extLst>
          </p:cNvPr>
          <p:cNvSpPr>
            <a:spLocks noGrp="1"/>
          </p:cNvSpPr>
          <p:nvPr>
            <p:ph sz="quarter" idx="15"/>
          </p:nvPr>
        </p:nvSpPr>
        <p:spPr>
          <a:xfrm>
            <a:off x="376241" y="6267185"/>
            <a:ext cx="10872787" cy="62325"/>
          </a:xfrm>
          <a:prstGeom prst="rect">
            <a:avLst/>
          </a:prstGeom>
        </p:spPr>
        <p:txBody>
          <a:bodyPr wrap="square" lIns="0" tIns="0" rIns="0" bIns="0" anchor="b" anchorCtr="0">
            <a:spAutoFit/>
          </a:bodyPr>
          <a:lstStyle>
            <a:lvl1pPr marL="0" indent="0">
              <a:lnSpc>
                <a:spcPct val="90000"/>
              </a:lnSpc>
              <a:spcBef>
                <a:spcPts val="0"/>
              </a:spcBef>
              <a:spcAft>
                <a:spcPts val="0"/>
              </a:spcAft>
              <a:buFontTx/>
              <a:buNone/>
              <a:defRPr sz="450"/>
            </a:lvl1pPr>
            <a:lvl2pPr marL="257169" indent="0">
              <a:buFontTx/>
              <a:buNone/>
              <a:defRPr sz="450"/>
            </a:lvl2pPr>
            <a:lvl3pPr marL="514337" indent="0">
              <a:buFontTx/>
              <a:buNone/>
              <a:defRPr sz="450"/>
            </a:lvl3pPr>
            <a:lvl4pPr marL="771506" indent="0">
              <a:buFontTx/>
              <a:buNone/>
              <a:defRPr sz="450"/>
            </a:lvl4pPr>
            <a:lvl5pPr marL="1028675" indent="0">
              <a:buFontTx/>
              <a:buNone/>
              <a:defRPr sz="450"/>
            </a:lvl5pPr>
          </a:lstStyle>
          <a:p>
            <a:pPr lvl="0"/>
            <a:r>
              <a:rPr lang="en-US"/>
              <a:t>Click to edit Master text styles</a:t>
            </a:r>
          </a:p>
        </p:txBody>
      </p:sp>
    </p:spTree>
    <p:extLst>
      <p:ext uri="{BB962C8B-B14F-4D97-AF65-F5344CB8AC3E}">
        <p14:creationId xmlns:p14="http://schemas.microsoft.com/office/powerpoint/2010/main" val="2231566770"/>
      </p:ext>
    </p:extLst>
  </p:cSld>
  <p:clrMapOvr>
    <a:masterClrMapping/>
  </p:clrMapOvr>
  <p:extLst>
    <p:ext uri="{DCECCB84-F9BA-43D5-87BE-67443E8EF086}">
      <p15:sldGuideLst xmlns:p15="http://schemas.microsoft.com/office/powerpoint/2012/main"/>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5BE734-87B0-9FF2-5E01-25E18F10C679}"/>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46CBF08F-D34D-4142-2901-5911800B0D01}"/>
              </a:ext>
            </a:extLst>
          </p:cNvPr>
          <p:cNvSpPr>
            <a:spLocks noGrp="1"/>
          </p:cNvSpPr>
          <p:nvPr>
            <p:ph type="ftr" sz="quarter" idx="10"/>
          </p:nvPr>
        </p:nvSpPr>
        <p:spPr/>
        <p:txBody>
          <a:bodyPr/>
          <a:lstStyle/>
          <a:p>
            <a:r>
              <a:rPr lang="de-DE"/>
              <a:t>Titel | Abteilung/Institut | Datum</a:t>
            </a:r>
          </a:p>
        </p:txBody>
      </p:sp>
      <p:sp>
        <p:nvSpPr>
          <p:cNvPr id="4" name="Slide Number Placeholder 3">
            <a:extLst>
              <a:ext uri="{FF2B5EF4-FFF2-40B4-BE49-F238E27FC236}">
                <a16:creationId xmlns:a16="http://schemas.microsoft.com/office/drawing/2014/main" id="{285EF948-C8DB-BAA5-FEE8-2202E80ABE42}"/>
              </a:ext>
            </a:extLst>
          </p:cNvPr>
          <p:cNvSpPr>
            <a:spLocks noGrp="1"/>
          </p:cNvSpPr>
          <p:nvPr>
            <p:ph type="sldNum" sz="quarter" idx="11"/>
          </p:nvPr>
        </p:nvSpPr>
        <p:spPr/>
        <p:txBody>
          <a:bodyPr/>
          <a:lstStyle/>
          <a:p>
            <a:fld id="{C457A7E8-3F45-46AC-80A6-5B03F18BB502}" type="slidenum">
              <a:rPr lang="de-DE" smtClean="0"/>
              <a:pPr/>
              <a:t>‹#›</a:t>
            </a:fld>
            <a:endParaRPr lang="de-DE"/>
          </a:p>
        </p:txBody>
      </p:sp>
    </p:spTree>
    <p:extLst>
      <p:ext uri="{BB962C8B-B14F-4D97-AF65-F5344CB8AC3E}">
        <p14:creationId xmlns:p14="http://schemas.microsoft.com/office/powerpoint/2010/main" val="66688184"/>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text pag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vl1pPr>
          </a:lstStyle>
          <a:p>
            <a:fld id="{87DE6A48-BD34-9247-8CD2-A207D07E22B4}" type="datetime1">
              <a:rPr lang="en-US"/>
              <a:pPr/>
              <a:t>4/24/26</a:t>
            </a:fld>
            <a:endParaRPr lang="en-US"/>
          </a:p>
        </p:txBody>
      </p:sp>
      <p:sp>
        <p:nvSpPr>
          <p:cNvPr id="6" name="Slide Number Placeholder 5"/>
          <p:cNvSpPr>
            <a:spLocks noGrp="1"/>
          </p:cNvSpPr>
          <p:nvPr>
            <p:ph type="sldNum" sz="quarter" idx="12"/>
          </p:nvPr>
        </p:nvSpPr>
        <p:spPr/>
        <p:txBody>
          <a:bodyPr/>
          <a:lstStyle>
            <a:lvl1pPr>
              <a:defRPr/>
            </a:lvl1pPr>
          </a:lstStyle>
          <a:p>
            <a:fld id="{02941447-81A8-E34A-8E29-11F044513D7E}" type="slidenum">
              <a:rPr lang="en-US"/>
              <a:pPr/>
              <a:t>‹#›</a:t>
            </a:fld>
            <a:endParaRPr lang="en-US"/>
          </a:p>
        </p:txBody>
      </p:sp>
      <p:sp>
        <p:nvSpPr>
          <p:cNvPr id="7" name="Title 1"/>
          <p:cNvSpPr>
            <a:spLocks noGrp="1"/>
          </p:cNvSpPr>
          <p:nvPr>
            <p:ph type="title"/>
          </p:nvPr>
        </p:nvSpPr>
        <p:spPr>
          <a:xfrm>
            <a:off x="609600" y="490460"/>
            <a:ext cx="10972800" cy="713539"/>
          </a:xfrm>
          <a:prstGeom prst="rect">
            <a:avLst/>
          </a:prstGeom>
        </p:spPr>
        <p:txBody>
          <a:bodyPr/>
          <a:lstStyle>
            <a:lvl1pPr>
              <a:defRPr>
                <a:solidFill>
                  <a:srgbClr val="CD113B"/>
                </a:solidFill>
              </a:defRPr>
            </a:lvl1pPr>
          </a:lstStyle>
          <a:p>
            <a:r>
              <a:rPr lang="en-US"/>
              <a:t>Click to edit Master title style</a:t>
            </a:r>
          </a:p>
        </p:txBody>
      </p:sp>
      <p:sp>
        <p:nvSpPr>
          <p:cNvPr id="8" name="Content Placeholder 2"/>
          <p:cNvSpPr>
            <a:spLocks noGrp="1"/>
          </p:cNvSpPr>
          <p:nvPr>
            <p:ph idx="1"/>
          </p:nvPr>
        </p:nvSpPr>
        <p:spPr>
          <a:xfrm>
            <a:off x="609600" y="1368927"/>
            <a:ext cx="10972800" cy="4947903"/>
          </a:xfrm>
          <a:prstGeom prst="rect">
            <a:avLst/>
          </a:prstGeom>
        </p:spPr>
        <p:txBody>
          <a:bodyPr/>
          <a:lstStyle>
            <a:lvl1pPr>
              <a:defRPr sz="1125">
                <a:solidFill>
                  <a:schemeClr val="tx1"/>
                </a:solidFill>
              </a:defRPr>
            </a:lvl1pPr>
            <a:lvl2pPr>
              <a:defRPr sz="1013">
                <a:solidFill>
                  <a:schemeClr val="tx1"/>
                </a:solidFill>
              </a:defRPr>
            </a:lvl2pPr>
            <a:lvl3pPr>
              <a:defRPr sz="900">
                <a:solidFill>
                  <a:schemeClr val="tx1"/>
                </a:solidFill>
              </a:defRPr>
            </a:lvl3pPr>
            <a:lvl4pPr>
              <a:defRPr sz="788">
                <a:solidFill>
                  <a:schemeClr val="tx1"/>
                </a:solidFill>
              </a:defRPr>
            </a:lvl4pPr>
            <a:lvl5pPr>
              <a:defRPr sz="78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bk object 18">
            <a:extLst>
              <a:ext uri="{FF2B5EF4-FFF2-40B4-BE49-F238E27FC236}">
                <a16:creationId xmlns:a16="http://schemas.microsoft.com/office/drawing/2014/main" id="{25EAD37F-746E-8DE9-7184-64F3FB19EA7C}"/>
              </a:ext>
            </a:extLst>
          </p:cNvPr>
          <p:cNvSpPr/>
          <p:nvPr userDrawn="1"/>
        </p:nvSpPr>
        <p:spPr>
          <a:xfrm>
            <a:off x="3" y="0"/>
            <a:ext cx="107156" cy="6858000"/>
          </a:xfrm>
          <a:custGeom>
            <a:avLst/>
            <a:gdLst/>
            <a:ahLst/>
            <a:cxnLst/>
            <a:rect l="l" t="t" r="r" b="b"/>
            <a:pathLst>
              <a:path w="142875" h="6858000">
                <a:moveTo>
                  <a:pt x="0" y="6858000"/>
                </a:moveTo>
                <a:lnTo>
                  <a:pt x="142494" y="6858000"/>
                </a:lnTo>
                <a:lnTo>
                  <a:pt x="142494" y="0"/>
                </a:lnTo>
                <a:lnTo>
                  <a:pt x="0" y="0"/>
                </a:lnTo>
                <a:lnTo>
                  <a:pt x="0" y="6858000"/>
                </a:lnTo>
                <a:close/>
              </a:path>
            </a:pathLst>
          </a:custGeom>
          <a:solidFill>
            <a:srgbClr val="CBB379"/>
          </a:solidFill>
        </p:spPr>
        <p:txBody>
          <a:bodyPr wrap="square" lIns="0" tIns="0" rIns="0" bIns="0" rtlCol="0"/>
          <a:lstStyle/>
          <a:p>
            <a:endParaRPr sz="1350"/>
          </a:p>
        </p:txBody>
      </p:sp>
    </p:spTree>
    <p:extLst>
      <p:ext uri="{BB962C8B-B14F-4D97-AF65-F5344CB8AC3E}">
        <p14:creationId xmlns:p14="http://schemas.microsoft.com/office/powerpoint/2010/main" val="2500800871"/>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51EF199A-A142-4C3B-87E4-16D4041B3E0B}" type="datetime1">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1FFE3454-E3CA-2442-AE8B-56036A740230}" type="slidenum">
              <a:rPr lang="en-US" smtClean="0"/>
              <a:t>‹#›</a:t>
            </a:fld>
            <a:endParaRPr lang="en-US"/>
          </a:p>
        </p:txBody>
      </p:sp>
      <p:sp>
        <p:nvSpPr>
          <p:cNvPr id="7" name="bk object 16">
            <a:extLst>
              <a:ext uri="{FF2B5EF4-FFF2-40B4-BE49-F238E27FC236}">
                <a16:creationId xmlns:a16="http://schemas.microsoft.com/office/drawing/2014/main" id="{1F304965-4904-5772-3567-41FCF21E7EA6}"/>
              </a:ext>
            </a:extLst>
          </p:cNvPr>
          <p:cNvSpPr/>
          <p:nvPr userDrawn="1"/>
        </p:nvSpPr>
        <p:spPr>
          <a:xfrm>
            <a:off x="334327" y="6516692"/>
            <a:ext cx="1404826" cy="341308"/>
          </a:xfrm>
          <a:prstGeom prst="rect">
            <a:avLst/>
          </a:prstGeom>
          <a:blipFill>
            <a:blip r:embed="rId2"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288787758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399070"/>
            <a:ext cx="9144000" cy="2123615"/>
          </a:xfrm>
        </p:spPr>
        <p:txBody>
          <a:bodyPr anchor="ctr">
            <a:normAutofit/>
          </a:bodyPr>
          <a:lstStyle>
            <a:lvl1pPr algn="ctr">
              <a:defRPr sz="3600"/>
            </a:lvl1pPr>
          </a:lstStyle>
          <a:p>
            <a:r>
              <a:rPr lang="en-US" dirty="0"/>
              <a:t>Click to edit Master title style</a:t>
            </a:r>
          </a:p>
        </p:txBody>
      </p:sp>
      <p:sp>
        <p:nvSpPr>
          <p:cNvPr id="3" name="Subtitle 2"/>
          <p:cNvSpPr>
            <a:spLocks noGrp="1"/>
          </p:cNvSpPr>
          <p:nvPr>
            <p:ph type="subTitle" idx="1"/>
          </p:nvPr>
        </p:nvSpPr>
        <p:spPr>
          <a:xfrm>
            <a:off x="1524000" y="4614761"/>
            <a:ext cx="9144000" cy="1655762"/>
          </a:xfrm>
        </p:spPr>
        <p:txBody>
          <a:bodyPr anchor="t">
            <a:normAutofit/>
          </a:bodyPr>
          <a:lstStyle>
            <a:lvl1pPr marL="0" indent="0" algn="ctr">
              <a:buNone/>
              <a:defRPr sz="3200">
                <a:solidFill>
                  <a:srgbClr val="50515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p:txBody>
          <a:bodyPr/>
          <a:lstStyle/>
          <a:p>
            <a:fld id="{5916FF65-E16B-BA4F-9591-6B4416106527}" type="datetimeFigureOut">
              <a:rPr lang="en-US" smtClean="0"/>
              <a:t>4/24/26</a:t>
            </a:fld>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4455824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5759" y="365125"/>
            <a:ext cx="11460479" cy="915035"/>
          </a:xfr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Date Placeholder 15">
            <a:extLst>
              <a:ext uri="{FF2B5EF4-FFF2-40B4-BE49-F238E27FC236}">
                <a16:creationId xmlns:a16="http://schemas.microsoft.com/office/drawing/2014/main" id="{52A49D84-D272-4A87-5B10-89980EE8BADC}"/>
              </a:ext>
            </a:extLst>
          </p:cNvPr>
          <p:cNvSpPr>
            <a:spLocks noGrp="1"/>
          </p:cNvSpPr>
          <p:nvPr>
            <p:ph type="dt" sz="half" idx="10"/>
          </p:nvPr>
        </p:nvSpPr>
        <p:spPr>
          <a:xfrm>
            <a:off x="838200" y="6356350"/>
            <a:ext cx="2743200" cy="365125"/>
          </a:xfrm>
          <a:prstGeom prst="rect">
            <a:avLst/>
          </a:prstGeom>
        </p:spPr>
        <p:txBody>
          <a:bodyPr/>
          <a:lstStyle/>
          <a:p>
            <a:fld id="{EFB4A599-1A08-4CD1-92C4-065019336E39}" type="datetime1">
              <a:rPr lang="en-US" smtClean="0"/>
              <a:t>4/24/26</a:t>
            </a:fld>
            <a:endParaRPr lang="en-US"/>
          </a:p>
        </p:txBody>
      </p:sp>
      <p:sp>
        <p:nvSpPr>
          <p:cNvPr id="17" name="Footer Placeholder 16">
            <a:extLst>
              <a:ext uri="{FF2B5EF4-FFF2-40B4-BE49-F238E27FC236}">
                <a16:creationId xmlns:a16="http://schemas.microsoft.com/office/drawing/2014/main" id="{3303634E-5448-21D3-23CB-772481C50FEF}"/>
              </a:ext>
            </a:extLst>
          </p:cNvPr>
          <p:cNvSpPr>
            <a:spLocks noGrp="1"/>
          </p:cNvSpPr>
          <p:nvPr>
            <p:ph type="ftr" sz="quarter" idx="11"/>
          </p:nvPr>
        </p:nvSpPr>
        <p:spPr/>
        <p:txBody>
          <a:bodyPr/>
          <a:lstStyle/>
          <a:p>
            <a:endParaRPr lang="en-US"/>
          </a:p>
        </p:txBody>
      </p:sp>
      <p:sp>
        <p:nvSpPr>
          <p:cNvPr id="18" name="Slide Number Placeholder 17">
            <a:extLst>
              <a:ext uri="{FF2B5EF4-FFF2-40B4-BE49-F238E27FC236}">
                <a16:creationId xmlns:a16="http://schemas.microsoft.com/office/drawing/2014/main" id="{8F1D1CB7-B469-9CE9-257C-5BBC83CFC3C5}"/>
              </a:ext>
            </a:extLst>
          </p:cNvPr>
          <p:cNvSpPr>
            <a:spLocks noGrp="1"/>
          </p:cNvSpPr>
          <p:nvPr>
            <p:ph type="sldNum" sz="quarter" idx="12"/>
          </p:nvPr>
        </p:nvSpPr>
        <p:spPr>
          <a:xfrm>
            <a:off x="8610600" y="6356350"/>
            <a:ext cx="2743200" cy="365125"/>
          </a:xfrm>
          <a:prstGeom prst="rect">
            <a:avLst/>
          </a:prstGeom>
        </p:spPr>
        <p:txBody>
          <a:bodyPr/>
          <a:lstStyle/>
          <a:p>
            <a:fld id="{1FFE3454-E3CA-2442-AE8B-56036A740230}" type="slidenum">
              <a:rPr lang="en-US" smtClean="0"/>
              <a:t>‹#›</a:t>
            </a:fld>
            <a:endParaRPr lang="en-US"/>
          </a:p>
        </p:txBody>
      </p:sp>
      <p:sp>
        <p:nvSpPr>
          <p:cNvPr id="4" name="bk object 16">
            <a:extLst>
              <a:ext uri="{FF2B5EF4-FFF2-40B4-BE49-F238E27FC236}">
                <a16:creationId xmlns:a16="http://schemas.microsoft.com/office/drawing/2014/main" id="{A51E364F-01EA-26E9-8EA6-3180ADC08D08}"/>
              </a:ext>
            </a:extLst>
          </p:cNvPr>
          <p:cNvSpPr/>
          <p:nvPr userDrawn="1"/>
        </p:nvSpPr>
        <p:spPr>
          <a:xfrm>
            <a:off x="334327" y="6516692"/>
            <a:ext cx="1404826" cy="341308"/>
          </a:xfrm>
          <a:prstGeom prst="rect">
            <a:avLst/>
          </a:prstGeom>
          <a:blipFill>
            <a:blip r:embed="rId2" cstate="print"/>
            <a:stretch>
              <a:fillRect/>
            </a:stretch>
          </a:blipFill>
        </p:spPr>
        <p:txBody>
          <a:bodyPr wrap="square" lIns="0" tIns="0" rIns="0" bIns="0" rtlCol="0"/>
          <a:lstStyle/>
          <a:p>
            <a:endParaRPr/>
          </a:p>
        </p:txBody>
      </p:sp>
      <p:sp>
        <p:nvSpPr>
          <p:cNvPr id="5" name="bk object 18">
            <a:extLst>
              <a:ext uri="{FF2B5EF4-FFF2-40B4-BE49-F238E27FC236}">
                <a16:creationId xmlns:a16="http://schemas.microsoft.com/office/drawing/2014/main" id="{4D724F88-438A-9738-7D64-3C73C4CEA00F}"/>
              </a:ext>
            </a:extLst>
          </p:cNvPr>
          <p:cNvSpPr/>
          <p:nvPr userDrawn="1"/>
        </p:nvSpPr>
        <p:spPr>
          <a:xfrm>
            <a:off x="1" y="0"/>
            <a:ext cx="107156" cy="6858000"/>
          </a:xfrm>
          <a:custGeom>
            <a:avLst/>
            <a:gdLst/>
            <a:ahLst/>
            <a:cxnLst/>
            <a:rect l="l" t="t" r="r" b="b"/>
            <a:pathLst>
              <a:path w="142875" h="6858000">
                <a:moveTo>
                  <a:pt x="0" y="6858000"/>
                </a:moveTo>
                <a:lnTo>
                  <a:pt x="142494" y="6858000"/>
                </a:lnTo>
                <a:lnTo>
                  <a:pt x="142494" y="0"/>
                </a:lnTo>
                <a:lnTo>
                  <a:pt x="0" y="0"/>
                </a:lnTo>
                <a:lnTo>
                  <a:pt x="0" y="6858000"/>
                </a:lnTo>
                <a:close/>
              </a:path>
            </a:pathLst>
          </a:custGeom>
          <a:solidFill>
            <a:srgbClr val="CBB379"/>
          </a:solidFill>
        </p:spPr>
        <p:txBody>
          <a:bodyPr wrap="square" lIns="0" tIns="0" rIns="0" bIns="0" rtlCol="0"/>
          <a:lstStyle/>
          <a:p>
            <a:endParaRPr/>
          </a:p>
        </p:txBody>
      </p:sp>
    </p:spTree>
    <p:extLst>
      <p:ext uri="{BB962C8B-B14F-4D97-AF65-F5344CB8AC3E}">
        <p14:creationId xmlns:p14="http://schemas.microsoft.com/office/powerpoint/2010/main" val="2863652205"/>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91578DC6-2966-4842-B7CB-171F405432DB}" type="datetime1">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2372753884"/>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DC904DB2-D217-4859-AD96-675542A41556}" type="datetime1">
              <a:rPr lang="en-US" smtClean="0"/>
              <a:t>4/24/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250395981"/>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8200" y="6356350"/>
            <a:ext cx="2743200" cy="365125"/>
          </a:xfrm>
          <a:prstGeom prst="rect">
            <a:avLst/>
          </a:prstGeom>
        </p:spPr>
        <p:txBody>
          <a:bodyPr/>
          <a:lstStyle/>
          <a:p>
            <a:fld id="{AD0A118C-D344-40E5-B920-34B26B724B76}" type="datetime1">
              <a:rPr lang="en-US" smtClean="0"/>
              <a:t>4/24/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3451541497"/>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2D13D086-32FF-4843-8F98-502F004465D5}" type="datetime1">
              <a:rPr lang="en-US" smtClean="0"/>
              <a:t>4/24/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1565316648"/>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0AB54205-631E-46DC-8E32-106CE797C610}" type="datetime1">
              <a:rPr lang="en-US" smtClean="0"/>
              <a:t>4/24/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4263134958"/>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1708FAEF-422B-467B-9904-D16F44F515CC}" type="datetime1">
              <a:rPr lang="en-US" smtClean="0"/>
              <a:t>4/24/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120234198"/>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EC45E583-00D7-43F4-A5CB-8915349A7D87}" type="datetime1">
              <a:rPr lang="en-US" smtClean="0"/>
              <a:t>4/24/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228007082"/>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CE670BB4-05E8-408C-B761-99B54A9F8326}" type="datetime1">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2658098148"/>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BCD1E496-C690-4052-A8F9-B4306022A2B1}" type="datetime1">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205151569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000"/>
            </a:lvl1pPr>
          </a:lstStyle>
          <a:p>
            <a:r>
              <a:rPr lang="en-US" dirty="0"/>
              <a:t>Click to edit Master title style</a:t>
            </a:r>
          </a:p>
        </p:txBody>
      </p:sp>
      <p:sp>
        <p:nvSpPr>
          <p:cNvPr id="3" name="Content Placeholder 2"/>
          <p:cNvSpPr>
            <a:spLocks noGrp="1"/>
          </p:cNvSpPr>
          <p:nvPr>
            <p:ph idx="1"/>
          </p:nvPr>
        </p:nvSpPr>
        <p:spPr/>
        <p:txBody>
          <a:bodyPr/>
          <a:lstStyle>
            <a:lvl1pPr>
              <a:defRPr sz="3200"/>
            </a:lvl1pPr>
            <a:lvl2pPr>
              <a:defRPr sz="2800"/>
            </a:lvl2pPr>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2742749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77D43C-8061-4F4B-A58C-537B44EA7F0E}"/>
              </a:ext>
            </a:extLst>
          </p:cNvPr>
          <p:cNvSpPr>
            <a:spLocks noGrp="1"/>
          </p:cNvSpPr>
          <p:nvPr>
            <p:ph type="title" hasCustomPrompt="1"/>
          </p:nvPr>
        </p:nvSpPr>
        <p:spPr/>
        <p:txBody>
          <a:bodyPr/>
          <a:lstStyle>
            <a:lvl1pPr>
              <a:defRPr/>
            </a:lvl1pPr>
          </a:lstStyle>
          <a:p>
            <a:r>
              <a:rPr lang="en-US"/>
              <a:t>[Slide title]</a:t>
            </a:r>
          </a:p>
        </p:txBody>
      </p:sp>
      <p:sp>
        <p:nvSpPr>
          <p:cNvPr id="3" name="Content Placeholder 2">
            <a:extLst>
              <a:ext uri="{FF2B5EF4-FFF2-40B4-BE49-F238E27FC236}">
                <a16:creationId xmlns:a16="http://schemas.microsoft.com/office/drawing/2014/main" id="{58BCB52D-820B-4886-993D-F1BD3CE0A1BF}"/>
              </a:ext>
            </a:extLst>
          </p:cNvPr>
          <p:cNvSpPr>
            <a:spLocks noGrp="1"/>
          </p:cNvSpPr>
          <p:nvPr>
            <p:ph idx="1"/>
          </p:nvPr>
        </p:nvSpPr>
        <p:spPr>
          <a:xfrm>
            <a:off x="365760" y="1554480"/>
            <a:ext cx="8524240" cy="4572000"/>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3">
            <a:extLst>
              <a:ext uri="{FF2B5EF4-FFF2-40B4-BE49-F238E27FC236}">
                <a16:creationId xmlns:a16="http://schemas.microsoft.com/office/drawing/2014/main" id="{A7A49372-BC99-44B1-93F3-52B055BA1B4C}"/>
              </a:ext>
            </a:extLst>
          </p:cNvPr>
          <p:cNvSpPr>
            <a:spLocks noGrp="1"/>
          </p:cNvSpPr>
          <p:nvPr>
            <p:ph type="sldNum" sz="quarter" idx="12"/>
          </p:nvPr>
        </p:nvSpPr>
        <p:spPr>
          <a:xfrm>
            <a:off x="8610600" y="6356350"/>
            <a:ext cx="2743200" cy="365125"/>
          </a:xfrm>
          <a:prstGeom prst="rect">
            <a:avLst/>
          </a:prstGeom>
        </p:spPr>
        <p:txBody>
          <a:bodyPr/>
          <a:lstStyle/>
          <a:p>
            <a:fld id="{B58DE5F1-E0F9-4CCA-92B7-7A6FC4DFEE14}" type="slidenum">
              <a:rPr lang="en-US" smtClean="0"/>
              <a:t>‹#›</a:t>
            </a:fld>
            <a:endParaRPr lang="en-US"/>
          </a:p>
        </p:txBody>
      </p:sp>
      <p:sp>
        <p:nvSpPr>
          <p:cNvPr id="5" name="Content Placeholder 4">
            <a:extLst>
              <a:ext uri="{FF2B5EF4-FFF2-40B4-BE49-F238E27FC236}">
                <a16:creationId xmlns:a16="http://schemas.microsoft.com/office/drawing/2014/main" id="{CCEDBFF4-E1B6-4EE0-8F6D-B5A441B7A8C1}"/>
              </a:ext>
            </a:extLst>
          </p:cNvPr>
          <p:cNvSpPr>
            <a:spLocks noGrp="1"/>
          </p:cNvSpPr>
          <p:nvPr>
            <p:ph sz="quarter" idx="13" hasCustomPrompt="1"/>
          </p:nvPr>
        </p:nvSpPr>
        <p:spPr>
          <a:xfrm>
            <a:off x="365763" y="6099083"/>
            <a:ext cx="11461751" cy="228600"/>
          </a:xfrm>
        </p:spPr>
        <p:txBody>
          <a:bodyPr anchor="b" anchorCtr="0"/>
          <a:lstStyle>
            <a:lvl1pPr marL="0" indent="0">
              <a:buNone/>
              <a:defRPr sz="600"/>
            </a:lvl1pPr>
          </a:lstStyle>
          <a:p>
            <a:pPr lvl="0"/>
            <a:r>
              <a:rPr lang="en-US"/>
              <a:t>Footer</a:t>
            </a:r>
            <a:endParaRPr lang="en-GB"/>
          </a:p>
        </p:txBody>
      </p:sp>
    </p:spTree>
    <p:extLst>
      <p:ext uri="{BB962C8B-B14F-4D97-AF65-F5344CB8AC3E}">
        <p14:creationId xmlns:p14="http://schemas.microsoft.com/office/powerpoint/2010/main" val="1829360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467">
          <p15:clr>
            <a:srgbClr val="FBAE4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userDrawn="1">
  <p:cSld name="Title Slide White logos">
    <p:bg>
      <p:bgPr>
        <a:gradFill>
          <a:gsLst>
            <a:gs pos="50000">
              <a:srgbClr val="00A195"/>
            </a:gs>
            <a:gs pos="0">
              <a:srgbClr val="071D49"/>
            </a:gs>
            <a:gs pos="100000">
              <a:srgbClr val="808285"/>
            </a:gs>
          </a:gsLst>
          <a:lin ang="0" scaled="1"/>
        </a:gradFill>
        <a:effectLst/>
      </p:bgPr>
    </p:bg>
    <p:spTree>
      <p:nvGrpSpPr>
        <p:cNvPr id="1" name=""/>
        <p:cNvGrpSpPr/>
        <p:nvPr/>
      </p:nvGrpSpPr>
      <p:grpSpPr>
        <a:xfrm>
          <a:off x="0" y="0"/>
          <a:ext cx="0" cy="0"/>
          <a:chOff x="0" y="0"/>
          <a:chExt cx="0" cy="0"/>
        </a:xfrm>
      </p:grpSpPr>
      <p:pic>
        <p:nvPicPr>
          <p:cNvPr id="9" name="smid ud"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9629"/>
          </a:xfrm>
          <a:prstGeom prst="rect">
            <a:avLst/>
          </a:prstGeom>
        </p:spPr>
      </p:pic>
      <p:sp>
        <p:nvSpPr>
          <p:cNvPr id="2" name="Title 1"/>
          <p:cNvSpPr>
            <a:spLocks noGrp="1"/>
          </p:cNvSpPr>
          <p:nvPr>
            <p:ph type="ctrTitle"/>
          </p:nvPr>
        </p:nvSpPr>
        <p:spPr>
          <a:xfrm>
            <a:off x="576000" y="576000"/>
            <a:ext cx="8228275" cy="3895639"/>
          </a:xfrm>
        </p:spPr>
        <p:txBody>
          <a:bodyPr anchor="t" anchorCtr="0"/>
          <a:lstStyle>
            <a:lvl1pPr algn="l">
              <a:lnSpc>
                <a:spcPct val="83000"/>
              </a:lnSpc>
              <a:defRPr sz="6500">
                <a:solidFill>
                  <a:schemeClr val="bg1"/>
                </a:solidFill>
              </a:defRPr>
            </a:lvl1pPr>
          </a:lstStyle>
          <a:p>
            <a:r>
              <a:rPr lang="en-US"/>
              <a:t>Click to edit Master title style</a:t>
            </a:r>
          </a:p>
        </p:txBody>
      </p:sp>
      <p:sp>
        <p:nvSpPr>
          <p:cNvPr id="4" name="Date_DateCustomA" hidden="1"/>
          <p:cNvSpPr>
            <a:spLocks noGrp="1"/>
          </p:cNvSpPr>
          <p:nvPr>
            <p:ph type="dt" sz="half" idx="10"/>
          </p:nvPr>
        </p:nvSpPr>
        <p:spPr>
          <a:xfrm>
            <a:off x="0" y="7020000"/>
            <a:ext cx="0" cy="0"/>
          </a:xfrm>
          <a:prstGeom prst="rect">
            <a:avLst/>
          </a:prstGeom>
        </p:spPr>
        <p:txBody>
          <a:bodyPr/>
          <a:lstStyle>
            <a:lvl1pPr>
              <a:defRPr sz="100">
                <a:noFill/>
              </a:defRPr>
            </a:lvl1pPr>
          </a:lstStyle>
          <a:p>
            <a:fld id="{A340CEE3-671B-42AF-8B9E-53E88F0C75C4}" type="datetime1">
              <a:rPr lang="en-US" smtClean="0"/>
              <a:t>4/24/26</a:t>
            </a:fld>
            <a:endParaRPr lang="en-US"/>
          </a:p>
        </p:txBody>
      </p:sp>
      <p:sp>
        <p:nvSpPr>
          <p:cNvPr id="5" name="FLD_PresentationTitle" hidden="1"/>
          <p:cNvSpPr>
            <a:spLocks noGrp="1"/>
          </p:cNvSpPr>
          <p:nvPr>
            <p:ph type="ftr" sz="quarter" idx="11"/>
          </p:nvPr>
        </p:nvSpPr>
        <p:spPr>
          <a:xfrm>
            <a:off x="0" y="7020000"/>
            <a:ext cx="0" cy="0"/>
          </a:xfrm>
          <a:prstGeom prst="rect">
            <a:avLst/>
          </a:prstGeom>
        </p:spPr>
        <p:txBody>
          <a:bodyPr/>
          <a:lstStyle>
            <a:lvl1pPr>
              <a:defRPr sz="100">
                <a:noFill/>
              </a:defRPr>
            </a:lvl1pPr>
          </a:lstStyle>
          <a:p>
            <a:endParaRPr lang="en-US"/>
          </a:p>
        </p:txBody>
      </p:sp>
      <p:sp>
        <p:nvSpPr>
          <p:cNvPr id="6" name="Slide Number Placeholder 5" hidden="1"/>
          <p:cNvSpPr>
            <a:spLocks noGrp="1"/>
          </p:cNvSpPr>
          <p:nvPr>
            <p:ph type="sldNum" sz="quarter" idx="12"/>
          </p:nvPr>
        </p:nvSpPr>
        <p:spPr>
          <a:xfrm>
            <a:off x="0" y="7020000"/>
            <a:ext cx="0" cy="0"/>
          </a:xfrm>
          <a:prstGeom prst="rect">
            <a:avLst/>
          </a:prstGeom>
        </p:spPr>
        <p:txBody>
          <a:bodyPr/>
          <a:lstStyle>
            <a:lvl1pPr>
              <a:defRPr sz="100">
                <a:noFill/>
              </a:defRPr>
            </a:lvl1pPr>
          </a:lstStyle>
          <a:p>
            <a:fld id="{24C8C45C-947F-4981-8B3F-4F32E973C901}" type="slidenum">
              <a:rPr lang="en-US" smtClean="0"/>
              <a:pPr/>
              <a:t>‹#›</a:t>
            </a:fld>
            <a:endParaRPr lang="en-US"/>
          </a:p>
        </p:txBody>
      </p:sp>
    </p:spTree>
    <p:extLst>
      <p:ext uri="{BB962C8B-B14F-4D97-AF65-F5344CB8AC3E}">
        <p14:creationId xmlns:p14="http://schemas.microsoft.com/office/powerpoint/2010/main" val="4144916295"/>
      </p:ext>
    </p:extLst>
  </p:cSld>
  <p:clrMapOvr>
    <a:masterClrMapping/>
  </p:clrMapOvr>
  <p:extLst>
    <p:ext uri="{DCECCB84-F9BA-43D5-87BE-67443E8EF086}">
      <p15:sldGuideLst xmlns:p15="http://schemas.microsoft.com/office/powerpoint/2012/main">
        <p15:guide id="1" pos="5546">
          <p15:clr>
            <a:srgbClr val="F26B43"/>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8321" y="241925"/>
            <a:ext cx="8246376" cy="907252"/>
          </a:xfrm>
        </p:spPr>
        <p:txBody>
          <a:bodyPr/>
          <a:lstStyle>
            <a:lvl1pPr>
              <a:lnSpc>
                <a:spcPts val="3839"/>
              </a:lnSpc>
              <a:defRPr sz="3732"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3" y="1268964"/>
            <a:ext cx="11135360" cy="9525"/>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15"/>
          <p:cNvSpPr>
            <a:spLocks noGrp="1"/>
          </p:cNvSpPr>
          <p:nvPr>
            <p:ph type="body" sz="quarter" idx="11" hasCustomPrompt="1"/>
          </p:nvPr>
        </p:nvSpPr>
        <p:spPr>
          <a:xfrm>
            <a:off x="527049" y="6259600"/>
            <a:ext cx="4800000" cy="360000"/>
          </a:xfrm>
          <a:prstGeom prst="rect">
            <a:avLst/>
          </a:prstGeom>
        </p:spPr>
        <p:txBody>
          <a:bodyPr lIns="0" tIns="0" rIns="0" bIns="0" anchor="b"/>
          <a:lstStyle>
            <a:lvl1pPr marL="0" indent="0">
              <a:buNone/>
              <a:tabLst/>
              <a:defRPr sz="1080">
                <a:solidFill>
                  <a:schemeClr val="tx1"/>
                </a:solidFill>
                <a:latin typeface="+mn-lt"/>
                <a:cs typeface="Arial" panose="020B0604020202020204" pitchFamily="34" charset="0"/>
              </a:defRPr>
            </a:lvl1pPr>
          </a:lstStyle>
          <a:p>
            <a:pPr lvl="0"/>
            <a:r>
              <a:rPr lang="en-US" dirty="0"/>
              <a:t>Footnotes</a:t>
            </a:r>
          </a:p>
        </p:txBody>
      </p:sp>
      <p:sp>
        <p:nvSpPr>
          <p:cNvPr id="18" name="Text Placeholder 17"/>
          <p:cNvSpPr>
            <a:spLocks noGrp="1"/>
          </p:cNvSpPr>
          <p:nvPr>
            <p:ph type="body" sz="quarter" idx="12" hasCustomPrompt="1"/>
          </p:nvPr>
        </p:nvSpPr>
        <p:spPr>
          <a:xfrm>
            <a:off x="6864951" y="6259600"/>
            <a:ext cx="4800000" cy="360000"/>
          </a:xfrm>
          <a:prstGeom prst="rect">
            <a:avLst/>
          </a:prstGeom>
        </p:spPr>
        <p:txBody>
          <a:bodyPr lIns="0" tIns="0" rIns="0" bIns="0" anchor="b"/>
          <a:lstStyle>
            <a:lvl1pPr marL="212274" indent="-212274" algn="r">
              <a:buNone/>
              <a:defRPr lang="en-GB" sz="1080" dirty="0">
                <a:solidFill>
                  <a:schemeClr val="tx1"/>
                </a:solidFill>
                <a:latin typeface="+mn-lt"/>
              </a:defRPr>
            </a:lvl1pPr>
          </a:lstStyle>
          <a:p>
            <a:pPr marL="0" lvl="0" indent="0"/>
            <a:r>
              <a:rPr lang="en-GB" dirty="0"/>
              <a:t>References</a:t>
            </a:r>
          </a:p>
        </p:txBody>
      </p:sp>
      <p:sp>
        <p:nvSpPr>
          <p:cNvPr id="7" name="Text Placeholder 3">
            <a:extLst>
              <a:ext uri="{FF2B5EF4-FFF2-40B4-BE49-F238E27FC236}">
                <a16:creationId xmlns:a16="http://schemas.microsoft.com/office/drawing/2014/main" id="{CA9898A9-9A13-49ED-AB91-E1277119FA32}"/>
              </a:ext>
            </a:extLst>
          </p:cNvPr>
          <p:cNvSpPr>
            <a:spLocks noGrp="1"/>
          </p:cNvSpPr>
          <p:nvPr>
            <p:ph type="body" sz="quarter" idx="13" hasCustomPrompt="1"/>
          </p:nvPr>
        </p:nvSpPr>
        <p:spPr>
          <a:xfrm>
            <a:off x="9659802" y="104288"/>
            <a:ext cx="2427877" cy="1343043"/>
          </a:xfrm>
          <a:prstGeom prst="rect">
            <a:avLst/>
          </a:prstGeom>
          <a:noFill/>
        </p:spPr>
        <p:txBody>
          <a:bodyPr anchor="ctr"/>
          <a:lstStyle>
            <a:lvl1pPr marL="0" indent="0">
              <a:buNone/>
              <a:defRPr sz="2133">
                <a:latin typeface="+mn-lt"/>
              </a:defRPr>
            </a:lvl1pPr>
          </a:lstStyle>
          <a:p>
            <a:pPr algn="ctr"/>
            <a:r>
              <a:rPr lang="en-GB" sz="2399" i="1" dirty="0">
                <a:solidFill>
                  <a:schemeClr val="tx2"/>
                </a:solidFill>
              </a:rPr>
              <a:t>Video location</a:t>
            </a:r>
          </a:p>
        </p:txBody>
      </p:sp>
      <p:sp>
        <p:nvSpPr>
          <p:cNvPr id="8" name="Text Placeholder 13">
            <a:extLst>
              <a:ext uri="{FF2B5EF4-FFF2-40B4-BE49-F238E27FC236}">
                <a16:creationId xmlns:a16="http://schemas.microsoft.com/office/drawing/2014/main" id="{47745C21-9B99-486C-9373-656E692F4534}"/>
              </a:ext>
            </a:extLst>
          </p:cNvPr>
          <p:cNvSpPr>
            <a:spLocks noGrp="1"/>
          </p:cNvSpPr>
          <p:nvPr>
            <p:ph type="body" sz="quarter" idx="10"/>
          </p:nvPr>
        </p:nvSpPr>
        <p:spPr>
          <a:xfrm>
            <a:off x="527057" y="1735944"/>
            <a:ext cx="11137900" cy="4155314"/>
          </a:xfrm>
          <a:prstGeom prst="rect">
            <a:avLst/>
          </a:prstGeom>
        </p:spPr>
        <p:txBody>
          <a:bodyPr lIns="72000" tIns="0" rIns="72000" bIns="0"/>
          <a:lstStyle>
            <a:lvl1pPr>
              <a:spcAft>
                <a:spcPts val="720"/>
              </a:spcAft>
              <a:buClr>
                <a:schemeClr val="tx2"/>
              </a:buClr>
              <a:defRPr sz="2133">
                <a:solidFill>
                  <a:schemeClr val="tx1"/>
                </a:solidFill>
                <a:latin typeface="+mn-lt"/>
              </a:defRPr>
            </a:lvl1pPr>
            <a:lvl2pPr>
              <a:spcAft>
                <a:spcPts val="720"/>
              </a:spcAft>
              <a:buClr>
                <a:schemeClr val="tx2"/>
              </a:buClr>
              <a:defRPr sz="1866">
                <a:solidFill>
                  <a:schemeClr val="tx1"/>
                </a:solidFill>
                <a:latin typeface="+mn-lt"/>
              </a:defRPr>
            </a:lvl2pPr>
            <a:lvl3pPr>
              <a:spcAft>
                <a:spcPts val="720"/>
              </a:spcAft>
              <a:buClr>
                <a:schemeClr val="tx2"/>
              </a:buClr>
              <a:defRPr sz="1599">
                <a:solidFill>
                  <a:schemeClr val="tx1"/>
                </a:solidFill>
                <a:latin typeface="+mn-lt"/>
              </a:defRPr>
            </a:lvl3pPr>
            <a:lvl4pPr>
              <a:spcAft>
                <a:spcPts val="720"/>
              </a:spcAft>
              <a:buClr>
                <a:schemeClr val="accent6"/>
              </a:buClr>
              <a:defRPr sz="1679">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975696526"/>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1"/>
            <a:ext cx="10363200" cy="276999"/>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1"/>
            <a:ext cx="853440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4/26</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177636939"/>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4/26</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475482214"/>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a:lvl1pPr>
          </a:lstStyle>
          <a:p>
            <a:endParaRPr/>
          </a:p>
        </p:txBody>
      </p:sp>
      <p:sp>
        <p:nvSpPr>
          <p:cNvPr id="3" name="Holder 3"/>
          <p:cNvSpPr>
            <a:spLocks noGrp="1"/>
          </p:cNvSpPr>
          <p:nvPr>
            <p:ph sz="half" idx="2"/>
          </p:nvPr>
        </p:nvSpPr>
        <p:spPr>
          <a:xfrm>
            <a:off x="609600" y="1577340"/>
            <a:ext cx="530352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4/26</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909844903"/>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4/26</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762827581"/>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4/26</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537891132"/>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166199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166199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p:cNvSpPr>
            <a:spLocks noGrp="1"/>
          </p:cNvSpPr>
          <p:nvPr>
            <p:ph type="sldNum" sz="quarter" idx="10"/>
          </p:nvPr>
        </p:nvSpPr>
        <p:spPr/>
        <p:txBody>
          <a:bodyPr/>
          <a:lstStyle>
            <a:lvl1pPr>
              <a:defRPr/>
            </a:lvl1pPr>
          </a:lstStyle>
          <a:p>
            <a:pPr>
              <a:defRPr/>
            </a:pPr>
            <a:fld id="{7B678109-B35D-4682-BB29-62795A33A887}" type="slidenum">
              <a:rPr lang="en-US"/>
              <a:pPr>
                <a:defRPr/>
              </a:pPr>
              <a:t>‹#›</a:t>
            </a:fld>
            <a:endParaRPr lang="en-US" dirty="0"/>
          </a:p>
        </p:txBody>
      </p:sp>
    </p:spTree>
    <p:extLst>
      <p:ext uri="{BB962C8B-B14F-4D97-AF65-F5344CB8AC3E}">
        <p14:creationId xmlns:p14="http://schemas.microsoft.com/office/powerpoint/2010/main" val="1267681807"/>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559A4995-99F3-6C48-8980-DDECA35E6552}"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350732251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64304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text pag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vl1pPr>
          </a:lstStyle>
          <a:p>
            <a:fld id="{87DE6A48-BD34-9247-8CD2-A207D07E22B4}" type="datetime1">
              <a:rPr lang="en-US"/>
              <a:pPr/>
              <a:t>4/24/26</a:t>
            </a:fld>
            <a:endParaRPr lang="en-US"/>
          </a:p>
        </p:txBody>
      </p:sp>
      <p:sp>
        <p:nvSpPr>
          <p:cNvPr id="6" name="Slide Number Placeholder 5"/>
          <p:cNvSpPr>
            <a:spLocks noGrp="1"/>
          </p:cNvSpPr>
          <p:nvPr>
            <p:ph type="sldNum" sz="quarter" idx="12"/>
          </p:nvPr>
        </p:nvSpPr>
        <p:spPr/>
        <p:txBody>
          <a:bodyPr/>
          <a:lstStyle>
            <a:lvl1pPr>
              <a:defRPr/>
            </a:lvl1pPr>
          </a:lstStyle>
          <a:p>
            <a:fld id="{02941447-81A8-E34A-8E29-11F044513D7E}" type="slidenum">
              <a:rPr lang="en-US"/>
              <a:pPr/>
              <a:t>‹#›</a:t>
            </a:fld>
            <a:endParaRPr lang="en-US"/>
          </a:p>
        </p:txBody>
      </p:sp>
      <p:sp>
        <p:nvSpPr>
          <p:cNvPr id="7" name="Title 1"/>
          <p:cNvSpPr>
            <a:spLocks noGrp="1"/>
          </p:cNvSpPr>
          <p:nvPr>
            <p:ph type="title"/>
          </p:nvPr>
        </p:nvSpPr>
        <p:spPr>
          <a:xfrm>
            <a:off x="609600" y="490453"/>
            <a:ext cx="10972800" cy="276999"/>
          </a:xfrm>
          <a:prstGeom prst="rect">
            <a:avLst/>
          </a:prstGeom>
        </p:spPr>
        <p:txBody>
          <a:bodyPr/>
          <a:lstStyle>
            <a:lvl1pPr>
              <a:defRPr>
                <a:solidFill>
                  <a:srgbClr val="CD113B"/>
                </a:solidFill>
              </a:defRPr>
            </a:lvl1pPr>
          </a:lstStyle>
          <a:p>
            <a:r>
              <a:rPr lang="en-US"/>
              <a:t>Click to edit Master title style</a:t>
            </a:r>
          </a:p>
        </p:txBody>
      </p:sp>
      <p:sp>
        <p:nvSpPr>
          <p:cNvPr id="8" name="Content Placeholder 2"/>
          <p:cNvSpPr>
            <a:spLocks noGrp="1"/>
          </p:cNvSpPr>
          <p:nvPr>
            <p:ph idx="1"/>
          </p:nvPr>
        </p:nvSpPr>
        <p:spPr>
          <a:xfrm>
            <a:off x="609600" y="1368923"/>
            <a:ext cx="10972800" cy="1261884"/>
          </a:xfrm>
          <a:prstGeom prst="rect">
            <a:avLst/>
          </a:prstGeom>
        </p:spPr>
        <p:txBody>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5591041"/>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29"/>
        <p:cNvGrpSpPr/>
        <p:nvPr/>
      </p:nvGrpSpPr>
      <p:grpSpPr>
        <a:xfrm>
          <a:off x="0" y="0"/>
          <a:ext cx="0" cy="0"/>
          <a:chOff x="0" y="0"/>
          <a:chExt cx="0" cy="0"/>
        </a:xfrm>
      </p:grpSpPr>
      <p:sp>
        <p:nvSpPr>
          <p:cNvPr id="30" name="Google Shape;30;p4"/>
          <p:cNvSpPr txBox="1">
            <a:spLocks noGrp="1"/>
          </p:cNvSpPr>
          <p:nvPr>
            <p:ph type="title"/>
          </p:nvPr>
        </p:nvSpPr>
        <p:spPr>
          <a:xfrm>
            <a:off x="397157" y="155786"/>
            <a:ext cx="11286900" cy="870000"/>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accent3"/>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 name="Google Shape;31;p4"/>
          <p:cNvSpPr txBox="1">
            <a:spLocks noGrp="1"/>
          </p:cNvSpPr>
          <p:nvPr>
            <p:ph type="body" idx="1"/>
          </p:nvPr>
        </p:nvSpPr>
        <p:spPr>
          <a:xfrm>
            <a:off x="375410" y="1711400"/>
            <a:ext cx="11309164" cy="4308401"/>
          </a:xfrm>
          <a:prstGeom prst="rect">
            <a:avLst/>
          </a:prstGeom>
          <a:noFill/>
          <a:ln>
            <a:noFill/>
          </a:ln>
        </p:spPr>
        <p:txBody>
          <a:bodyPr spcFirstLastPara="1" wrap="square" lIns="91425" tIns="45700" rIns="91425" bIns="45700" anchor="t" anchorCtr="0">
            <a:noAutofit/>
          </a:bodyPr>
          <a:lstStyle>
            <a:lvl1pPr marL="457200" lvl="0" indent="-330200" algn="l">
              <a:lnSpc>
                <a:spcPct val="90000"/>
              </a:lnSpc>
              <a:spcBef>
                <a:spcPts val="800"/>
              </a:spcBef>
              <a:spcAft>
                <a:spcPts val="0"/>
              </a:spcAft>
              <a:buSzPts val="1600"/>
              <a:buChar char="•"/>
              <a:defRPr>
                <a:solidFill>
                  <a:schemeClr val="dk1"/>
                </a:solidFill>
              </a:defRPr>
            </a:lvl1pPr>
            <a:lvl2pPr marL="914400" lvl="1" indent="-317500" algn="l">
              <a:lnSpc>
                <a:spcPct val="90000"/>
              </a:lnSpc>
              <a:spcBef>
                <a:spcPts val="800"/>
              </a:spcBef>
              <a:spcAft>
                <a:spcPts val="0"/>
              </a:spcAft>
              <a:buSzPts val="1400"/>
              <a:buChar char="•"/>
              <a:defRPr>
                <a:solidFill>
                  <a:schemeClr val="dk1"/>
                </a:solidFill>
              </a:defRPr>
            </a:lvl2pPr>
            <a:lvl3pPr marL="1371600" lvl="2" indent="-298450" algn="l">
              <a:lnSpc>
                <a:spcPct val="90000"/>
              </a:lnSpc>
              <a:spcBef>
                <a:spcPts val="800"/>
              </a:spcBef>
              <a:spcAft>
                <a:spcPts val="0"/>
              </a:spcAft>
              <a:buSzPts val="1100"/>
              <a:buChar char="•"/>
              <a:defRPr>
                <a:solidFill>
                  <a:schemeClr val="dk1"/>
                </a:solidFill>
              </a:defRPr>
            </a:lvl3pPr>
            <a:lvl4pPr marL="1828800" lvl="3" indent="-295275" algn="l">
              <a:lnSpc>
                <a:spcPct val="90000"/>
              </a:lnSpc>
              <a:spcBef>
                <a:spcPts val="800"/>
              </a:spcBef>
              <a:spcAft>
                <a:spcPts val="0"/>
              </a:spcAft>
              <a:buSzPts val="1050"/>
              <a:buChar char="•"/>
              <a:defRPr>
                <a:solidFill>
                  <a:schemeClr val="dk1"/>
                </a:solidFill>
              </a:defRPr>
            </a:lvl4pPr>
            <a:lvl5pPr marL="2286000" lvl="4" indent="-295275" algn="l">
              <a:lnSpc>
                <a:spcPct val="90000"/>
              </a:lnSpc>
              <a:spcBef>
                <a:spcPts val="800"/>
              </a:spcBef>
              <a:spcAft>
                <a:spcPts val="0"/>
              </a:spcAft>
              <a:buSzPts val="1050"/>
              <a:buChar char="•"/>
              <a:defRPr>
                <a:solidFill>
                  <a:schemeClr val="dk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39980739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3705317"/>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88C2FA-C48E-462E-98AD-AF670E0BD0A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8A0D039-4B38-41CF-9664-624B84575518}"/>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7D3C082-8631-4DEA-A5E1-9AAE4979C98D}"/>
              </a:ext>
            </a:extLst>
          </p:cNvPr>
          <p:cNvSpPr>
            <a:spLocks noGrp="1"/>
          </p:cNvSpPr>
          <p:nvPr>
            <p:ph type="dt" sz="half" idx="10"/>
          </p:nvPr>
        </p:nvSpPr>
        <p:spPr/>
        <p:txBody>
          <a:bodyPr/>
          <a:lstStyle/>
          <a:p>
            <a:fld id="{2905134D-5728-465C-A2C6-4FA45C65ED91}" type="datetimeFigureOut">
              <a:rPr lang="en-US" smtClean="0"/>
              <a:t>4/24/26</a:t>
            </a:fld>
            <a:endParaRPr lang="en-US"/>
          </a:p>
        </p:txBody>
      </p:sp>
      <p:sp>
        <p:nvSpPr>
          <p:cNvPr id="5" name="Footer Placeholder 4">
            <a:extLst>
              <a:ext uri="{FF2B5EF4-FFF2-40B4-BE49-F238E27FC236}">
                <a16:creationId xmlns:a16="http://schemas.microsoft.com/office/drawing/2014/main" id="{7E173C12-489E-4628-841A-19EF43E7826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013D63F-F1ED-40E8-9A49-DEFD1A93AE9D}"/>
              </a:ext>
            </a:extLst>
          </p:cNvPr>
          <p:cNvSpPr>
            <a:spLocks noGrp="1"/>
          </p:cNvSpPr>
          <p:nvPr>
            <p:ph type="sldNum" sz="quarter" idx="12"/>
          </p:nvPr>
        </p:nvSpPr>
        <p:spPr/>
        <p:txBody>
          <a:bodyPr/>
          <a:lstStyle/>
          <a:p>
            <a:fld id="{47B82C50-5F30-42E9-B41A-1E3E5C33148E}" type="slidenum">
              <a:rPr lang="en-US" smtClean="0"/>
              <a:t>‹#›</a:t>
            </a:fld>
            <a:endParaRPr lang="en-US"/>
          </a:p>
        </p:txBody>
      </p:sp>
    </p:spTree>
    <p:extLst>
      <p:ext uri="{BB962C8B-B14F-4D97-AF65-F5344CB8AC3E}">
        <p14:creationId xmlns:p14="http://schemas.microsoft.com/office/powerpoint/2010/main" val="41545694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E313B8-9DC7-4C61-AF7B-0420C899F2E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5EDF171-8AA1-43B8-A47D-FB64F2A8873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E9CA327-C481-4681-81CA-1967662A6654}"/>
              </a:ext>
            </a:extLst>
          </p:cNvPr>
          <p:cNvSpPr>
            <a:spLocks noGrp="1"/>
          </p:cNvSpPr>
          <p:nvPr>
            <p:ph type="dt" sz="half" idx="10"/>
          </p:nvPr>
        </p:nvSpPr>
        <p:spPr/>
        <p:txBody>
          <a:bodyPr/>
          <a:lstStyle/>
          <a:p>
            <a:fld id="{2905134D-5728-465C-A2C6-4FA45C65ED91}" type="datetimeFigureOut">
              <a:rPr lang="en-US" smtClean="0"/>
              <a:t>4/24/26</a:t>
            </a:fld>
            <a:endParaRPr lang="en-US"/>
          </a:p>
        </p:txBody>
      </p:sp>
      <p:sp>
        <p:nvSpPr>
          <p:cNvPr id="5" name="Footer Placeholder 4">
            <a:extLst>
              <a:ext uri="{FF2B5EF4-FFF2-40B4-BE49-F238E27FC236}">
                <a16:creationId xmlns:a16="http://schemas.microsoft.com/office/drawing/2014/main" id="{67EB850C-EF09-480D-A30A-910A136273B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4CE3DCE-E426-4E28-9EF6-69D2B621D7B5}"/>
              </a:ext>
            </a:extLst>
          </p:cNvPr>
          <p:cNvSpPr>
            <a:spLocks noGrp="1"/>
          </p:cNvSpPr>
          <p:nvPr>
            <p:ph type="sldNum" sz="quarter" idx="12"/>
          </p:nvPr>
        </p:nvSpPr>
        <p:spPr/>
        <p:txBody>
          <a:bodyPr/>
          <a:lstStyle/>
          <a:p>
            <a:fld id="{47B82C50-5F30-42E9-B41A-1E3E5C33148E}" type="slidenum">
              <a:rPr lang="en-US" smtClean="0"/>
              <a:t>‹#›</a:t>
            </a:fld>
            <a:endParaRPr lang="en-US"/>
          </a:p>
        </p:txBody>
      </p:sp>
    </p:spTree>
    <p:extLst>
      <p:ext uri="{BB962C8B-B14F-4D97-AF65-F5344CB8AC3E}">
        <p14:creationId xmlns:p14="http://schemas.microsoft.com/office/powerpoint/2010/main" val="7116803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23E98-62A8-42CD-969E-4D7149F14671}"/>
              </a:ext>
            </a:extLst>
          </p:cNvPr>
          <p:cNvSpPr>
            <a:spLocks noGrp="1"/>
          </p:cNvSpPr>
          <p:nvPr>
            <p:ph type="title"/>
          </p:nvPr>
        </p:nvSpPr>
        <p:spPr>
          <a:xfrm>
            <a:off x="831849" y="1709740"/>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79A022C-64A8-4291-BC63-6D14F5E9AF02}"/>
              </a:ext>
            </a:extLst>
          </p:cNvPr>
          <p:cNvSpPr>
            <a:spLocks noGrp="1"/>
          </p:cNvSpPr>
          <p:nvPr>
            <p:ph type="body" idx="1"/>
          </p:nvPr>
        </p:nvSpPr>
        <p:spPr>
          <a:xfrm>
            <a:off x="831849" y="4589464"/>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B4D194D-668F-4FA9-B92B-75A68692A307}"/>
              </a:ext>
            </a:extLst>
          </p:cNvPr>
          <p:cNvSpPr>
            <a:spLocks noGrp="1"/>
          </p:cNvSpPr>
          <p:nvPr>
            <p:ph type="dt" sz="half" idx="10"/>
          </p:nvPr>
        </p:nvSpPr>
        <p:spPr/>
        <p:txBody>
          <a:bodyPr/>
          <a:lstStyle/>
          <a:p>
            <a:fld id="{2905134D-5728-465C-A2C6-4FA45C65ED91}" type="datetimeFigureOut">
              <a:rPr lang="en-US" smtClean="0"/>
              <a:t>4/24/26</a:t>
            </a:fld>
            <a:endParaRPr lang="en-US"/>
          </a:p>
        </p:txBody>
      </p:sp>
      <p:sp>
        <p:nvSpPr>
          <p:cNvPr id="5" name="Footer Placeholder 4">
            <a:extLst>
              <a:ext uri="{FF2B5EF4-FFF2-40B4-BE49-F238E27FC236}">
                <a16:creationId xmlns:a16="http://schemas.microsoft.com/office/drawing/2014/main" id="{D9C4763B-8BAD-4A40-9B41-1D56E47C5E6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48BF05A-5541-4F77-8F2A-FD10F5C7E736}"/>
              </a:ext>
            </a:extLst>
          </p:cNvPr>
          <p:cNvSpPr>
            <a:spLocks noGrp="1"/>
          </p:cNvSpPr>
          <p:nvPr>
            <p:ph type="sldNum" sz="quarter" idx="12"/>
          </p:nvPr>
        </p:nvSpPr>
        <p:spPr/>
        <p:txBody>
          <a:bodyPr/>
          <a:lstStyle/>
          <a:p>
            <a:fld id="{47B82C50-5F30-42E9-B41A-1E3E5C33148E}" type="slidenum">
              <a:rPr lang="en-US" smtClean="0"/>
              <a:t>‹#›</a:t>
            </a:fld>
            <a:endParaRPr lang="en-US"/>
          </a:p>
        </p:txBody>
      </p:sp>
    </p:spTree>
    <p:extLst>
      <p:ext uri="{BB962C8B-B14F-4D97-AF65-F5344CB8AC3E}">
        <p14:creationId xmlns:p14="http://schemas.microsoft.com/office/powerpoint/2010/main" val="11330171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55B907-C38E-4036-8A9F-E95B744D419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FE66AE7-0CAF-475C-A10A-D31E3ADE2AFF}"/>
              </a:ext>
            </a:extLst>
          </p:cNvPr>
          <p:cNvSpPr>
            <a:spLocks noGrp="1"/>
          </p:cNvSpPr>
          <p:nvPr>
            <p:ph sz="half" idx="1"/>
          </p:nvPr>
        </p:nvSpPr>
        <p:spPr>
          <a:xfrm>
            <a:off x="838200" y="1825624"/>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650010B-25EA-4711-95C0-4384F7831256}"/>
              </a:ext>
            </a:extLst>
          </p:cNvPr>
          <p:cNvSpPr>
            <a:spLocks noGrp="1"/>
          </p:cNvSpPr>
          <p:nvPr>
            <p:ph sz="half" idx="2"/>
          </p:nvPr>
        </p:nvSpPr>
        <p:spPr>
          <a:xfrm>
            <a:off x="6172200" y="1825624"/>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520AF8E-F2DE-49F5-83ED-298746F0118B}"/>
              </a:ext>
            </a:extLst>
          </p:cNvPr>
          <p:cNvSpPr>
            <a:spLocks noGrp="1"/>
          </p:cNvSpPr>
          <p:nvPr>
            <p:ph type="dt" sz="half" idx="10"/>
          </p:nvPr>
        </p:nvSpPr>
        <p:spPr/>
        <p:txBody>
          <a:bodyPr/>
          <a:lstStyle/>
          <a:p>
            <a:fld id="{2905134D-5728-465C-A2C6-4FA45C65ED91}" type="datetimeFigureOut">
              <a:rPr lang="en-US" smtClean="0"/>
              <a:t>4/24/26</a:t>
            </a:fld>
            <a:endParaRPr lang="en-US"/>
          </a:p>
        </p:txBody>
      </p:sp>
      <p:sp>
        <p:nvSpPr>
          <p:cNvPr id="6" name="Footer Placeholder 5">
            <a:extLst>
              <a:ext uri="{FF2B5EF4-FFF2-40B4-BE49-F238E27FC236}">
                <a16:creationId xmlns:a16="http://schemas.microsoft.com/office/drawing/2014/main" id="{47FA5B8D-5147-4337-8136-EF8A86BF37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FD6DD1E-D540-45C9-9A7C-32F538ECB15B}"/>
              </a:ext>
            </a:extLst>
          </p:cNvPr>
          <p:cNvSpPr>
            <a:spLocks noGrp="1"/>
          </p:cNvSpPr>
          <p:nvPr>
            <p:ph type="sldNum" sz="quarter" idx="12"/>
          </p:nvPr>
        </p:nvSpPr>
        <p:spPr/>
        <p:txBody>
          <a:bodyPr/>
          <a:lstStyle/>
          <a:p>
            <a:fld id="{47B82C50-5F30-42E9-B41A-1E3E5C33148E}" type="slidenum">
              <a:rPr lang="en-US" smtClean="0"/>
              <a:t>‹#›</a:t>
            </a:fld>
            <a:endParaRPr lang="en-US"/>
          </a:p>
        </p:txBody>
      </p:sp>
    </p:spTree>
    <p:extLst>
      <p:ext uri="{BB962C8B-B14F-4D97-AF65-F5344CB8AC3E}">
        <p14:creationId xmlns:p14="http://schemas.microsoft.com/office/powerpoint/2010/main" val="5486495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BC918A-B5CB-4567-B204-7413838F008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0A333D2-0F5F-4C67-8FA9-F9EF9044AA25}"/>
              </a:ext>
            </a:extLst>
          </p:cNvPr>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3D38D4F-989D-4615-930C-27E8EFCBAA5B}"/>
              </a:ext>
            </a:extLst>
          </p:cNvPr>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93F12F6-D608-479E-AA5E-B464CBACAA32}"/>
              </a:ext>
            </a:extLst>
          </p:cNvPr>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F2DA415-70A6-4060-A789-BEF2E60B376A}"/>
              </a:ext>
            </a:extLst>
          </p:cNvPr>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0C89916-FF0F-4250-9BE2-B641DC85EDE1}"/>
              </a:ext>
            </a:extLst>
          </p:cNvPr>
          <p:cNvSpPr>
            <a:spLocks noGrp="1"/>
          </p:cNvSpPr>
          <p:nvPr>
            <p:ph type="dt" sz="half" idx="10"/>
          </p:nvPr>
        </p:nvSpPr>
        <p:spPr/>
        <p:txBody>
          <a:bodyPr/>
          <a:lstStyle/>
          <a:p>
            <a:fld id="{2905134D-5728-465C-A2C6-4FA45C65ED91}" type="datetimeFigureOut">
              <a:rPr lang="en-US" smtClean="0"/>
              <a:t>4/24/26</a:t>
            </a:fld>
            <a:endParaRPr lang="en-US"/>
          </a:p>
        </p:txBody>
      </p:sp>
      <p:sp>
        <p:nvSpPr>
          <p:cNvPr id="8" name="Footer Placeholder 7">
            <a:extLst>
              <a:ext uri="{FF2B5EF4-FFF2-40B4-BE49-F238E27FC236}">
                <a16:creationId xmlns:a16="http://schemas.microsoft.com/office/drawing/2014/main" id="{88DAC883-C288-4251-B6D5-F7A41E8250B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A304A9E-094B-4F67-B0F0-601480BB55A5}"/>
              </a:ext>
            </a:extLst>
          </p:cNvPr>
          <p:cNvSpPr>
            <a:spLocks noGrp="1"/>
          </p:cNvSpPr>
          <p:nvPr>
            <p:ph type="sldNum" sz="quarter" idx="12"/>
          </p:nvPr>
        </p:nvSpPr>
        <p:spPr/>
        <p:txBody>
          <a:bodyPr/>
          <a:lstStyle/>
          <a:p>
            <a:fld id="{47B82C50-5F30-42E9-B41A-1E3E5C33148E}" type="slidenum">
              <a:rPr lang="en-US" smtClean="0"/>
              <a:t>‹#›</a:t>
            </a:fld>
            <a:endParaRPr lang="en-US"/>
          </a:p>
        </p:txBody>
      </p:sp>
    </p:spTree>
    <p:extLst>
      <p:ext uri="{BB962C8B-B14F-4D97-AF65-F5344CB8AC3E}">
        <p14:creationId xmlns:p14="http://schemas.microsoft.com/office/powerpoint/2010/main" val="23931274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94714A-5206-478F-B8EE-9BA2FCC9A7B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6DC1EF9-CEB7-4CDD-8852-C3E69D2379A0}"/>
              </a:ext>
            </a:extLst>
          </p:cNvPr>
          <p:cNvSpPr>
            <a:spLocks noGrp="1"/>
          </p:cNvSpPr>
          <p:nvPr>
            <p:ph type="dt" sz="half" idx="10"/>
          </p:nvPr>
        </p:nvSpPr>
        <p:spPr/>
        <p:txBody>
          <a:bodyPr/>
          <a:lstStyle/>
          <a:p>
            <a:fld id="{2905134D-5728-465C-A2C6-4FA45C65ED91}" type="datetimeFigureOut">
              <a:rPr lang="en-US" smtClean="0"/>
              <a:t>4/24/26</a:t>
            </a:fld>
            <a:endParaRPr lang="en-US"/>
          </a:p>
        </p:txBody>
      </p:sp>
      <p:sp>
        <p:nvSpPr>
          <p:cNvPr id="4" name="Footer Placeholder 3">
            <a:extLst>
              <a:ext uri="{FF2B5EF4-FFF2-40B4-BE49-F238E27FC236}">
                <a16:creationId xmlns:a16="http://schemas.microsoft.com/office/drawing/2014/main" id="{42B48149-A172-4693-B7A6-0CE6CBA1818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1CF0F70-C721-4B27-BB1B-B0AFF75C2699}"/>
              </a:ext>
            </a:extLst>
          </p:cNvPr>
          <p:cNvSpPr>
            <a:spLocks noGrp="1"/>
          </p:cNvSpPr>
          <p:nvPr>
            <p:ph type="sldNum" sz="quarter" idx="12"/>
          </p:nvPr>
        </p:nvSpPr>
        <p:spPr/>
        <p:txBody>
          <a:bodyPr/>
          <a:lstStyle/>
          <a:p>
            <a:fld id="{47B82C50-5F30-42E9-B41A-1E3E5C33148E}" type="slidenum">
              <a:rPr lang="en-US" smtClean="0"/>
              <a:t>‹#›</a:t>
            </a:fld>
            <a:endParaRPr lang="en-US"/>
          </a:p>
        </p:txBody>
      </p:sp>
    </p:spTree>
    <p:extLst>
      <p:ext uri="{BB962C8B-B14F-4D97-AF65-F5344CB8AC3E}">
        <p14:creationId xmlns:p14="http://schemas.microsoft.com/office/powerpoint/2010/main" val="40470813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0D764B3-C31B-4790-B305-3D79EF8EFBC8}"/>
              </a:ext>
            </a:extLst>
          </p:cNvPr>
          <p:cNvSpPr>
            <a:spLocks noGrp="1"/>
          </p:cNvSpPr>
          <p:nvPr>
            <p:ph type="dt" sz="half" idx="10"/>
          </p:nvPr>
        </p:nvSpPr>
        <p:spPr/>
        <p:txBody>
          <a:bodyPr/>
          <a:lstStyle/>
          <a:p>
            <a:fld id="{2905134D-5728-465C-A2C6-4FA45C65ED91}" type="datetimeFigureOut">
              <a:rPr lang="en-US" smtClean="0"/>
              <a:t>4/24/26</a:t>
            </a:fld>
            <a:endParaRPr lang="en-US"/>
          </a:p>
        </p:txBody>
      </p:sp>
      <p:sp>
        <p:nvSpPr>
          <p:cNvPr id="3" name="Footer Placeholder 2">
            <a:extLst>
              <a:ext uri="{FF2B5EF4-FFF2-40B4-BE49-F238E27FC236}">
                <a16:creationId xmlns:a16="http://schemas.microsoft.com/office/drawing/2014/main" id="{914895E4-E6A8-4D2B-9544-FC16B3C4ADD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894B761-B82E-4946-A3BE-106CBA82C498}"/>
              </a:ext>
            </a:extLst>
          </p:cNvPr>
          <p:cNvSpPr>
            <a:spLocks noGrp="1"/>
          </p:cNvSpPr>
          <p:nvPr>
            <p:ph type="sldNum" sz="quarter" idx="12"/>
          </p:nvPr>
        </p:nvSpPr>
        <p:spPr/>
        <p:txBody>
          <a:bodyPr/>
          <a:lstStyle/>
          <a:p>
            <a:fld id="{47B82C50-5F30-42E9-B41A-1E3E5C33148E}" type="slidenum">
              <a:rPr lang="en-US" smtClean="0"/>
              <a:t>‹#›</a:t>
            </a:fld>
            <a:endParaRPr lang="en-US"/>
          </a:p>
        </p:txBody>
      </p:sp>
    </p:spTree>
    <p:extLst>
      <p:ext uri="{BB962C8B-B14F-4D97-AF65-F5344CB8AC3E}">
        <p14:creationId xmlns:p14="http://schemas.microsoft.com/office/powerpoint/2010/main" val="15833653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916FF65-E16B-BA4F-9591-6B4416106527}"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4961449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A24AC2-E014-4768-909A-2F057671EB9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7E3CA96-2A63-4F75-9127-88F3FC028A0F}"/>
              </a:ext>
            </a:extLst>
          </p:cNvPr>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BFF0B3D-DDA8-4A96-8CD3-D91DEC81BA23}"/>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4328614-A163-4E94-BE66-E1C4173E86E3}"/>
              </a:ext>
            </a:extLst>
          </p:cNvPr>
          <p:cNvSpPr>
            <a:spLocks noGrp="1"/>
          </p:cNvSpPr>
          <p:nvPr>
            <p:ph type="dt" sz="half" idx="10"/>
          </p:nvPr>
        </p:nvSpPr>
        <p:spPr/>
        <p:txBody>
          <a:bodyPr/>
          <a:lstStyle/>
          <a:p>
            <a:fld id="{2905134D-5728-465C-A2C6-4FA45C65ED91}" type="datetimeFigureOut">
              <a:rPr lang="en-US" smtClean="0"/>
              <a:t>4/24/26</a:t>
            </a:fld>
            <a:endParaRPr lang="en-US"/>
          </a:p>
        </p:txBody>
      </p:sp>
      <p:sp>
        <p:nvSpPr>
          <p:cNvPr id="6" name="Footer Placeholder 5">
            <a:extLst>
              <a:ext uri="{FF2B5EF4-FFF2-40B4-BE49-F238E27FC236}">
                <a16:creationId xmlns:a16="http://schemas.microsoft.com/office/drawing/2014/main" id="{BFBFE299-FC77-4E41-83E7-29BF02C3554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AECB91D-3FFE-4020-BA4A-1DE9E74CE747}"/>
              </a:ext>
            </a:extLst>
          </p:cNvPr>
          <p:cNvSpPr>
            <a:spLocks noGrp="1"/>
          </p:cNvSpPr>
          <p:nvPr>
            <p:ph type="sldNum" sz="quarter" idx="12"/>
          </p:nvPr>
        </p:nvSpPr>
        <p:spPr/>
        <p:txBody>
          <a:bodyPr/>
          <a:lstStyle/>
          <a:p>
            <a:fld id="{47B82C50-5F30-42E9-B41A-1E3E5C33148E}" type="slidenum">
              <a:rPr lang="en-US" smtClean="0"/>
              <a:t>‹#›</a:t>
            </a:fld>
            <a:endParaRPr lang="en-US"/>
          </a:p>
        </p:txBody>
      </p:sp>
    </p:spTree>
    <p:extLst>
      <p:ext uri="{BB962C8B-B14F-4D97-AF65-F5344CB8AC3E}">
        <p14:creationId xmlns:p14="http://schemas.microsoft.com/office/powerpoint/2010/main" val="29478218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A076EB-4D73-459B-A324-9A145C474DF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D0487FD-3174-4A35-8FFF-5BC797B8B387}"/>
              </a:ext>
            </a:extLst>
          </p:cNvPr>
          <p:cNvSpPr>
            <a:spLocks noGrp="1"/>
          </p:cNvSpPr>
          <p:nvPr>
            <p:ph type="pic" idx="1"/>
          </p:nvPr>
        </p:nvSpPr>
        <p:spPr>
          <a:xfrm>
            <a:off x="5183188" y="987426"/>
            <a:ext cx="6172200" cy="4873625"/>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a:p>
        </p:txBody>
      </p:sp>
      <p:sp>
        <p:nvSpPr>
          <p:cNvPr id="4" name="Text Placeholder 3">
            <a:extLst>
              <a:ext uri="{FF2B5EF4-FFF2-40B4-BE49-F238E27FC236}">
                <a16:creationId xmlns:a16="http://schemas.microsoft.com/office/drawing/2014/main" id="{B9073C10-B120-4834-B4D4-B3186C1D6CB3}"/>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55F293A-D48C-4A3B-BA3D-927CCF15308C}"/>
              </a:ext>
            </a:extLst>
          </p:cNvPr>
          <p:cNvSpPr>
            <a:spLocks noGrp="1"/>
          </p:cNvSpPr>
          <p:nvPr>
            <p:ph type="dt" sz="half" idx="10"/>
          </p:nvPr>
        </p:nvSpPr>
        <p:spPr/>
        <p:txBody>
          <a:bodyPr/>
          <a:lstStyle/>
          <a:p>
            <a:fld id="{2905134D-5728-465C-A2C6-4FA45C65ED91}" type="datetimeFigureOut">
              <a:rPr lang="en-US" smtClean="0"/>
              <a:t>4/24/26</a:t>
            </a:fld>
            <a:endParaRPr lang="en-US"/>
          </a:p>
        </p:txBody>
      </p:sp>
      <p:sp>
        <p:nvSpPr>
          <p:cNvPr id="6" name="Footer Placeholder 5">
            <a:extLst>
              <a:ext uri="{FF2B5EF4-FFF2-40B4-BE49-F238E27FC236}">
                <a16:creationId xmlns:a16="http://schemas.microsoft.com/office/drawing/2014/main" id="{A8C8FB85-3466-412F-AC3D-75F088F45AC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020A27-0F9D-4E50-8DC7-0536953215F7}"/>
              </a:ext>
            </a:extLst>
          </p:cNvPr>
          <p:cNvSpPr>
            <a:spLocks noGrp="1"/>
          </p:cNvSpPr>
          <p:nvPr>
            <p:ph type="sldNum" sz="quarter" idx="12"/>
          </p:nvPr>
        </p:nvSpPr>
        <p:spPr/>
        <p:txBody>
          <a:bodyPr/>
          <a:lstStyle/>
          <a:p>
            <a:fld id="{47B82C50-5F30-42E9-B41A-1E3E5C33148E}" type="slidenum">
              <a:rPr lang="en-US" smtClean="0"/>
              <a:t>‹#›</a:t>
            </a:fld>
            <a:endParaRPr lang="en-US"/>
          </a:p>
        </p:txBody>
      </p:sp>
    </p:spTree>
    <p:extLst>
      <p:ext uri="{BB962C8B-B14F-4D97-AF65-F5344CB8AC3E}">
        <p14:creationId xmlns:p14="http://schemas.microsoft.com/office/powerpoint/2010/main" val="21032180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C6E965-A10E-4A38-BE8C-C8D89698A88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D14452E-24A6-49CA-BD36-014CCF067F1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B2AB7BF-FB1E-475D-8989-0F0D8962453D}"/>
              </a:ext>
            </a:extLst>
          </p:cNvPr>
          <p:cNvSpPr>
            <a:spLocks noGrp="1"/>
          </p:cNvSpPr>
          <p:nvPr>
            <p:ph type="dt" sz="half" idx="10"/>
          </p:nvPr>
        </p:nvSpPr>
        <p:spPr/>
        <p:txBody>
          <a:bodyPr/>
          <a:lstStyle/>
          <a:p>
            <a:fld id="{2905134D-5728-465C-A2C6-4FA45C65ED91}" type="datetimeFigureOut">
              <a:rPr lang="en-US" smtClean="0"/>
              <a:t>4/24/26</a:t>
            </a:fld>
            <a:endParaRPr lang="en-US"/>
          </a:p>
        </p:txBody>
      </p:sp>
      <p:sp>
        <p:nvSpPr>
          <p:cNvPr id="5" name="Footer Placeholder 4">
            <a:extLst>
              <a:ext uri="{FF2B5EF4-FFF2-40B4-BE49-F238E27FC236}">
                <a16:creationId xmlns:a16="http://schemas.microsoft.com/office/drawing/2014/main" id="{8597E676-214E-4437-B5C6-A9D3AB7D776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2261866-15DD-4CEE-B058-AE395DC5500B}"/>
              </a:ext>
            </a:extLst>
          </p:cNvPr>
          <p:cNvSpPr>
            <a:spLocks noGrp="1"/>
          </p:cNvSpPr>
          <p:nvPr>
            <p:ph type="sldNum" sz="quarter" idx="12"/>
          </p:nvPr>
        </p:nvSpPr>
        <p:spPr/>
        <p:txBody>
          <a:bodyPr/>
          <a:lstStyle/>
          <a:p>
            <a:fld id="{47B82C50-5F30-42E9-B41A-1E3E5C33148E}" type="slidenum">
              <a:rPr lang="en-US" smtClean="0"/>
              <a:t>‹#›</a:t>
            </a:fld>
            <a:endParaRPr lang="en-US"/>
          </a:p>
        </p:txBody>
      </p:sp>
    </p:spTree>
    <p:extLst>
      <p:ext uri="{BB962C8B-B14F-4D97-AF65-F5344CB8AC3E}">
        <p14:creationId xmlns:p14="http://schemas.microsoft.com/office/powerpoint/2010/main" val="41823791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4F36359-DA29-4D43-8839-BF2D770E41DE}"/>
              </a:ext>
            </a:extLst>
          </p:cNvPr>
          <p:cNvSpPr>
            <a:spLocks noGrp="1"/>
          </p:cNvSpPr>
          <p:nvPr>
            <p:ph type="title" orient="vert"/>
          </p:nvPr>
        </p:nvSpPr>
        <p:spPr>
          <a:xfrm>
            <a:off x="8724901" y="365125"/>
            <a:ext cx="2628900" cy="581183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7B849CC-DA11-42AE-8A68-A745E97B0E93}"/>
              </a:ext>
            </a:extLst>
          </p:cNvPr>
          <p:cNvSpPr>
            <a:spLocks noGrp="1"/>
          </p:cNvSpPr>
          <p:nvPr>
            <p:ph type="body" orient="vert" idx="1"/>
          </p:nvPr>
        </p:nvSpPr>
        <p:spPr>
          <a:xfrm>
            <a:off x="838201" y="365125"/>
            <a:ext cx="7734300" cy="581183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CBF09D7-BB3D-4F49-B688-4F3BD5E1D040}"/>
              </a:ext>
            </a:extLst>
          </p:cNvPr>
          <p:cNvSpPr>
            <a:spLocks noGrp="1"/>
          </p:cNvSpPr>
          <p:nvPr>
            <p:ph type="dt" sz="half" idx="10"/>
          </p:nvPr>
        </p:nvSpPr>
        <p:spPr/>
        <p:txBody>
          <a:bodyPr/>
          <a:lstStyle/>
          <a:p>
            <a:fld id="{2905134D-5728-465C-A2C6-4FA45C65ED91}" type="datetimeFigureOut">
              <a:rPr lang="en-US" smtClean="0"/>
              <a:t>4/24/26</a:t>
            </a:fld>
            <a:endParaRPr lang="en-US"/>
          </a:p>
        </p:txBody>
      </p:sp>
      <p:sp>
        <p:nvSpPr>
          <p:cNvPr id="5" name="Footer Placeholder 4">
            <a:extLst>
              <a:ext uri="{FF2B5EF4-FFF2-40B4-BE49-F238E27FC236}">
                <a16:creationId xmlns:a16="http://schemas.microsoft.com/office/drawing/2014/main" id="{28F08F2A-DE29-4614-B363-E38B9781C4D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DD8C9CA-15D1-4CFA-AF3D-62CAA8990362}"/>
              </a:ext>
            </a:extLst>
          </p:cNvPr>
          <p:cNvSpPr>
            <a:spLocks noGrp="1"/>
          </p:cNvSpPr>
          <p:nvPr>
            <p:ph type="sldNum" sz="quarter" idx="12"/>
          </p:nvPr>
        </p:nvSpPr>
        <p:spPr/>
        <p:txBody>
          <a:bodyPr/>
          <a:lstStyle/>
          <a:p>
            <a:fld id="{47B82C50-5F30-42E9-B41A-1E3E5C33148E}" type="slidenum">
              <a:rPr lang="en-US" smtClean="0"/>
              <a:t>‹#›</a:t>
            </a:fld>
            <a:endParaRPr lang="en-US"/>
          </a:p>
        </p:txBody>
      </p:sp>
    </p:spTree>
    <p:extLst>
      <p:ext uri="{BB962C8B-B14F-4D97-AF65-F5344CB8AC3E}">
        <p14:creationId xmlns:p14="http://schemas.microsoft.com/office/powerpoint/2010/main" val="22967223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cover_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1767840" y="1600209"/>
            <a:ext cx="8644128" cy="1537855"/>
          </a:xfrm>
        </p:spPr>
        <p:txBody>
          <a:bodyPr tIns="0" bIns="0" anchor="b" anchorCtr="0"/>
          <a:lstStyle>
            <a:lvl1pPr>
              <a:defRPr sz="3600">
                <a:solidFill>
                  <a:schemeClr val="bg1"/>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CF417E6A-C399-4D34-AA35-6617A97C73B1}"/>
              </a:ext>
            </a:extLst>
          </p:cNvPr>
          <p:cNvSpPr>
            <a:spLocks noGrp="1"/>
          </p:cNvSpPr>
          <p:nvPr>
            <p:ph type="body" sz="quarter" idx="13"/>
          </p:nvPr>
        </p:nvSpPr>
        <p:spPr>
          <a:xfrm>
            <a:off x="1773767" y="3744735"/>
            <a:ext cx="8644128" cy="1658543"/>
          </a:xfrm>
        </p:spPr>
        <p:txBody>
          <a:bodyPr tIns="228600" anchor="t" anchorCtr="0"/>
          <a:lstStyle>
            <a:lvl1pPr>
              <a:lnSpc>
                <a:spcPts val="2000"/>
              </a:lnSpc>
              <a:spcAft>
                <a:spcPts val="0"/>
              </a:spcAft>
              <a:defRPr sz="1400" b="0">
                <a:solidFill>
                  <a:schemeClr val="bg1"/>
                </a:solidFill>
              </a:defRPr>
            </a:lvl1pPr>
            <a:lvl2pPr marL="7938" indent="0">
              <a:lnSpc>
                <a:spcPts val="2000"/>
              </a:lnSpc>
              <a:spcAft>
                <a:spcPts val="0"/>
              </a:spcAft>
              <a:buFontTx/>
              <a:buNone/>
              <a:tabLst/>
              <a:defRPr sz="1400" b="0">
                <a:solidFill>
                  <a:schemeClr val="bg1"/>
                </a:solidFill>
              </a:defRPr>
            </a:lvl2pPr>
            <a:lvl3pPr marL="0" indent="0">
              <a:lnSpc>
                <a:spcPts val="2000"/>
              </a:lnSpc>
              <a:spcAft>
                <a:spcPts val="0"/>
              </a:spcAft>
              <a:buNone/>
              <a:defRPr sz="1400" b="0">
                <a:solidFill>
                  <a:schemeClr val="bg1"/>
                </a:solidFill>
              </a:defRPr>
            </a:lvl3pPr>
            <a:lvl4pPr marL="0" indent="0">
              <a:spcAft>
                <a:spcPts val="0"/>
              </a:spcAft>
              <a:buNone/>
              <a:defRPr sz="1400" b="0">
                <a:solidFill>
                  <a:schemeClr val="bg1"/>
                </a:solidFill>
              </a:defRPr>
            </a:lvl4pPr>
            <a:lvl5pPr marL="0" indent="0">
              <a:spcAft>
                <a:spcPts val="0"/>
              </a:spcAft>
              <a:buNone/>
              <a:defRPr sz="1400" b="0">
                <a:solidFill>
                  <a:schemeClr val="bg1"/>
                </a:solidFill>
              </a:defRPr>
            </a:lvl5pPr>
            <a:lvl6pPr marL="0" indent="0">
              <a:spcAft>
                <a:spcPts val="0"/>
              </a:spcAft>
              <a:buNone/>
              <a:defRPr sz="1400" b="0">
                <a:solidFill>
                  <a:schemeClr val="bg1"/>
                </a:solidFill>
              </a:defRPr>
            </a:lvl6pPr>
            <a:lvl7pPr marL="0" indent="0">
              <a:spcAft>
                <a:spcPts val="0"/>
              </a:spcAft>
              <a:buNone/>
              <a:defRPr sz="1400" b="0">
                <a:solidFill>
                  <a:schemeClr val="bg1"/>
                </a:solidFill>
              </a:defRPr>
            </a:lvl7pPr>
            <a:lvl8pPr marL="0" indent="0">
              <a:lnSpc>
                <a:spcPts val="2000"/>
              </a:lnSpc>
              <a:spcAft>
                <a:spcPts val="0"/>
              </a:spcAft>
              <a:buNone/>
              <a:defRPr sz="1400" b="0">
                <a:solidFill>
                  <a:schemeClr val="bg1"/>
                </a:solidFill>
              </a:defRPr>
            </a:lvl8pPr>
            <a:lvl9pPr marL="0" indent="0">
              <a:lnSpc>
                <a:spcPts val="2000"/>
              </a:lnSpc>
              <a:spcAft>
                <a:spcPts val="0"/>
              </a:spcAft>
              <a:buNone/>
              <a:defRPr sz="1400" b="0">
                <a:solidFill>
                  <a:schemeClr val="bg1"/>
                </a:solidFill>
              </a:defRPr>
            </a:lvl9pPr>
          </a:lstStyle>
          <a:p>
            <a:pPr lvl="0"/>
            <a:r>
              <a:rPr lang="en-US"/>
              <a:t>Click to edit Master text styles</a:t>
            </a:r>
          </a:p>
        </p:txBody>
      </p:sp>
      <p:sp>
        <p:nvSpPr>
          <p:cNvPr id="6" name="Date Placeholder 5">
            <a:extLst>
              <a:ext uri="{FF2B5EF4-FFF2-40B4-BE49-F238E27FC236}">
                <a16:creationId xmlns:a16="http://schemas.microsoft.com/office/drawing/2014/main" id="{5CC17B62-8F17-4111-B083-3AC63A3E0257}"/>
              </a:ext>
            </a:extLst>
          </p:cNvPr>
          <p:cNvSpPr>
            <a:spLocks noGrp="1"/>
          </p:cNvSpPr>
          <p:nvPr>
            <p:ph type="dt" sz="half" idx="10"/>
          </p:nvPr>
        </p:nvSpPr>
        <p:spPr>
          <a:xfrm>
            <a:off x="1767840" y="3138055"/>
            <a:ext cx="8644128" cy="606676"/>
          </a:xfrm>
        </p:spPr>
        <p:txBody>
          <a:bodyPr bIns="0"/>
          <a:lstStyle>
            <a:lvl1pPr algn="l">
              <a:defRPr sz="1200">
                <a:solidFill>
                  <a:schemeClr val="bg1"/>
                </a:solidFill>
                <a:latin typeface="+mn-lt"/>
              </a:defRPr>
            </a:lvl1pPr>
            <a:lvl2pPr algn="l">
              <a:defRPr sz="1200"/>
            </a:lvl2pPr>
            <a:lvl3pPr algn="l">
              <a:defRPr sz="1200"/>
            </a:lvl3pPr>
            <a:lvl4pPr algn="l">
              <a:defRPr sz="1200"/>
            </a:lvl4pPr>
            <a:lvl5pPr algn="l">
              <a:defRPr sz="1200"/>
            </a:lvl5pPr>
            <a:lvl6pPr algn="l">
              <a:defRPr sz="1200"/>
            </a:lvl6pPr>
            <a:lvl7pPr algn="l">
              <a:defRPr sz="1200"/>
            </a:lvl7pPr>
            <a:lvl8pPr algn="l">
              <a:defRPr sz="1200"/>
            </a:lvl8pPr>
            <a:lvl9pPr algn="l">
              <a:defRPr sz="1200"/>
            </a:lvl9pPr>
          </a:lstStyle>
          <a:p>
            <a:r>
              <a:rPr lang="en-US" dirty="0" err="1"/>
              <a:t>Date</a:t>
            </a:r>
            <a:endParaRPr lang="en-US" dirty="0"/>
          </a:p>
        </p:txBody>
      </p:sp>
    </p:spTree>
    <p:extLst>
      <p:ext uri="{BB962C8B-B14F-4D97-AF65-F5344CB8AC3E}">
        <p14:creationId xmlns:p14="http://schemas.microsoft.com/office/powerpoint/2010/main" val="16555195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userDrawn="1">
  <p:cSld name="LBU Clear w reference">
    <p:spTree>
      <p:nvGrpSpPr>
        <p:cNvPr id="1" name=""/>
        <p:cNvGrpSpPr/>
        <p:nvPr/>
      </p:nvGrpSpPr>
      <p:grpSpPr>
        <a:xfrm>
          <a:off x="0" y="0"/>
          <a:ext cx="0" cy="0"/>
          <a:chOff x="0" y="0"/>
          <a:chExt cx="0" cy="0"/>
        </a:xfrm>
      </p:grpSpPr>
      <p:sp>
        <p:nvSpPr>
          <p:cNvPr id="42" name="TextBox 41">
            <a:extLst>
              <a:ext uri="{FF2B5EF4-FFF2-40B4-BE49-F238E27FC236}">
                <a16:creationId xmlns:a16="http://schemas.microsoft.com/office/drawing/2014/main" id="{F4CB7ED1-6C81-4DFC-84A1-473C4827680B}"/>
              </a:ext>
            </a:extLst>
          </p:cNvPr>
          <p:cNvSpPr txBox="1"/>
          <p:nvPr userDrawn="1"/>
        </p:nvSpPr>
        <p:spPr>
          <a:xfrm>
            <a:off x="0" y="6661793"/>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en-US" sz="675" b="0" i="0" u="none" strike="noStrike" kern="1200" cap="none" spc="-31" normalizeH="0" baseline="0" noProof="0" dirty="0">
                <a:ln>
                  <a:noFill/>
                </a:ln>
                <a:solidFill>
                  <a:srgbClr val="7F7F7F"/>
                </a:solidFill>
                <a:effectLst/>
                <a:uLnTx/>
                <a:uFillTx/>
                <a:latin typeface="Arial" panose="020B0604020202020204" pitchFamily="34" charset="0"/>
                <a:ea typeface="+mn-ea"/>
                <a:cs typeface="Segoe UI" panose="020B0502040204020203" pitchFamily="34" charset="0"/>
              </a:rPr>
              <a:t>These materials are provided to you solely as an educational resource for your personal use. Any commercial use or distribution of these materials or any portion thereof is strictly prohibited.</a:t>
            </a:r>
          </a:p>
        </p:txBody>
      </p:sp>
      <p:sp>
        <p:nvSpPr>
          <p:cNvPr id="2" name="Title 1">
            <a:extLst>
              <a:ext uri="{FF2B5EF4-FFF2-40B4-BE49-F238E27FC236}">
                <a16:creationId xmlns:a16="http://schemas.microsoft.com/office/drawing/2014/main" id="{31C37A38-DE71-31AE-B109-C8F7103460FA}"/>
              </a:ext>
            </a:extLst>
          </p:cNvPr>
          <p:cNvSpPr>
            <a:spLocks noGrp="1"/>
          </p:cNvSpPr>
          <p:nvPr>
            <p:ph type="title"/>
          </p:nvPr>
        </p:nvSpPr>
        <p:spPr>
          <a:xfrm>
            <a:off x="719669" y="132516"/>
            <a:ext cx="10752667" cy="828675"/>
          </a:xfrm>
          <a:prstGeom prst="rect">
            <a:avLst/>
          </a:prstGeom>
        </p:spPr>
        <p:txBody>
          <a:bodyPr lIns="0" tIns="0" rIns="0" bIns="0" anchor="ctr" anchorCtr="0">
            <a:noAutofit/>
          </a:bodyPr>
          <a:lstStyle>
            <a:lvl1pPr>
              <a:lnSpc>
                <a:spcPct val="90000"/>
              </a:lnSpc>
              <a:defRPr sz="3200" b="1" i="0">
                <a:solidFill>
                  <a:schemeClr val="tx2"/>
                </a:solidFill>
                <a:latin typeface="+mj-lt"/>
              </a:defRPr>
            </a:lvl1pPr>
          </a:lstStyle>
          <a:p>
            <a:r>
              <a:rPr lang="en-US" dirty="0"/>
              <a:t>Click to edit Master title style</a:t>
            </a:r>
          </a:p>
        </p:txBody>
      </p:sp>
      <p:sp>
        <p:nvSpPr>
          <p:cNvPr id="4" name="Text Placeholder 3">
            <a:extLst>
              <a:ext uri="{FF2B5EF4-FFF2-40B4-BE49-F238E27FC236}">
                <a16:creationId xmlns:a16="http://schemas.microsoft.com/office/drawing/2014/main" id="{488681A5-1821-32B5-6D1C-71F22BD35F4E}"/>
              </a:ext>
            </a:extLst>
          </p:cNvPr>
          <p:cNvSpPr>
            <a:spLocks noGrp="1"/>
          </p:cNvSpPr>
          <p:nvPr>
            <p:ph type="body" sz="quarter" idx="14" hasCustomPrompt="1"/>
          </p:nvPr>
        </p:nvSpPr>
        <p:spPr>
          <a:xfrm>
            <a:off x="2" y="6416190"/>
            <a:ext cx="12191999" cy="262943"/>
          </a:xfrm>
          <a:noFill/>
        </p:spPr>
        <p:txBody>
          <a:bodyPr wrap="square" lIns="180000" tIns="36000" rIns="180000" bIns="72000" anchor="b" anchorCtr="0">
            <a:noAutofit/>
          </a:bodyPr>
          <a:lstStyle>
            <a:lvl1pPr>
              <a:lnSpc>
                <a:spcPct val="100000"/>
              </a:lnSpc>
              <a:spcAft>
                <a:spcPts val="0"/>
              </a:spcAft>
              <a:defRPr sz="1000" b="0" i="0"/>
            </a:lvl1pPr>
          </a:lstStyle>
          <a:p>
            <a:pPr lvl="0"/>
            <a:r>
              <a:rPr lang="en-US"/>
              <a:t>Reference</a:t>
            </a:r>
          </a:p>
        </p:txBody>
      </p:sp>
    </p:spTree>
    <p:extLst>
      <p:ext uri="{BB962C8B-B14F-4D97-AF65-F5344CB8AC3E}">
        <p14:creationId xmlns:p14="http://schemas.microsoft.com/office/powerpoint/2010/main" val="1019526103"/>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a:defRPr sz="2400"/>
            </a:lvl1pPr>
            <a:lvl2pPr>
              <a:defRPr sz="2000"/>
            </a:lvl2pPr>
            <a:lvl3pPr marL="1022249" indent="-215879">
              <a:buFont typeface="Arial" pitchFamily="34" charset="0"/>
              <a:buChar char="•"/>
              <a:defRPr lang="en-US" sz="2000" b="0" dirty="0">
                <a:solidFill>
                  <a:schemeClr val="bg2"/>
                </a:solidFill>
                <a:latin typeface="+mn-lt"/>
              </a:defRPr>
            </a:lvl3pPr>
            <a:lvl4pPr marL="1142886" indent="-228578">
              <a:defRPr lang="en-US" sz="2000" b="1" dirty="0" smtClean="0">
                <a:solidFill>
                  <a:schemeClr val="bg2"/>
                </a:solidFill>
                <a:latin typeface="+mn-lt"/>
              </a:defRPr>
            </a:lvl4pPr>
            <a:lvl5pPr marL="1142886" indent="-228578">
              <a:defRPr lang="en-US" sz="2000" b="1" dirty="0">
                <a:solidFill>
                  <a:schemeClr val="bg2"/>
                </a:solidFill>
                <a:latin typeface="+mn-lt"/>
              </a:defRPr>
            </a:lvl5pPr>
          </a:lstStyle>
          <a:p>
            <a:pPr lvl="0"/>
            <a:r>
              <a:rPr lang="en-US"/>
              <a:t>Edit Master text styles</a:t>
            </a:r>
          </a:p>
          <a:p>
            <a:pPr lvl="1"/>
            <a:r>
              <a:rPr lang="en-US"/>
              <a:t>Second level</a:t>
            </a:r>
          </a:p>
          <a:p>
            <a:pPr lvl="2"/>
            <a:r>
              <a:rPr lang="en-US"/>
              <a:t>Third level</a:t>
            </a:r>
          </a:p>
        </p:txBody>
      </p:sp>
      <p:sp>
        <p:nvSpPr>
          <p:cNvPr id="11" name="Text Placeholder 10">
            <a:extLst>
              <a:ext uri="{FF2B5EF4-FFF2-40B4-BE49-F238E27FC236}">
                <a16:creationId xmlns:a16="http://schemas.microsoft.com/office/drawing/2014/main" id="{7F5D96E5-FCCC-2C48-994A-2D5DAD4F1C03}"/>
              </a:ext>
            </a:extLst>
          </p:cNvPr>
          <p:cNvSpPr>
            <a:spLocks noGrp="1"/>
          </p:cNvSpPr>
          <p:nvPr>
            <p:ph type="body" sz="quarter" idx="10" hasCustomPrompt="1"/>
          </p:nvPr>
        </p:nvSpPr>
        <p:spPr>
          <a:xfrm>
            <a:off x="154168" y="6332630"/>
            <a:ext cx="1664861" cy="199743"/>
          </a:xfrm>
        </p:spPr>
        <p:txBody>
          <a:bodyPr tIns="0" bIns="0"/>
          <a:lstStyle>
            <a:lvl1pPr marL="0" indent="0" algn="r">
              <a:buFontTx/>
              <a:buNone/>
              <a:defRPr sz="1051" b="0">
                <a:solidFill>
                  <a:schemeClr val="accent3"/>
                </a:solidFill>
              </a:defRPr>
            </a:lvl1pPr>
          </a:lstStyle>
          <a:p>
            <a:pPr lvl="0"/>
            <a:r>
              <a:rPr lang="en-US" dirty="0"/>
              <a:t>August 11, 2021</a:t>
            </a:r>
          </a:p>
        </p:txBody>
      </p:sp>
      <p:sp>
        <p:nvSpPr>
          <p:cNvPr id="12" name="Text Placeholder 10">
            <a:extLst>
              <a:ext uri="{FF2B5EF4-FFF2-40B4-BE49-F238E27FC236}">
                <a16:creationId xmlns:a16="http://schemas.microsoft.com/office/drawing/2014/main" id="{D6D0A1BB-FD64-2C4B-90E5-28854EBBDB47}"/>
              </a:ext>
            </a:extLst>
          </p:cNvPr>
          <p:cNvSpPr>
            <a:spLocks noGrp="1"/>
          </p:cNvSpPr>
          <p:nvPr>
            <p:ph type="body" sz="quarter" idx="11" hasCustomPrompt="1"/>
          </p:nvPr>
        </p:nvSpPr>
        <p:spPr>
          <a:xfrm>
            <a:off x="1819028" y="6534898"/>
            <a:ext cx="4075693" cy="202423"/>
          </a:xfrm>
        </p:spPr>
        <p:txBody>
          <a:bodyPr tIns="0" bIns="0"/>
          <a:lstStyle>
            <a:lvl1pPr marL="0" indent="0">
              <a:buFontTx/>
              <a:buNone/>
              <a:defRPr sz="1051" b="0">
                <a:solidFill>
                  <a:schemeClr val="bg2"/>
                </a:solidFill>
              </a:defRPr>
            </a:lvl1pPr>
          </a:lstStyle>
          <a:p>
            <a:pPr lvl="0"/>
            <a:r>
              <a:rPr lang="en-US" dirty="0"/>
              <a:t>Gilles Salles, MD, PhD</a:t>
            </a:r>
          </a:p>
        </p:txBody>
      </p:sp>
      <p:sp>
        <p:nvSpPr>
          <p:cNvPr id="13" name="Text Placeholder 10">
            <a:extLst>
              <a:ext uri="{FF2B5EF4-FFF2-40B4-BE49-F238E27FC236}">
                <a16:creationId xmlns:a16="http://schemas.microsoft.com/office/drawing/2014/main" id="{1375081D-10EE-2546-825E-A5637DAEA748}"/>
              </a:ext>
            </a:extLst>
          </p:cNvPr>
          <p:cNvSpPr>
            <a:spLocks noGrp="1"/>
          </p:cNvSpPr>
          <p:nvPr>
            <p:ph type="body" sz="quarter" idx="12" hasCustomPrompt="1"/>
          </p:nvPr>
        </p:nvSpPr>
        <p:spPr>
          <a:xfrm>
            <a:off x="1819028" y="6329950"/>
            <a:ext cx="4075693" cy="202423"/>
          </a:xfrm>
        </p:spPr>
        <p:txBody>
          <a:bodyPr tIns="0" bIns="0"/>
          <a:lstStyle>
            <a:lvl1pPr marL="0" indent="0">
              <a:buFontTx/>
              <a:buNone/>
              <a:defRPr sz="1200" b="1">
                <a:solidFill>
                  <a:schemeClr val="bg2"/>
                </a:solidFill>
              </a:defRPr>
            </a:lvl1pPr>
          </a:lstStyle>
          <a:p>
            <a:pPr lvl="0"/>
            <a:r>
              <a:rPr lang="en-US" dirty="0"/>
              <a:t>Updates from ASCO, EHA, and ICML</a:t>
            </a:r>
          </a:p>
        </p:txBody>
      </p:sp>
      <p:sp>
        <p:nvSpPr>
          <p:cNvPr id="14" name="Slide Number Placeholder 2">
            <a:extLst>
              <a:ext uri="{FF2B5EF4-FFF2-40B4-BE49-F238E27FC236}">
                <a16:creationId xmlns:a16="http://schemas.microsoft.com/office/drawing/2014/main" id="{BEC9998D-760B-8643-B466-AA1FE3977622}"/>
              </a:ext>
            </a:extLst>
          </p:cNvPr>
          <p:cNvSpPr>
            <a:spLocks noGrp="1"/>
          </p:cNvSpPr>
          <p:nvPr>
            <p:ph type="sldNum" sz="quarter" idx="4"/>
          </p:nvPr>
        </p:nvSpPr>
        <p:spPr>
          <a:xfrm>
            <a:off x="48970" y="66307"/>
            <a:ext cx="706687" cy="290604"/>
          </a:xfrm>
          <a:prstGeom prst="rect">
            <a:avLst/>
          </a:prstGeom>
        </p:spPr>
        <p:txBody>
          <a:bodyPr vert="horz" lIns="91440" tIns="45720" rIns="91440" bIns="45720" rtlCol="0" anchor="ctr"/>
          <a:lstStyle>
            <a:lvl1pPr algn="ctr">
              <a:defRPr sz="1400">
                <a:solidFill>
                  <a:schemeClr val="accent3"/>
                </a:solidFill>
                <a:latin typeface="Calibri"/>
                <a:cs typeface="Calibri"/>
              </a:defRPr>
            </a:lvl1pPr>
          </a:lstStyle>
          <a:p>
            <a:pPr defTabSz="1219140">
              <a:defRPr/>
            </a:pPr>
            <a:fld id="{52DF0245-2CA1-6445-9E71-A40071F6548D}" type="slidenum">
              <a:rPr lang="en-US" smtClean="0">
                <a:solidFill>
                  <a:srgbClr val="A5A5A5"/>
                </a:solidFill>
              </a:rPr>
              <a:pPr defTabSz="1219140">
                <a:defRPr/>
              </a:pPr>
              <a:t>‹#›</a:t>
            </a:fld>
            <a:endParaRPr lang="en-US" dirty="0">
              <a:solidFill>
                <a:srgbClr val="A5A5A5"/>
              </a:solidFill>
            </a:endParaRPr>
          </a:p>
        </p:txBody>
      </p:sp>
      <p:cxnSp>
        <p:nvCxnSpPr>
          <p:cNvPr id="16" name="Straight Connector 15">
            <a:extLst>
              <a:ext uri="{FF2B5EF4-FFF2-40B4-BE49-F238E27FC236}">
                <a16:creationId xmlns:a16="http://schemas.microsoft.com/office/drawing/2014/main" id="{B56D95EE-7F41-CE48-9333-F3B46CDF6244}"/>
              </a:ext>
            </a:extLst>
          </p:cNvPr>
          <p:cNvCxnSpPr>
            <a:cxnSpLocks/>
          </p:cNvCxnSpPr>
          <p:nvPr userDrawn="1"/>
        </p:nvCxnSpPr>
        <p:spPr bwMode="auto">
          <a:xfrm>
            <a:off x="1819907" y="6333680"/>
            <a:ext cx="0" cy="370085"/>
          </a:xfrm>
          <a:prstGeom prst="line">
            <a:avLst/>
          </a:prstGeom>
          <a:ln w="28575">
            <a:headEnd type="none" w="med" len="med"/>
            <a:tailEnd type="none" w="med" len="med"/>
          </a:ln>
          <a:extLst>
            <a:ext uri="{AF507438-7753-43e0-B8FC-AC1667EBCBE1}">
              <a14:hiddenEffects xmlns="" xmlns:a14="http://schemas.microsoft.com/office/drawing/2010/main">
                <a:effectLst>
                  <a:outerShdw dist="35921" dir="2700000" algn="ctr" rotWithShape="0">
                    <a:schemeClr val="bg2"/>
                  </a:outerShdw>
                </a:effectLst>
              </a14:hiddenEffects>
            </a:ext>
          </a:extLst>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728680432"/>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
            <a:ext cx="12192000" cy="1048512"/>
          </a:xfrm>
        </p:spPr>
        <p:txBody>
          <a:bodyPr bIns="0">
            <a:noAutofit/>
          </a:bodyPr>
          <a:lstStyle>
            <a:lvl1pPr>
              <a:defRPr/>
            </a:lvl1pPr>
          </a:lstStyle>
          <a:p>
            <a:r>
              <a:rPr lang="en-US" dirty="0"/>
              <a:t>Click to edit title</a:t>
            </a:r>
          </a:p>
        </p:txBody>
      </p:sp>
      <p:sp>
        <p:nvSpPr>
          <p:cNvPr id="3" name="Content Placeholder 2"/>
          <p:cNvSpPr>
            <a:spLocks noGrp="1"/>
          </p:cNvSpPr>
          <p:nvPr>
            <p:ph idx="1" hasCustomPrompt="1"/>
          </p:nvPr>
        </p:nvSpPr>
        <p:spPr>
          <a:xfrm>
            <a:off x="237068" y="1158240"/>
            <a:ext cx="11717867" cy="4995968"/>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4"/>
          <p:cNvSpPr>
            <a:spLocks noGrp="1"/>
          </p:cNvSpPr>
          <p:nvPr>
            <p:ph type="ftr" sz="quarter" idx="10"/>
          </p:nvPr>
        </p:nvSpPr>
        <p:spPr>
          <a:xfrm>
            <a:off x="0" y="6315209"/>
            <a:ext cx="12192000" cy="287259"/>
          </a:xfrm>
        </p:spPr>
        <p:txBody>
          <a:bodyPr/>
          <a:lstStyle>
            <a:lvl1pPr algn="l">
              <a:defRPr sz="1000"/>
            </a:lvl1pPr>
          </a:lstStyle>
          <a:p>
            <a:pPr defTabSz="914377">
              <a:defRPr/>
            </a:pPr>
            <a:endParaRPr lang="en-US">
              <a:solidFill>
                <a:srgbClr val="000000"/>
              </a:solidFill>
            </a:endParaRPr>
          </a:p>
        </p:txBody>
      </p:sp>
      <p:sp>
        <p:nvSpPr>
          <p:cNvPr id="5" name="Slide Number Placeholder 5"/>
          <p:cNvSpPr>
            <a:spLocks noGrp="1"/>
          </p:cNvSpPr>
          <p:nvPr>
            <p:ph type="sldNum" sz="quarter" idx="11"/>
          </p:nvPr>
        </p:nvSpPr>
        <p:spPr/>
        <p:txBody>
          <a:bodyPr/>
          <a:lstStyle>
            <a:lvl1pPr>
              <a:defRPr/>
            </a:lvl1pPr>
          </a:lstStyle>
          <a:p>
            <a:pPr defTabSz="914377">
              <a:defRPr/>
            </a:pPr>
            <a:fld id="{5C56CD90-8224-413F-A5C5-11C249D26586}" type="slidenum">
              <a:rPr lang="en-US" smtClean="0">
                <a:solidFill>
                  <a:srgbClr val="FFFFFF"/>
                </a:solidFill>
              </a:rPr>
              <a:pPr defTabSz="914377">
                <a:defRPr/>
              </a:pPr>
              <a:t>‹#›</a:t>
            </a:fld>
            <a:endParaRPr lang="en-US">
              <a:solidFill>
                <a:srgbClr val="FFFFFF"/>
              </a:solidFill>
            </a:endParaRPr>
          </a:p>
        </p:txBody>
      </p:sp>
      <p:sp>
        <p:nvSpPr>
          <p:cNvPr id="7" name="TextBox 6">
            <a:extLst>
              <a:ext uri="{FF2B5EF4-FFF2-40B4-BE49-F238E27FC236}">
                <a16:creationId xmlns:a16="http://schemas.microsoft.com/office/drawing/2014/main" id="{49653B58-7B72-4A90-9F1B-DE2718A7CB51}"/>
              </a:ext>
            </a:extLst>
          </p:cNvPr>
          <p:cNvSpPr txBox="1"/>
          <p:nvPr userDrawn="1"/>
        </p:nvSpPr>
        <p:spPr>
          <a:xfrm>
            <a:off x="3" y="6602467"/>
            <a:ext cx="12191999" cy="252492"/>
          </a:xfrm>
          <a:prstGeom prst="rect">
            <a:avLst/>
          </a:prstGeom>
          <a:noFill/>
        </p:spPr>
        <p:txBody>
          <a:bodyPr wrap="square" lIns="0" tIns="0" rIns="0" bIns="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27" b="0" i="0" u="none" strike="noStrike" kern="1200" cap="none" spc="0" normalizeH="0" baseline="0" noProof="0">
                <a:ln>
                  <a:noFill/>
                </a:ln>
                <a:solidFill>
                  <a:srgbClr val="FFFFFF"/>
                </a:solidFill>
                <a:effectLst/>
                <a:uLnTx/>
                <a:uFillTx/>
                <a:latin typeface="Calibri" panose="020F0502020204030204"/>
                <a:ea typeface="+mn-ea"/>
                <a:cs typeface="+mn-cs"/>
              </a:rPr>
              <a:t>Jacobson et al          ASCO 2020          Abstract 8008</a:t>
            </a:r>
          </a:p>
        </p:txBody>
      </p:sp>
    </p:spTree>
    <p:extLst>
      <p:ext uri="{BB962C8B-B14F-4D97-AF65-F5344CB8AC3E}">
        <p14:creationId xmlns:p14="http://schemas.microsoft.com/office/powerpoint/2010/main" val="1891527361"/>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userDrawn="1">
  <p:cSld name="2_layout_1 colum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C570D-3BAE-433E-8DDA-6594E6C21ABD}"/>
              </a:ext>
            </a:extLst>
          </p:cNvPr>
          <p:cNvSpPr>
            <a:spLocks noGrp="1"/>
          </p:cNvSpPr>
          <p:nvPr>
            <p:ph type="title"/>
          </p:nvPr>
        </p:nvSpPr>
        <p:spPr>
          <a:xfrm>
            <a:off x="488951" y="349250"/>
            <a:ext cx="11216216" cy="1022351"/>
          </a:xfrm>
        </p:spPr>
        <p:txBody>
          <a:bodyPr/>
          <a:lstStyle>
            <a:lvl1pPr>
              <a:defRPr>
                <a:solidFill>
                  <a:srgbClr val="007CBA"/>
                </a:solidFill>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C418E43A-2457-42CA-BE83-E9C382D2B993}"/>
              </a:ext>
            </a:extLst>
          </p:cNvPr>
          <p:cNvSpPr>
            <a:spLocks noGrp="1"/>
          </p:cNvSpPr>
          <p:nvPr>
            <p:ph type="dt" sz="half" idx="10"/>
          </p:nvPr>
        </p:nvSpPr>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February 5, 2026</a:t>
            </a:r>
            <a:endParaRPr lang="en-US" dirty="0"/>
          </a:p>
        </p:txBody>
      </p:sp>
      <p:sp>
        <p:nvSpPr>
          <p:cNvPr id="5" name="Slide Number Placeholder 4">
            <a:extLst>
              <a:ext uri="{FF2B5EF4-FFF2-40B4-BE49-F238E27FC236}">
                <a16:creationId xmlns:a16="http://schemas.microsoft.com/office/drawing/2014/main" id="{F0CF157D-7400-499C-96F9-B806E4F48A9A}"/>
              </a:ext>
            </a:extLst>
          </p:cNvPr>
          <p:cNvSpPr>
            <a:spLocks noGrp="1"/>
          </p:cNvSpPr>
          <p:nvPr>
            <p:ph type="sldNum" sz="quarter" idx="12"/>
          </p:nvPr>
        </p:nvSpPr>
        <p:spPr/>
        <p:txBody>
          <a:bodyPr/>
          <a:lstStyle>
            <a:lvl1pPr>
              <a:defRPr>
                <a:solidFill>
                  <a:schemeClr val="bg1"/>
                </a:solidFill>
              </a:defRPr>
            </a:lvl1pPr>
          </a:lstStyle>
          <a:p>
            <a:fld id="{63DCA5C9-2E11-4C67-86EB-AE1DE127DC64}" type="slidenum">
              <a:rPr lang="en-US" smtClean="0"/>
              <a:pPr/>
              <a:t>‹#›</a:t>
            </a:fld>
            <a:endParaRPr lang="en-US" dirty="0"/>
          </a:p>
        </p:txBody>
      </p:sp>
      <p:sp>
        <p:nvSpPr>
          <p:cNvPr id="8" name="Content Placeholder 7">
            <a:extLst>
              <a:ext uri="{FF2B5EF4-FFF2-40B4-BE49-F238E27FC236}">
                <a16:creationId xmlns:a16="http://schemas.microsoft.com/office/drawing/2014/main" id="{89460896-BBD5-4265-B217-9DE153A9B618}"/>
              </a:ext>
            </a:extLst>
          </p:cNvPr>
          <p:cNvSpPr>
            <a:spLocks noGrp="1"/>
          </p:cNvSpPr>
          <p:nvPr>
            <p:ph sz="quarter" idx="14"/>
          </p:nvPr>
        </p:nvSpPr>
        <p:spPr>
          <a:xfrm>
            <a:off x="491067" y="1600201"/>
            <a:ext cx="10351104" cy="453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Footer Placeholder 3">
            <a:extLst>
              <a:ext uri="{FF2B5EF4-FFF2-40B4-BE49-F238E27FC236}">
                <a16:creationId xmlns:a16="http://schemas.microsoft.com/office/drawing/2014/main" id="{868B56D2-9291-8145-B467-CF3AFF5A71C1}"/>
              </a:ext>
            </a:extLst>
          </p:cNvPr>
          <p:cNvSpPr>
            <a:spLocks noGrp="1"/>
          </p:cNvSpPr>
          <p:nvPr>
            <p:ph type="ftr" sz="quarter" idx="11"/>
          </p:nvPr>
        </p:nvSpPr>
        <p:spPr>
          <a:xfrm>
            <a:off x="491069" y="6496842"/>
            <a:ext cx="4815417" cy="208759"/>
          </a:xfrm>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131"/>
            <a:r>
              <a:rPr lang="en-US"/>
              <a:t>CAR T in BCL</a:t>
            </a:r>
            <a:endParaRPr lang="en-US" dirty="0"/>
          </a:p>
        </p:txBody>
      </p:sp>
    </p:spTree>
    <p:extLst>
      <p:ext uri="{BB962C8B-B14F-4D97-AF65-F5344CB8AC3E}">
        <p14:creationId xmlns:p14="http://schemas.microsoft.com/office/powerpoint/2010/main" val="4012896243"/>
      </p:ext>
    </p:extLst>
  </p:cSld>
  <p:clrMapOvr>
    <a:masterClrMapping/>
  </p:clrMapOvr>
  <p:extLst>
    <p:ext uri="{DCECCB84-F9BA-43D5-87BE-67443E8EF086}">
      <p15:sldGuideLst xmlns:p15="http://schemas.microsoft.com/office/powerpoint/2012/main"/>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6BB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C48CFB-3162-47D6-9067-FBE7C5CE61A1}"/>
              </a:ext>
            </a:extLst>
          </p:cNvPr>
          <p:cNvSpPr>
            <a:spLocks noGrp="1"/>
          </p:cNvSpPr>
          <p:nvPr>
            <p:ph type="ctrTitle" hasCustomPrompt="1"/>
          </p:nvPr>
        </p:nvSpPr>
        <p:spPr>
          <a:xfrm>
            <a:off x="736601" y="792091"/>
            <a:ext cx="8507156" cy="2705659"/>
          </a:xfrm>
        </p:spPr>
        <p:txBody>
          <a:bodyPr anchor="t">
            <a:normAutofit/>
          </a:bodyPr>
          <a:lstStyle>
            <a:lvl1pPr algn="l">
              <a:defRPr sz="3600" b="1">
                <a:solidFill>
                  <a:schemeClr val="bg1"/>
                </a:solidFill>
                <a:latin typeface="Arial" panose="020B0604020202020204" pitchFamily="34" charset="0"/>
                <a:cs typeface="Arial" panose="020B0604020202020204" pitchFamily="34" charset="0"/>
              </a:defRPr>
            </a:lvl1pPr>
          </a:lstStyle>
          <a:p>
            <a:r>
              <a:rPr lang="en-US"/>
              <a:t>Poster title</a:t>
            </a:r>
          </a:p>
        </p:txBody>
      </p:sp>
      <p:sp>
        <p:nvSpPr>
          <p:cNvPr id="6" name="Slide Number Placeholder 5">
            <a:extLst>
              <a:ext uri="{FF2B5EF4-FFF2-40B4-BE49-F238E27FC236}">
                <a16:creationId xmlns:a16="http://schemas.microsoft.com/office/drawing/2014/main" id="{8C70C20D-D1D4-4FC2-A3EB-11693DAF168E}"/>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pPr/>
              <a:t>‹#›</a:t>
            </a:fld>
            <a:endParaRPr lang="en-US" dirty="0"/>
          </a:p>
        </p:txBody>
      </p:sp>
      <p:cxnSp>
        <p:nvCxnSpPr>
          <p:cNvPr id="10" name="Straight Connector 9">
            <a:extLst>
              <a:ext uri="{FF2B5EF4-FFF2-40B4-BE49-F238E27FC236}">
                <a16:creationId xmlns:a16="http://schemas.microsoft.com/office/drawing/2014/main" id="{3CFFDBF9-7C79-4E50-889D-8163AF7FAB05}"/>
              </a:ext>
            </a:extLst>
          </p:cNvPr>
          <p:cNvCxnSpPr>
            <a:cxnSpLocks/>
          </p:cNvCxnSpPr>
          <p:nvPr userDrawn="1"/>
        </p:nvCxnSpPr>
        <p:spPr>
          <a:xfrm>
            <a:off x="735443" y="2909679"/>
            <a:ext cx="10468723"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0026177E-64E8-4D53-896A-20DD500D929E}"/>
              </a:ext>
            </a:extLst>
          </p:cNvPr>
          <p:cNvSpPr>
            <a:spLocks noGrp="1"/>
          </p:cNvSpPr>
          <p:nvPr>
            <p:ph type="body" sz="quarter" idx="13" hasCustomPrompt="1"/>
          </p:nvPr>
        </p:nvSpPr>
        <p:spPr>
          <a:xfrm>
            <a:off x="736021" y="3748901"/>
            <a:ext cx="10468144" cy="1188851"/>
          </a:xfrm>
        </p:spPr>
        <p:txBody>
          <a:bodyPr>
            <a:normAutofit/>
          </a:bodyPr>
          <a:lstStyle>
            <a:lvl1pPr marL="0" indent="0">
              <a:buFontTx/>
              <a:buNone/>
              <a:defRPr sz="2000">
                <a:solidFill>
                  <a:schemeClr val="bg1"/>
                </a:solidFill>
                <a:latin typeface="Arial" panose="020B0604020202020204" pitchFamily="34" charset="0"/>
                <a:cs typeface="Arial" panose="020B0604020202020204" pitchFamily="34" charset="0"/>
              </a:defRPr>
            </a:lvl1pPr>
            <a:lvl2pPr marL="457189" indent="0">
              <a:buFontTx/>
              <a:buNone/>
              <a:defRPr sz="1200">
                <a:solidFill>
                  <a:schemeClr val="bg1"/>
                </a:solidFill>
                <a:latin typeface="Arial" panose="020B0604020202020204" pitchFamily="34" charset="0"/>
                <a:cs typeface="Arial" panose="020B0604020202020204" pitchFamily="34" charset="0"/>
              </a:defRPr>
            </a:lvl2pPr>
            <a:lvl3pPr marL="914377" indent="0">
              <a:buFontTx/>
              <a:buNone/>
              <a:defRPr sz="1200">
                <a:solidFill>
                  <a:schemeClr val="bg1"/>
                </a:solidFill>
                <a:latin typeface="Arial" panose="020B0604020202020204" pitchFamily="34" charset="0"/>
                <a:cs typeface="Arial" panose="020B0604020202020204" pitchFamily="34" charset="0"/>
              </a:defRPr>
            </a:lvl3pPr>
            <a:lvl4pPr marL="1371566" indent="0">
              <a:buFontTx/>
              <a:buNone/>
              <a:defRPr sz="1200">
                <a:solidFill>
                  <a:schemeClr val="bg1"/>
                </a:solidFill>
                <a:latin typeface="Arial" panose="020B0604020202020204" pitchFamily="34" charset="0"/>
                <a:cs typeface="Arial" panose="020B0604020202020204" pitchFamily="34" charset="0"/>
              </a:defRPr>
            </a:lvl4pPr>
            <a:lvl5pPr marL="1828754" indent="0">
              <a:buFontTx/>
              <a:buNone/>
              <a:defRPr sz="1200">
                <a:solidFill>
                  <a:schemeClr val="bg1"/>
                </a:solidFill>
                <a:latin typeface="Arial" panose="020B0604020202020204" pitchFamily="34" charset="0"/>
                <a:cs typeface="Arial" panose="020B0604020202020204" pitchFamily="34" charset="0"/>
              </a:defRPr>
            </a:lvl5pPr>
          </a:lstStyle>
          <a:p>
            <a:pPr lvl="0"/>
            <a:r>
              <a:rPr lang="en-US"/>
              <a:t>Authors</a:t>
            </a:r>
          </a:p>
        </p:txBody>
      </p:sp>
      <p:sp>
        <p:nvSpPr>
          <p:cNvPr id="13" name="Text Placeholder 11">
            <a:extLst>
              <a:ext uri="{FF2B5EF4-FFF2-40B4-BE49-F238E27FC236}">
                <a16:creationId xmlns:a16="http://schemas.microsoft.com/office/drawing/2014/main" id="{ED2BAAFB-40EC-4695-B453-1BA623A7D48B}"/>
              </a:ext>
            </a:extLst>
          </p:cNvPr>
          <p:cNvSpPr>
            <a:spLocks noGrp="1"/>
          </p:cNvSpPr>
          <p:nvPr>
            <p:ph type="body" sz="quarter" idx="14" hasCustomPrompt="1"/>
          </p:nvPr>
        </p:nvSpPr>
        <p:spPr>
          <a:xfrm>
            <a:off x="736021" y="5063321"/>
            <a:ext cx="10468144" cy="1141219"/>
          </a:xfrm>
        </p:spPr>
        <p:txBody>
          <a:bodyPr>
            <a:normAutofit/>
          </a:bodyPr>
          <a:lstStyle>
            <a:lvl1pPr marL="0" indent="0">
              <a:buFontTx/>
              <a:buNone/>
              <a:defRPr sz="1400">
                <a:solidFill>
                  <a:schemeClr val="bg1"/>
                </a:solidFill>
                <a:latin typeface="Arial" panose="020B0604020202020204" pitchFamily="34" charset="0"/>
                <a:cs typeface="Arial" panose="020B0604020202020204" pitchFamily="34" charset="0"/>
              </a:defRPr>
            </a:lvl1pPr>
            <a:lvl2pPr marL="457189" indent="0">
              <a:buFontTx/>
              <a:buNone/>
              <a:defRPr sz="1200">
                <a:solidFill>
                  <a:schemeClr val="bg1"/>
                </a:solidFill>
                <a:latin typeface="Arial" panose="020B0604020202020204" pitchFamily="34" charset="0"/>
                <a:cs typeface="Arial" panose="020B0604020202020204" pitchFamily="34" charset="0"/>
              </a:defRPr>
            </a:lvl2pPr>
            <a:lvl3pPr marL="914377" indent="0">
              <a:buFontTx/>
              <a:buNone/>
              <a:defRPr sz="1200">
                <a:solidFill>
                  <a:schemeClr val="bg1"/>
                </a:solidFill>
                <a:latin typeface="Arial" panose="020B0604020202020204" pitchFamily="34" charset="0"/>
                <a:cs typeface="Arial" panose="020B0604020202020204" pitchFamily="34" charset="0"/>
              </a:defRPr>
            </a:lvl3pPr>
            <a:lvl4pPr marL="1371566" indent="0">
              <a:buFontTx/>
              <a:buNone/>
              <a:defRPr sz="1200">
                <a:solidFill>
                  <a:schemeClr val="bg1"/>
                </a:solidFill>
                <a:latin typeface="Arial" panose="020B0604020202020204" pitchFamily="34" charset="0"/>
                <a:cs typeface="Arial" panose="020B0604020202020204" pitchFamily="34" charset="0"/>
              </a:defRPr>
            </a:lvl4pPr>
            <a:lvl5pPr marL="1828754" indent="0">
              <a:buFontTx/>
              <a:buNone/>
              <a:defRPr sz="1200">
                <a:solidFill>
                  <a:schemeClr val="bg1"/>
                </a:solidFill>
                <a:latin typeface="Arial" panose="020B0604020202020204" pitchFamily="34" charset="0"/>
                <a:cs typeface="Arial" panose="020B0604020202020204" pitchFamily="34" charset="0"/>
              </a:defRPr>
            </a:lvl5pPr>
          </a:lstStyle>
          <a:p>
            <a:pPr lvl="0"/>
            <a:r>
              <a:rPr lang="en-US"/>
              <a:t>Institutions</a:t>
            </a:r>
          </a:p>
        </p:txBody>
      </p:sp>
      <p:sp>
        <p:nvSpPr>
          <p:cNvPr id="8" name="Text Placeholder 11">
            <a:extLst>
              <a:ext uri="{FF2B5EF4-FFF2-40B4-BE49-F238E27FC236}">
                <a16:creationId xmlns:a16="http://schemas.microsoft.com/office/drawing/2014/main" id="{19C0E15F-7372-4481-BC18-BE0081563195}"/>
              </a:ext>
            </a:extLst>
          </p:cNvPr>
          <p:cNvSpPr>
            <a:spLocks noGrp="1"/>
          </p:cNvSpPr>
          <p:nvPr>
            <p:ph type="body" sz="quarter" idx="15" hasCustomPrompt="1"/>
          </p:nvPr>
        </p:nvSpPr>
        <p:spPr>
          <a:xfrm>
            <a:off x="1" y="1"/>
            <a:ext cx="1404851" cy="482139"/>
          </a:xfrm>
        </p:spPr>
        <p:txBody>
          <a:bodyPr anchor="ctr">
            <a:normAutofit/>
          </a:bodyPr>
          <a:lstStyle>
            <a:lvl1pPr marL="0" indent="0">
              <a:buFontTx/>
              <a:buNone/>
              <a:defRPr sz="1400">
                <a:solidFill>
                  <a:schemeClr val="bg1"/>
                </a:solidFill>
                <a:latin typeface="Arial" panose="020B0604020202020204" pitchFamily="34" charset="0"/>
                <a:cs typeface="Arial" panose="020B0604020202020204" pitchFamily="34" charset="0"/>
              </a:defRPr>
            </a:lvl1pPr>
            <a:lvl2pPr marL="457189" indent="0">
              <a:buFontTx/>
              <a:buNone/>
              <a:defRPr sz="1200">
                <a:solidFill>
                  <a:schemeClr val="bg1"/>
                </a:solidFill>
                <a:latin typeface="Arial" panose="020B0604020202020204" pitchFamily="34" charset="0"/>
                <a:cs typeface="Arial" panose="020B0604020202020204" pitchFamily="34" charset="0"/>
              </a:defRPr>
            </a:lvl2pPr>
            <a:lvl3pPr marL="914377" indent="0">
              <a:buFontTx/>
              <a:buNone/>
              <a:defRPr sz="1200">
                <a:solidFill>
                  <a:schemeClr val="bg1"/>
                </a:solidFill>
                <a:latin typeface="Arial" panose="020B0604020202020204" pitchFamily="34" charset="0"/>
                <a:cs typeface="Arial" panose="020B0604020202020204" pitchFamily="34" charset="0"/>
              </a:defRPr>
            </a:lvl3pPr>
            <a:lvl4pPr marL="1371566" indent="0">
              <a:buFontTx/>
              <a:buNone/>
              <a:defRPr sz="1200">
                <a:solidFill>
                  <a:schemeClr val="bg1"/>
                </a:solidFill>
                <a:latin typeface="Arial" panose="020B0604020202020204" pitchFamily="34" charset="0"/>
                <a:cs typeface="Arial" panose="020B0604020202020204" pitchFamily="34" charset="0"/>
              </a:defRPr>
            </a:lvl4pPr>
            <a:lvl5pPr marL="1828754" indent="0">
              <a:buFontTx/>
              <a:buNone/>
              <a:defRPr sz="1200">
                <a:solidFill>
                  <a:schemeClr val="bg1"/>
                </a:solidFill>
                <a:latin typeface="Arial" panose="020B0604020202020204" pitchFamily="34" charset="0"/>
                <a:cs typeface="Arial" panose="020B0604020202020204" pitchFamily="34" charset="0"/>
              </a:defRPr>
            </a:lvl5pPr>
          </a:lstStyle>
          <a:p>
            <a:pPr lvl="0"/>
            <a:r>
              <a:rPr lang="en-US"/>
              <a:t>Poster </a:t>
            </a:r>
            <a:r>
              <a:rPr lang="en-US" err="1"/>
              <a:t>xxxx</a:t>
            </a:r>
            <a:endParaRPr lang="en-US"/>
          </a:p>
        </p:txBody>
      </p:sp>
      <p:sp>
        <p:nvSpPr>
          <p:cNvPr id="9" name="Text Placeholder 11">
            <a:extLst>
              <a:ext uri="{FF2B5EF4-FFF2-40B4-BE49-F238E27FC236}">
                <a16:creationId xmlns:a16="http://schemas.microsoft.com/office/drawing/2014/main" id="{3F438E9D-C0DC-4D03-9592-402770D297BA}"/>
              </a:ext>
            </a:extLst>
          </p:cNvPr>
          <p:cNvSpPr>
            <a:spLocks noGrp="1"/>
          </p:cNvSpPr>
          <p:nvPr>
            <p:ph type="body" sz="quarter" idx="16" hasCustomPrompt="1"/>
          </p:nvPr>
        </p:nvSpPr>
        <p:spPr>
          <a:xfrm>
            <a:off x="6378635" y="1"/>
            <a:ext cx="2442095" cy="482139"/>
          </a:xfrm>
        </p:spPr>
        <p:txBody>
          <a:bodyPr anchor="ctr">
            <a:normAutofit/>
          </a:bodyPr>
          <a:lstStyle>
            <a:lvl1pPr marL="0" indent="0" algn="r">
              <a:buFontTx/>
              <a:buNone/>
              <a:defRPr sz="1400">
                <a:solidFill>
                  <a:schemeClr val="bg1"/>
                </a:solidFill>
                <a:latin typeface="Arial" panose="020B0604020202020204" pitchFamily="34" charset="0"/>
                <a:cs typeface="Arial" panose="020B0604020202020204" pitchFamily="34" charset="0"/>
              </a:defRPr>
            </a:lvl1pPr>
            <a:lvl2pPr marL="457189" indent="0">
              <a:buFontTx/>
              <a:buNone/>
              <a:defRPr sz="1200">
                <a:solidFill>
                  <a:schemeClr val="bg1"/>
                </a:solidFill>
                <a:latin typeface="Arial" panose="020B0604020202020204" pitchFamily="34" charset="0"/>
                <a:cs typeface="Arial" panose="020B0604020202020204" pitchFamily="34" charset="0"/>
              </a:defRPr>
            </a:lvl2pPr>
            <a:lvl3pPr marL="914377" indent="0">
              <a:buFontTx/>
              <a:buNone/>
              <a:defRPr sz="1200">
                <a:solidFill>
                  <a:schemeClr val="bg1"/>
                </a:solidFill>
                <a:latin typeface="Arial" panose="020B0604020202020204" pitchFamily="34" charset="0"/>
                <a:cs typeface="Arial" panose="020B0604020202020204" pitchFamily="34" charset="0"/>
              </a:defRPr>
            </a:lvl3pPr>
            <a:lvl4pPr marL="1371566" indent="0">
              <a:buFontTx/>
              <a:buNone/>
              <a:defRPr sz="1200">
                <a:solidFill>
                  <a:schemeClr val="bg1"/>
                </a:solidFill>
                <a:latin typeface="Arial" panose="020B0604020202020204" pitchFamily="34" charset="0"/>
                <a:cs typeface="Arial" panose="020B0604020202020204" pitchFamily="34" charset="0"/>
              </a:defRPr>
            </a:lvl4pPr>
            <a:lvl5pPr marL="1828754" indent="0">
              <a:buFontTx/>
              <a:buNone/>
              <a:defRPr sz="1200">
                <a:solidFill>
                  <a:schemeClr val="bg1"/>
                </a:solidFill>
                <a:latin typeface="Arial" panose="020B0604020202020204" pitchFamily="34" charset="0"/>
                <a:cs typeface="Arial" panose="020B0604020202020204" pitchFamily="34" charset="0"/>
              </a:defRPr>
            </a:lvl5pPr>
          </a:lstStyle>
          <a:p>
            <a:pPr lvl="0"/>
            <a:r>
              <a:rPr lang="en-US"/>
              <a:t>Presenting author name and email address</a:t>
            </a:r>
          </a:p>
        </p:txBody>
      </p:sp>
      <p:grpSp>
        <p:nvGrpSpPr>
          <p:cNvPr id="11" name="Group 10">
            <a:extLst>
              <a:ext uri="{FF2B5EF4-FFF2-40B4-BE49-F238E27FC236}">
                <a16:creationId xmlns:a16="http://schemas.microsoft.com/office/drawing/2014/main" id="{676421E8-735A-4517-9F27-F0A8AA5F6E83}"/>
              </a:ext>
            </a:extLst>
          </p:cNvPr>
          <p:cNvGrpSpPr/>
          <p:nvPr userDrawn="1"/>
        </p:nvGrpSpPr>
        <p:grpSpPr>
          <a:xfrm>
            <a:off x="11777519" y="96753"/>
            <a:ext cx="288636" cy="288636"/>
            <a:chOff x="323851" y="619793"/>
            <a:chExt cx="288636" cy="288636"/>
          </a:xfrm>
        </p:grpSpPr>
        <p:sp>
          <p:nvSpPr>
            <p:cNvPr id="14" name="Freeform: Shape 13">
              <a:extLst>
                <a:ext uri="{FF2B5EF4-FFF2-40B4-BE49-F238E27FC236}">
                  <a16:creationId xmlns:a16="http://schemas.microsoft.com/office/drawing/2014/main" id="{C1304B80-BD37-4556-9DB6-D9D85C81EA6B}"/>
                </a:ext>
              </a:extLst>
            </p:cNvPr>
            <p:cNvSpPr/>
            <p:nvPr/>
          </p:nvSpPr>
          <p:spPr>
            <a:xfrm>
              <a:off x="323851" y="619793"/>
              <a:ext cx="288636" cy="288636"/>
            </a:xfrm>
            <a:custGeom>
              <a:avLst/>
              <a:gdLst>
                <a:gd name="connsiteX0" fmla="*/ 62459 w 288636"/>
                <a:gd name="connsiteY0" fmla="*/ 148401 h 288636"/>
                <a:gd name="connsiteX1" fmla="*/ 62932 w 288636"/>
                <a:gd name="connsiteY1" fmla="*/ 150767 h 288636"/>
                <a:gd name="connsiteX2" fmla="*/ 62459 w 288636"/>
                <a:gd name="connsiteY2" fmla="*/ 148401 h 288636"/>
                <a:gd name="connsiteX3" fmla="*/ 165138 w 288636"/>
                <a:gd name="connsiteY3" fmla="*/ 24429 h 288636"/>
                <a:gd name="connsiteX4" fmla="*/ 164191 w 288636"/>
                <a:gd name="connsiteY4" fmla="*/ 23483 h 288636"/>
                <a:gd name="connsiteX5" fmla="*/ 152362 w 288636"/>
                <a:gd name="connsiteY5" fmla="*/ 14493 h 288636"/>
                <a:gd name="connsiteX6" fmla="*/ 138640 w 288636"/>
                <a:gd name="connsiteY6" fmla="*/ 15439 h 288636"/>
                <a:gd name="connsiteX7" fmla="*/ 130123 w 288636"/>
                <a:gd name="connsiteY7" fmla="*/ 22063 h 288636"/>
                <a:gd name="connsiteX8" fmla="*/ 126338 w 288636"/>
                <a:gd name="connsiteY8" fmla="*/ 24429 h 288636"/>
                <a:gd name="connsiteX9" fmla="*/ 165138 w 288636"/>
                <a:gd name="connsiteY9" fmla="*/ 24429 h 288636"/>
                <a:gd name="connsiteX10" fmla="*/ 255041 w 288636"/>
                <a:gd name="connsiteY10" fmla="*/ 124742 h 288636"/>
                <a:gd name="connsiteX11" fmla="*/ 257407 w 288636"/>
                <a:gd name="connsiteY11" fmla="*/ 123796 h 288636"/>
                <a:gd name="connsiteX12" fmla="*/ 273968 w 288636"/>
                <a:gd name="connsiteY12" fmla="*/ 111020 h 288636"/>
                <a:gd name="connsiteX13" fmla="*/ 273968 w 288636"/>
                <a:gd name="connsiteY13" fmla="*/ 108181 h 288636"/>
                <a:gd name="connsiteX14" fmla="*/ 256934 w 288636"/>
                <a:gd name="connsiteY14" fmla="*/ 94932 h 288636"/>
                <a:gd name="connsiteX15" fmla="*/ 255041 w 288636"/>
                <a:gd name="connsiteY15" fmla="*/ 93986 h 288636"/>
                <a:gd name="connsiteX16" fmla="*/ 255041 w 288636"/>
                <a:gd name="connsiteY16" fmla="*/ 124742 h 288636"/>
                <a:gd name="connsiteX17" fmla="*/ 36908 w 288636"/>
                <a:gd name="connsiteY17" fmla="*/ 93986 h 288636"/>
                <a:gd name="connsiteX18" fmla="*/ 35015 w 288636"/>
                <a:gd name="connsiteY18" fmla="*/ 95405 h 288636"/>
                <a:gd name="connsiteX19" fmla="*/ 23659 w 288636"/>
                <a:gd name="connsiteY19" fmla="*/ 104396 h 288636"/>
                <a:gd name="connsiteX20" fmla="*/ 17507 w 288636"/>
                <a:gd name="connsiteY20" fmla="*/ 109127 h 288636"/>
                <a:gd name="connsiteX21" fmla="*/ 17507 w 288636"/>
                <a:gd name="connsiteY21" fmla="*/ 111493 h 288636"/>
                <a:gd name="connsiteX22" fmla="*/ 20346 w 288636"/>
                <a:gd name="connsiteY22" fmla="*/ 113386 h 288636"/>
                <a:gd name="connsiteX23" fmla="*/ 35015 w 288636"/>
                <a:gd name="connsiteY23" fmla="*/ 124742 h 288636"/>
                <a:gd name="connsiteX24" fmla="*/ 37381 w 288636"/>
                <a:gd name="connsiteY24" fmla="*/ 125689 h 288636"/>
                <a:gd name="connsiteX25" fmla="*/ 37381 w 288636"/>
                <a:gd name="connsiteY25" fmla="*/ 93986 h 288636"/>
                <a:gd name="connsiteX26" fmla="*/ 12303 w 288636"/>
                <a:gd name="connsiteY26" fmla="*/ 122376 h 288636"/>
                <a:gd name="connsiteX27" fmla="*/ 11829 w 288636"/>
                <a:gd name="connsiteY27" fmla="*/ 123796 h 288636"/>
                <a:gd name="connsiteX28" fmla="*/ 12303 w 288636"/>
                <a:gd name="connsiteY28" fmla="*/ 140357 h 288636"/>
                <a:gd name="connsiteX29" fmla="*/ 12303 w 288636"/>
                <a:gd name="connsiteY29" fmla="*/ 141776 h 288636"/>
                <a:gd name="connsiteX30" fmla="*/ 11829 w 288636"/>
                <a:gd name="connsiteY30" fmla="*/ 181996 h 288636"/>
                <a:gd name="connsiteX31" fmla="*/ 11829 w 288636"/>
                <a:gd name="connsiteY31" fmla="*/ 265275 h 288636"/>
                <a:gd name="connsiteX32" fmla="*/ 12303 w 288636"/>
                <a:gd name="connsiteY32" fmla="*/ 270953 h 288636"/>
                <a:gd name="connsiteX33" fmla="*/ 14668 w 288636"/>
                <a:gd name="connsiteY33" fmla="*/ 271899 h 288636"/>
                <a:gd name="connsiteX34" fmla="*/ 26971 w 288636"/>
                <a:gd name="connsiteY34" fmla="*/ 262436 h 288636"/>
                <a:gd name="connsiteX35" fmla="*/ 48264 w 288636"/>
                <a:gd name="connsiteY35" fmla="*/ 245875 h 288636"/>
                <a:gd name="connsiteX36" fmla="*/ 62459 w 288636"/>
                <a:gd name="connsiteY36" fmla="*/ 234519 h 288636"/>
                <a:gd name="connsiteX37" fmla="*/ 91323 w 288636"/>
                <a:gd name="connsiteY37" fmla="*/ 212279 h 288636"/>
                <a:gd name="connsiteX38" fmla="*/ 108830 w 288636"/>
                <a:gd name="connsiteY38" fmla="*/ 199031 h 288636"/>
                <a:gd name="connsiteX39" fmla="*/ 109776 w 288636"/>
                <a:gd name="connsiteY39" fmla="*/ 197611 h 288636"/>
                <a:gd name="connsiteX40" fmla="*/ 90376 w 288636"/>
                <a:gd name="connsiteY40" fmla="*/ 182469 h 288636"/>
                <a:gd name="connsiteX41" fmla="*/ 70503 w 288636"/>
                <a:gd name="connsiteY41" fmla="*/ 167328 h 288636"/>
                <a:gd name="connsiteX42" fmla="*/ 51103 w 288636"/>
                <a:gd name="connsiteY42" fmla="*/ 152186 h 288636"/>
                <a:gd name="connsiteX43" fmla="*/ 31703 w 288636"/>
                <a:gd name="connsiteY43" fmla="*/ 137045 h 288636"/>
                <a:gd name="connsiteX44" fmla="*/ 12303 w 288636"/>
                <a:gd name="connsiteY44" fmla="*/ 122376 h 288636"/>
                <a:gd name="connsiteX45" fmla="*/ 181226 w 288636"/>
                <a:gd name="connsiteY45" fmla="*/ 198084 h 288636"/>
                <a:gd name="connsiteX46" fmla="*/ 278226 w 288636"/>
                <a:gd name="connsiteY46" fmla="*/ 272846 h 288636"/>
                <a:gd name="connsiteX47" fmla="*/ 279173 w 288636"/>
                <a:gd name="connsiteY47" fmla="*/ 270953 h 288636"/>
                <a:gd name="connsiteX48" fmla="*/ 279646 w 288636"/>
                <a:gd name="connsiteY48" fmla="*/ 266694 h 288636"/>
                <a:gd name="connsiteX49" fmla="*/ 279646 w 288636"/>
                <a:gd name="connsiteY49" fmla="*/ 180104 h 288636"/>
                <a:gd name="connsiteX50" fmla="*/ 279173 w 288636"/>
                <a:gd name="connsiteY50" fmla="*/ 171586 h 288636"/>
                <a:gd name="connsiteX51" fmla="*/ 279173 w 288636"/>
                <a:gd name="connsiteY51" fmla="*/ 170640 h 288636"/>
                <a:gd name="connsiteX52" fmla="*/ 279173 w 288636"/>
                <a:gd name="connsiteY52" fmla="*/ 139411 h 288636"/>
                <a:gd name="connsiteX53" fmla="*/ 279646 w 288636"/>
                <a:gd name="connsiteY53" fmla="*/ 134206 h 288636"/>
                <a:gd name="connsiteX54" fmla="*/ 279646 w 288636"/>
                <a:gd name="connsiteY54" fmla="*/ 123796 h 288636"/>
                <a:gd name="connsiteX55" fmla="*/ 279173 w 288636"/>
                <a:gd name="connsiteY55" fmla="*/ 122376 h 288636"/>
                <a:gd name="connsiteX56" fmla="*/ 181226 w 288636"/>
                <a:gd name="connsiteY56" fmla="*/ 198084 h 288636"/>
                <a:gd name="connsiteX57" fmla="*/ 267343 w 288636"/>
                <a:gd name="connsiteY57" fmla="*/ 279470 h 288636"/>
                <a:gd name="connsiteX58" fmla="*/ 266397 w 288636"/>
                <a:gd name="connsiteY58" fmla="*/ 278524 h 288636"/>
                <a:gd name="connsiteX59" fmla="*/ 258826 w 288636"/>
                <a:gd name="connsiteY59" fmla="*/ 272373 h 288636"/>
                <a:gd name="connsiteX60" fmla="*/ 242738 w 288636"/>
                <a:gd name="connsiteY60" fmla="*/ 260070 h 288636"/>
                <a:gd name="connsiteX61" fmla="*/ 228070 w 288636"/>
                <a:gd name="connsiteY61" fmla="*/ 248241 h 288636"/>
                <a:gd name="connsiteX62" fmla="*/ 212455 w 288636"/>
                <a:gd name="connsiteY62" fmla="*/ 236411 h 288636"/>
                <a:gd name="connsiteX63" fmla="*/ 192109 w 288636"/>
                <a:gd name="connsiteY63" fmla="*/ 220323 h 288636"/>
                <a:gd name="connsiteX64" fmla="*/ 173655 w 288636"/>
                <a:gd name="connsiteY64" fmla="*/ 205655 h 288636"/>
                <a:gd name="connsiteX65" fmla="*/ 170816 w 288636"/>
                <a:gd name="connsiteY65" fmla="*/ 205655 h 288636"/>
                <a:gd name="connsiteX66" fmla="*/ 162299 w 288636"/>
                <a:gd name="connsiteY66" fmla="*/ 212279 h 288636"/>
                <a:gd name="connsiteX67" fmla="*/ 149050 w 288636"/>
                <a:gd name="connsiteY67" fmla="*/ 217958 h 288636"/>
                <a:gd name="connsiteX68" fmla="*/ 132489 w 288636"/>
                <a:gd name="connsiteY68" fmla="*/ 213699 h 288636"/>
                <a:gd name="connsiteX69" fmla="*/ 122079 w 288636"/>
                <a:gd name="connsiteY69" fmla="*/ 205655 h 288636"/>
                <a:gd name="connsiteX70" fmla="*/ 119713 w 288636"/>
                <a:gd name="connsiteY70" fmla="*/ 205655 h 288636"/>
                <a:gd name="connsiteX71" fmla="*/ 98420 w 288636"/>
                <a:gd name="connsiteY71" fmla="*/ 222216 h 288636"/>
                <a:gd name="connsiteX72" fmla="*/ 75235 w 288636"/>
                <a:gd name="connsiteY72" fmla="*/ 240197 h 288636"/>
                <a:gd name="connsiteX73" fmla="*/ 60093 w 288636"/>
                <a:gd name="connsiteY73" fmla="*/ 252026 h 288636"/>
                <a:gd name="connsiteX74" fmla="*/ 30756 w 288636"/>
                <a:gd name="connsiteY74" fmla="*/ 274738 h 288636"/>
                <a:gd name="connsiteX75" fmla="*/ 25551 w 288636"/>
                <a:gd name="connsiteY75" fmla="*/ 278997 h 288636"/>
                <a:gd name="connsiteX76" fmla="*/ 26498 w 288636"/>
                <a:gd name="connsiteY76" fmla="*/ 279943 h 288636"/>
                <a:gd name="connsiteX77" fmla="*/ 267343 w 288636"/>
                <a:gd name="connsiteY77" fmla="*/ 279470 h 288636"/>
                <a:gd name="connsiteX78" fmla="*/ 146211 w 288636"/>
                <a:gd name="connsiteY78" fmla="*/ 36732 h 288636"/>
                <a:gd name="connsiteX79" fmla="*/ 61513 w 288636"/>
                <a:gd name="connsiteY79" fmla="*/ 36732 h 288636"/>
                <a:gd name="connsiteX80" fmla="*/ 55835 w 288636"/>
                <a:gd name="connsiteY80" fmla="*/ 38151 h 288636"/>
                <a:gd name="connsiteX81" fmla="*/ 48737 w 288636"/>
                <a:gd name="connsiteY81" fmla="*/ 49507 h 288636"/>
                <a:gd name="connsiteX82" fmla="*/ 48737 w 288636"/>
                <a:gd name="connsiteY82" fmla="*/ 93986 h 288636"/>
                <a:gd name="connsiteX83" fmla="*/ 48737 w 288636"/>
                <a:gd name="connsiteY83" fmla="*/ 132786 h 288636"/>
                <a:gd name="connsiteX84" fmla="*/ 49683 w 288636"/>
                <a:gd name="connsiteY84" fmla="*/ 136098 h 288636"/>
                <a:gd name="connsiteX85" fmla="*/ 61986 w 288636"/>
                <a:gd name="connsiteY85" fmla="*/ 146035 h 288636"/>
                <a:gd name="connsiteX86" fmla="*/ 69083 w 288636"/>
                <a:gd name="connsiteY86" fmla="*/ 151240 h 288636"/>
                <a:gd name="connsiteX87" fmla="*/ 73815 w 288636"/>
                <a:gd name="connsiteY87" fmla="*/ 155025 h 288636"/>
                <a:gd name="connsiteX88" fmla="*/ 90376 w 288636"/>
                <a:gd name="connsiteY88" fmla="*/ 167328 h 288636"/>
                <a:gd name="connsiteX89" fmla="*/ 96054 w 288636"/>
                <a:gd name="connsiteY89" fmla="*/ 172060 h 288636"/>
                <a:gd name="connsiteX90" fmla="*/ 105991 w 288636"/>
                <a:gd name="connsiteY90" fmla="*/ 180104 h 288636"/>
                <a:gd name="connsiteX91" fmla="*/ 130123 w 288636"/>
                <a:gd name="connsiteY91" fmla="*/ 199031 h 288636"/>
                <a:gd name="connsiteX92" fmla="*/ 139586 w 288636"/>
                <a:gd name="connsiteY92" fmla="*/ 206128 h 288636"/>
                <a:gd name="connsiteX93" fmla="*/ 152362 w 288636"/>
                <a:gd name="connsiteY93" fmla="*/ 206128 h 288636"/>
                <a:gd name="connsiteX94" fmla="*/ 169396 w 288636"/>
                <a:gd name="connsiteY94" fmla="*/ 193352 h 288636"/>
                <a:gd name="connsiteX95" fmla="*/ 188797 w 288636"/>
                <a:gd name="connsiteY95" fmla="*/ 178684 h 288636"/>
                <a:gd name="connsiteX96" fmla="*/ 190216 w 288636"/>
                <a:gd name="connsiteY96" fmla="*/ 177265 h 288636"/>
                <a:gd name="connsiteX97" fmla="*/ 192582 w 288636"/>
                <a:gd name="connsiteY97" fmla="*/ 174899 h 288636"/>
                <a:gd name="connsiteX98" fmla="*/ 195894 w 288636"/>
                <a:gd name="connsiteY98" fmla="*/ 172533 h 288636"/>
                <a:gd name="connsiteX99" fmla="*/ 209616 w 288636"/>
                <a:gd name="connsiteY99" fmla="*/ 162123 h 288636"/>
                <a:gd name="connsiteX100" fmla="*/ 212928 w 288636"/>
                <a:gd name="connsiteY100" fmla="*/ 159284 h 288636"/>
                <a:gd name="connsiteX101" fmla="*/ 214821 w 288636"/>
                <a:gd name="connsiteY101" fmla="*/ 157391 h 288636"/>
                <a:gd name="connsiteX102" fmla="*/ 225231 w 288636"/>
                <a:gd name="connsiteY102" fmla="*/ 149820 h 288636"/>
                <a:gd name="connsiteX103" fmla="*/ 233275 w 288636"/>
                <a:gd name="connsiteY103" fmla="*/ 143669 h 288636"/>
                <a:gd name="connsiteX104" fmla="*/ 242265 w 288636"/>
                <a:gd name="connsiteY104" fmla="*/ 136572 h 288636"/>
                <a:gd name="connsiteX105" fmla="*/ 243685 w 288636"/>
                <a:gd name="connsiteY105" fmla="*/ 132786 h 288636"/>
                <a:gd name="connsiteX106" fmla="*/ 243685 w 288636"/>
                <a:gd name="connsiteY106" fmla="*/ 127581 h 288636"/>
                <a:gd name="connsiteX107" fmla="*/ 243685 w 288636"/>
                <a:gd name="connsiteY107" fmla="*/ 49507 h 288636"/>
                <a:gd name="connsiteX108" fmla="*/ 242265 w 288636"/>
                <a:gd name="connsiteY108" fmla="*/ 43829 h 288636"/>
                <a:gd name="connsiteX109" fmla="*/ 230909 w 288636"/>
                <a:gd name="connsiteY109" fmla="*/ 37205 h 288636"/>
                <a:gd name="connsiteX110" fmla="*/ 146211 w 288636"/>
                <a:gd name="connsiteY110" fmla="*/ 36732 h 288636"/>
                <a:gd name="connsiteX111" fmla="*/ 145264 w 288636"/>
                <a:gd name="connsiteY111" fmla="*/ 291773 h 288636"/>
                <a:gd name="connsiteX112" fmla="*/ 27917 w 288636"/>
                <a:gd name="connsiteY112" fmla="*/ 291773 h 288636"/>
                <a:gd name="connsiteX113" fmla="*/ 19400 w 288636"/>
                <a:gd name="connsiteY113" fmla="*/ 290826 h 288636"/>
                <a:gd name="connsiteX114" fmla="*/ 6151 w 288636"/>
                <a:gd name="connsiteY114" fmla="*/ 283256 h 288636"/>
                <a:gd name="connsiteX115" fmla="*/ 473 w 288636"/>
                <a:gd name="connsiteY115" fmla="*/ 266694 h 288636"/>
                <a:gd name="connsiteX116" fmla="*/ 473 w 288636"/>
                <a:gd name="connsiteY116" fmla="*/ 179630 h 288636"/>
                <a:gd name="connsiteX117" fmla="*/ 473 w 288636"/>
                <a:gd name="connsiteY117" fmla="*/ 150767 h 288636"/>
                <a:gd name="connsiteX118" fmla="*/ 473 w 288636"/>
                <a:gd name="connsiteY118" fmla="*/ 142723 h 288636"/>
                <a:gd name="connsiteX119" fmla="*/ 0 w 288636"/>
                <a:gd name="connsiteY119" fmla="*/ 135152 h 288636"/>
                <a:gd name="connsiteX120" fmla="*/ 473 w 288636"/>
                <a:gd name="connsiteY120" fmla="*/ 114332 h 288636"/>
                <a:gd name="connsiteX121" fmla="*/ 473 w 288636"/>
                <a:gd name="connsiteY121" fmla="*/ 109127 h 288636"/>
                <a:gd name="connsiteX122" fmla="*/ 2839 w 288636"/>
                <a:gd name="connsiteY122" fmla="*/ 104396 h 288636"/>
                <a:gd name="connsiteX123" fmla="*/ 20820 w 288636"/>
                <a:gd name="connsiteY123" fmla="*/ 90674 h 288636"/>
                <a:gd name="connsiteX124" fmla="*/ 34069 w 288636"/>
                <a:gd name="connsiteY124" fmla="*/ 80264 h 288636"/>
                <a:gd name="connsiteX125" fmla="*/ 36908 w 288636"/>
                <a:gd name="connsiteY125" fmla="*/ 75059 h 288636"/>
                <a:gd name="connsiteX126" fmla="*/ 36908 w 288636"/>
                <a:gd name="connsiteY126" fmla="*/ 48561 h 288636"/>
                <a:gd name="connsiteX127" fmla="*/ 53469 w 288636"/>
                <a:gd name="connsiteY127" fmla="*/ 25376 h 288636"/>
                <a:gd name="connsiteX128" fmla="*/ 61039 w 288636"/>
                <a:gd name="connsiteY128" fmla="*/ 23956 h 288636"/>
                <a:gd name="connsiteX129" fmla="*/ 103625 w 288636"/>
                <a:gd name="connsiteY129" fmla="*/ 23956 h 288636"/>
                <a:gd name="connsiteX130" fmla="*/ 107884 w 288636"/>
                <a:gd name="connsiteY130" fmla="*/ 22537 h 288636"/>
                <a:gd name="connsiteX131" fmla="*/ 130596 w 288636"/>
                <a:gd name="connsiteY131" fmla="*/ 5029 h 288636"/>
                <a:gd name="connsiteX132" fmla="*/ 159460 w 288636"/>
                <a:gd name="connsiteY132" fmla="*/ 4556 h 288636"/>
                <a:gd name="connsiteX133" fmla="*/ 177913 w 288636"/>
                <a:gd name="connsiteY133" fmla="*/ 18751 h 288636"/>
                <a:gd name="connsiteX134" fmla="*/ 184538 w 288636"/>
                <a:gd name="connsiteY134" fmla="*/ 23483 h 288636"/>
                <a:gd name="connsiteX135" fmla="*/ 187850 w 288636"/>
                <a:gd name="connsiteY135" fmla="*/ 24429 h 288636"/>
                <a:gd name="connsiteX136" fmla="*/ 230436 w 288636"/>
                <a:gd name="connsiteY136" fmla="*/ 24429 h 288636"/>
                <a:gd name="connsiteX137" fmla="*/ 243685 w 288636"/>
                <a:gd name="connsiteY137" fmla="*/ 28215 h 288636"/>
                <a:gd name="connsiteX138" fmla="*/ 255041 w 288636"/>
                <a:gd name="connsiteY138" fmla="*/ 48088 h 288636"/>
                <a:gd name="connsiteX139" fmla="*/ 255041 w 288636"/>
                <a:gd name="connsiteY139" fmla="*/ 75059 h 288636"/>
                <a:gd name="connsiteX140" fmla="*/ 257407 w 288636"/>
                <a:gd name="connsiteY140" fmla="*/ 80264 h 288636"/>
                <a:gd name="connsiteX141" fmla="*/ 272075 w 288636"/>
                <a:gd name="connsiteY141" fmla="*/ 91147 h 288636"/>
                <a:gd name="connsiteX142" fmla="*/ 283431 w 288636"/>
                <a:gd name="connsiteY142" fmla="*/ 100137 h 288636"/>
                <a:gd name="connsiteX143" fmla="*/ 287217 w 288636"/>
                <a:gd name="connsiteY143" fmla="*/ 103449 h 288636"/>
                <a:gd name="connsiteX144" fmla="*/ 291475 w 288636"/>
                <a:gd name="connsiteY144" fmla="*/ 111493 h 288636"/>
                <a:gd name="connsiteX145" fmla="*/ 291002 w 288636"/>
                <a:gd name="connsiteY145" fmla="*/ 130893 h 288636"/>
                <a:gd name="connsiteX146" fmla="*/ 291002 w 288636"/>
                <a:gd name="connsiteY146" fmla="*/ 131840 h 288636"/>
                <a:gd name="connsiteX147" fmla="*/ 291475 w 288636"/>
                <a:gd name="connsiteY147" fmla="*/ 138937 h 288636"/>
                <a:gd name="connsiteX148" fmla="*/ 291475 w 288636"/>
                <a:gd name="connsiteY148" fmla="*/ 155499 h 288636"/>
                <a:gd name="connsiteX149" fmla="*/ 291002 w 288636"/>
                <a:gd name="connsiteY149" fmla="*/ 165908 h 288636"/>
                <a:gd name="connsiteX150" fmla="*/ 291475 w 288636"/>
                <a:gd name="connsiteY150" fmla="*/ 173952 h 288636"/>
                <a:gd name="connsiteX151" fmla="*/ 291002 w 288636"/>
                <a:gd name="connsiteY151" fmla="*/ 177265 h 288636"/>
                <a:gd name="connsiteX152" fmla="*/ 291002 w 288636"/>
                <a:gd name="connsiteY152" fmla="*/ 178684 h 288636"/>
                <a:gd name="connsiteX153" fmla="*/ 291475 w 288636"/>
                <a:gd name="connsiteY153" fmla="*/ 184835 h 288636"/>
                <a:gd name="connsiteX154" fmla="*/ 291475 w 288636"/>
                <a:gd name="connsiteY154" fmla="*/ 267168 h 288636"/>
                <a:gd name="connsiteX155" fmla="*/ 282012 w 288636"/>
                <a:gd name="connsiteY155" fmla="*/ 287041 h 288636"/>
                <a:gd name="connsiteX156" fmla="*/ 266397 w 288636"/>
                <a:gd name="connsiteY156" fmla="*/ 292246 h 288636"/>
                <a:gd name="connsiteX157" fmla="*/ 235168 w 288636"/>
                <a:gd name="connsiteY157" fmla="*/ 292246 h 288636"/>
                <a:gd name="connsiteX158" fmla="*/ 145264 w 288636"/>
                <a:gd name="connsiteY158" fmla="*/ 292246 h 288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288636" h="288636">
                  <a:moveTo>
                    <a:pt x="62459" y="148401"/>
                  </a:moveTo>
                  <a:cubicBezTo>
                    <a:pt x="61513" y="149347"/>
                    <a:pt x="61513" y="149820"/>
                    <a:pt x="62932" y="150767"/>
                  </a:cubicBezTo>
                  <a:cubicBezTo>
                    <a:pt x="62459" y="149820"/>
                    <a:pt x="62459" y="149347"/>
                    <a:pt x="62459" y="148401"/>
                  </a:cubicBezTo>
                  <a:moveTo>
                    <a:pt x="165138" y="24429"/>
                  </a:moveTo>
                  <a:cubicBezTo>
                    <a:pt x="164665" y="23956"/>
                    <a:pt x="164665" y="23483"/>
                    <a:pt x="164191" y="23483"/>
                  </a:cubicBezTo>
                  <a:cubicBezTo>
                    <a:pt x="160406" y="20644"/>
                    <a:pt x="156147" y="17332"/>
                    <a:pt x="152362" y="14493"/>
                  </a:cubicBezTo>
                  <a:cubicBezTo>
                    <a:pt x="148577" y="11654"/>
                    <a:pt x="142425" y="12127"/>
                    <a:pt x="138640" y="15439"/>
                  </a:cubicBezTo>
                  <a:cubicBezTo>
                    <a:pt x="135801" y="17805"/>
                    <a:pt x="132962" y="19698"/>
                    <a:pt x="130123" y="22063"/>
                  </a:cubicBezTo>
                  <a:cubicBezTo>
                    <a:pt x="128703" y="22537"/>
                    <a:pt x="127757" y="23483"/>
                    <a:pt x="126338" y="24429"/>
                  </a:cubicBezTo>
                  <a:cubicBezTo>
                    <a:pt x="129177" y="24902"/>
                    <a:pt x="162772" y="24902"/>
                    <a:pt x="165138" y="24429"/>
                  </a:cubicBezTo>
                  <a:moveTo>
                    <a:pt x="255041" y="124742"/>
                  </a:moveTo>
                  <a:cubicBezTo>
                    <a:pt x="256460" y="125215"/>
                    <a:pt x="256934" y="124269"/>
                    <a:pt x="257407" y="123796"/>
                  </a:cubicBezTo>
                  <a:cubicBezTo>
                    <a:pt x="263085" y="119537"/>
                    <a:pt x="268290" y="115279"/>
                    <a:pt x="273968" y="111020"/>
                  </a:cubicBezTo>
                  <a:cubicBezTo>
                    <a:pt x="275387" y="110074"/>
                    <a:pt x="275387" y="109127"/>
                    <a:pt x="273968" y="108181"/>
                  </a:cubicBezTo>
                  <a:cubicBezTo>
                    <a:pt x="268290" y="103923"/>
                    <a:pt x="262612" y="99191"/>
                    <a:pt x="256934" y="94932"/>
                  </a:cubicBezTo>
                  <a:cubicBezTo>
                    <a:pt x="256460" y="94459"/>
                    <a:pt x="255987" y="94459"/>
                    <a:pt x="255041" y="93986"/>
                  </a:cubicBezTo>
                  <a:lnTo>
                    <a:pt x="255041" y="124742"/>
                  </a:lnTo>
                  <a:close/>
                  <a:moveTo>
                    <a:pt x="36908" y="93986"/>
                  </a:moveTo>
                  <a:cubicBezTo>
                    <a:pt x="35961" y="94459"/>
                    <a:pt x="35488" y="94932"/>
                    <a:pt x="35015" y="95405"/>
                  </a:cubicBezTo>
                  <a:cubicBezTo>
                    <a:pt x="31229" y="98244"/>
                    <a:pt x="27444" y="101557"/>
                    <a:pt x="23659" y="104396"/>
                  </a:cubicBezTo>
                  <a:cubicBezTo>
                    <a:pt x="21766" y="105815"/>
                    <a:pt x="19400" y="107708"/>
                    <a:pt x="17507" y="109127"/>
                  </a:cubicBezTo>
                  <a:cubicBezTo>
                    <a:pt x="16561" y="110074"/>
                    <a:pt x="16561" y="110547"/>
                    <a:pt x="17507" y="111493"/>
                  </a:cubicBezTo>
                  <a:cubicBezTo>
                    <a:pt x="18454" y="111966"/>
                    <a:pt x="19400" y="112913"/>
                    <a:pt x="20346" y="113386"/>
                  </a:cubicBezTo>
                  <a:cubicBezTo>
                    <a:pt x="25078" y="117171"/>
                    <a:pt x="29810" y="120957"/>
                    <a:pt x="35015" y="124742"/>
                  </a:cubicBezTo>
                  <a:cubicBezTo>
                    <a:pt x="35488" y="125215"/>
                    <a:pt x="36434" y="126162"/>
                    <a:pt x="37381" y="125689"/>
                  </a:cubicBezTo>
                  <a:lnTo>
                    <a:pt x="37381" y="93986"/>
                  </a:lnTo>
                  <a:close/>
                  <a:moveTo>
                    <a:pt x="12303" y="122376"/>
                  </a:moveTo>
                  <a:cubicBezTo>
                    <a:pt x="12303" y="123323"/>
                    <a:pt x="11829" y="123323"/>
                    <a:pt x="11829" y="123796"/>
                  </a:cubicBezTo>
                  <a:cubicBezTo>
                    <a:pt x="12303" y="129474"/>
                    <a:pt x="11356" y="134679"/>
                    <a:pt x="12303" y="140357"/>
                  </a:cubicBezTo>
                  <a:cubicBezTo>
                    <a:pt x="12303" y="140830"/>
                    <a:pt x="12303" y="141303"/>
                    <a:pt x="12303" y="141776"/>
                  </a:cubicBezTo>
                  <a:cubicBezTo>
                    <a:pt x="12303" y="155025"/>
                    <a:pt x="11829" y="168274"/>
                    <a:pt x="11829" y="181996"/>
                  </a:cubicBezTo>
                  <a:cubicBezTo>
                    <a:pt x="11829" y="209914"/>
                    <a:pt x="11829" y="237358"/>
                    <a:pt x="11829" y="265275"/>
                  </a:cubicBezTo>
                  <a:cubicBezTo>
                    <a:pt x="11829" y="267168"/>
                    <a:pt x="11829" y="269060"/>
                    <a:pt x="12303" y="270953"/>
                  </a:cubicBezTo>
                  <a:cubicBezTo>
                    <a:pt x="12303" y="272846"/>
                    <a:pt x="13249" y="273319"/>
                    <a:pt x="14668" y="271899"/>
                  </a:cubicBezTo>
                  <a:cubicBezTo>
                    <a:pt x="18927" y="269060"/>
                    <a:pt x="22712" y="265748"/>
                    <a:pt x="26971" y="262436"/>
                  </a:cubicBezTo>
                  <a:cubicBezTo>
                    <a:pt x="34069" y="256758"/>
                    <a:pt x="41166" y="251080"/>
                    <a:pt x="48264" y="245875"/>
                  </a:cubicBezTo>
                  <a:cubicBezTo>
                    <a:pt x="52996" y="242089"/>
                    <a:pt x="57727" y="238304"/>
                    <a:pt x="62459" y="234519"/>
                  </a:cubicBezTo>
                  <a:cubicBezTo>
                    <a:pt x="71922" y="226948"/>
                    <a:pt x="81386" y="219850"/>
                    <a:pt x="91323" y="212279"/>
                  </a:cubicBezTo>
                  <a:cubicBezTo>
                    <a:pt x="97001" y="208021"/>
                    <a:pt x="103152" y="203289"/>
                    <a:pt x="108830" y="199031"/>
                  </a:cubicBezTo>
                  <a:cubicBezTo>
                    <a:pt x="109303" y="198557"/>
                    <a:pt x="109303" y="198557"/>
                    <a:pt x="109776" y="197611"/>
                  </a:cubicBezTo>
                  <a:cubicBezTo>
                    <a:pt x="103152" y="192406"/>
                    <a:pt x="96528" y="187674"/>
                    <a:pt x="90376" y="182469"/>
                  </a:cubicBezTo>
                  <a:cubicBezTo>
                    <a:pt x="83752" y="177265"/>
                    <a:pt x="77127" y="172533"/>
                    <a:pt x="70503" y="167328"/>
                  </a:cubicBezTo>
                  <a:cubicBezTo>
                    <a:pt x="63879" y="162123"/>
                    <a:pt x="57727" y="156918"/>
                    <a:pt x="51103" y="152186"/>
                  </a:cubicBezTo>
                  <a:cubicBezTo>
                    <a:pt x="44478" y="147455"/>
                    <a:pt x="38327" y="141776"/>
                    <a:pt x="31703" y="137045"/>
                  </a:cubicBezTo>
                  <a:cubicBezTo>
                    <a:pt x="26025" y="132313"/>
                    <a:pt x="19400" y="127581"/>
                    <a:pt x="12303" y="122376"/>
                  </a:cubicBezTo>
                  <a:moveTo>
                    <a:pt x="181226" y="198084"/>
                  </a:moveTo>
                  <a:cubicBezTo>
                    <a:pt x="213875" y="223162"/>
                    <a:pt x="246051" y="247767"/>
                    <a:pt x="278226" y="272846"/>
                  </a:cubicBezTo>
                  <a:cubicBezTo>
                    <a:pt x="278700" y="271899"/>
                    <a:pt x="279173" y="271426"/>
                    <a:pt x="279173" y="270953"/>
                  </a:cubicBezTo>
                  <a:cubicBezTo>
                    <a:pt x="279646" y="269534"/>
                    <a:pt x="279646" y="268114"/>
                    <a:pt x="279646" y="266694"/>
                  </a:cubicBezTo>
                  <a:cubicBezTo>
                    <a:pt x="279646" y="237831"/>
                    <a:pt x="279646" y="208967"/>
                    <a:pt x="279646" y="180104"/>
                  </a:cubicBezTo>
                  <a:cubicBezTo>
                    <a:pt x="279646" y="177265"/>
                    <a:pt x="280119" y="174425"/>
                    <a:pt x="279173" y="171586"/>
                  </a:cubicBezTo>
                  <a:cubicBezTo>
                    <a:pt x="279173" y="171113"/>
                    <a:pt x="279173" y="171113"/>
                    <a:pt x="279173" y="170640"/>
                  </a:cubicBezTo>
                  <a:cubicBezTo>
                    <a:pt x="279173" y="160230"/>
                    <a:pt x="279173" y="149820"/>
                    <a:pt x="279173" y="139411"/>
                  </a:cubicBezTo>
                  <a:cubicBezTo>
                    <a:pt x="279173" y="137518"/>
                    <a:pt x="279646" y="136098"/>
                    <a:pt x="279646" y="134206"/>
                  </a:cubicBezTo>
                  <a:cubicBezTo>
                    <a:pt x="279646" y="130893"/>
                    <a:pt x="279646" y="127581"/>
                    <a:pt x="279646" y="123796"/>
                  </a:cubicBezTo>
                  <a:cubicBezTo>
                    <a:pt x="279646" y="123323"/>
                    <a:pt x="279173" y="122849"/>
                    <a:pt x="279173" y="122376"/>
                  </a:cubicBezTo>
                  <a:cubicBezTo>
                    <a:pt x="246524" y="147455"/>
                    <a:pt x="214348" y="172533"/>
                    <a:pt x="181226" y="198084"/>
                  </a:cubicBezTo>
                  <a:moveTo>
                    <a:pt x="267343" y="279470"/>
                  </a:moveTo>
                  <a:cubicBezTo>
                    <a:pt x="266870" y="278997"/>
                    <a:pt x="266870" y="278524"/>
                    <a:pt x="266397" y="278524"/>
                  </a:cubicBezTo>
                  <a:cubicBezTo>
                    <a:pt x="264031" y="276631"/>
                    <a:pt x="261192" y="274265"/>
                    <a:pt x="258826" y="272373"/>
                  </a:cubicBezTo>
                  <a:cubicBezTo>
                    <a:pt x="253621" y="268114"/>
                    <a:pt x="247943" y="264329"/>
                    <a:pt x="242738" y="260070"/>
                  </a:cubicBezTo>
                  <a:cubicBezTo>
                    <a:pt x="238007" y="256285"/>
                    <a:pt x="232802" y="252026"/>
                    <a:pt x="228070" y="248241"/>
                  </a:cubicBezTo>
                  <a:cubicBezTo>
                    <a:pt x="222865" y="244455"/>
                    <a:pt x="217660" y="240670"/>
                    <a:pt x="212455" y="236411"/>
                  </a:cubicBezTo>
                  <a:cubicBezTo>
                    <a:pt x="205831" y="231206"/>
                    <a:pt x="198733" y="225528"/>
                    <a:pt x="192109" y="220323"/>
                  </a:cubicBezTo>
                  <a:cubicBezTo>
                    <a:pt x="185957" y="215592"/>
                    <a:pt x="179806" y="210860"/>
                    <a:pt x="173655" y="205655"/>
                  </a:cubicBezTo>
                  <a:cubicBezTo>
                    <a:pt x="172709" y="204709"/>
                    <a:pt x="171762" y="204709"/>
                    <a:pt x="170816" y="205655"/>
                  </a:cubicBezTo>
                  <a:cubicBezTo>
                    <a:pt x="167977" y="208021"/>
                    <a:pt x="165138" y="210387"/>
                    <a:pt x="162299" y="212279"/>
                  </a:cubicBezTo>
                  <a:cubicBezTo>
                    <a:pt x="158513" y="215592"/>
                    <a:pt x="153782" y="217484"/>
                    <a:pt x="149050" y="217958"/>
                  </a:cubicBezTo>
                  <a:cubicBezTo>
                    <a:pt x="142899" y="218431"/>
                    <a:pt x="137694" y="217011"/>
                    <a:pt x="132489" y="213699"/>
                  </a:cubicBezTo>
                  <a:cubicBezTo>
                    <a:pt x="129177" y="210860"/>
                    <a:pt x="125391" y="208494"/>
                    <a:pt x="122079" y="205655"/>
                  </a:cubicBezTo>
                  <a:cubicBezTo>
                    <a:pt x="121133" y="204709"/>
                    <a:pt x="120186" y="205182"/>
                    <a:pt x="119713" y="205655"/>
                  </a:cubicBezTo>
                  <a:cubicBezTo>
                    <a:pt x="112615" y="211333"/>
                    <a:pt x="105518" y="216538"/>
                    <a:pt x="98420" y="222216"/>
                  </a:cubicBezTo>
                  <a:cubicBezTo>
                    <a:pt x="90849" y="228367"/>
                    <a:pt x="82805" y="234519"/>
                    <a:pt x="75235" y="240197"/>
                  </a:cubicBezTo>
                  <a:cubicBezTo>
                    <a:pt x="70030" y="243982"/>
                    <a:pt x="65298" y="248241"/>
                    <a:pt x="60093" y="252026"/>
                  </a:cubicBezTo>
                  <a:cubicBezTo>
                    <a:pt x="50156" y="259597"/>
                    <a:pt x="40693" y="267168"/>
                    <a:pt x="30756" y="274738"/>
                  </a:cubicBezTo>
                  <a:cubicBezTo>
                    <a:pt x="28864" y="276158"/>
                    <a:pt x="27444" y="277577"/>
                    <a:pt x="25551" y="278997"/>
                  </a:cubicBezTo>
                  <a:cubicBezTo>
                    <a:pt x="25078" y="279943"/>
                    <a:pt x="25551" y="279943"/>
                    <a:pt x="26498" y="279943"/>
                  </a:cubicBezTo>
                  <a:cubicBezTo>
                    <a:pt x="44952" y="280890"/>
                    <a:pt x="264504" y="280417"/>
                    <a:pt x="267343" y="279470"/>
                  </a:cubicBezTo>
                  <a:moveTo>
                    <a:pt x="146211" y="36732"/>
                  </a:moveTo>
                  <a:cubicBezTo>
                    <a:pt x="117820" y="36732"/>
                    <a:pt x="89903" y="36732"/>
                    <a:pt x="61513" y="36732"/>
                  </a:cubicBezTo>
                  <a:cubicBezTo>
                    <a:pt x="59620" y="36732"/>
                    <a:pt x="57254" y="36732"/>
                    <a:pt x="55835" y="38151"/>
                  </a:cubicBezTo>
                  <a:cubicBezTo>
                    <a:pt x="51103" y="40517"/>
                    <a:pt x="48737" y="44303"/>
                    <a:pt x="48737" y="49507"/>
                  </a:cubicBezTo>
                  <a:cubicBezTo>
                    <a:pt x="48737" y="64176"/>
                    <a:pt x="48737" y="78844"/>
                    <a:pt x="48737" y="93986"/>
                  </a:cubicBezTo>
                  <a:cubicBezTo>
                    <a:pt x="48737" y="106762"/>
                    <a:pt x="48737" y="120010"/>
                    <a:pt x="48737" y="132786"/>
                  </a:cubicBezTo>
                  <a:cubicBezTo>
                    <a:pt x="48737" y="134206"/>
                    <a:pt x="48737" y="135152"/>
                    <a:pt x="49683" y="136098"/>
                  </a:cubicBezTo>
                  <a:cubicBezTo>
                    <a:pt x="53942" y="139411"/>
                    <a:pt x="57727" y="142723"/>
                    <a:pt x="61986" y="146035"/>
                  </a:cubicBezTo>
                  <a:cubicBezTo>
                    <a:pt x="64352" y="147928"/>
                    <a:pt x="66718" y="149347"/>
                    <a:pt x="69083" y="151240"/>
                  </a:cubicBezTo>
                  <a:cubicBezTo>
                    <a:pt x="70503" y="152659"/>
                    <a:pt x="71922" y="154079"/>
                    <a:pt x="73815" y="155025"/>
                  </a:cubicBezTo>
                  <a:cubicBezTo>
                    <a:pt x="79493" y="158811"/>
                    <a:pt x="84225" y="164016"/>
                    <a:pt x="90376" y="167328"/>
                  </a:cubicBezTo>
                  <a:cubicBezTo>
                    <a:pt x="92269" y="168747"/>
                    <a:pt x="94162" y="170167"/>
                    <a:pt x="96054" y="172060"/>
                  </a:cubicBezTo>
                  <a:cubicBezTo>
                    <a:pt x="99367" y="174899"/>
                    <a:pt x="102679" y="177265"/>
                    <a:pt x="105991" y="180104"/>
                  </a:cubicBezTo>
                  <a:cubicBezTo>
                    <a:pt x="114035" y="186255"/>
                    <a:pt x="122079" y="192879"/>
                    <a:pt x="130123" y="199031"/>
                  </a:cubicBezTo>
                  <a:cubicBezTo>
                    <a:pt x="132962" y="201396"/>
                    <a:pt x="136274" y="203762"/>
                    <a:pt x="139586" y="206128"/>
                  </a:cubicBezTo>
                  <a:cubicBezTo>
                    <a:pt x="142899" y="208494"/>
                    <a:pt x="149050" y="208494"/>
                    <a:pt x="152362" y="206128"/>
                  </a:cubicBezTo>
                  <a:cubicBezTo>
                    <a:pt x="158040" y="201870"/>
                    <a:pt x="163718" y="197611"/>
                    <a:pt x="169396" y="193352"/>
                  </a:cubicBezTo>
                  <a:cubicBezTo>
                    <a:pt x="176021" y="188621"/>
                    <a:pt x="182172" y="183889"/>
                    <a:pt x="188797" y="178684"/>
                  </a:cubicBezTo>
                  <a:cubicBezTo>
                    <a:pt x="189270" y="178211"/>
                    <a:pt x="189743" y="177738"/>
                    <a:pt x="190216" y="177265"/>
                  </a:cubicBezTo>
                  <a:cubicBezTo>
                    <a:pt x="191162" y="176318"/>
                    <a:pt x="191636" y="175845"/>
                    <a:pt x="192582" y="174899"/>
                  </a:cubicBezTo>
                  <a:cubicBezTo>
                    <a:pt x="193528" y="173952"/>
                    <a:pt x="194948" y="173006"/>
                    <a:pt x="195894" y="172533"/>
                  </a:cubicBezTo>
                  <a:cubicBezTo>
                    <a:pt x="200626" y="169221"/>
                    <a:pt x="205358" y="165435"/>
                    <a:pt x="209616" y="162123"/>
                  </a:cubicBezTo>
                  <a:cubicBezTo>
                    <a:pt x="210563" y="161177"/>
                    <a:pt x="211982" y="160230"/>
                    <a:pt x="212928" y="159284"/>
                  </a:cubicBezTo>
                  <a:cubicBezTo>
                    <a:pt x="213402" y="158811"/>
                    <a:pt x="214348" y="157864"/>
                    <a:pt x="214821" y="157391"/>
                  </a:cubicBezTo>
                  <a:cubicBezTo>
                    <a:pt x="218133" y="154552"/>
                    <a:pt x="221919" y="152186"/>
                    <a:pt x="225231" y="149820"/>
                  </a:cubicBezTo>
                  <a:cubicBezTo>
                    <a:pt x="228070" y="147928"/>
                    <a:pt x="230909" y="145562"/>
                    <a:pt x="233275" y="143669"/>
                  </a:cubicBezTo>
                  <a:cubicBezTo>
                    <a:pt x="236114" y="141303"/>
                    <a:pt x="238953" y="138937"/>
                    <a:pt x="242265" y="136572"/>
                  </a:cubicBezTo>
                  <a:cubicBezTo>
                    <a:pt x="243212" y="135625"/>
                    <a:pt x="243685" y="134206"/>
                    <a:pt x="243685" y="132786"/>
                  </a:cubicBezTo>
                  <a:cubicBezTo>
                    <a:pt x="243685" y="130893"/>
                    <a:pt x="243685" y="129474"/>
                    <a:pt x="243685" y="127581"/>
                  </a:cubicBezTo>
                  <a:cubicBezTo>
                    <a:pt x="243685" y="101557"/>
                    <a:pt x="243685" y="75532"/>
                    <a:pt x="243685" y="49507"/>
                  </a:cubicBezTo>
                  <a:cubicBezTo>
                    <a:pt x="243685" y="47615"/>
                    <a:pt x="243685" y="45249"/>
                    <a:pt x="242265" y="43829"/>
                  </a:cubicBezTo>
                  <a:cubicBezTo>
                    <a:pt x="239426" y="39571"/>
                    <a:pt x="236114" y="37205"/>
                    <a:pt x="230909" y="37205"/>
                  </a:cubicBezTo>
                  <a:cubicBezTo>
                    <a:pt x="202519" y="36732"/>
                    <a:pt x="174128" y="36732"/>
                    <a:pt x="146211" y="36732"/>
                  </a:cubicBezTo>
                  <a:moveTo>
                    <a:pt x="145264" y="291773"/>
                  </a:moveTo>
                  <a:cubicBezTo>
                    <a:pt x="105991" y="291773"/>
                    <a:pt x="67191" y="291773"/>
                    <a:pt x="27917" y="291773"/>
                  </a:cubicBezTo>
                  <a:cubicBezTo>
                    <a:pt x="25078" y="291773"/>
                    <a:pt x="22239" y="291773"/>
                    <a:pt x="19400" y="290826"/>
                  </a:cubicBezTo>
                  <a:cubicBezTo>
                    <a:pt x="14195" y="289880"/>
                    <a:pt x="9937" y="287041"/>
                    <a:pt x="6151" y="283256"/>
                  </a:cubicBezTo>
                  <a:cubicBezTo>
                    <a:pt x="1893" y="278524"/>
                    <a:pt x="473" y="272846"/>
                    <a:pt x="473" y="266694"/>
                  </a:cubicBezTo>
                  <a:cubicBezTo>
                    <a:pt x="473" y="237358"/>
                    <a:pt x="473" y="208494"/>
                    <a:pt x="473" y="179630"/>
                  </a:cubicBezTo>
                  <a:cubicBezTo>
                    <a:pt x="473" y="170167"/>
                    <a:pt x="473" y="160230"/>
                    <a:pt x="473" y="150767"/>
                  </a:cubicBezTo>
                  <a:cubicBezTo>
                    <a:pt x="473" y="147928"/>
                    <a:pt x="946" y="145562"/>
                    <a:pt x="473" y="142723"/>
                  </a:cubicBezTo>
                  <a:cubicBezTo>
                    <a:pt x="0" y="140357"/>
                    <a:pt x="0" y="137518"/>
                    <a:pt x="0" y="135152"/>
                  </a:cubicBezTo>
                  <a:cubicBezTo>
                    <a:pt x="946" y="128054"/>
                    <a:pt x="0" y="121430"/>
                    <a:pt x="473" y="114332"/>
                  </a:cubicBezTo>
                  <a:cubicBezTo>
                    <a:pt x="473" y="112440"/>
                    <a:pt x="473" y="111020"/>
                    <a:pt x="473" y="109127"/>
                  </a:cubicBezTo>
                  <a:cubicBezTo>
                    <a:pt x="473" y="107235"/>
                    <a:pt x="1420" y="105815"/>
                    <a:pt x="2839" y="104396"/>
                  </a:cubicBezTo>
                  <a:cubicBezTo>
                    <a:pt x="8990" y="99664"/>
                    <a:pt x="14668" y="94932"/>
                    <a:pt x="20820" y="90674"/>
                  </a:cubicBezTo>
                  <a:cubicBezTo>
                    <a:pt x="25078" y="87361"/>
                    <a:pt x="29810" y="83576"/>
                    <a:pt x="34069" y="80264"/>
                  </a:cubicBezTo>
                  <a:cubicBezTo>
                    <a:pt x="35961" y="78844"/>
                    <a:pt x="36908" y="77425"/>
                    <a:pt x="36908" y="75059"/>
                  </a:cubicBezTo>
                  <a:cubicBezTo>
                    <a:pt x="36908" y="66542"/>
                    <a:pt x="36908" y="57551"/>
                    <a:pt x="36908" y="48561"/>
                  </a:cubicBezTo>
                  <a:cubicBezTo>
                    <a:pt x="36908" y="38624"/>
                    <a:pt x="43532" y="28688"/>
                    <a:pt x="53469" y="25376"/>
                  </a:cubicBezTo>
                  <a:cubicBezTo>
                    <a:pt x="55835" y="24429"/>
                    <a:pt x="58674" y="24429"/>
                    <a:pt x="61039" y="23956"/>
                  </a:cubicBezTo>
                  <a:cubicBezTo>
                    <a:pt x="75235" y="23956"/>
                    <a:pt x="89430" y="23956"/>
                    <a:pt x="103625" y="23956"/>
                  </a:cubicBezTo>
                  <a:cubicBezTo>
                    <a:pt x="105045" y="23956"/>
                    <a:pt x="106464" y="23483"/>
                    <a:pt x="107884" y="22537"/>
                  </a:cubicBezTo>
                  <a:cubicBezTo>
                    <a:pt x="115455" y="16385"/>
                    <a:pt x="123025" y="10707"/>
                    <a:pt x="130596" y="5029"/>
                  </a:cubicBezTo>
                  <a:cubicBezTo>
                    <a:pt x="139113" y="-1595"/>
                    <a:pt x="151416" y="-1595"/>
                    <a:pt x="159460" y="4556"/>
                  </a:cubicBezTo>
                  <a:cubicBezTo>
                    <a:pt x="165611" y="9288"/>
                    <a:pt x="171762" y="14019"/>
                    <a:pt x="177913" y="18751"/>
                  </a:cubicBezTo>
                  <a:cubicBezTo>
                    <a:pt x="180279" y="20644"/>
                    <a:pt x="182172" y="22063"/>
                    <a:pt x="184538" y="23483"/>
                  </a:cubicBezTo>
                  <a:cubicBezTo>
                    <a:pt x="185484" y="23956"/>
                    <a:pt x="186904" y="24429"/>
                    <a:pt x="187850" y="24429"/>
                  </a:cubicBezTo>
                  <a:cubicBezTo>
                    <a:pt x="202045" y="24429"/>
                    <a:pt x="216241" y="24429"/>
                    <a:pt x="230436" y="24429"/>
                  </a:cubicBezTo>
                  <a:cubicBezTo>
                    <a:pt x="235168" y="24429"/>
                    <a:pt x="239899" y="25376"/>
                    <a:pt x="243685" y="28215"/>
                  </a:cubicBezTo>
                  <a:cubicBezTo>
                    <a:pt x="250782" y="32946"/>
                    <a:pt x="255041" y="39571"/>
                    <a:pt x="255041" y="48088"/>
                  </a:cubicBezTo>
                  <a:cubicBezTo>
                    <a:pt x="255041" y="57078"/>
                    <a:pt x="255041" y="66069"/>
                    <a:pt x="255041" y="75059"/>
                  </a:cubicBezTo>
                  <a:cubicBezTo>
                    <a:pt x="255041" y="77425"/>
                    <a:pt x="255514" y="78844"/>
                    <a:pt x="257407" y="80264"/>
                  </a:cubicBezTo>
                  <a:cubicBezTo>
                    <a:pt x="262139" y="84049"/>
                    <a:pt x="267343" y="87361"/>
                    <a:pt x="272075" y="91147"/>
                  </a:cubicBezTo>
                  <a:cubicBezTo>
                    <a:pt x="275861" y="93986"/>
                    <a:pt x="279646" y="96825"/>
                    <a:pt x="283431" y="100137"/>
                  </a:cubicBezTo>
                  <a:cubicBezTo>
                    <a:pt x="284851" y="101083"/>
                    <a:pt x="285797" y="102503"/>
                    <a:pt x="287217" y="103449"/>
                  </a:cubicBezTo>
                  <a:cubicBezTo>
                    <a:pt x="290056" y="105342"/>
                    <a:pt x="291475" y="107708"/>
                    <a:pt x="291475" y="111493"/>
                  </a:cubicBezTo>
                  <a:cubicBezTo>
                    <a:pt x="291475" y="118118"/>
                    <a:pt x="291002" y="124269"/>
                    <a:pt x="291002" y="130893"/>
                  </a:cubicBezTo>
                  <a:cubicBezTo>
                    <a:pt x="291002" y="131367"/>
                    <a:pt x="291002" y="131840"/>
                    <a:pt x="291002" y="131840"/>
                  </a:cubicBezTo>
                  <a:cubicBezTo>
                    <a:pt x="291948" y="134206"/>
                    <a:pt x="291948" y="136572"/>
                    <a:pt x="291475" y="138937"/>
                  </a:cubicBezTo>
                  <a:cubicBezTo>
                    <a:pt x="291002" y="144616"/>
                    <a:pt x="291475" y="149820"/>
                    <a:pt x="291475" y="155499"/>
                  </a:cubicBezTo>
                  <a:cubicBezTo>
                    <a:pt x="291475" y="158811"/>
                    <a:pt x="291002" y="162123"/>
                    <a:pt x="291002" y="165908"/>
                  </a:cubicBezTo>
                  <a:cubicBezTo>
                    <a:pt x="291002" y="168747"/>
                    <a:pt x="291475" y="171113"/>
                    <a:pt x="291475" y="173952"/>
                  </a:cubicBezTo>
                  <a:cubicBezTo>
                    <a:pt x="291475" y="174899"/>
                    <a:pt x="291002" y="175845"/>
                    <a:pt x="291002" y="177265"/>
                  </a:cubicBezTo>
                  <a:cubicBezTo>
                    <a:pt x="291002" y="177738"/>
                    <a:pt x="291002" y="178211"/>
                    <a:pt x="291002" y="178684"/>
                  </a:cubicBezTo>
                  <a:cubicBezTo>
                    <a:pt x="291002" y="180577"/>
                    <a:pt x="291475" y="182943"/>
                    <a:pt x="291475" y="184835"/>
                  </a:cubicBezTo>
                  <a:cubicBezTo>
                    <a:pt x="291475" y="212279"/>
                    <a:pt x="291475" y="239724"/>
                    <a:pt x="291475" y="267168"/>
                  </a:cubicBezTo>
                  <a:cubicBezTo>
                    <a:pt x="291475" y="275212"/>
                    <a:pt x="288636" y="281836"/>
                    <a:pt x="282012" y="287041"/>
                  </a:cubicBezTo>
                  <a:cubicBezTo>
                    <a:pt x="277280" y="290826"/>
                    <a:pt x="272075" y="292246"/>
                    <a:pt x="266397" y="292246"/>
                  </a:cubicBezTo>
                  <a:cubicBezTo>
                    <a:pt x="255987" y="292246"/>
                    <a:pt x="245577" y="292246"/>
                    <a:pt x="235168" y="292246"/>
                  </a:cubicBezTo>
                  <a:lnTo>
                    <a:pt x="145264" y="292246"/>
                  </a:lnTo>
                  <a:close/>
                </a:path>
              </a:pathLst>
            </a:custGeom>
            <a:solidFill>
              <a:srgbClr val="FCAF17"/>
            </a:solidFill>
            <a:ln w="4609" cap="flat">
              <a:noFill/>
              <a:prstDash val="solid"/>
              <a:miter/>
            </a:ln>
          </p:spPr>
          <p:txBody>
            <a:bodyPr rtlCol="0" anchor="ctr"/>
            <a:lstStyle/>
            <a:p>
              <a:endParaRPr lang="en-GB" sz="2400" dirty="0"/>
            </a:p>
          </p:txBody>
        </p:sp>
        <p:sp>
          <p:nvSpPr>
            <p:cNvPr id="16" name="Freeform: Shape 15">
              <a:extLst>
                <a:ext uri="{FF2B5EF4-FFF2-40B4-BE49-F238E27FC236}">
                  <a16:creationId xmlns:a16="http://schemas.microsoft.com/office/drawing/2014/main" id="{2A983088-889F-4C5C-BC70-AC61A60F7865}"/>
                </a:ext>
              </a:extLst>
            </p:cNvPr>
            <p:cNvSpPr/>
            <p:nvPr/>
          </p:nvSpPr>
          <p:spPr>
            <a:xfrm>
              <a:off x="421024" y="688086"/>
              <a:ext cx="94635" cy="94635"/>
            </a:xfrm>
            <a:custGeom>
              <a:avLst/>
              <a:gdLst>
                <a:gd name="connsiteX0" fmla="*/ 56136 w 94634"/>
                <a:gd name="connsiteY0" fmla="*/ 37050 h 94634"/>
                <a:gd name="connsiteX1" fmla="*/ 47145 w 94634"/>
                <a:gd name="connsiteY1" fmla="*/ 37996 h 94634"/>
                <a:gd name="connsiteX2" fmla="*/ 41941 w 94634"/>
                <a:gd name="connsiteY2" fmla="*/ 53611 h 94634"/>
                <a:gd name="connsiteX3" fmla="*/ 46672 w 94634"/>
                <a:gd name="connsiteY3" fmla="*/ 57869 h 94634"/>
                <a:gd name="connsiteX4" fmla="*/ 53770 w 94634"/>
                <a:gd name="connsiteY4" fmla="*/ 57396 h 94634"/>
                <a:gd name="connsiteX5" fmla="*/ 56136 w 94634"/>
                <a:gd name="connsiteY5" fmla="*/ 54084 h 94634"/>
                <a:gd name="connsiteX6" fmla="*/ 56136 w 94634"/>
                <a:gd name="connsiteY6" fmla="*/ 44620 h 94634"/>
                <a:gd name="connsiteX7" fmla="*/ 56136 w 94634"/>
                <a:gd name="connsiteY7" fmla="*/ 37050 h 94634"/>
                <a:gd name="connsiteX8" fmla="*/ 67492 w 94634"/>
                <a:gd name="connsiteY8" fmla="*/ 44147 h 94634"/>
                <a:gd name="connsiteX9" fmla="*/ 67492 w 94634"/>
                <a:gd name="connsiteY9" fmla="*/ 55030 h 94634"/>
                <a:gd name="connsiteX10" fmla="*/ 68911 w 94634"/>
                <a:gd name="connsiteY10" fmla="*/ 57869 h 94634"/>
                <a:gd name="connsiteX11" fmla="*/ 75536 w 94634"/>
                <a:gd name="connsiteY11" fmla="*/ 59289 h 94634"/>
                <a:gd name="connsiteX12" fmla="*/ 84999 w 94634"/>
                <a:gd name="connsiteY12" fmla="*/ 51718 h 94634"/>
                <a:gd name="connsiteX13" fmla="*/ 83107 w 94634"/>
                <a:gd name="connsiteY13" fmla="*/ 35157 h 94634"/>
                <a:gd name="connsiteX14" fmla="*/ 73170 w 94634"/>
                <a:gd name="connsiteY14" fmla="*/ 20489 h 94634"/>
                <a:gd name="connsiteX15" fmla="*/ 46199 w 94634"/>
                <a:gd name="connsiteY15" fmla="*/ 11025 h 94634"/>
                <a:gd name="connsiteX16" fmla="*/ 29165 w 94634"/>
                <a:gd name="connsiteY16" fmla="*/ 16230 h 94634"/>
                <a:gd name="connsiteX17" fmla="*/ 14496 w 94634"/>
                <a:gd name="connsiteY17" fmla="*/ 33264 h 94634"/>
                <a:gd name="connsiteX18" fmla="*/ 12131 w 94634"/>
                <a:gd name="connsiteY18" fmla="*/ 54084 h 94634"/>
                <a:gd name="connsiteX19" fmla="*/ 15916 w 94634"/>
                <a:gd name="connsiteY19" fmla="*/ 65440 h 94634"/>
                <a:gd name="connsiteX20" fmla="*/ 20648 w 94634"/>
                <a:gd name="connsiteY20" fmla="*/ 71591 h 94634"/>
                <a:gd name="connsiteX21" fmla="*/ 31531 w 94634"/>
                <a:gd name="connsiteY21" fmla="*/ 80582 h 94634"/>
                <a:gd name="connsiteX22" fmla="*/ 43360 w 94634"/>
                <a:gd name="connsiteY22" fmla="*/ 83894 h 94634"/>
                <a:gd name="connsiteX23" fmla="*/ 49038 w 94634"/>
                <a:gd name="connsiteY23" fmla="*/ 84840 h 94634"/>
                <a:gd name="connsiteX24" fmla="*/ 53297 w 94634"/>
                <a:gd name="connsiteY24" fmla="*/ 91938 h 94634"/>
                <a:gd name="connsiteX25" fmla="*/ 48092 w 94634"/>
                <a:gd name="connsiteY25" fmla="*/ 96196 h 94634"/>
                <a:gd name="connsiteX26" fmla="*/ 44306 w 94634"/>
                <a:gd name="connsiteY26" fmla="*/ 95723 h 94634"/>
                <a:gd name="connsiteX27" fmla="*/ 34843 w 94634"/>
                <a:gd name="connsiteY27" fmla="*/ 93831 h 94634"/>
                <a:gd name="connsiteX28" fmla="*/ 32004 w 94634"/>
                <a:gd name="connsiteY28" fmla="*/ 92884 h 94634"/>
                <a:gd name="connsiteX29" fmla="*/ 26326 w 94634"/>
                <a:gd name="connsiteY29" fmla="*/ 90518 h 94634"/>
                <a:gd name="connsiteX30" fmla="*/ 14496 w 94634"/>
                <a:gd name="connsiteY30" fmla="*/ 82474 h 94634"/>
                <a:gd name="connsiteX31" fmla="*/ 8818 w 94634"/>
                <a:gd name="connsiteY31" fmla="*/ 75377 h 94634"/>
                <a:gd name="connsiteX32" fmla="*/ 4560 w 94634"/>
                <a:gd name="connsiteY32" fmla="*/ 68752 h 94634"/>
                <a:gd name="connsiteX33" fmla="*/ 3140 w 94634"/>
                <a:gd name="connsiteY33" fmla="*/ 64494 h 94634"/>
                <a:gd name="connsiteX34" fmla="*/ 1721 w 94634"/>
                <a:gd name="connsiteY34" fmla="*/ 61182 h 94634"/>
                <a:gd name="connsiteX35" fmla="*/ 301 w 94634"/>
                <a:gd name="connsiteY35" fmla="*/ 51245 h 94634"/>
                <a:gd name="connsiteX36" fmla="*/ 2667 w 94634"/>
                <a:gd name="connsiteY36" fmla="*/ 31845 h 94634"/>
                <a:gd name="connsiteX37" fmla="*/ 10711 w 94634"/>
                <a:gd name="connsiteY37" fmla="*/ 17650 h 94634"/>
                <a:gd name="connsiteX38" fmla="*/ 27745 w 94634"/>
                <a:gd name="connsiteY38" fmla="*/ 4401 h 94634"/>
                <a:gd name="connsiteX39" fmla="*/ 55189 w 94634"/>
                <a:gd name="connsiteY39" fmla="*/ 615 h 94634"/>
                <a:gd name="connsiteX40" fmla="*/ 72697 w 94634"/>
                <a:gd name="connsiteY40" fmla="*/ 6767 h 94634"/>
                <a:gd name="connsiteX41" fmla="*/ 82634 w 94634"/>
                <a:gd name="connsiteY41" fmla="*/ 14811 h 94634"/>
                <a:gd name="connsiteX42" fmla="*/ 92570 w 94634"/>
                <a:gd name="connsiteY42" fmla="*/ 29479 h 94634"/>
                <a:gd name="connsiteX43" fmla="*/ 94463 w 94634"/>
                <a:gd name="connsiteY43" fmla="*/ 59289 h 94634"/>
                <a:gd name="connsiteX44" fmla="*/ 75063 w 94634"/>
                <a:gd name="connsiteY44" fmla="*/ 71591 h 94634"/>
                <a:gd name="connsiteX45" fmla="*/ 73643 w 94634"/>
                <a:gd name="connsiteY45" fmla="*/ 71591 h 94634"/>
                <a:gd name="connsiteX46" fmla="*/ 63707 w 94634"/>
                <a:gd name="connsiteY46" fmla="*/ 70172 h 94634"/>
                <a:gd name="connsiteX47" fmla="*/ 62760 w 94634"/>
                <a:gd name="connsiteY47" fmla="*/ 69699 h 94634"/>
                <a:gd name="connsiteX48" fmla="*/ 57082 w 94634"/>
                <a:gd name="connsiteY48" fmla="*/ 69699 h 94634"/>
                <a:gd name="connsiteX49" fmla="*/ 45253 w 94634"/>
                <a:gd name="connsiteY49" fmla="*/ 69699 h 94634"/>
                <a:gd name="connsiteX50" fmla="*/ 40521 w 94634"/>
                <a:gd name="connsiteY50" fmla="*/ 68752 h 94634"/>
                <a:gd name="connsiteX51" fmla="*/ 34843 w 94634"/>
                <a:gd name="connsiteY51" fmla="*/ 64021 h 94634"/>
                <a:gd name="connsiteX52" fmla="*/ 32004 w 94634"/>
                <a:gd name="connsiteY52" fmla="*/ 59762 h 94634"/>
                <a:gd name="connsiteX53" fmla="*/ 30584 w 94634"/>
                <a:gd name="connsiteY53" fmla="*/ 46513 h 94634"/>
                <a:gd name="connsiteX54" fmla="*/ 35789 w 94634"/>
                <a:gd name="connsiteY54" fmla="*/ 33737 h 94634"/>
                <a:gd name="connsiteX55" fmla="*/ 51404 w 94634"/>
                <a:gd name="connsiteY55" fmla="*/ 25220 h 94634"/>
                <a:gd name="connsiteX56" fmla="*/ 64180 w 94634"/>
                <a:gd name="connsiteY56" fmla="*/ 27586 h 94634"/>
                <a:gd name="connsiteX57" fmla="*/ 68438 w 94634"/>
                <a:gd name="connsiteY57" fmla="*/ 34211 h 94634"/>
                <a:gd name="connsiteX58" fmla="*/ 67492 w 94634"/>
                <a:gd name="connsiteY58" fmla="*/ 44147 h 94634"/>
                <a:gd name="connsiteX59" fmla="*/ 67492 w 94634"/>
                <a:gd name="connsiteY59" fmla="*/ 44147 h 94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4634" h="94634">
                  <a:moveTo>
                    <a:pt x="56136" y="37050"/>
                  </a:moveTo>
                  <a:cubicBezTo>
                    <a:pt x="52824" y="36103"/>
                    <a:pt x="49985" y="36103"/>
                    <a:pt x="47145" y="37996"/>
                  </a:cubicBezTo>
                  <a:cubicBezTo>
                    <a:pt x="42414" y="41308"/>
                    <a:pt x="40521" y="48406"/>
                    <a:pt x="41941" y="53611"/>
                  </a:cubicBezTo>
                  <a:cubicBezTo>
                    <a:pt x="42414" y="55977"/>
                    <a:pt x="44306" y="57396"/>
                    <a:pt x="46672" y="57869"/>
                  </a:cubicBezTo>
                  <a:cubicBezTo>
                    <a:pt x="49038" y="58343"/>
                    <a:pt x="51404" y="58343"/>
                    <a:pt x="53770" y="57396"/>
                  </a:cubicBezTo>
                  <a:cubicBezTo>
                    <a:pt x="55663" y="56923"/>
                    <a:pt x="55663" y="56450"/>
                    <a:pt x="56136" y="54084"/>
                  </a:cubicBezTo>
                  <a:cubicBezTo>
                    <a:pt x="56136" y="50772"/>
                    <a:pt x="56136" y="47933"/>
                    <a:pt x="56136" y="44620"/>
                  </a:cubicBezTo>
                  <a:cubicBezTo>
                    <a:pt x="56136" y="42728"/>
                    <a:pt x="56136" y="39889"/>
                    <a:pt x="56136" y="37050"/>
                  </a:cubicBezTo>
                  <a:moveTo>
                    <a:pt x="67492" y="44147"/>
                  </a:moveTo>
                  <a:cubicBezTo>
                    <a:pt x="67492" y="47933"/>
                    <a:pt x="67492" y="51718"/>
                    <a:pt x="67492" y="55030"/>
                  </a:cubicBezTo>
                  <a:cubicBezTo>
                    <a:pt x="67492" y="56450"/>
                    <a:pt x="67965" y="57396"/>
                    <a:pt x="68911" y="57869"/>
                  </a:cubicBezTo>
                  <a:cubicBezTo>
                    <a:pt x="71277" y="58343"/>
                    <a:pt x="73170" y="58816"/>
                    <a:pt x="75536" y="59289"/>
                  </a:cubicBezTo>
                  <a:cubicBezTo>
                    <a:pt x="80268" y="59762"/>
                    <a:pt x="84526" y="56450"/>
                    <a:pt x="84999" y="51718"/>
                  </a:cubicBezTo>
                  <a:cubicBezTo>
                    <a:pt x="85946" y="46040"/>
                    <a:pt x="84999" y="40362"/>
                    <a:pt x="83107" y="35157"/>
                  </a:cubicBezTo>
                  <a:cubicBezTo>
                    <a:pt x="81214" y="29479"/>
                    <a:pt x="77902" y="24274"/>
                    <a:pt x="73170" y="20489"/>
                  </a:cubicBezTo>
                  <a:cubicBezTo>
                    <a:pt x="65599" y="13864"/>
                    <a:pt x="56609" y="10079"/>
                    <a:pt x="46199" y="11025"/>
                  </a:cubicBezTo>
                  <a:cubicBezTo>
                    <a:pt x="40048" y="11498"/>
                    <a:pt x="34370" y="12918"/>
                    <a:pt x="29165" y="16230"/>
                  </a:cubicBezTo>
                  <a:cubicBezTo>
                    <a:pt x="22540" y="20489"/>
                    <a:pt x="17335" y="26167"/>
                    <a:pt x="14496" y="33264"/>
                  </a:cubicBezTo>
                  <a:cubicBezTo>
                    <a:pt x="11657" y="39889"/>
                    <a:pt x="11184" y="46986"/>
                    <a:pt x="12131" y="54084"/>
                  </a:cubicBezTo>
                  <a:cubicBezTo>
                    <a:pt x="12604" y="57869"/>
                    <a:pt x="14496" y="61655"/>
                    <a:pt x="15916" y="65440"/>
                  </a:cubicBezTo>
                  <a:cubicBezTo>
                    <a:pt x="16862" y="67806"/>
                    <a:pt x="19228" y="69226"/>
                    <a:pt x="20648" y="71591"/>
                  </a:cubicBezTo>
                  <a:cubicBezTo>
                    <a:pt x="23487" y="75377"/>
                    <a:pt x="27272" y="78216"/>
                    <a:pt x="31531" y="80582"/>
                  </a:cubicBezTo>
                  <a:cubicBezTo>
                    <a:pt x="35316" y="82948"/>
                    <a:pt x="39575" y="82948"/>
                    <a:pt x="43360" y="83894"/>
                  </a:cubicBezTo>
                  <a:cubicBezTo>
                    <a:pt x="45253" y="84367"/>
                    <a:pt x="47145" y="84367"/>
                    <a:pt x="49038" y="84840"/>
                  </a:cubicBezTo>
                  <a:cubicBezTo>
                    <a:pt x="52350" y="85787"/>
                    <a:pt x="54243" y="88626"/>
                    <a:pt x="53297" y="91938"/>
                  </a:cubicBezTo>
                  <a:cubicBezTo>
                    <a:pt x="52824" y="93357"/>
                    <a:pt x="49511" y="96196"/>
                    <a:pt x="48092" y="96196"/>
                  </a:cubicBezTo>
                  <a:cubicBezTo>
                    <a:pt x="46672" y="96196"/>
                    <a:pt x="45253" y="96196"/>
                    <a:pt x="44306" y="95723"/>
                  </a:cubicBezTo>
                  <a:cubicBezTo>
                    <a:pt x="40994" y="95250"/>
                    <a:pt x="37682" y="94777"/>
                    <a:pt x="34843" y="93831"/>
                  </a:cubicBezTo>
                  <a:cubicBezTo>
                    <a:pt x="33897" y="93831"/>
                    <a:pt x="32950" y="92884"/>
                    <a:pt x="32004" y="92884"/>
                  </a:cubicBezTo>
                  <a:cubicBezTo>
                    <a:pt x="30111" y="91938"/>
                    <a:pt x="28219" y="91465"/>
                    <a:pt x="26326" y="90518"/>
                  </a:cubicBezTo>
                  <a:cubicBezTo>
                    <a:pt x="21594" y="88626"/>
                    <a:pt x="18282" y="85787"/>
                    <a:pt x="14496" y="82474"/>
                  </a:cubicBezTo>
                  <a:cubicBezTo>
                    <a:pt x="12131" y="80109"/>
                    <a:pt x="10711" y="77743"/>
                    <a:pt x="8818" y="75377"/>
                  </a:cubicBezTo>
                  <a:cubicBezTo>
                    <a:pt x="6926" y="73484"/>
                    <a:pt x="5506" y="71118"/>
                    <a:pt x="4560" y="68752"/>
                  </a:cubicBezTo>
                  <a:cubicBezTo>
                    <a:pt x="4087" y="67333"/>
                    <a:pt x="3613" y="65913"/>
                    <a:pt x="3140" y="64494"/>
                  </a:cubicBezTo>
                  <a:cubicBezTo>
                    <a:pt x="2667" y="63547"/>
                    <a:pt x="2194" y="62128"/>
                    <a:pt x="1721" y="61182"/>
                  </a:cubicBezTo>
                  <a:cubicBezTo>
                    <a:pt x="1248" y="57869"/>
                    <a:pt x="774" y="54557"/>
                    <a:pt x="301" y="51245"/>
                  </a:cubicBezTo>
                  <a:cubicBezTo>
                    <a:pt x="-645" y="44620"/>
                    <a:pt x="774" y="37996"/>
                    <a:pt x="2667" y="31845"/>
                  </a:cubicBezTo>
                  <a:cubicBezTo>
                    <a:pt x="4560" y="26640"/>
                    <a:pt x="7399" y="21908"/>
                    <a:pt x="10711" y="17650"/>
                  </a:cubicBezTo>
                  <a:cubicBezTo>
                    <a:pt x="15443" y="11971"/>
                    <a:pt x="21121" y="7713"/>
                    <a:pt x="27745" y="4401"/>
                  </a:cubicBezTo>
                  <a:cubicBezTo>
                    <a:pt x="36262" y="142"/>
                    <a:pt x="45726" y="-804"/>
                    <a:pt x="55189" y="615"/>
                  </a:cubicBezTo>
                  <a:cubicBezTo>
                    <a:pt x="61341" y="1562"/>
                    <a:pt x="67492" y="3454"/>
                    <a:pt x="72697" y="6767"/>
                  </a:cubicBezTo>
                  <a:cubicBezTo>
                    <a:pt x="76482" y="8659"/>
                    <a:pt x="79794" y="11498"/>
                    <a:pt x="82634" y="14811"/>
                  </a:cubicBezTo>
                  <a:cubicBezTo>
                    <a:pt x="86892" y="19069"/>
                    <a:pt x="90204" y="23801"/>
                    <a:pt x="92570" y="29479"/>
                  </a:cubicBezTo>
                  <a:cubicBezTo>
                    <a:pt x="96356" y="38942"/>
                    <a:pt x="98248" y="48879"/>
                    <a:pt x="94463" y="59289"/>
                  </a:cubicBezTo>
                  <a:cubicBezTo>
                    <a:pt x="91624" y="67333"/>
                    <a:pt x="84526" y="73011"/>
                    <a:pt x="75063" y="71591"/>
                  </a:cubicBezTo>
                  <a:cubicBezTo>
                    <a:pt x="74590" y="71591"/>
                    <a:pt x="74116" y="71591"/>
                    <a:pt x="73643" y="71591"/>
                  </a:cubicBezTo>
                  <a:cubicBezTo>
                    <a:pt x="70331" y="72065"/>
                    <a:pt x="67019" y="71118"/>
                    <a:pt x="63707" y="70172"/>
                  </a:cubicBezTo>
                  <a:cubicBezTo>
                    <a:pt x="63233" y="70172"/>
                    <a:pt x="63233" y="70172"/>
                    <a:pt x="62760" y="69699"/>
                  </a:cubicBezTo>
                  <a:cubicBezTo>
                    <a:pt x="60868" y="68752"/>
                    <a:pt x="58975" y="69226"/>
                    <a:pt x="57082" y="69699"/>
                  </a:cubicBezTo>
                  <a:cubicBezTo>
                    <a:pt x="54243" y="69699"/>
                    <a:pt x="49985" y="71118"/>
                    <a:pt x="45253" y="69699"/>
                  </a:cubicBezTo>
                  <a:cubicBezTo>
                    <a:pt x="43833" y="69226"/>
                    <a:pt x="41941" y="69226"/>
                    <a:pt x="40521" y="68752"/>
                  </a:cubicBezTo>
                  <a:cubicBezTo>
                    <a:pt x="38155" y="67806"/>
                    <a:pt x="36262" y="65913"/>
                    <a:pt x="34843" y="64021"/>
                  </a:cubicBezTo>
                  <a:cubicBezTo>
                    <a:pt x="33897" y="62601"/>
                    <a:pt x="32477" y="61182"/>
                    <a:pt x="32004" y="59762"/>
                  </a:cubicBezTo>
                  <a:cubicBezTo>
                    <a:pt x="30111" y="55503"/>
                    <a:pt x="30111" y="51245"/>
                    <a:pt x="30584" y="46513"/>
                  </a:cubicBezTo>
                  <a:cubicBezTo>
                    <a:pt x="31058" y="41781"/>
                    <a:pt x="32950" y="37523"/>
                    <a:pt x="35789" y="33737"/>
                  </a:cubicBezTo>
                  <a:cubicBezTo>
                    <a:pt x="39575" y="28533"/>
                    <a:pt x="45253" y="25694"/>
                    <a:pt x="51404" y="25220"/>
                  </a:cubicBezTo>
                  <a:cubicBezTo>
                    <a:pt x="55663" y="24747"/>
                    <a:pt x="60394" y="25694"/>
                    <a:pt x="64180" y="27586"/>
                  </a:cubicBezTo>
                  <a:cubicBezTo>
                    <a:pt x="67019" y="29006"/>
                    <a:pt x="68438" y="30898"/>
                    <a:pt x="68438" y="34211"/>
                  </a:cubicBezTo>
                  <a:cubicBezTo>
                    <a:pt x="67965" y="37050"/>
                    <a:pt x="67965" y="40835"/>
                    <a:pt x="67492" y="44147"/>
                  </a:cubicBezTo>
                  <a:cubicBezTo>
                    <a:pt x="67965" y="44147"/>
                    <a:pt x="67492" y="44147"/>
                    <a:pt x="67492" y="44147"/>
                  </a:cubicBezTo>
                </a:path>
              </a:pathLst>
            </a:custGeom>
            <a:solidFill>
              <a:srgbClr val="FCAF17"/>
            </a:solidFill>
            <a:ln w="4609" cap="flat">
              <a:noFill/>
              <a:prstDash val="solid"/>
              <a:miter/>
            </a:ln>
          </p:spPr>
          <p:txBody>
            <a:bodyPr rtlCol="0" anchor="ctr"/>
            <a:lstStyle/>
            <a:p>
              <a:endParaRPr lang="en-GB" sz="2400" dirty="0"/>
            </a:p>
          </p:txBody>
        </p:sp>
      </p:grpSp>
    </p:spTree>
    <p:extLst>
      <p:ext uri="{BB962C8B-B14F-4D97-AF65-F5344CB8AC3E}">
        <p14:creationId xmlns:p14="http://schemas.microsoft.com/office/powerpoint/2010/main" val="20537359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916FF65-E16B-BA4F-9591-6B4416106527}" type="datetimeFigureOut">
              <a:rPr lang="en-US" smtClean="0"/>
              <a:t>4/24/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7964809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Slide with QR code space">
    <p:bg>
      <p:bgPr>
        <a:solidFill>
          <a:srgbClr val="006BB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C48CFB-3162-47D6-9067-FBE7C5CE61A1}"/>
              </a:ext>
            </a:extLst>
          </p:cNvPr>
          <p:cNvSpPr>
            <a:spLocks noGrp="1"/>
          </p:cNvSpPr>
          <p:nvPr>
            <p:ph type="ctrTitle" hasCustomPrompt="1"/>
          </p:nvPr>
        </p:nvSpPr>
        <p:spPr>
          <a:xfrm>
            <a:off x="736601" y="792091"/>
            <a:ext cx="6838572" cy="2679167"/>
          </a:xfrm>
        </p:spPr>
        <p:txBody>
          <a:bodyPr anchor="t">
            <a:normAutofit/>
          </a:bodyPr>
          <a:lstStyle>
            <a:lvl1pPr algn="l">
              <a:defRPr sz="3600" b="1">
                <a:solidFill>
                  <a:schemeClr val="bg1"/>
                </a:solidFill>
                <a:latin typeface="Arial" panose="020B0604020202020204" pitchFamily="34" charset="0"/>
                <a:cs typeface="Arial" panose="020B0604020202020204" pitchFamily="34" charset="0"/>
              </a:defRPr>
            </a:lvl1pPr>
          </a:lstStyle>
          <a:p>
            <a:r>
              <a:rPr lang="en-US"/>
              <a:t>Poster title</a:t>
            </a:r>
          </a:p>
        </p:txBody>
      </p:sp>
      <p:sp>
        <p:nvSpPr>
          <p:cNvPr id="6" name="Slide Number Placeholder 5">
            <a:extLst>
              <a:ext uri="{FF2B5EF4-FFF2-40B4-BE49-F238E27FC236}">
                <a16:creationId xmlns:a16="http://schemas.microsoft.com/office/drawing/2014/main" id="{8C70C20D-D1D4-4FC2-A3EB-11693DAF168E}"/>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pPr/>
              <a:t>‹#›</a:t>
            </a:fld>
            <a:endParaRPr lang="en-US" dirty="0"/>
          </a:p>
        </p:txBody>
      </p:sp>
      <p:cxnSp>
        <p:nvCxnSpPr>
          <p:cNvPr id="10" name="Straight Connector 9">
            <a:extLst>
              <a:ext uri="{FF2B5EF4-FFF2-40B4-BE49-F238E27FC236}">
                <a16:creationId xmlns:a16="http://schemas.microsoft.com/office/drawing/2014/main" id="{3CFFDBF9-7C79-4E50-889D-8163AF7FAB05}"/>
              </a:ext>
            </a:extLst>
          </p:cNvPr>
          <p:cNvCxnSpPr>
            <a:cxnSpLocks/>
          </p:cNvCxnSpPr>
          <p:nvPr userDrawn="1"/>
        </p:nvCxnSpPr>
        <p:spPr>
          <a:xfrm>
            <a:off x="732516" y="3657876"/>
            <a:ext cx="6839529"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0026177E-64E8-4D53-896A-20DD500D929E}"/>
              </a:ext>
            </a:extLst>
          </p:cNvPr>
          <p:cNvSpPr>
            <a:spLocks noGrp="1"/>
          </p:cNvSpPr>
          <p:nvPr userDrawn="1">
            <p:ph type="body" sz="quarter" idx="13" hasCustomPrompt="1"/>
          </p:nvPr>
        </p:nvSpPr>
        <p:spPr>
          <a:xfrm>
            <a:off x="732515" y="3824657"/>
            <a:ext cx="6839151" cy="1129727"/>
          </a:xfrm>
        </p:spPr>
        <p:txBody>
          <a:bodyPr>
            <a:normAutofit/>
          </a:bodyPr>
          <a:lstStyle>
            <a:lvl1pPr marL="0" indent="0">
              <a:buFontTx/>
              <a:buNone/>
              <a:defRPr sz="1800">
                <a:solidFill>
                  <a:schemeClr val="bg1"/>
                </a:solidFill>
                <a:latin typeface="Arial" panose="020B0604020202020204" pitchFamily="34" charset="0"/>
                <a:cs typeface="Arial" panose="020B0604020202020204" pitchFamily="34" charset="0"/>
              </a:defRPr>
            </a:lvl1pPr>
            <a:lvl2pPr marL="457189" indent="0">
              <a:buFontTx/>
              <a:buNone/>
              <a:defRPr sz="1200">
                <a:solidFill>
                  <a:schemeClr val="bg1"/>
                </a:solidFill>
                <a:latin typeface="Arial" panose="020B0604020202020204" pitchFamily="34" charset="0"/>
                <a:cs typeface="Arial" panose="020B0604020202020204" pitchFamily="34" charset="0"/>
              </a:defRPr>
            </a:lvl2pPr>
            <a:lvl3pPr marL="914377" indent="0">
              <a:buFontTx/>
              <a:buNone/>
              <a:defRPr sz="1200">
                <a:solidFill>
                  <a:schemeClr val="bg1"/>
                </a:solidFill>
                <a:latin typeface="Arial" panose="020B0604020202020204" pitchFamily="34" charset="0"/>
                <a:cs typeface="Arial" panose="020B0604020202020204" pitchFamily="34" charset="0"/>
              </a:defRPr>
            </a:lvl3pPr>
            <a:lvl4pPr marL="1371566" indent="0">
              <a:buFontTx/>
              <a:buNone/>
              <a:defRPr sz="1200">
                <a:solidFill>
                  <a:schemeClr val="bg1"/>
                </a:solidFill>
                <a:latin typeface="Arial" panose="020B0604020202020204" pitchFamily="34" charset="0"/>
                <a:cs typeface="Arial" panose="020B0604020202020204" pitchFamily="34" charset="0"/>
              </a:defRPr>
            </a:lvl4pPr>
            <a:lvl5pPr marL="1828754" indent="0">
              <a:buFontTx/>
              <a:buNone/>
              <a:defRPr sz="1200">
                <a:solidFill>
                  <a:schemeClr val="bg1"/>
                </a:solidFill>
                <a:latin typeface="Arial" panose="020B0604020202020204" pitchFamily="34" charset="0"/>
                <a:cs typeface="Arial" panose="020B0604020202020204" pitchFamily="34" charset="0"/>
              </a:defRPr>
            </a:lvl5pPr>
          </a:lstStyle>
          <a:p>
            <a:pPr lvl="0"/>
            <a:r>
              <a:rPr lang="en-US"/>
              <a:t>Authors</a:t>
            </a:r>
          </a:p>
        </p:txBody>
      </p:sp>
      <p:sp>
        <p:nvSpPr>
          <p:cNvPr id="13" name="Text Placeholder 11">
            <a:extLst>
              <a:ext uri="{FF2B5EF4-FFF2-40B4-BE49-F238E27FC236}">
                <a16:creationId xmlns:a16="http://schemas.microsoft.com/office/drawing/2014/main" id="{ED2BAAFB-40EC-4695-B453-1BA623A7D48B}"/>
              </a:ext>
            </a:extLst>
          </p:cNvPr>
          <p:cNvSpPr>
            <a:spLocks noGrp="1"/>
          </p:cNvSpPr>
          <p:nvPr userDrawn="1">
            <p:ph type="body" sz="quarter" idx="14" hasCustomPrompt="1"/>
          </p:nvPr>
        </p:nvSpPr>
        <p:spPr>
          <a:xfrm>
            <a:off x="732515" y="5169693"/>
            <a:ext cx="6839151" cy="1129727"/>
          </a:xfrm>
        </p:spPr>
        <p:txBody>
          <a:bodyPr>
            <a:normAutofit/>
          </a:bodyPr>
          <a:lstStyle>
            <a:lvl1pPr marL="0" indent="0">
              <a:buFontTx/>
              <a:buNone/>
              <a:defRPr sz="1200">
                <a:solidFill>
                  <a:schemeClr val="bg1"/>
                </a:solidFill>
                <a:latin typeface="Arial" panose="020B0604020202020204" pitchFamily="34" charset="0"/>
                <a:cs typeface="Arial" panose="020B0604020202020204" pitchFamily="34" charset="0"/>
              </a:defRPr>
            </a:lvl1pPr>
            <a:lvl2pPr marL="457189" indent="0">
              <a:buFontTx/>
              <a:buNone/>
              <a:defRPr sz="1200">
                <a:solidFill>
                  <a:schemeClr val="bg1"/>
                </a:solidFill>
                <a:latin typeface="Arial" panose="020B0604020202020204" pitchFamily="34" charset="0"/>
                <a:cs typeface="Arial" panose="020B0604020202020204" pitchFamily="34" charset="0"/>
              </a:defRPr>
            </a:lvl2pPr>
            <a:lvl3pPr marL="914377" indent="0">
              <a:buFontTx/>
              <a:buNone/>
              <a:defRPr sz="1200">
                <a:solidFill>
                  <a:schemeClr val="bg1"/>
                </a:solidFill>
                <a:latin typeface="Arial" panose="020B0604020202020204" pitchFamily="34" charset="0"/>
                <a:cs typeface="Arial" panose="020B0604020202020204" pitchFamily="34" charset="0"/>
              </a:defRPr>
            </a:lvl3pPr>
            <a:lvl4pPr marL="1371566" indent="0">
              <a:buFontTx/>
              <a:buNone/>
              <a:defRPr sz="1200">
                <a:solidFill>
                  <a:schemeClr val="bg1"/>
                </a:solidFill>
                <a:latin typeface="Arial" panose="020B0604020202020204" pitchFamily="34" charset="0"/>
                <a:cs typeface="Arial" panose="020B0604020202020204" pitchFamily="34" charset="0"/>
              </a:defRPr>
            </a:lvl4pPr>
            <a:lvl5pPr marL="1828754" indent="0">
              <a:buFontTx/>
              <a:buNone/>
              <a:defRPr sz="1200">
                <a:solidFill>
                  <a:schemeClr val="bg1"/>
                </a:solidFill>
                <a:latin typeface="Arial" panose="020B0604020202020204" pitchFamily="34" charset="0"/>
                <a:cs typeface="Arial" panose="020B0604020202020204" pitchFamily="34" charset="0"/>
              </a:defRPr>
            </a:lvl5pPr>
          </a:lstStyle>
          <a:p>
            <a:pPr lvl="0"/>
            <a:r>
              <a:rPr lang="en-US"/>
              <a:t>Institutions</a:t>
            </a:r>
          </a:p>
        </p:txBody>
      </p:sp>
      <p:sp>
        <p:nvSpPr>
          <p:cNvPr id="8" name="Text Placeholder 11">
            <a:extLst>
              <a:ext uri="{FF2B5EF4-FFF2-40B4-BE49-F238E27FC236}">
                <a16:creationId xmlns:a16="http://schemas.microsoft.com/office/drawing/2014/main" id="{B50EF9CD-9DEC-4BBB-B201-621A87AC9DE8}"/>
              </a:ext>
            </a:extLst>
          </p:cNvPr>
          <p:cNvSpPr>
            <a:spLocks noGrp="1"/>
          </p:cNvSpPr>
          <p:nvPr>
            <p:ph type="body" sz="quarter" idx="15" hasCustomPrompt="1"/>
          </p:nvPr>
        </p:nvSpPr>
        <p:spPr>
          <a:xfrm>
            <a:off x="1" y="1"/>
            <a:ext cx="1404851" cy="482139"/>
          </a:xfrm>
        </p:spPr>
        <p:txBody>
          <a:bodyPr anchor="ctr">
            <a:normAutofit/>
          </a:bodyPr>
          <a:lstStyle>
            <a:lvl1pPr marL="0" indent="0">
              <a:buFontTx/>
              <a:buNone/>
              <a:defRPr sz="1400">
                <a:solidFill>
                  <a:schemeClr val="bg1"/>
                </a:solidFill>
                <a:latin typeface="Arial" panose="020B0604020202020204" pitchFamily="34" charset="0"/>
                <a:cs typeface="Arial" panose="020B0604020202020204" pitchFamily="34" charset="0"/>
              </a:defRPr>
            </a:lvl1pPr>
            <a:lvl2pPr marL="457189" indent="0">
              <a:buFontTx/>
              <a:buNone/>
              <a:defRPr sz="1200">
                <a:solidFill>
                  <a:schemeClr val="bg1"/>
                </a:solidFill>
                <a:latin typeface="Arial" panose="020B0604020202020204" pitchFamily="34" charset="0"/>
                <a:cs typeface="Arial" panose="020B0604020202020204" pitchFamily="34" charset="0"/>
              </a:defRPr>
            </a:lvl2pPr>
            <a:lvl3pPr marL="914377" indent="0">
              <a:buFontTx/>
              <a:buNone/>
              <a:defRPr sz="1200">
                <a:solidFill>
                  <a:schemeClr val="bg1"/>
                </a:solidFill>
                <a:latin typeface="Arial" panose="020B0604020202020204" pitchFamily="34" charset="0"/>
                <a:cs typeface="Arial" panose="020B0604020202020204" pitchFamily="34" charset="0"/>
              </a:defRPr>
            </a:lvl3pPr>
            <a:lvl4pPr marL="1371566" indent="0">
              <a:buFontTx/>
              <a:buNone/>
              <a:defRPr sz="1200">
                <a:solidFill>
                  <a:schemeClr val="bg1"/>
                </a:solidFill>
                <a:latin typeface="Arial" panose="020B0604020202020204" pitchFamily="34" charset="0"/>
                <a:cs typeface="Arial" panose="020B0604020202020204" pitchFamily="34" charset="0"/>
              </a:defRPr>
            </a:lvl4pPr>
            <a:lvl5pPr marL="1828754" indent="0">
              <a:buFontTx/>
              <a:buNone/>
              <a:defRPr sz="1200">
                <a:solidFill>
                  <a:schemeClr val="bg1"/>
                </a:solidFill>
                <a:latin typeface="Arial" panose="020B0604020202020204" pitchFamily="34" charset="0"/>
                <a:cs typeface="Arial" panose="020B0604020202020204" pitchFamily="34" charset="0"/>
              </a:defRPr>
            </a:lvl5pPr>
          </a:lstStyle>
          <a:p>
            <a:pPr lvl="0"/>
            <a:r>
              <a:rPr lang="en-US"/>
              <a:t>Poster </a:t>
            </a:r>
            <a:r>
              <a:rPr lang="en-US" err="1"/>
              <a:t>xxxx</a:t>
            </a:r>
            <a:endParaRPr lang="en-US"/>
          </a:p>
        </p:txBody>
      </p:sp>
      <p:sp>
        <p:nvSpPr>
          <p:cNvPr id="17" name="Text Placeholder 11">
            <a:extLst>
              <a:ext uri="{FF2B5EF4-FFF2-40B4-BE49-F238E27FC236}">
                <a16:creationId xmlns:a16="http://schemas.microsoft.com/office/drawing/2014/main" id="{37B07F27-3477-4784-B8AC-134341903D69}"/>
              </a:ext>
            </a:extLst>
          </p:cNvPr>
          <p:cNvSpPr>
            <a:spLocks noGrp="1"/>
          </p:cNvSpPr>
          <p:nvPr>
            <p:ph type="body" sz="quarter" idx="16" hasCustomPrompt="1"/>
          </p:nvPr>
        </p:nvSpPr>
        <p:spPr>
          <a:xfrm>
            <a:off x="6378635" y="1"/>
            <a:ext cx="2442095" cy="482139"/>
          </a:xfrm>
        </p:spPr>
        <p:txBody>
          <a:bodyPr anchor="ctr">
            <a:normAutofit/>
          </a:bodyPr>
          <a:lstStyle>
            <a:lvl1pPr marL="0" indent="0" algn="r">
              <a:buFontTx/>
              <a:buNone/>
              <a:defRPr sz="1400">
                <a:solidFill>
                  <a:schemeClr val="bg1"/>
                </a:solidFill>
                <a:latin typeface="Arial" panose="020B0604020202020204" pitchFamily="34" charset="0"/>
                <a:cs typeface="Arial" panose="020B0604020202020204" pitchFamily="34" charset="0"/>
              </a:defRPr>
            </a:lvl1pPr>
            <a:lvl2pPr marL="457189" indent="0">
              <a:buFontTx/>
              <a:buNone/>
              <a:defRPr sz="1200">
                <a:solidFill>
                  <a:schemeClr val="bg1"/>
                </a:solidFill>
                <a:latin typeface="Arial" panose="020B0604020202020204" pitchFamily="34" charset="0"/>
                <a:cs typeface="Arial" panose="020B0604020202020204" pitchFamily="34" charset="0"/>
              </a:defRPr>
            </a:lvl2pPr>
            <a:lvl3pPr marL="914377" indent="0">
              <a:buFontTx/>
              <a:buNone/>
              <a:defRPr sz="1200">
                <a:solidFill>
                  <a:schemeClr val="bg1"/>
                </a:solidFill>
                <a:latin typeface="Arial" panose="020B0604020202020204" pitchFamily="34" charset="0"/>
                <a:cs typeface="Arial" panose="020B0604020202020204" pitchFamily="34" charset="0"/>
              </a:defRPr>
            </a:lvl3pPr>
            <a:lvl4pPr marL="1371566" indent="0">
              <a:buFontTx/>
              <a:buNone/>
              <a:defRPr sz="1200">
                <a:solidFill>
                  <a:schemeClr val="bg1"/>
                </a:solidFill>
                <a:latin typeface="Arial" panose="020B0604020202020204" pitchFamily="34" charset="0"/>
                <a:cs typeface="Arial" panose="020B0604020202020204" pitchFamily="34" charset="0"/>
              </a:defRPr>
            </a:lvl4pPr>
            <a:lvl5pPr marL="1828754" indent="0">
              <a:buFontTx/>
              <a:buNone/>
              <a:defRPr sz="1200">
                <a:solidFill>
                  <a:schemeClr val="bg1"/>
                </a:solidFill>
                <a:latin typeface="Arial" panose="020B0604020202020204" pitchFamily="34" charset="0"/>
                <a:cs typeface="Arial" panose="020B0604020202020204" pitchFamily="34" charset="0"/>
              </a:defRPr>
            </a:lvl5pPr>
          </a:lstStyle>
          <a:p>
            <a:pPr lvl="0"/>
            <a:r>
              <a:rPr lang="en-US"/>
              <a:t>Presenting author name and email address</a:t>
            </a:r>
          </a:p>
        </p:txBody>
      </p:sp>
      <p:grpSp>
        <p:nvGrpSpPr>
          <p:cNvPr id="18" name="Group 17">
            <a:extLst>
              <a:ext uri="{FF2B5EF4-FFF2-40B4-BE49-F238E27FC236}">
                <a16:creationId xmlns:a16="http://schemas.microsoft.com/office/drawing/2014/main" id="{A7840B1C-2BA2-427A-A5F2-EA23BEB2B54A}"/>
              </a:ext>
            </a:extLst>
          </p:cNvPr>
          <p:cNvGrpSpPr/>
          <p:nvPr userDrawn="1"/>
        </p:nvGrpSpPr>
        <p:grpSpPr>
          <a:xfrm>
            <a:off x="8912399" y="96753"/>
            <a:ext cx="288636" cy="288636"/>
            <a:chOff x="323851" y="619793"/>
            <a:chExt cx="288636" cy="288636"/>
          </a:xfrm>
        </p:grpSpPr>
        <p:sp>
          <p:nvSpPr>
            <p:cNvPr id="19" name="Freeform: Shape 18">
              <a:extLst>
                <a:ext uri="{FF2B5EF4-FFF2-40B4-BE49-F238E27FC236}">
                  <a16:creationId xmlns:a16="http://schemas.microsoft.com/office/drawing/2014/main" id="{8E85815B-49DC-4B6B-82D5-C88E847223BD}"/>
                </a:ext>
              </a:extLst>
            </p:cNvPr>
            <p:cNvSpPr/>
            <p:nvPr/>
          </p:nvSpPr>
          <p:spPr>
            <a:xfrm>
              <a:off x="323851" y="619793"/>
              <a:ext cx="288636" cy="288636"/>
            </a:xfrm>
            <a:custGeom>
              <a:avLst/>
              <a:gdLst>
                <a:gd name="connsiteX0" fmla="*/ 62459 w 288636"/>
                <a:gd name="connsiteY0" fmla="*/ 148401 h 288636"/>
                <a:gd name="connsiteX1" fmla="*/ 62932 w 288636"/>
                <a:gd name="connsiteY1" fmla="*/ 150767 h 288636"/>
                <a:gd name="connsiteX2" fmla="*/ 62459 w 288636"/>
                <a:gd name="connsiteY2" fmla="*/ 148401 h 288636"/>
                <a:gd name="connsiteX3" fmla="*/ 165138 w 288636"/>
                <a:gd name="connsiteY3" fmla="*/ 24429 h 288636"/>
                <a:gd name="connsiteX4" fmla="*/ 164191 w 288636"/>
                <a:gd name="connsiteY4" fmla="*/ 23483 h 288636"/>
                <a:gd name="connsiteX5" fmla="*/ 152362 w 288636"/>
                <a:gd name="connsiteY5" fmla="*/ 14493 h 288636"/>
                <a:gd name="connsiteX6" fmla="*/ 138640 w 288636"/>
                <a:gd name="connsiteY6" fmla="*/ 15439 h 288636"/>
                <a:gd name="connsiteX7" fmla="*/ 130123 w 288636"/>
                <a:gd name="connsiteY7" fmla="*/ 22063 h 288636"/>
                <a:gd name="connsiteX8" fmla="*/ 126338 w 288636"/>
                <a:gd name="connsiteY8" fmla="*/ 24429 h 288636"/>
                <a:gd name="connsiteX9" fmla="*/ 165138 w 288636"/>
                <a:gd name="connsiteY9" fmla="*/ 24429 h 288636"/>
                <a:gd name="connsiteX10" fmla="*/ 255041 w 288636"/>
                <a:gd name="connsiteY10" fmla="*/ 124742 h 288636"/>
                <a:gd name="connsiteX11" fmla="*/ 257407 w 288636"/>
                <a:gd name="connsiteY11" fmla="*/ 123796 h 288636"/>
                <a:gd name="connsiteX12" fmla="*/ 273968 w 288636"/>
                <a:gd name="connsiteY12" fmla="*/ 111020 h 288636"/>
                <a:gd name="connsiteX13" fmla="*/ 273968 w 288636"/>
                <a:gd name="connsiteY13" fmla="*/ 108181 h 288636"/>
                <a:gd name="connsiteX14" fmla="*/ 256934 w 288636"/>
                <a:gd name="connsiteY14" fmla="*/ 94932 h 288636"/>
                <a:gd name="connsiteX15" fmla="*/ 255041 w 288636"/>
                <a:gd name="connsiteY15" fmla="*/ 93986 h 288636"/>
                <a:gd name="connsiteX16" fmla="*/ 255041 w 288636"/>
                <a:gd name="connsiteY16" fmla="*/ 124742 h 288636"/>
                <a:gd name="connsiteX17" fmla="*/ 36908 w 288636"/>
                <a:gd name="connsiteY17" fmla="*/ 93986 h 288636"/>
                <a:gd name="connsiteX18" fmla="*/ 35015 w 288636"/>
                <a:gd name="connsiteY18" fmla="*/ 95405 h 288636"/>
                <a:gd name="connsiteX19" fmla="*/ 23659 w 288636"/>
                <a:gd name="connsiteY19" fmla="*/ 104396 h 288636"/>
                <a:gd name="connsiteX20" fmla="*/ 17507 w 288636"/>
                <a:gd name="connsiteY20" fmla="*/ 109127 h 288636"/>
                <a:gd name="connsiteX21" fmla="*/ 17507 w 288636"/>
                <a:gd name="connsiteY21" fmla="*/ 111493 h 288636"/>
                <a:gd name="connsiteX22" fmla="*/ 20346 w 288636"/>
                <a:gd name="connsiteY22" fmla="*/ 113386 h 288636"/>
                <a:gd name="connsiteX23" fmla="*/ 35015 w 288636"/>
                <a:gd name="connsiteY23" fmla="*/ 124742 h 288636"/>
                <a:gd name="connsiteX24" fmla="*/ 37381 w 288636"/>
                <a:gd name="connsiteY24" fmla="*/ 125689 h 288636"/>
                <a:gd name="connsiteX25" fmla="*/ 37381 w 288636"/>
                <a:gd name="connsiteY25" fmla="*/ 93986 h 288636"/>
                <a:gd name="connsiteX26" fmla="*/ 12303 w 288636"/>
                <a:gd name="connsiteY26" fmla="*/ 122376 h 288636"/>
                <a:gd name="connsiteX27" fmla="*/ 11829 w 288636"/>
                <a:gd name="connsiteY27" fmla="*/ 123796 h 288636"/>
                <a:gd name="connsiteX28" fmla="*/ 12303 w 288636"/>
                <a:gd name="connsiteY28" fmla="*/ 140357 h 288636"/>
                <a:gd name="connsiteX29" fmla="*/ 12303 w 288636"/>
                <a:gd name="connsiteY29" fmla="*/ 141776 h 288636"/>
                <a:gd name="connsiteX30" fmla="*/ 11829 w 288636"/>
                <a:gd name="connsiteY30" fmla="*/ 181996 h 288636"/>
                <a:gd name="connsiteX31" fmla="*/ 11829 w 288636"/>
                <a:gd name="connsiteY31" fmla="*/ 265275 h 288636"/>
                <a:gd name="connsiteX32" fmla="*/ 12303 w 288636"/>
                <a:gd name="connsiteY32" fmla="*/ 270953 h 288636"/>
                <a:gd name="connsiteX33" fmla="*/ 14668 w 288636"/>
                <a:gd name="connsiteY33" fmla="*/ 271899 h 288636"/>
                <a:gd name="connsiteX34" fmla="*/ 26971 w 288636"/>
                <a:gd name="connsiteY34" fmla="*/ 262436 h 288636"/>
                <a:gd name="connsiteX35" fmla="*/ 48264 w 288636"/>
                <a:gd name="connsiteY35" fmla="*/ 245875 h 288636"/>
                <a:gd name="connsiteX36" fmla="*/ 62459 w 288636"/>
                <a:gd name="connsiteY36" fmla="*/ 234519 h 288636"/>
                <a:gd name="connsiteX37" fmla="*/ 91323 w 288636"/>
                <a:gd name="connsiteY37" fmla="*/ 212279 h 288636"/>
                <a:gd name="connsiteX38" fmla="*/ 108830 w 288636"/>
                <a:gd name="connsiteY38" fmla="*/ 199031 h 288636"/>
                <a:gd name="connsiteX39" fmla="*/ 109776 w 288636"/>
                <a:gd name="connsiteY39" fmla="*/ 197611 h 288636"/>
                <a:gd name="connsiteX40" fmla="*/ 90376 w 288636"/>
                <a:gd name="connsiteY40" fmla="*/ 182469 h 288636"/>
                <a:gd name="connsiteX41" fmla="*/ 70503 w 288636"/>
                <a:gd name="connsiteY41" fmla="*/ 167328 h 288636"/>
                <a:gd name="connsiteX42" fmla="*/ 51103 w 288636"/>
                <a:gd name="connsiteY42" fmla="*/ 152186 h 288636"/>
                <a:gd name="connsiteX43" fmla="*/ 31703 w 288636"/>
                <a:gd name="connsiteY43" fmla="*/ 137045 h 288636"/>
                <a:gd name="connsiteX44" fmla="*/ 12303 w 288636"/>
                <a:gd name="connsiteY44" fmla="*/ 122376 h 288636"/>
                <a:gd name="connsiteX45" fmla="*/ 181226 w 288636"/>
                <a:gd name="connsiteY45" fmla="*/ 198084 h 288636"/>
                <a:gd name="connsiteX46" fmla="*/ 278226 w 288636"/>
                <a:gd name="connsiteY46" fmla="*/ 272846 h 288636"/>
                <a:gd name="connsiteX47" fmla="*/ 279173 w 288636"/>
                <a:gd name="connsiteY47" fmla="*/ 270953 h 288636"/>
                <a:gd name="connsiteX48" fmla="*/ 279646 w 288636"/>
                <a:gd name="connsiteY48" fmla="*/ 266694 h 288636"/>
                <a:gd name="connsiteX49" fmla="*/ 279646 w 288636"/>
                <a:gd name="connsiteY49" fmla="*/ 180104 h 288636"/>
                <a:gd name="connsiteX50" fmla="*/ 279173 w 288636"/>
                <a:gd name="connsiteY50" fmla="*/ 171586 h 288636"/>
                <a:gd name="connsiteX51" fmla="*/ 279173 w 288636"/>
                <a:gd name="connsiteY51" fmla="*/ 170640 h 288636"/>
                <a:gd name="connsiteX52" fmla="*/ 279173 w 288636"/>
                <a:gd name="connsiteY52" fmla="*/ 139411 h 288636"/>
                <a:gd name="connsiteX53" fmla="*/ 279646 w 288636"/>
                <a:gd name="connsiteY53" fmla="*/ 134206 h 288636"/>
                <a:gd name="connsiteX54" fmla="*/ 279646 w 288636"/>
                <a:gd name="connsiteY54" fmla="*/ 123796 h 288636"/>
                <a:gd name="connsiteX55" fmla="*/ 279173 w 288636"/>
                <a:gd name="connsiteY55" fmla="*/ 122376 h 288636"/>
                <a:gd name="connsiteX56" fmla="*/ 181226 w 288636"/>
                <a:gd name="connsiteY56" fmla="*/ 198084 h 288636"/>
                <a:gd name="connsiteX57" fmla="*/ 267343 w 288636"/>
                <a:gd name="connsiteY57" fmla="*/ 279470 h 288636"/>
                <a:gd name="connsiteX58" fmla="*/ 266397 w 288636"/>
                <a:gd name="connsiteY58" fmla="*/ 278524 h 288636"/>
                <a:gd name="connsiteX59" fmla="*/ 258826 w 288636"/>
                <a:gd name="connsiteY59" fmla="*/ 272373 h 288636"/>
                <a:gd name="connsiteX60" fmla="*/ 242738 w 288636"/>
                <a:gd name="connsiteY60" fmla="*/ 260070 h 288636"/>
                <a:gd name="connsiteX61" fmla="*/ 228070 w 288636"/>
                <a:gd name="connsiteY61" fmla="*/ 248241 h 288636"/>
                <a:gd name="connsiteX62" fmla="*/ 212455 w 288636"/>
                <a:gd name="connsiteY62" fmla="*/ 236411 h 288636"/>
                <a:gd name="connsiteX63" fmla="*/ 192109 w 288636"/>
                <a:gd name="connsiteY63" fmla="*/ 220323 h 288636"/>
                <a:gd name="connsiteX64" fmla="*/ 173655 w 288636"/>
                <a:gd name="connsiteY64" fmla="*/ 205655 h 288636"/>
                <a:gd name="connsiteX65" fmla="*/ 170816 w 288636"/>
                <a:gd name="connsiteY65" fmla="*/ 205655 h 288636"/>
                <a:gd name="connsiteX66" fmla="*/ 162299 w 288636"/>
                <a:gd name="connsiteY66" fmla="*/ 212279 h 288636"/>
                <a:gd name="connsiteX67" fmla="*/ 149050 w 288636"/>
                <a:gd name="connsiteY67" fmla="*/ 217958 h 288636"/>
                <a:gd name="connsiteX68" fmla="*/ 132489 w 288636"/>
                <a:gd name="connsiteY68" fmla="*/ 213699 h 288636"/>
                <a:gd name="connsiteX69" fmla="*/ 122079 w 288636"/>
                <a:gd name="connsiteY69" fmla="*/ 205655 h 288636"/>
                <a:gd name="connsiteX70" fmla="*/ 119713 w 288636"/>
                <a:gd name="connsiteY70" fmla="*/ 205655 h 288636"/>
                <a:gd name="connsiteX71" fmla="*/ 98420 w 288636"/>
                <a:gd name="connsiteY71" fmla="*/ 222216 h 288636"/>
                <a:gd name="connsiteX72" fmla="*/ 75235 w 288636"/>
                <a:gd name="connsiteY72" fmla="*/ 240197 h 288636"/>
                <a:gd name="connsiteX73" fmla="*/ 60093 w 288636"/>
                <a:gd name="connsiteY73" fmla="*/ 252026 h 288636"/>
                <a:gd name="connsiteX74" fmla="*/ 30756 w 288636"/>
                <a:gd name="connsiteY74" fmla="*/ 274738 h 288636"/>
                <a:gd name="connsiteX75" fmla="*/ 25551 w 288636"/>
                <a:gd name="connsiteY75" fmla="*/ 278997 h 288636"/>
                <a:gd name="connsiteX76" fmla="*/ 26498 w 288636"/>
                <a:gd name="connsiteY76" fmla="*/ 279943 h 288636"/>
                <a:gd name="connsiteX77" fmla="*/ 267343 w 288636"/>
                <a:gd name="connsiteY77" fmla="*/ 279470 h 288636"/>
                <a:gd name="connsiteX78" fmla="*/ 146211 w 288636"/>
                <a:gd name="connsiteY78" fmla="*/ 36732 h 288636"/>
                <a:gd name="connsiteX79" fmla="*/ 61513 w 288636"/>
                <a:gd name="connsiteY79" fmla="*/ 36732 h 288636"/>
                <a:gd name="connsiteX80" fmla="*/ 55835 w 288636"/>
                <a:gd name="connsiteY80" fmla="*/ 38151 h 288636"/>
                <a:gd name="connsiteX81" fmla="*/ 48737 w 288636"/>
                <a:gd name="connsiteY81" fmla="*/ 49507 h 288636"/>
                <a:gd name="connsiteX82" fmla="*/ 48737 w 288636"/>
                <a:gd name="connsiteY82" fmla="*/ 93986 h 288636"/>
                <a:gd name="connsiteX83" fmla="*/ 48737 w 288636"/>
                <a:gd name="connsiteY83" fmla="*/ 132786 h 288636"/>
                <a:gd name="connsiteX84" fmla="*/ 49683 w 288636"/>
                <a:gd name="connsiteY84" fmla="*/ 136098 h 288636"/>
                <a:gd name="connsiteX85" fmla="*/ 61986 w 288636"/>
                <a:gd name="connsiteY85" fmla="*/ 146035 h 288636"/>
                <a:gd name="connsiteX86" fmla="*/ 69083 w 288636"/>
                <a:gd name="connsiteY86" fmla="*/ 151240 h 288636"/>
                <a:gd name="connsiteX87" fmla="*/ 73815 w 288636"/>
                <a:gd name="connsiteY87" fmla="*/ 155025 h 288636"/>
                <a:gd name="connsiteX88" fmla="*/ 90376 w 288636"/>
                <a:gd name="connsiteY88" fmla="*/ 167328 h 288636"/>
                <a:gd name="connsiteX89" fmla="*/ 96054 w 288636"/>
                <a:gd name="connsiteY89" fmla="*/ 172060 h 288636"/>
                <a:gd name="connsiteX90" fmla="*/ 105991 w 288636"/>
                <a:gd name="connsiteY90" fmla="*/ 180104 h 288636"/>
                <a:gd name="connsiteX91" fmla="*/ 130123 w 288636"/>
                <a:gd name="connsiteY91" fmla="*/ 199031 h 288636"/>
                <a:gd name="connsiteX92" fmla="*/ 139586 w 288636"/>
                <a:gd name="connsiteY92" fmla="*/ 206128 h 288636"/>
                <a:gd name="connsiteX93" fmla="*/ 152362 w 288636"/>
                <a:gd name="connsiteY93" fmla="*/ 206128 h 288636"/>
                <a:gd name="connsiteX94" fmla="*/ 169396 w 288636"/>
                <a:gd name="connsiteY94" fmla="*/ 193352 h 288636"/>
                <a:gd name="connsiteX95" fmla="*/ 188797 w 288636"/>
                <a:gd name="connsiteY95" fmla="*/ 178684 h 288636"/>
                <a:gd name="connsiteX96" fmla="*/ 190216 w 288636"/>
                <a:gd name="connsiteY96" fmla="*/ 177265 h 288636"/>
                <a:gd name="connsiteX97" fmla="*/ 192582 w 288636"/>
                <a:gd name="connsiteY97" fmla="*/ 174899 h 288636"/>
                <a:gd name="connsiteX98" fmla="*/ 195894 w 288636"/>
                <a:gd name="connsiteY98" fmla="*/ 172533 h 288636"/>
                <a:gd name="connsiteX99" fmla="*/ 209616 w 288636"/>
                <a:gd name="connsiteY99" fmla="*/ 162123 h 288636"/>
                <a:gd name="connsiteX100" fmla="*/ 212928 w 288636"/>
                <a:gd name="connsiteY100" fmla="*/ 159284 h 288636"/>
                <a:gd name="connsiteX101" fmla="*/ 214821 w 288636"/>
                <a:gd name="connsiteY101" fmla="*/ 157391 h 288636"/>
                <a:gd name="connsiteX102" fmla="*/ 225231 w 288636"/>
                <a:gd name="connsiteY102" fmla="*/ 149820 h 288636"/>
                <a:gd name="connsiteX103" fmla="*/ 233275 w 288636"/>
                <a:gd name="connsiteY103" fmla="*/ 143669 h 288636"/>
                <a:gd name="connsiteX104" fmla="*/ 242265 w 288636"/>
                <a:gd name="connsiteY104" fmla="*/ 136572 h 288636"/>
                <a:gd name="connsiteX105" fmla="*/ 243685 w 288636"/>
                <a:gd name="connsiteY105" fmla="*/ 132786 h 288636"/>
                <a:gd name="connsiteX106" fmla="*/ 243685 w 288636"/>
                <a:gd name="connsiteY106" fmla="*/ 127581 h 288636"/>
                <a:gd name="connsiteX107" fmla="*/ 243685 w 288636"/>
                <a:gd name="connsiteY107" fmla="*/ 49507 h 288636"/>
                <a:gd name="connsiteX108" fmla="*/ 242265 w 288636"/>
                <a:gd name="connsiteY108" fmla="*/ 43829 h 288636"/>
                <a:gd name="connsiteX109" fmla="*/ 230909 w 288636"/>
                <a:gd name="connsiteY109" fmla="*/ 37205 h 288636"/>
                <a:gd name="connsiteX110" fmla="*/ 146211 w 288636"/>
                <a:gd name="connsiteY110" fmla="*/ 36732 h 288636"/>
                <a:gd name="connsiteX111" fmla="*/ 145264 w 288636"/>
                <a:gd name="connsiteY111" fmla="*/ 291773 h 288636"/>
                <a:gd name="connsiteX112" fmla="*/ 27917 w 288636"/>
                <a:gd name="connsiteY112" fmla="*/ 291773 h 288636"/>
                <a:gd name="connsiteX113" fmla="*/ 19400 w 288636"/>
                <a:gd name="connsiteY113" fmla="*/ 290826 h 288636"/>
                <a:gd name="connsiteX114" fmla="*/ 6151 w 288636"/>
                <a:gd name="connsiteY114" fmla="*/ 283256 h 288636"/>
                <a:gd name="connsiteX115" fmla="*/ 473 w 288636"/>
                <a:gd name="connsiteY115" fmla="*/ 266694 h 288636"/>
                <a:gd name="connsiteX116" fmla="*/ 473 w 288636"/>
                <a:gd name="connsiteY116" fmla="*/ 179630 h 288636"/>
                <a:gd name="connsiteX117" fmla="*/ 473 w 288636"/>
                <a:gd name="connsiteY117" fmla="*/ 150767 h 288636"/>
                <a:gd name="connsiteX118" fmla="*/ 473 w 288636"/>
                <a:gd name="connsiteY118" fmla="*/ 142723 h 288636"/>
                <a:gd name="connsiteX119" fmla="*/ 0 w 288636"/>
                <a:gd name="connsiteY119" fmla="*/ 135152 h 288636"/>
                <a:gd name="connsiteX120" fmla="*/ 473 w 288636"/>
                <a:gd name="connsiteY120" fmla="*/ 114332 h 288636"/>
                <a:gd name="connsiteX121" fmla="*/ 473 w 288636"/>
                <a:gd name="connsiteY121" fmla="*/ 109127 h 288636"/>
                <a:gd name="connsiteX122" fmla="*/ 2839 w 288636"/>
                <a:gd name="connsiteY122" fmla="*/ 104396 h 288636"/>
                <a:gd name="connsiteX123" fmla="*/ 20820 w 288636"/>
                <a:gd name="connsiteY123" fmla="*/ 90674 h 288636"/>
                <a:gd name="connsiteX124" fmla="*/ 34069 w 288636"/>
                <a:gd name="connsiteY124" fmla="*/ 80264 h 288636"/>
                <a:gd name="connsiteX125" fmla="*/ 36908 w 288636"/>
                <a:gd name="connsiteY125" fmla="*/ 75059 h 288636"/>
                <a:gd name="connsiteX126" fmla="*/ 36908 w 288636"/>
                <a:gd name="connsiteY126" fmla="*/ 48561 h 288636"/>
                <a:gd name="connsiteX127" fmla="*/ 53469 w 288636"/>
                <a:gd name="connsiteY127" fmla="*/ 25376 h 288636"/>
                <a:gd name="connsiteX128" fmla="*/ 61039 w 288636"/>
                <a:gd name="connsiteY128" fmla="*/ 23956 h 288636"/>
                <a:gd name="connsiteX129" fmla="*/ 103625 w 288636"/>
                <a:gd name="connsiteY129" fmla="*/ 23956 h 288636"/>
                <a:gd name="connsiteX130" fmla="*/ 107884 w 288636"/>
                <a:gd name="connsiteY130" fmla="*/ 22537 h 288636"/>
                <a:gd name="connsiteX131" fmla="*/ 130596 w 288636"/>
                <a:gd name="connsiteY131" fmla="*/ 5029 h 288636"/>
                <a:gd name="connsiteX132" fmla="*/ 159460 w 288636"/>
                <a:gd name="connsiteY132" fmla="*/ 4556 h 288636"/>
                <a:gd name="connsiteX133" fmla="*/ 177913 w 288636"/>
                <a:gd name="connsiteY133" fmla="*/ 18751 h 288636"/>
                <a:gd name="connsiteX134" fmla="*/ 184538 w 288636"/>
                <a:gd name="connsiteY134" fmla="*/ 23483 h 288636"/>
                <a:gd name="connsiteX135" fmla="*/ 187850 w 288636"/>
                <a:gd name="connsiteY135" fmla="*/ 24429 h 288636"/>
                <a:gd name="connsiteX136" fmla="*/ 230436 w 288636"/>
                <a:gd name="connsiteY136" fmla="*/ 24429 h 288636"/>
                <a:gd name="connsiteX137" fmla="*/ 243685 w 288636"/>
                <a:gd name="connsiteY137" fmla="*/ 28215 h 288636"/>
                <a:gd name="connsiteX138" fmla="*/ 255041 w 288636"/>
                <a:gd name="connsiteY138" fmla="*/ 48088 h 288636"/>
                <a:gd name="connsiteX139" fmla="*/ 255041 w 288636"/>
                <a:gd name="connsiteY139" fmla="*/ 75059 h 288636"/>
                <a:gd name="connsiteX140" fmla="*/ 257407 w 288636"/>
                <a:gd name="connsiteY140" fmla="*/ 80264 h 288636"/>
                <a:gd name="connsiteX141" fmla="*/ 272075 w 288636"/>
                <a:gd name="connsiteY141" fmla="*/ 91147 h 288636"/>
                <a:gd name="connsiteX142" fmla="*/ 283431 w 288636"/>
                <a:gd name="connsiteY142" fmla="*/ 100137 h 288636"/>
                <a:gd name="connsiteX143" fmla="*/ 287217 w 288636"/>
                <a:gd name="connsiteY143" fmla="*/ 103449 h 288636"/>
                <a:gd name="connsiteX144" fmla="*/ 291475 w 288636"/>
                <a:gd name="connsiteY144" fmla="*/ 111493 h 288636"/>
                <a:gd name="connsiteX145" fmla="*/ 291002 w 288636"/>
                <a:gd name="connsiteY145" fmla="*/ 130893 h 288636"/>
                <a:gd name="connsiteX146" fmla="*/ 291002 w 288636"/>
                <a:gd name="connsiteY146" fmla="*/ 131840 h 288636"/>
                <a:gd name="connsiteX147" fmla="*/ 291475 w 288636"/>
                <a:gd name="connsiteY147" fmla="*/ 138937 h 288636"/>
                <a:gd name="connsiteX148" fmla="*/ 291475 w 288636"/>
                <a:gd name="connsiteY148" fmla="*/ 155499 h 288636"/>
                <a:gd name="connsiteX149" fmla="*/ 291002 w 288636"/>
                <a:gd name="connsiteY149" fmla="*/ 165908 h 288636"/>
                <a:gd name="connsiteX150" fmla="*/ 291475 w 288636"/>
                <a:gd name="connsiteY150" fmla="*/ 173952 h 288636"/>
                <a:gd name="connsiteX151" fmla="*/ 291002 w 288636"/>
                <a:gd name="connsiteY151" fmla="*/ 177265 h 288636"/>
                <a:gd name="connsiteX152" fmla="*/ 291002 w 288636"/>
                <a:gd name="connsiteY152" fmla="*/ 178684 h 288636"/>
                <a:gd name="connsiteX153" fmla="*/ 291475 w 288636"/>
                <a:gd name="connsiteY153" fmla="*/ 184835 h 288636"/>
                <a:gd name="connsiteX154" fmla="*/ 291475 w 288636"/>
                <a:gd name="connsiteY154" fmla="*/ 267168 h 288636"/>
                <a:gd name="connsiteX155" fmla="*/ 282012 w 288636"/>
                <a:gd name="connsiteY155" fmla="*/ 287041 h 288636"/>
                <a:gd name="connsiteX156" fmla="*/ 266397 w 288636"/>
                <a:gd name="connsiteY156" fmla="*/ 292246 h 288636"/>
                <a:gd name="connsiteX157" fmla="*/ 235168 w 288636"/>
                <a:gd name="connsiteY157" fmla="*/ 292246 h 288636"/>
                <a:gd name="connsiteX158" fmla="*/ 145264 w 288636"/>
                <a:gd name="connsiteY158" fmla="*/ 292246 h 288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288636" h="288636">
                  <a:moveTo>
                    <a:pt x="62459" y="148401"/>
                  </a:moveTo>
                  <a:cubicBezTo>
                    <a:pt x="61513" y="149347"/>
                    <a:pt x="61513" y="149820"/>
                    <a:pt x="62932" y="150767"/>
                  </a:cubicBezTo>
                  <a:cubicBezTo>
                    <a:pt x="62459" y="149820"/>
                    <a:pt x="62459" y="149347"/>
                    <a:pt x="62459" y="148401"/>
                  </a:cubicBezTo>
                  <a:moveTo>
                    <a:pt x="165138" y="24429"/>
                  </a:moveTo>
                  <a:cubicBezTo>
                    <a:pt x="164665" y="23956"/>
                    <a:pt x="164665" y="23483"/>
                    <a:pt x="164191" y="23483"/>
                  </a:cubicBezTo>
                  <a:cubicBezTo>
                    <a:pt x="160406" y="20644"/>
                    <a:pt x="156147" y="17332"/>
                    <a:pt x="152362" y="14493"/>
                  </a:cubicBezTo>
                  <a:cubicBezTo>
                    <a:pt x="148577" y="11654"/>
                    <a:pt x="142425" y="12127"/>
                    <a:pt x="138640" y="15439"/>
                  </a:cubicBezTo>
                  <a:cubicBezTo>
                    <a:pt x="135801" y="17805"/>
                    <a:pt x="132962" y="19698"/>
                    <a:pt x="130123" y="22063"/>
                  </a:cubicBezTo>
                  <a:cubicBezTo>
                    <a:pt x="128703" y="22537"/>
                    <a:pt x="127757" y="23483"/>
                    <a:pt x="126338" y="24429"/>
                  </a:cubicBezTo>
                  <a:cubicBezTo>
                    <a:pt x="129177" y="24902"/>
                    <a:pt x="162772" y="24902"/>
                    <a:pt x="165138" y="24429"/>
                  </a:cubicBezTo>
                  <a:moveTo>
                    <a:pt x="255041" y="124742"/>
                  </a:moveTo>
                  <a:cubicBezTo>
                    <a:pt x="256460" y="125215"/>
                    <a:pt x="256934" y="124269"/>
                    <a:pt x="257407" y="123796"/>
                  </a:cubicBezTo>
                  <a:cubicBezTo>
                    <a:pt x="263085" y="119537"/>
                    <a:pt x="268290" y="115279"/>
                    <a:pt x="273968" y="111020"/>
                  </a:cubicBezTo>
                  <a:cubicBezTo>
                    <a:pt x="275387" y="110074"/>
                    <a:pt x="275387" y="109127"/>
                    <a:pt x="273968" y="108181"/>
                  </a:cubicBezTo>
                  <a:cubicBezTo>
                    <a:pt x="268290" y="103923"/>
                    <a:pt x="262612" y="99191"/>
                    <a:pt x="256934" y="94932"/>
                  </a:cubicBezTo>
                  <a:cubicBezTo>
                    <a:pt x="256460" y="94459"/>
                    <a:pt x="255987" y="94459"/>
                    <a:pt x="255041" y="93986"/>
                  </a:cubicBezTo>
                  <a:lnTo>
                    <a:pt x="255041" y="124742"/>
                  </a:lnTo>
                  <a:close/>
                  <a:moveTo>
                    <a:pt x="36908" y="93986"/>
                  </a:moveTo>
                  <a:cubicBezTo>
                    <a:pt x="35961" y="94459"/>
                    <a:pt x="35488" y="94932"/>
                    <a:pt x="35015" y="95405"/>
                  </a:cubicBezTo>
                  <a:cubicBezTo>
                    <a:pt x="31229" y="98244"/>
                    <a:pt x="27444" y="101557"/>
                    <a:pt x="23659" y="104396"/>
                  </a:cubicBezTo>
                  <a:cubicBezTo>
                    <a:pt x="21766" y="105815"/>
                    <a:pt x="19400" y="107708"/>
                    <a:pt x="17507" y="109127"/>
                  </a:cubicBezTo>
                  <a:cubicBezTo>
                    <a:pt x="16561" y="110074"/>
                    <a:pt x="16561" y="110547"/>
                    <a:pt x="17507" y="111493"/>
                  </a:cubicBezTo>
                  <a:cubicBezTo>
                    <a:pt x="18454" y="111966"/>
                    <a:pt x="19400" y="112913"/>
                    <a:pt x="20346" y="113386"/>
                  </a:cubicBezTo>
                  <a:cubicBezTo>
                    <a:pt x="25078" y="117171"/>
                    <a:pt x="29810" y="120957"/>
                    <a:pt x="35015" y="124742"/>
                  </a:cubicBezTo>
                  <a:cubicBezTo>
                    <a:pt x="35488" y="125215"/>
                    <a:pt x="36434" y="126162"/>
                    <a:pt x="37381" y="125689"/>
                  </a:cubicBezTo>
                  <a:lnTo>
                    <a:pt x="37381" y="93986"/>
                  </a:lnTo>
                  <a:close/>
                  <a:moveTo>
                    <a:pt x="12303" y="122376"/>
                  </a:moveTo>
                  <a:cubicBezTo>
                    <a:pt x="12303" y="123323"/>
                    <a:pt x="11829" y="123323"/>
                    <a:pt x="11829" y="123796"/>
                  </a:cubicBezTo>
                  <a:cubicBezTo>
                    <a:pt x="12303" y="129474"/>
                    <a:pt x="11356" y="134679"/>
                    <a:pt x="12303" y="140357"/>
                  </a:cubicBezTo>
                  <a:cubicBezTo>
                    <a:pt x="12303" y="140830"/>
                    <a:pt x="12303" y="141303"/>
                    <a:pt x="12303" y="141776"/>
                  </a:cubicBezTo>
                  <a:cubicBezTo>
                    <a:pt x="12303" y="155025"/>
                    <a:pt x="11829" y="168274"/>
                    <a:pt x="11829" y="181996"/>
                  </a:cubicBezTo>
                  <a:cubicBezTo>
                    <a:pt x="11829" y="209914"/>
                    <a:pt x="11829" y="237358"/>
                    <a:pt x="11829" y="265275"/>
                  </a:cubicBezTo>
                  <a:cubicBezTo>
                    <a:pt x="11829" y="267168"/>
                    <a:pt x="11829" y="269060"/>
                    <a:pt x="12303" y="270953"/>
                  </a:cubicBezTo>
                  <a:cubicBezTo>
                    <a:pt x="12303" y="272846"/>
                    <a:pt x="13249" y="273319"/>
                    <a:pt x="14668" y="271899"/>
                  </a:cubicBezTo>
                  <a:cubicBezTo>
                    <a:pt x="18927" y="269060"/>
                    <a:pt x="22712" y="265748"/>
                    <a:pt x="26971" y="262436"/>
                  </a:cubicBezTo>
                  <a:cubicBezTo>
                    <a:pt x="34069" y="256758"/>
                    <a:pt x="41166" y="251080"/>
                    <a:pt x="48264" y="245875"/>
                  </a:cubicBezTo>
                  <a:cubicBezTo>
                    <a:pt x="52996" y="242089"/>
                    <a:pt x="57727" y="238304"/>
                    <a:pt x="62459" y="234519"/>
                  </a:cubicBezTo>
                  <a:cubicBezTo>
                    <a:pt x="71922" y="226948"/>
                    <a:pt x="81386" y="219850"/>
                    <a:pt x="91323" y="212279"/>
                  </a:cubicBezTo>
                  <a:cubicBezTo>
                    <a:pt x="97001" y="208021"/>
                    <a:pt x="103152" y="203289"/>
                    <a:pt x="108830" y="199031"/>
                  </a:cubicBezTo>
                  <a:cubicBezTo>
                    <a:pt x="109303" y="198557"/>
                    <a:pt x="109303" y="198557"/>
                    <a:pt x="109776" y="197611"/>
                  </a:cubicBezTo>
                  <a:cubicBezTo>
                    <a:pt x="103152" y="192406"/>
                    <a:pt x="96528" y="187674"/>
                    <a:pt x="90376" y="182469"/>
                  </a:cubicBezTo>
                  <a:cubicBezTo>
                    <a:pt x="83752" y="177265"/>
                    <a:pt x="77127" y="172533"/>
                    <a:pt x="70503" y="167328"/>
                  </a:cubicBezTo>
                  <a:cubicBezTo>
                    <a:pt x="63879" y="162123"/>
                    <a:pt x="57727" y="156918"/>
                    <a:pt x="51103" y="152186"/>
                  </a:cubicBezTo>
                  <a:cubicBezTo>
                    <a:pt x="44478" y="147455"/>
                    <a:pt x="38327" y="141776"/>
                    <a:pt x="31703" y="137045"/>
                  </a:cubicBezTo>
                  <a:cubicBezTo>
                    <a:pt x="26025" y="132313"/>
                    <a:pt x="19400" y="127581"/>
                    <a:pt x="12303" y="122376"/>
                  </a:cubicBezTo>
                  <a:moveTo>
                    <a:pt x="181226" y="198084"/>
                  </a:moveTo>
                  <a:cubicBezTo>
                    <a:pt x="213875" y="223162"/>
                    <a:pt x="246051" y="247767"/>
                    <a:pt x="278226" y="272846"/>
                  </a:cubicBezTo>
                  <a:cubicBezTo>
                    <a:pt x="278700" y="271899"/>
                    <a:pt x="279173" y="271426"/>
                    <a:pt x="279173" y="270953"/>
                  </a:cubicBezTo>
                  <a:cubicBezTo>
                    <a:pt x="279646" y="269534"/>
                    <a:pt x="279646" y="268114"/>
                    <a:pt x="279646" y="266694"/>
                  </a:cubicBezTo>
                  <a:cubicBezTo>
                    <a:pt x="279646" y="237831"/>
                    <a:pt x="279646" y="208967"/>
                    <a:pt x="279646" y="180104"/>
                  </a:cubicBezTo>
                  <a:cubicBezTo>
                    <a:pt x="279646" y="177265"/>
                    <a:pt x="280119" y="174425"/>
                    <a:pt x="279173" y="171586"/>
                  </a:cubicBezTo>
                  <a:cubicBezTo>
                    <a:pt x="279173" y="171113"/>
                    <a:pt x="279173" y="171113"/>
                    <a:pt x="279173" y="170640"/>
                  </a:cubicBezTo>
                  <a:cubicBezTo>
                    <a:pt x="279173" y="160230"/>
                    <a:pt x="279173" y="149820"/>
                    <a:pt x="279173" y="139411"/>
                  </a:cubicBezTo>
                  <a:cubicBezTo>
                    <a:pt x="279173" y="137518"/>
                    <a:pt x="279646" y="136098"/>
                    <a:pt x="279646" y="134206"/>
                  </a:cubicBezTo>
                  <a:cubicBezTo>
                    <a:pt x="279646" y="130893"/>
                    <a:pt x="279646" y="127581"/>
                    <a:pt x="279646" y="123796"/>
                  </a:cubicBezTo>
                  <a:cubicBezTo>
                    <a:pt x="279646" y="123323"/>
                    <a:pt x="279173" y="122849"/>
                    <a:pt x="279173" y="122376"/>
                  </a:cubicBezTo>
                  <a:cubicBezTo>
                    <a:pt x="246524" y="147455"/>
                    <a:pt x="214348" y="172533"/>
                    <a:pt x="181226" y="198084"/>
                  </a:cubicBezTo>
                  <a:moveTo>
                    <a:pt x="267343" y="279470"/>
                  </a:moveTo>
                  <a:cubicBezTo>
                    <a:pt x="266870" y="278997"/>
                    <a:pt x="266870" y="278524"/>
                    <a:pt x="266397" y="278524"/>
                  </a:cubicBezTo>
                  <a:cubicBezTo>
                    <a:pt x="264031" y="276631"/>
                    <a:pt x="261192" y="274265"/>
                    <a:pt x="258826" y="272373"/>
                  </a:cubicBezTo>
                  <a:cubicBezTo>
                    <a:pt x="253621" y="268114"/>
                    <a:pt x="247943" y="264329"/>
                    <a:pt x="242738" y="260070"/>
                  </a:cubicBezTo>
                  <a:cubicBezTo>
                    <a:pt x="238007" y="256285"/>
                    <a:pt x="232802" y="252026"/>
                    <a:pt x="228070" y="248241"/>
                  </a:cubicBezTo>
                  <a:cubicBezTo>
                    <a:pt x="222865" y="244455"/>
                    <a:pt x="217660" y="240670"/>
                    <a:pt x="212455" y="236411"/>
                  </a:cubicBezTo>
                  <a:cubicBezTo>
                    <a:pt x="205831" y="231206"/>
                    <a:pt x="198733" y="225528"/>
                    <a:pt x="192109" y="220323"/>
                  </a:cubicBezTo>
                  <a:cubicBezTo>
                    <a:pt x="185957" y="215592"/>
                    <a:pt x="179806" y="210860"/>
                    <a:pt x="173655" y="205655"/>
                  </a:cubicBezTo>
                  <a:cubicBezTo>
                    <a:pt x="172709" y="204709"/>
                    <a:pt x="171762" y="204709"/>
                    <a:pt x="170816" y="205655"/>
                  </a:cubicBezTo>
                  <a:cubicBezTo>
                    <a:pt x="167977" y="208021"/>
                    <a:pt x="165138" y="210387"/>
                    <a:pt x="162299" y="212279"/>
                  </a:cubicBezTo>
                  <a:cubicBezTo>
                    <a:pt x="158513" y="215592"/>
                    <a:pt x="153782" y="217484"/>
                    <a:pt x="149050" y="217958"/>
                  </a:cubicBezTo>
                  <a:cubicBezTo>
                    <a:pt x="142899" y="218431"/>
                    <a:pt x="137694" y="217011"/>
                    <a:pt x="132489" y="213699"/>
                  </a:cubicBezTo>
                  <a:cubicBezTo>
                    <a:pt x="129177" y="210860"/>
                    <a:pt x="125391" y="208494"/>
                    <a:pt x="122079" y="205655"/>
                  </a:cubicBezTo>
                  <a:cubicBezTo>
                    <a:pt x="121133" y="204709"/>
                    <a:pt x="120186" y="205182"/>
                    <a:pt x="119713" y="205655"/>
                  </a:cubicBezTo>
                  <a:cubicBezTo>
                    <a:pt x="112615" y="211333"/>
                    <a:pt x="105518" y="216538"/>
                    <a:pt x="98420" y="222216"/>
                  </a:cubicBezTo>
                  <a:cubicBezTo>
                    <a:pt x="90849" y="228367"/>
                    <a:pt x="82805" y="234519"/>
                    <a:pt x="75235" y="240197"/>
                  </a:cubicBezTo>
                  <a:cubicBezTo>
                    <a:pt x="70030" y="243982"/>
                    <a:pt x="65298" y="248241"/>
                    <a:pt x="60093" y="252026"/>
                  </a:cubicBezTo>
                  <a:cubicBezTo>
                    <a:pt x="50156" y="259597"/>
                    <a:pt x="40693" y="267168"/>
                    <a:pt x="30756" y="274738"/>
                  </a:cubicBezTo>
                  <a:cubicBezTo>
                    <a:pt x="28864" y="276158"/>
                    <a:pt x="27444" y="277577"/>
                    <a:pt x="25551" y="278997"/>
                  </a:cubicBezTo>
                  <a:cubicBezTo>
                    <a:pt x="25078" y="279943"/>
                    <a:pt x="25551" y="279943"/>
                    <a:pt x="26498" y="279943"/>
                  </a:cubicBezTo>
                  <a:cubicBezTo>
                    <a:pt x="44952" y="280890"/>
                    <a:pt x="264504" y="280417"/>
                    <a:pt x="267343" y="279470"/>
                  </a:cubicBezTo>
                  <a:moveTo>
                    <a:pt x="146211" y="36732"/>
                  </a:moveTo>
                  <a:cubicBezTo>
                    <a:pt x="117820" y="36732"/>
                    <a:pt x="89903" y="36732"/>
                    <a:pt x="61513" y="36732"/>
                  </a:cubicBezTo>
                  <a:cubicBezTo>
                    <a:pt x="59620" y="36732"/>
                    <a:pt x="57254" y="36732"/>
                    <a:pt x="55835" y="38151"/>
                  </a:cubicBezTo>
                  <a:cubicBezTo>
                    <a:pt x="51103" y="40517"/>
                    <a:pt x="48737" y="44303"/>
                    <a:pt x="48737" y="49507"/>
                  </a:cubicBezTo>
                  <a:cubicBezTo>
                    <a:pt x="48737" y="64176"/>
                    <a:pt x="48737" y="78844"/>
                    <a:pt x="48737" y="93986"/>
                  </a:cubicBezTo>
                  <a:cubicBezTo>
                    <a:pt x="48737" y="106762"/>
                    <a:pt x="48737" y="120010"/>
                    <a:pt x="48737" y="132786"/>
                  </a:cubicBezTo>
                  <a:cubicBezTo>
                    <a:pt x="48737" y="134206"/>
                    <a:pt x="48737" y="135152"/>
                    <a:pt x="49683" y="136098"/>
                  </a:cubicBezTo>
                  <a:cubicBezTo>
                    <a:pt x="53942" y="139411"/>
                    <a:pt x="57727" y="142723"/>
                    <a:pt x="61986" y="146035"/>
                  </a:cubicBezTo>
                  <a:cubicBezTo>
                    <a:pt x="64352" y="147928"/>
                    <a:pt x="66718" y="149347"/>
                    <a:pt x="69083" y="151240"/>
                  </a:cubicBezTo>
                  <a:cubicBezTo>
                    <a:pt x="70503" y="152659"/>
                    <a:pt x="71922" y="154079"/>
                    <a:pt x="73815" y="155025"/>
                  </a:cubicBezTo>
                  <a:cubicBezTo>
                    <a:pt x="79493" y="158811"/>
                    <a:pt x="84225" y="164016"/>
                    <a:pt x="90376" y="167328"/>
                  </a:cubicBezTo>
                  <a:cubicBezTo>
                    <a:pt x="92269" y="168747"/>
                    <a:pt x="94162" y="170167"/>
                    <a:pt x="96054" y="172060"/>
                  </a:cubicBezTo>
                  <a:cubicBezTo>
                    <a:pt x="99367" y="174899"/>
                    <a:pt x="102679" y="177265"/>
                    <a:pt x="105991" y="180104"/>
                  </a:cubicBezTo>
                  <a:cubicBezTo>
                    <a:pt x="114035" y="186255"/>
                    <a:pt x="122079" y="192879"/>
                    <a:pt x="130123" y="199031"/>
                  </a:cubicBezTo>
                  <a:cubicBezTo>
                    <a:pt x="132962" y="201396"/>
                    <a:pt x="136274" y="203762"/>
                    <a:pt x="139586" y="206128"/>
                  </a:cubicBezTo>
                  <a:cubicBezTo>
                    <a:pt x="142899" y="208494"/>
                    <a:pt x="149050" y="208494"/>
                    <a:pt x="152362" y="206128"/>
                  </a:cubicBezTo>
                  <a:cubicBezTo>
                    <a:pt x="158040" y="201870"/>
                    <a:pt x="163718" y="197611"/>
                    <a:pt x="169396" y="193352"/>
                  </a:cubicBezTo>
                  <a:cubicBezTo>
                    <a:pt x="176021" y="188621"/>
                    <a:pt x="182172" y="183889"/>
                    <a:pt x="188797" y="178684"/>
                  </a:cubicBezTo>
                  <a:cubicBezTo>
                    <a:pt x="189270" y="178211"/>
                    <a:pt x="189743" y="177738"/>
                    <a:pt x="190216" y="177265"/>
                  </a:cubicBezTo>
                  <a:cubicBezTo>
                    <a:pt x="191162" y="176318"/>
                    <a:pt x="191636" y="175845"/>
                    <a:pt x="192582" y="174899"/>
                  </a:cubicBezTo>
                  <a:cubicBezTo>
                    <a:pt x="193528" y="173952"/>
                    <a:pt x="194948" y="173006"/>
                    <a:pt x="195894" y="172533"/>
                  </a:cubicBezTo>
                  <a:cubicBezTo>
                    <a:pt x="200626" y="169221"/>
                    <a:pt x="205358" y="165435"/>
                    <a:pt x="209616" y="162123"/>
                  </a:cubicBezTo>
                  <a:cubicBezTo>
                    <a:pt x="210563" y="161177"/>
                    <a:pt x="211982" y="160230"/>
                    <a:pt x="212928" y="159284"/>
                  </a:cubicBezTo>
                  <a:cubicBezTo>
                    <a:pt x="213402" y="158811"/>
                    <a:pt x="214348" y="157864"/>
                    <a:pt x="214821" y="157391"/>
                  </a:cubicBezTo>
                  <a:cubicBezTo>
                    <a:pt x="218133" y="154552"/>
                    <a:pt x="221919" y="152186"/>
                    <a:pt x="225231" y="149820"/>
                  </a:cubicBezTo>
                  <a:cubicBezTo>
                    <a:pt x="228070" y="147928"/>
                    <a:pt x="230909" y="145562"/>
                    <a:pt x="233275" y="143669"/>
                  </a:cubicBezTo>
                  <a:cubicBezTo>
                    <a:pt x="236114" y="141303"/>
                    <a:pt x="238953" y="138937"/>
                    <a:pt x="242265" y="136572"/>
                  </a:cubicBezTo>
                  <a:cubicBezTo>
                    <a:pt x="243212" y="135625"/>
                    <a:pt x="243685" y="134206"/>
                    <a:pt x="243685" y="132786"/>
                  </a:cubicBezTo>
                  <a:cubicBezTo>
                    <a:pt x="243685" y="130893"/>
                    <a:pt x="243685" y="129474"/>
                    <a:pt x="243685" y="127581"/>
                  </a:cubicBezTo>
                  <a:cubicBezTo>
                    <a:pt x="243685" y="101557"/>
                    <a:pt x="243685" y="75532"/>
                    <a:pt x="243685" y="49507"/>
                  </a:cubicBezTo>
                  <a:cubicBezTo>
                    <a:pt x="243685" y="47615"/>
                    <a:pt x="243685" y="45249"/>
                    <a:pt x="242265" y="43829"/>
                  </a:cubicBezTo>
                  <a:cubicBezTo>
                    <a:pt x="239426" y="39571"/>
                    <a:pt x="236114" y="37205"/>
                    <a:pt x="230909" y="37205"/>
                  </a:cubicBezTo>
                  <a:cubicBezTo>
                    <a:pt x="202519" y="36732"/>
                    <a:pt x="174128" y="36732"/>
                    <a:pt x="146211" y="36732"/>
                  </a:cubicBezTo>
                  <a:moveTo>
                    <a:pt x="145264" y="291773"/>
                  </a:moveTo>
                  <a:cubicBezTo>
                    <a:pt x="105991" y="291773"/>
                    <a:pt x="67191" y="291773"/>
                    <a:pt x="27917" y="291773"/>
                  </a:cubicBezTo>
                  <a:cubicBezTo>
                    <a:pt x="25078" y="291773"/>
                    <a:pt x="22239" y="291773"/>
                    <a:pt x="19400" y="290826"/>
                  </a:cubicBezTo>
                  <a:cubicBezTo>
                    <a:pt x="14195" y="289880"/>
                    <a:pt x="9937" y="287041"/>
                    <a:pt x="6151" y="283256"/>
                  </a:cubicBezTo>
                  <a:cubicBezTo>
                    <a:pt x="1893" y="278524"/>
                    <a:pt x="473" y="272846"/>
                    <a:pt x="473" y="266694"/>
                  </a:cubicBezTo>
                  <a:cubicBezTo>
                    <a:pt x="473" y="237358"/>
                    <a:pt x="473" y="208494"/>
                    <a:pt x="473" y="179630"/>
                  </a:cubicBezTo>
                  <a:cubicBezTo>
                    <a:pt x="473" y="170167"/>
                    <a:pt x="473" y="160230"/>
                    <a:pt x="473" y="150767"/>
                  </a:cubicBezTo>
                  <a:cubicBezTo>
                    <a:pt x="473" y="147928"/>
                    <a:pt x="946" y="145562"/>
                    <a:pt x="473" y="142723"/>
                  </a:cubicBezTo>
                  <a:cubicBezTo>
                    <a:pt x="0" y="140357"/>
                    <a:pt x="0" y="137518"/>
                    <a:pt x="0" y="135152"/>
                  </a:cubicBezTo>
                  <a:cubicBezTo>
                    <a:pt x="946" y="128054"/>
                    <a:pt x="0" y="121430"/>
                    <a:pt x="473" y="114332"/>
                  </a:cubicBezTo>
                  <a:cubicBezTo>
                    <a:pt x="473" y="112440"/>
                    <a:pt x="473" y="111020"/>
                    <a:pt x="473" y="109127"/>
                  </a:cubicBezTo>
                  <a:cubicBezTo>
                    <a:pt x="473" y="107235"/>
                    <a:pt x="1420" y="105815"/>
                    <a:pt x="2839" y="104396"/>
                  </a:cubicBezTo>
                  <a:cubicBezTo>
                    <a:pt x="8990" y="99664"/>
                    <a:pt x="14668" y="94932"/>
                    <a:pt x="20820" y="90674"/>
                  </a:cubicBezTo>
                  <a:cubicBezTo>
                    <a:pt x="25078" y="87361"/>
                    <a:pt x="29810" y="83576"/>
                    <a:pt x="34069" y="80264"/>
                  </a:cubicBezTo>
                  <a:cubicBezTo>
                    <a:pt x="35961" y="78844"/>
                    <a:pt x="36908" y="77425"/>
                    <a:pt x="36908" y="75059"/>
                  </a:cubicBezTo>
                  <a:cubicBezTo>
                    <a:pt x="36908" y="66542"/>
                    <a:pt x="36908" y="57551"/>
                    <a:pt x="36908" y="48561"/>
                  </a:cubicBezTo>
                  <a:cubicBezTo>
                    <a:pt x="36908" y="38624"/>
                    <a:pt x="43532" y="28688"/>
                    <a:pt x="53469" y="25376"/>
                  </a:cubicBezTo>
                  <a:cubicBezTo>
                    <a:pt x="55835" y="24429"/>
                    <a:pt x="58674" y="24429"/>
                    <a:pt x="61039" y="23956"/>
                  </a:cubicBezTo>
                  <a:cubicBezTo>
                    <a:pt x="75235" y="23956"/>
                    <a:pt x="89430" y="23956"/>
                    <a:pt x="103625" y="23956"/>
                  </a:cubicBezTo>
                  <a:cubicBezTo>
                    <a:pt x="105045" y="23956"/>
                    <a:pt x="106464" y="23483"/>
                    <a:pt x="107884" y="22537"/>
                  </a:cubicBezTo>
                  <a:cubicBezTo>
                    <a:pt x="115455" y="16385"/>
                    <a:pt x="123025" y="10707"/>
                    <a:pt x="130596" y="5029"/>
                  </a:cubicBezTo>
                  <a:cubicBezTo>
                    <a:pt x="139113" y="-1595"/>
                    <a:pt x="151416" y="-1595"/>
                    <a:pt x="159460" y="4556"/>
                  </a:cubicBezTo>
                  <a:cubicBezTo>
                    <a:pt x="165611" y="9288"/>
                    <a:pt x="171762" y="14019"/>
                    <a:pt x="177913" y="18751"/>
                  </a:cubicBezTo>
                  <a:cubicBezTo>
                    <a:pt x="180279" y="20644"/>
                    <a:pt x="182172" y="22063"/>
                    <a:pt x="184538" y="23483"/>
                  </a:cubicBezTo>
                  <a:cubicBezTo>
                    <a:pt x="185484" y="23956"/>
                    <a:pt x="186904" y="24429"/>
                    <a:pt x="187850" y="24429"/>
                  </a:cubicBezTo>
                  <a:cubicBezTo>
                    <a:pt x="202045" y="24429"/>
                    <a:pt x="216241" y="24429"/>
                    <a:pt x="230436" y="24429"/>
                  </a:cubicBezTo>
                  <a:cubicBezTo>
                    <a:pt x="235168" y="24429"/>
                    <a:pt x="239899" y="25376"/>
                    <a:pt x="243685" y="28215"/>
                  </a:cubicBezTo>
                  <a:cubicBezTo>
                    <a:pt x="250782" y="32946"/>
                    <a:pt x="255041" y="39571"/>
                    <a:pt x="255041" y="48088"/>
                  </a:cubicBezTo>
                  <a:cubicBezTo>
                    <a:pt x="255041" y="57078"/>
                    <a:pt x="255041" y="66069"/>
                    <a:pt x="255041" y="75059"/>
                  </a:cubicBezTo>
                  <a:cubicBezTo>
                    <a:pt x="255041" y="77425"/>
                    <a:pt x="255514" y="78844"/>
                    <a:pt x="257407" y="80264"/>
                  </a:cubicBezTo>
                  <a:cubicBezTo>
                    <a:pt x="262139" y="84049"/>
                    <a:pt x="267343" y="87361"/>
                    <a:pt x="272075" y="91147"/>
                  </a:cubicBezTo>
                  <a:cubicBezTo>
                    <a:pt x="275861" y="93986"/>
                    <a:pt x="279646" y="96825"/>
                    <a:pt x="283431" y="100137"/>
                  </a:cubicBezTo>
                  <a:cubicBezTo>
                    <a:pt x="284851" y="101083"/>
                    <a:pt x="285797" y="102503"/>
                    <a:pt x="287217" y="103449"/>
                  </a:cubicBezTo>
                  <a:cubicBezTo>
                    <a:pt x="290056" y="105342"/>
                    <a:pt x="291475" y="107708"/>
                    <a:pt x="291475" y="111493"/>
                  </a:cubicBezTo>
                  <a:cubicBezTo>
                    <a:pt x="291475" y="118118"/>
                    <a:pt x="291002" y="124269"/>
                    <a:pt x="291002" y="130893"/>
                  </a:cubicBezTo>
                  <a:cubicBezTo>
                    <a:pt x="291002" y="131367"/>
                    <a:pt x="291002" y="131840"/>
                    <a:pt x="291002" y="131840"/>
                  </a:cubicBezTo>
                  <a:cubicBezTo>
                    <a:pt x="291948" y="134206"/>
                    <a:pt x="291948" y="136572"/>
                    <a:pt x="291475" y="138937"/>
                  </a:cubicBezTo>
                  <a:cubicBezTo>
                    <a:pt x="291002" y="144616"/>
                    <a:pt x="291475" y="149820"/>
                    <a:pt x="291475" y="155499"/>
                  </a:cubicBezTo>
                  <a:cubicBezTo>
                    <a:pt x="291475" y="158811"/>
                    <a:pt x="291002" y="162123"/>
                    <a:pt x="291002" y="165908"/>
                  </a:cubicBezTo>
                  <a:cubicBezTo>
                    <a:pt x="291002" y="168747"/>
                    <a:pt x="291475" y="171113"/>
                    <a:pt x="291475" y="173952"/>
                  </a:cubicBezTo>
                  <a:cubicBezTo>
                    <a:pt x="291475" y="174899"/>
                    <a:pt x="291002" y="175845"/>
                    <a:pt x="291002" y="177265"/>
                  </a:cubicBezTo>
                  <a:cubicBezTo>
                    <a:pt x="291002" y="177738"/>
                    <a:pt x="291002" y="178211"/>
                    <a:pt x="291002" y="178684"/>
                  </a:cubicBezTo>
                  <a:cubicBezTo>
                    <a:pt x="291002" y="180577"/>
                    <a:pt x="291475" y="182943"/>
                    <a:pt x="291475" y="184835"/>
                  </a:cubicBezTo>
                  <a:cubicBezTo>
                    <a:pt x="291475" y="212279"/>
                    <a:pt x="291475" y="239724"/>
                    <a:pt x="291475" y="267168"/>
                  </a:cubicBezTo>
                  <a:cubicBezTo>
                    <a:pt x="291475" y="275212"/>
                    <a:pt x="288636" y="281836"/>
                    <a:pt x="282012" y="287041"/>
                  </a:cubicBezTo>
                  <a:cubicBezTo>
                    <a:pt x="277280" y="290826"/>
                    <a:pt x="272075" y="292246"/>
                    <a:pt x="266397" y="292246"/>
                  </a:cubicBezTo>
                  <a:cubicBezTo>
                    <a:pt x="255987" y="292246"/>
                    <a:pt x="245577" y="292246"/>
                    <a:pt x="235168" y="292246"/>
                  </a:cubicBezTo>
                  <a:lnTo>
                    <a:pt x="145264" y="292246"/>
                  </a:lnTo>
                  <a:close/>
                </a:path>
              </a:pathLst>
            </a:custGeom>
            <a:solidFill>
              <a:srgbClr val="FCAF17"/>
            </a:solidFill>
            <a:ln w="4609" cap="flat">
              <a:noFill/>
              <a:prstDash val="solid"/>
              <a:miter/>
            </a:ln>
          </p:spPr>
          <p:txBody>
            <a:bodyPr rtlCol="0" anchor="ctr"/>
            <a:lstStyle/>
            <a:p>
              <a:endParaRPr lang="en-GB" sz="2400" dirty="0"/>
            </a:p>
          </p:txBody>
        </p:sp>
        <p:sp>
          <p:nvSpPr>
            <p:cNvPr id="20" name="Freeform: Shape 19">
              <a:extLst>
                <a:ext uri="{FF2B5EF4-FFF2-40B4-BE49-F238E27FC236}">
                  <a16:creationId xmlns:a16="http://schemas.microsoft.com/office/drawing/2014/main" id="{BE0D7E10-5346-4C63-B2DC-08336E4B25F0}"/>
                </a:ext>
              </a:extLst>
            </p:cNvPr>
            <p:cNvSpPr/>
            <p:nvPr/>
          </p:nvSpPr>
          <p:spPr>
            <a:xfrm>
              <a:off x="421024" y="688086"/>
              <a:ext cx="94635" cy="94635"/>
            </a:xfrm>
            <a:custGeom>
              <a:avLst/>
              <a:gdLst>
                <a:gd name="connsiteX0" fmla="*/ 56136 w 94634"/>
                <a:gd name="connsiteY0" fmla="*/ 37050 h 94634"/>
                <a:gd name="connsiteX1" fmla="*/ 47145 w 94634"/>
                <a:gd name="connsiteY1" fmla="*/ 37996 h 94634"/>
                <a:gd name="connsiteX2" fmla="*/ 41941 w 94634"/>
                <a:gd name="connsiteY2" fmla="*/ 53611 h 94634"/>
                <a:gd name="connsiteX3" fmla="*/ 46672 w 94634"/>
                <a:gd name="connsiteY3" fmla="*/ 57869 h 94634"/>
                <a:gd name="connsiteX4" fmla="*/ 53770 w 94634"/>
                <a:gd name="connsiteY4" fmla="*/ 57396 h 94634"/>
                <a:gd name="connsiteX5" fmla="*/ 56136 w 94634"/>
                <a:gd name="connsiteY5" fmla="*/ 54084 h 94634"/>
                <a:gd name="connsiteX6" fmla="*/ 56136 w 94634"/>
                <a:gd name="connsiteY6" fmla="*/ 44620 h 94634"/>
                <a:gd name="connsiteX7" fmla="*/ 56136 w 94634"/>
                <a:gd name="connsiteY7" fmla="*/ 37050 h 94634"/>
                <a:gd name="connsiteX8" fmla="*/ 67492 w 94634"/>
                <a:gd name="connsiteY8" fmla="*/ 44147 h 94634"/>
                <a:gd name="connsiteX9" fmla="*/ 67492 w 94634"/>
                <a:gd name="connsiteY9" fmla="*/ 55030 h 94634"/>
                <a:gd name="connsiteX10" fmla="*/ 68911 w 94634"/>
                <a:gd name="connsiteY10" fmla="*/ 57869 h 94634"/>
                <a:gd name="connsiteX11" fmla="*/ 75536 w 94634"/>
                <a:gd name="connsiteY11" fmla="*/ 59289 h 94634"/>
                <a:gd name="connsiteX12" fmla="*/ 84999 w 94634"/>
                <a:gd name="connsiteY12" fmla="*/ 51718 h 94634"/>
                <a:gd name="connsiteX13" fmla="*/ 83107 w 94634"/>
                <a:gd name="connsiteY13" fmla="*/ 35157 h 94634"/>
                <a:gd name="connsiteX14" fmla="*/ 73170 w 94634"/>
                <a:gd name="connsiteY14" fmla="*/ 20489 h 94634"/>
                <a:gd name="connsiteX15" fmla="*/ 46199 w 94634"/>
                <a:gd name="connsiteY15" fmla="*/ 11025 h 94634"/>
                <a:gd name="connsiteX16" fmla="*/ 29165 w 94634"/>
                <a:gd name="connsiteY16" fmla="*/ 16230 h 94634"/>
                <a:gd name="connsiteX17" fmla="*/ 14496 w 94634"/>
                <a:gd name="connsiteY17" fmla="*/ 33264 h 94634"/>
                <a:gd name="connsiteX18" fmla="*/ 12131 w 94634"/>
                <a:gd name="connsiteY18" fmla="*/ 54084 h 94634"/>
                <a:gd name="connsiteX19" fmla="*/ 15916 w 94634"/>
                <a:gd name="connsiteY19" fmla="*/ 65440 h 94634"/>
                <a:gd name="connsiteX20" fmla="*/ 20648 w 94634"/>
                <a:gd name="connsiteY20" fmla="*/ 71591 h 94634"/>
                <a:gd name="connsiteX21" fmla="*/ 31531 w 94634"/>
                <a:gd name="connsiteY21" fmla="*/ 80582 h 94634"/>
                <a:gd name="connsiteX22" fmla="*/ 43360 w 94634"/>
                <a:gd name="connsiteY22" fmla="*/ 83894 h 94634"/>
                <a:gd name="connsiteX23" fmla="*/ 49038 w 94634"/>
                <a:gd name="connsiteY23" fmla="*/ 84840 h 94634"/>
                <a:gd name="connsiteX24" fmla="*/ 53297 w 94634"/>
                <a:gd name="connsiteY24" fmla="*/ 91938 h 94634"/>
                <a:gd name="connsiteX25" fmla="*/ 48092 w 94634"/>
                <a:gd name="connsiteY25" fmla="*/ 96196 h 94634"/>
                <a:gd name="connsiteX26" fmla="*/ 44306 w 94634"/>
                <a:gd name="connsiteY26" fmla="*/ 95723 h 94634"/>
                <a:gd name="connsiteX27" fmla="*/ 34843 w 94634"/>
                <a:gd name="connsiteY27" fmla="*/ 93831 h 94634"/>
                <a:gd name="connsiteX28" fmla="*/ 32004 w 94634"/>
                <a:gd name="connsiteY28" fmla="*/ 92884 h 94634"/>
                <a:gd name="connsiteX29" fmla="*/ 26326 w 94634"/>
                <a:gd name="connsiteY29" fmla="*/ 90518 h 94634"/>
                <a:gd name="connsiteX30" fmla="*/ 14496 w 94634"/>
                <a:gd name="connsiteY30" fmla="*/ 82474 h 94634"/>
                <a:gd name="connsiteX31" fmla="*/ 8818 w 94634"/>
                <a:gd name="connsiteY31" fmla="*/ 75377 h 94634"/>
                <a:gd name="connsiteX32" fmla="*/ 4560 w 94634"/>
                <a:gd name="connsiteY32" fmla="*/ 68752 h 94634"/>
                <a:gd name="connsiteX33" fmla="*/ 3140 w 94634"/>
                <a:gd name="connsiteY33" fmla="*/ 64494 h 94634"/>
                <a:gd name="connsiteX34" fmla="*/ 1721 w 94634"/>
                <a:gd name="connsiteY34" fmla="*/ 61182 h 94634"/>
                <a:gd name="connsiteX35" fmla="*/ 301 w 94634"/>
                <a:gd name="connsiteY35" fmla="*/ 51245 h 94634"/>
                <a:gd name="connsiteX36" fmla="*/ 2667 w 94634"/>
                <a:gd name="connsiteY36" fmla="*/ 31845 h 94634"/>
                <a:gd name="connsiteX37" fmla="*/ 10711 w 94634"/>
                <a:gd name="connsiteY37" fmla="*/ 17650 h 94634"/>
                <a:gd name="connsiteX38" fmla="*/ 27745 w 94634"/>
                <a:gd name="connsiteY38" fmla="*/ 4401 h 94634"/>
                <a:gd name="connsiteX39" fmla="*/ 55189 w 94634"/>
                <a:gd name="connsiteY39" fmla="*/ 615 h 94634"/>
                <a:gd name="connsiteX40" fmla="*/ 72697 w 94634"/>
                <a:gd name="connsiteY40" fmla="*/ 6767 h 94634"/>
                <a:gd name="connsiteX41" fmla="*/ 82634 w 94634"/>
                <a:gd name="connsiteY41" fmla="*/ 14811 h 94634"/>
                <a:gd name="connsiteX42" fmla="*/ 92570 w 94634"/>
                <a:gd name="connsiteY42" fmla="*/ 29479 h 94634"/>
                <a:gd name="connsiteX43" fmla="*/ 94463 w 94634"/>
                <a:gd name="connsiteY43" fmla="*/ 59289 h 94634"/>
                <a:gd name="connsiteX44" fmla="*/ 75063 w 94634"/>
                <a:gd name="connsiteY44" fmla="*/ 71591 h 94634"/>
                <a:gd name="connsiteX45" fmla="*/ 73643 w 94634"/>
                <a:gd name="connsiteY45" fmla="*/ 71591 h 94634"/>
                <a:gd name="connsiteX46" fmla="*/ 63707 w 94634"/>
                <a:gd name="connsiteY46" fmla="*/ 70172 h 94634"/>
                <a:gd name="connsiteX47" fmla="*/ 62760 w 94634"/>
                <a:gd name="connsiteY47" fmla="*/ 69699 h 94634"/>
                <a:gd name="connsiteX48" fmla="*/ 57082 w 94634"/>
                <a:gd name="connsiteY48" fmla="*/ 69699 h 94634"/>
                <a:gd name="connsiteX49" fmla="*/ 45253 w 94634"/>
                <a:gd name="connsiteY49" fmla="*/ 69699 h 94634"/>
                <a:gd name="connsiteX50" fmla="*/ 40521 w 94634"/>
                <a:gd name="connsiteY50" fmla="*/ 68752 h 94634"/>
                <a:gd name="connsiteX51" fmla="*/ 34843 w 94634"/>
                <a:gd name="connsiteY51" fmla="*/ 64021 h 94634"/>
                <a:gd name="connsiteX52" fmla="*/ 32004 w 94634"/>
                <a:gd name="connsiteY52" fmla="*/ 59762 h 94634"/>
                <a:gd name="connsiteX53" fmla="*/ 30584 w 94634"/>
                <a:gd name="connsiteY53" fmla="*/ 46513 h 94634"/>
                <a:gd name="connsiteX54" fmla="*/ 35789 w 94634"/>
                <a:gd name="connsiteY54" fmla="*/ 33737 h 94634"/>
                <a:gd name="connsiteX55" fmla="*/ 51404 w 94634"/>
                <a:gd name="connsiteY55" fmla="*/ 25220 h 94634"/>
                <a:gd name="connsiteX56" fmla="*/ 64180 w 94634"/>
                <a:gd name="connsiteY56" fmla="*/ 27586 h 94634"/>
                <a:gd name="connsiteX57" fmla="*/ 68438 w 94634"/>
                <a:gd name="connsiteY57" fmla="*/ 34211 h 94634"/>
                <a:gd name="connsiteX58" fmla="*/ 67492 w 94634"/>
                <a:gd name="connsiteY58" fmla="*/ 44147 h 94634"/>
                <a:gd name="connsiteX59" fmla="*/ 67492 w 94634"/>
                <a:gd name="connsiteY59" fmla="*/ 44147 h 94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4634" h="94634">
                  <a:moveTo>
                    <a:pt x="56136" y="37050"/>
                  </a:moveTo>
                  <a:cubicBezTo>
                    <a:pt x="52824" y="36103"/>
                    <a:pt x="49985" y="36103"/>
                    <a:pt x="47145" y="37996"/>
                  </a:cubicBezTo>
                  <a:cubicBezTo>
                    <a:pt x="42414" y="41308"/>
                    <a:pt x="40521" y="48406"/>
                    <a:pt x="41941" y="53611"/>
                  </a:cubicBezTo>
                  <a:cubicBezTo>
                    <a:pt x="42414" y="55977"/>
                    <a:pt x="44306" y="57396"/>
                    <a:pt x="46672" y="57869"/>
                  </a:cubicBezTo>
                  <a:cubicBezTo>
                    <a:pt x="49038" y="58343"/>
                    <a:pt x="51404" y="58343"/>
                    <a:pt x="53770" y="57396"/>
                  </a:cubicBezTo>
                  <a:cubicBezTo>
                    <a:pt x="55663" y="56923"/>
                    <a:pt x="55663" y="56450"/>
                    <a:pt x="56136" y="54084"/>
                  </a:cubicBezTo>
                  <a:cubicBezTo>
                    <a:pt x="56136" y="50772"/>
                    <a:pt x="56136" y="47933"/>
                    <a:pt x="56136" y="44620"/>
                  </a:cubicBezTo>
                  <a:cubicBezTo>
                    <a:pt x="56136" y="42728"/>
                    <a:pt x="56136" y="39889"/>
                    <a:pt x="56136" y="37050"/>
                  </a:cubicBezTo>
                  <a:moveTo>
                    <a:pt x="67492" y="44147"/>
                  </a:moveTo>
                  <a:cubicBezTo>
                    <a:pt x="67492" y="47933"/>
                    <a:pt x="67492" y="51718"/>
                    <a:pt x="67492" y="55030"/>
                  </a:cubicBezTo>
                  <a:cubicBezTo>
                    <a:pt x="67492" y="56450"/>
                    <a:pt x="67965" y="57396"/>
                    <a:pt x="68911" y="57869"/>
                  </a:cubicBezTo>
                  <a:cubicBezTo>
                    <a:pt x="71277" y="58343"/>
                    <a:pt x="73170" y="58816"/>
                    <a:pt x="75536" y="59289"/>
                  </a:cubicBezTo>
                  <a:cubicBezTo>
                    <a:pt x="80268" y="59762"/>
                    <a:pt x="84526" y="56450"/>
                    <a:pt x="84999" y="51718"/>
                  </a:cubicBezTo>
                  <a:cubicBezTo>
                    <a:pt x="85946" y="46040"/>
                    <a:pt x="84999" y="40362"/>
                    <a:pt x="83107" y="35157"/>
                  </a:cubicBezTo>
                  <a:cubicBezTo>
                    <a:pt x="81214" y="29479"/>
                    <a:pt x="77902" y="24274"/>
                    <a:pt x="73170" y="20489"/>
                  </a:cubicBezTo>
                  <a:cubicBezTo>
                    <a:pt x="65599" y="13864"/>
                    <a:pt x="56609" y="10079"/>
                    <a:pt x="46199" y="11025"/>
                  </a:cubicBezTo>
                  <a:cubicBezTo>
                    <a:pt x="40048" y="11498"/>
                    <a:pt x="34370" y="12918"/>
                    <a:pt x="29165" y="16230"/>
                  </a:cubicBezTo>
                  <a:cubicBezTo>
                    <a:pt x="22540" y="20489"/>
                    <a:pt x="17335" y="26167"/>
                    <a:pt x="14496" y="33264"/>
                  </a:cubicBezTo>
                  <a:cubicBezTo>
                    <a:pt x="11657" y="39889"/>
                    <a:pt x="11184" y="46986"/>
                    <a:pt x="12131" y="54084"/>
                  </a:cubicBezTo>
                  <a:cubicBezTo>
                    <a:pt x="12604" y="57869"/>
                    <a:pt x="14496" y="61655"/>
                    <a:pt x="15916" y="65440"/>
                  </a:cubicBezTo>
                  <a:cubicBezTo>
                    <a:pt x="16862" y="67806"/>
                    <a:pt x="19228" y="69226"/>
                    <a:pt x="20648" y="71591"/>
                  </a:cubicBezTo>
                  <a:cubicBezTo>
                    <a:pt x="23487" y="75377"/>
                    <a:pt x="27272" y="78216"/>
                    <a:pt x="31531" y="80582"/>
                  </a:cubicBezTo>
                  <a:cubicBezTo>
                    <a:pt x="35316" y="82948"/>
                    <a:pt x="39575" y="82948"/>
                    <a:pt x="43360" y="83894"/>
                  </a:cubicBezTo>
                  <a:cubicBezTo>
                    <a:pt x="45253" y="84367"/>
                    <a:pt x="47145" y="84367"/>
                    <a:pt x="49038" y="84840"/>
                  </a:cubicBezTo>
                  <a:cubicBezTo>
                    <a:pt x="52350" y="85787"/>
                    <a:pt x="54243" y="88626"/>
                    <a:pt x="53297" y="91938"/>
                  </a:cubicBezTo>
                  <a:cubicBezTo>
                    <a:pt x="52824" y="93357"/>
                    <a:pt x="49511" y="96196"/>
                    <a:pt x="48092" y="96196"/>
                  </a:cubicBezTo>
                  <a:cubicBezTo>
                    <a:pt x="46672" y="96196"/>
                    <a:pt x="45253" y="96196"/>
                    <a:pt x="44306" y="95723"/>
                  </a:cubicBezTo>
                  <a:cubicBezTo>
                    <a:pt x="40994" y="95250"/>
                    <a:pt x="37682" y="94777"/>
                    <a:pt x="34843" y="93831"/>
                  </a:cubicBezTo>
                  <a:cubicBezTo>
                    <a:pt x="33897" y="93831"/>
                    <a:pt x="32950" y="92884"/>
                    <a:pt x="32004" y="92884"/>
                  </a:cubicBezTo>
                  <a:cubicBezTo>
                    <a:pt x="30111" y="91938"/>
                    <a:pt x="28219" y="91465"/>
                    <a:pt x="26326" y="90518"/>
                  </a:cubicBezTo>
                  <a:cubicBezTo>
                    <a:pt x="21594" y="88626"/>
                    <a:pt x="18282" y="85787"/>
                    <a:pt x="14496" y="82474"/>
                  </a:cubicBezTo>
                  <a:cubicBezTo>
                    <a:pt x="12131" y="80109"/>
                    <a:pt x="10711" y="77743"/>
                    <a:pt x="8818" y="75377"/>
                  </a:cubicBezTo>
                  <a:cubicBezTo>
                    <a:pt x="6926" y="73484"/>
                    <a:pt x="5506" y="71118"/>
                    <a:pt x="4560" y="68752"/>
                  </a:cubicBezTo>
                  <a:cubicBezTo>
                    <a:pt x="4087" y="67333"/>
                    <a:pt x="3613" y="65913"/>
                    <a:pt x="3140" y="64494"/>
                  </a:cubicBezTo>
                  <a:cubicBezTo>
                    <a:pt x="2667" y="63547"/>
                    <a:pt x="2194" y="62128"/>
                    <a:pt x="1721" y="61182"/>
                  </a:cubicBezTo>
                  <a:cubicBezTo>
                    <a:pt x="1248" y="57869"/>
                    <a:pt x="774" y="54557"/>
                    <a:pt x="301" y="51245"/>
                  </a:cubicBezTo>
                  <a:cubicBezTo>
                    <a:pt x="-645" y="44620"/>
                    <a:pt x="774" y="37996"/>
                    <a:pt x="2667" y="31845"/>
                  </a:cubicBezTo>
                  <a:cubicBezTo>
                    <a:pt x="4560" y="26640"/>
                    <a:pt x="7399" y="21908"/>
                    <a:pt x="10711" y="17650"/>
                  </a:cubicBezTo>
                  <a:cubicBezTo>
                    <a:pt x="15443" y="11971"/>
                    <a:pt x="21121" y="7713"/>
                    <a:pt x="27745" y="4401"/>
                  </a:cubicBezTo>
                  <a:cubicBezTo>
                    <a:pt x="36262" y="142"/>
                    <a:pt x="45726" y="-804"/>
                    <a:pt x="55189" y="615"/>
                  </a:cubicBezTo>
                  <a:cubicBezTo>
                    <a:pt x="61341" y="1562"/>
                    <a:pt x="67492" y="3454"/>
                    <a:pt x="72697" y="6767"/>
                  </a:cubicBezTo>
                  <a:cubicBezTo>
                    <a:pt x="76482" y="8659"/>
                    <a:pt x="79794" y="11498"/>
                    <a:pt x="82634" y="14811"/>
                  </a:cubicBezTo>
                  <a:cubicBezTo>
                    <a:pt x="86892" y="19069"/>
                    <a:pt x="90204" y="23801"/>
                    <a:pt x="92570" y="29479"/>
                  </a:cubicBezTo>
                  <a:cubicBezTo>
                    <a:pt x="96356" y="38942"/>
                    <a:pt x="98248" y="48879"/>
                    <a:pt x="94463" y="59289"/>
                  </a:cubicBezTo>
                  <a:cubicBezTo>
                    <a:pt x="91624" y="67333"/>
                    <a:pt x="84526" y="73011"/>
                    <a:pt x="75063" y="71591"/>
                  </a:cubicBezTo>
                  <a:cubicBezTo>
                    <a:pt x="74590" y="71591"/>
                    <a:pt x="74116" y="71591"/>
                    <a:pt x="73643" y="71591"/>
                  </a:cubicBezTo>
                  <a:cubicBezTo>
                    <a:pt x="70331" y="72065"/>
                    <a:pt x="67019" y="71118"/>
                    <a:pt x="63707" y="70172"/>
                  </a:cubicBezTo>
                  <a:cubicBezTo>
                    <a:pt x="63233" y="70172"/>
                    <a:pt x="63233" y="70172"/>
                    <a:pt x="62760" y="69699"/>
                  </a:cubicBezTo>
                  <a:cubicBezTo>
                    <a:pt x="60868" y="68752"/>
                    <a:pt x="58975" y="69226"/>
                    <a:pt x="57082" y="69699"/>
                  </a:cubicBezTo>
                  <a:cubicBezTo>
                    <a:pt x="54243" y="69699"/>
                    <a:pt x="49985" y="71118"/>
                    <a:pt x="45253" y="69699"/>
                  </a:cubicBezTo>
                  <a:cubicBezTo>
                    <a:pt x="43833" y="69226"/>
                    <a:pt x="41941" y="69226"/>
                    <a:pt x="40521" y="68752"/>
                  </a:cubicBezTo>
                  <a:cubicBezTo>
                    <a:pt x="38155" y="67806"/>
                    <a:pt x="36262" y="65913"/>
                    <a:pt x="34843" y="64021"/>
                  </a:cubicBezTo>
                  <a:cubicBezTo>
                    <a:pt x="33897" y="62601"/>
                    <a:pt x="32477" y="61182"/>
                    <a:pt x="32004" y="59762"/>
                  </a:cubicBezTo>
                  <a:cubicBezTo>
                    <a:pt x="30111" y="55503"/>
                    <a:pt x="30111" y="51245"/>
                    <a:pt x="30584" y="46513"/>
                  </a:cubicBezTo>
                  <a:cubicBezTo>
                    <a:pt x="31058" y="41781"/>
                    <a:pt x="32950" y="37523"/>
                    <a:pt x="35789" y="33737"/>
                  </a:cubicBezTo>
                  <a:cubicBezTo>
                    <a:pt x="39575" y="28533"/>
                    <a:pt x="45253" y="25694"/>
                    <a:pt x="51404" y="25220"/>
                  </a:cubicBezTo>
                  <a:cubicBezTo>
                    <a:pt x="55663" y="24747"/>
                    <a:pt x="60394" y="25694"/>
                    <a:pt x="64180" y="27586"/>
                  </a:cubicBezTo>
                  <a:cubicBezTo>
                    <a:pt x="67019" y="29006"/>
                    <a:pt x="68438" y="30898"/>
                    <a:pt x="68438" y="34211"/>
                  </a:cubicBezTo>
                  <a:cubicBezTo>
                    <a:pt x="67965" y="37050"/>
                    <a:pt x="67965" y="40835"/>
                    <a:pt x="67492" y="44147"/>
                  </a:cubicBezTo>
                  <a:cubicBezTo>
                    <a:pt x="67965" y="44147"/>
                    <a:pt x="67492" y="44147"/>
                    <a:pt x="67492" y="44147"/>
                  </a:cubicBezTo>
                </a:path>
              </a:pathLst>
            </a:custGeom>
            <a:solidFill>
              <a:srgbClr val="FCAF17"/>
            </a:solidFill>
            <a:ln w="4609" cap="flat">
              <a:noFill/>
              <a:prstDash val="solid"/>
              <a:miter/>
            </a:ln>
          </p:spPr>
          <p:txBody>
            <a:bodyPr rtlCol="0" anchor="ctr"/>
            <a:lstStyle/>
            <a:p>
              <a:endParaRPr lang="en-GB" sz="2400" dirty="0"/>
            </a:p>
          </p:txBody>
        </p:sp>
      </p:grpSp>
      <p:sp>
        <p:nvSpPr>
          <p:cNvPr id="14" name="TextBox 13">
            <a:extLst>
              <a:ext uri="{FF2B5EF4-FFF2-40B4-BE49-F238E27FC236}">
                <a16:creationId xmlns:a16="http://schemas.microsoft.com/office/drawing/2014/main" id="{BFC5F1DC-B7A8-42C6-A398-FB1485B54327}"/>
              </a:ext>
            </a:extLst>
          </p:cNvPr>
          <p:cNvSpPr txBox="1"/>
          <p:nvPr userDrawn="1"/>
        </p:nvSpPr>
        <p:spPr>
          <a:xfrm>
            <a:off x="3457622" y="6652816"/>
            <a:ext cx="5276757" cy="20518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100" b="0" i="0" u="none" strike="noStrike" kern="1200" baseline="30000" dirty="0">
                <a:solidFill>
                  <a:schemeClr val="bg1"/>
                </a:solidFill>
                <a:latin typeface="Arial" panose="020B0604020202020204" pitchFamily="34" charset="0"/>
                <a:ea typeface="+mn-ea"/>
                <a:cs typeface="Arial" panose="020B0604020202020204" pitchFamily="34" charset="0"/>
              </a:rPr>
              <a:t>Presented at the 2021 ASH Annual Meeting and Exposition; December 11-14, 2021; Atlanta, GA, and Virtual</a:t>
            </a:r>
          </a:p>
        </p:txBody>
      </p:sp>
    </p:spTree>
    <p:extLst>
      <p:ext uri="{BB962C8B-B14F-4D97-AF65-F5344CB8AC3E}">
        <p14:creationId xmlns:p14="http://schemas.microsoft.com/office/powerpoint/2010/main" val="110695230"/>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341248373"/>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5" name="Object 4" hidden="1"/>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59508" y="699584"/>
            <a:ext cx="8920712" cy="940305"/>
          </a:xfrm>
        </p:spPr>
        <p:txBody>
          <a:bodyPr>
            <a:normAutofit/>
          </a:bodyPr>
          <a:lstStyle>
            <a:lvl1pPr>
              <a:defRPr sz="3600">
                <a:solidFill>
                  <a:srgbClr val="007DA0"/>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C87F2103-9A57-4B55-A067-6EBD787D356D}"/>
              </a:ext>
            </a:extLst>
          </p:cNvPr>
          <p:cNvSpPr>
            <a:spLocks noGrp="1"/>
          </p:cNvSpPr>
          <p:nvPr>
            <p:ph idx="1"/>
          </p:nvPr>
        </p:nvSpPr>
        <p:spPr>
          <a:xfrm>
            <a:off x="459509" y="1757545"/>
            <a:ext cx="10950419" cy="4220297"/>
          </a:xfrm>
        </p:spPr>
        <p:txBody>
          <a:bodyPr>
            <a:normAutofit/>
          </a:bodyPr>
          <a:lstStyle>
            <a:lvl1pPr>
              <a:defRPr sz="18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p>
            <a:fld id="{DA69A137-6BDB-47B4-8B9B-30BE2E63C07B}" type="slidenum">
              <a:rPr lang="en-US" smtClean="0"/>
              <a:t>‹#›</a:t>
            </a:fld>
            <a:endParaRPr lang="en-US" dirty="0"/>
          </a:p>
        </p:txBody>
      </p:sp>
      <p:sp>
        <p:nvSpPr>
          <p:cNvPr id="9" name="Footer Placeholder 4">
            <a:extLst>
              <a:ext uri="{FF2B5EF4-FFF2-40B4-BE49-F238E27FC236}">
                <a16:creationId xmlns:a16="http://schemas.microsoft.com/office/drawing/2014/main" id="{AA3CC0E8-9D49-42A6-B966-3FA783566681}"/>
              </a:ext>
            </a:extLst>
          </p:cNvPr>
          <p:cNvSpPr>
            <a:spLocks noGrp="1"/>
          </p:cNvSpPr>
          <p:nvPr>
            <p:ph type="ftr" sz="quarter" idx="3"/>
          </p:nvPr>
        </p:nvSpPr>
        <p:spPr>
          <a:xfrm>
            <a:off x="459509" y="6279133"/>
            <a:ext cx="10515599" cy="313604"/>
          </a:xfrm>
          <a:prstGeom prst="rect">
            <a:avLst/>
          </a:prstGeom>
        </p:spPr>
        <p:txBody>
          <a:bodyPr vert="horz" lIns="91440" tIns="45720" rIns="91440" bIns="45720" rtlCol="0" anchor="b"/>
          <a:lstStyle>
            <a:lvl1pPr algn="l">
              <a:defRPr sz="1000">
                <a:solidFill>
                  <a:schemeClr val="tx2"/>
                </a:solidFill>
                <a:latin typeface="Arial" panose="020B0604020202020204" pitchFamily="34" charset="0"/>
                <a:cs typeface="Arial" panose="020B0604020202020204" pitchFamily="34" charset="0"/>
              </a:defRPr>
            </a:lvl1pPr>
          </a:lstStyle>
          <a:p>
            <a:r>
              <a:rPr lang="en-US" dirty="0"/>
              <a:t>References</a:t>
            </a:r>
          </a:p>
        </p:txBody>
      </p:sp>
    </p:spTree>
    <p:extLst>
      <p:ext uri="{BB962C8B-B14F-4D97-AF65-F5344CB8AC3E}">
        <p14:creationId xmlns:p14="http://schemas.microsoft.com/office/powerpoint/2010/main" val="1325629712"/>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Results One">
    <p:bg>
      <p:bgPr>
        <a:solidFill>
          <a:srgbClr val="006BB1"/>
        </a:solidFill>
        <a:effectLst/>
      </p:bgPr>
    </p:bg>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64ACB34E-01AD-42BB-9FB5-974B09253D2C}"/>
              </a:ext>
            </a:extLst>
          </p:cNvPr>
          <p:cNvSpPr/>
          <p:nvPr userDrawn="1"/>
        </p:nvSpPr>
        <p:spPr>
          <a:xfrm>
            <a:off x="414482" y="1153748"/>
            <a:ext cx="11396519" cy="5015757"/>
          </a:xfrm>
          <a:prstGeom prst="roundRect">
            <a:avLst>
              <a:gd name="adj" fmla="val 34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9" name="Rectangle 8">
            <a:extLst>
              <a:ext uri="{FF2B5EF4-FFF2-40B4-BE49-F238E27FC236}">
                <a16:creationId xmlns:a16="http://schemas.microsoft.com/office/drawing/2014/main" id="{53052E07-F49D-466D-8A06-60135463D4DE}"/>
              </a:ext>
            </a:extLst>
          </p:cNvPr>
          <p:cNvSpPr/>
          <p:nvPr userDrawn="1"/>
        </p:nvSpPr>
        <p:spPr>
          <a:xfrm>
            <a:off x="0" y="-31966"/>
            <a:ext cx="12192000" cy="787761"/>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14482" y="31968"/>
            <a:ext cx="8974879" cy="723827"/>
          </a:xfrm>
        </p:spPr>
        <p:txBody>
          <a:bodyPr>
            <a:normAutofit/>
          </a:bodyPr>
          <a:lstStyle>
            <a:lvl1pPr>
              <a:defRPr sz="3600">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pPr/>
              <a:t>‹#›</a:t>
            </a:fld>
            <a:endParaRPr lang="en-US" dirty="0"/>
          </a:p>
        </p:txBody>
      </p:sp>
      <p:sp>
        <p:nvSpPr>
          <p:cNvPr id="13" name="Text Placeholder 11">
            <a:extLst>
              <a:ext uri="{FF2B5EF4-FFF2-40B4-BE49-F238E27FC236}">
                <a16:creationId xmlns:a16="http://schemas.microsoft.com/office/drawing/2014/main" id="{0055B250-27E9-4699-9EC3-74FB11846493}"/>
              </a:ext>
            </a:extLst>
          </p:cNvPr>
          <p:cNvSpPr>
            <a:spLocks noGrp="1"/>
          </p:cNvSpPr>
          <p:nvPr>
            <p:ph type="body" sz="quarter" idx="13"/>
          </p:nvPr>
        </p:nvSpPr>
        <p:spPr>
          <a:xfrm>
            <a:off x="715890" y="1427667"/>
            <a:ext cx="8673471" cy="404813"/>
          </a:xfrm>
        </p:spPr>
        <p:txBody>
          <a:bodyPr anchor="ctr">
            <a:normAutofit/>
          </a:bodyPr>
          <a:lstStyle>
            <a:lvl1pPr marL="0" indent="0">
              <a:buNone/>
              <a:defRPr sz="1600" b="1">
                <a:solidFill>
                  <a:srgbClr val="006BB1"/>
                </a:solidFill>
              </a:defRPr>
            </a:lvl1pPr>
          </a:lstStyle>
          <a:p>
            <a:pPr lvl="0"/>
            <a:r>
              <a:rPr lang="en-US"/>
              <a:t>Click to edit Master text styles</a:t>
            </a:r>
          </a:p>
        </p:txBody>
      </p:sp>
      <p:sp>
        <p:nvSpPr>
          <p:cNvPr id="16" name="Text Placeholder 15">
            <a:extLst>
              <a:ext uri="{FF2B5EF4-FFF2-40B4-BE49-F238E27FC236}">
                <a16:creationId xmlns:a16="http://schemas.microsoft.com/office/drawing/2014/main" id="{15EDA9DC-2D66-4F8A-8FEE-51CBF52332E7}"/>
              </a:ext>
            </a:extLst>
          </p:cNvPr>
          <p:cNvSpPr>
            <a:spLocks noGrp="1"/>
          </p:cNvSpPr>
          <p:nvPr>
            <p:ph type="body" sz="quarter" idx="14"/>
          </p:nvPr>
        </p:nvSpPr>
        <p:spPr>
          <a:xfrm>
            <a:off x="715890" y="2070848"/>
            <a:ext cx="10381804" cy="374332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4">
            <a:extLst>
              <a:ext uri="{FF2B5EF4-FFF2-40B4-BE49-F238E27FC236}">
                <a16:creationId xmlns:a16="http://schemas.microsoft.com/office/drawing/2014/main" id="{C0459C26-05E6-4375-A68C-7E494435480F}"/>
              </a:ext>
            </a:extLst>
          </p:cNvPr>
          <p:cNvSpPr>
            <a:spLocks noGrp="1"/>
          </p:cNvSpPr>
          <p:nvPr>
            <p:ph type="ftr" sz="quarter" idx="3"/>
          </p:nvPr>
        </p:nvSpPr>
        <p:spPr>
          <a:xfrm>
            <a:off x="459509" y="6279133"/>
            <a:ext cx="10515599" cy="313604"/>
          </a:xfrm>
          <a:prstGeom prst="rect">
            <a:avLst/>
          </a:prstGeom>
        </p:spPr>
        <p:txBody>
          <a:bodyPr vert="horz" lIns="91440" tIns="45720" rIns="91440" bIns="45720" rtlCol="0" anchor="b"/>
          <a:lstStyle>
            <a:lvl1pPr algn="l">
              <a:defRPr sz="1000">
                <a:solidFill>
                  <a:schemeClr val="bg1"/>
                </a:solidFill>
                <a:latin typeface="Arial" panose="020B0604020202020204" pitchFamily="34" charset="0"/>
                <a:cs typeface="Arial" panose="020B0604020202020204" pitchFamily="34" charset="0"/>
              </a:defRPr>
            </a:lvl1pPr>
          </a:lstStyle>
          <a:p>
            <a:r>
              <a:rPr lang="en-US" dirty="0"/>
              <a:t>References</a:t>
            </a:r>
          </a:p>
        </p:txBody>
      </p:sp>
    </p:spTree>
    <p:extLst>
      <p:ext uri="{BB962C8B-B14F-4D97-AF65-F5344CB8AC3E}">
        <p14:creationId xmlns:p14="http://schemas.microsoft.com/office/powerpoint/2010/main" val="1488215410"/>
      </p:ext>
    </p:extLst>
  </p:cSld>
  <p:clrMapOvr>
    <a:masterClrMapping/>
  </p:clrMapOvr>
  <p:extLst>
    <p:ext uri="{DCECCB84-F9BA-43D5-87BE-67443E8EF086}">
      <p15:sldGuideLst xmlns:p15="http://schemas.microsoft.com/office/powerpoint/2012/main">
        <p15:guide id="1" pos="7440">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1_Results One">
    <p:bg>
      <p:bgPr>
        <a:solidFill>
          <a:srgbClr val="006BB1"/>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4474ACBA-5BB5-4190-89DF-582511C54EDA}"/>
              </a:ext>
            </a:extLst>
          </p:cNvPr>
          <p:cNvSpPr/>
          <p:nvPr userDrawn="1"/>
        </p:nvSpPr>
        <p:spPr>
          <a:xfrm>
            <a:off x="414483" y="1153748"/>
            <a:ext cx="4110453" cy="5015757"/>
          </a:xfrm>
          <a:prstGeom prst="roundRect">
            <a:avLst>
              <a:gd name="adj" fmla="val 34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8" name="Rectangle: Rounded Corners 7">
            <a:extLst>
              <a:ext uri="{FF2B5EF4-FFF2-40B4-BE49-F238E27FC236}">
                <a16:creationId xmlns:a16="http://schemas.microsoft.com/office/drawing/2014/main" id="{4E58C8D7-96B5-4957-B62E-C727028C4CA5}"/>
              </a:ext>
            </a:extLst>
          </p:cNvPr>
          <p:cNvSpPr/>
          <p:nvPr userDrawn="1"/>
        </p:nvSpPr>
        <p:spPr>
          <a:xfrm>
            <a:off x="4726642" y="1153748"/>
            <a:ext cx="7096764" cy="5015757"/>
          </a:xfrm>
          <a:prstGeom prst="roundRect">
            <a:avLst>
              <a:gd name="adj" fmla="val 334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9" name="Rectangle 8">
            <a:extLst>
              <a:ext uri="{FF2B5EF4-FFF2-40B4-BE49-F238E27FC236}">
                <a16:creationId xmlns:a16="http://schemas.microsoft.com/office/drawing/2014/main" id="{53052E07-F49D-466D-8A06-60135463D4DE}"/>
              </a:ext>
            </a:extLst>
          </p:cNvPr>
          <p:cNvSpPr/>
          <p:nvPr userDrawn="1"/>
        </p:nvSpPr>
        <p:spPr>
          <a:xfrm>
            <a:off x="0" y="-31966"/>
            <a:ext cx="12192000" cy="787761"/>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14482" y="31968"/>
            <a:ext cx="8974879" cy="723827"/>
          </a:xfrm>
        </p:spPr>
        <p:txBody>
          <a:bodyPr>
            <a:normAutofit/>
          </a:bodyPr>
          <a:lstStyle>
            <a:lvl1pPr>
              <a:defRPr sz="3600">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pPr/>
              <a:t>‹#›</a:t>
            </a:fld>
            <a:endParaRPr lang="en-US" dirty="0"/>
          </a:p>
        </p:txBody>
      </p:sp>
      <p:sp>
        <p:nvSpPr>
          <p:cNvPr id="12" name="Text Placeholder 11">
            <a:extLst>
              <a:ext uri="{FF2B5EF4-FFF2-40B4-BE49-F238E27FC236}">
                <a16:creationId xmlns:a16="http://schemas.microsoft.com/office/drawing/2014/main" id="{010417A9-C800-4790-A8CC-FD58C957397D}"/>
              </a:ext>
            </a:extLst>
          </p:cNvPr>
          <p:cNvSpPr>
            <a:spLocks noGrp="1"/>
          </p:cNvSpPr>
          <p:nvPr>
            <p:ph type="body" sz="quarter" idx="13"/>
          </p:nvPr>
        </p:nvSpPr>
        <p:spPr>
          <a:xfrm>
            <a:off x="698047" y="1427667"/>
            <a:ext cx="3558412" cy="404813"/>
          </a:xfrm>
        </p:spPr>
        <p:txBody>
          <a:bodyPr anchor="ctr">
            <a:normAutofit/>
          </a:bodyPr>
          <a:lstStyle>
            <a:lvl1pPr marL="0" indent="0">
              <a:buNone/>
              <a:defRPr sz="1600" b="1">
                <a:solidFill>
                  <a:srgbClr val="006BB1"/>
                </a:solidFill>
              </a:defRPr>
            </a:lvl1pPr>
          </a:lstStyle>
          <a:p>
            <a:pPr lvl="0"/>
            <a:r>
              <a:rPr lang="en-US"/>
              <a:t>Click to edit Master text styles</a:t>
            </a:r>
          </a:p>
        </p:txBody>
      </p:sp>
      <p:sp>
        <p:nvSpPr>
          <p:cNvPr id="15" name="Chart Placeholder 14">
            <a:extLst>
              <a:ext uri="{FF2B5EF4-FFF2-40B4-BE49-F238E27FC236}">
                <a16:creationId xmlns:a16="http://schemas.microsoft.com/office/drawing/2014/main" id="{FCCC24D1-82C5-4597-AC5D-54D89C345715}"/>
              </a:ext>
            </a:extLst>
          </p:cNvPr>
          <p:cNvSpPr>
            <a:spLocks noGrp="1"/>
          </p:cNvSpPr>
          <p:nvPr>
            <p:ph type="chart" sz="quarter" idx="14"/>
          </p:nvPr>
        </p:nvSpPr>
        <p:spPr>
          <a:xfrm>
            <a:off x="4976363" y="1401819"/>
            <a:ext cx="6559856" cy="4519612"/>
          </a:xfrm>
        </p:spPr>
        <p:txBody>
          <a:bodyPr>
            <a:normAutofit/>
          </a:bodyPr>
          <a:lstStyle>
            <a:lvl1pPr>
              <a:defRPr sz="1400">
                <a:latin typeface="Arial" panose="020B0604020202020204" pitchFamily="34" charset="0"/>
                <a:cs typeface="Arial" panose="020B0604020202020204" pitchFamily="34" charset="0"/>
              </a:defRPr>
            </a:lvl1pPr>
          </a:lstStyle>
          <a:p>
            <a:endParaRPr lang="en-US" dirty="0"/>
          </a:p>
        </p:txBody>
      </p:sp>
      <p:sp>
        <p:nvSpPr>
          <p:cNvPr id="17" name="Text Placeholder 16">
            <a:extLst>
              <a:ext uri="{FF2B5EF4-FFF2-40B4-BE49-F238E27FC236}">
                <a16:creationId xmlns:a16="http://schemas.microsoft.com/office/drawing/2014/main" id="{1E9436C0-3330-4BE2-8573-B927D5F629FB}"/>
              </a:ext>
            </a:extLst>
          </p:cNvPr>
          <p:cNvSpPr>
            <a:spLocks noGrp="1"/>
          </p:cNvSpPr>
          <p:nvPr>
            <p:ph type="body" sz="quarter" idx="15"/>
          </p:nvPr>
        </p:nvSpPr>
        <p:spPr>
          <a:xfrm>
            <a:off x="698121" y="2074865"/>
            <a:ext cx="3557587" cy="379253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Footer Placeholder 4">
            <a:extLst>
              <a:ext uri="{FF2B5EF4-FFF2-40B4-BE49-F238E27FC236}">
                <a16:creationId xmlns:a16="http://schemas.microsoft.com/office/drawing/2014/main" id="{2C11816E-A131-41D8-8C17-1DC2CBBDA031}"/>
              </a:ext>
            </a:extLst>
          </p:cNvPr>
          <p:cNvSpPr>
            <a:spLocks noGrp="1"/>
          </p:cNvSpPr>
          <p:nvPr>
            <p:ph type="ftr" sz="quarter" idx="3"/>
          </p:nvPr>
        </p:nvSpPr>
        <p:spPr>
          <a:xfrm>
            <a:off x="459509" y="6279133"/>
            <a:ext cx="10515599" cy="313604"/>
          </a:xfrm>
          <a:prstGeom prst="rect">
            <a:avLst/>
          </a:prstGeom>
        </p:spPr>
        <p:txBody>
          <a:bodyPr vert="horz" lIns="91440" tIns="45720" rIns="91440" bIns="45720" rtlCol="0" anchor="b"/>
          <a:lstStyle>
            <a:lvl1pPr algn="l">
              <a:defRPr sz="1000">
                <a:solidFill>
                  <a:schemeClr val="bg1"/>
                </a:solidFill>
                <a:latin typeface="Arial" panose="020B0604020202020204" pitchFamily="34" charset="0"/>
                <a:cs typeface="Arial" panose="020B0604020202020204" pitchFamily="34" charset="0"/>
              </a:defRPr>
            </a:lvl1pPr>
          </a:lstStyle>
          <a:p>
            <a:r>
              <a:rPr lang="en-US" dirty="0"/>
              <a:t>References</a:t>
            </a:r>
          </a:p>
        </p:txBody>
      </p:sp>
    </p:spTree>
    <p:extLst>
      <p:ext uri="{BB962C8B-B14F-4D97-AF65-F5344CB8AC3E}">
        <p14:creationId xmlns:p14="http://schemas.microsoft.com/office/powerpoint/2010/main" val="816000139"/>
      </p:ext>
    </p:extLst>
  </p:cSld>
  <p:clrMapOvr>
    <a:masterClrMapping/>
  </p:clrMapOvr>
  <p:extLst>
    <p:ext uri="{DCECCB84-F9BA-43D5-87BE-67443E8EF086}">
      <p15:sldGuideLst xmlns:p15="http://schemas.microsoft.com/office/powerpoint/2012/main">
        <p15:guide id="1" pos="7440">
          <p15:clr>
            <a:srgbClr val="FBAE4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userDrawn="1">
  <p:cSld name="Results Two">
    <p:bg>
      <p:bgPr>
        <a:solidFill>
          <a:srgbClr val="006BB1"/>
        </a:solidFill>
        <a:effectLst/>
      </p:bgPr>
    </p:bg>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30E1FC2F-B590-4161-9003-9AD724CEFCF2}"/>
              </a:ext>
            </a:extLst>
          </p:cNvPr>
          <p:cNvSpPr/>
          <p:nvPr userDrawn="1"/>
        </p:nvSpPr>
        <p:spPr>
          <a:xfrm>
            <a:off x="414483" y="1153748"/>
            <a:ext cx="4110453" cy="5015757"/>
          </a:xfrm>
          <a:prstGeom prst="roundRect">
            <a:avLst>
              <a:gd name="adj" fmla="val 34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8" name="Rectangle: Rounded Corners 7">
            <a:extLst>
              <a:ext uri="{FF2B5EF4-FFF2-40B4-BE49-F238E27FC236}">
                <a16:creationId xmlns:a16="http://schemas.microsoft.com/office/drawing/2014/main" id="{4E58C8D7-96B5-4957-B62E-C727028C4CA5}"/>
              </a:ext>
            </a:extLst>
          </p:cNvPr>
          <p:cNvSpPr/>
          <p:nvPr userDrawn="1"/>
        </p:nvSpPr>
        <p:spPr>
          <a:xfrm>
            <a:off x="4756901" y="1153747"/>
            <a:ext cx="7054100" cy="3885299"/>
          </a:xfrm>
          <a:prstGeom prst="roundRect">
            <a:avLst>
              <a:gd name="adj" fmla="val 384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9" name="Rectangle 8">
            <a:extLst>
              <a:ext uri="{FF2B5EF4-FFF2-40B4-BE49-F238E27FC236}">
                <a16:creationId xmlns:a16="http://schemas.microsoft.com/office/drawing/2014/main" id="{53052E07-F49D-466D-8A06-60135463D4DE}"/>
              </a:ext>
            </a:extLst>
          </p:cNvPr>
          <p:cNvSpPr/>
          <p:nvPr userDrawn="1"/>
        </p:nvSpPr>
        <p:spPr>
          <a:xfrm>
            <a:off x="0" y="-31966"/>
            <a:ext cx="12192000" cy="787761"/>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14482" y="31968"/>
            <a:ext cx="8974879" cy="723827"/>
          </a:xfrm>
        </p:spPr>
        <p:txBody>
          <a:bodyPr>
            <a:normAutofit/>
          </a:bodyPr>
          <a:lstStyle>
            <a:lvl1pPr>
              <a:defRPr sz="3600">
                <a:solidFill>
                  <a:schemeClr val="bg1"/>
                </a:solidFill>
              </a:defRPr>
            </a:lvl1pPr>
          </a:lstStyle>
          <a:p>
            <a:r>
              <a:rPr lang="en-US"/>
              <a:t>Click to edit Master title style</a:t>
            </a:r>
          </a:p>
        </p:txBody>
      </p:sp>
      <p:sp>
        <p:nvSpPr>
          <p:cNvPr id="10" name="Rectangle: Rounded Corners 9">
            <a:extLst>
              <a:ext uri="{FF2B5EF4-FFF2-40B4-BE49-F238E27FC236}">
                <a16:creationId xmlns:a16="http://schemas.microsoft.com/office/drawing/2014/main" id="{4378205F-E1FE-4513-B02D-EBCDAD550C66}"/>
              </a:ext>
            </a:extLst>
          </p:cNvPr>
          <p:cNvSpPr/>
          <p:nvPr userDrawn="1"/>
        </p:nvSpPr>
        <p:spPr>
          <a:xfrm>
            <a:off x="4756901" y="5188874"/>
            <a:ext cx="7054100" cy="951119"/>
          </a:xfrm>
          <a:prstGeom prst="roundRect">
            <a:avLst>
              <a:gd name="adj" fmla="val 1524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pPr/>
              <a:t>‹#›</a:t>
            </a:fld>
            <a:endParaRPr lang="en-US" dirty="0"/>
          </a:p>
        </p:txBody>
      </p:sp>
      <p:sp>
        <p:nvSpPr>
          <p:cNvPr id="14" name="Text Placeholder 7">
            <a:extLst>
              <a:ext uri="{FF2B5EF4-FFF2-40B4-BE49-F238E27FC236}">
                <a16:creationId xmlns:a16="http://schemas.microsoft.com/office/drawing/2014/main" id="{E231DFE9-8AD3-4B39-897F-0DCD67AB5DA0}"/>
              </a:ext>
            </a:extLst>
          </p:cNvPr>
          <p:cNvSpPr>
            <a:spLocks noGrp="1"/>
          </p:cNvSpPr>
          <p:nvPr>
            <p:ph type="body" sz="quarter" idx="14"/>
          </p:nvPr>
        </p:nvSpPr>
        <p:spPr>
          <a:xfrm>
            <a:off x="4987811" y="5306926"/>
            <a:ext cx="6408572" cy="764421"/>
          </a:xfrm>
        </p:spPr>
        <p:txBody>
          <a:bodyPr numCol="2">
            <a:normAutofit/>
          </a:bodyPr>
          <a:lstStyle>
            <a:lvl1pPr marL="285744" indent="-285744">
              <a:spcBef>
                <a:spcPts val="600"/>
              </a:spcBef>
              <a:buFont typeface="Arial" panose="020B0604020202020204" pitchFamily="34" charset="0"/>
              <a:buChar char="•"/>
              <a:defRPr sz="1200"/>
            </a:lvl1pPr>
            <a:lvl2pPr marL="285744" indent="-285744">
              <a:spcBef>
                <a:spcPts val="600"/>
              </a:spcBef>
              <a:buFont typeface="Arial" panose="020B0604020202020204" pitchFamily="34" charset="0"/>
              <a:buChar char="•"/>
              <a:defRPr sz="1200"/>
            </a:lvl2pPr>
            <a:lvl3pPr marL="285744" indent="-285744">
              <a:spcBef>
                <a:spcPts val="600"/>
              </a:spcBef>
              <a:buFont typeface="Arial" panose="020B0604020202020204" pitchFamily="34" charset="0"/>
              <a:buChar char="•"/>
              <a:defRPr sz="1200"/>
            </a:lvl3pPr>
            <a:lvl4pPr marL="285744" indent="-285744">
              <a:spcBef>
                <a:spcPts val="600"/>
              </a:spcBef>
              <a:buFont typeface="Arial" panose="020B0604020202020204" pitchFamily="34" charset="0"/>
              <a:buChar char="•"/>
              <a:defRPr sz="1200"/>
            </a:lvl4pPr>
            <a:lvl5pPr marL="285744" indent="-285744">
              <a:spcBef>
                <a:spcPts val="600"/>
              </a:spcBef>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1">
            <a:extLst>
              <a:ext uri="{FF2B5EF4-FFF2-40B4-BE49-F238E27FC236}">
                <a16:creationId xmlns:a16="http://schemas.microsoft.com/office/drawing/2014/main" id="{54550769-C1D6-46E1-B3D4-88626FFD4932}"/>
              </a:ext>
            </a:extLst>
          </p:cNvPr>
          <p:cNvSpPr>
            <a:spLocks noGrp="1"/>
          </p:cNvSpPr>
          <p:nvPr>
            <p:ph type="body" sz="quarter" idx="13"/>
          </p:nvPr>
        </p:nvSpPr>
        <p:spPr>
          <a:xfrm>
            <a:off x="698047" y="1427667"/>
            <a:ext cx="3558412" cy="404813"/>
          </a:xfrm>
        </p:spPr>
        <p:txBody>
          <a:bodyPr anchor="ctr">
            <a:normAutofit/>
          </a:bodyPr>
          <a:lstStyle>
            <a:lvl1pPr marL="0" indent="0">
              <a:buNone/>
              <a:defRPr sz="1600" b="1">
                <a:solidFill>
                  <a:srgbClr val="006BB1"/>
                </a:solidFill>
              </a:defRPr>
            </a:lvl1pPr>
          </a:lstStyle>
          <a:p>
            <a:pPr lvl="0"/>
            <a:r>
              <a:rPr lang="en-US"/>
              <a:t>Click to edit Master text styles</a:t>
            </a:r>
          </a:p>
        </p:txBody>
      </p:sp>
      <p:sp>
        <p:nvSpPr>
          <p:cNvPr id="19" name="Text Placeholder 16">
            <a:extLst>
              <a:ext uri="{FF2B5EF4-FFF2-40B4-BE49-F238E27FC236}">
                <a16:creationId xmlns:a16="http://schemas.microsoft.com/office/drawing/2014/main" id="{15123A6A-B255-4EE9-828A-106FF761DAEC}"/>
              </a:ext>
            </a:extLst>
          </p:cNvPr>
          <p:cNvSpPr>
            <a:spLocks noGrp="1"/>
          </p:cNvSpPr>
          <p:nvPr>
            <p:ph type="body" sz="quarter" idx="15"/>
          </p:nvPr>
        </p:nvSpPr>
        <p:spPr>
          <a:xfrm>
            <a:off x="698121" y="2074865"/>
            <a:ext cx="3557587" cy="379253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Footer Placeholder 4">
            <a:extLst>
              <a:ext uri="{FF2B5EF4-FFF2-40B4-BE49-F238E27FC236}">
                <a16:creationId xmlns:a16="http://schemas.microsoft.com/office/drawing/2014/main" id="{DF2C17AF-838F-411F-8E9C-EFAF27689755}"/>
              </a:ext>
            </a:extLst>
          </p:cNvPr>
          <p:cNvSpPr>
            <a:spLocks noGrp="1"/>
          </p:cNvSpPr>
          <p:nvPr>
            <p:ph type="ftr" sz="quarter" idx="3"/>
          </p:nvPr>
        </p:nvSpPr>
        <p:spPr>
          <a:xfrm>
            <a:off x="459509" y="6279133"/>
            <a:ext cx="10515599" cy="313604"/>
          </a:xfrm>
          <a:prstGeom prst="rect">
            <a:avLst/>
          </a:prstGeom>
        </p:spPr>
        <p:txBody>
          <a:bodyPr vert="horz" lIns="91440" tIns="45720" rIns="91440" bIns="45720" rtlCol="0" anchor="b"/>
          <a:lstStyle>
            <a:lvl1pPr algn="l">
              <a:defRPr sz="1000">
                <a:solidFill>
                  <a:schemeClr val="bg1"/>
                </a:solidFill>
                <a:latin typeface="Arial" panose="020B0604020202020204" pitchFamily="34" charset="0"/>
                <a:cs typeface="Arial" panose="020B0604020202020204" pitchFamily="34" charset="0"/>
              </a:defRPr>
            </a:lvl1pPr>
          </a:lstStyle>
          <a:p>
            <a:r>
              <a:rPr lang="en-US" dirty="0"/>
              <a:t>References</a:t>
            </a:r>
          </a:p>
        </p:txBody>
      </p:sp>
    </p:spTree>
    <p:extLst>
      <p:ext uri="{BB962C8B-B14F-4D97-AF65-F5344CB8AC3E}">
        <p14:creationId xmlns:p14="http://schemas.microsoft.com/office/powerpoint/2010/main" val="2974650375"/>
      </p:ext>
    </p:extLst>
  </p:cSld>
  <p:clrMapOvr>
    <a:masterClrMapping/>
  </p:clrMapOvr>
  <p:extLst>
    <p:ext uri="{DCECCB84-F9BA-43D5-87BE-67443E8EF086}">
      <p15:sldGuideLst xmlns:p15="http://schemas.microsoft.com/office/powerpoint/2012/main">
        <p15:guide id="1" pos="7440">
          <p15:clr>
            <a:srgbClr val="FBAE4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Rerults Three">
    <p:bg>
      <p:bgPr>
        <a:solidFill>
          <a:srgbClr val="006BB1"/>
        </a:solidFill>
        <a:effectLst/>
      </p:bgPr>
    </p:bg>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64ACB34E-01AD-42BB-9FB5-974B09253D2C}"/>
              </a:ext>
            </a:extLst>
          </p:cNvPr>
          <p:cNvSpPr/>
          <p:nvPr userDrawn="1"/>
        </p:nvSpPr>
        <p:spPr>
          <a:xfrm>
            <a:off x="414481" y="1153749"/>
            <a:ext cx="11387659" cy="3704580"/>
          </a:xfrm>
          <a:prstGeom prst="roundRect">
            <a:avLst>
              <a:gd name="adj" fmla="val 34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pPr/>
              <a:t>‹#›</a:t>
            </a:fld>
            <a:endParaRPr lang="en-US" dirty="0"/>
          </a:p>
        </p:txBody>
      </p:sp>
      <p:sp>
        <p:nvSpPr>
          <p:cNvPr id="9" name="Rectangle 8">
            <a:extLst>
              <a:ext uri="{FF2B5EF4-FFF2-40B4-BE49-F238E27FC236}">
                <a16:creationId xmlns:a16="http://schemas.microsoft.com/office/drawing/2014/main" id="{53052E07-F49D-466D-8A06-60135463D4DE}"/>
              </a:ext>
            </a:extLst>
          </p:cNvPr>
          <p:cNvSpPr/>
          <p:nvPr userDrawn="1"/>
        </p:nvSpPr>
        <p:spPr>
          <a:xfrm>
            <a:off x="0" y="-31966"/>
            <a:ext cx="12192000" cy="787761"/>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14482" y="31968"/>
            <a:ext cx="8974879" cy="723827"/>
          </a:xfrm>
        </p:spPr>
        <p:txBody>
          <a:bodyPr>
            <a:normAutofit/>
          </a:bodyPr>
          <a:lstStyle>
            <a:lvl1pPr>
              <a:defRPr sz="3600">
                <a:solidFill>
                  <a:schemeClr val="bg1"/>
                </a:solidFill>
              </a:defRPr>
            </a:lvl1pPr>
          </a:lstStyle>
          <a:p>
            <a:r>
              <a:rPr lang="en-US"/>
              <a:t>Click to edit Master title style</a:t>
            </a:r>
          </a:p>
        </p:txBody>
      </p:sp>
      <p:sp>
        <p:nvSpPr>
          <p:cNvPr id="10" name="Rectangle: Rounded Corners 9">
            <a:extLst>
              <a:ext uri="{FF2B5EF4-FFF2-40B4-BE49-F238E27FC236}">
                <a16:creationId xmlns:a16="http://schemas.microsoft.com/office/drawing/2014/main" id="{4378205F-E1FE-4513-B02D-EBCDAD550C66}"/>
              </a:ext>
            </a:extLst>
          </p:cNvPr>
          <p:cNvSpPr/>
          <p:nvPr userDrawn="1"/>
        </p:nvSpPr>
        <p:spPr>
          <a:xfrm>
            <a:off x="414481" y="5061529"/>
            <a:ext cx="11387659" cy="1107977"/>
          </a:xfrm>
          <a:prstGeom prst="roundRect">
            <a:avLst>
              <a:gd name="adj" fmla="val 1477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1" name="Chart Placeholder 10">
            <a:extLst>
              <a:ext uri="{FF2B5EF4-FFF2-40B4-BE49-F238E27FC236}">
                <a16:creationId xmlns:a16="http://schemas.microsoft.com/office/drawing/2014/main" id="{FB794CCE-CD7F-487C-B31B-1D5CB79FA821}"/>
              </a:ext>
            </a:extLst>
          </p:cNvPr>
          <p:cNvSpPr>
            <a:spLocks noGrp="1"/>
          </p:cNvSpPr>
          <p:nvPr>
            <p:ph type="chart" sz="quarter" idx="13"/>
          </p:nvPr>
        </p:nvSpPr>
        <p:spPr>
          <a:xfrm>
            <a:off x="854077" y="1519345"/>
            <a:ext cx="10010775" cy="2973388"/>
          </a:xfrm>
        </p:spPr>
        <p:txBody>
          <a:bodyPr>
            <a:normAutofit/>
          </a:bodyPr>
          <a:lstStyle>
            <a:lvl1pPr marL="0" indent="0">
              <a:buNone/>
              <a:defRPr sz="1800"/>
            </a:lvl1pPr>
          </a:lstStyle>
          <a:p>
            <a:endParaRPr lang="en-US" dirty="0"/>
          </a:p>
        </p:txBody>
      </p:sp>
      <p:sp>
        <p:nvSpPr>
          <p:cNvPr id="8" name="Text Placeholder 7">
            <a:extLst>
              <a:ext uri="{FF2B5EF4-FFF2-40B4-BE49-F238E27FC236}">
                <a16:creationId xmlns:a16="http://schemas.microsoft.com/office/drawing/2014/main" id="{CD88388F-686C-4E35-9120-0B2A8436FC16}"/>
              </a:ext>
            </a:extLst>
          </p:cNvPr>
          <p:cNvSpPr>
            <a:spLocks noGrp="1"/>
          </p:cNvSpPr>
          <p:nvPr>
            <p:ph type="body" sz="quarter" idx="14"/>
          </p:nvPr>
        </p:nvSpPr>
        <p:spPr>
          <a:xfrm>
            <a:off x="950914" y="5172076"/>
            <a:ext cx="9913937" cy="893763"/>
          </a:xfrm>
        </p:spPr>
        <p:txBody>
          <a:bodyPr numCol="2">
            <a:normAutofit/>
          </a:bodyPr>
          <a:lstStyle>
            <a:lvl1pPr marL="285744" indent="-285744">
              <a:spcBef>
                <a:spcPts val="600"/>
              </a:spcBef>
              <a:buFont typeface="Arial" panose="020B0604020202020204" pitchFamily="34" charset="0"/>
              <a:buChar char="•"/>
              <a:defRPr sz="1200"/>
            </a:lvl1pPr>
            <a:lvl2pPr marL="285744" indent="-285744">
              <a:spcBef>
                <a:spcPts val="600"/>
              </a:spcBef>
              <a:buFont typeface="Arial" panose="020B0604020202020204" pitchFamily="34" charset="0"/>
              <a:buChar char="•"/>
              <a:defRPr sz="1200"/>
            </a:lvl2pPr>
            <a:lvl3pPr marL="285744" indent="-285744">
              <a:spcBef>
                <a:spcPts val="600"/>
              </a:spcBef>
              <a:buFont typeface="Arial" panose="020B0604020202020204" pitchFamily="34" charset="0"/>
              <a:buChar char="•"/>
              <a:defRPr sz="1200"/>
            </a:lvl3pPr>
            <a:lvl4pPr marL="285744" indent="-285744">
              <a:spcBef>
                <a:spcPts val="600"/>
              </a:spcBef>
              <a:buFont typeface="Arial" panose="020B0604020202020204" pitchFamily="34" charset="0"/>
              <a:buChar char="•"/>
              <a:defRPr sz="1200"/>
            </a:lvl4pPr>
            <a:lvl5pPr marL="285744" indent="-285744">
              <a:spcBef>
                <a:spcPts val="600"/>
              </a:spcBef>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Box 12">
            <a:extLst>
              <a:ext uri="{FF2B5EF4-FFF2-40B4-BE49-F238E27FC236}">
                <a16:creationId xmlns:a16="http://schemas.microsoft.com/office/drawing/2014/main" id="{D8542D00-7CAA-4918-BF53-9EE3C9156ED0}"/>
              </a:ext>
            </a:extLst>
          </p:cNvPr>
          <p:cNvSpPr txBox="1"/>
          <p:nvPr userDrawn="1"/>
        </p:nvSpPr>
        <p:spPr>
          <a:xfrm>
            <a:off x="3457622" y="6652816"/>
            <a:ext cx="5276757" cy="20518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100" b="0" i="0" u="none" strike="noStrike" kern="1200" baseline="30000" dirty="0">
                <a:solidFill>
                  <a:schemeClr val="bg1"/>
                </a:solidFill>
                <a:latin typeface="Arial" panose="020B0604020202020204" pitchFamily="34" charset="0"/>
                <a:ea typeface="+mn-ea"/>
                <a:cs typeface="Arial" panose="020B0604020202020204" pitchFamily="34" charset="0"/>
              </a:rPr>
              <a:t>Presented at the 2022 ASH Annual Meeting and Exposition; December 11-14, 2021; Atlanta, GA, and Virtual</a:t>
            </a:r>
          </a:p>
        </p:txBody>
      </p:sp>
      <p:sp>
        <p:nvSpPr>
          <p:cNvPr id="15" name="Footer Placeholder 4">
            <a:extLst>
              <a:ext uri="{FF2B5EF4-FFF2-40B4-BE49-F238E27FC236}">
                <a16:creationId xmlns:a16="http://schemas.microsoft.com/office/drawing/2014/main" id="{95E36ED8-0FDB-4C5C-A44F-F9889AA76D95}"/>
              </a:ext>
            </a:extLst>
          </p:cNvPr>
          <p:cNvSpPr>
            <a:spLocks noGrp="1"/>
          </p:cNvSpPr>
          <p:nvPr>
            <p:ph type="ftr" sz="quarter" idx="3"/>
          </p:nvPr>
        </p:nvSpPr>
        <p:spPr>
          <a:xfrm>
            <a:off x="459509" y="6279133"/>
            <a:ext cx="10515599" cy="313604"/>
          </a:xfrm>
          <a:prstGeom prst="rect">
            <a:avLst/>
          </a:prstGeom>
        </p:spPr>
        <p:txBody>
          <a:bodyPr vert="horz" lIns="91440" tIns="45720" rIns="91440" bIns="45720" rtlCol="0" anchor="b"/>
          <a:lstStyle>
            <a:lvl1pPr algn="l">
              <a:defRPr sz="1000">
                <a:solidFill>
                  <a:schemeClr val="bg1"/>
                </a:solidFill>
                <a:latin typeface="Arial" panose="020B0604020202020204" pitchFamily="34" charset="0"/>
                <a:cs typeface="Arial" panose="020B0604020202020204" pitchFamily="34" charset="0"/>
              </a:defRPr>
            </a:lvl1pPr>
          </a:lstStyle>
          <a:p>
            <a:r>
              <a:rPr lang="en-US" dirty="0"/>
              <a:t>References</a:t>
            </a:r>
          </a:p>
        </p:txBody>
      </p:sp>
    </p:spTree>
    <p:extLst>
      <p:ext uri="{BB962C8B-B14F-4D97-AF65-F5344CB8AC3E}">
        <p14:creationId xmlns:p14="http://schemas.microsoft.com/office/powerpoint/2010/main" val="3803664042"/>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Four Conclusions">
    <p:bg>
      <p:bgPr>
        <a:solidFill>
          <a:srgbClr val="006BB1"/>
        </a:solidFill>
        <a:effectLst/>
      </p:bgPr>
    </p:bg>
    <p:spTree>
      <p:nvGrpSpPr>
        <p:cNvPr id="1" name=""/>
        <p:cNvGrpSpPr/>
        <p:nvPr/>
      </p:nvGrpSpPr>
      <p:grpSpPr>
        <a:xfrm>
          <a:off x="0" y="0"/>
          <a:ext cx="0" cy="0"/>
          <a:chOff x="0" y="0"/>
          <a:chExt cx="0" cy="0"/>
        </a:xfrm>
      </p:grpSpPr>
      <p:sp>
        <p:nvSpPr>
          <p:cNvPr id="19" name="Freeform: Shape 18">
            <a:extLst>
              <a:ext uri="{FF2B5EF4-FFF2-40B4-BE49-F238E27FC236}">
                <a16:creationId xmlns:a16="http://schemas.microsoft.com/office/drawing/2014/main" id="{FD30B989-D69E-443C-8319-B1B7D86B0626}"/>
              </a:ext>
            </a:extLst>
          </p:cNvPr>
          <p:cNvSpPr/>
          <p:nvPr userDrawn="1"/>
        </p:nvSpPr>
        <p:spPr>
          <a:xfrm>
            <a:off x="6192933" y="477823"/>
            <a:ext cx="5427567" cy="2734411"/>
          </a:xfrm>
          <a:custGeom>
            <a:avLst/>
            <a:gdLst>
              <a:gd name="connsiteX0" fmla="*/ 85753 w 4416172"/>
              <a:gd name="connsiteY0" fmla="*/ 0 h 2458502"/>
              <a:gd name="connsiteX1" fmla="*/ 4330419 w 4416172"/>
              <a:gd name="connsiteY1" fmla="*/ 0 h 2458502"/>
              <a:gd name="connsiteX2" fmla="*/ 4416172 w 4416172"/>
              <a:gd name="connsiteY2" fmla="*/ 85753 h 2458502"/>
              <a:gd name="connsiteX3" fmla="*/ 4416172 w 4416172"/>
              <a:gd name="connsiteY3" fmla="*/ 2372749 h 2458502"/>
              <a:gd name="connsiteX4" fmla="*/ 4330419 w 4416172"/>
              <a:gd name="connsiteY4" fmla="*/ 2458502 h 2458502"/>
              <a:gd name="connsiteX5" fmla="*/ 1286711 w 4416172"/>
              <a:gd name="connsiteY5" fmla="*/ 2458502 h 2458502"/>
              <a:gd name="connsiteX6" fmla="*/ 1283950 w 4416172"/>
              <a:gd name="connsiteY6" fmla="*/ 2403812 h 2458502"/>
              <a:gd name="connsiteX7" fmla="*/ 70338 w 4416172"/>
              <a:gd name="connsiteY7" fmla="*/ 1190201 h 2458502"/>
              <a:gd name="connsiteX8" fmla="*/ 0 w 4416172"/>
              <a:gd name="connsiteY8" fmla="*/ 1186649 h 2458502"/>
              <a:gd name="connsiteX9" fmla="*/ 0 w 4416172"/>
              <a:gd name="connsiteY9" fmla="*/ 85753 h 2458502"/>
              <a:gd name="connsiteX10" fmla="*/ 85753 w 4416172"/>
              <a:gd name="connsiteY10" fmla="*/ 0 h 245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6172" h="2458502">
                <a:moveTo>
                  <a:pt x="85753" y="0"/>
                </a:moveTo>
                <a:lnTo>
                  <a:pt x="4330419" y="0"/>
                </a:lnTo>
                <a:cubicBezTo>
                  <a:pt x="4377779" y="0"/>
                  <a:pt x="4416172" y="38393"/>
                  <a:pt x="4416172" y="85753"/>
                </a:cubicBezTo>
                <a:lnTo>
                  <a:pt x="4416172" y="2372749"/>
                </a:lnTo>
                <a:cubicBezTo>
                  <a:pt x="4416172" y="2420109"/>
                  <a:pt x="4377779" y="2458502"/>
                  <a:pt x="4330419" y="2458502"/>
                </a:cubicBezTo>
                <a:lnTo>
                  <a:pt x="1286711" y="2458502"/>
                </a:lnTo>
                <a:lnTo>
                  <a:pt x="1283950" y="2403812"/>
                </a:lnTo>
                <a:cubicBezTo>
                  <a:pt x="1218964" y="1763910"/>
                  <a:pt x="710241" y="1255187"/>
                  <a:pt x="70338" y="1190201"/>
                </a:cubicBezTo>
                <a:lnTo>
                  <a:pt x="0" y="1186649"/>
                </a:lnTo>
                <a:lnTo>
                  <a:pt x="0" y="85753"/>
                </a:lnTo>
                <a:cubicBezTo>
                  <a:pt x="0" y="38393"/>
                  <a:pt x="38393" y="0"/>
                  <a:pt x="8575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0" name="Freeform: Shape 19">
            <a:extLst>
              <a:ext uri="{FF2B5EF4-FFF2-40B4-BE49-F238E27FC236}">
                <a16:creationId xmlns:a16="http://schemas.microsoft.com/office/drawing/2014/main" id="{1EFF0565-E497-4C81-B534-9EEB310DE2EE}"/>
              </a:ext>
            </a:extLst>
          </p:cNvPr>
          <p:cNvSpPr/>
          <p:nvPr userDrawn="1"/>
        </p:nvSpPr>
        <p:spPr>
          <a:xfrm rot="10800000">
            <a:off x="571500" y="3383752"/>
            <a:ext cx="5427568" cy="2734411"/>
          </a:xfrm>
          <a:custGeom>
            <a:avLst/>
            <a:gdLst>
              <a:gd name="connsiteX0" fmla="*/ 85753 w 4416172"/>
              <a:gd name="connsiteY0" fmla="*/ 0 h 2458502"/>
              <a:gd name="connsiteX1" fmla="*/ 4330419 w 4416172"/>
              <a:gd name="connsiteY1" fmla="*/ 0 h 2458502"/>
              <a:gd name="connsiteX2" fmla="*/ 4416172 w 4416172"/>
              <a:gd name="connsiteY2" fmla="*/ 85753 h 2458502"/>
              <a:gd name="connsiteX3" fmla="*/ 4416172 w 4416172"/>
              <a:gd name="connsiteY3" fmla="*/ 2372749 h 2458502"/>
              <a:gd name="connsiteX4" fmla="*/ 4330419 w 4416172"/>
              <a:gd name="connsiteY4" fmla="*/ 2458502 h 2458502"/>
              <a:gd name="connsiteX5" fmla="*/ 1286711 w 4416172"/>
              <a:gd name="connsiteY5" fmla="*/ 2458502 h 2458502"/>
              <a:gd name="connsiteX6" fmla="*/ 1283950 w 4416172"/>
              <a:gd name="connsiteY6" fmla="*/ 2403812 h 2458502"/>
              <a:gd name="connsiteX7" fmla="*/ 70338 w 4416172"/>
              <a:gd name="connsiteY7" fmla="*/ 1190201 h 2458502"/>
              <a:gd name="connsiteX8" fmla="*/ 0 w 4416172"/>
              <a:gd name="connsiteY8" fmla="*/ 1186649 h 2458502"/>
              <a:gd name="connsiteX9" fmla="*/ 0 w 4416172"/>
              <a:gd name="connsiteY9" fmla="*/ 85753 h 2458502"/>
              <a:gd name="connsiteX10" fmla="*/ 85753 w 4416172"/>
              <a:gd name="connsiteY10" fmla="*/ 0 h 245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6172" h="2458502">
                <a:moveTo>
                  <a:pt x="85753" y="0"/>
                </a:moveTo>
                <a:lnTo>
                  <a:pt x="4330419" y="0"/>
                </a:lnTo>
                <a:cubicBezTo>
                  <a:pt x="4377779" y="0"/>
                  <a:pt x="4416172" y="38393"/>
                  <a:pt x="4416172" y="85753"/>
                </a:cubicBezTo>
                <a:lnTo>
                  <a:pt x="4416172" y="2372749"/>
                </a:lnTo>
                <a:cubicBezTo>
                  <a:pt x="4416172" y="2420109"/>
                  <a:pt x="4377779" y="2458502"/>
                  <a:pt x="4330419" y="2458502"/>
                </a:cubicBezTo>
                <a:lnTo>
                  <a:pt x="1286711" y="2458502"/>
                </a:lnTo>
                <a:lnTo>
                  <a:pt x="1283950" y="2403812"/>
                </a:lnTo>
                <a:cubicBezTo>
                  <a:pt x="1218964" y="1763910"/>
                  <a:pt x="710241" y="1255187"/>
                  <a:pt x="70338" y="1190201"/>
                </a:cubicBezTo>
                <a:lnTo>
                  <a:pt x="0" y="1186649"/>
                </a:lnTo>
                <a:lnTo>
                  <a:pt x="0" y="85753"/>
                </a:lnTo>
                <a:cubicBezTo>
                  <a:pt x="0" y="38393"/>
                  <a:pt x="38393" y="0"/>
                  <a:pt x="8575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1" name="Freeform: Shape 20">
            <a:extLst>
              <a:ext uri="{FF2B5EF4-FFF2-40B4-BE49-F238E27FC236}">
                <a16:creationId xmlns:a16="http://schemas.microsoft.com/office/drawing/2014/main" id="{07CC6536-0067-4491-8BA9-3797D196607E}"/>
              </a:ext>
            </a:extLst>
          </p:cNvPr>
          <p:cNvSpPr/>
          <p:nvPr userDrawn="1"/>
        </p:nvSpPr>
        <p:spPr>
          <a:xfrm rot="10800000" flipH="1">
            <a:off x="6192933" y="3383752"/>
            <a:ext cx="5427567" cy="2734411"/>
          </a:xfrm>
          <a:custGeom>
            <a:avLst/>
            <a:gdLst>
              <a:gd name="connsiteX0" fmla="*/ 85753 w 4416172"/>
              <a:gd name="connsiteY0" fmla="*/ 0 h 2458502"/>
              <a:gd name="connsiteX1" fmla="*/ 4330419 w 4416172"/>
              <a:gd name="connsiteY1" fmla="*/ 0 h 2458502"/>
              <a:gd name="connsiteX2" fmla="*/ 4416172 w 4416172"/>
              <a:gd name="connsiteY2" fmla="*/ 85753 h 2458502"/>
              <a:gd name="connsiteX3" fmla="*/ 4416172 w 4416172"/>
              <a:gd name="connsiteY3" fmla="*/ 2372749 h 2458502"/>
              <a:gd name="connsiteX4" fmla="*/ 4330419 w 4416172"/>
              <a:gd name="connsiteY4" fmla="*/ 2458502 h 2458502"/>
              <a:gd name="connsiteX5" fmla="*/ 1286711 w 4416172"/>
              <a:gd name="connsiteY5" fmla="*/ 2458502 h 2458502"/>
              <a:gd name="connsiteX6" fmla="*/ 1283950 w 4416172"/>
              <a:gd name="connsiteY6" fmla="*/ 2403812 h 2458502"/>
              <a:gd name="connsiteX7" fmla="*/ 70338 w 4416172"/>
              <a:gd name="connsiteY7" fmla="*/ 1190201 h 2458502"/>
              <a:gd name="connsiteX8" fmla="*/ 0 w 4416172"/>
              <a:gd name="connsiteY8" fmla="*/ 1186649 h 2458502"/>
              <a:gd name="connsiteX9" fmla="*/ 0 w 4416172"/>
              <a:gd name="connsiteY9" fmla="*/ 85753 h 2458502"/>
              <a:gd name="connsiteX10" fmla="*/ 85753 w 4416172"/>
              <a:gd name="connsiteY10" fmla="*/ 0 h 245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6172" h="2458502">
                <a:moveTo>
                  <a:pt x="85753" y="0"/>
                </a:moveTo>
                <a:lnTo>
                  <a:pt x="4330419" y="0"/>
                </a:lnTo>
                <a:cubicBezTo>
                  <a:pt x="4377779" y="0"/>
                  <a:pt x="4416172" y="38393"/>
                  <a:pt x="4416172" y="85753"/>
                </a:cubicBezTo>
                <a:lnTo>
                  <a:pt x="4416172" y="2372749"/>
                </a:lnTo>
                <a:cubicBezTo>
                  <a:pt x="4416172" y="2420109"/>
                  <a:pt x="4377779" y="2458502"/>
                  <a:pt x="4330419" y="2458502"/>
                </a:cubicBezTo>
                <a:lnTo>
                  <a:pt x="1286711" y="2458502"/>
                </a:lnTo>
                <a:lnTo>
                  <a:pt x="1283950" y="2403812"/>
                </a:lnTo>
                <a:cubicBezTo>
                  <a:pt x="1218964" y="1763910"/>
                  <a:pt x="710241" y="1255187"/>
                  <a:pt x="70338" y="1190201"/>
                </a:cubicBezTo>
                <a:lnTo>
                  <a:pt x="0" y="1186649"/>
                </a:lnTo>
                <a:lnTo>
                  <a:pt x="0" y="85753"/>
                </a:lnTo>
                <a:cubicBezTo>
                  <a:pt x="0" y="38393"/>
                  <a:pt x="38393" y="0"/>
                  <a:pt x="8575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2" name="Freeform: Shape 21">
            <a:extLst>
              <a:ext uri="{FF2B5EF4-FFF2-40B4-BE49-F238E27FC236}">
                <a16:creationId xmlns:a16="http://schemas.microsoft.com/office/drawing/2014/main" id="{0ECF24B9-8723-42A5-BD5D-3AF29C803905}"/>
              </a:ext>
            </a:extLst>
          </p:cNvPr>
          <p:cNvSpPr/>
          <p:nvPr userDrawn="1"/>
        </p:nvSpPr>
        <p:spPr>
          <a:xfrm flipH="1">
            <a:off x="571502" y="477823"/>
            <a:ext cx="5427567" cy="2734411"/>
          </a:xfrm>
          <a:custGeom>
            <a:avLst/>
            <a:gdLst>
              <a:gd name="connsiteX0" fmla="*/ 85753 w 4416172"/>
              <a:gd name="connsiteY0" fmla="*/ 0 h 2458502"/>
              <a:gd name="connsiteX1" fmla="*/ 4330419 w 4416172"/>
              <a:gd name="connsiteY1" fmla="*/ 0 h 2458502"/>
              <a:gd name="connsiteX2" fmla="*/ 4416172 w 4416172"/>
              <a:gd name="connsiteY2" fmla="*/ 85753 h 2458502"/>
              <a:gd name="connsiteX3" fmla="*/ 4416172 w 4416172"/>
              <a:gd name="connsiteY3" fmla="*/ 2372749 h 2458502"/>
              <a:gd name="connsiteX4" fmla="*/ 4330419 w 4416172"/>
              <a:gd name="connsiteY4" fmla="*/ 2458502 h 2458502"/>
              <a:gd name="connsiteX5" fmla="*/ 1286711 w 4416172"/>
              <a:gd name="connsiteY5" fmla="*/ 2458502 h 2458502"/>
              <a:gd name="connsiteX6" fmla="*/ 1283950 w 4416172"/>
              <a:gd name="connsiteY6" fmla="*/ 2403812 h 2458502"/>
              <a:gd name="connsiteX7" fmla="*/ 70338 w 4416172"/>
              <a:gd name="connsiteY7" fmla="*/ 1190201 h 2458502"/>
              <a:gd name="connsiteX8" fmla="*/ 0 w 4416172"/>
              <a:gd name="connsiteY8" fmla="*/ 1186649 h 2458502"/>
              <a:gd name="connsiteX9" fmla="*/ 0 w 4416172"/>
              <a:gd name="connsiteY9" fmla="*/ 85753 h 2458502"/>
              <a:gd name="connsiteX10" fmla="*/ 85753 w 4416172"/>
              <a:gd name="connsiteY10" fmla="*/ 0 h 245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6172" h="2458502">
                <a:moveTo>
                  <a:pt x="85753" y="0"/>
                </a:moveTo>
                <a:lnTo>
                  <a:pt x="4330419" y="0"/>
                </a:lnTo>
                <a:cubicBezTo>
                  <a:pt x="4377779" y="0"/>
                  <a:pt x="4416172" y="38393"/>
                  <a:pt x="4416172" y="85753"/>
                </a:cubicBezTo>
                <a:lnTo>
                  <a:pt x="4416172" y="2372749"/>
                </a:lnTo>
                <a:cubicBezTo>
                  <a:pt x="4416172" y="2420109"/>
                  <a:pt x="4377779" y="2458502"/>
                  <a:pt x="4330419" y="2458502"/>
                </a:cubicBezTo>
                <a:lnTo>
                  <a:pt x="1286711" y="2458502"/>
                </a:lnTo>
                <a:lnTo>
                  <a:pt x="1283950" y="2403812"/>
                </a:lnTo>
                <a:cubicBezTo>
                  <a:pt x="1218964" y="1763910"/>
                  <a:pt x="710241" y="1255187"/>
                  <a:pt x="70338" y="1190201"/>
                </a:cubicBezTo>
                <a:lnTo>
                  <a:pt x="0" y="1186649"/>
                </a:lnTo>
                <a:lnTo>
                  <a:pt x="0" y="85753"/>
                </a:lnTo>
                <a:cubicBezTo>
                  <a:pt x="0" y="38393"/>
                  <a:pt x="38393" y="0"/>
                  <a:pt x="8575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41" name="Freeform: Shape 40">
            <a:extLst>
              <a:ext uri="{FF2B5EF4-FFF2-40B4-BE49-F238E27FC236}">
                <a16:creationId xmlns:a16="http://schemas.microsoft.com/office/drawing/2014/main" id="{44EA9477-CB67-446A-BD44-BC8F1D24F9D5}"/>
              </a:ext>
            </a:extLst>
          </p:cNvPr>
          <p:cNvSpPr/>
          <p:nvPr userDrawn="1"/>
        </p:nvSpPr>
        <p:spPr>
          <a:xfrm>
            <a:off x="6192449" y="1426615"/>
            <a:ext cx="1776127" cy="1785620"/>
          </a:xfrm>
          <a:custGeom>
            <a:avLst/>
            <a:gdLst>
              <a:gd name="connsiteX0" fmla="*/ 0 w 1596911"/>
              <a:gd name="connsiteY0" fmla="*/ 0 h 1605446"/>
              <a:gd name="connsiteX1" fmla="*/ 77036 w 1596911"/>
              <a:gd name="connsiteY1" fmla="*/ 3890 h 1605446"/>
              <a:gd name="connsiteX2" fmla="*/ 1593331 w 1596911"/>
              <a:gd name="connsiteY2" fmla="*/ 1529841 h 1605446"/>
              <a:gd name="connsiteX3" fmla="*/ 1596911 w 1596911"/>
              <a:gd name="connsiteY3" fmla="*/ 1605446 h 1605446"/>
              <a:gd name="connsiteX4" fmla="*/ 1082180 w 1596911"/>
              <a:gd name="connsiteY4" fmla="*/ 1605446 h 1605446"/>
              <a:gd name="connsiteX5" fmla="*/ 1080952 w 1596911"/>
              <a:gd name="connsiteY5" fmla="*/ 1579500 h 1605446"/>
              <a:gd name="connsiteX6" fmla="*/ 27005 w 1596911"/>
              <a:gd name="connsiteY6" fmla="*/ 518842 h 1605446"/>
              <a:gd name="connsiteX7" fmla="*/ 0 w 1596911"/>
              <a:gd name="connsiteY7" fmla="*/ 517478 h 160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6911" h="1605446">
                <a:moveTo>
                  <a:pt x="0" y="0"/>
                </a:moveTo>
                <a:lnTo>
                  <a:pt x="77036" y="3890"/>
                </a:lnTo>
                <a:cubicBezTo>
                  <a:pt x="879548" y="85389"/>
                  <a:pt x="1516809" y="725869"/>
                  <a:pt x="1593331" y="1529841"/>
                </a:cubicBezTo>
                <a:lnTo>
                  <a:pt x="1596911" y="1605446"/>
                </a:lnTo>
                <a:lnTo>
                  <a:pt x="1082180" y="1605446"/>
                </a:lnTo>
                <a:lnTo>
                  <a:pt x="1080952" y="1579500"/>
                </a:lnTo>
                <a:cubicBezTo>
                  <a:pt x="1027762" y="1020675"/>
                  <a:pt x="584815" y="575491"/>
                  <a:pt x="27005" y="518842"/>
                </a:cubicBezTo>
                <a:lnTo>
                  <a:pt x="0" y="517478"/>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42" name="Freeform: Shape 41">
            <a:extLst>
              <a:ext uri="{FF2B5EF4-FFF2-40B4-BE49-F238E27FC236}">
                <a16:creationId xmlns:a16="http://schemas.microsoft.com/office/drawing/2014/main" id="{233323DF-C1B2-49D2-A938-AD7B450E1198}"/>
              </a:ext>
            </a:extLst>
          </p:cNvPr>
          <p:cNvSpPr/>
          <p:nvPr userDrawn="1"/>
        </p:nvSpPr>
        <p:spPr>
          <a:xfrm rot="16200000">
            <a:off x="4218195" y="1431359"/>
            <a:ext cx="1776127" cy="1785620"/>
          </a:xfrm>
          <a:custGeom>
            <a:avLst/>
            <a:gdLst>
              <a:gd name="connsiteX0" fmla="*/ 0 w 1596911"/>
              <a:gd name="connsiteY0" fmla="*/ 0 h 1605446"/>
              <a:gd name="connsiteX1" fmla="*/ 77036 w 1596911"/>
              <a:gd name="connsiteY1" fmla="*/ 3890 h 1605446"/>
              <a:gd name="connsiteX2" fmla="*/ 1593331 w 1596911"/>
              <a:gd name="connsiteY2" fmla="*/ 1529841 h 1605446"/>
              <a:gd name="connsiteX3" fmla="*/ 1596911 w 1596911"/>
              <a:gd name="connsiteY3" fmla="*/ 1605446 h 1605446"/>
              <a:gd name="connsiteX4" fmla="*/ 1082180 w 1596911"/>
              <a:gd name="connsiteY4" fmla="*/ 1605446 h 1605446"/>
              <a:gd name="connsiteX5" fmla="*/ 1080952 w 1596911"/>
              <a:gd name="connsiteY5" fmla="*/ 1579500 h 1605446"/>
              <a:gd name="connsiteX6" fmla="*/ 27005 w 1596911"/>
              <a:gd name="connsiteY6" fmla="*/ 518842 h 1605446"/>
              <a:gd name="connsiteX7" fmla="*/ 0 w 1596911"/>
              <a:gd name="connsiteY7" fmla="*/ 517478 h 160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6911" h="1605446">
                <a:moveTo>
                  <a:pt x="0" y="0"/>
                </a:moveTo>
                <a:lnTo>
                  <a:pt x="77036" y="3890"/>
                </a:lnTo>
                <a:cubicBezTo>
                  <a:pt x="879548" y="85389"/>
                  <a:pt x="1516809" y="725869"/>
                  <a:pt x="1593331" y="1529841"/>
                </a:cubicBezTo>
                <a:lnTo>
                  <a:pt x="1596911" y="1605446"/>
                </a:lnTo>
                <a:lnTo>
                  <a:pt x="1082180" y="1605446"/>
                </a:lnTo>
                <a:lnTo>
                  <a:pt x="1080952" y="1579500"/>
                </a:lnTo>
                <a:cubicBezTo>
                  <a:pt x="1027762" y="1020675"/>
                  <a:pt x="584815" y="575491"/>
                  <a:pt x="27005" y="518842"/>
                </a:cubicBezTo>
                <a:lnTo>
                  <a:pt x="0" y="51747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43" name="Freeform: Shape 42">
            <a:extLst>
              <a:ext uri="{FF2B5EF4-FFF2-40B4-BE49-F238E27FC236}">
                <a16:creationId xmlns:a16="http://schemas.microsoft.com/office/drawing/2014/main" id="{21217AE6-7C34-4BE4-A8C7-E5616D15A2A6}"/>
              </a:ext>
            </a:extLst>
          </p:cNvPr>
          <p:cNvSpPr/>
          <p:nvPr userDrawn="1"/>
        </p:nvSpPr>
        <p:spPr>
          <a:xfrm rot="10800000">
            <a:off x="4213447" y="3383430"/>
            <a:ext cx="1785620" cy="1810073"/>
          </a:xfrm>
          <a:custGeom>
            <a:avLst/>
            <a:gdLst>
              <a:gd name="connsiteX0" fmla="*/ 0 w 1596911"/>
              <a:gd name="connsiteY0" fmla="*/ 0 h 1605446"/>
              <a:gd name="connsiteX1" fmla="*/ 77036 w 1596911"/>
              <a:gd name="connsiteY1" fmla="*/ 3890 h 1605446"/>
              <a:gd name="connsiteX2" fmla="*/ 1593331 w 1596911"/>
              <a:gd name="connsiteY2" fmla="*/ 1529841 h 1605446"/>
              <a:gd name="connsiteX3" fmla="*/ 1596911 w 1596911"/>
              <a:gd name="connsiteY3" fmla="*/ 1605446 h 1605446"/>
              <a:gd name="connsiteX4" fmla="*/ 1082180 w 1596911"/>
              <a:gd name="connsiteY4" fmla="*/ 1605446 h 1605446"/>
              <a:gd name="connsiteX5" fmla="*/ 1080952 w 1596911"/>
              <a:gd name="connsiteY5" fmla="*/ 1579500 h 1605446"/>
              <a:gd name="connsiteX6" fmla="*/ 27005 w 1596911"/>
              <a:gd name="connsiteY6" fmla="*/ 518842 h 1605446"/>
              <a:gd name="connsiteX7" fmla="*/ 0 w 1596911"/>
              <a:gd name="connsiteY7" fmla="*/ 517478 h 160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6911" h="1605446">
                <a:moveTo>
                  <a:pt x="0" y="0"/>
                </a:moveTo>
                <a:lnTo>
                  <a:pt x="77036" y="3890"/>
                </a:lnTo>
                <a:cubicBezTo>
                  <a:pt x="879548" y="85389"/>
                  <a:pt x="1516809" y="725869"/>
                  <a:pt x="1593331" y="1529841"/>
                </a:cubicBezTo>
                <a:lnTo>
                  <a:pt x="1596911" y="1605446"/>
                </a:lnTo>
                <a:lnTo>
                  <a:pt x="1082180" y="1605446"/>
                </a:lnTo>
                <a:lnTo>
                  <a:pt x="1080952" y="1579500"/>
                </a:lnTo>
                <a:cubicBezTo>
                  <a:pt x="1027762" y="1020675"/>
                  <a:pt x="584815" y="575491"/>
                  <a:pt x="27005" y="518842"/>
                </a:cubicBezTo>
                <a:lnTo>
                  <a:pt x="0" y="51747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44" name="Freeform: Shape 43">
            <a:extLst>
              <a:ext uri="{FF2B5EF4-FFF2-40B4-BE49-F238E27FC236}">
                <a16:creationId xmlns:a16="http://schemas.microsoft.com/office/drawing/2014/main" id="{46049C6B-1077-4060-9D2D-2E9E5677C4A7}"/>
              </a:ext>
            </a:extLst>
          </p:cNvPr>
          <p:cNvSpPr/>
          <p:nvPr userDrawn="1"/>
        </p:nvSpPr>
        <p:spPr>
          <a:xfrm rot="5400000">
            <a:off x="6197977" y="3379007"/>
            <a:ext cx="1776127" cy="1785620"/>
          </a:xfrm>
          <a:custGeom>
            <a:avLst/>
            <a:gdLst>
              <a:gd name="connsiteX0" fmla="*/ 0 w 1596911"/>
              <a:gd name="connsiteY0" fmla="*/ 0 h 1605446"/>
              <a:gd name="connsiteX1" fmla="*/ 77036 w 1596911"/>
              <a:gd name="connsiteY1" fmla="*/ 3890 h 1605446"/>
              <a:gd name="connsiteX2" fmla="*/ 1593331 w 1596911"/>
              <a:gd name="connsiteY2" fmla="*/ 1529841 h 1605446"/>
              <a:gd name="connsiteX3" fmla="*/ 1596911 w 1596911"/>
              <a:gd name="connsiteY3" fmla="*/ 1605446 h 1605446"/>
              <a:gd name="connsiteX4" fmla="*/ 1082180 w 1596911"/>
              <a:gd name="connsiteY4" fmla="*/ 1605446 h 1605446"/>
              <a:gd name="connsiteX5" fmla="*/ 1080952 w 1596911"/>
              <a:gd name="connsiteY5" fmla="*/ 1579500 h 1605446"/>
              <a:gd name="connsiteX6" fmla="*/ 27005 w 1596911"/>
              <a:gd name="connsiteY6" fmla="*/ 518842 h 1605446"/>
              <a:gd name="connsiteX7" fmla="*/ 0 w 1596911"/>
              <a:gd name="connsiteY7" fmla="*/ 517478 h 160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6911" h="1605446">
                <a:moveTo>
                  <a:pt x="0" y="0"/>
                </a:moveTo>
                <a:lnTo>
                  <a:pt x="77036" y="3890"/>
                </a:lnTo>
                <a:cubicBezTo>
                  <a:pt x="879548" y="85389"/>
                  <a:pt x="1516809" y="725869"/>
                  <a:pt x="1593331" y="1529841"/>
                </a:cubicBezTo>
                <a:lnTo>
                  <a:pt x="1596911" y="1605446"/>
                </a:lnTo>
                <a:lnTo>
                  <a:pt x="1082180" y="1605446"/>
                </a:lnTo>
                <a:lnTo>
                  <a:pt x="1080952" y="1579500"/>
                </a:lnTo>
                <a:cubicBezTo>
                  <a:pt x="1027762" y="1020675"/>
                  <a:pt x="584815" y="575491"/>
                  <a:pt x="27005" y="518842"/>
                </a:cubicBezTo>
                <a:lnTo>
                  <a:pt x="0" y="517478"/>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2" name="Oval 31">
            <a:extLst>
              <a:ext uri="{FF2B5EF4-FFF2-40B4-BE49-F238E27FC236}">
                <a16:creationId xmlns:a16="http://schemas.microsoft.com/office/drawing/2014/main" id="{1E372B63-A329-40CC-B031-8DE4DD6F1F51}"/>
              </a:ext>
            </a:extLst>
          </p:cNvPr>
          <p:cNvSpPr/>
          <p:nvPr userDrawn="1"/>
        </p:nvSpPr>
        <p:spPr>
          <a:xfrm>
            <a:off x="4725843" y="1948059"/>
            <a:ext cx="2734411" cy="273441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52" name="TextBox 51">
            <a:extLst>
              <a:ext uri="{FF2B5EF4-FFF2-40B4-BE49-F238E27FC236}">
                <a16:creationId xmlns:a16="http://schemas.microsoft.com/office/drawing/2014/main" id="{510E37A3-429D-4F08-8740-DE56B97180C6}"/>
              </a:ext>
            </a:extLst>
          </p:cNvPr>
          <p:cNvSpPr txBox="1"/>
          <p:nvPr userDrawn="1"/>
        </p:nvSpPr>
        <p:spPr>
          <a:xfrm>
            <a:off x="4725841" y="3019715"/>
            <a:ext cx="2734411" cy="584775"/>
          </a:xfrm>
          <a:prstGeom prst="rect">
            <a:avLst/>
          </a:prstGeom>
          <a:noFill/>
        </p:spPr>
        <p:txBody>
          <a:bodyPr wrap="square" rtlCol="0">
            <a:spAutoFit/>
          </a:bodyPr>
          <a:lstStyle/>
          <a:p>
            <a:pPr algn="ctr"/>
            <a:r>
              <a:rPr lang="en-US" sz="3200" b="1" dirty="0">
                <a:solidFill>
                  <a:srgbClr val="006BB1"/>
                </a:solidFill>
                <a:latin typeface="Arial" panose="020B0604020202020204" pitchFamily="34" charset="0"/>
                <a:cs typeface="Arial" panose="020B0604020202020204" pitchFamily="34" charset="0"/>
              </a:rPr>
              <a:t>Conclusions</a:t>
            </a: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userDrawn="1">
            <p:ph type="sldNum" sz="quarter" idx="12"/>
          </p:nvPr>
        </p:nvSpPr>
        <p:spPr/>
        <p:txBody>
          <a:bodyPr/>
          <a:lstStyle>
            <a:lvl1pPr>
              <a:defRPr>
                <a:solidFill>
                  <a:schemeClr val="bg1"/>
                </a:solidFill>
              </a:defRPr>
            </a:lvl1pPr>
          </a:lstStyle>
          <a:p>
            <a:fld id="{DA69A137-6BDB-47B4-8B9B-30BE2E63C07B}" type="slidenum">
              <a:rPr lang="en-US" smtClean="0"/>
              <a:pPr/>
              <a:t>‹#›</a:t>
            </a:fld>
            <a:endParaRPr lang="en-US" dirty="0"/>
          </a:p>
        </p:txBody>
      </p:sp>
      <p:sp>
        <p:nvSpPr>
          <p:cNvPr id="48" name="Text Placeholder 47">
            <a:extLst>
              <a:ext uri="{FF2B5EF4-FFF2-40B4-BE49-F238E27FC236}">
                <a16:creationId xmlns:a16="http://schemas.microsoft.com/office/drawing/2014/main" id="{4127AE8F-B44F-4724-BB5B-452764DFBF20}"/>
              </a:ext>
            </a:extLst>
          </p:cNvPr>
          <p:cNvSpPr>
            <a:spLocks noGrp="1"/>
          </p:cNvSpPr>
          <p:nvPr userDrawn="1">
            <p:ph type="body" sz="quarter" idx="13"/>
          </p:nvPr>
        </p:nvSpPr>
        <p:spPr>
          <a:xfrm>
            <a:off x="820219" y="737240"/>
            <a:ext cx="2884907" cy="1844101"/>
          </a:xfrm>
        </p:spPr>
        <p:txBody>
          <a:bodyPr anchor="ctr">
            <a:noAutofit/>
          </a:bodyPr>
          <a:lstStyle>
            <a:lvl1pPr marL="0" indent="0" algn="l">
              <a:buFontTx/>
              <a:buNone/>
              <a:defRPr sz="1100"/>
            </a:lvl1pPr>
            <a:lvl2pPr marL="457189" indent="0" algn="ctr">
              <a:buFontTx/>
              <a:buNone/>
              <a:defRPr sz="1600"/>
            </a:lvl2pPr>
            <a:lvl3pPr marL="914377" indent="0" algn="ctr">
              <a:buFontTx/>
              <a:buNone/>
              <a:defRPr sz="1600"/>
            </a:lvl3pPr>
            <a:lvl4pPr marL="1371566" indent="0" algn="ctr">
              <a:buFontTx/>
              <a:buNone/>
              <a:defRPr sz="1600"/>
            </a:lvl4pPr>
            <a:lvl5pPr marL="1828754" indent="0" algn="ctr">
              <a:buFontTx/>
              <a:buNone/>
              <a:defRPr sz="1600"/>
            </a:lvl5pPr>
          </a:lstStyle>
          <a:p>
            <a:pPr lvl="0"/>
            <a:r>
              <a:rPr lang="en-US"/>
              <a:t>Click to edit Master text styles</a:t>
            </a:r>
          </a:p>
        </p:txBody>
      </p:sp>
      <p:sp>
        <p:nvSpPr>
          <p:cNvPr id="49" name="Text Placeholder 47">
            <a:extLst>
              <a:ext uri="{FF2B5EF4-FFF2-40B4-BE49-F238E27FC236}">
                <a16:creationId xmlns:a16="http://schemas.microsoft.com/office/drawing/2014/main" id="{BA8DCEBF-A405-44C7-92F0-885D34291C08}"/>
              </a:ext>
            </a:extLst>
          </p:cNvPr>
          <p:cNvSpPr>
            <a:spLocks noGrp="1"/>
          </p:cNvSpPr>
          <p:nvPr userDrawn="1">
            <p:ph type="body" sz="quarter" idx="14"/>
          </p:nvPr>
        </p:nvSpPr>
        <p:spPr>
          <a:xfrm>
            <a:off x="8344778" y="737240"/>
            <a:ext cx="2969767" cy="1844101"/>
          </a:xfrm>
        </p:spPr>
        <p:txBody>
          <a:bodyPr anchor="ctr">
            <a:noAutofit/>
          </a:bodyPr>
          <a:lstStyle>
            <a:lvl1pPr marL="0" indent="0" algn="r">
              <a:buFontTx/>
              <a:buNone/>
              <a:defRPr sz="1100"/>
            </a:lvl1pPr>
            <a:lvl2pPr marL="457189" indent="0" algn="ctr">
              <a:buFontTx/>
              <a:buNone/>
              <a:defRPr sz="1600"/>
            </a:lvl2pPr>
            <a:lvl3pPr marL="914377" indent="0" algn="ctr">
              <a:buFontTx/>
              <a:buNone/>
              <a:defRPr sz="1600"/>
            </a:lvl3pPr>
            <a:lvl4pPr marL="1371566" indent="0" algn="ctr">
              <a:buFontTx/>
              <a:buNone/>
              <a:defRPr sz="1600"/>
            </a:lvl4pPr>
            <a:lvl5pPr marL="1828754" indent="0" algn="ctr">
              <a:buFontTx/>
              <a:buNone/>
              <a:defRPr sz="1600"/>
            </a:lvl5pPr>
          </a:lstStyle>
          <a:p>
            <a:pPr lvl="0"/>
            <a:r>
              <a:rPr lang="en-US"/>
              <a:t>Click to edit Master text styles</a:t>
            </a:r>
          </a:p>
        </p:txBody>
      </p:sp>
      <p:sp>
        <p:nvSpPr>
          <p:cNvPr id="50" name="Text Placeholder 47">
            <a:extLst>
              <a:ext uri="{FF2B5EF4-FFF2-40B4-BE49-F238E27FC236}">
                <a16:creationId xmlns:a16="http://schemas.microsoft.com/office/drawing/2014/main" id="{60FB55BE-42EE-4153-B0D1-088B7D34509B}"/>
              </a:ext>
            </a:extLst>
          </p:cNvPr>
          <p:cNvSpPr>
            <a:spLocks noGrp="1"/>
          </p:cNvSpPr>
          <p:nvPr userDrawn="1">
            <p:ph type="body" sz="quarter" idx="15"/>
          </p:nvPr>
        </p:nvSpPr>
        <p:spPr>
          <a:xfrm>
            <a:off x="8483685" y="4108103"/>
            <a:ext cx="2830859" cy="1844101"/>
          </a:xfrm>
        </p:spPr>
        <p:txBody>
          <a:bodyPr anchor="ctr">
            <a:noAutofit/>
          </a:bodyPr>
          <a:lstStyle>
            <a:lvl1pPr marL="0" indent="0" algn="r">
              <a:buFontTx/>
              <a:buNone/>
              <a:defRPr sz="1100"/>
            </a:lvl1pPr>
            <a:lvl2pPr marL="457189" indent="0" algn="ctr">
              <a:buFontTx/>
              <a:buNone/>
              <a:defRPr sz="1600"/>
            </a:lvl2pPr>
            <a:lvl3pPr marL="914377" indent="0" algn="ctr">
              <a:buFontTx/>
              <a:buNone/>
              <a:defRPr sz="1600"/>
            </a:lvl3pPr>
            <a:lvl4pPr marL="1371566" indent="0" algn="ctr">
              <a:buFontTx/>
              <a:buNone/>
              <a:defRPr sz="1600"/>
            </a:lvl4pPr>
            <a:lvl5pPr marL="1828754" indent="0" algn="ctr">
              <a:buFontTx/>
              <a:buNone/>
              <a:defRPr sz="1600"/>
            </a:lvl5pPr>
          </a:lstStyle>
          <a:p>
            <a:pPr lvl="0"/>
            <a:r>
              <a:rPr lang="en-US"/>
              <a:t>Click to edit Master text styles</a:t>
            </a:r>
          </a:p>
        </p:txBody>
      </p:sp>
      <p:sp>
        <p:nvSpPr>
          <p:cNvPr id="51" name="Text Placeholder 47">
            <a:extLst>
              <a:ext uri="{FF2B5EF4-FFF2-40B4-BE49-F238E27FC236}">
                <a16:creationId xmlns:a16="http://schemas.microsoft.com/office/drawing/2014/main" id="{91F324D8-41B6-4920-BB21-84DADB37590F}"/>
              </a:ext>
            </a:extLst>
          </p:cNvPr>
          <p:cNvSpPr>
            <a:spLocks noGrp="1"/>
          </p:cNvSpPr>
          <p:nvPr userDrawn="1">
            <p:ph type="body" sz="quarter" idx="16"/>
          </p:nvPr>
        </p:nvSpPr>
        <p:spPr>
          <a:xfrm>
            <a:off x="843140" y="4094168"/>
            <a:ext cx="2841773" cy="1844101"/>
          </a:xfrm>
        </p:spPr>
        <p:txBody>
          <a:bodyPr anchor="ctr">
            <a:noAutofit/>
          </a:bodyPr>
          <a:lstStyle>
            <a:lvl1pPr marL="0" indent="0" algn="l">
              <a:buFontTx/>
              <a:buNone/>
              <a:defRPr sz="1100"/>
            </a:lvl1pPr>
            <a:lvl2pPr marL="457189" indent="0" algn="ctr">
              <a:buFontTx/>
              <a:buNone/>
              <a:defRPr sz="1600"/>
            </a:lvl2pPr>
            <a:lvl3pPr marL="914377" indent="0" algn="ctr">
              <a:buFontTx/>
              <a:buNone/>
              <a:defRPr sz="1600"/>
            </a:lvl3pPr>
            <a:lvl4pPr marL="1371566" indent="0" algn="ctr">
              <a:buFontTx/>
              <a:buNone/>
              <a:defRPr sz="1600"/>
            </a:lvl4pPr>
            <a:lvl5pPr marL="1828754" indent="0" algn="ctr">
              <a:buFontTx/>
              <a:buNone/>
              <a:defRPr sz="1600"/>
            </a:lvl5pPr>
          </a:lstStyle>
          <a:p>
            <a:pPr lvl="0"/>
            <a:r>
              <a:rPr lang="en-US"/>
              <a:t>Click to edit Master text styles</a:t>
            </a:r>
          </a:p>
        </p:txBody>
      </p:sp>
      <p:sp>
        <p:nvSpPr>
          <p:cNvPr id="23" name="TextBox 22">
            <a:extLst>
              <a:ext uri="{FF2B5EF4-FFF2-40B4-BE49-F238E27FC236}">
                <a16:creationId xmlns:a16="http://schemas.microsoft.com/office/drawing/2014/main" id="{DE5877E1-BF7C-4FE9-A0CF-178D7D503CF5}"/>
              </a:ext>
            </a:extLst>
          </p:cNvPr>
          <p:cNvSpPr txBox="1"/>
          <p:nvPr userDrawn="1"/>
        </p:nvSpPr>
        <p:spPr>
          <a:xfrm>
            <a:off x="3457622" y="6652816"/>
            <a:ext cx="5276757" cy="20518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100" b="0" i="0" u="none" strike="noStrike" kern="1200" baseline="30000" dirty="0">
                <a:solidFill>
                  <a:schemeClr val="bg1"/>
                </a:solidFill>
                <a:latin typeface="Arial" panose="020B0604020202020204" pitchFamily="34" charset="0"/>
                <a:ea typeface="+mn-ea"/>
                <a:cs typeface="Arial" panose="020B0604020202020204" pitchFamily="34" charset="0"/>
              </a:rPr>
              <a:t>Presented at the 2022 ASH Annual Meeting and Exposition; December 11-14, 2021; Atlanta, GA, and Virtual</a:t>
            </a:r>
          </a:p>
        </p:txBody>
      </p:sp>
      <p:sp>
        <p:nvSpPr>
          <p:cNvPr id="25" name="Footer Placeholder 4">
            <a:extLst>
              <a:ext uri="{FF2B5EF4-FFF2-40B4-BE49-F238E27FC236}">
                <a16:creationId xmlns:a16="http://schemas.microsoft.com/office/drawing/2014/main" id="{21C90FFB-27A9-4684-908E-2A3182C0A8A1}"/>
              </a:ext>
            </a:extLst>
          </p:cNvPr>
          <p:cNvSpPr>
            <a:spLocks noGrp="1"/>
          </p:cNvSpPr>
          <p:nvPr>
            <p:ph type="ftr" sz="quarter" idx="3"/>
          </p:nvPr>
        </p:nvSpPr>
        <p:spPr>
          <a:xfrm>
            <a:off x="459509" y="6279133"/>
            <a:ext cx="10515599" cy="313604"/>
          </a:xfrm>
          <a:prstGeom prst="rect">
            <a:avLst/>
          </a:prstGeom>
        </p:spPr>
        <p:txBody>
          <a:bodyPr vert="horz" lIns="91440" tIns="45720" rIns="91440" bIns="45720" rtlCol="0" anchor="b"/>
          <a:lstStyle>
            <a:lvl1pPr algn="l">
              <a:defRPr sz="1000">
                <a:solidFill>
                  <a:schemeClr val="bg1"/>
                </a:solidFill>
                <a:latin typeface="Arial" panose="020B0604020202020204" pitchFamily="34" charset="0"/>
                <a:cs typeface="Arial" panose="020B0604020202020204" pitchFamily="34" charset="0"/>
              </a:defRPr>
            </a:lvl1pPr>
          </a:lstStyle>
          <a:p>
            <a:r>
              <a:rPr lang="en-US" dirty="0"/>
              <a:t>References</a:t>
            </a:r>
          </a:p>
        </p:txBody>
      </p:sp>
    </p:spTree>
    <p:extLst>
      <p:ext uri="{BB962C8B-B14F-4D97-AF65-F5344CB8AC3E}">
        <p14:creationId xmlns:p14="http://schemas.microsoft.com/office/powerpoint/2010/main" val="2666633536"/>
      </p:ext>
    </p:extLst>
  </p:cSld>
  <p:clrMapOvr>
    <a:masterClrMapping/>
  </p:clrMapOvr>
  <p:extLst>
    <p:ext uri="{DCECCB84-F9BA-43D5-87BE-67443E8EF086}">
      <p15:sldGuideLst xmlns:p15="http://schemas.microsoft.com/office/powerpoint/2012/main">
        <p15:guide id="1" pos="3840">
          <p15:clr>
            <a:srgbClr val="FBAE40"/>
          </p15:clr>
        </p15:guide>
        <p15:guide id="2" pos="360">
          <p15:clr>
            <a:srgbClr val="FBAE4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1_Five Conclusions">
    <p:bg>
      <p:bgPr>
        <a:solidFill>
          <a:srgbClr val="006BB1"/>
        </a:solidFill>
        <a:effectLst/>
      </p:bgPr>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1"/>
            </p:custDataLst>
            <p:extLst>
              <p:ext uri="{D42A27DB-BD31-4B8C-83A1-F6EECF244321}">
                <p14:modId xmlns:p14="http://schemas.microsoft.com/office/powerpoint/2010/main" val="399356095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12" name="Object 11" hidden="1"/>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E64ED553-C422-4B9E-813D-458DFA7408C6}"/>
              </a:ext>
            </a:extLst>
          </p:cNvPr>
          <p:cNvSpPr>
            <a:spLocks noGrp="1"/>
          </p:cNvSpPr>
          <p:nvPr userDrawn="1">
            <p:ph type="sldNum" sz="quarter" idx="12"/>
          </p:nvPr>
        </p:nvSpPr>
        <p:spPr/>
        <p:txBody>
          <a:bodyPr/>
          <a:lstStyle>
            <a:lvl1pPr>
              <a:defRPr>
                <a:solidFill>
                  <a:schemeClr val="bg1"/>
                </a:solidFill>
              </a:defRPr>
            </a:lvl1pPr>
          </a:lstStyle>
          <a:p>
            <a:fld id="{DA69A137-6BDB-47B4-8B9B-30BE2E63C07B}" type="slidenum">
              <a:rPr lang="en-US" smtClean="0"/>
              <a:pPr/>
              <a:t>‹#›</a:t>
            </a:fld>
            <a:endParaRPr lang="en-US" dirty="0"/>
          </a:p>
        </p:txBody>
      </p:sp>
      <p:sp>
        <p:nvSpPr>
          <p:cNvPr id="41" name="TextBox 40">
            <a:extLst>
              <a:ext uri="{FF2B5EF4-FFF2-40B4-BE49-F238E27FC236}">
                <a16:creationId xmlns:a16="http://schemas.microsoft.com/office/drawing/2014/main" id="{DF464580-C703-4055-9037-B051F0FB28CB}"/>
              </a:ext>
            </a:extLst>
          </p:cNvPr>
          <p:cNvSpPr txBox="1"/>
          <p:nvPr userDrawn="1"/>
        </p:nvSpPr>
        <p:spPr>
          <a:xfrm>
            <a:off x="3457622" y="6652816"/>
            <a:ext cx="5276757" cy="20518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100" b="0" i="0" u="none" strike="noStrike" kern="1200" baseline="30000" dirty="0">
                <a:solidFill>
                  <a:schemeClr val="bg1"/>
                </a:solidFill>
                <a:latin typeface="Arial" panose="020B0604020202020204" pitchFamily="34" charset="0"/>
                <a:ea typeface="+mn-ea"/>
                <a:cs typeface="Arial" panose="020B0604020202020204" pitchFamily="34" charset="0"/>
              </a:rPr>
              <a:t>Presented at the 2021 ASH Annual Meeting and Exposition; December 11-14, 2021; Atlanta, GA, and Virtual</a:t>
            </a:r>
          </a:p>
        </p:txBody>
      </p:sp>
      <p:sp>
        <p:nvSpPr>
          <p:cNvPr id="44" name="Footer Placeholder 4">
            <a:extLst>
              <a:ext uri="{FF2B5EF4-FFF2-40B4-BE49-F238E27FC236}">
                <a16:creationId xmlns:a16="http://schemas.microsoft.com/office/drawing/2014/main" id="{DFB58194-8D6C-4998-9F76-A7E48B7C6522}"/>
              </a:ext>
            </a:extLst>
          </p:cNvPr>
          <p:cNvSpPr>
            <a:spLocks noGrp="1"/>
          </p:cNvSpPr>
          <p:nvPr userDrawn="1">
            <p:ph type="ftr" sz="quarter" idx="3"/>
          </p:nvPr>
        </p:nvSpPr>
        <p:spPr>
          <a:xfrm>
            <a:off x="459509" y="6279133"/>
            <a:ext cx="10515599" cy="313604"/>
          </a:xfrm>
          <a:prstGeom prst="rect">
            <a:avLst/>
          </a:prstGeom>
        </p:spPr>
        <p:txBody>
          <a:bodyPr vert="horz" lIns="91440" tIns="45720" rIns="91440" bIns="45720" rtlCol="0" anchor="b"/>
          <a:lstStyle>
            <a:lvl1pPr algn="l">
              <a:defRPr sz="1000">
                <a:solidFill>
                  <a:schemeClr val="bg1"/>
                </a:solidFill>
                <a:latin typeface="Arial" panose="020B0604020202020204" pitchFamily="34" charset="0"/>
                <a:cs typeface="Arial" panose="020B0604020202020204" pitchFamily="34" charset="0"/>
              </a:defRPr>
            </a:lvl1pPr>
          </a:lstStyle>
          <a:p>
            <a:r>
              <a:rPr lang="en-US" dirty="0"/>
              <a:t>References</a:t>
            </a:r>
          </a:p>
        </p:txBody>
      </p:sp>
      <p:sp>
        <p:nvSpPr>
          <p:cNvPr id="17" name="Freeform 14"/>
          <p:cNvSpPr>
            <a:spLocks/>
          </p:cNvSpPr>
          <p:nvPr userDrawn="1"/>
        </p:nvSpPr>
        <p:spPr bwMode="auto">
          <a:xfrm>
            <a:off x="601665" y="2027239"/>
            <a:ext cx="4811713" cy="4194175"/>
          </a:xfrm>
          <a:custGeom>
            <a:avLst/>
            <a:gdLst>
              <a:gd name="T0" fmla="*/ 11 w 1514"/>
              <a:gd name="T1" fmla="*/ 1252 h 1318"/>
              <a:gd name="T2" fmla="*/ 86 w 1514"/>
              <a:gd name="T3" fmla="*/ 1301 h 1318"/>
              <a:gd name="T4" fmla="*/ 1446 w 1514"/>
              <a:gd name="T5" fmla="*/ 735 h 1318"/>
              <a:gd name="T6" fmla="*/ 1506 w 1514"/>
              <a:gd name="T7" fmla="*/ 625 h 1318"/>
              <a:gd name="T8" fmla="*/ 1466 w 1514"/>
              <a:gd name="T9" fmla="*/ 403 h 1318"/>
              <a:gd name="T10" fmla="*/ 1374 w 1514"/>
              <a:gd name="T11" fmla="*/ 306 h 1318"/>
              <a:gd name="T12" fmla="*/ 78 w 1514"/>
              <a:gd name="T13" fmla="*/ 10 h 1318"/>
              <a:gd name="T14" fmla="*/ 1 w 1514"/>
              <a:gd name="T15" fmla="*/ 72 h 1318"/>
              <a:gd name="T16" fmla="*/ 11 w 1514"/>
              <a:gd name="T17" fmla="*/ 1252 h 1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4" h="1318">
                <a:moveTo>
                  <a:pt x="11" y="1252"/>
                </a:moveTo>
                <a:cubicBezTo>
                  <a:pt x="12" y="1296"/>
                  <a:pt x="45" y="1318"/>
                  <a:pt x="86" y="1301"/>
                </a:cubicBezTo>
                <a:cubicBezTo>
                  <a:pt x="1446" y="735"/>
                  <a:pt x="1446" y="735"/>
                  <a:pt x="1446" y="735"/>
                </a:cubicBezTo>
                <a:cubicBezTo>
                  <a:pt x="1487" y="718"/>
                  <a:pt x="1514" y="669"/>
                  <a:pt x="1506" y="625"/>
                </a:cubicBezTo>
                <a:cubicBezTo>
                  <a:pt x="1466" y="403"/>
                  <a:pt x="1466" y="403"/>
                  <a:pt x="1466" y="403"/>
                </a:cubicBezTo>
                <a:cubicBezTo>
                  <a:pt x="1458" y="359"/>
                  <a:pt x="1417" y="316"/>
                  <a:pt x="1374" y="306"/>
                </a:cubicBezTo>
                <a:cubicBezTo>
                  <a:pt x="78" y="10"/>
                  <a:pt x="78" y="10"/>
                  <a:pt x="78" y="10"/>
                </a:cubicBezTo>
                <a:cubicBezTo>
                  <a:pt x="35" y="0"/>
                  <a:pt x="0" y="28"/>
                  <a:pt x="1" y="72"/>
                </a:cubicBezTo>
                <a:lnTo>
                  <a:pt x="11" y="12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18" name="Freeform 15"/>
          <p:cNvSpPr>
            <a:spLocks/>
          </p:cNvSpPr>
          <p:nvPr userDrawn="1"/>
        </p:nvSpPr>
        <p:spPr bwMode="auto">
          <a:xfrm>
            <a:off x="6319213" y="423864"/>
            <a:ext cx="5445751" cy="2809875"/>
          </a:xfrm>
          <a:custGeom>
            <a:avLst/>
            <a:gdLst>
              <a:gd name="T0" fmla="*/ 30 w 1756"/>
              <a:gd name="T1" fmla="*/ 850 h 883"/>
              <a:gd name="T2" fmla="*/ 0 w 1756"/>
              <a:gd name="T3" fmla="*/ 728 h 883"/>
              <a:gd name="T4" fmla="*/ 0 w 1756"/>
              <a:gd name="T5" fmla="*/ 80 h 883"/>
              <a:gd name="T6" fmla="*/ 80 w 1756"/>
              <a:gd name="T7" fmla="*/ 0 h 883"/>
              <a:gd name="T8" fmla="*/ 1676 w 1756"/>
              <a:gd name="T9" fmla="*/ 0 h 883"/>
              <a:gd name="T10" fmla="*/ 1755 w 1756"/>
              <a:gd name="T11" fmla="*/ 80 h 883"/>
              <a:gd name="T12" fmla="*/ 1753 w 1756"/>
              <a:gd name="T13" fmla="*/ 388 h 883"/>
              <a:gd name="T14" fmla="*/ 1674 w 1756"/>
              <a:gd name="T15" fmla="*/ 487 h 883"/>
              <a:gd name="T16" fmla="*/ 138 w 1756"/>
              <a:gd name="T17" fmla="*/ 873 h 883"/>
              <a:gd name="T18" fmla="*/ 30 w 1756"/>
              <a:gd name="T19" fmla="*/ 850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56" h="883">
                <a:moveTo>
                  <a:pt x="30" y="850"/>
                </a:moveTo>
                <a:cubicBezTo>
                  <a:pt x="14" y="827"/>
                  <a:pt x="0" y="772"/>
                  <a:pt x="0" y="728"/>
                </a:cubicBezTo>
                <a:cubicBezTo>
                  <a:pt x="0" y="80"/>
                  <a:pt x="0" y="80"/>
                  <a:pt x="0" y="80"/>
                </a:cubicBezTo>
                <a:cubicBezTo>
                  <a:pt x="0" y="36"/>
                  <a:pt x="36" y="0"/>
                  <a:pt x="80" y="0"/>
                </a:cubicBezTo>
                <a:cubicBezTo>
                  <a:pt x="1676" y="0"/>
                  <a:pt x="1676" y="0"/>
                  <a:pt x="1676" y="0"/>
                </a:cubicBezTo>
                <a:cubicBezTo>
                  <a:pt x="1720" y="0"/>
                  <a:pt x="1756" y="36"/>
                  <a:pt x="1755" y="80"/>
                </a:cubicBezTo>
                <a:cubicBezTo>
                  <a:pt x="1753" y="388"/>
                  <a:pt x="1753" y="388"/>
                  <a:pt x="1753" y="388"/>
                </a:cubicBezTo>
                <a:cubicBezTo>
                  <a:pt x="1752" y="432"/>
                  <a:pt x="1717" y="477"/>
                  <a:pt x="1674" y="487"/>
                </a:cubicBezTo>
                <a:cubicBezTo>
                  <a:pt x="138" y="873"/>
                  <a:pt x="138" y="873"/>
                  <a:pt x="138" y="873"/>
                </a:cubicBezTo>
                <a:cubicBezTo>
                  <a:pt x="95" y="883"/>
                  <a:pt x="47" y="873"/>
                  <a:pt x="30" y="85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19" name="Freeform 16"/>
          <p:cNvSpPr>
            <a:spLocks/>
          </p:cNvSpPr>
          <p:nvPr userDrawn="1"/>
        </p:nvSpPr>
        <p:spPr bwMode="auto">
          <a:xfrm>
            <a:off x="6953253" y="2027239"/>
            <a:ext cx="4811713" cy="4194175"/>
          </a:xfrm>
          <a:custGeom>
            <a:avLst/>
            <a:gdLst>
              <a:gd name="T0" fmla="*/ 1503 w 1514"/>
              <a:gd name="T1" fmla="*/ 1252 h 1318"/>
              <a:gd name="T2" fmla="*/ 1428 w 1514"/>
              <a:gd name="T3" fmla="*/ 1301 h 1318"/>
              <a:gd name="T4" fmla="*/ 68 w 1514"/>
              <a:gd name="T5" fmla="*/ 735 h 1318"/>
              <a:gd name="T6" fmla="*/ 8 w 1514"/>
              <a:gd name="T7" fmla="*/ 625 h 1318"/>
              <a:gd name="T8" fmla="*/ 48 w 1514"/>
              <a:gd name="T9" fmla="*/ 403 h 1318"/>
              <a:gd name="T10" fmla="*/ 140 w 1514"/>
              <a:gd name="T11" fmla="*/ 306 h 1318"/>
              <a:gd name="T12" fmla="*/ 1436 w 1514"/>
              <a:gd name="T13" fmla="*/ 10 h 1318"/>
              <a:gd name="T14" fmla="*/ 1513 w 1514"/>
              <a:gd name="T15" fmla="*/ 72 h 1318"/>
              <a:gd name="T16" fmla="*/ 1503 w 1514"/>
              <a:gd name="T17" fmla="*/ 1252 h 1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4" h="1318">
                <a:moveTo>
                  <a:pt x="1503" y="1252"/>
                </a:moveTo>
                <a:cubicBezTo>
                  <a:pt x="1502" y="1296"/>
                  <a:pt x="1469" y="1318"/>
                  <a:pt x="1428" y="1301"/>
                </a:cubicBezTo>
                <a:cubicBezTo>
                  <a:pt x="68" y="735"/>
                  <a:pt x="68" y="735"/>
                  <a:pt x="68" y="735"/>
                </a:cubicBezTo>
                <a:cubicBezTo>
                  <a:pt x="27" y="718"/>
                  <a:pt x="0" y="669"/>
                  <a:pt x="8" y="625"/>
                </a:cubicBezTo>
                <a:cubicBezTo>
                  <a:pt x="48" y="403"/>
                  <a:pt x="48" y="403"/>
                  <a:pt x="48" y="403"/>
                </a:cubicBezTo>
                <a:cubicBezTo>
                  <a:pt x="56" y="359"/>
                  <a:pt x="97" y="316"/>
                  <a:pt x="140" y="306"/>
                </a:cubicBezTo>
                <a:cubicBezTo>
                  <a:pt x="1436" y="10"/>
                  <a:pt x="1436" y="10"/>
                  <a:pt x="1436" y="10"/>
                </a:cubicBezTo>
                <a:cubicBezTo>
                  <a:pt x="1479" y="0"/>
                  <a:pt x="1514" y="28"/>
                  <a:pt x="1513" y="72"/>
                </a:cubicBezTo>
                <a:lnTo>
                  <a:pt x="1503" y="12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20" name="Freeform 17"/>
          <p:cNvSpPr>
            <a:spLocks/>
          </p:cNvSpPr>
          <p:nvPr userDrawn="1"/>
        </p:nvSpPr>
        <p:spPr bwMode="auto">
          <a:xfrm>
            <a:off x="744538" y="4343402"/>
            <a:ext cx="10826751" cy="1922463"/>
          </a:xfrm>
          <a:custGeom>
            <a:avLst/>
            <a:gdLst>
              <a:gd name="T0" fmla="*/ 47 w 3406"/>
              <a:gd name="T1" fmla="*/ 604 h 604"/>
              <a:gd name="T2" fmla="*/ 41 w 3406"/>
              <a:gd name="T3" fmla="*/ 573 h 604"/>
              <a:gd name="T4" fmla="*/ 1357 w 3406"/>
              <a:gd name="T5" fmla="*/ 31 h 604"/>
              <a:gd name="T6" fmla="*/ 1511 w 3406"/>
              <a:gd name="T7" fmla="*/ 0 h 604"/>
              <a:gd name="T8" fmla="*/ 1931 w 3406"/>
              <a:gd name="T9" fmla="*/ 0 h 604"/>
              <a:gd name="T10" fmla="*/ 2085 w 3406"/>
              <a:gd name="T11" fmla="*/ 31 h 604"/>
              <a:gd name="T12" fmla="*/ 3365 w 3406"/>
              <a:gd name="T13" fmla="*/ 569 h 604"/>
              <a:gd name="T14" fmla="*/ 3359 w 3406"/>
              <a:gd name="T15" fmla="*/ 600 h 604"/>
              <a:gd name="T16" fmla="*/ 47 w 3406"/>
              <a:gd name="T17" fmla="*/ 6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06" h="604">
                <a:moveTo>
                  <a:pt x="47" y="604"/>
                </a:moveTo>
                <a:cubicBezTo>
                  <a:pt x="3" y="604"/>
                  <a:pt x="0" y="590"/>
                  <a:pt x="41" y="573"/>
                </a:cubicBezTo>
                <a:cubicBezTo>
                  <a:pt x="1357" y="31"/>
                  <a:pt x="1357" y="31"/>
                  <a:pt x="1357" y="31"/>
                </a:cubicBezTo>
                <a:cubicBezTo>
                  <a:pt x="1398" y="14"/>
                  <a:pt x="1467" y="0"/>
                  <a:pt x="1511" y="0"/>
                </a:cubicBezTo>
                <a:cubicBezTo>
                  <a:pt x="1931" y="0"/>
                  <a:pt x="1931" y="0"/>
                  <a:pt x="1931" y="0"/>
                </a:cubicBezTo>
                <a:cubicBezTo>
                  <a:pt x="1975" y="0"/>
                  <a:pt x="2044" y="14"/>
                  <a:pt x="2085" y="31"/>
                </a:cubicBezTo>
                <a:cubicBezTo>
                  <a:pt x="3365" y="569"/>
                  <a:pt x="3365" y="569"/>
                  <a:pt x="3365" y="569"/>
                </a:cubicBezTo>
                <a:cubicBezTo>
                  <a:pt x="3406" y="586"/>
                  <a:pt x="3403" y="600"/>
                  <a:pt x="3359" y="600"/>
                </a:cubicBezTo>
                <a:lnTo>
                  <a:pt x="47" y="6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67" name="Freeform 13"/>
          <p:cNvSpPr>
            <a:spLocks/>
          </p:cNvSpPr>
          <p:nvPr userDrawn="1"/>
        </p:nvSpPr>
        <p:spPr bwMode="auto">
          <a:xfrm>
            <a:off x="601663" y="423864"/>
            <a:ext cx="5565976" cy="2809875"/>
          </a:xfrm>
          <a:custGeom>
            <a:avLst/>
            <a:gdLst>
              <a:gd name="T0" fmla="*/ 1726 w 1756"/>
              <a:gd name="T1" fmla="*/ 850 h 883"/>
              <a:gd name="T2" fmla="*/ 1756 w 1756"/>
              <a:gd name="T3" fmla="*/ 728 h 883"/>
              <a:gd name="T4" fmla="*/ 1756 w 1756"/>
              <a:gd name="T5" fmla="*/ 80 h 883"/>
              <a:gd name="T6" fmla="*/ 1676 w 1756"/>
              <a:gd name="T7" fmla="*/ 0 h 883"/>
              <a:gd name="T8" fmla="*/ 80 w 1756"/>
              <a:gd name="T9" fmla="*/ 0 h 883"/>
              <a:gd name="T10" fmla="*/ 1 w 1756"/>
              <a:gd name="T11" fmla="*/ 80 h 883"/>
              <a:gd name="T12" fmla="*/ 3 w 1756"/>
              <a:gd name="T13" fmla="*/ 388 h 883"/>
              <a:gd name="T14" fmla="*/ 82 w 1756"/>
              <a:gd name="T15" fmla="*/ 487 h 883"/>
              <a:gd name="T16" fmla="*/ 1618 w 1756"/>
              <a:gd name="T17" fmla="*/ 873 h 883"/>
              <a:gd name="T18" fmla="*/ 1726 w 1756"/>
              <a:gd name="T19" fmla="*/ 850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56" h="883">
                <a:moveTo>
                  <a:pt x="1726" y="850"/>
                </a:moveTo>
                <a:cubicBezTo>
                  <a:pt x="1743" y="827"/>
                  <a:pt x="1756" y="772"/>
                  <a:pt x="1756" y="728"/>
                </a:cubicBezTo>
                <a:cubicBezTo>
                  <a:pt x="1756" y="80"/>
                  <a:pt x="1756" y="80"/>
                  <a:pt x="1756" y="80"/>
                </a:cubicBezTo>
                <a:cubicBezTo>
                  <a:pt x="1756" y="36"/>
                  <a:pt x="1720" y="0"/>
                  <a:pt x="1676" y="0"/>
                </a:cubicBezTo>
                <a:cubicBezTo>
                  <a:pt x="80" y="0"/>
                  <a:pt x="80" y="0"/>
                  <a:pt x="80" y="0"/>
                </a:cubicBezTo>
                <a:cubicBezTo>
                  <a:pt x="36" y="0"/>
                  <a:pt x="0" y="36"/>
                  <a:pt x="1" y="80"/>
                </a:cubicBezTo>
                <a:cubicBezTo>
                  <a:pt x="3" y="388"/>
                  <a:pt x="3" y="388"/>
                  <a:pt x="3" y="388"/>
                </a:cubicBezTo>
                <a:cubicBezTo>
                  <a:pt x="4" y="432"/>
                  <a:pt x="39" y="477"/>
                  <a:pt x="82" y="487"/>
                </a:cubicBezTo>
                <a:cubicBezTo>
                  <a:pt x="1618" y="873"/>
                  <a:pt x="1618" y="873"/>
                  <a:pt x="1618" y="873"/>
                </a:cubicBezTo>
                <a:cubicBezTo>
                  <a:pt x="1661" y="883"/>
                  <a:pt x="1710" y="873"/>
                  <a:pt x="1726" y="85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48" name="Text Placeholder 47">
            <a:extLst>
              <a:ext uri="{FF2B5EF4-FFF2-40B4-BE49-F238E27FC236}">
                <a16:creationId xmlns:a16="http://schemas.microsoft.com/office/drawing/2014/main" id="{4127AE8F-B44F-4724-BB5B-452764DFBF20}"/>
              </a:ext>
            </a:extLst>
          </p:cNvPr>
          <p:cNvSpPr>
            <a:spLocks noGrp="1"/>
          </p:cNvSpPr>
          <p:nvPr userDrawn="1">
            <p:ph type="body" sz="quarter" idx="13"/>
          </p:nvPr>
        </p:nvSpPr>
        <p:spPr>
          <a:xfrm>
            <a:off x="925277" y="467629"/>
            <a:ext cx="3306889" cy="1455377"/>
          </a:xfrm>
        </p:spPr>
        <p:txBody>
          <a:bodyPr anchor="ctr">
            <a:noAutofit/>
          </a:bodyPr>
          <a:lstStyle>
            <a:lvl1pPr marL="0" indent="0" algn="l">
              <a:buFontTx/>
              <a:buNone/>
              <a:defRPr sz="1100"/>
            </a:lvl1pPr>
            <a:lvl2pPr marL="457189" indent="0" algn="ctr">
              <a:buFontTx/>
              <a:buNone/>
              <a:defRPr sz="1600"/>
            </a:lvl2pPr>
            <a:lvl3pPr marL="914377" indent="0" algn="ctr">
              <a:buFontTx/>
              <a:buNone/>
              <a:defRPr sz="1600"/>
            </a:lvl3pPr>
            <a:lvl4pPr marL="1371566" indent="0" algn="ctr">
              <a:buFontTx/>
              <a:buNone/>
              <a:defRPr sz="1600"/>
            </a:lvl4pPr>
            <a:lvl5pPr marL="1828754" indent="0" algn="ctr">
              <a:buFontTx/>
              <a:buNone/>
              <a:defRPr sz="1600"/>
            </a:lvl5pPr>
          </a:lstStyle>
          <a:p>
            <a:pPr lvl="0"/>
            <a:r>
              <a:rPr lang="en-US"/>
              <a:t>Click to edit Master text styles</a:t>
            </a:r>
          </a:p>
        </p:txBody>
      </p:sp>
      <p:sp>
        <p:nvSpPr>
          <p:cNvPr id="49" name="Text Placeholder 47">
            <a:extLst>
              <a:ext uri="{FF2B5EF4-FFF2-40B4-BE49-F238E27FC236}">
                <a16:creationId xmlns:a16="http://schemas.microsoft.com/office/drawing/2014/main" id="{BA8DCEBF-A405-44C7-92F0-885D34291C08}"/>
              </a:ext>
            </a:extLst>
          </p:cNvPr>
          <p:cNvSpPr>
            <a:spLocks noGrp="1"/>
          </p:cNvSpPr>
          <p:nvPr userDrawn="1">
            <p:ph type="body" sz="quarter" idx="14"/>
          </p:nvPr>
        </p:nvSpPr>
        <p:spPr>
          <a:xfrm>
            <a:off x="8094960" y="474380"/>
            <a:ext cx="3075419" cy="1386221"/>
          </a:xfrm>
        </p:spPr>
        <p:txBody>
          <a:bodyPr anchor="ctr">
            <a:noAutofit/>
          </a:bodyPr>
          <a:lstStyle>
            <a:lvl1pPr marL="0" indent="0" algn="r">
              <a:buFontTx/>
              <a:buNone/>
              <a:defRPr sz="1100"/>
            </a:lvl1pPr>
            <a:lvl2pPr marL="457189" indent="0" algn="ctr">
              <a:buFontTx/>
              <a:buNone/>
              <a:defRPr sz="1600"/>
            </a:lvl2pPr>
            <a:lvl3pPr marL="914377" indent="0" algn="ctr">
              <a:buFontTx/>
              <a:buNone/>
              <a:defRPr sz="1600"/>
            </a:lvl3pPr>
            <a:lvl4pPr marL="1371566" indent="0" algn="ctr">
              <a:buFontTx/>
              <a:buNone/>
              <a:defRPr sz="1600"/>
            </a:lvl4pPr>
            <a:lvl5pPr marL="1828754" indent="0" algn="ctr">
              <a:buFontTx/>
              <a:buNone/>
              <a:defRPr sz="1600"/>
            </a:lvl5pPr>
          </a:lstStyle>
          <a:p>
            <a:pPr lvl="0"/>
            <a:r>
              <a:rPr lang="en-US"/>
              <a:t>Click to edit Master text styles</a:t>
            </a:r>
          </a:p>
        </p:txBody>
      </p:sp>
      <p:sp>
        <p:nvSpPr>
          <p:cNvPr id="51" name="Text Placeholder 47">
            <a:extLst>
              <a:ext uri="{FF2B5EF4-FFF2-40B4-BE49-F238E27FC236}">
                <a16:creationId xmlns:a16="http://schemas.microsoft.com/office/drawing/2014/main" id="{91F324D8-41B6-4920-BB21-84DADB37590F}"/>
              </a:ext>
            </a:extLst>
          </p:cNvPr>
          <p:cNvSpPr>
            <a:spLocks noGrp="1"/>
          </p:cNvSpPr>
          <p:nvPr userDrawn="1">
            <p:ph type="body" sz="quarter" idx="16"/>
          </p:nvPr>
        </p:nvSpPr>
        <p:spPr>
          <a:xfrm>
            <a:off x="911981" y="2863088"/>
            <a:ext cx="2726531" cy="1844101"/>
          </a:xfrm>
        </p:spPr>
        <p:txBody>
          <a:bodyPr anchor="ctr">
            <a:noAutofit/>
          </a:bodyPr>
          <a:lstStyle>
            <a:lvl1pPr marL="0" indent="0" algn="l">
              <a:buFontTx/>
              <a:buNone/>
              <a:defRPr sz="1100"/>
            </a:lvl1pPr>
            <a:lvl2pPr marL="457189" indent="0" algn="ctr">
              <a:buFontTx/>
              <a:buNone/>
              <a:defRPr sz="1600"/>
            </a:lvl2pPr>
            <a:lvl3pPr marL="914377" indent="0" algn="ctr">
              <a:buFontTx/>
              <a:buNone/>
              <a:defRPr sz="1600"/>
            </a:lvl3pPr>
            <a:lvl4pPr marL="1371566" indent="0" algn="ctr">
              <a:buFontTx/>
              <a:buNone/>
              <a:defRPr sz="1600"/>
            </a:lvl4pPr>
            <a:lvl5pPr marL="1828754" indent="0" algn="ctr">
              <a:buFontTx/>
              <a:buNone/>
              <a:defRPr sz="1600"/>
            </a:lvl5pPr>
          </a:lstStyle>
          <a:p>
            <a:pPr lvl="0"/>
            <a:r>
              <a:rPr lang="en-US"/>
              <a:t>Click to edit Master text styles</a:t>
            </a:r>
          </a:p>
        </p:txBody>
      </p:sp>
      <p:sp>
        <p:nvSpPr>
          <p:cNvPr id="50" name="Text Placeholder 47">
            <a:extLst>
              <a:ext uri="{FF2B5EF4-FFF2-40B4-BE49-F238E27FC236}">
                <a16:creationId xmlns:a16="http://schemas.microsoft.com/office/drawing/2014/main" id="{60FB55BE-42EE-4153-B0D1-088B7D34509B}"/>
              </a:ext>
            </a:extLst>
          </p:cNvPr>
          <p:cNvSpPr>
            <a:spLocks noGrp="1"/>
          </p:cNvSpPr>
          <p:nvPr userDrawn="1">
            <p:ph type="body" sz="quarter" idx="15"/>
          </p:nvPr>
        </p:nvSpPr>
        <p:spPr>
          <a:xfrm>
            <a:off x="8384895" y="2845506"/>
            <a:ext cx="2785484" cy="1844101"/>
          </a:xfrm>
        </p:spPr>
        <p:txBody>
          <a:bodyPr anchor="ctr">
            <a:noAutofit/>
          </a:bodyPr>
          <a:lstStyle>
            <a:lvl1pPr marL="0" indent="0" algn="r">
              <a:buFontTx/>
              <a:buNone/>
              <a:defRPr sz="1100"/>
            </a:lvl1pPr>
            <a:lvl2pPr marL="457189" indent="0" algn="ctr">
              <a:buFontTx/>
              <a:buNone/>
              <a:defRPr sz="1600"/>
            </a:lvl2pPr>
            <a:lvl3pPr marL="914377" indent="0" algn="ctr">
              <a:buFontTx/>
              <a:buNone/>
              <a:defRPr sz="1600"/>
            </a:lvl3pPr>
            <a:lvl4pPr marL="1371566" indent="0" algn="ctr">
              <a:buFontTx/>
              <a:buNone/>
              <a:defRPr sz="1600"/>
            </a:lvl4pPr>
            <a:lvl5pPr marL="1828754" indent="0" algn="ctr">
              <a:buFontTx/>
              <a:buNone/>
              <a:defRPr sz="1600"/>
            </a:lvl5pPr>
          </a:lstStyle>
          <a:p>
            <a:pPr lvl="0"/>
            <a:r>
              <a:rPr lang="en-US"/>
              <a:t>Click to edit Master text styles</a:t>
            </a:r>
          </a:p>
        </p:txBody>
      </p:sp>
      <p:grpSp>
        <p:nvGrpSpPr>
          <p:cNvPr id="52" name="Group 51">
            <a:extLst>
              <a:ext uri="{FF2B5EF4-FFF2-40B4-BE49-F238E27FC236}">
                <a16:creationId xmlns:a16="http://schemas.microsoft.com/office/drawing/2014/main" id="{D28F3C4F-B835-48F3-A80A-3D8DC926FB85}"/>
              </a:ext>
            </a:extLst>
          </p:cNvPr>
          <p:cNvGrpSpPr/>
          <p:nvPr userDrawn="1"/>
        </p:nvGrpSpPr>
        <p:grpSpPr>
          <a:xfrm>
            <a:off x="3843956" y="1069324"/>
            <a:ext cx="4556832" cy="4556832"/>
            <a:chOff x="3517520" y="785268"/>
            <a:chExt cx="5124943" cy="5124943"/>
          </a:xfrm>
        </p:grpSpPr>
        <p:grpSp>
          <p:nvGrpSpPr>
            <p:cNvPr id="54" name="Group 53">
              <a:extLst>
                <a:ext uri="{FF2B5EF4-FFF2-40B4-BE49-F238E27FC236}">
                  <a16:creationId xmlns:a16="http://schemas.microsoft.com/office/drawing/2014/main" id="{F6AFF5BE-9EED-41C7-8A4F-8C7A4465FD79}"/>
                </a:ext>
              </a:extLst>
            </p:cNvPr>
            <p:cNvGrpSpPr/>
            <p:nvPr userDrawn="1"/>
          </p:nvGrpSpPr>
          <p:grpSpPr>
            <a:xfrm>
              <a:off x="3996209" y="1395675"/>
              <a:ext cx="4217284" cy="4037238"/>
              <a:chOff x="3615315" y="1171922"/>
              <a:chExt cx="4217284" cy="4037238"/>
            </a:xfrm>
          </p:grpSpPr>
          <p:sp>
            <p:nvSpPr>
              <p:cNvPr id="56" name="Freeform: Shape 171">
                <a:extLst>
                  <a:ext uri="{FF2B5EF4-FFF2-40B4-BE49-F238E27FC236}">
                    <a16:creationId xmlns:a16="http://schemas.microsoft.com/office/drawing/2014/main" id="{16D68505-5232-41A4-9D70-56C03ABB0C03}"/>
                  </a:ext>
                </a:extLst>
              </p:cNvPr>
              <p:cNvSpPr/>
              <p:nvPr userDrawn="1"/>
            </p:nvSpPr>
            <p:spPr>
              <a:xfrm rot="2645341">
                <a:off x="5256868" y="1246259"/>
                <a:ext cx="2575731" cy="2126256"/>
              </a:xfrm>
              <a:custGeom>
                <a:avLst/>
                <a:gdLst>
                  <a:gd name="connsiteX0" fmla="*/ 87637 w 2575731"/>
                  <a:gd name="connsiteY0" fmla="*/ 505953 h 2126256"/>
                  <a:gd name="connsiteX1" fmla="*/ 1440580 w 2575731"/>
                  <a:gd name="connsiteY1" fmla="*/ 352 h 2126256"/>
                  <a:gd name="connsiteX2" fmla="*/ 2397267 w 2575731"/>
                  <a:gd name="connsiteY2" fmla="*/ 194952 h 2126256"/>
                  <a:gd name="connsiteX3" fmla="*/ 2575731 w 2575731"/>
                  <a:gd name="connsiteY3" fmla="*/ 289580 h 2126256"/>
                  <a:gd name="connsiteX4" fmla="*/ 2271122 w 2575731"/>
                  <a:gd name="connsiteY4" fmla="*/ 873443 h 2126256"/>
                  <a:gd name="connsiteX5" fmla="*/ 2197856 w 2575731"/>
                  <a:gd name="connsiteY5" fmla="*/ 836146 h 2126256"/>
                  <a:gd name="connsiteX6" fmla="*/ 1594836 w 2575731"/>
                  <a:gd name="connsiteY6" fmla="*/ 2126256 h 2126256"/>
                  <a:gd name="connsiteX7" fmla="*/ 533207 w 2575731"/>
                  <a:gd name="connsiteY7" fmla="*/ 976752 h 2126256"/>
                  <a:gd name="connsiteX8" fmla="*/ 498167 w 2575731"/>
                  <a:gd name="connsiteY8" fmla="*/ 1003464 h 2126256"/>
                  <a:gd name="connsiteX9" fmla="*/ 422388 w 2575731"/>
                  <a:gd name="connsiteY9" fmla="*/ 1077624 h 2126256"/>
                  <a:gd name="connsiteX10" fmla="*/ 0 w 2575731"/>
                  <a:gd name="connsiteY10" fmla="*/ 597535 h 2126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75731" h="2126256">
                    <a:moveTo>
                      <a:pt x="87637" y="505953"/>
                    </a:moveTo>
                    <a:cubicBezTo>
                      <a:pt x="427674" y="197060"/>
                      <a:pt x="915173" y="9534"/>
                      <a:pt x="1440580" y="352"/>
                    </a:cubicBezTo>
                    <a:cubicBezTo>
                      <a:pt x="1781368" y="-5603"/>
                      <a:pt x="2110618" y="63994"/>
                      <a:pt x="2397267" y="194952"/>
                    </a:cubicBezTo>
                    <a:lnTo>
                      <a:pt x="2575731" y="289580"/>
                    </a:lnTo>
                    <a:lnTo>
                      <a:pt x="2271122" y="873443"/>
                    </a:lnTo>
                    <a:lnTo>
                      <a:pt x="2197856" y="836146"/>
                    </a:lnTo>
                    <a:lnTo>
                      <a:pt x="1594836" y="2126256"/>
                    </a:lnTo>
                    <a:lnTo>
                      <a:pt x="533207" y="976752"/>
                    </a:lnTo>
                    <a:lnTo>
                      <a:pt x="498167" y="1003464"/>
                    </a:lnTo>
                    <a:lnTo>
                      <a:pt x="422388" y="1077624"/>
                    </a:lnTo>
                    <a:lnTo>
                      <a:pt x="0" y="59753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1"/>
                  </a:solidFill>
                </a:endParaRPr>
              </a:p>
            </p:txBody>
          </p:sp>
          <p:sp>
            <p:nvSpPr>
              <p:cNvPr id="57" name="Freeform: Shape 170">
                <a:extLst>
                  <a:ext uri="{FF2B5EF4-FFF2-40B4-BE49-F238E27FC236}">
                    <a16:creationId xmlns:a16="http://schemas.microsoft.com/office/drawing/2014/main" id="{69B835EC-6C2B-4D56-B936-34CEFFE8FC16}"/>
                  </a:ext>
                </a:extLst>
              </p:cNvPr>
              <p:cNvSpPr/>
              <p:nvPr userDrawn="1"/>
            </p:nvSpPr>
            <p:spPr>
              <a:xfrm rot="18954659" flipH="1">
                <a:off x="4050218" y="1171922"/>
                <a:ext cx="2532176" cy="2344236"/>
              </a:xfrm>
              <a:custGeom>
                <a:avLst/>
                <a:gdLst>
                  <a:gd name="connsiteX0" fmla="*/ 0 w 2532176"/>
                  <a:gd name="connsiteY0" fmla="*/ 577215 h 2344236"/>
                  <a:gd name="connsiteX1" fmla="*/ 422678 w 2532176"/>
                  <a:gd name="connsiteY1" fmla="*/ 955774 h 2344236"/>
                  <a:gd name="connsiteX2" fmla="*/ 457588 w 2532176"/>
                  <a:gd name="connsiteY2" fmla="*/ 989612 h 2344236"/>
                  <a:gd name="connsiteX3" fmla="*/ 485394 w 2532176"/>
                  <a:gd name="connsiteY3" fmla="*/ 970487 h 2344236"/>
                  <a:gd name="connsiteX4" fmla="*/ 1459228 w 2532176"/>
                  <a:gd name="connsiteY4" fmla="*/ 2344236 h 2344236"/>
                  <a:gd name="connsiteX5" fmla="*/ 2180460 w 2532176"/>
                  <a:gd name="connsiteY5" fmla="*/ 754222 h 2344236"/>
                  <a:gd name="connsiteX6" fmla="*/ 2243561 w 2532176"/>
                  <a:gd name="connsiteY6" fmla="*/ 784679 h 2344236"/>
                  <a:gd name="connsiteX7" fmla="*/ 2532176 w 2532176"/>
                  <a:gd name="connsiteY7" fmla="*/ 260152 h 2344236"/>
                  <a:gd name="connsiteX8" fmla="*/ 2363082 w 2532176"/>
                  <a:gd name="connsiteY8" fmla="*/ 175140 h 2344236"/>
                  <a:gd name="connsiteX9" fmla="*/ 1456627 w 2532176"/>
                  <a:gd name="connsiteY9" fmla="*/ 316 h 2344236"/>
                  <a:gd name="connsiteX10" fmla="*/ 174721 w 2532176"/>
                  <a:gd name="connsiteY10" fmla="*/ 454535 h 2344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32176" h="2344236">
                    <a:moveTo>
                      <a:pt x="0" y="577215"/>
                    </a:moveTo>
                    <a:lnTo>
                      <a:pt x="422678" y="955774"/>
                    </a:lnTo>
                    <a:lnTo>
                      <a:pt x="457588" y="989612"/>
                    </a:lnTo>
                    <a:lnTo>
                      <a:pt x="485394" y="970487"/>
                    </a:lnTo>
                    <a:lnTo>
                      <a:pt x="1459228" y="2344236"/>
                    </a:lnTo>
                    <a:lnTo>
                      <a:pt x="2180460" y="754222"/>
                    </a:lnTo>
                    <a:lnTo>
                      <a:pt x="2243561" y="784679"/>
                    </a:lnTo>
                    <a:lnTo>
                      <a:pt x="2532176" y="260152"/>
                    </a:lnTo>
                    <a:lnTo>
                      <a:pt x="2363082" y="175140"/>
                    </a:lnTo>
                    <a:cubicBezTo>
                      <a:pt x="2091484" y="57491"/>
                      <a:pt x="1779522" y="-5033"/>
                      <a:pt x="1456627" y="316"/>
                    </a:cubicBezTo>
                    <a:cubicBezTo>
                      <a:pt x="958806" y="8565"/>
                      <a:pt x="496905" y="177033"/>
                      <a:pt x="174721" y="454535"/>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1"/>
                  </a:solidFill>
                </a:endParaRPr>
              </a:p>
            </p:txBody>
          </p:sp>
          <p:sp>
            <p:nvSpPr>
              <p:cNvPr id="58" name="Freeform: Shape 167">
                <a:extLst>
                  <a:ext uri="{FF2B5EF4-FFF2-40B4-BE49-F238E27FC236}">
                    <a16:creationId xmlns:a16="http://schemas.microsoft.com/office/drawing/2014/main" id="{2F5D0C5C-BE59-48CE-BE94-F490AF40C6AE}"/>
                  </a:ext>
                </a:extLst>
              </p:cNvPr>
              <p:cNvSpPr/>
              <p:nvPr userDrawn="1"/>
            </p:nvSpPr>
            <p:spPr>
              <a:xfrm rot="16670131">
                <a:off x="5631796" y="2298274"/>
                <a:ext cx="2045184" cy="2178941"/>
              </a:xfrm>
              <a:custGeom>
                <a:avLst/>
                <a:gdLst>
                  <a:gd name="connsiteX0" fmla="*/ 2045184 w 2045184"/>
                  <a:gd name="connsiteY0" fmla="*/ 1955064 h 2178941"/>
                  <a:gd name="connsiteX1" fmla="*/ 1884311 w 2045184"/>
                  <a:gd name="connsiteY1" fmla="*/ 2031449 h 2178941"/>
                  <a:gd name="connsiteX2" fmla="*/ 1027509 w 2045184"/>
                  <a:gd name="connsiteY2" fmla="*/ 2177392 h 2178941"/>
                  <a:gd name="connsiteX3" fmla="*/ 76657 w 2045184"/>
                  <a:gd name="connsiteY3" fmla="*/ 1906333 h 2178941"/>
                  <a:gd name="connsiteX4" fmla="*/ 55286 w 2045184"/>
                  <a:gd name="connsiteY4" fmla="*/ 1890698 h 2178941"/>
                  <a:gd name="connsiteX5" fmla="*/ 84615 w 2045184"/>
                  <a:gd name="connsiteY5" fmla="*/ 1750474 h 2178941"/>
                  <a:gd name="connsiteX6" fmla="*/ 0 w 2045184"/>
                  <a:gd name="connsiteY6" fmla="*/ 1750474 h 2178941"/>
                  <a:gd name="connsiteX7" fmla="*/ 160963 w 2045184"/>
                  <a:gd name="connsiteY7" fmla="*/ 1385448 h 2178941"/>
                  <a:gd name="connsiteX8" fmla="*/ 180739 w 2045184"/>
                  <a:gd name="connsiteY8" fmla="*/ 1290902 h 2178941"/>
                  <a:gd name="connsiteX9" fmla="*/ 196114 w 2045184"/>
                  <a:gd name="connsiteY9" fmla="*/ 1305736 h 2178941"/>
                  <a:gd name="connsiteX10" fmla="*/ 771896 w 2045184"/>
                  <a:gd name="connsiteY10" fmla="*/ 0 h 2178941"/>
                  <a:gd name="connsiteX11" fmla="*/ 1705008 w 2045184"/>
                  <a:gd name="connsiteY11" fmla="*/ 1493126 h 2178941"/>
                  <a:gd name="connsiteX12" fmla="*/ 1783907 w 2045184"/>
                  <a:gd name="connsiteY12" fmla="*/ 1457212 h 2178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45184" h="2178941">
                    <a:moveTo>
                      <a:pt x="2045184" y="1955064"/>
                    </a:moveTo>
                    <a:lnTo>
                      <a:pt x="1884311" y="2031449"/>
                    </a:lnTo>
                    <a:cubicBezTo>
                      <a:pt x="1626293" y="2136410"/>
                      <a:pt x="1331374" y="2188849"/>
                      <a:pt x="1027509" y="2177392"/>
                    </a:cubicBezTo>
                    <a:cubicBezTo>
                      <a:pt x="676149" y="2164145"/>
                      <a:pt x="345601" y="2066747"/>
                      <a:pt x="76657" y="1906333"/>
                    </a:cubicBezTo>
                    <a:lnTo>
                      <a:pt x="55286" y="1890698"/>
                    </a:lnTo>
                    <a:lnTo>
                      <a:pt x="84615" y="1750474"/>
                    </a:lnTo>
                    <a:lnTo>
                      <a:pt x="0" y="1750474"/>
                    </a:lnTo>
                    <a:lnTo>
                      <a:pt x="160963" y="1385448"/>
                    </a:lnTo>
                    <a:lnTo>
                      <a:pt x="180739" y="1290902"/>
                    </a:lnTo>
                    <a:lnTo>
                      <a:pt x="196114" y="1305736"/>
                    </a:lnTo>
                    <a:lnTo>
                      <a:pt x="771896" y="0"/>
                    </a:lnTo>
                    <a:lnTo>
                      <a:pt x="1705008" y="1493126"/>
                    </a:lnTo>
                    <a:lnTo>
                      <a:pt x="1783907" y="1457212"/>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59" name="Freeform: Shape 166">
                <a:extLst>
                  <a:ext uri="{FF2B5EF4-FFF2-40B4-BE49-F238E27FC236}">
                    <a16:creationId xmlns:a16="http://schemas.microsoft.com/office/drawing/2014/main" id="{4F41DEB5-2513-4AB1-B73F-E1DB1932B33D}"/>
                  </a:ext>
                </a:extLst>
              </p:cNvPr>
              <p:cNvSpPr/>
              <p:nvPr userDrawn="1"/>
            </p:nvSpPr>
            <p:spPr>
              <a:xfrm>
                <a:off x="4055539" y="2826897"/>
                <a:ext cx="3153416" cy="2382263"/>
              </a:xfrm>
              <a:custGeom>
                <a:avLst/>
                <a:gdLst>
                  <a:gd name="connsiteX0" fmla="*/ 1711041 w 3125739"/>
                  <a:gd name="connsiteY0" fmla="*/ 0 h 2188743"/>
                  <a:gd name="connsiteX1" fmla="*/ 2602539 w 3125739"/>
                  <a:gd name="connsiteY1" fmla="*/ 1231956 h 2188743"/>
                  <a:gd name="connsiteX2" fmla="*/ 3120437 w 3125739"/>
                  <a:gd name="connsiteY2" fmla="*/ 1456244 h 2188743"/>
                  <a:gd name="connsiteX3" fmla="*/ 3125739 w 3125739"/>
                  <a:gd name="connsiteY3" fmla="*/ 1502722 h 2188743"/>
                  <a:gd name="connsiteX4" fmla="*/ 3091672 w 3125739"/>
                  <a:gd name="connsiteY4" fmla="*/ 1541819 h 2188743"/>
                  <a:gd name="connsiteX5" fmla="*/ 1590082 w 3125739"/>
                  <a:gd name="connsiteY5" fmla="*/ 2187977 h 2188743"/>
                  <a:gd name="connsiteX6" fmla="*/ 249987 w 3125739"/>
                  <a:gd name="connsiteY6" fmla="*/ 1765425 h 2188743"/>
                  <a:gd name="connsiteX7" fmla="*/ 0 w 3125739"/>
                  <a:gd name="connsiteY7" fmla="*/ 1559951 h 2188743"/>
                  <a:gd name="connsiteX8" fmla="*/ 24192 w 3125739"/>
                  <a:gd name="connsiteY8" fmla="*/ 1488067 h 2188743"/>
                  <a:gd name="connsiteX9" fmla="*/ 572377 w 3125739"/>
                  <a:gd name="connsiteY9" fmla="*/ 1237743 h 2188743"/>
                  <a:gd name="connsiteX10" fmla="*/ 663429 w 3125739"/>
                  <a:gd name="connsiteY10" fmla="*/ 1306929 h 2188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25739" h="2188743">
                    <a:moveTo>
                      <a:pt x="1711041" y="0"/>
                    </a:moveTo>
                    <a:lnTo>
                      <a:pt x="2602539" y="1231956"/>
                    </a:lnTo>
                    <a:lnTo>
                      <a:pt x="3120437" y="1456244"/>
                    </a:lnTo>
                    <a:lnTo>
                      <a:pt x="3125739" y="1502722"/>
                    </a:lnTo>
                    <a:lnTo>
                      <a:pt x="3091672" y="1541819"/>
                    </a:lnTo>
                    <a:cubicBezTo>
                      <a:pt x="2664170" y="1940240"/>
                      <a:pt x="2142062" y="2173027"/>
                      <a:pt x="1590082" y="2187977"/>
                    </a:cubicBezTo>
                    <a:cubicBezTo>
                      <a:pt x="1112715" y="2200909"/>
                      <a:pt x="651516" y="2049786"/>
                      <a:pt x="249987" y="1765425"/>
                    </a:cubicBezTo>
                    <a:lnTo>
                      <a:pt x="0" y="1559951"/>
                    </a:lnTo>
                    <a:lnTo>
                      <a:pt x="24192" y="1488067"/>
                    </a:lnTo>
                    <a:lnTo>
                      <a:pt x="572377" y="1237743"/>
                    </a:lnTo>
                    <a:lnTo>
                      <a:pt x="663429" y="130692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60" name="Freeform: Shape 182">
                <a:extLst>
                  <a:ext uri="{FF2B5EF4-FFF2-40B4-BE49-F238E27FC236}">
                    <a16:creationId xmlns:a16="http://schemas.microsoft.com/office/drawing/2014/main" id="{60A4FCF7-E5A3-4FF1-B55C-E68EF198DD4D}"/>
                  </a:ext>
                </a:extLst>
              </p:cNvPr>
              <p:cNvSpPr/>
              <p:nvPr userDrawn="1"/>
            </p:nvSpPr>
            <p:spPr>
              <a:xfrm rot="4446362">
                <a:off x="3809373" y="2119601"/>
                <a:ext cx="1929596" cy="2317712"/>
              </a:xfrm>
              <a:custGeom>
                <a:avLst/>
                <a:gdLst>
                  <a:gd name="connsiteX0" fmla="*/ 0 w 1828317"/>
                  <a:gd name="connsiteY0" fmla="*/ 1999400 h 2317712"/>
                  <a:gd name="connsiteX1" fmla="*/ 291779 w 1828317"/>
                  <a:gd name="connsiteY1" fmla="*/ 1518995 h 2317712"/>
                  <a:gd name="connsiteX2" fmla="*/ 961601 w 1828317"/>
                  <a:gd name="connsiteY2" fmla="*/ 0 h 2317712"/>
                  <a:gd name="connsiteX3" fmla="*/ 1746095 w 1828317"/>
                  <a:gd name="connsiteY3" fmla="*/ 1255314 h 2317712"/>
                  <a:gd name="connsiteX4" fmla="*/ 1828317 w 1828317"/>
                  <a:gd name="connsiteY4" fmla="*/ 2163887 h 2317712"/>
                  <a:gd name="connsiteX5" fmla="*/ 1724352 w 1828317"/>
                  <a:gd name="connsiteY5" fmla="*/ 2208711 h 2317712"/>
                  <a:gd name="connsiteX6" fmla="*/ 983178 w 1828317"/>
                  <a:gd name="connsiteY6" fmla="*/ 2315595 h 2317712"/>
                  <a:gd name="connsiteX7" fmla="*/ 151862 w 1828317"/>
                  <a:gd name="connsiteY7" fmla="*/ 2092160 h 2317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28317" h="2317712">
                    <a:moveTo>
                      <a:pt x="0" y="1999400"/>
                    </a:moveTo>
                    <a:lnTo>
                      <a:pt x="291779" y="1518995"/>
                    </a:lnTo>
                    <a:lnTo>
                      <a:pt x="961601" y="0"/>
                    </a:lnTo>
                    <a:lnTo>
                      <a:pt x="1746095" y="1255314"/>
                    </a:lnTo>
                    <a:lnTo>
                      <a:pt x="1828317" y="2163887"/>
                    </a:lnTo>
                    <a:lnTo>
                      <a:pt x="1724352" y="2208711"/>
                    </a:lnTo>
                    <a:cubicBezTo>
                      <a:pt x="1496553" y="2289222"/>
                      <a:pt x="1243589" y="2327449"/>
                      <a:pt x="983178" y="2315595"/>
                    </a:cubicBezTo>
                    <a:cubicBezTo>
                      <a:pt x="682897" y="2301925"/>
                      <a:pt x="396941" y="2222730"/>
                      <a:pt x="151862" y="209216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sp>
          <p:nvSpPr>
            <p:cNvPr id="55" name="Freeform: Shape 110">
              <a:extLst>
                <a:ext uri="{FF2B5EF4-FFF2-40B4-BE49-F238E27FC236}">
                  <a16:creationId xmlns:a16="http://schemas.microsoft.com/office/drawing/2014/main" id="{5850590F-8E2C-45AA-AB92-82013AFFE251}"/>
                </a:ext>
              </a:extLst>
            </p:cNvPr>
            <p:cNvSpPr/>
            <p:nvPr userDrawn="1"/>
          </p:nvSpPr>
          <p:spPr>
            <a:xfrm>
              <a:off x="3517520" y="785268"/>
              <a:ext cx="5124943" cy="5124943"/>
            </a:xfrm>
            <a:custGeom>
              <a:avLst/>
              <a:gdLst>
                <a:gd name="connsiteX0" fmla="*/ 1951718 w 3924694"/>
                <a:gd name="connsiteY0" fmla="*/ 397092 h 3924694"/>
                <a:gd name="connsiteX1" fmla="*/ 386463 w 3924694"/>
                <a:gd name="connsiteY1" fmla="*/ 1962347 h 3924694"/>
                <a:gd name="connsiteX2" fmla="*/ 1951718 w 3924694"/>
                <a:gd name="connsiteY2" fmla="*/ 3527602 h 3924694"/>
                <a:gd name="connsiteX3" fmla="*/ 3516973 w 3924694"/>
                <a:gd name="connsiteY3" fmla="*/ 1962347 h 3924694"/>
                <a:gd name="connsiteX4" fmla="*/ 1951718 w 3924694"/>
                <a:gd name="connsiteY4" fmla="*/ 397092 h 3924694"/>
                <a:gd name="connsiteX5" fmla="*/ 1962347 w 3924694"/>
                <a:gd name="connsiteY5" fmla="*/ 0 h 3924694"/>
                <a:gd name="connsiteX6" fmla="*/ 3924694 w 3924694"/>
                <a:gd name="connsiteY6" fmla="*/ 1962347 h 3924694"/>
                <a:gd name="connsiteX7" fmla="*/ 1962347 w 3924694"/>
                <a:gd name="connsiteY7" fmla="*/ 3924694 h 3924694"/>
                <a:gd name="connsiteX8" fmla="*/ 0 w 3924694"/>
                <a:gd name="connsiteY8" fmla="*/ 1962347 h 3924694"/>
                <a:gd name="connsiteX9" fmla="*/ 1962347 w 3924694"/>
                <a:gd name="connsiteY9" fmla="*/ 0 h 3924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694" h="3924694">
                  <a:moveTo>
                    <a:pt x="1951718" y="397092"/>
                  </a:moveTo>
                  <a:cubicBezTo>
                    <a:pt x="1087252" y="397092"/>
                    <a:pt x="386463" y="1097881"/>
                    <a:pt x="386463" y="1962347"/>
                  </a:cubicBezTo>
                  <a:cubicBezTo>
                    <a:pt x="386463" y="2826813"/>
                    <a:pt x="1087252" y="3527602"/>
                    <a:pt x="1951718" y="3527602"/>
                  </a:cubicBezTo>
                  <a:cubicBezTo>
                    <a:pt x="2816184" y="3527602"/>
                    <a:pt x="3516973" y="2826813"/>
                    <a:pt x="3516973" y="1962347"/>
                  </a:cubicBezTo>
                  <a:cubicBezTo>
                    <a:pt x="3516973" y="1097881"/>
                    <a:pt x="2816184" y="397092"/>
                    <a:pt x="1951718" y="397092"/>
                  </a:cubicBezTo>
                  <a:close/>
                  <a:moveTo>
                    <a:pt x="1962347" y="0"/>
                  </a:moveTo>
                  <a:cubicBezTo>
                    <a:pt x="3046121" y="0"/>
                    <a:pt x="3924694" y="878573"/>
                    <a:pt x="3924694" y="1962347"/>
                  </a:cubicBezTo>
                  <a:cubicBezTo>
                    <a:pt x="3924694" y="3046121"/>
                    <a:pt x="3046121" y="3924694"/>
                    <a:pt x="1962347" y="3924694"/>
                  </a:cubicBezTo>
                  <a:cubicBezTo>
                    <a:pt x="878573" y="3924694"/>
                    <a:pt x="0" y="3046121"/>
                    <a:pt x="0" y="1962347"/>
                  </a:cubicBezTo>
                  <a:cubicBezTo>
                    <a:pt x="0" y="878573"/>
                    <a:pt x="878573" y="0"/>
                    <a:pt x="1962347" y="0"/>
                  </a:cubicBezTo>
                  <a:close/>
                </a:path>
              </a:pathLst>
            </a:custGeom>
            <a:solidFill>
              <a:schemeClr val="bg1"/>
            </a:solidFill>
            <a:ln w="476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cxnSp>
        <p:nvCxnSpPr>
          <p:cNvPr id="116" name="Straight Connector 115">
            <a:extLst>
              <a:ext uri="{FF2B5EF4-FFF2-40B4-BE49-F238E27FC236}">
                <a16:creationId xmlns:a16="http://schemas.microsoft.com/office/drawing/2014/main" id="{6C66BB1B-1630-4ADC-A22F-1A637BFDF848}"/>
              </a:ext>
            </a:extLst>
          </p:cNvPr>
          <p:cNvCxnSpPr>
            <a:cxnSpLocks/>
          </p:cNvCxnSpPr>
          <p:nvPr userDrawn="1"/>
        </p:nvCxnSpPr>
        <p:spPr>
          <a:xfrm flipV="1">
            <a:off x="7215533" y="1798460"/>
            <a:ext cx="4686783" cy="1268992"/>
          </a:xfrm>
          <a:prstGeom prst="line">
            <a:avLst/>
          </a:prstGeom>
          <a:ln w="193675">
            <a:solidFill>
              <a:srgbClr val="006BB1"/>
            </a:solidFill>
          </a:ln>
        </p:spPr>
        <p:style>
          <a:lnRef idx="1">
            <a:schemeClr val="accent1"/>
          </a:lnRef>
          <a:fillRef idx="0">
            <a:schemeClr val="accent1"/>
          </a:fillRef>
          <a:effectRef idx="0">
            <a:schemeClr val="accent1"/>
          </a:effectRef>
          <a:fontRef idx="minor">
            <a:schemeClr val="tx1"/>
          </a:fontRef>
        </p:style>
      </p:cxnSp>
      <p:grpSp>
        <p:nvGrpSpPr>
          <p:cNvPr id="115" name="Group 114">
            <a:extLst>
              <a:ext uri="{FF2B5EF4-FFF2-40B4-BE49-F238E27FC236}">
                <a16:creationId xmlns:a16="http://schemas.microsoft.com/office/drawing/2014/main" id="{A126EACD-98F9-4C6A-9DD3-26152F0EC871}"/>
              </a:ext>
            </a:extLst>
          </p:cNvPr>
          <p:cNvGrpSpPr/>
          <p:nvPr userDrawn="1"/>
        </p:nvGrpSpPr>
        <p:grpSpPr>
          <a:xfrm>
            <a:off x="399717" y="1827566"/>
            <a:ext cx="11618537" cy="4442175"/>
            <a:chOff x="244079" y="1806040"/>
            <a:chExt cx="10858115" cy="4442174"/>
          </a:xfrm>
        </p:grpSpPr>
        <p:cxnSp>
          <p:nvCxnSpPr>
            <p:cNvPr id="118" name="Straight Connector 117">
              <a:extLst>
                <a:ext uri="{FF2B5EF4-FFF2-40B4-BE49-F238E27FC236}">
                  <a16:creationId xmlns:a16="http://schemas.microsoft.com/office/drawing/2014/main" id="{95787052-BDD4-4A92-A282-9BB5D941EA01}"/>
                </a:ext>
              </a:extLst>
            </p:cNvPr>
            <p:cNvCxnSpPr>
              <a:cxnSpLocks/>
            </p:cNvCxnSpPr>
            <p:nvPr userDrawn="1"/>
          </p:nvCxnSpPr>
          <p:spPr>
            <a:xfrm flipH="1" flipV="1">
              <a:off x="244079" y="1806040"/>
              <a:ext cx="4540488" cy="1231307"/>
            </a:xfrm>
            <a:prstGeom prst="line">
              <a:avLst/>
            </a:prstGeom>
            <a:ln w="190500">
              <a:solidFill>
                <a:srgbClr val="006BB1"/>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3F72F0D-3C2C-4455-A0DB-79E19EC976AB}"/>
                </a:ext>
              </a:extLst>
            </p:cNvPr>
            <p:cNvCxnSpPr>
              <a:cxnSpLocks/>
            </p:cNvCxnSpPr>
            <p:nvPr userDrawn="1"/>
          </p:nvCxnSpPr>
          <p:spPr>
            <a:xfrm flipH="1">
              <a:off x="485181" y="4182699"/>
              <a:ext cx="4603951" cy="2031454"/>
            </a:xfrm>
            <a:prstGeom prst="line">
              <a:avLst/>
            </a:prstGeom>
            <a:ln w="193675">
              <a:solidFill>
                <a:srgbClr val="006BB1"/>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4F5459-884B-4F5C-9295-289BB17BC020}"/>
                </a:ext>
              </a:extLst>
            </p:cNvPr>
            <p:cNvCxnSpPr>
              <a:cxnSpLocks/>
            </p:cNvCxnSpPr>
            <p:nvPr userDrawn="1"/>
          </p:nvCxnSpPr>
          <p:spPr>
            <a:xfrm>
              <a:off x="6414259" y="4249404"/>
              <a:ext cx="4687935" cy="1998810"/>
            </a:xfrm>
            <a:prstGeom prst="line">
              <a:avLst/>
            </a:prstGeom>
            <a:ln w="193675">
              <a:solidFill>
                <a:srgbClr val="006BB1"/>
              </a:solidFill>
            </a:ln>
          </p:spPr>
          <p:style>
            <a:lnRef idx="1">
              <a:schemeClr val="accent1"/>
            </a:lnRef>
            <a:fillRef idx="0">
              <a:schemeClr val="accent1"/>
            </a:fillRef>
            <a:effectRef idx="0">
              <a:schemeClr val="accent1"/>
            </a:effectRef>
            <a:fontRef idx="minor">
              <a:schemeClr val="tx1"/>
            </a:fontRef>
          </p:style>
        </p:cxnSp>
      </p:grpSp>
      <p:cxnSp>
        <p:nvCxnSpPr>
          <p:cNvPr id="47" name="Straight Connector 46">
            <a:extLst>
              <a:ext uri="{FF2B5EF4-FFF2-40B4-BE49-F238E27FC236}">
                <a16:creationId xmlns:a16="http://schemas.microsoft.com/office/drawing/2014/main" id="{515D6A37-3215-48AE-A0FA-845B4E20EC8E}"/>
              </a:ext>
            </a:extLst>
          </p:cNvPr>
          <p:cNvCxnSpPr>
            <a:cxnSpLocks/>
          </p:cNvCxnSpPr>
          <p:nvPr userDrawn="1"/>
        </p:nvCxnSpPr>
        <p:spPr>
          <a:xfrm flipV="1">
            <a:off x="6236860" y="228791"/>
            <a:ext cx="1" cy="2722117"/>
          </a:xfrm>
          <a:prstGeom prst="line">
            <a:avLst/>
          </a:prstGeom>
          <a:ln w="193675">
            <a:solidFill>
              <a:srgbClr val="006BB1"/>
            </a:solidFill>
          </a:ln>
        </p:spPr>
        <p:style>
          <a:lnRef idx="1">
            <a:schemeClr val="accent1"/>
          </a:lnRef>
          <a:fillRef idx="0">
            <a:schemeClr val="accent1"/>
          </a:fillRef>
          <a:effectRef idx="0">
            <a:schemeClr val="accent1"/>
          </a:effectRef>
          <a:fontRef idx="minor">
            <a:schemeClr val="tx1"/>
          </a:fontRef>
        </p:style>
      </p:cxnSp>
      <p:sp>
        <p:nvSpPr>
          <p:cNvPr id="61" name="Oval 60">
            <a:extLst>
              <a:ext uri="{FF2B5EF4-FFF2-40B4-BE49-F238E27FC236}">
                <a16:creationId xmlns:a16="http://schemas.microsoft.com/office/drawing/2014/main" id="{405A71AC-5BA9-41F5-8298-0986C2216005}"/>
              </a:ext>
            </a:extLst>
          </p:cNvPr>
          <p:cNvSpPr/>
          <p:nvPr userDrawn="1"/>
        </p:nvSpPr>
        <p:spPr>
          <a:xfrm>
            <a:off x="4796905" y="2034253"/>
            <a:ext cx="2672591" cy="267293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62" name="TextBox 61">
            <a:extLst>
              <a:ext uri="{FF2B5EF4-FFF2-40B4-BE49-F238E27FC236}">
                <a16:creationId xmlns:a16="http://schemas.microsoft.com/office/drawing/2014/main" id="{4CDCABF5-98A4-44A8-A3C2-C56720B8C6D7}"/>
              </a:ext>
            </a:extLst>
          </p:cNvPr>
          <p:cNvSpPr txBox="1"/>
          <p:nvPr userDrawn="1"/>
        </p:nvSpPr>
        <p:spPr>
          <a:xfrm>
            <a:off x="4735084" y="3031916"/>
            <a:ext cx="2734411" cy="584775"/>
          </a:xfrm>
          <a:prstGeom prst="rect">
            <a:avLst/>
          </a:prstGeom>
          <a:noFill/>
        </p:spPr>
        <p:txBody>
          <a:bodyPr wrap="square" rtlCol="0">
            <a:spAutoFit/>
          </a:bodyPr>
          <a:lstStyle/>
          <a:p>
            <a:pPr algn="ctr"/>
            <a:r>
              <a:rPr lang="en-US" sz="3200" b="1" dirty="0">
                <a:solidFill>
                  <a:srgbClr val="006BB1"/>
                </a:solidFill>
                <a:latin typeface="Arial" panose="020B0604020202020204" pitchFamily="34" charset="0"/>
                <a:cs typeface="Arial" panose="020B0604020202020204" pitchFamily="34" charset="0"/>
              </a:rPr>
              <a:t>Conclusions</a:t>
            </a:r>
          </a:p>
        </p:txBody>
      </p:sp>
      <p:sp>
        <p:nvSpPr>
          <p:cNvPr id="190" name="Text Placeholder 47">
            <a:extLst>
              <a:ext uri="{FF2B5EF4-FFF2-40B4-BE49-F238E27FC236}">
                <a16:creationId xmlns:a16="http://schemas.microsoft.com/office/drawing/2014/main" id="{09BE13E9-3587-44A6-802E-F85EC58B78DB}"/>
              </a:ext>
            </a:extLst>
          </p:cNvPr>
          <p:cNvSpPr>
            <a:spLocks noGrp="1"/>
          </p:cNvSpPr>
          <p:nvPr userDrawn="1">
            <p:ph type="body" sz="quarter" idx="17"/>
          </p:nvPr>
        </p:nvSpPr>
        <p:spPr>
          <a:xfrm>
            <a:off x="3627151" y="5428112"/>
            <a:ext cx="4943071" cy="775101"/>
          </a:xfrm>
        </p:spPr>
        <p:txBody>
          <a:bodyPr anchor="ctr">
            <a:noAutofit/>
          </a:bodyPr>
          <a:lstStyle>
            <a:lvl1pPr marL="0" indent="0" algn="l">
              <a:buFontTx/>
              <a:buNone/>
              <a:defRPr sz="1100"/>
            </a:lvl1pPr>
            <a:lvl2pPr marL="457189" indent="0" algn="ctr">
              <a:buFontTx/>
              <a:buNone/>
              <a:defRPr sz="1600"/>
            </a:lvl2pPr>
            <a:lvl3pPr marL="914377" indent="0" algn="ctr">
              <a:buFontTx/>
              <a:buNone/>
              <a:defRPr sz="1600"/>
            </a:lvl3pPr>
            <a:lvl4pPr marL="1371566" indent="0" algn="ctr">
              <a:buFontTx/>
              <a:buNone/>
              <a:defRPr sz="1600"/>
            </a:lvl4pPr>
            <a:lvl5pPr marL="1828754" indent="0" algn="ctr">
              <a:buFontTx/>
              <a:buNone/>
              <a:defRPr sz="1600"/>
            </a:lvl5pPr>
          </a:lstStyle>
          <a:p>
            <a:pPr lvl="0"/>
            <a:r>
              <a:rPr lang="en-US"/>
              <a:t>Click to edit Master text styles</a:t>
            </a:r>
          </a:p>
        </p:txBody>
      </p:sp>
    </p:spTree>
    <p:extLst>
      <p:ext uri="{BB962C8B-B14F-4D97-AF65-F5344CB8AC3E}">
        <p14:creationId xmlns:p14="http://schemas.microsoft.com/office/powerpoint/2010/main" val="387839688"/>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guide id="3" pos="360">
          <p15:clr>
            <a:srgbClr val="FBAE4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Six Conclusions">
    <p:bg>
      <p:bgPr>
        <a:solidFill>
          <a:srgbClr val="006BB1"/>
        </a:solidFill>
        <a:effectLst/>
      </p:bgPr>
    </p:bg>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996B88BB-23EA-45A7-B4A4-22F941D1E77F}"/>
              </a:ext>
            </a:extLst>
          </p:cNvPr>
          <p:cNvSpPr/>
          <p:nvPr userDrawn="1"/>
        </p:nvSpPr>
        <p:spPr>
          <a:xfrm>
            <a:off x="635000" y="496052"/>
            <a:ext cx="5441637" cy="1763715"/>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4" name="Rectangle: Rounded Corners 23">
            <a:extLst>
              <a:ext uri="{FF2B5EF4-FFF2-40B4-BE49-F238E27FC236}">
                <a16:creationId xmlns:a16="http://schemas.microsoft.com/office/drawing/2014/main" id="{7A5EAEB5-EFAF-4833-A5C7-F98310C763ED}"/>
              </a:ext>
            </a:extLst>
          </p:cNvPr>
          <p:cNvSpPr/>
          <p:nvPr userDrawn="1"/>
        </p:nvSpPr>
        <p:spPr>
          <a:xfrm>
            <a:off x="6278486" y="496052"/>
            <a:ext cx="5278513" cy="1763715"/>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5" name="Rectangle: Rounded Corners 24">
            <a:extLst>
              <a:ext uri="{FF2B5EF4-FFF2-40B4-BE49-F238E27FC236}">
                <a16:creationId xmlns:a16="http://schemas.microsoft.com/office/drawing/2014/main" id="{8C567F02-6541-43B5-8EC4-103928948769}"/>
              </a:ext>
            </a:extLst>
          </p:cNvPr>
          <p:cNvSpPr/>
          <p:nvPr userDrawn="1"/>
        </p:nvSpPr>
        <p:spPr>
          <a:xfrm>
            <a:off x="635000" y="2430961"/>
            <a:ext cx="5433168" cy="1763715"/>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6" name="Rectangle: Rounded Corners 25">
            <a:extLst>
              <a:ext uri="{FF2B5EF4-FFF2-40B4-BE49-F238E27FC236}">
                <a16:creationId xmlns:a16="http://schemas.microsoft.com/office/drawing/2014/main" id="{D77514FF-6501-4F4C-92CE-7629892B50FC}"/>
              </a:ext>
            </a:extLst>
          </p:cNvPr>
          <p:cNvSpPr/>
          <p:nvPr userDrawn="1"/>
        </p:nvSpPr>
        <p:spPr>
          <a:xfrm>
            <a:off x="6270018" y="2430961"/>
            <a:ext cx="5286983" cy="1763715"/>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7" name="Rectangle: Rounded Corners 26">
            <a:extLst>
              <a:ext uri="{FF2B5EF4-FFF2-40B4-BE49-F238E27FC236}">
                <a16:creationId xmlns:a16="http://schemas.microsoft.com/office/drawing/2014/main" id="{12590D0B-4205-4932-A4A9-1DD6A0BCA135}"/>
              </a:ext>
            </a:extLst>
          </p:cNvPr>
          <p:cNvSpPr/>
          <p:nvPr userDrawn="1"/>
        </p:nvSpPr>
        <p:spPr>
          <a:xfrm>
            <a:off x="635001" y="4405661"/>
            <a:ext cx="5431659" cy="1763715"/>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8" name="Rectangle: Rounded Corners 27">
            <a:extLst>
              <a:ext uri="{FF2B5EF4-FFF2-40B4-BE49-F238E27FC236}">
                <a16:creationId xmlns:a16="http://schemas.microsoft.com/office/drawing/2014/main" id="{82BF643D-174C-4C7D-8C90-6B0CE9249A29}"/>
              </a:ext>
            </a:extLst>
          </p:cNvPr>
          <p:cNvSpPr/>
          <p:nvPr userDrawn="1"/>
        </p:nvSpPr>
        <p:spPr>
          <a:xfrm>
            <a:off x="6268509" y="4405661"/>
            <a:ext cx="5288492" cy="1763715"/>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4" name="Freeform: Shape 33">
            <a:extLst>
              <a:ext uri="{FF2B5EF4-FFF2-40B4-BE49-F238E27FC236}">
                <a16:creationId xmlns:a16="http://schemas.microsoft.com/office/drawing/2014/main" id="{A2D17B2C-B914-4B11-8FE2-C286EFE76D96}"/>
              </a:ext>
            </a:extLst>
          </p:cNvPr>
          <p:cNvSpPr/>
          <p:nvPr userDrawn="1"/>
        </p:nvSpPr>
        <p:spPr>
          <a:xfrm>
            <a:off x="6282717" y="1471199"/>
            <a:ext cx="1432531" cy="790336"/>
          </a:xfrm>
          <a:custGeom>
            <a:avLst/>
            <a:gdLst>
              <a:gd name="connsiteX0" fmla="*/ 0 w 1432530"/>
              <a:gd name="connsiteY0" fmla="*/ 0 h 790336"/>
              <a:gd name="connsiteX1" fmla="*/ 85682 w 1432530"/>
              <a:gd name="connsiteY1" fmla="*/ 4327 h 790336"/>
              <a:gd name="connsiteX2" fmla="*/ 1339152 w 1432530"/>
              <a:gd name="connsiteY2" fmla="*/ 669145 h 790336"/>
              <a:gd name="connsiteX3" fmla="*/ 1432530 w 1432530"/>
              <a:gd name="connsiteY3" fmla="*/ 790336 h 790336"/>
              <a:gd name="connsiteX4" fmla="*/ 621502 w 1432530"/>
              <a:gd name="connsiteY4" fmla="*/ 790336 h 790336"/>
              <a:gd name="connsiteX5" fmla="*/ 564913 w 1432530"/>
              <a:gd name="connsiteY5" fmla="*/ 753411 h 790336"/>
              <a:gd name="connsiteX6" fmla="*/ 30036 w 1432530"/>
              <a:gd name="connsiteY6" fmla="*/ 577070 h 790336"/>
              <a:gd name="connsiteX7" fmla="*/ 0 w 1432530"/>
              <a:gd name="connsiteY7" fmla="*/ 575553 h 79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2530" h="790336">
                <a:moveTo>
                  <a:pt x="0" y="0"/>
                </a:moveTo>
                <a:lnTo>
                  <a:pt x="85682" y="4327"/>
                </a:lnTo>
                <a:cubicBezTo>
                  <a:pt x="587755" y="55315"/>
                  <a:pt x="1031675" y="303017"/>
                  <a:pt x="1339152" y="669145"/>
                </a:cubicBezTo>
                <a:lnTo>
                  <a:pt x="1432530" y="790336"/>
                </a:lnTo>
                <a:lnTo>
                  <a:pt x="621502" y="790336"/>
                </a:lnTo>
                <a:lnTo>
                  <a:pt x="564913" y="753411"/>
                </a:lnTo>
                <a:cubicBezTo>
                  <a:pt x="405317" y="658650"/>
                  <a:pt x="223914" y="596760"/>
                  <a:pt x="30036" y="577070"/>
                </a:cubicBezTo>
                <a:lnTo>
                  <a:pt x="0" y="57555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9" name="Freeform: Shape 28">
            <a:extLst>
              <a:ext uri="{FF2B5EF4-FFF2-40B4-BE49-F238E27FC236}">
                <a16:creationId xmlns:a16="http://schemas.microsoft.com/office/drawing/2014/main" id="{046FBB24-797C-40B3-98D2-49AB91AAFA7F}"/>
              </a:ext>
            </a:extLst>
          </p:cNvPr>
          <p:cNvSpPr/>
          <p:nvPr userDrawn="1"/>
        </p:nvSpPr>
        <p:spPr>
          <a:xfrm rot="16200000">
            <a:off x="4970091" y="1153218"/>
            <a:ext cx="779076" cy="1434021"/>
          </a:xfrm>
          <a:custGeom>
            <a:avLst/>
            <a:gdLst>
              <a:gd name="connsiteX0" fmla="*/ 779076 w 779076"/>
              <a:gd name="connsiteY0" fmla="*/ 1434021 h 1434021"/>
              <a:gd name="connsiteX1" fmla="*/ 206579 w 779076"/>
              <a:gd name="connsiteY1" fmla="*/ 1434021 h 1434021"/>
              <a:gd name="connsiteX2" fmla="*/ 205213 w 779076"/>
              <a:gd name="connsiteY2" fmla="*/ 1405163 h 1434021"/>
              <a:gd name="connsiteX3" fmla="*/ 32080 w 779076"/>
              <a:gd name="connsiteY3" fmla="*/ 868830 h 1434021"/>
              <a:gd name="connsiteX4" fmla="*/ 0 w 779076"/>
              <a:gd name="connsiteY4" fmla="*/ 819013 h 1434021"/>
              <a:gd name="connsiteX5" fmla="*/ 0 w 779076"/>
              <a:gd name="connsiteY5" fmla="*/ 0 h 1434021"/>
              <a:gd name="connsiteX6" fmla="*/ 117761 w 779076"/>
              <a:gd name="connsiteY6" fmla="*/ 91864 h 1434021"/>
              <a:gd name="connsiteX7" fmla="*/ 775094 w 779076"/>
              <a:gd name="connsiteY7" fmla="*/ 1349931 h 1434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9076" h="1434021">
                <a:moveTo>
                  <a:pt x="779076" y="1434021"/>
                </a:moveTo>
                <a:lnTo>
                  <a:pt x="206579" y="1434021"/>
                </a:lnTo>
                <a:lnTo>
                  <a:pt x="205213" y="1405163"/>
                </a:lnTo>
                <a:cubicBezTo>
                  <a:pt x="186725" y="1210932"/>
                  <a:pt x="125904" y="1029044"/>
                  <a:pt x="32080" y="868830"/>
                </a:cubicBezTo>
                <a:lnTo>
                  <a:pt x="0" y="819013"/>
                </a:lnTo>
                <a:lnTo>
                  <a:pt x="0" y="0"/>
                </a:lnTo>
                <a:lnTo>
                  <a:pt x="117761" y="91864"/>
                </a:lnTo>
                <a:cubicBezTo>
                  <a:pt x="482013" y="401493"/>
                  <a:pt x="727220" y="846944"/>
                  <a:pt x="775094" y="134993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5" name="Freeform: Shape 34">
            <a:extLst>
              <a:ext uri="{FF2B5EF4-FFF2-40B4-BE49-F238E27FC236}">
                <a16:creationId xmlns:a16="http://schemas.microsoft.com/office/drawing/2014/main" id="{B9EC18EE-6217-4C8A-AE6E-1AE4AE053454}"/>
              </a:ext>
            </a:extLst>
          </p:cNvPr>
          <p:cNvSpPr/>
          <p:nvPr userDrawn="1"/>
        </p:nvSpPr>
        <p:spPr>
          <a:xfrm rot="10800000">
            <a:off x="4611383" y="4392346"/>
            <a:ext cx="1465255" cy="839391"/>
          </a:xfrm>
          <a:custGeom>
            <a:avLst/>
            <a:gdLst>
              <a:gd name="connsiteX0" fmla="*/ 1465255 w 1465255"/>
              <a:gd name="connsiteY0" fmla="*/ 839390 h 839390"/>
              <a:gd name="connsiteX1" fmla="*/ 679426 w 1465255"/>
              <a:gd name="connsiteY1" fmla="*/ 839390 h 839390"/>
              <a:gd name="connsiteX2" fmla="*/ 661496 w 1465255"/>
              <a:gd name="connsiteY2" fmla="*/ 825287 h 839390"/>
              <a:gd name="connsiteX3" fmla="*/ 30196 w 1465255"/>
              <a:gd name="connsiteY3" fmla="*/ 584973 h 839390"/>
              <a:gd name="connsiteX4" fmla="*/ 0 w 1465255"/>
              <a:gd name="connsiteY4" fmla="*/ 583435 h 839390"/>
              <a:gd name="connsiteX5" fmla="*/ 0 w 1465255"/>
              <a:gd name="connsiteY5" fmla="*/ 0 h 839390"/>
              <a:gd name="connsiteX6" fmla="*/ 86140 w 1465255"/>
              <a:gd name="connsiteY6" fmla="*/ 4386 h 839390"/>
              <a:gd name="connsiteX7" fmla="*/ 1444160 w 1465255"/>
              <a:gd name="connsiteY7" fmla="*/ 806360 h 839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65255" h="839390">
                <a:moveTo>
                  <a:pt x="1465255" y="839390"/>
                </a:moveTo>
                <a:lnTo>
                  <a:pt x="679426" y="839390"/>
                </a:lnTo>
                <a:lnTo>
                  <a:pt x="661496" y="825287"/>
                </a:lnTo>
                <a:cubicBezTo>
                  <a:pt x="479930" y="694477"/>
                  <a:pt x="264094" y="608924"/>
                  <a:pt x="30196" y="584973"/>
                </a:cubicBezTo>
                <a:lnTo>
                  <a:pt x="0" y="583435"/>
                </a:lnTo>
                <a:lnTo>
                  <a:pt x="0" y="0"/>
                </a:lnTo>
                <a:lnTo>
                  <a:pt x="86140" y="4386"/>
                </a:lnTo>
                <a:cubicBezTo>
                  <a:pt x="646981" y="61815"/>
                  <a:pt x="1135643" y="365427"/>
                  <a:pt x="1444160" y="80636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6" name="Freeform: Shape 35">
            <a:extLst>
              <a:ext uri="{FF2B5EF4-FFF2-40B4-BE49-F238E27FC236}">
                <a16:creationId xmlns:a16="http://schemas.microsoft.com/office/drawing/2014/main" id="{587EDBB1-76C9-44B7-B239-692909FFEE1B}"/>
              </a:ext>
            </a:extLst>
          </p:cNvPr>
          <p:cNvSpPr/>
          <p:nvPr userDrawn="1"/>
        </p:nvSpPr>
        <p:spPr>
          <a:xfrm rot="5400000">
            <a:off x="6593061" y="4079769"/>
            <a:ext cx="798803" cy="1447907"/>
          </a:xfrm>
          <a:custGeom>
            <a:avLst/>
            <a:gdLst>
              <a:gd name="connsiteX0" fmla="*/ 0 w 798803"/>
              <a:gd name="connsiteY0" fmla="*/ 802266 h 1447907"/>
              <a:gd name="connsiteX1" fmla="*/ 0 w 798803"/>
              <a:gd name="connsiteY1" fmla="*/ 0 h 1447907"/>
              <a:gd name="connsiteX2" fmla="*/ 11769 w 798803"/>
              <a:gd name="connsiteY2" fmla="*/ 7679 h 1447907"/>
              <a:gd name="connsiteX3" fmla="*/ 794821 w 798803"/>
              <a:gd name="connsiteY3" fmla="*/ 1363817 h 1447907"/>
              <a:gd name="connsiteX4" fmla="*/ 798803 w 798803"/>
              <a:gd name="connsiteY4" fmla="*/ 1447907 h 1447907"/>
              <a:gd name="connsiteX5" fmla="*/ 226305 w 798803"/>
              <a:gd name="connsiteY5" fmla="*/ 1447907 h 1447907"/>
              <a:gd name="connsiteX6" fmla="*/ 224939 w 798803"/>
              <a:gd name="connsiteY6" fmla="*/ 1419049 h 1447907"/>
              <a:gd name="connsiteX7" fmla="*/ 51807 w 798803"/>
              <a:gd name="connsiteY7" fmla="*/ 882716 h 1447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8803" h="1447907">
                <a:moveTo>
                  <a:pt x="0" y="802266"/>
                </a:moveTo>
                <a:lnTo>
                  <a:pt x="0" y="0"/>
                </a:lnTo>
                <a:lnTo>
                  <a:pt x="11769" y="7679"/>
                </a:lnTo>
                <a:cubicBezTo>
                  <a:pt x="444813" y="317100"/>
                  <a:pt x="741628" y="804943"/>
                  <a:pt x="794821" y="1363817"/>
                </a:cubicBezTo>
                <a:lnTo>
                  <a:pt x="798803" y="1447907"/>
                </a:lnTo>
                <a:lnTo>
                  <a:pt x="226305" y="1447907"/>
                </a:lnTo>
                <a:lnTo>
                  <a:pt x="224939" y="1419049"/>
                </a:lnTo>
                <a:cubicBezTo>
                  <a:pt x="206452" y="1224818"/>
                  <a:pt x="145631" y="1042930"/>
                  <a:pt x="51807" y="882716"/>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userDrawn="1">
            <p:ph type="sldNum" sz="quarter" idx="12"/>
          </p:nvPr>
        </p:nvSpPr>
        <p:spPr/>
        <p:txBody>
          <a:bodyPr/>
          <a:lstStyle>
            <a:lvl1pPr>
              <a:defRPr>
                <a:solidFill>
                  <a:schemeClr val="bg1"/>
                </a:solidFill>
              </a:defRPr>
            </a:lvl1pPr>
          </a:lstStyle>
          <a:p>
            <a:fld id="{DA69A137-6BDB-47B4-8B9B-30BE2E63C07B}" type="slidenum">
              <a:rPr lang="en-US" smtClean="0"/>
              <a:pPr/>
              <a:t>‹#›</a:t>
            </a:fld>
            <a:endParaRPr lang="en-US" dirty="0"/>
          </a:p>
        </p:txBody>
      </p:sp>
      <p:sp>
        <p:nvSpPr>
          <p:cNvPr id="48" name="Text Placeholder 47">
            <a:extLst>
              <a:ext uri="{FF2B5EF4-FFF2-40B4-BE49-F238E27FC236}">
                <a16:creationId xmlns:a16="http://schemas.microsoft.com/office/drawing/2014/main" id="{4127AE8F-B44F-4724-BB5B-452764DFBF20}"/>
              </a:ext>
            </a:extLst>
          </p:cNvPr>
          <p:cNvSpPr>
            <a:spLocks noGrp="1"/>
          </p:cNvSpPr>
          <p:nvPr userDrawn="1">
            <p:ph type="body" sz="quarter" idx="13"/>
          </p:nvPr>
        </p:nvSpPr>
        <p:spPr>
          <a:xfrm>
            <a:off x="883133" y="726383"/>
            <a:ext cx="2884907" cy="1299579"/>
          </a:xfrm>
        </p:spPr>
        <p:txBody>
          <a:bodyPr anchor="ctr">
            <a:noAutofit/>
          </a:bodyPr>
          <a:lstStyle>
            <a:lvl1pPr marL="0" indent="0" algn="l">
              <a:buFontTx/>
              <a:buNone/>
              <a:defRPr sz="1200"/>
            </a:lvl1pPr>
            <a:lvl2pPr marL="457189" indent="0" algn="ctr">
              <a:buFontTx/>
              <a:buNone/>
              <a:defRPr sz="1600"/>
            </a:lvl2pPr>
            <a:lvl3pPr marL="914377" indent="0" algn="ctr">
              <a:buFontTx/>
              <a:buNone/>
              <a:defRPr sz="1600"/>
            </a:lvl3pPr>
            <a:lvl4pPr marL="1371566" indent="0" algn="ctr">
              <a:buFontTx/>
              <a:buNone/>
              <a:defRPr sz="1600"/>
            </a:lvl4pPr>
            <a:lvl5pPr marL="1828754" indent="0" algn="ctr">
              <a:buFontTx/>
              <a:buNone/>
              <a:defRPr sz="1600"/>
            </a:lvl5pPr>
          </a:lstStyle>
          <a:p>
            <a:pPr lvl="0"/>
            <a:r>
              <a:rPr lang="en-US"/>
              <a:t>Click to edit Master text styles</a:t>
            </a:r>
          </a:p>
        </p:txBody>
      </p:sp>
      <p:sp>
        <p:nvSpPr>
          <p:cNvPr id="49" name="Text Placeholder 47">
            <a:extLst>
              <a:ext uri="{FF2B5EF4-FFF2-40B4-BE49-F238E27FC236}">
                <a16:creationId xmlns:a16="http://schemas.microsoft.com/office/drawing/2014/main" id="{BA8DCEBF-A405-44C7-92F0-885D34291C08}"/>
              </a:ext>
            </a:extLst>
          </p:cNvPr>
          <p:cNvSpPr>
            <a:spLocks noGrp="1"/>
          </p:cNvSpPr>
          <p:nvPr userDrawn="1">
            <p:ph type="body" sz="quarter" idx="14"/>
          </p:nvPr>
        </p:nvSpPr>
        <p:spPr>
          <a:xfrm>
            <a:off x="8361522" y="726385"/>
            <a:ext cx="2969767" cy="1299577"/>
          </a:xfrm>
        </p:spPr>
        <p:txBody>
          <a:bodyPr anchor="ctr">
            <a:noAutofit/>
          </a:bodyPr>
          <a:lstStyle>
            <a:lvl1pPr marL="0" indent="0" algn="r">
              <a:buFontTx/>
              <a:buNone/>
              <a:defRPr sz="1100"/>
            </a:lvl1pPr>
            <a:lvl2pPr marL="457189" indent="0" algn="ctr">
              <a:buFontTx/>
              <a:buNone/>
              <a:defRPr sz="1600"/>
            </a:lvl2pPr>
            <a:lvl3pPr marL="914377" indent="0" algn="ctr">
              <a:buFontTx/>
              <a:buNone/>
              <a:defRPr sz="1600"/>
            </a:lvl3pPr>
            <a:lvl4pPr marL="1371566" indent="0" algn="ctr">
              <a:buFontTx/>
              <a:buNone/>
              <a:defRPr sz="1600"/>
            </a:lvl4pPr>
            <a:lvl5pPr marL="1828754" indent="0" algn="ctr">
              <a:buFontTx/>
              <a:buNone/>
              <a:defRPr sz="1600"/>
            </a:lvl5pPr>
          </a:lstStyle>
          <a:p>
            <a:pPr lvl="0"/>
            <a:r>
              <a:rPr lang="en-US"/>
              <a:t>Click to edit Master text styles</a:t>
            </a:r>
          </a:p>
        </p:txBody>
      </p:sp>
      <p:sp>
        <p:nvSpPr>
          <p:cNvPr id="50" name="Text Placeholder 47">
            <a:extLst>
              <a:ext uri="{FF2B5EF4-FFF2-40B4-BE49-F238E27FC236}">
                <a16:creationId xmlns:a16="http://schemas.microsoft.com/office/drawing/2014/main" id="{60FB55BE-42EE-4153-B0D1-088B7D34509B}"/>
              </a:ext>
            </a:extLst>
          </p:cNvPr>
          <p:cNvSpPr>
            <a:spLocks noGrp="1"/>
          </p:cNvSpPr>
          <p:nvPr userDrawn="1">
            <p:ph type="body" sz="quarter" idx="15"/>
          </p:nvPr>
        </p:nvSpPr>
        <p:spPr>
          <a:xfrm>
            <a:off x="8050007" y="4579848"/>
            <a:ext cx="3281280" cy="1403005"/>
          </a:xfrm>
        </p:spPr>
        <p:txBody>
          <a:bodyPr anchor="ctr">
            <a:noAutofit/>
          </a:bodyPr>
          <a:lstStyle>
            <a:lvl1pPr marL="0" indent="0" algn="r">
              <a:buFontTx/>
              <a:buNone/>
              <a:defRPr sz="1100"/>
            </a:lvl1pPr>
            <a:lvl2pPr marL="457189" indent="0" algn="ctr">
              <a:buFontTx/>
              <a:buNone/>
              <a:defRPr sz="1600"/>
            </a:lvl2pPr>
            <a:lvl3pPr marL="914377" indent="0" algn="ctr">
              <a:buFontTx/>
              <a:buNone/>
              <a:defRPr sz="1600"/>
            </a:lvl3pPr>
            <a:lvl4pPr marL="1371566" indent="0" algn="ctr">
              <a:buFontTx/>
              <a:buNone/>
              <a:defRPr sz="1600"/>
            </a:lvl4pPr>
            <a:lvl5pPr marL="1828754" indent="0" algn="ctr">
              <a:buFontTx/>
              <a:buNone/>
              <a:defRPr sz="1600"/>
            </a:lvl5pPr>
          </a:lstStyle>
          <a:p>
            <a:pPr lvl="0"/>
            <a:r>
              <a:rPr lang="en-US"/>
              <a:t>Click to edit Master text styles</a:t>
            </a:r>
          </a:p>
        </p:txBody>
      </p:sp>
      <p:sp>
        <p:nvSpPr>
          <p:cNvPr id="51" name="Text Placeholder 47">
            <a:extLst>
              <a:ext uri="{FF2B5EF4-FFF2-40B4-BE49-F238E27FC236}">
                <a16:creationId xmlns:a16="http://schemas.microsoft.com/office/drawing/2014/main" id="{91F324D8-41B6-4920-BB21-84DADB37590F}"/>
              </a:ext>
            </a:extLst>
          </p:cNvPr>
          <p:cNvSpPr>
            <a:spLocks noGrp="1"/>
          </p:cNvSpPr>
          <p:nvPr userDrawn="1">
            <p:ph type="body" sz="quarter" idx="16"/>
          </p:nvPr>
        </p:nvSpPr>
        <p:spPr>
          <a:xfrm>
            <a:off x="883133" y="4579848"/>
            <a:ext cx="3092247" cy="1403005"/>
          </a:xfrm>
        </p:spPr>
        <p:txBody>
          <a:bodyPr anchor="ctr">
            <a:noAutofit/>
          </a:bodyPr>
          <a:lstStyle>
            <a:lvl1pPr marL="0" indent="0" algn="l">
              <a:buFontTx/>
              <a:buNone/>
              <a:defRPr sz="1200"/>
            </a:lvl1pPr>
            <a:lvl2pPr marL="457189" indent="0" algn="ctr">
              <a:buFontTx/>
              <a:buNone/>
              <a:defRPr sz="1600"/>
            </a:lvl2pPr>
            <a:lvl3pPr marL="914377" indent="0" algn="ctr">
              <a:buFontTx/>
              <a:buNone/>
              <a:defRPr sz="1600"/>
            </a:lvl3pPr>
            <a:lvl4pPr marL="1371566" indent="0" algn="ctr">
              <a:buFontTx/>
              <a:buNone/>
              <a:defRPr sz="1600"/>
            </a:lvl4pPr>
            <a:lvl5pPr marL="1828754" indent="0" algn="ctr">
              <a:buFontTx/>
              <a:buNone/>
              <a:defRPr sz="1600"/>
            </a:lvl5pPr>
          </a:lstStyle>
          <a:p>
            <a:pPr lvl="0"/>
            <a:r>
              <a:rPr lang="en-US"/>
              <a:t>Click to edit Master text styles</a:t>
            </a:r>
          </a:p>
        </p:txBody>
      </p:sp>
      <p:sp>
        <p:nvSpPr>
          <p:cNvPr id="45" name="Freeform: Shape 44">
            <a:extLst>
              <a:ext uri="{FF2B5EF4-FFF2-40B4-BE49-F238E27FC236}">
                <a16:creationId xmlns:a16="http://schemas.microsoft.com/office/drawing/2014/main" id="{308B1D75-AE5E-4F8D-8229-978BCA2B1C67}"/>
              </a:ext>
            </a:extLst>
          </p:cNvPr>
          <p:cNvSpPr/>
          <p:nvPr userDrawn="1"/>
        </p:nvSpPr>
        <p:spPr>
          <a:xfrm rot="13643105">
            <a:off x="4001717" y="2428738"/>
            <a:ext cx="1712073" cy="1741695"/>
          </a:xfrm>
          <a:custGeom>
            <a:avLst/>
            <a:gdLst>
              <a:gd name="connsiteX0" fmla="*/ 1242035 w 1712073"/>
              <a:gd name="connsiteY0" fmla="*/ 1741694 h 1741694"/>
              <a:gd name="connsiteX1" fmla="*/ 1231893 w 1712073"/>
              <a:gd name="connsiteY1" fmla="*/ 1741694 h 1741694"/>
              <a:gd name="connsiteX2" fmla="*/ 1230520 w 1712073"/>
              <a:gd name="connsiteY2" fmla="*/ 1712441 h 1741694"/>
              <a:gd name="connsiteX3" fmla="*/ 94736 w 1712073"/>
              <a:gd name="connsiteY3" fmla="*/ 474727 h 1741694"/>
              <a:gd name="connsiteX4" fmla="*/ 0 w 1712073"/>
              <a:gd name="connsiteY4" fmla="*/ 471356 h 1741694"/>
              <a:gd name="connsiteX5" fmla="*/ 433661 w 1712073"/>
              <a:gd name="connsiteY5" fmla="*/ 0 h 1741694"/>
              <a:gd name="connsiteX6" fmla="*/ 503655 w 1712073"/>
              <a:gd name="connsiteY6" fmla="*/ 20306 h 1741694"/>
              <a:gd name="connsiteX7" fmla="*/ 1692103 w 1712073"/>
              <a:gd name="connsiteY7" fmla="*/ 1168958 h 1741694"/>
              <a:gd name="connsiteX8" fmla="*/ 1712073 w 1712073"/>
              <a:gd name="connsiteY8" fmla="*/ 1230798 h 1741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12073" h="1741694">
                <a:moveTo>
                  <a:pt x="1242035" y="1741694"/>
                </a:moveTo>
                <a:lnTo>
                  <a:pt x="1231893" y="1741694"/>
                </a:lnTo>
                <a:cubicBezTo>
                  <a:pt x="1231435" y="1731943"/>
                  <a:pt x="1230977" y="1722193"/>
                  <a:pt x="1230520" y="1712441"/>
                </a:cubicBezTo>
                <a:cubicBezTo>
                  <a:pt x="1178478" y="1161146"/>
                  <a:pt x="631808" y="535257"/>
                  <a:pt x="94736" y="474727"/>
                </a:cubicBezTo>
                <a:lnTo>
                  <a:pt x="0" y="471356"/>
                </a:lnTo>
                <a:lnTo>
                  <a:pt x="433661" y="0"/>
                </a:lnTo>
                <a:lnTo>
                  <a:pt x="503655" y="20306"/>
                </a:lnTo>
                <a:cubicBezTo>
                  <a:pt x="1052102" y="200898"/>
                  <a:pt x="1490660" y="626544"/>
                  <a:pt x="1692103" y="1168958"/>
                </a:cubicBezTo>
                <a:lnTo>
                  <a:pt x="1712073" y="123079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53" name="Freeform: Shape 52">
            <a:extLst>
              <a:ext uri="{FF2B5EF4-FFF2-40B4-BE49-F238E27FC236}">
                <a16:creationId xmlns:a16="http://schemas.microsoft.com/office/drawing/2014/main" id="{D7D17653-5040-4C44-9B9C-FCAF9C4996F8}"/>
              </a:ext>
            </a:extLst>
          </p:cNvPr>
          <p:cNvSpPr/>
          <p:nvPr userDrawn="1"/>
        </p:nvSpPr>
        <p:spPr>
          <a:xfrm rot="2807514">
            <a:off x="6595345" y="2470749"/>
            <a:ext cx="1752163" cy="1717265"/>
          </a:xfrm>
          <a:custGeom>
            <a:avLst/>
            <a:gdLst>
              <a:gd name="connsiteX0" fmla="*/ 0 w 1752163"/>
              <a:gd name="connsiteY0" fmla="*/ 471356 h 1717265"/>
              <a:gd name="connsiteX1" fmla="*/ 446363 w 1752163"/>
              <a:gd name="connsiteY1" fmla="*/ 0 h 1717265"/>
              <a:gd name="connsiteX2" fmla="*/ 518407 w 1752163"/>
              <a:gd name="connsiteY2" fmla="*/ 20306 h 1717265"/>
              <a:gd name="connsiteX3" fmla="*/ 1741664 w 1752163"/>
              <a:gd name="connsiteY3" fmla="*/ 1168958 h 1717265"/>
              <a:gd name="connsiteX4" fmla="*/ 1752163 w 1752163"/>
              <a:gd name="connsiteY4" fmla="*/ 1200546 h 1717265"/>
              <a:gd name="connsiteX5" fmla="*/ 1266794 w 1752163"/>
              <a:gd name="connsiteY5" fmla="*/ 1717265 h 1717265"/>
              <a:gd name="connsiteX6" fmla="*/ 1266561 w 1752163"/>
              <a:gd name="connsiteY6" fmla="*/ 1712441 h 1717265"/>
              <a:gd name="connsiteX7" fmla="*/ 97511 w 1752163"/>
              <a:gd name="connsiteY7" fmla="*/ 474727 h 1717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52163" h="1717265">
                <a:moveTo>
                  <a:pt x="0" y="471356"/>
                </a:moveTo>
                <a:lnTo>
                  <a:pt x="446363" y="0"/>
                </a:lnTo>
                <a:lnTo>
                  <a:pt x="518407" y="20306"/>
                </a:lnTo>
                <a:cubicBezTo>
                  <a:pt x="1082918" y="200898"/>
                  <a:pt x="1534321" y="626544"/>
                  <a:pt x="1741664" y="1168958"/>
                </a:cubicBezTo>
                <a:lnTo>
                  <a:pt x="1752163" y="1200546"/>
                </a:lnTo>
                <a:lnTo>
                  <a:pt x="1266794" y="1717265"/>
                </a:lnTo>
                <a:lnTo>
                  <a:pt x="1266561" y="1712441"/>
                </a:lnTo>
                <a:cubicBezTo>
                  <a:pt x="1212995" y="1161146"/>
                  <a:pt x="650313" y="535257"/>
                  <a:pt x="97511" y="474727"/>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2" name="Oval 31">
            <a:extLst>
              <a:ext uri="{FF2B5EF4-FFF2-40B4-BE49-F238E27FC236}">
                <a16:creationId xmlns:a16="http://schemas.microsoft.com/office/drawing/2014/main" id="{1E372B63-A329-40CC-B031-8DE4DD6F1F51}"/>
              </a:ext>
            </a:extLst>
          </p:cNvPr>
          <p:cNvSpPr/>
          <p:nvPr userDrawn="1"/>
        </p:nvSpPr>
        <p:spPr>
          <a:xfrm>
            <a:off x="4803413" y="1992643"/>
            <a:ext cx="2734411" cy="273441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54" name="Text Placeholder 47">
            <a:extLst>
              <a:ext uri="{FF2B5EF4-FFF2-40B4-BE49-F238E27FC236}">
                <a16:creationId xmlns:a16="http://schemas.microsoft.com/office/drawing/2014/main" id="{3078648E-33FD-424E-8210-07CDFD0D7310}"/>
              </a:ext>
            </a:extLst>
          </p:cNvPr>
          <p:cNvSpPr>
            <a:spLocks noGrp="1"/>
          </p:cNvSpPr>
          <p:nvPr>
            <p:ph type="body" sz="quarter" idx="17"/>
          </p:nvPr>
        </p:nvSpPr>
        <p:spPr>
          <a:xfrm>
            <a:off x="883133" y="2710056"/>
            <a:ext cx="2884907" cy="1299579"/>
          </a:xfrm>
        </p:spPr>
        <p:txBody>
          <a:bodyPr anchor="ctr">
            <a:noAutofit/>
          </a:bodyPr>
          <a:lstStyle>
            <a:lvl1pPr marL="0" indent="0" algn="l">
              <a:buFontTx/>
              <a:buNone/>
              <a:defRPr sz="1200"/>
            </a:lvl1pPr>
            <a:lvl2pPr marL="457189" indent="0" algn="ctr">
              <a:buFontTx/>
              <a:buNone/>
              <a:defRPr sz="1600"/>
            </a:lvl2pPr>
            <a:lvl3pPr marL="914377" indent="0" algn="ctr">
              <a:buFontTx/>
              <a:buNone/>
              <a:defRPr sz="1600"/>
            </a:lvl3pPr>
            <a:lvl4pPr marL="1371566" indent="0" algn="ctr">
              <a:buFontTx/>
              <a:buNone/>
              <a:defRPr sz="1600"/>
            </a:lvl4pPr>
            <a:lvl5pPr marL="1828754" indent="0" algn="ctr">
              <a:buFontTx/>
              <a:buNone/>
              <a:defRPr sz="1600"/>
            </a:lvl5pPr>
          </a:lstStyle>
          <a:p>
            <a:pPr lvl="0"/>
            <a:r>
              <a:rPr lang="en-US"/>
              <a:t>Click to edit Master text styles</a:t>
            </a:r>
          </a:p>
        </p:txBody>
      </p:sp>
      <p:sp>
        <p:nvSpPr>
          <p:cNvPr id="55" name="Text Placeholder 47">
            <a:extLst>
              <a:ext uri="{FF2B5EF4-FFF2-40B4-BE49-F238E27FC236}">
                <a16:creationId xmlns:a16="http://schemas.microsoft.com/office/drawing/2014/main" id="{3A5567F2-2531-446C-974F-85EC6D09F33A}"/>
              </a:ext>
            </a:extLst>
          </p:cNvPr>
          <p:cNvSpPr>
            <a:spLocks noGrp="1"/>
          </p:cNvSpPr>
          <p:nvPr>
            <p:ph type="body" sz="quarter" idx="18"/>
          </p:nvPr>
        </p:nvSpPr>
        <p:spPr>
          <a:xfrm>
            <a:off x="8446381" y="2633332"/>
            <a:ext cx="2884907" cy="1299579"/>
          </a:xfrm>
        </p:spPr>
        <p:txBody>
          <a:bodyPr anchor="ctr">
            <a:noAutofit/>
          </a:bodyPr>
          <a:lstStyle>
            <a:lvl1pPr marL="0" indent="0" algn="r">
              <a:buFontTx/>
              <a:buNone/>
              <a:defRPr sz="1100"/>
            </a:lvl1pPr>
            <a:lvl2pPr marL="457189" indent="0" algn="ctr">
              <a:buFontTx/>
              <a:buNone/>
              <a:defRPr sz="1600"/>
            </a:lvl2pPr>
            <a:lvl3pPr marL="914377" indent="0" algn="ctr">
              <a:buFontTx/>
              <a:buNone/>
              <a:defRPr sz="1600"/>
            </a:lvl3pPr>
            <a:lvl4pPr marL="1371566" indent="0" algn="ctr">
              <a:buFontTx/>
              <a:buNone/>
              <a:defRPr sz="1600"/>
            </a:lvl4pPr>
            <a:lvl5pPr marL="1828754" indent="0" algn="ctr">
              <a:buFontTx/>
              <a:buNone/>
              <a:defRPr sz="1600"/>
            </a:lvl5pPr>
          </a:lstStyle>
          <a:p>
            <a:pPr lvl="0"/>
            <a:r>
              <a:rPr lang="en-US"/>
              <a:t>Click to edit Master text styles</a:t>
            </a:r>
          </a:p>
        </p:txBody>
      </p:sp>
      <p:sp>
        <p:nvSpPr>
          <p:cNvPr id="30" name="TextBox 29">
            <a:extLst>
              <a:ext uri="{FF2B5EF4-FFF2-40B4-BE49-F238E27FC236}">
                <a16:creationId xmlns:a16="http://schemas.microsoft.com/office/drawing/2014/main" id="{7C4F752C-29CD-45DA-B9F6-E582DEEA0250}"/>
              </a:ext>
            </a:extLst>
          </p:cNvPr>
          <p:cNvSpPr txBox="1"/>
          <p:nvPr userDrawn="1"/>
        </p:nvSpPr>
        <p:spPr>
          <a:xfrm>
            <a:off x="3457622" y="6652816"/>
            <a:ext cx="5276757" cy="20518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100" b="0" i="0" u="none" strike="noStrike" kern="1200" baseline="30000" dirty="0">
                <a:solidFill>
                  <a:schemeClr val="bg1"/>
                </a:solidFill>
                <a:latin typeface="Arial" panose="020B0604020202020204" pitchFamily="34" charset="0"/>
                <a:ea typeface="+mn-ea"/>
                <a:cs typeface="Arial" panose="020B0604020202020204" pitchFamily="34" charset="0"/>
              </a:rPr>
              <a:t>Presented at the 2021 ASH Annual Meeting and Exposition; December 11-14, 2021; Atlanta, GA, and Virtual</a:t>
            </a:r>
          </a:p>
        </p:txBody>
      </p:sp>
      <p:sp>
        <p:nvSpPr>
          <p:cNvPr id="31" name="TextBox 30">
            <a:extLst>
              <a:ext uri="{FF2B5EF4-FFF2-40B4-BE49-F238E27FC236}">
                <a16:creationId xmlns:a16="http://schemas.microsoft.com/office/drawing/2014/main" id="{D30A06B7-D325-4795-8243-7012EED0735C}"/>
              </a:ext>
            </a:extLst>
          </p:cNvPr>
          <p:cNvSpPr txBox="1"/>
          <p:nvPr userDrawn="1"/>
        </p:nvSpPr>
        <p:spPr>
          <a:xfrm>
            <a:off x="4789676" y="3020396"/>
            <a:ext cx="2734411" cy="584775"/>
          </a:xfrm>
          <a:prstGeom prst="rect">
            <a:avLst/>
          </a:prstGeom>
          <a:noFill/>
        </p:spPr>
        <p:txBody>
          <a:bodyPr wrap="square" rtlCol="0">
            <a:spAutoFit/>
          </a:bodyPr>
          <a:lstStyle/>
          <a:p>
            <a:pPr algn="ctr"/>
            <a:r>
              <a:rPr lang="en-US" sz="3200" b="1" dirty="0">
                <a:solidFill>
                  <a:srgbClr val="006BB1"/>
                </a:solidFill>
                <a:latin typeface="Arial" panose="020B0604020202020204" pitchFamily="34" charset="0"/>
                <a:cs typeface="Arial" panose="020B0604020202020204" pitchFamily="34" charset="0"/>
              </a:rPr>
              <a:t>Conclusions</a:t>
            </a:r>
          </a:p>
        </p:txBody>
      </p:sp>
      <p:sp>
        <p:nvSpPr>
          <p:cNvPr id="37" name="Footer Placeholder 4">
            <a:extLst>
              <a:ext uri="{FF2B5EF4-FFF2-40B4-BE49-F238E27FC236}">
                <a16:creationId xmlns:a16="http://schemas.microsoft.com/office/drawing/2014/main" id="{670758A1-1247-4D09-AE2E-49D41770537A}"/>
              </a:ext>
            </a:extLst>
          </p:cNvPr>
          <p:cNvSpPr>
            <a:spLocks noGrp="1"/>
          </p:cNvSpPr>
          <p:nvPr>
            <p:ph type="ftr" sz="quarter" idx="3"/>
          </p:nvPr>
        </p:nvSpPr>
        <p:spPr>
          <a:xfrm>
            <a:off x="459509" y="6279133"/>
            <a:ext cx="10515599" cy="313604"/>
          </a:xfrm>
          <a:prstGeom prst="rect">
            <a:avLst/>
          </a:prstGeom>
        </p:spPr>
        <p:txBody>
          <a:bodyPr vert="horz" lIns="91440" tIns="45720" rIns="91440" bIns="45720" rtlCol="0" anchor="b"/>
          <a:lstStyle>
            <a:lvl1pPr algn="l">
              <a:defRPr sz="1000">
                <a:solidFill>
                  <a:schemeClr val="bg1"/>
                </a:solidFill>
                <a:latin typeface="Arial" panose="020B0604020202020204" pitchFamily="34" charset="0"/>
                <a:cs typeface="Arial" panose="020B0604020202020204" pitchFamily="34" charset="0"/>
              </a:defRPr>
            </a:lvl1pPr>
          </a:lstStyle>
          <a:p>
            <a:r>
              <a:rPr lang="en-US" dirty="0"/>
              <a:t>References</a:t>
            </a:r>
          </a:p>
        </p:txBody>
      </p:sp>
    </p:spTree>
    <p:extLst>
      <p:ext uri="{BB962C8B-B14F-4D97-AF65-F5344CB8AC3E}">
        <p14:creationId xmlns:p14="http://schemas.microsoft.com/office/powerpoint/2010/main" val="970845905"/>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76181239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5" name="Object 4" hidden="1"/>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6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09AC7A5B-C7AE-4DAB-8AFC-9398DF251BAA}"/>
              </a:ext>
            </a:extLst>
          </p:cNvPr>
          <p:cNvSpPr>
            <a:spLocks noGrp="1"/>
          </p:cNvSpPr>
          <p:nvPr>
            <p:ph type="title"/>
          </p:nvPr>
        </p:nvSpPr>
        <p:spPr>
          <a:xfrm>
            <a:off x="459507" y="1201741"/>
            <a:ext cx="10515600" cy="2852737"/>
          </a:xfrm>
        </p:spPr>
        <p:txBody>
          <a:bodyPr anchor="b"/>
          <a:lstStyle>
            <a:lvl1pPr>
              <a:defRPr sz="6000">
                <a:solidFill>
                  <a:srgbClr val="007DA0"/>
                </a:solidFill>
              </a:defRPr>
            </a:lvl1pPr>
          </a:lstStyle>
          <a:p>
            <a:r>
              <a:rPr lang="en-US"/>
              <a:t>Click to edit Master title style</a:t>
            </a:r>
          </a:p>
        </p:txBody>
      </p:sp>
      <p:sp>
        <p:nvSpPr>
          <p:cNvPr id="3" name="Text Placeholder 2">
            <a:extLst>
              <a:ext uri="{FF2B5EF4-FFF2-40B4-BE49-F238E27FC236}">
                <a16:creationId xmlns:a16="http://schemas.microsoft.com/office/drawing/2014/main" id="{BED089FB-667F-48EE-A194-8EB218A9931D}"/>
              </a:ext>
            </a:extLst>
          </p:cNvPr>
          <p:cNvSpPr>
            <a:spLocks noGrp="1"/>
          </p:cNvSpPr>
          <p:nvPr>
            <p:ph type="body" idx="1"/>
          </p:nvPr>
        </p:nvSpPr>
        <p:spPr>
          <a:xfrm>
            <a:off x="459507" y="4293901"/>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ADA7ECC1-045D-405D-B2DD-06D233DB690F}"/>
              </a:ext>
            </a:extLst>
          </p:cNvPr>
          <p:cNvSpPr>
            <a:spLocks noGrp="1"/>
          </p:cNvSpPr>
          <p:nvPr>
            <p:ph type="sldNum" sz="quarter" idx="12"/>
          </p:nvPr>
        </p:nvSpPr>
        <p:spPr/>
        <p:txBody>
          <a:bodyPr/>
          <a:lstStyle/>
          <a:p>
            <a:fld id="{DA69A137-6BDB-47B4-8B9B-30BE2E63C07B}" type="slidenum">
              <a:rPr lang="en-US" smtClean="0"/>
              <a:t>‹#›</a:t>
            </a:fld>
            <a:endParaRPr lang="en-US" dirty="0"/>
          </a:p>
        </p:txBody>
      </p:sp>
      <p:sp>
        <p:nvSpPr>
          <p:cNvPr id="8" name="Footer Placeholder 4">
            <a:extLst>
              <a:ext uri="{FF2B5EF4-FFF2-40B4-BE49-F238E27FC236}">
                <a16:creationId xmlns:a16="http://schemas.microsoft.com/office/drawing/2014/main" id="{221C9E31-750D-4660-8146-C858F0330403}"/>
              </a:ext>
            </a:extLst>
          </p:cNvPr>
          <p:cNvSpPr>
            <a:spLocks noGrp="1"/>
          </p:cNvSpPr>
          <p:nvPr>
            <p:ph type="ftr" sz="quarter" idx="3"/>
          </p:nvPr>
        </p:nvSpPr>
        <p:spPr>
          <a:xfrm>
            <a:off x="459509" y="6279133"/>
            <a:ext cx="10515599" cy="313604"/>
          </a:xfrm>
          <a:prstGeom prst="rect">
            <a:avLst/>
          </a:prstGeom>
        </p:spPr>
        <p:txBody>
          <a:bodyPr vert="horz" lIns="91440" tIns="45720" rIns="91440" bIns="45720" rtlCol="0" anchor="b"/>
          <a:lstStyle>
            <a:lvl1pPr algn="l">
              <a:defRPr sz="1000">
                <a:solidFill>
                  <a:schemeClr val="tx2"/>
                </a:solidFill>
                <a:latin typeface="Arial" panose="020B0604020202020204" pitchFamily="34" charset="0"/>
                <a:cs typeface="Arial" panose="020B0604020202020204" pitchFamily="34" charset="0"/>
              </a:defRPr>
            </a:lvl1pPr>
          </a:lstStyle>
          <a:p>
            <a:r>
              <a:rPr lang="en-US" dirty="0"/>
              <a:t>References</a:t>
            </a:r>
          </a:p>
        </p:txBody>
      </p:sp>
    </p:spTree>
    <p:extLst>
      <p:ext uri="{BB962C8B-B14F-4D97-AF65-F5344CB8AC3E}">
        <p14:creationId xmlns:p14="http://schemas.microsoft.com/office/powerpoint/2010/main" val="35278404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916FF65-E16B-BA4F-9591-6B4416106527}" type="datetimeFigureOut">
              <a:rPr lang="en-US" smtClean="0"/>
              <a:t>4/24/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7489289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644946054"/>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6" name="Object 5" hidden="1"/>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8E0E57A8-52D6-48A3-8C8D-CD438C140B70}"/>
              </a:ext>
            </a:extLst>
          </p:cNvPr>
          <p:cNvSpPr>
            <a:spLocks noGrp="1"/>
          </p:cNvSpPr>
          <p:nvPr>
            <p:ph type="title"/>
          </p:nvPr>
        </p:nvSpPr>
        <p:spPr/>
        <p:txBody>
          <a:bodyPr/>
          <a:lstStyle>
            <a:lvl1pPr>
              <a:defRPr>
                <a:solidFill>
                  <a:srgbClr val="007DA0"/>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B46CD6E2-AAFD-4A6D-B550-5E8CF6CFAB65}"/>
              </a:ext>
            </a:extLst>
          </p:cNvPr>
          <p:cNvSpPr>
            <a:spLocks noGrp="1"/>
          </p:cNvSpPr>
          <p:nvPr>
            <p:ph sz="half" idx="1"/>
          </p:nvPr>
        </p:nvSpPr>
        <p:spPr>
          <a:xfrm>
            <a:off x="459507" y="1798781"/>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315C8D8-A0DA-461B-9F93-0D492824F2D3}"/>
              </a:ext>
            </a:extLst>
          </p:cNvPr>
          <p:cNvSpPr>
            <a:spLocks noGrp="1"/>
          </p:cNvSpPr>
          <p:nvPr>
            <p:ph sz="half" idx="2"/>
          </p:nvPr>
        </p:nvSpPr>
        <p:spPr>
          <a:xfrm>
            <a:off x="5832765" y="1814944"/>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B9954CBF-6D10-4C2E-B0A0-58B013E9F33F}"/>
              </a:ext>
            </a:extLst>
          </p:cNvPr>
          <p:cNvSpPr>
            <a:spLocks noGrp="1"/>
          </p:cNvSpPr>
          <p:nvPr>
            <p:ph type="sldNum" sz="quarter" idx="12"/>
          </p:nvPr>
        </p:nvSpPr>
        <p:spPr/>
        <p:txBody>
          <a:bodyPr/>
          <a:lstStyle/>
          <a:p>
            <a:fld id="{DA69A137-6BDB-47B4-8B9B-30BE2E63C07B}" type="slidenum">
              <a:rPr lang="en-US" smtClean="0"/>
              <a:t>‹#›</a:t>
            </a:fld>
            <a:endParaRPr lang="en-US" dirty="0"/>
          </a:p>
        </p:txBody>
      </p:sp>
      <p:sp>
        <p:nvSpPr>
          <p:cNvPr id="9" name="Footer Placeholder 4">
            <a:extLst>
              <a:ext uri="{FF2B5EF4-FFF2-40B4-BE49-F238E27FC236}">
                <a16:creationId xmlns:a16="http://schemas.microsoft.com/office/drawing/2014/main" id="{4A56A0DD-D8B3-430F-80B8-89F83A08760B}"/>
              </a:ext>
            </a:extLst>
          </p:cNvPr>
          <p:cNvSpPr>
            <a:spLocks noGrp="1"/>
          </p:cNvSpPr>
          <p:nvPr>
            <p:ph type="ftr" sz="quarter" idx="3"/>
          </p:nvPr>
        </p:nvSpPr>
        <p:spPr>
          <a:xfrm>
            <a:off x="459509" y="6279133"/>
            <a:ext cx="10515599" cy="313604"/>
          </a:xfrm>
          <a:prstGeom prst="rect">
            <a:avLst/>
          </a:prstGeom>
        </p:spPr>
        <p:txBody>
          <a:bodyPr vert="horz" lIns="91440" tIns="45720" rIns="91440" bIns="45720" rtlCol="0" anchor="b"/>
          <a:lstStyle>
            <a:lvl1pPr algn="l">
              <a:defRPr sz="1000">
                <a:solidFill>
                  <a:schemeClr val="tx2"/>
                </a:solidFill>
                <a:latin typeface="Arial" panose="020B0604020202020204" pitchFamily="34" charset="0"/>
                <a:cs typeface="Arial" panose="020B0604020202020204" pitchFamily="34" charset="0"/>
              </a:defRPr>
            </a:lvl1pPr>
          </a:lstStyle>
          <a:p>
            <a:r>
              <a:rPr lang="en-US" dirty="0"/>
              <a:t>References</a:t>
            </a:r>
          </a:p>
        </p:txBody>
      </p:sp>
    </p:spTree>
    <p:extLst>
      <p:ext uri="{BB962C8B-B14F-4D97-AF65-F5344CB8AC3E}">
        <p14:creationId xmlns:p14="http://schemas.microsoft.com/office/powerpoint/2010/main" val="2306917060"/>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97230239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4" name="Object 3" hidden="1"/>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F41FC392-ADC2-4E74-9C21-2D2502B02B2C}"/>
              </a:ext>
            </a:extLst>
          </p:cNvPr>
          <p:cNvSpPr>
            <a:spLocks noGrp="1"/>
          </p:cNvSpPr>
          <p:nvPr>
            <p:ph type="title"/>
          </p:nvPr>
        </p:nvSpPr>
        <p:spPr/>
        <p:txBody>
          <a:bodyPr/>
          <a:lstStyle>
            <a:lvl1pPr>
              <a:defRPr>
                <a:solidFill>
                  <a:srgbClr val="007DA0"/>
                </a:solidFill>
              </a:defRPr>
            </a:lvl1pPr>
          </a:lstStyle>
          <a:p>
            <a:r>
              <a:rPr lang="en-US"/>
              <a:t>Click to edit Master title style</a:t>
            </a:r>
          </a:p>
        </p:txBody>
      </p:sp>
      <p:sp>
        <p:nvSpPr>
          <p:cNvPr id="5" name="Slide Number Placeholder 4">
            <a:extLst>
              <a:ext uri="{FF2B5EF4-FFF2-40B4-BE49-F238E27FC236}">
                <a16:creationId xmlns:a16="http://schemas.microsoft.com/office/drawing/2014/main" id="{6581A2DD-2A15-4411-8C7D-3749F9CF20C0}"/>
              </a:ext>
            </a:extLst>
          </p:cNvPr>
          <p:cNvSpPr>
            <a:spLocks noGrp="1"/>
          </p:cNvSpPr>
          <p:nvPr>
            <p:ph type="sldNum" sz="quarter" idx="12"/>
          </p:nvPr>
        </p:nvSpPr>
        <p:spPr/>
        <p:txBody>
          <a:bodyPr/>
          <a:lstStyle/>
          <a:p>
            <a:fld id="{DA69A137-6BDB-47B4-8B9B-30BE2E63C07B}" type="slidenum">
              <a:rPr lang="en-US" smtClean="0"/>
              <a:t>‹#›</a:t>
            </a:fld>
            <a:endParaRPr lang="en-US" dirty="0"/>
          </a:p>
        </p:txBody>
      </p:sp>
      <p:sp>
        <p:nvSpPr>
          <p:cNvPr id="6" name="Footer Placeholder 4">
            <a:extLst>
              <a:ext uri="{FF2B5EF4-FFF2-40B4-BE49-F238E27FC236}">
                <a16:creationId xmlns:a16="http://schemas.microsoft.com/office/drawing/2014/main" id="{2BF9AE2F-E993-427C-9FB8-A749F66B8837}"/>
              </a:ext>
            </a:extLst>
          </p:cNvPr>
          <p:cNvSpPr>
            <a:spLocks noGrp="1"/>
          </p:cNvSpPr>
          <p:nvPr>
            <p:ph type="ftr" sz="quarter" idx="3"/>
          </p:nvPr>
        </p:nvSpPr>
        <p:spPr>
          <a:xfrm>
            <a:off x="459509" y="6279133"/>
            <a:ext cx="10515599" cy="313604"/>
          </a:xfrm>
          <a:prstGeom prst="rect">
            <a:avLst/>
          </a:prstGeom>
        </p:spPr>
        <p:txBody>
          <a:bodyPr vert="horz" lIns="91440" tIns="45720" rIns="91440" bIns="45720" rtlCol="0" anchor="b"/>
          <a:lstStyle>
            <a:lvl1pPr algn="l">
              <a:defRPr sz="1000">
                <a:solidFill>
                  <a:schemeClr val="tx2"/>
                </a:solidFill>
                <a:latin typeface="Arial" panose="020B0604020202020204" pitchFamily="34" charset="0"/>
                <a:cs typeface="Arial" panose="020B0604020202020204" pitchFamily="34" charset="0"/>
              </a:defRPr>
            </a:lvl1pPr>
          </a:lstStyle>
          <a:p>
            <a:r>
              <a:rPr lang="en-US" dirty="0"/>
              <a:t>References</a:t>
            </a:r>
          </a:p>
        </p:txBody>
      </p:sp>
    </p:spTree>
    <p:extLst>
      <p:ext uri="{BB962C8B-B14F-4D97-AF65-F5344CB8AC3E}">
        <p14:creationId xmlns:p14="http://schemas.microsoft.com/office/powerpoint/2010/main" val="3590303393"/>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cover_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1330036" y="1600201"/>
            <a:ext cx="9504218" cy="1537855"/>
          </a:xfrm>
        </p:spPr>
        <p:txBody>
          <a:bodyPr tIns="0" bIns="0" anchor="b" anchorCtr="0"/>
          <a:lstStyle>
            <a:lvl1pPr>
              <a:defRPr sz="3600">
                <a:solidFill>
                  <a:schemeClr val="bg1"/>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CF417E6A-C399-4D34-AA35-6617A97C73B1}"/>
              </a:ext>
            </a:extLst>
          </p:cNvPr>
          <p:cNvSpPr>
            <a:spLocks noGrp="1"/>
          </p:cNvSpPr>
          <p:nvPr>
            <p:ph type="body" sz="quarter" idx="13"/>
          </p:nvPr>
        </p:nvSpPr>
        <p:spPr>
          <a:xfrm>
            <a:off x="1330036" y="3744732"/>
            <a:ext cx="9504219" cy="1810941"/>
          </a:xfrm>
        </p:spPr>
        <p:txBody>
          <a:bodyPr tIns="228600" anchor="t" anchorCtr="0"/>
          <a:lstStyle>
            <a:lvl1pPr>
              <a:lnSpc>
                <a:spcPts val="2000"/>
              </a:lnSpc>
              <a:spcAft>
                <a:spcPts val="0"/>
              </a:spcAft>
              <a:defRPr sz="1400" b="0">
                <a:solidFill>
                  <a:schemeClr val="bg1"/>
                </a:solidFill>
              </a:defRPr>
            </a:lvl1pPr>
            <a:lvl2pPr marL="7938" indent="0">
              <a:lnSpc>
                <a:spcPts val="2000"/>
              </a:lnSpc>
              <a:spcAft>
                <a:spcPts val="0"/>
              </a:spcAft>
              <a:buFontTx/>
              <a:buNone/>
              <a:tabLst/>
              <a:defRPr sz="1400" b="0">
                <a:solidFill>
                  <a:schemeClr val="bg1"/>
                </a:solidFill>
              </a:defRPr>
            </a:lvl2pPr>
            <a:lvl3pPr marL="0" indent="0">
              <a:lnSpc>
                <a:spcPts val="2000"/>
              </a:lnSpc>
              <a:spcAft>
                <a:spcPts val="0"/>
              </a:spcAft>
              <a:buNone/>
              <a:defRPr sz="1400" b="0">
                <a:solidFill>
                  <a:schemeClr val="bg1"/>
                </a:solidFill>
              </a:defRPr>
            </a:lvl3pPr>
            <a:lvl4pPr marL="0" indent="0">
              <a:spcAft>
                <a:spcPts val="0"/>
              </a:spcAft>
              <a:buNone/>
              <a:defRPr sz="1400" b="0">
                <a:solidFill>
                  <a:schemeClr val="bg1"/>
                </a:solidFill>
              </a:defRPr>
            </a:lvl4pPr>
            <a:lvl5pPr marL="0" indent="0">
              <a:spcAft>
                <a:spcPts val="0"/>
              </a:spcAft>
              <a:buNone/>
              <a:defRPr sz="1400" b="0">
                <a:solidFill>
                  <a:schemeClr val="bg1"/>
                </a:solidFill>
              </a:defRPr>
            </a:lvl5pPr>
            <a:lvl6pPr marL="0" indent="0">
              <a:spcAft>
                <a:spcPts val="0"/>
              </a:spcAft>
              <a:buNone/>
              <a:defRPr sz="1400" b="0">
                <a:solidFill>
                  <a:schemeClr val="bg1"/>
                </a:solidFill>
              </a:defRPr>
            </a:lvl6pPr>
            <a:lvl7pPr marL="0" indent="0">
              <a:spcAft>
                <a:spcPts val="0"/>
              </a:spcAft>
              <a:buNone/>
              <a:defRPr sz="1400" b="0">
                <a:solidFill>
                  <a:schemeClr val="bg1"/>
                </a:solidFill>
              </a:defRPr>
            </a:lvl7pPr>
            <a:lvl8pPr marL="0" indent="0">
              <a:lnSpc>
                <a:spcPts val="2000"/>
              </a:lnSpc>
              <a:spcAft>
                <a:spcPts val="0"/>
              </a:spcAft>
              <a:buNone/>
              <a:defRPr sz="1400" b="0">
                <a:solidFill>
                  <a:schemeClr val="bg1"/>
                </a:solidFill>
              </a:defRPr>
            </a:lvl8pPr>
            <a:lvl9pPr marL="0" indent="0">
              <a:lnSpc>
                <a:spcPts val="2000"/>
              </a:lnSpc>
              <a:spcAft>
                <a:spcPts val="0"/>
              </a:spcAft>
              <a:buNone/>
              <a:defRPr sz="1400" b="0">
                <a:solidFill>
                  <a:schemeClr val="bg1"/>
                </a:solidFill>
              </a:defRPr>
            </a:lvl9pPr>
          </a:lstStyle>
          <a:p>
            <a:pPr lvl="0"/>
            <a:r>
              <a:rPr lang="en-US"/>
              <a:t>Click to edit Master text styles</a:t>
            </a:r>
          </a:p>
        </p:txBody>
      </p:sp>
      <p:sp>
        <p:nvSpPr>
          <p:cNvPr id="6" name="Date Placeholder 5">
            <a:extLst>
              <a:ext uri="{FF2B5EF4-FFF2-40B4-BE49-F238E27FC236}">
                <a16:creationId xmlns:a16="http://schemas.microsoft.com/office/drawing/2014/main" id="{5CC17B62-8F17-4111-B083-3AC63A3E0257}"/>
              </a:ext>
            </a:extLst>
          </p:cNvPr>
          <p:cNvSpPr>
            <a:spLocks noGrp="1"/>
          </p:cNvSpPr>
          <p:nvPr>
            <p:ph type="dt" sz="half" idx="10"/>
          </p:nvPr>
        </p:nvSpPr>
        <p:spPr>
          <a:xfrm>
            <a:off x="1330035" y="3138055"/>
            <a:ext cx="9504219" cy="606676"/>
          </a:xfrm>
        </p:spPr>
        <p:txBody>
          <a:bodyPr bIns="0"/>
          <a:lstStyle>
            <a:lvl1pPr algn="l">
              <a:defRPr sz="1200">
                <a:solidFill>
                  <a:schemeClr val="bg1"/>
                </a:solidFill>
                <a:latin typeface="+mn-lt"/>
              </a:defRPr>
            </a:lvl1pPr>
            <a:lvl2pPr algn="l">
              <a:defRPr sz="1200"/>
            </a:lvl2pPr>
            <a:lvl3pPr algn="l">
              <a:defRPr sz="1200"/>
            </a:lvl3pPr>
            <a:lvl4pPr algn="l">
              <a:defRPr sz="1200"/>
            </a:lvl4pPr>
            <a:lvl5pPr algn="l">
              <a:defRPr sz="1200"/>
            </a:lvl5pPr>
            <a:lvl6pPr algn="l">
              <a:defRPr sz="1200"/>
            </a:lvl6pPr>
            <a:lvl7pPr algn="l">
              <a:defRPr sz="1200"/>
            </a:lvl7pPr>
            <a:lvl8pPr algn="l">
              <a:defRPr sz="1200"/>
            </a:lvl8pPr>
            <a:lvl9pPr algn="l">
              <a:defRPr sz="1200"/>
            </a:lvl9pPr>
          </a:lstStyle>
          <a:p>
            <a:r>
              <a:rPr lang="en-US"/>
              <a:t>February 5, 2026</a:t>
            </a:r>
            <a:endParaRPr lang="en-US" dirty="0"/>
          </a:p>
        </p:txBody>
      </p:sp>
    </p:spTree>
    <p:extLst>
      <p:ext uri="{BB962C8B-B14F-4D97-AF65-F5344CB8AC3E}">
        <p14:creationId xmlns:p14="http://schemas.microsoft.com/office/powerpoint/2010/main" val="170928043"/>
      </p:ext>
    </p:extLst>
  </p:cSld>
  <p:clrMapOvr>
    <a:masterClrMapping/>
  </p:clrMapOvr>
  <p:extLst>
    <p:ext uri="{DCECCB84-F9BA-43D5-87BE-67443E8EF086}">
      <p15:sldGuideLst xmlns:p15="http://schemas.microsoft.com/office/powerpoint/2012/main"/>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cover_whi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3">
            <a:extLst>
              <a:ext uri="{FF2B5EF4-FFF2-40B4-BE49-F238E27FC236}">
                <a16:creationId xmlns:a16="http://schemas.microsoft.com/office/drawing/2014/main" id="{2478E6DB-DBF4-DB49-B350-AB530CC6C0FF}"/>
              </a:ext>
            </a:extLst>
          </p:cNvPr>
          <p:cNvSpPr>
            <a:spLocks noGrp="1"/>
          </p:cNvSpPr>
          <p:nvPr>
            <p:ph type="title"/>
          </p:nvPr>
        </p:nvSpPr>
        <p:spPr>
          <a:xfrm>
            <a:off x="1330034" y="1600200"/>
            <a:ext cx="9531928" cy="1537856"/>
          </a:xfrm>
        </p:spPr>
        <p:txBody>
          <a:bodyPr tIns="0" bIns="0" anchor="b" anchorCtr="0"/>
          <a:lstStyle>
            <a:lvl1pPr>
              <a:defRPr sz="3600">
                <a:solidFill>
                  <a:srgbClr val="007CBA"/>
                </a:solidFill>
              </a:defRPr>
            </a:lvl1pPr>
          </a:lstStyle>
          <a:p>
            <a:r>
              <a:rPr lang="en-US"/>
              <a:t>Click to edit Master title style</a:t>
            </a:r>
            <a:endParaRPr lang="en-US" dirty="0"/>
          </a:p>
        </p:txBody>
      </p:sp>
      <p:sp>
        <p:nvSpPr>
          <p:cNvPr id="8" name="Text Placeholder 9">
            <a:extLst>
              <a:ext uri="{FF2B5EF4-FFF2-40B4-BE49-F238E27FC236}">
                <a16:creationId xmlns:a16="http://schemas.microsoft.com/office/drawing/2014/main" id="{D6536B84-4DA2-8241-AA2E-46095A55B340}"/>
              </a:ext>
            </a:extLst>
          </p:cNvPr>
          <p:cNvSpPr>
            <a:spLocks noGrp="1"/>
          </p:cNvSpPr>
          <p:nvPr>
            <p:ph type="body" sz="quarter" idx="13"/>
          </p:nvPr>
        </p:nvSpPr>
        <p:spPr>
          <a:xfrm>
            <a:off x="1330036" y="3742440"/>
            <a:ext cx="9531927" cy="2023877"/>
          </a:xfrm>
        </p:spPr>
        <p:txBody>
          <a:bodyPr tIns="228600" anchor="t" anchorCtr="0"/>
          <a:lstStyle>
            <a:lvl1pPr>
              <a:lnSpc>
                <a:spcPts val="2000"/>
              </a:lnSpc>
              <a:spcAft>
                <a:spcPts val="0"/>
              </a:spcAft>
              <a:defRPr sz="1400" b="0">
                <a:solidFill>
                  <a:schemeClr val="tx1"/>
                </a:solidFill>
              </a:defRPr>
            </a:lvl1pPr>
            <a:lvl2pPr marL="7938" indent="0">
              <a:lnSpc>
                <a:spcPts val="2000"/>
              </a:lnSpc>
              <a:spcAft>
                <a:spcPts val="0"/>
              </a:spcAft>
              <a:buFontTx/>
              <a:buNone/>
              <a:tabLst/>
              <a:defRPr sz="1400" b="0">
                <a:solidFill>
                  <a:schemeClr val="tx1"/>
                </a:solidFill>
              </a:defRPr>
            </a:lvl2pPr>
            <a:lvl3pPr marL="0" indent="0">
              <a:lnSpc>
                <a:spcPts val="2000"/>
              </a:lnSpc>
              <a:spcAft>
                <a:spcPts val="0"/>
              </a:spcAft>
              <a:buNone/>
              <a:defRPr sz="1400" b="0">
                <a:solidFill>
                  <a:schemeClr val="tx1"/>
                </a:solidFill>
              </a:defRPr>
            </a:lvl3pPr>
            <a:lvl4pPr marL="0" indent="0">
              <a:spcAft>
                <a:spcPts val="0"/>
              </a:spcAft>
              <a:buNone/>
              <a:defRPr sz="1400" b="0">
                <a:solidFill>
                  <a:schemeClr val="tx1"/>
                </a:solidFill>
              </a:defRPr>
            </a:lvl4pPr>
            <a:lvl5pPr marL="0" indent="0">
              <a:spcAft>
                <a:spcPts val="0"/>
              </a:spcAft>
              <a:buNone/>
              <a:defRPr sz="1400" b="0">
                <a:solidFill>
                  <a:schemeClr val="tx1"/>
                </a:solidFill>
              </a:defRPr>
            </a:lvl5pPr>
            <a:lvl6pPr marL="0" indent="0">
              <a:spcAft>
                <a:spcPts val="0"/>
              </a:spcAft>
              <a:buNone/>
              <a:defRPr sz="1400" b="0">
                <a:solidFill>
                  <a:schemeClr val="tx1"/>
                </a:solidFill>
              </a:defRPr>
            </a:lvl6pPr>
            <a:lvl7pPr marL="0" indent="0">
              <a:spcAft>
                <a:spcPts val="0"/>
              </a:spcAft>
              <a:buNone/>
              <a:defRPr sz="1400" b="0">
                <a:solidFill>
                  <a:schemeClr val="tx1"/>
                </a:solidFill>
              </a:defRPr>
            </a:lvl7pPr>
            <a:lvl8pPr marL="0" indent="0">
              <a:lnSpc>
                <a:spcPts val="2000"/>
              </a:lnSpc>
              <a:spcAft>
                <a:spcPts val="0"/>
              </a:spcAft>
              <a:buNone/>
              <a:defRPr sz="1400" b="0">
                <a:solidFill>
                  <a:schemeClr val="tx1"/>
                </a:solidFill>
              </a:defRPr>
            </a:lvl8pPr>
            <a:lvl9pPr marL="0" indent="0">
              <a:lnSpc>
                <a:spcPts val="2000"/>
              </a:lnSpc>
              <a:spcAft>
                <a:spcPts val="0"/>
              </a:spcAft>
              <a:buNone/>
              <a:defRPr sz="1400" b="0">
                <a:solidFill>
                  <a:schemeClr val="tx1"/>
                </a:solidFill>
              </a:defRPr>
            </a:lvl9pPr>
          </a:lstStyle>
          <a:p>
            <a:pPr lvl="0"/>
            <a:r>
              <a:rPr lang="en-US"/>
              <a:t>Click to edit Master text styles</a:t>
            </a:r>
          </a:p>
        </p:txBody>
      </p:sp>
      <p:sp>
        <p:nvSpPr>
          <p:cNvPr id="11" name="Date Placeholder 5">
            <a:extLst>
              <a:ext uri="{FF2B5EF4-FFF2-40B4-BE49-F238E27FC236}">
                <a16:creationId xmlns:a16="http://schemas.microsoft.com/office/drawing/2014/main" id="{43FE71DE-5432-8848-A3FE-9464F92BE835}"/>
              </a:ext>
            </a:extLst>
          </p:cNvPr>
          <p:cNvSpPr>
            <a:spLocks noGrp="1"/>
          </p:cNvSpPr>
          <p:nvPr>
            <p:ph type="dt" sz="half" idx="10"/>
          </p:nvPr>
        </p:nvSpPr>
        <p:spPr>
          <a:xfrm>
            <a:off x="1330035" y="3138057"/>
            <a:ext cx="9531927" cy="604385"/>
          </a:xfrm>
        </p:spPr>
        <p:txBody>
          <a:bodyPr bIns="0"/>
          <a:lstStyle>
            <a:lvl1pPr algn="l">
              <a:defRPr sz="1200">
                <a:solidFill>
                  <a:schemeClr val="tx1"/>
                </a:solidFill>
                <a:latin typeface="+mn-lt"/>
              </a:defRPr>
            </a:lvl1pPr>
            <a:lvl2pPr algn="l">
              <a:defRPr sz="1200">
                <a:solidFill>
                  <a:schemeClr val="tx1"/>
                </a:solidFill>
              </a:defRPr>
            </a:lvl2pPr>
            <a:lvl3pPr algn="l">
              <a:defRPr sz="1200">
                <a:solidFill>
                  <a:schemeClr val="tx1"/>
                </a:solidFill>
              </a:defRPr>
            </a:lvl3pPr>
            <a:lvl4pPr algn="l">
              <a:defRPr sz="1200">
                <a:solidFill>
                  <a:schemeClr val="tx1"/>
                </a:solidFill>
              </a:defRPr>
            </a:lvl4pPr>
            <a:lvl5pPr algn="l">
              <a:defRPr sz="1200">
                <a:solidFill>
                  <a:schemeClr val="tx1"/>
                </a:solidFill>
              </a:defRPr>
            </a:lvl5pPr>
            <a:lvl6pPr algn="l">
              <a:defRPr sz="1200">
                <a:solidFill>
                  <a:schemeClr val="tx1"/>
                </a:solidFill>
              </a:defRPr>
            </a:lvl6pPr>
            <a:lvl7pPr algn="l">
              <a:defRPr sz="1200">
                <a:solidFill>
                  <a:schemeClr val="tx1"/>
                </a:solidFill>
              </a:defRPr>
            </a:lvl7pPr>
            <a:lvl8pPr algn="l">
              <a:defRPr sz="1200">
                <a:solidFill>
                  <a:schemeClr val="tx1"/>
                </a:solidFill>
              </a:defRPr>
            </a:lvl8pPr>
            <a:lvl9pPr algn="l">
              <a:defRPr sz="1200">
                <a:solidFill>
                  <a:schemeClr val="tx1"/>
                </a:solidFill>
              </a:defRPr>
            </a:lvl9pPr>
          </a:lstStyle>
          <a:p>
            <a:r>
              <a:rPr lang="en-US"/>
              <a:t>February 5, 2026</a:t>
            </a:r>
            <a:endParaRPr lang="en-US" dirty="0"/>
          </a:p>
        </p:txBody>
      </p:sp>
    </p:spTree>
    <p:extLst>
      <p:ext uri="{BB962C8B-B14F-4D97-AF65-F5344CB8AC3E}">
        <p14:creationId xmlns:p14="http://schemas.microsoft.com/office/powerpoint/2010/main" val="3936927218"/>
      </p:ext>
    </p:extLst>
  </p:cSld>
  <p:clrMapOvr>
    <a:masterClrMapping/>
  </p:clrMapOvr>
  <p:extLst>
    <p:ext uri="{DCECCB84-F9BA-43D5-87BE-67443E8EF086}">
      <p15:sldGuideLst xmlns:p15="http://schemas.microsoft.com/office/powerpoint/2012/main">
        <p15:guide id="1" orient="horz" pos="4098">
          <p15:clr>
            <a:srgbClr val="FBAE4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agenda_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418E43A-2457-42CA-BE83-E9C382D2B993}"/>
              </a:ext>
            </a:extLst>
          </p:cNvPr>
          <p:cNvSpPr>
            <a:spLocks noGrp="1"/>
          </p:cNvSpPr>
          <p:nvPr>
            <p:ph type="dt" sz="half" idx="10"/>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latin typeface="+mn-lt"/>
              </a:defRPr>
            </a:lvl9pPr>
          </a:lstStyle>
          <a:p>
            <a:r>
              <a:rPr lang="en-US"/>
              <a:t>February 5, 2026</a:t>
            </a:r>
            <a:endParaRPr lang="en-US" dirty="0"/>
          </a:p>
        </p:txBody>
      </p:sp>
      <p:sp>
        <p:nvSpPr>
          <p:cNvPr id="4" name="Footer Placeholder 3">
            <a:extLst>
              <a:ext uri="{FF2B5EF4-FFF2-40B4-BE49-F238E27FC236}">
                <a16:creationId xmlns:a16="http://schemas.microsoft.com/office/drawing/2014/main" id="{84EA9C68-E3E9-4609-A378-65D54A205DC3}"/>
              </a:ext>
            </a:extLst>
          </p:cNvPr>
          <p:cNvSpPr>
            <a:spLocks noGrp="1"/>
          </p:cNvSpPr>
          <p:nvPr>
            <p:ph type="ftr" sz="quarter" idx="11"/>
          </p:nvPr>
        </p:nvSpPr>
        <p:spPr/>
        <p:txBody>
          <a:bodyPr/>
          <a:lstStyle>
            <a:lvl1pPr marL="0" indent="0">
              <a:tabLst/>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vl6pPr>
              <a:defRPr b="1">
                <a:solidFill>
                  <a:schemeClr val="bg1"/>
                </a:solidFill>
              </a:defRPr>
            </a:lvl6pPr>
            <a:lvl7pPr>
              <a:defRPr b="1">
                <a:solidFill>
                  <a:schemeClr val="bg1"/>
                </a:solidFill>
              </a:defRPr>
            </a:lvl7pPr>
            <a:lvl8pPr>
              <a:defRPr b="1">
                <a:solidFill>
                  <a:schemeClr val="bg1"/>
                </a:solidFill>
              </a:defRPr>
            </a:lvl8pPr>
            <a:lvl9pPr>
              <a:defRPr b="1">
                <a:solidFill>
                  <a:schemeClr val="bg1"/>
                </a:solidFill>
                <a:latin typeface="+mn-lt"/>
              </a:defRPr>
            </a:lvl9pPr>
          </a:lstStyle>
          <a:p>
            <a:r>
              <a:rPr lang="en-US"/>
              <a:t>CAR T in BCL</a:t>
            </a:r>
            <a:endParaRPr lang="en-US" dirty="0"/>
          </a:p>
        </p:txBody>
      </p:sp>
      <p:sp>
        <p:nvSpPr>
          <p:cNvPr id="5" name="Slide Number Placeholder 4">
            <a:extLst>
              <a:ext uri="{FF2B5EF4-FFF2-40B4-BE49-F238E27FC236}">
                <a16:creationId xmlns:a16="http://schemas.microsoft.com/office/drawing/2014/main" id="{F0CF157D-7400-499C-96F9-B806E4F48A9A}"/>
              </a:ext>
            </a:extLst>
          </p:cNvPr>
          <p:cNvSpPr>
            <a:spLocks noGrp="1"/>
          </p:cNvSpPr>
          <p:nvPr>
            <p:ph type="sldNum" sz="quarter" idx="12"/>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63DCA5C9-2E11-4C67-86EB-AE1DE127DC64}" type="slidenum">
              <a:rPr lang="en-US" smtClean="0"/>
              <a:pPr/>
              <a:t>‹#›</a:t>
            </a:fld>
            <a:endParaRPr lang="en-US" dirty="0"/>
          </a:p>
        </p:txBody>
      </p:sp>
      <p:sp>
        <p:nvSpPr>
          <p:cNvPr id="10" name="Text Placeholder 9"/>
          <p:cNvSpPr>
            <a:spLocks noGrp="1"/>
          </p:cNvSpPr>
          <p:nvPr>
            <p:ph type="body" sz="quarter" idx="13" hasCustomPrompt="1"/>
          </p:nvPr>
        </p:nvSpPr>
        <p:spPr>
          <a:xfrm>
            <a:off x="491068" y="1600200"/>
            <a:ext cx="10354732" cy="4527550"/>
          </a:xfrm>
        </p:spPr>
        <p:txBody>
          <a:bodyPr tIns="1005840"/>
          <a:lstStyle>
            <a:lvl1pPr marL="0" indent="0">
              <a:spcAft>
                <a:spcPts val="1200"/>
              </a:spcAft>
              <a:buFontTx/>
              <a:buNone/>
              <a:defRPr sz="2800">
                <a:solidFill>
                  <a:schemeClr val="bg1"/>
                </a:solidFill>
              </a:defRPr>
            </a:lvl1pPr>
            <a:lvl2pPr marL="174625" indent="-171450">
              <a:spcAft>
                <a:spcPts val="600"/>
              </a:spcAft>
              <a:buFont typeface="Arial" panose="020B0604020202020204" pitchFamily="34" charset="0"/>
              <a:buChar char="•"/>
              <a:tabLst/>
              <a:defRPr sz="1800">
                <a:solidFill>
                  <a:schemeClr val="bg1"/>
                </a:solidFill>
              </a:defRPr>
            </a:lvl2pPr>
            <a:lvl3pPr marL="174625" indent="-171450">
              <a:spcAft>
                <a:spcPts val="600"/>
              </a:spcAft>
              <a:buFont typeface="Arial" panose="020B0604020202020204" pitchFamily="34" charset="0"/>
              <a:buChar char="•"/>
              <a:tabLst/>
              <a:defRPr sz="1800">
                <a:solidFill>
                  <a:schemeClr val="bg1"/>
                </a:solidFill>
              </a:defRPr>
            </a:lvl3pPr>
            <a:lvl4pPr marL="174625" indent="-171450">
              <a:spcAft>
                <a:spcPts val="600"/>
              </a:spcAft>
              <a:buFont typeface="Arial" panose="020B0604020202020204" pitchFamily="34" charset="0"/>
              <a:buChar char="•"/>
              <a:tabLst/>
              <a:defRPr sz="1800">
                <a:solidFill>
                  <a:schemeClr val="bg1"/>
                </a:solidFill>
              </a:defRPr>
            </a:lvl4pPr>
            <a:lvl5pPr marL="174625" indent="-171450">
              <a:spcAft>
                <a:spcPts val="600"/>
              </a:spcAft>
              <a:buFont typeface="Arial" panose="020B0604020202020204" pitchFamily="34" charset="0"/>
              <a:buChar char="•"/>
              <a:tabLst/>
              <a:defRPr sz="1800">
                <a:solidFill>
                  <a:schemeClr val="bg1"/>
                </a:solidFill>
              </a:defRPr>
            </a:lvl5pPr>
            <a:lvl6pPr marL="174625" indent="-171450">
              <a:spcAft>
                <a:spcPts val="600"/>
              </a:spcAft>
              <a:buFont typeface="Arial" panose="020B0604020202020204" pitchFamily="34" charset="0"/>
              <a:buChar char="•"/>
              <a:tabLst/>
              <a:defRPr sz="1800">
                <a:solidFill>
                  <a:schemeClr val="bg1"/>
                </a:solidFill>
              </a:defRPr>
            </a:lvl6pPr>
            <a:lvl7pPr marL="174625" indent="-171450">
              <a:spcAft>
                <a:spcPts val="600"/>
              </a:spcAft>
              <a:buFont typeface="Arial" panose="020B0604020202020204" pitchFamily="34" charset="0"/>
              <a:buChar char="•"/>
              <a:tabLst/>
              <a:defRPr sz="1800">
                <a:solidFill>
                  <a:schemeClr val="bg1"/>
                </a:solidFill>
              </a:defRPr>
            </a:lvl7pPr>
            <a:lvl8pPr marL="174625" indent="-171450">
              <a:spcAft>
                <a:spcPts val="600"/>
              </a:spcAft>
              <a:buFont typeface="Arial" panose="020B0604020202020204" pitchFamily="34" charset="0"/>
              <a:buChar char="•"/>
              <a:tabLst/>
              <a:defRPr sz="1800">
                <a:solidFill>
                  <a:schemeClr val="bg1"/>
                </a:solidFill>
              </a:defRPr>
            </a:lvl8pPr>
            <a:lvl9pPr marL="174625" indent="-171450">
              <a:spcAft>
                <a:spcPts val="600"/>
              </a:spcAft>
              <a:buFont typeface="Arial" panose="020B0604020202020204" pitchFamily="34" charset="0"/>
              <a:buChar char="•"/>
              <a:tabLst/>
              <a:defRPr sz="1800">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1"/>
            <a:r>
              <a:rPr lang="en-US" dirty="0"/>
              <a:t>Fifth level</a:t>
            </a:r>
          </a:p>
        </p:txBody>
      </p:sp>
    </p:spTree>
    <p:extLst>
      <p:ext uri="{BB962C8B-B14F-4D97-AF65-F5344CB8AC3E}">
        <p14:creationId xmlns:p14="http://schemas.microsoft.com/office/powerpoint/2010/main" val="668321317"/>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agenda_whi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418E43A-2457-42CA-BE83-E9C382D2B993}"/>
              </a:ext>
            </a:extLst>
          </p:cNvPr>
          <p:cNvSpPr>
            <a:spLocks noGrp="1"/>
          </p:cNvSpPr>
          <p:nvPr>
            <p:ph type="dt" sz="half" idx="10"/>
          </p:nvPr>
        </p:nvSpPr>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rgbClr val="333333"/>
                </a:solidFill>
              </a:defRPr>
            </a:lvl5pPr>
            <a:lvl6pPr>
              <a:defRPr>
                <a:solidFill>
                  <a:srgbClr val="333333"/>
                </a:solidFill>
              </a:defRPr>
            </a:lvl6pPr>
            <a:lvl7pPr>
              <a:defRPr>
                <a:solidFill>
                  <a:srgbClr val="333333"/>
                </a:solidFill>
              </a:defRPr>
            </a:lvl7pPr>
            <a:lvl8pPr>
              <a:defRPr>
                <a:solidFill>
                  <a:srgbClr val="333333"/>
                </a:solidFill>
              </a:defRPr>
            </a:lvl8pPr>
            <a:lvl9pPr>
              <a:defRPr>
                <a:solidFill>
                  <a:srgbClr val="333333"/>
                </a:solidFill>
                <a:latin typeface="+mn-lt"/>
              </a:defRPr>
            </a:lvl9pPr>
          </a:lstStyle>
          <a:p>
            <a:r>
              <a:rPr lang="en-US"/>
              <a:t>February 5, 2026</a:t>
            </a:r>
            <a:endParaRPr lang="en-US" dirty="0"/>
          </a:p>
        </p:txBody>
      </p:sp>
      <p:sp>
        <p:nvSpPr>
          <p:cNvPr id="4" name="Footer Placeholder 3">
            <a:extLst>
              <a:ext uri="{FF2B5EF4-FFF2-40B4-BE49-F238E27FC236}">
                <a16:creationId xmlns:a16="http://schemas.microsoft.com/office/drawing/2014/main" id="{84EA9C68-E3E9-4609-A378-65D54A205DC3}"/>
              </a:ext>
            </a:extLst>
          </p:cNvPr>
          <p:cNvSpPr>
            <a:spLocks noGrp="1"/>
          </p:cNvSpPr>
          <p:nvPr>
            <p:ph type="ftr" sz="quarter" idx="11"/>
          </p:nvPr>
        </p:nvSpPr>
        <p:spPr/>
        <p:txBody>
          <a:bodyPr/>
          <a:lstStyle>
            <a:lvl1pPr marL="0" indent="0">
              <a:tabLst/>
              <a:defRPr b="1">
                <a:solidFill>
                  <a:srgbClr val="333333"/>
                </a:solidFill>
              </a:defRPr>
            </a:lvl1pPr>
            <a:lvl2pPr>
              <a:defRPr b="1">
                <a:solidFill>
                  <a:srgbClr val="333333"/>
                </a:solidFill>
              </a:defRPr>
            </a:lvl2pPr>
            <a:lvl3pPr>
              <a:defRPr b="1">
                <a:solidFill>
                  <a:srgbClr val="333333"/>
                </a:solidFill>
              </a:defRPr>
            </a:lvl3pPr>
            <a:lvl4pPr>
              <a:defRPr b="1">
                <a:solidFill>
                  <a:srgbClr val="333333"/>
                </a:solidFill>
              </a:defRPr>
            </a:lvl4pPr>
            <a:lvl5pPr>
              <a:defRPr b="1">
                <a:solidFill>
                  <a:srgbClr val="333333"/>
                </a:solidFill>
              </a:defRPr>
            </a:lvl5pPr>
            <a:lvl6pPr>
              <a:defRPr b="1">
                <a:solidFill>
                  <a:srgbClr val="333333"/>
                </a:solidFill>
              </a:defRPr>
            </a:lvl6pPr>
            <a:lvl7pPr>
              <a:defRPr b="1">
                <a:solidFill>
                  <a:srgbClr val="333333"/>
                </a:solidFill>
              </a:defRPr>
            </a:lvl7pPr>
            <a:lvl8pPr>
              <a:defRPr b="1">
                <a:solidFill>
                  <a:srgbClr val="333333"/>
                </a:solidFill>
              </a:defRPr>
            </a:lvl8pPr>
            <a:lvl9pPr>
              <a:defRPr b="1">
                <a:solidFill>
                  <a:srgbClr val="333333"/>
                </a:solidFill>
                <a:latin typeface="+mn-lt"/>
              </a:defRPr>
            </a:lvl9pPr>
          </a:lstStyle>
          <a:p>
            <a:r>
              <a:rPr lang="en-US"/>
              <a:t>CAR T in BCL</a:t>
            </a:r>
            <a:endParaRPr lang="en-US" dirty="0"/>
          </a:p>
        </p:txBody>
      </p:sp>
      <p:sp>
        <p:nvSpPr>
          <p:cNvPr id="5" name="Slide Number Placeholder 4">
            <a:extLst>
              <a:ext uri="{FF2B5EF4-FFF2-40B4-BE49-F238E27FC236}">
                <a16:creationId xmlns:a16="http://schemas.microsoft.com/office/drawing/2014/main" id="{F0CF157D-7400-499C-96F9-B806E4F48A9A}"/>
              </a:ext>
            </a:extLst>
          </p:cNvPr>
          <p:cNvSpPr>
            <a:spLocks noGrp="1"/>
          </p:cNvSpPr>
          <p:nvPr>
            <p:ph type="sldNum" sz="quarter" idx="12"/>
          </p:nvPr>
        </p:nvSpPr>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rgbClr val="333333"/>
                </a:solidFill>
              </a:defRPr>
            </a:lvl5pPr>
            <a:lvl6pPr>
              <a:defRPr>
                <a:solidFill>
                  <a:srgbClr val="333333"/>
                </a:solidFill>
              </a:defRPr>
            </a:lvl6pPr>
            <a:lvl7pPr>
              <a:defRPr>
                <a:solidFill>
                  <a:srgbClr val="333333"/>
                </a:solidFill>
              </a:defRPr>
            </a:lvl7pPr>
            <a:lvl8pPr>
              <a:defRPr>
                <a:solidFill>
                  <a:srgbClr val="333333"/>
                </a:solidFill>
              </a:defRPr>
            </a:lvl8pPr>
            <a:lvl9pPr>
              <a:defRPr>
                <a:solidFill>
                  <a:srgbClr val="333333"/>
                </a:solidFill>
              </a:defRPr>
            </a:lvl9pPr>
          </a:lstStyle>
          <a:p>
            <a:fld id="{63DCA5C9-2E11-4C67-86EB-AE1DE127DC64}" type="slidenum">
              <a:rPr lang="en-US" smtClean="0"/>
              <a:pPr/>
              <a:t>‹#›</a:t>
            </a:fld>
            <a:endParaRPr lang="en-US" dirty="0"/>
          </a:p>
        </p:txBody>
      </p:sp>
      <p:sp>
        <p:nvSpPr>
          <p:cNvPr id="10" name="Text Placeholder 9"/>
          <p:cNvSpPr>
            <a:spLocks noGrp="1"/>
          </p:cNvSpPr>
          <p:nvPr>
            <p:ph type="body" sz="quarter" idx="13" hasCustomPrompt="1"/>
          </p:nvPr>
        </p:nvSpPr>
        <p:spPr>
          <a:xfrm>
            <a:off x="491068" y="1600200"/>
            <a:ext cx="10354732" cy="4527550"/>
          </a:xfrm>
        </p:spPr>
        <p:txBody>
          <a:bodyPr tIns="1005840"/>
          <a:lstStyle>
            <a:lvl1pPr marL="0" indent="0">
              <a:spcAft>
                <a:spcPts val="1200"/>
              </a:spcAft>
              <a:buFontTx/>
              <a:buNone/>
              <a:defRPr sz="2800">
                <a:solidFill>
                  <a:srgbClr val="007CBA"/>
                </a:solidFill>
              </a:defRPr>
            </a:lvl1pPr>
            <a:lvl2pPr marL="174625" indent="-171450">
              <a:spcAft>
                <a:spcPts val="600"/>
              </a:spcAft>
              <a:buFont typeface="Arial" panose="020B0604020202020204" pitchFamily="34" charset="0"/>
              <a:buChar char="•"/>
              <a:tabLst/>
              <a:defRPr sz="1800">
                <a:solidFill>
                  <a:srgbClr val="333333"/>
                </a:solidFill>
              </a:defRPr>
            </a:lvl2pPr>
            <a:lvl3pPr marL="174625" indent="-171450">
              <a:spcAft>
                <a:spcPts val="600"/>
              </a:spcAft>
              <a:buFont typeface="Arial" panose="020B0604020202020204" pitchFamily="34" charset="0"/>
              <a:buChar char="•"/>
              <a:tabLst/>
              <a:defRPr sz="1800">
                <a:solidFill>
                  <a:srgbClr val="333333"/>
                </a:solidFill>
              </a:defRPr>
            </a:lvl3pPr>
            <a:lvl4pPr marL="174625" indent="-171450">
              <a:spcAft>
                <a:spcPts val="600"/>
              </a:spcAft>
              <a:buFont typeface="Arial" panose="020B0604020202020204" pitchFamily="34" charset="0"/>
              <a:buChar char="•"/>
              <a:tabLst/>
              <a:defRPr sz="1800">
                <a:solidFill>
                  <a:srgbClr val="333333"/>
                </a:solidFill>
              </a:defRPr>
            </a:lvl4pPr>
            <a:lvl5pPr marL="174625" indent="-171450">
              <a:spcAft>
                <a:spcPts val="600"/>
              </a:spcAft>
              <a:buFont typeface="Arial" panose="020B0604020202020204" pitchFamily="34" charset="0"/>
              <a:buChar char="•"/>
              <a:tabLst/>
              <a:defRPr sz="1800">
                <a:solidFill>
                  <a:srgbClr val="333333"/>
                </a:solidFill>
              </a:defRPr>
            </a:lvl5pPr>
            <a:lvl6pPr marL="174625" indent="-171450">
              <a:spcAft>
                <a:spcPts val="600"/>
              </a:spcAft>
              <a:buFont typeface="Arial" panose="020B0604020202020204" pitchFamily="34" charset="0"/>
              <a:buChar char="•"/>
              <a:tabLst/>
              <a:defRPr sz="1800">
                <a:solidFill>
                  <a:srgbClr val="333333"/>
                </a:solidFill>
              </a:defRPr>
            </a:lvl6pPr>
            <a:lvl7pPr marL="174625" indent="-171450">
              <a:spcAft>
                <a:spcPts val="600"/>
              </a:spcAft>
              <a:buFont typeface="Arial" panose="020B0604020202020204" pitchFamily="34" charset="0"/>
              <a:buChar char="•"/>
              <a:tabLst/>
              <a:defRPr sz="1800">
                <a:solidFill>
                  <a:srgbClr val="333333"/>
                </a:solidFill>
              </a:defRPr>
            </a:lvl7pPr>
            <a:lvl8pPr marL="174625" indent="-171450">
              <a:spcAft>
                <a:spcPts val="600"/>
              </a:spcAft>
              <a:buFont typeface="Arial" panose="020B0604020202020204" pitchFamily="34" charset="0"/>
              <a:buChar char="•"/>
              <a:tabLst/>
              <a:defRPr sz="1800">
                <a:solidFill>
                  <a:srgbClr val="333333"/>
                </a:solidFill>
              </a:defRPr>
            </a:lvl8pPr>
            <a:lvl9pPr marL="174625" indent="-171450">
              <a:spcAft>
                <a:spcPts val="600"/>
              </a:spcAft>
              <a:buFont typeface="Arial" panose="020B0604020202020204" pitchFamily="34" charset="0"/>
              <a:buChar char="•"/>
              <a:tabLst/>
              <a:defRPr sz="1800">
                <a:solidFill>
                  <a:srgbClr val="333333"/>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1"/>
            <a:r>
              <a:rPr lang="en-US" dirty="0"/>
              <a:t>Fifth level</a:t>
            </a:r>
          </a:p>
        </p:txBody>
      </p:sp>
    </p:spTree>
    <p:extLst>
      <p:ext uri="{BB962C8B-B14F-4D97-AF65-F5344CB8AC3E}">
        <p14:creationId xmlns:p14="http://schemas.microsoft.com/office/powerpoint/2010/main" val="2154370625"/>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C570D-3BAE-433E-8DDA-6594E6C21ABD}"/>
              </a:ext>
            </a:extLst>
          </p:cNvPr>
          <p:cNvSpPr>
            <a:spLocks noGrp="1"/>
          </p:cNvSpPr>
          <p:nvPr>
            <p:ph type="title"/>
          </p:nvPr>
        </p:nvSpPr>
        <p:spPr>
          <a:xfrm>
            <a:off x="488952" y="1600200"/>
            <a:ext cx="10356848" cy="4762500"/>
          </a:xfrm>
        </p:spPr>
        <p:txBody>
          <a:bodyPr tIns="914400" bIns="0" anchor="t" anchorCtr="0"/>
          <a:lstStyle>
            <a:lvl1pPr>
              <a:defRPr sz="2800" b="0">
                <a:solidFill>
                  <a:schemeClr val="bg1"/>
                </a:solidFill>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C418E43A-2457-42CA-BE83-E9C382D2B993}"/>
              </a:ext>
            </a:extLst>
          </p:cNvPr>
          <p:cNvSpPr>
            <a:spLocks noGrp="1"/>
          </p:cNvSpPr>
          <p:nvPr>
            <p:ph type="dt" sz="half" idx="10"/>
          </p:nvPr>
        </p:nvSpPr>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February 5, 2026</a:t>
            </a:r>
            <a:endParaRPr lang="en-US" dirty="0"/>
          </a:p>
        </p:txBody>
      </p:sp>
      <p:sp>
        <p:nvSpPr>
          <p:cNvPr id="4" name="Footer Placeholder 3">
            <a:extLst>
              <a:ext uri="{FF2B5EF4-FFF2-40B4-BE49-F238E27FC236}">
                <a16:creationId xmlns:a16="http://schemas.microsoft.com/office/drawing/2014/main" id="{84EA9C68-E3E9-4609-A378-65D54A205DC3}"/>
              </a:ext>
            </a:extLst>
          </p:cNvPr>
          <p:cNvSpPr>
            <a:spLocks noGrp="1"/>
          </p:cNvSpPr>
          <p:nvPr>
            <p:ph type="ftr" sz="quarter" idx="11"/>
          </p:nvPr>
        </p:nvSpPr>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200"/>
            <a:r>
              <a:rPr lang="en-US"/>
              <a:t>CAR T in BCL</a:t>
            </a:r>
            <a:endParaRPr lang="en-US" dirty="0"/>
          </a:p>
        </p:txBody>
      </p:sp>
      <p:sp>
        <p:nvSpPr>
          <p:cNvPr id="5" name="Slide Number Placeholder 4">
            <a:extLst>
              <a:ext uri="{FF2B5EF4-FFF2-40B4-BE49-F238E27FC236}">
                <a16:creationId xmlns:a16="http://schemas.microsoft.com/office/drawing/2014/main" id="{F0CF157D-7400-499C-96F9-B806E4F48A9A}"/>
              </a:ext>
            </a:extLst>
          </p:cNvPr>
          <p:cNvSpPr>
            <a:spLocks noGrp="1"/>
          </p:cNvSpPr>
          <p:nvPr>
            <p:ph type="sldNum" sz="quarter" idx="12"/>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1612725997"/>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divider_whi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C570D-3BAE-433E-8DDA-6594E6C21ABD}"/>
              </a:ext>
            </a:extLst>
          </p:cNvPr>
          <p:cNvSpPr>
            <a:spLocks noGrp="1"/>
          </p:cNvSpPr>
          <p:nvPr>
            <p:ph type="title"/>
          </p:nvPr>
        </p:nvSpPr>
        <p:spPr>
          <a:xfrm>
            <a:off x="488952" y="1600200"/>
            <a:ext cx="10356848" cy="4762500"/>
          </a:xfrm>
        </p:spPr>
        <p:txBody>
          <a:bodyPr tIns="914400" bIns="0" anchor="t" anchorCtr="0"/>
          <a:lstStyle>
            <a:lvl1pPr>
              <a:defRPr sz="2800" b="0">
                <a:solidFill>
                  <a:srgbClr val="007CBA"/>
                </a:solidFill>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C418E43A-2457-42CA-BE83-E9C382D2B993}"/>
              </a:ext>
            </a:extLst>
          </p:cNvPr>
          <p:cNvSpPr>
            <a:spLocks noGrp="1"/>
          </p:cNvSpPr>
          <p:nvPr>
            <p:ph type="dt" sz="half" idx="10"/>
          </p:nvPr>
        </p:nvSpPr>
        <p:spPr/>
        <p:txBody>
          <a:bodyPr/>
          <a:lstStyle>
            <a:lvl1pPr>
              <a:defRPr>
                <a:solidFill>
                  <a:srgbClr val="9E9E98"/>
                </a:solidFill>
                <a:latin typeface="+mn-lt"/>
              </a:defRPr>
            </a:lvl1pPr>
            <a:lvl2pPr>
              <a:defRPr>
                <a:solidFill>
                  <a:srgbClr val="9E9E98"/>
                </a:solidFill>
              </a:defRPr>
            </a:lvl2pPr>
            <a:lvl3pPr>
              <a:defRPr>
                <a:solidFill>
                  <a:srgbClr val="9E9E98"/>
                </a:solidFill>
              </a:defRPr>
            </a:lvl3pPr>
            <a:lvl4pPr>
              <a:defRPr>
                <a:solidFill>
                  <a:srgbClr val="9E9E98"/>
                </a:solidFill>
              </a:defRPr>
            </a:lvl4pPr>
            <a:lvl5pPr>
              <a:defRPr>
                <a:solidFill>
                  <a:srgbClr val="9E9E98"/>
                </a:solidFill>
              </a:defRPr>
            </a:lvl5pPr>
            <a:lvl6pPr>
              <a:defRPr>
                <a:solidFill>
                  <a:srgbClr val="9E9E98"/>
                </a:solidFill>
              </a:defRPr>
            </a:lvl6pPr>
            <a:lvl7pPr>
              <a:defRPr>
                <a:solidFill>
                  <a:srgbClr val="9E9E98"/>
                </a:solidFill>
              </a:defRPr>
            </a:lvl7pPr>
            <a:lvl8pPr>
              <a:defRPr>
                <a:solidFill>
                  <a:srgbClr val="9E9E98"/>
                </a:solidFill>
              </a:defRPr>
            </a:lvl8pPr>
            <a:lvl9pPr>
              <a:defRPr>
                <a:solidFill>
                  <a:srgbClr val="9E9E98"/>
                </a:solidFill>
              </a:defRPr>
            </a:lvl9pPr>
          </a:lstStyle>
          <a:p>
            <a:r>
              <a:rPr lang="en-US"/>
              <a:t>February 5, 2026</a:t>
            </a:r>
            <a:endParaRPr lang="en-US" dirty="0"/>
          </a:p>
        </p:txBody>
      </p:sp>
      <p:sp>
        <p:nvSpPr>
          <p:cNvPr id="4" name="Footer Placeholder 3">
            <a:extLst>
              <a:ext uri="{FF2B5EF4-FFF2-40B4-BE49-F238E27FC236}">
                <a16:creationId xmlns:a16="http://schemas.microsoft.com/office/drawing/2014/main" id="{84EA9C68-E3E9-4609-A378-65D54A205DC3}"/>
              </a:ext>
            </a:extLst>
          </p:cNvPr>
          <p:cNvSpPr>
            <a:spLocks noGrp="1"/>
          </p:cNvSpPr>
          <p:nvPr>
            <p:ph type="ftr" sz="quarter" idx="11"/>
          </p:nvPr>
        </p:nvSpPr>
        <p:spPr/>
        <p:txBody>
          <a:bodyPr/>
          <a:lstStyle>
            <a:lvl1pPr>
              <a:defRPr b="1">
                <a:solidFill>
                  <a:srgbClr val="9E9E98"/>
                </a:solidFill>
              </a:defRPr>
            </a:lvl1pPr>
            <a:lvl2pPr>
              <a:defRPr b="1">
                <a:solidFill>
                  <a:srgbClr val="9E9E98"/>
                </a:solidFill>
              </a:defRPr>
            </a:lvl2pPr>
            <a:lvl3pPr>
              <a:defRPr b="1">
                <a:solidFill>
                  <a:srgbClr val="9E9E98"/>
                </a:solidFill>
              </a:defRPr>
            </a:lvl3pPr>
            <a:lvl4pPr>
              <a:defRPr b="1">
                <a:solidFill>
                  <a:srgbClr val="9E9E98"/>
                </a:solidFill>
              </a:defRPr>
            </a:lvl4pPr>
            <a:lvl5pPr>
              <a:defRPr b="1">
                <a:solidFill>
                  <a:srgbClr val="9E9E98"/>
                </a:solidFill>
              </a:defRPr>
            </a:lvl5pPr>
            <a:lvl6pPr>
              <a:defRPr b="1">
                <a:solidFill>
                  <a:srgbClr val="9E9E98"/>
                </a:solidFill>
              </a:defRPr>
            </a:lvl6pPr>
            <a:lvl7pPr>
              <a:defRPr b="1">
                <a:solidFill>
                  <a:srgbClr val="9E9E98"/>
                </a:solidFill>
              </a:defRPr>
            </a:lvl7pPr>
            <a:lvl8pPr>
              <a:defRPr b="1">
                <a:solidFill>
                  <a:srgbClr val="9E9E98"/>
                </a:solidFill>
              </a:defRPr>
            </a:lvl8pPr>
            <a:lvl9pPr>
              <a:defRPr b="1">
                <a:solidFill>
                  <a:srgbClr val="9E9E98"/>
                </a:solidFill>
              </a:defRPr>
            </a:lvl9pPr>
          </a:lstStyle>
          <a:p>
            <a:pPr indent="-2743200"/>
            <a:r>
              <a:rPr lang="en-US"/>
              <a:t>CAR T in BCL</a:t>
            </a:r>
            <a:endParaRPr lang="en-US" dirty="0"/>
          </a:p>
        </p:txBody>
      </p:sp>
      <p:sp>
        <p:nvSpPr>
          <p:cNvPr id="5" name="Slide Number Placeholder 4">
            <a:extLst>
              <a:ext uri="{FF2B5EF4-FFF2-40B4-BE49-F238E27FC236}">
                <a16:creationId xmlns:a16="http://schemas.microsoft.com/office/drawing/2014/main" id="{F0CF157D-7400-499C-96F9-B806E4F48A9A}"/>
              </a:ext>
            </a:extLst>
          </p:cNvPr>
          <p:cNvSpPr>
            <a:spLocks noGrp="1"/>
          </p:cNvSpPr>
          <p:nvPr>
            <p:ph type="sldNum" sz="quarter" idx="12"/>
          </p:nvPr>
        </p:nvSpPr>
        <p:spPr/>
        <p:txBody>
          <a:bodyPr/>
          <a:lstStyle>
            <a:lvl1pPr>
              <a:defRPr>
                <a:solidFill>
                  <a:srgbClr val="9E9E98"/>
                </a:solidFill>
              </a:defRPr>
            </a:lvl1pPr>
            <a:lvl2pPr>
              <a:defRPr>
                <a:solidFill>
                  <a:srgbClr val="9E9E98"/>
                </a:solidFill>
              </a:defRPr>
            </a:lvl2pPr>
            <a:lvl3pPr>
              <a:defRPr>
                <a:solidFill>
                  <a:srgbClr val="9E9E98"/>
                </a:solidFill>
              </a:defRPr>
            </a:lvl3pPr>
            <a:lvl4pPr>
              <a:defRPr>
                <a:solidFill>
                  <a:srgbClr val="9E9E98"/>
                </a:solidFill>
              </a:defRPr>
            </a:lvl4pPr>
            <a:lvl5pPr>
              <a:defRPr>
                <a:solidFill>
                  <a:srgbClr val="9E9E98"/>
                </a:solidFill>
              </a:defRPr>
            </a:lvl5pPr>
            <a:lvl6pPr>
              <a:defRPr>
                <a:solidFill>
                  <a:srgbClr val="9E9E98"/>
                </a:solidFill>
              </a:defRPr>
            </a:lvl6pPr>
            <a:lvl7pPr>
              <a:defRPr>
                <a:solidFill>
                  <a:srgbClr val="9E9E98"/>
                </a:solidFill>
              </a:defRPr>
            </a:lvl7pPr>
            <a:lvl8pPr>
              <a:defRPr>
                <a:solidFill>
                  <a:srgbClr val="9E9E98"/>
                </a:solidFill>
              </a:defRPr>
            </a:lvl8pPr>
            <a:lvl9pPr>
              <a:defRPr>
                <a:solidFill>
                  <a:srgbClr val="9E9E98"/>
                </a:solidFill>
              </a:defRPr>
            </a:lvl9p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3438783898"/>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quote_oran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C570D-3BAE-433E-8DDA-6594E6C21ABD}"/>
              </a:ext>
            </a:extLst>
          </p:cNvPr>
          <p:cNvSpPr>
            <a:spLocks noGrp="1"/>
          </p:cNvSpPr>
          <p:nvPr>
            <p:ph type="title" hasCustomPrompt="1"/>
          </p:nvPr>
        </p:nvSpPr>
        <p:spPr>
          <a:xfrm>
            <a:off x="491068" y="1600200"/>
            <a:ext cx="10354732" cy="4762500"/>
          </a:xfrm>
        </p:spPr>
        <p:txBody>
          <a:bodyPr tIns="914400" bIns="0" anchor="t" anchorCtr="0"/>
          <a:lstStyle>
            <a:lvl1pPr marL="114300" indent="-114300">
              <a:tabLst/>
              <a:defRPr sz="2800" b="0">
                <a:solidFill>
                  <a:schemeClr val="bg1"/>
                </a:solidFill>
              </a:defRPr>
            </a:lvl1pPr>
          </a:lstStyle>
          <a:p>
            <a:r>
              <a:rPr lang="en-US" dirty="0"/>
              <a:t>“Click to edit Master title style”</a:t>
            </a:r>
          </a:p>
        </p:txBody>
      </p:sp>
      <p:sp>
        <p:nvSpPr>
          <p:cNvPr id="3" name="Date Placeholder 2">
            <a:extLst>
              <a:ext uri="{FF2B5EF4-FFF2-40B4-BE49-F238E27FC236}">
                <a16:creationId xmlns:a16="http://schemas.microsoft.com/office/drawing/2014/main" id="{C418E43A-2457-42CA-BE83-E9C382D2B993}"/>
              </a:ext>
            </a:extLst>
          </p:cNvPr>
          <p:cNvSpPr>
            <a:spLocks noGrp="1"/>
          </p:cNvSpPr>
          <p:nvPr>
            <p:ph type="dt" sz="half" idx="10"/>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latin typeface="+mn-lt"/>
              </a:defRPr>
            </a:lvl9pPr>
          </a:lstStyle>
          <a:p>
            <a:pPr lvl="8"/>
            <a:r>
              <a:rPr lang="en-US"/>
              <a:t>February 5, 2026</a:t>
            </a:r>
            <a:endParaRPr lang="en-US" dirty="0"/>
          </a:p>
        </p:txBody>
      </p:sp>
      <p:sp>
        <p:nvSpPr>
          <p:cNvPr id="5" name="Slide Number Placeholder 4">
            <a:extLst>
              <a:ext uri="{FF2B5EF4-FFF2-40B4-BE49-F238E27FC236}">
                <a16:creationId xmlns:a16="http://schemas.microsoft.com/office/drawing/2014/main" id="{F0CF157D-7400-499C-96F9-B806E4F48A9A}"/>
              </a:ext>
            </a:extLst>
          </p:cNvPr>
          <p:cNvSpPr>
            <a:spLocks noGrp="1"/>
          </p:cNvSpPr>
          <p:nvPr>
            <p:ph type="sldNum" sz="quarter" idx="12"/>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63DCA5C9-2E11-4C67-86EB-AE1DE127DC64}" type="slidenum">
              <a:rPr lang="en-US" smtClean="0"/>
              <a:pPr/>
              <a:t>‹#›</a:t>
            </a:fld>
            <a:endParaRPr lang="en-US" dirty="0"/>
          </a:p>
        </p:txBody>
      </p:sp>
      <p:sp>
        <p:nvSpPr>
          <p:cNvPr id="8" name="Footer Placeholder 3">
            <a:extLst>
              <a:ext uri="{FF2B5EF4-FFF2-40B4-BE49-F238E27FC236}">
                <a16:creationId xmlns:a16="http://schemas.microsoft.com/office/drawing/2014/main" id="{847E09F5-A375-C64D-BB39-EB6C814717C6}"/>
              </a:ext>
            </a:extLst>
          </p:cNvPr>
          <p:cNvSpPr>
            <a:spLocks noGrp="1"/>
          </p:cNvSpPr>
          <p:nvPr>
            <p:ph type="ftr" sz="quarter" idx="11"/>
          </p:nvPr>
        </p:nvSpPr>
        <p:spPr>
          <a:xfrm>
            <a:off x="491068" y="6496842"/>
            <a:ext cx="4815417" cy="208758"/>
          </a:xfrm>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200"/>
            <a:r>
              <a:rPr lang="en-US"/>
              <a:t>CAR T in BCL</a:t>
            </a:r>
            <a:endParaRPr lang="en-US" dirty="0"/>
          </a:p>
        </p:txBody>
      </p:sp>
    </p:spTree>
    <p:extLst>
      <p:ext uri="{BB962C8B-B14F-4D97-AF65-F5344CB8AC3E}">
        <p14:creationId xmlns:p14="http://schemas.microsoft.com/office/powerpoint/2010/main" val="1232412482"/>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quote_whi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C570D-3BAE-433E-8DDA-6594E6C21ABD}"/>
              </a:ext>
            </a:extLst>
          </p:cNvPr>
          <p:cNvSpPr>
            <a:spLocks noGrp="1"/>
          </p:cNvSpPr>
          <p:nvPr>
            <p:ph type="title" hasCustomPrompt="1"/>
          </p:nvPr>
        </p:nvSpPr>
        <p:spPr>
          <a:xfrm>
            <a:off x="491068" y="1600200"/>
            <a:ext cx="10354732" cy="4762500"/>
          </a:xfrm>
        </p:spPr>
        <p:txBody>
          <a:bodyPr tIns="914400" bIns="0" anchor="t" anchorCtr="0"/>
          <a:lstStyle>
            <a:lvl1pPr marL="114300" indent="-114300">
              <a:tabLst/>
              <a:defRPr sz="2800" b="0">
                <a:solidFill>
                  <a:srgbClr val="007CBA"/>
                </a:solidFill>
              </a:defRPr>
            </a:lvl1pPr>
          </a:lstStyle>
          <a:p>
            <a:r>
              <a:rPr lang="en-US" dirty="0"/>
              <a:t>“Click to edit Master title style”</a:t>
            </a:r>
          </a:p>
        </p:txBody>
      </p:sp>
      <p:sp>
        <p:nvSpPr>
          <p:cNvPr id="3" name="Date Placeholder 2">
            <a:extLst>
              <a:ext uri="{FF2B5EF4-FFF2-40B4-BE49-F238E27FC236}">
                <a16:creationId xmlns:a16="http://schemas.microsoft.com/office/drawing/2014/main" id="{C418E43A-2457-42CA-BE83-E9C382D2B993}"/>
              </a:ext>
            </a:extLst>
          </p:cNvPr>
          <p:cNvSpPr>
            <a:spLocks noGrp="1"/>
          </p:cNvSpPr>
          <p:nvPr>
            <p:ph type="dt" sz="half" idx="10"/>
          </p:nvPr>
        </p:nvSpPr>
        <p:spPr/>
        <p:txBody>
          <a:bodyPr/>
          <a:lstStyle>
            <a:lvl1pPr>
              <a:defRPr>
                <a:solidFill>
                  <a:srgbClr val="9E9E98"/>
                </a:solidFill>
              </a:defRPr>
            </a:lvl1pPr>
            <a:lvl2pPr>
              <a:defRPr>
                <a:solidFill>
                  <a:srgbClr val="9E9E98"/>
                </a:solidFill>
              </a:defRPr>
            </a:lvl2pPr>
            <a:lvl3pPr>
              <a:defRPr>
                <a:solidFill>
                  <a:srgbClr val="9E9E98"/>
                </a:solidFill>
              </a:defRPr>
            </a:lvl3pPr>
            <a:lvl4pPr>
              <a:defRPr>
                <a:solidFill>
                  <a:srgbClr val="9E9E98"/>
                </a:solidFill>
              </a:defRPr>
            </a:lvl4pPr>
            <a:lvl5pPr>
              <a:defRPr>
                <a:solidFill>
                  <a:srgbClr val="9E9E98"/>
                </a:solidFill>
              </a:defRPr>
            </a:lvl5pPr>
            <a:lvl6pPr>
              <a:defRPr>
                <a:solidFill>
                  <a:srgbClr val="9E9E98"/>
                </a:solidFill>
              </a:defRPr>
            </a:lvl6pPr>
            <a:lvl7pPr>
              <a:defRPr>
                <a:solidFill>
                  <a:srgbClr val="9E9E98"/>
                </a:solidFill>
              </a:defRPr>
            </a:lvl7pPr>
            <a:lvl8pPr>
              <a:defRPr>
                <a:solidFill>
                  <a:srgbClr val="9E9E98"/>
                </a:solidFill>
              </a:defRPr>
            </a:lvl8pPr>
            <a:lvl9pPr>
              <a:defRPr>
                <a:solidFill>
                  <a:srgbClr val="9E9E98"/>
                </a:solidFill>
                <a:latin typeface="+mn-lt"/>
              </a:defRPr>
            </a:lvl9pPr>
          </a:lstStyle>
          <a:p>
            <a:pPr lvl="8"/>
            <a:r>
              <a:rPr lang="en-US"/>
              <a:t>February 5, 2026</a:t>
            </a:r>
            <a:endParaRPr lang="en-US" dirty="0"/>
          </a:p>
        </p:txBody>
      </p:sp>
      <p:sp>
        <p:nvSpPr>
          <p:cNvPr id="5" name="Slide Number Placeholder 4">
            <a:extLst>
              <a:ext uri="{FF2B5EF4-FFF2-40B4-BE49-F238E27FC236}">
                <a16:creationId xmlns:a16="http://schemas.microsoft.com/office/drawing/2014/main" id="{F0CF157D-7400-499C-96F9-B806E4F48A9A}"/>
              </a:ext>
            </a:extLst>
          </p:cNvPr>
          <p:cNvSpPr>
            <a:spLocks noGrp="1"/>
          </p:cNvSpPr>
          <p:nvPr>
            <p:ph type="sldNum" sz="quarter" idx="12"/>
          </p:nvPr>
        </p:nvSpPr>
        <p:spPr/>
        <p:txBody>
          <a:bodyPr/>
          <a:lstStyle>
            <a:lvl1pPr>
              <a:defRPr>
                <a:solidFill>
                  <a:srgbClr val="9E9E98"/>
                </a:solidFill>
              </a:defRPr>
            </a:lvl1pPr>
            <a:lvl2pPr>
              <a:defRPr>
                <a:solidFill>
                  <a:srgbClr val="9E9E98"/>
                </a:solidFill>
              </a:defRPr>
            </a:lvl2pPr>
            <a:lvl3pPr>
              <a:defRPr>
                <a:solidFill>
                  <a:srgbClr val="9E9E98"/>
                </a:solidFill>
              </a:defRPr>
            </a:lvl3pPr>
            <a:lvl4pPr>
              <a:defRPr>
                <a:solidFill>
                  <a:srgbClr val="9E9E98"/>
                </a:solidFill>
              </a:defRPr>
            </a:lvl4pPr>
            <a:lvl5pPr>
              <a:defRPr>
                <a:solidFill>
                  <a:srgbClr val="9E9E98"/>
                </a:solidFill>
              </a:defRPr>
            </a:lvl5pPr>
            <a:lvl6pPr>
              <a:defRPr>
                <a:solidFill>
                  <a:srgbClr val="9E9E98"/>
                </a:solidFill>
              </a:defRPr>
            </a:lvl6pPr>
            <a:lvl7pPr>
              <a:defRPr>
                <a:solidFill>
                  <a:srgbClr val="9E9E98"/>
                </a:solidFill>
              </a:defRPr>
            </a:lvl7pPr>
            <a:lvl8pPr>
              <a:defRPr>
                <a:solidFill>
                  <a:srgbClr val="9E9E98"/>
                </a:solidFill>
              </a:defRPr>
            </a:lvl8pPr>
            <a:lvl9pPr>
              <a:defRPr>
                <a:solidFill>
                  <a:srgbClr val="9E9E98"/>
                </a:solidFill>
              </a:defRPr>
            </a:lvl9pPr>
          </a:lstStyle>
          <a:p>
            <a:fld id="{63DCA5C9-2E11-4C67-86EB-AE1DE127DC64}" type="slidenum">
              <a:rPr lang="en-US" smtClean="0"/>
              <a:pPr/>
              <a:t>‹#›</a:t>
            </a:fld>
            <a:endParaRPr lang="en-US" dirty="0"/>
          </a:p>
        </p:txBody>
      </p:sp>
      <p:sp>
        <p:nvSpPr>
          <p:cNvPr id="6" name="Footer Placeholder 3">
            <a:extLst>
              <a:ext uri="{FF2B5EF4-FFF2-40B4-BE49-F238E27FC236}">
                <a16:creationId xmlns:a16="http://schemas.microsoft.com/office/drawing/2014/main" id="{8FDDCB98-501F-C943-8697-CF44C63C8AA2}"/>
              </a:ext>
            </a:extLst>
          </p:cNvPr>
          <p:cNvSpPr>
            <a:spLocks noGrp="1"/>
          </p:cNvSpPr>
          <p:nvPr>
            <p:ph type="ftr" sz="quarter" idx="11"/>
          </p:nvPr>
        </p:nvSpPr>
        <p:spPr>
          <a:xfrm>
            <a:off x="491068" y="6496842"/>
            <a:ext cx="4815417" cy="208758"/>
          </a:xfrm>
        </p:spPr>
        <p:txBody>
          <a:bodyPr/>
          <a:lstStyle>
            <a:lvl1pPr>
              <a:defRPr b="1">
                <a:solidFill>
                  <a:srgbClr val="9E9E98"/>
                </a:solidFill>
              </a:defRPr>
            </a:lvl1pPr>
            <a:lvl2pPr>
              <a:defRPr b="1">
                <a:solidFill>
                  <a:srgbClr val="9E9E98"/>
                </a:solidFill>
              </a:defRPr>
            </a:lvl2pPr>
            <a:lvl3pPr>
              <a:defRPr b="1">
                <a:solidFill>
                  <a:srgbClr val="9E9E98"/>
                </a:solidFill>
              </a:defRPr>
            </a:lvl3pPr>
            <a:lvl4pPr>
              <a:defRPr b="1">
                <a:solidFill>
                  <a:srgbClr val="9E9E98"/>
                </a:solidFill>
              </a:defRPr>
            </a:lvl4pPr>
            <a:lvl5pPr>
              <a:defRPr b="1">
                <a:solidFill>
                  <a:srgbClr val="9E9E98"/>
                </a:solidFill>
              </a:defRPr>
            </a:lvl5pPr>
            <a:lvl6pPr>
              <a:defRPr b="1">
                <a:solidFill>
                  <a:srgbClr val="9E9E98"/>
                </a:solidFill>
              </a:defRPr>
            </a:lvl6pPr>
            <a:lvl7pPr>
              <a:defRPr b="1">
                <a:solidFill>
                  <a:srgbClr val="9E9E98"/>
                </a:solidFill>
              </a:defRPr>
            </a:lvl7pPr>
            <a:lvl8pPr>
              <a:defRPr b="1">
                <a:solidFill>
                  <a:srgbClr val="9E9E98"/>
                </a:solidFill>
              </a:defRPr>
            </a:lvl8pPr>
            <a:lvl9pPr>
              <a:defRPr b="1">
                <a:solidFill>
                  <a:srgbClr val="9E9E98"/>
                </a:solidFill>
              </a:defRPr>
            </a:lvl9pPr>
          </a:lstStyle>
          <a:p>
            <a:pPr indent="-2743200"/>
            <a:r>
              <a:rPr lang="en-US"/>
              <a:t>CAR T in BCL</a:t>
            </a:r>
            <a:endParaRPr lang="en-US" dirty="0"/>
          </a:p>
        </p:txBody>
      </p:sp>
    </p:spTree>
    <p:extLst>
      <p:ext uri="{BB962C8B-B14F-4D97-AF65-F5344CB8AC3E}">
        <p14:creationId xmlns:p14="http://schemas.microsoft.com/office/powerpoint/2010/main" val="10157227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916FF65-E16B-BA4F-9591-6B4416106527}" type="datetimeFigureOut">
              <a:rPr lang="en-US" smtClean="0"/>
              <a:t>4/24/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7006538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layout_1 colum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C570D-3BAE-433E-8DDA-6594E6C21ABD}"/>
              </a:ext>
            </a:extLst>
          </p:cNvPr>
          <p:cNvSpPr>
            <a:spLocks noGrp="1"/>
          </p:cNvSpPr>
          <p:nvPr>
            <p:ph type="title"/>
          </p:nvPr>
        </p:nvSpPr>
        <p:spPr>
          <a:xfrm>
            <a:off x="488951" y="349250"/>
            <a:ext cx="11216216" cy="1022350"/>
          </a:xfrm>
        </p:spPr>
        <p:txBody>
          <a:bodyPr/>
          <a:lstStyle>
            <a:lvl1pPr>
              <a:defRPr>
                <a:solidFill>
                  <a:srgbClr val="007CBA"/>
                </a:solidFill>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C418E43A-2457-42CA-BE83-E9C382D2B993}"/>
              </a:ext>
            </a:extLst>
          </p:cNvPr>
          <p:cNvSpPr>
            <a:spLocks noGrp="1"/>
          </p:cNvSpPr>
          <p:nvPr>
            <p:ph type="dt" sz="half" idx="10"/>
          </p:nvPr>
        </p:nvSpPr>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February 5, 2026</a:t>
            </a:r>
            <a:endParaRPr lang="en-US" dirty="0"/>
          </a:p>
        </p:txBody>
      </p:sp>
      <p:sp>
        <p:nvSpPr>
          <p:cNvPr id="5" name="Slide Number Placeholder 4">
            <a:extLst>
              <a:ext uri="{FF2B5EF4-FFF2-40B4-BE49-F238E27FC236}">
                <a16:creationId xmlns:a16="http://schemas.microsoft.com/office/drawing/2014/main" id="{F0CF157D-7400-499C-96F9-B806E4F48A9A}"/>
              </a:ext>
            </a:extLst>
          </p:cNvPr>
          <p:cNvSpPr>
            <a:spLocks noGrp="1"/>
          </p:cNvSpPr>
          <p:nvPr>
            <p:ph type="sldNum" sz="quarter" idx="12"/>
          </p:nvPr>
        </p:nvSpPr>
        <p:spPr/>
        <p:txBody>
          <a:bodyPr/>
          <a:lstStyle>
            <a:lvl1pPr>
              <a:defRPr>
                <a:solidFill>
                  <a:schemeClr val="bg1"/>
                </a:solidFill>
              </a:defRPr>
            </a:lvl1pPr>
          </a:lstStyle>
          <a:p>
            <a:fld id="{63DCA5C9-2E11-4C67-86EB-AE1DE127DC64}" type="slidenum">
              <a:rPr lang="en-US" smtClean="0"/>
              <a:pPr/>
              <a:t>‹#›</a:t>
            </a:fld>
            <a:endParaRPr lang="en-US" dirty="0"/>
          </a:p>
        </p:txBody>
      </p:sp>
      <p:sp>
        <p:nvSpPr>
          <p:cNvPr id="8" name="Content Placeholder 7">
            <a:extLst>
              <a:ext uri="{FF2B5EF4-FFF2-40B4-BE49-F238E27FC236}">
                <a16:creationId xmlns:a16="http://schemas.microsoft.com/office/drawing/2014/main" id="{89460896-BBD5-4265-B217-9DE153A9B618}"/>
              </a:ext>
            </a:extLst>
          </p:cNvPr>
          <p:cNvSpPr>
            <a:spLocks noGrp="1"/>
          </p:cNvSpPr>
          <p:nvPr>
            <p:ph sz="quarter" idx="14"/>
          </p:nvPr>
        </p:nvSpPr>
        <p:spPr>
          <a:xfrm>
            <a:off x="491067" y="1600200"/>
            <a:ext cx="10351104" cy="453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Footer Placeholder 3">
            <a:extLst>
              <a:ext uri="{FF2B5EF4-FFF2-40B4-BE49-F238E27FC236}">
                <a16:creationId xmlns:a16="http://schemas.microsoft.com/office/drawing/2014/main" id="{868B56D2-9291-8145-B467-CF3AFF5A71C1}"/>
              </a:ext>
            </a:extLst>
          </p:cNvPr>
          <p:cNvSpPr>
            <a:spLocks noGrp="1"/>
          </p:cNvSpPr>
          <p:nvPr>
            <p:ph type="ftr" sz="quarter" idx="11"/>
          </p:nvPr>
        </p:nvSpPr>
        <p:spPr>
          <a:xfrm>
            <a:off x="491068" y="6496842"/>
            <a:ext cx="4815417" cy="208758"/>
          </a:xfrm>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200"/>
            <a:r>
              <a:rPr lang="en-US"/>
              <a:t>CAR T in BCL</a:t>
            </a:r>
            <a:endParaRPr lang="en-US" dirty="0"/>
          </a:p>
        </p:txBody>
      </p:sp>
    </p:spTree>
    <p:extLst>
      <p:ext uri="{BB962C8B-B14F-4D97-AF65-F5344CB8AC3E}">
        <p14:creationId xmlns:p14="http://schemas.microsoft.com/office/powerpoint/2010/main" val="2175216077"/>
      </p:ext>
    </p:extLst>
  </p:cSld>
  <p:clrMapOvr>
    <a:masterClrMapping/>
  </p:clrMapOvr>
  <p:extLst>
    <p:ext uri="{DCECCB84-F9BA-43D5-87BE-67443E8EF086}">
      <p15:sldGuideLst xmlns:p15="http://schemas.microsoft.com/office/powerpoint/2012/main"/>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layout_2 colum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C570D-3BAE-433E-8DDA-6594E6C21ABD}"/>
              </a:ext>
            </a:extLst>
          </p:cNvPr>
          <p:cNvSpPr>
            <a:spLocks noGrp="1"/>
          </p:cNvSpPr>
          <p:nvPr>
            <p:ph type="title"/>
          </p:nvPr>
        </p:nvSpPr>
        <p:spPr/>
        <p:txBody>
          <a:bodyPr/>
          <a:lstStyle>
            <a:lvl1pPr>
              <a:defRPr>
                <a:solidFill>
                  <a:srgbClr val="007CBA"/>
                </a:solidFill>
              </a:defRPr>
            </a:lvl1pPr>
          </a:lstStyle>
          <a:p>
            <a:r>
              <a:rPr lang="en-US"/>
              <a:t>Click to edit Master title style</a:t>
            </a:r>
            <a:endParaRPr lang="en-US" dirty="0"/>
          </a:p>
        </p:txBody>
      </p:sp>
      <p:sp>
        <p:nvSpPr>
          <p:cNvPr id="8" name="Content Placeholder 7">
            <a:extLst>
              <a:ext uri="{FF2B5EF4-FFF2-40B4-BE49-F238E27FC236}">
                <a16:creationId xmlns:a16="http://schemas.microsoft.com/office/drawing/2014/main" id="{89460896-BBD5-4265-B217-9DE153A9B618}"/>
              </a:ext>
            </a:extLst>
          </p:cNvPr>
          <p:cNvSpPr>
            <a:spLocks noGrp="1"/>
          </p:cNvSpPr>
          <p:nvPr>
            <p:ph sz="quarter" idx="14"/>
          </p:nvPr>
        </p:nvSpPr>
        <p:spPr>
          <a:xfrm>
            <a:off x="488949" y="1600200"/>
            <a:ext cx="5454652" cy="453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Date Placeholder 2">
            <a:extLst>
              <a:ext uri="{FF2B5EF4-FFF2-40B4-BE49-F238E27FC236}">
                <a16:creationId xmlns:a16="http://schemas.microsoft.com/office/drawing/2014/main" id="{27368064-A7EF-9D45-BBE5-D003BB4D9774}"/>
              </a:ext>
            </a:extLst>
          </p:cNvPr>
          <p:cNvSpPr>
            <a:spLocks noGrp="1"/>
          </p:cNvSpPr>
          <p:nvPr>
            <p:ph type="dt" sz="half" idx="10"/>
          </p:nvPr>
        </p:nvSpPr>
        <p:spPr>
          <a:xfrm>
            <a:off x="10269462" y="6492767"/>
            <a:ext cx="1011313" cy="208758"/>
          </a:xfrm>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February 5, 2026</a:t>
            </a:r>
            <a:endParaRPr lang="en-US" dirty="0"/>
          </a:p>
        </p:txBody>
      </p:sp>
      <p:sp>
        <p:nvSpPr>
          <p:cNvPr id="13" name="Slide Number Placeholder 4">
            <a:extLst>
              <a:ext uri="{FF2B5EF4-FFF2-40B4-BE49-F238E27FC236}">
                <a16:creationId xmlns:a16="http://schemas.microsoft.com/office/drawing/2014/main" id="{588E7AB3-7213-2549-AEC9-BA165AC24B41}"/>
              </a:ext>
            </a:extLst>
          </p:cNvPr>
          <p:cNvSpPr>
            <a:spLocks noGrp="1"/>
          </p:cNvSpPr>
          <p:nvPr>
            <p:ph type="sldNum" sz="quarter" idx="12"/>
          </p:nvPr>
        </p:nvSpPr>
        <p:spPr>
          <a:xfrm>
            <a:off x="11280775" y="6492767"/>
            <a:ext cx="424392" cy="208758"/>
          </a:xfrm>
        </p:spPr>
        <p:txBody>
          <a:bodyPr/>
          <a:lstStyle>
            <a:lvl1pPr>
              <a:defRPr>
                <a:solidFill>
                  <a:schemeClr val="bg1"/>
                </a:solidFill>
              </a:defRPr>
            </a:lvl1pPr>
          </a:lstStyle>
          <a:p>
            <a:fld id="{63DCA5C9-2E11-4C67-86EB-AE1DE127DC64}" type="slidenum">
              <a:rPr lang="en-US" smtClean="0"/>
              <a:pPr/>
              <a:t>‹#›</a:t>
            </a:fld>
            <a:endParaRPr lang="en-US" dirty="0"/>
          </a:p>
        </p:txBody>
      </p:sp>
      <p:sp>
        <p:nvSpPr>
          <p:cNvPr id="14" name="Footer Placeholder 3">
            <a:extLst>
              <a:ext uri="{FF2B5EF4-FFF2-40B4-BE49-F238E27FC236}">
                <a16:creationId xmlns:a16="http://schemas.microsoft.com/office/drawing/2014/main" id="{5807D8EB-86D6-2444-BFEE-CB331CF4F61C}"/>
              </a:ext>
            </a:extLst>
          </p:cNvPr>
          <p:cNvSpPr>
            <a:spLocks noGrp="1"/>
          </p:cNvSpPr>
          <p:nvPr>
            <p:ph type="ftr" sz="quarter" idx="11"/>
          </p:nvPr>
        </p:nvSpPr>
        <p:spPr>
          <a:xfrm>
            <a:off x="491068" y="6496842"/>
            <a:ext cx="4815417" cy="208758"/>
          </a:xfrm>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200"/>
            <a:r>
              <a:rPr lang="en-US"/>
              <a:t>CAR T in BCL</a:t>
            </a:r>
            <a:endParaRPr lang="en-US" dirty="0"/>
          </a:p>
        </p:txBody>
      </p:sp>
      <p:sp>
        <p:nvSpPr>
          <p:cNvPr id="9" name="Content Placeholder 7">
            <a:extLst>
              <a:ext uri="{FF2B5EF4-FFF2-40B4-BE49-F238E27FC236}">
                <a16:creationId xmlns:a16="http://schemas.microsoft.com/office/drawing/2014/main" id="{B387EB40-8C69-BE4E-B0E2-6DA51BA308F7}"/>
              </a:ext>
            </a:extLst>
          </p:cNvPr>
          <p:cNvSpPr>
            <a:spLocks noGrp="1"/>
          </p:cNvSpPr>
          <p:nvPr>
            <p:ph sz="quarter" idx="16"/>
          </p:nvPr>
        </p:nvSpPr>
        <p:spPr>
          <a:xfrm>
            <a:off x="6252634" y="1600200"/>
            <a:ext cx="5452532" cy="453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83637492"/>
      </p:ext>
    </p:extLst>
  </p:cSld>
  <p:clrMapOvr>
    <a:masterClrMapping/>
  </p:clrMapOvr>
  <p:extLst>
    <p:ext uri="{DCECCB84-F9BA-43D5-87BE-67443E8EF086}">
      <p15:sldGuideLst xmlns:p15="http://schemas.microsoft.com/office/powerpoint/2012/main"/>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layout_1/2 content 1/2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C570D-3BAE-433E-8DDA-6594E6C21ABD}"/>
              </a:ext>
            </a:extLst>
          </p:cNvPr>
          <p:cNvSpPr>
            <a:spLocks noGrp="1"/>
          </p:cNvSpPr>
          <p:nvPr>
            <p:ph type="title"/>
          </p:nvPr>
        </p:nvSpPr>
        <p:spPr/>
        <p:txBody>
          <a:bodyPr/>
          <a:lstStyle>
            <a:lvl1pPr>
              <a:defRPr>
                <a:solidFill>
                  <a:srgbClr val="007CBA"/>
                </a:solidFill>
              </a:defRPr>
            </a:lvl1pPr>
          </a:lstStyle>
          <a:p>
            <a:r>
              <a:rPr lang="en-US"/>
              <a:t>Click to edit Master title style</a:t>
            </a:r>
            <a:endParaRPr lang="en-US" dirty="0"/>
          </a:p>
        </p:txBody>
      </p:sp>
      <p:sp>
        <p:nvSpPr>
          <p:cNvPr id="8" name="Content Placeholder 7">
            <a:extLst>
              <a:ext uri="{FF2B5EF4-FFF2-40B4-BE49-F238E27FC236}">
                <a16:creationId xmlns:a16="http://schemas.microsoft.com/office/drawing/2014/main" id="{89460896-BBD5-4265-B217-9DE153A9B618}"/>
              </a:ext>
            </a:extLst>
          </p:cNvPr>
          <p:cNvSpPr>
            <a:spLocks noGrp="1"/>
          </p:cNvSpPr>
          <p:nvPr>
            <p:ph sz="quarter" idx="14"/>
          </p:nvPr>
        </p:nvSpPr>
        <p:spPr>
          <a:xfrm>
            <a:off x="488949" y="1600200"/>
            <a:ext cx="5454652" cy="453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6">
            <a:extLst>
              <a:ext uri="{FF2B5EF4-FFF2-40B4-BE49-F238E27FC236}">
                <a16:creationId xmlns:a16="http://schemas.microsoft.com/office/drawing/2014/main" id="{26362283-5DCE-A241-BB5D-DCF6CF07D5DC}"/>
              </a:ext>
            </a:extLst>
          </p:cNvPr>
          <p:cNvSpPr>
            <a:spLocks noGrp="1"/>
          </p:cNvSpPr>
          <p:nvPr>
            <p:ph type="pic" sz="quarter" idx="15"/>
          </p:nvPr>
        </p:nvSpPr>
        <p:spPr>
          <a:xfrm>
            <a:off x="6252635" y="1600200"/>
            <a:ext cx="5452533" cy="4533900"/>
          </a:xfrm>
          <a:solidFill>
            <a:srgbClr val="9E9E98"/>
          </a:solidFill>
        </p:spPr>
        <p:txBody>
          <a:bodyPr tIns="1737360"/>
          <a:lstStyle>
            <a:lvl1pPr algn="ctr">
              <a:defRPr/>
            </a:lvl1pPr>
          </a:lstStyle>
          <a:p>
            <a:r>
              <a:rPr lang="en-US"/>
              <a:t>Click icon to add picture</a:t>
            </a:r>
            <a:endParaRPr lang="en-US" dirty="0"/>
          </a:p>
        </p:txBody>
      </p:sp>
      <p:sp>
        <p:nvSpPr>
          <p:cNvPr id="12" name="Date Placeholder 2">
            <a:extLst>
              <a:ext uri="{FF2B5EF4-FFF2-40B4-BE49-F238E27FC236}">
                <a16:creationId xmlns:a16="http://schemas.microsoft.com/office/drawing/2014/main" id="{27368064-A7EF-9D45-BBE5-D003BB4D9774}"/>
              </a:ext>
            </a:extLst>
          </p:cNvPr>
          <p:cNvSpPr>
            <a:spLocks noGrp="1"/>
          </p:cNvSpPr>
          <p:nvPr>
            <p:ph type="dt" sz="half" idx="10"/>
          </p:nvPr>
        </p:nvSpPr>
        <p:spPr>
          <a:xfrm>
            <a:off x="10269462" y="6492767"/>
            <a:ext cx="1011313" cy="208758"/>
          </a:xfrm>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February 5, 2026</a:t>
            </a:r>
            <a:endParaRPr lang="en-US" dirty="0"/>
          </a:p>
        </p:txBody>
      </p:sp>
      <p:sp>
        <p:nvSpPr>
          <p:cNvPr id="13" name="Slide Number Placeholder 4">
            <a:extLst>
              <a:ext uri="{FF2B5EF4-FFF2-40B4-BE49-F238E27FC236}">
                <a16:creationId xmlns:a16="http://schemas.microsoft.com/office/drawing/2014/main" id="{588E7AB3-7213-2549-AEC9-BA165AC24B41}"/>
              </a:ext>
            </a:extLst>
          </p:cNvPr>
          <p:cNvSpPr>
            <a:spLocks noGrp="1"/>
          </p:cNvSpPr>
          <p:nvPr>
            <p:ph type="sldNum" sz="quarter" idx="12"/>
          </p:nvPr>
        </p:nvSpPr>
        <p:spPr>
          <a:xfrm>
            <a:off x="11280775" y="6492767"/>
            <a:ext cx="424392" cy="208758"/>
          </a:xfrm>
        </p:spPr>
        <p:txBody>
          <a:bodyPr/>
          <a:lstStyle>
            <a:lvl1pPr>
              <a:defRPr>
                <a:solidFill>
                  <a:schemeClr val="bg1"/>
                </a:solidFill>
              </a:defRPr>
            </a:lvl1pPr>
          </a:lstStyle>
          <a:p>
            <a:fld id="{63DCA5C9-2E11-4C67-86EB-AE1DE127DC64}" type="slidenum">
              <a:rPr lang="en-US" smtClean="0"/>
              <a:pPr/>
              <a:t>‹#›</a:t>
            </a:fld>
            <a:endParaRPr lang="en-US" dirty="0"/>
          </a:p>
        </p:txBody>
      </p:sp>
      <p:sp>
        <p:nvSpPr>
          <p:cNvPr id="14" name="Footer Placeholder 3">
            <a:extLst>
              <a:ext uri="{FF2B5EF4-FFF2-40B4-BE49-F238E27FC236}">
                <a16:creationId xmlns:a16="http://schemas.microsoft.com/office/drawing/2014/main" id="{5807D8EB-86D6-2444-BFEE-CB331CF4F61C}"/>
              </a:ext>
            </a:extLst>
          </p:cNvPr>
          <p:cNvSpPr>
            <a:spLocks noGrp="1"/>
          </p:cNvSpPr>
          <p:nvPr>
            <p:ph type="ftr" sz="quarter" idx="11"/>
          </p:nvPr>
        </p:nvSpPr>
        <p:spPr>
          <a:xfrm>
            <a:off x="491068" y="6496842"/>
            <a:ext cx="4815417" cy="208758"/>
          </a:xfrm>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200"/>
            <a:r>
              <a:rPr lang="en-US"/>
              <a:t>CAR T in BCL</a:t>
            </a:r>
            <a:endParaRPr lang="en-US" dirty="0"/>
          </a:p>
        </p:txBody>
      </p:sp>
    </p:spTree>
    <p:extLst>
      <p:ext uri="{BB962C8B-B14F-4D97-AF65-F5344CB8AC3E}">
        <p14:creationId xmlns:p14="http://schemas.microsoft.com/office/powerpoint/2010/main" val="671914740"/>
      </p:ext>
    </p:extLst>
  </p:cSld>
  <p:clrMapOvr>
    <a:masterClrMapping/>
  </p:clrMapOvr>
  <p:extLst>
    <p:ext uri="{DCECCB84-F9BA-43D5-87BE-67443E8EF086}">
      <p15:sldGuideLst xmlns:p15="http://schemas.microsoft.com/office/powerpoint/2012/main"/>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layout_1/3 content 2/3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C570D-3BAE-433E-8DDA-6594E6C21ABD}"/>
              </a:ext>
            </a:extLst>
          </p:cNvPr>
          <p:cNvSpPr>
            <a:spLocks noGrp="1"/>
          </p:cNvSpPr>
          <p:nvPr>
            <p:ph type="title"/>
          </p:nvPr>
        </p:nvSpPr>
        <p:spPr/>
        <p:txBody>
          <a:bodyPr/>
          <a:lstStyle>
            <a:lvl1pPr>
              <a:defRPr>
                <a:solidFill>
                  <a:srgbClr val="007CBA"/>
                </a:solidFill>
              </a:defRPr>
            </a:lvl1pPr>
          </a:lstStyle>
          <a:p>
            <a:r>
              <a:rPr lang="en-US"/>
              <a:t>Click to edit Master title style</a:t>
            </a:r>
            <a:endParaRPr lang="en-US" dirty="0"/>
          </a:p>
        </p:txBody>
      </p:sp>
      <p:sp>
        <p:nvSpPr>
          <p:cNvPr id="9" name="Content Placeholder 8">
            <a:extLst>
              <a:ext uri="{FF2B5EF4-FFF2-40B4-BE49-F238E27FC236}">
                <a16:creationId xmlns:a16="http://schemas.microsoft.com/office/drawing/2014/main" id="{766D17BA-B313-4C5A-AFC9-CB21C07EF6DA}"/>
              </a:ext>
            </a:extLst>
          </p:cNvPr>
          <p:cNvSpPr>
            <a:spLocks noGrp="1"/>
          </p:cNvSpPr>
          <p:nvPr>
            <p:ph sz="quarter" idx="15"/>
          </p:nvPr>
        </p:nvSpPr>
        <p:spPr>
          <a:xfrm>
            <a:off x="491067" y="1600200"/>
            <a:ext cx="3526367" cy="453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Date Placeholder 2">
            <a:extLst>
              <a:ext uri="{FF2B5EF4-FFF2-40B4-BE49-F238E27FC236}">
                <a16:creationId xmlns:a16="http://schemas.microsoft.com/office/drawing/2014/main" id="{C5FFA427-FDB0-2A49-A085-0EA6F30919E8}"/>
              </a:ext>
            </a:extLst>
          </p:cNvPr>
          <p:cNvSpPr>
            <a:spLocks noGrp="1"/>
          </p:cNvSpPr>
          <p:nvPr>
            <p:ph type="dt" sz="half" idx="10"/>
          </p:nvPr>
        </p:nvSpPr>
        <p:spPr>
          <a:xfrm>
            <a:off x="10269462" y="6492767"/>
            <a:ext cx="1011313" cy="208758"/>
          </a:xfrm>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February 5, 2026</a:t>
            </a:r>
            <a:endParaRPr lang="en-US" dirty="0"/>
          </a:p>
        </p:txBody>
      </p:sp>
      <p:sp>
        <p:nvSpPr>
          <p:cNvPr id="12" name="Slide Number Placeholder 4">
            <a:extLst>
              <a:ext uri="{FF2B5EF4-FFF2-40B4-BE49-F238E27FC236}">
                <a16:creationId xmlns:a16="http://schemas.microsoft.com/office/drawing/2014/main" id="{0C7FA53C-A746-F847-AAE9-8991A1888791}"/>
              </a:ext>
            </a:extLst>
          </p:cNvPr>
          <p:cNvSpPr>
            <a:spLocks noGrp="1"/>
          </p:cNvSpPr>
          <p:nvPr>
            <p:ph type="sldNum" sz="quarter" idx="12"/>
          </p:nvPr>
        </p:nvSpPr>
        <p:spPr>
          <a:xfrm>
            <a:off x="11280775" y="6492767"/>
            <a:ext cx="424392" cy="208758"/>
          </a:xfrm>
        </p:spPr>
        <p:txBody>
          <a:bodyPr/>
          <a:lstStyle>
            <a:lvl1pPr>
              <a:defRPr>
                <a:solidFill>
                  <a:schemeClr val="bg1"/>
                </a:solidFill>
              </a:defRPr>
            </a:lvl1pPr>
          </a:lstStyle>
          <a:p>
            <a:fld id="{63DCA5C9-2E11-4C67-86EB-AE1DE127DC64}" type="slidenum">
              <a:rPr lang="en-US" smtClean="0"/>
              <a:pPr/>
              <a:t>‹#›</a:t>
            </a:fld>
            <a:endParaRPr lang="en-US" dirty="0"/>
          </a:p>
        </p:txBody>
      </p:sp>
      <p:sp>
        <p:nvSpPr>
          <p:cNvPr id="14" name="Footer Placeholder 3">
            <a:extLst>
              <a:ext uri="{FF2B5EF4-FFF2-40B4-BE49-F238E27FC236}">
                <a16:creationId xmlns:a16="http://schemas.microsoft.com/office/drawing/2014/main" id="{9F435983-12B7-C848-9FBB-404F8D649791}"/>
              </a:ext>
            </a:extLst>
          </p:cNvPr>
          <p:cNvSpPr>
            <a:spLocks noGrp="1"/>
          </p:cNvSpPr>
          <p:nvPr>
            <p:ph type="ftr" sz="quarter" idx="11"/>
          </p:nvPr>
        </p:nvSpPr>
        <p:spPr>
          <a:xfrm>
            <a:off x="491068" y="6496842"/>
            <a:ext cx="4815417" cy="208758"/>
          </a:xfrm>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200"/>
            <a:r>
              <a:rPr lang="en-US"/>
              <a:t>CAR T in BCL</a:t>
            </a:r>
            <a:endParaRPr lang="en-US" dirty="0"/>
          </a:p>
        </p:txBody>
      </p:sp>
      <p:sp>
        <p:nvSpPr>
          <p:cNvPr id="7" name="Content Placeholder 6">
            <a:extLst>
              <a:ext uri="{FF2B5EF4-FFF2-40B4-BE49-F238E27FC236}">
                <a16:creationId xmlns:a16="http://schemas.microsoft.com/office/drawing/2014/main" id="{494763BF-E3DC-9C42-8B79-E5F1E3650C1E}"/>
              </a:ext>
            </a:extLst>
          </p:cNvPr>
          <p:cNvSpPr>
            <a:spLocks noGrp="1"/>
          </p:cNvSpPr>
          <p:nvPr>
            <p:ph sz="quarter" idx="16"/>
          </p:nvPr>
        </p:nvSpPr>
        <p:spPr>
          <a:xfrm>
            <a:off x="4326467" y="1600200"/>
            <a:ext cx="7378700" cy="453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3375528"/>
      </p:ext>
    </p:extLst>
  </p:cSld>
  <p:clrMapOvr>
    <a:masterClrMapping/>
  </p:clrMapOvr>
  <p:extLst>
    <p:ext uri="{DCECCB84-F9BA-43D5-87BE-67443E8EF086}">
      <p15:sldGuideLst xmlns:p15="http://schemas.microsoft.com/office/powerpoint/2012/main"/>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layout_1/3 image 2/3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C570D-3BAE-433E-8DDA-6594E6C21ABD}"/>
              </a:ext>
            </a:extLst>
          </p:cNvPr>
          <p:cNvSpPr>
            <a:spLocks noGrp="1"/>
          </p:cNvSpPr>
          <p:nvPr>
            <p:ph type="title"/>
          </p:nvPr>
        </p:nvSpPr>
        <p:spPr/>
        <p:txBody>
          <a:bodyPr/>
          <a:lstStyle>
            <a:lvl1pPr>
              <a:defRPr>
                <a:solidFill>
                  <a:srgbClr val="007CBA"/>
                </a:solidFill>
              </a:defRPr>
            </a:lvl1pPr>
          </a:lstStyle>
          <a:p>
            <a:r>
              <a:rPr lang="en-US"/>
              <a:t>Click to edit Master title style</a:t>
            </a:r>
            <a:endParaRPr lang="en-US" dirty="0"/>
          </a:p>
        </p:txBody>
      </p:sp>
      <p:sp>
        <p:nvSpPr>
          <p:cNvPr id="9" name="Content Placeholder 8">
            <a:extLst>
              <a:ext uri="{FF2B5EF4-FFF2-40B4-BE49-F238E27FC236}">
                <a16:creationId xmlns:a16="http://schemas.microsoft.com/office/drawing/2014/main" id="{766D17BA-B313-4C5A-AFC9-CB21C07EF6DA}"/>
              </a:ext>
            </a:extLst>
          </p:cNvPr>
          <p:cNvSpPr>
            <a:spLocks noGrp="1"/>
          </p:cNvSpPr>
          <p:nvPr>
            <p:ph sz="quarter" idx="15"/>
          </p:nvPr>
        </p:nvSpPr>
        <p:spPr>
          <a:xfrm>
            <a:off x="4326466" y="1600200"/>
            <a:ext cx="7378700" cy="453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Date Placeholder 2">
            <a:extLst>
              <a:ext uri="{FF2B5EF4-FFF2-40B4-BE49-F238E27FC236}">
                <a16:creationId xmlns:a16="http://schemas.microsoft.com/office/drawing/2014/main" id="{A2FEC933-0487-B540-9BD4-2C03092BACF5}"/>
              </a:ext>
            </a:extLst>
          </p:cNvPr>
          <p:cNvSpPr>
            <a:spLocks noGrp="1"/>
          </p:cNvSpPr>
          <p:nvPr>
            <p:ph type="dt" sz="half" idx="10"/>
          </p:nvPr>
        </p:nvSpPr>
        <p:spPr>
          <a:xfrm>
            <a:off x="10269462" y="6492767"/>
            <a:ext cx="1011313" cy="208758"/>
          </a:xfrm>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February 5, 2026</a:t>
            </a:r>
            <a:endParaRPr lang="en-US" dirty="0"/>
          </a:p>
        </p:txBody>
      </p:sp>
      <p:sp>
        <p:nvSpPr>
          <p:cNvPr id="12" name="Slide Number Placeholder 4">
            <a:extLst>
              <a:ext uri="{FF2B5EF4-FFF2-40B4-BE49-F238E27FC236}">
                <a16:creationId xmlns:a16="http://schemas.microsoft.com/office/drawing/2014/main" id="{5E867178-3C9E-844C-9530-0EDA70554DAA}"/>
              </a:ext>
            </a:extLst>
          </p:cNvPr>
          <p:cNvSpPr>
            <a:spLocks noGrp="1"/>
          </p:cNvSpPr>
          <p:nvPr>
            <p:ph type="sldNum" sz="quarter" idx="12"/>
          </p:nvPr>
        </p:nvSpPr>
        <p:spPr>
          <a:xfrm>
            <a:off x="11280775" y="6492767"/>
            <a:ext cx="424392" cy="208758"/>
          </a:xfrm>
        </p:spPr>
        <p:txBody>
          <a:bodyPr/>
          <a:lstStyle>
            <a:lvl1pPr>
              <a:defRPr>
                <a:solidFill>
                  <a:schemeClr val="bg1"/>
                </a:solidFill>
              </a:defRPr>
            </a:lvl1pPr>
          </a:lstStyle>
          <a:p>
            <a:fld id="{63DCA5C9-2E11-4C67-86EB-AE1DE127DC64}" type="slidenum">
              <a:rPr lang="en-US" smtClean="0"/>
              <a:pPr/>
              <a:t>‹#›</a:t>
            </a:fld>
            <a:endParaRPr lang="en-US" dirty="0"/>
          </a:p>
        </p:txBody>
      </p:sp>
      <p:sp>
        <p:nvSpPr>
          <p:cNvPr id="14" name="Footer Placeholder 3">
            <a:extLst>
              <a:ext uri="{FF2B5EF4-FFF2-40B4-BE49-F238E27FC236}">
                <a16:creationId xmlns:a16="http://schemas.microsoft.com/office/drawing/2014/main" id="{0CF1D2BF-6F7F-C145-9007-C13494FA17EA}"/>
              </a:ext>
            </a:extLst>
          </p:cNvPr>
          <p:cNvSpPr>
            <a:spLocks noGrp="1"/>
          </p:cNvSpPr>
          <p:nvPr>
            <p:ph type="ftr" sz="quarter" idx="11"/>
          </p:nvPr>
        </p:nvSpPr>
        <p:spPr>
          <a:xfrm>
            <a:off x="491068" y="6496842"/>
            <a:ext cx="4815417" cy="208758"/>
          </a:xfrm>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200"/>
            <a:r>
              <a:rPr lang="en-US"/>
              <a:t>CAR T in BCL</a:t>
            </a:r>
            <a:endParaRPr lang="en-US" dirty="0"/>
          </a:p>
        </p:txBody>
      </p:sp>
      <p:sp>
        <p:nvSpPr>
          <p:cNvPr id="15" name="Picture Placeholder 6">
            <a:extLst>
              <a:ext uri="{FF2B5EF4-FFF2-40B4-BE49-F238E27FC236}">
                <a16:creationId xmlns:a16="http://schemas.microsoft.com/office/drawing/2014/main" id="{0E362FD4-229A-204B-BCDA-AA13403A318E}"/>
              </a:ext>
            </a:extLst>
          </p:cNvPr>
          <p:cNvSpPr>
            <a:spLocks noGrp="1"/>
          </p:cNvSpPr>
          <p:nvPr>
            <p:ph type="pic" sz="quarter" idx="16"/>
          </p:nvPr>
        </p:nvSpPr>
        <p:spPr>
          <a:xfrm>
            <a:off x="491068" y="1600200"/>
            <a:ext cx="3534833" cy="4533900"/>
          </a:xfrm>
          <a:solidFill>
            <a:srgbClr val="9E9E98"/>
          </a:solidFill>
        </p:spPr>
        <p:txBody>
          <a:bodyPr tIns="1737360"/>
          <a:lstStyle>
            <a:lvl1pPr algn="ctr">
              <a:defRPr/>
            </a:lvl1pPr>
          </a:lstStyle>
          <a:p>
            <a:r>
              <a:rPr lang="en-US"/>
              <a:t>Click icon to add picture</a:t>
            </a:r>
            <a:endParaRPr lang="en-US" dirty="0"/>
          </a:p>
        </p:txBody>
      </p:sp>
    </p:spTree>
    <p:extLst>
      <p:ext uri="{BB962C8B-B14F-4D97-AF65-F5344CB8AC3E}">
        <p14:creationId xmlns:p14="http://schemas.microsoft.com/office/powerpoint/2010/main" val="490928949"/>
      </p:ext>
    </p:extLst>
  </p:cSld>
  <p:clrMapOvr>
    <a:masterClrMapping/>
  </p:clrMapOvr>
  <p:extLst>
    <p:ext uri="{DCECCB84-F9BA-43D5-87BE-67443E8EF086}">
      <p15:sldGuideLst xmlns:p15="http://schemas.microsoft.com/office/powerpoint/2012/main"/>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layout_2/3 content 1/3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C570D-3BAE-433E-8DDA-6594E6C21ABD}"/>
              </a:ext>
            </a:extLst>
          </p:cNvPr>
          <p:cNvSpPr>
            <a:spLocks noGrp="1"/>
          </p:cNvSpPr>
          <p:nvPr>
            <p:ph type="title"/>
          </p:nvPr>
        </p:nvSpPr>
        <p:spPr/>
        <p:txBody>
          <a:bodyPr/>
          <a:lstStyle>
            <a:lvl1pPr>
              <a:defRPr>
                <a:solidFill>
                  <a:srgbClr val="007CBA"/>
                </a:solidFill>
              </a:defRPr>
            </a:lvl1pPr>
          </a:lstStyle>
          <a:p>
            <a:r>
              <a:rPr lang="en-US"/>
              <a:t>Click to edit Master title style</a:t>
            </a:r>
            <a:endParaRPr lang="en-US" dirty="0"/>
          </a:p>
        </p:txBody>
      </p:sp>
      <p:sp>
        <p:nvSpPr>
          <p:cNvPr id="9" name="Content Placeholder 8">
            <a:extLst>
              <a:ext uri="{FF2B5EF4-FFF2-40B4-BE49-F238E27FC236}">
                <a16:creationId xmlns:a16="http://schemas.microsoft.com/office/drawing/2014/main" id="{766D17BA-B313-4C5A-AFC9-CB21C07EF6DA}"/>
              </a:ext>
            </a:extLst>
          </p:cNvPr>
          <p:cNvSpPr>
            <a:spLocks noGrp="1"/>
          </p:cNvSpPr>
          <p:nvPr>
            <p:ph sz="quarter" idx="15"/>
          </p:nvPr>
        </p:nvSpPr>
        <p:spPr>
          <a:xfrm>
            <a:off x="491067" y="1600200"/>
            <a:ext cx="7374467" cy="453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Date Placeholder 2">
            <a:extLst>
              <a:ext uri="{FF2B5EF4-FFF2-40B4-BE49-F238E27FC236}">
                <a16:creationId xmlns:a16="http://schemas.microsoft.com/office/drawing/2014/main" id="{A4CB2711-5CAB-A742-9D9C-6F15605049C9}"/>
              </a:ext>
            </a:extLst>
          </p:cNvPr>
          <p:cNvSpPr>
            <a:spLocks noGrp="1"/>
          </p:cNvSpPr>
          <p:nvPr>
            <p:ph type="dt" sz="half" idx="10"/>
          </p:nvPr>
        </p:nvSpPr>
        <p:spPr>
          <a:xfrm>
            <a:off x="10269462" y="6492767"/>
            <a:ext cx="1011313" cy="208758"/>
          </a:xfrm>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February 5, 2026</a:t>
            </a:r>
            <a:endParaRPr lang="en-US" dirty="0"/>
          </a:p>
        </p:txBody>
      </p:sp>
      <p:sp>
        <p:nvSpPr>
          <p:cNvPr id="12" name="Slide Number Placeholder 4">
            <a:extLst>
              <a:ext uri="{FF2B5EF4-FFF2-40B4-BE49-F238E27FC236}">
                <a16:creationId xmlns:a16="http://schemas.microsoft.com/office/drawing/2014/main" id="{FE1070EE-5074-F640-8C59-376A839DE01D}"/>
              </a:ext>
            </a:extLst>
          </p:cNvPr>
          <p:cNvSpPr>
            <a:spLocks noGrp="1"/>
          </p:cNvSpPr>
          <p:nvPr>
            <p:ph type="sldNum" sz="quarter" idx="12"/>
          </p:nvPr>
        </p:nvSpPr>
        <p:spPr>
          <a:xfrm>
            <a:off x="11280775" y="6492767"/>
            <a:ext cx="424392" cy="208758"/>
          </a:xfrm>
        </p:spPr>
        <p:txBody>
          <a:bodyPr/>
          <a:lstStyle>
            <a:lvl1pPr>
              <a:defRPr>
                <a:solidFill>
                  <a:schemeClr val="bg1"/>
                </a:solidFill>
              </a:defRPr>
            </a:lvl1pPr>
          </a:lstStyle>
          <a:p>
            <a:fld id="{63DCA5C9-2E11-4C67-86EB-AE1DE127DC64}" type="slidenum">
              <a:rPr lang="en-US" smtClean="0"/>
              <a:pPr/>
              <a:t>‹#›</a:t>
            </a:fld>
            <a:endParaRPr lang="en-US" dirty="0"/>
          </a:p>
        </p:txBody>
      </p:sp>
      <p:sp>
        <p:nvSpPr>
          <p:cNvPr id="14" name="Footer Placeholder 3">
            <a:extLst>
              <a:ext uri="{FF2B5EF4-FFF2-40B4-BE49-F238E27FC236}">
                <a16:creationId xmlns:a16="http://schemas.microsoft.com/office/drawing/2014/main" id="{74897E64-2768-6244-8B81-D688E147A0A4}"/>
              </a:ext>
            </a:extLst>
          </p:cNvPr>
          <p:cNvSpPr>
            <a:spLocks noGrp="1"/>
          </p:cNvSpPr>
          <p:nvPr>
            <p:ph type="ftr" sz="quarter" idx="11"/>
          </p:nvPr>
        </p:nvSpPr>
        <p:spPr>
          <a:xfrm>
            <a:off x="491068" y="6496842"/>
            <a:ext cx="4815417" cy="208758"/>
          </a:xfrm>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200"/>
            <a:r>
              <a:rPr lang="en-US"/>
              <a:t>CAR T in BCL</a:t>
            </a:r>
            <a:endParaRPr lang="en-US" dirty="0"/>
          </a:p>
        </p:txBody>
      </p:sp>
      <p:sp>
        <p:nvSpPr>
          <p:cNvPr id="7" name="Content Placeholder 6">
            <a:extLst>
              <a:ext uri="{FF2B5EF4-FFF2-40B4-BE49-F238E27FC236}">
                <a16:creationId xmlns:a16="http://schemas.microsoft.com/office/drawing/2014/main" id="{689D8F69-08A0-6B46-8C4C-C43B52F0FD4E}"/>
              </a:ext>
            </a:extLst>
          </p:cNvPr>
          <p:cNvSpPr>
            <a:spLocks noGrp="1"/>
          </p:cNvSpPr>
          <p:nvPr>
            <p:ph sz="quarter" idx="16"/>
          </p:nvPr>
        </p:nvSpPr>
        <p:spPr>
          <a:xfrm>
            <a:off x="8170334" y="1600200"/>
            <a:ext cx="3534833" cy="453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26958204"/>
      </p:ext>
    </p:extLst>
  </p:cSld>
  <p:clrMapOvr>
    <a:masterClrMapping/>
  </p:clrMapOvr>
  <p:extLst>
    <p:ext uri="{DCECCB84-F9BA-43D5-87BE-67443E8EF086}">
      <p15:sldGuideLst xmlns:p15="http://schemas.microsoft.com/office/powerpoint/2012/main"/>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layout_2/3 content 1/3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C570D-3BAE-433E-8DDA-6594E6C21ABD}"/>
              </a:ext>
            </a:extLst>
          </p:cNvPr>
          <p:cNvSpPr>
            <a:spLocks noGrp="1"/>
          </p:cNvSpPr>
          <p:nvPr>
            <p:ph type="title"/>
          </p:nvPr>
        </p:nvSpPr>
        <p:spPr/>
        <p:txBody>
          <a:bodyPr/>
          <a:lstStyle>
            <a:lvl1pPr>
              <a:defRPr>
                <a:solidFill>
                  <a:srgbClr val="007CBA"/>
                </a:solidFill>
              </a:defRPr>
            </a:lvl1pPr>
          </a:lstStyle>
          <a:p>
            <a:r>
              <a:rPr lang="en-US"/>
              <a:t>Click to edit Master title style</a:t>
            </a:r>
            <a:endParaRPr lang="en-US" dirty="0"/>
          </a:p>
        </p:txBody>
      </p:sp>
      <p:sp>
        <p:nvSpPr>
          <p:cNvPr id="12" name="Date Placeholder 2">
            <a:extLst>
              <a:ext uri="{FF2B5EF4-FFF2-40B4-BE49-F238E27FC236}">
                <a16:creationId xmlns:a16="http://schemas.microsoft.com/office/drawing/2014/main" id="{BDBD734F-59E6-7847-87E6-AB6C48BB6376}"/>
              </a:ext>
            </a:extLst>
          </p:cNvPr>
          <p:cNvSpPr>
            <a:spLocks noGrp="1"/>
          </p:cNvSpPr>
          <p:nvPr>
            <p:ph type="dt" sz="half" idx="10"/>
          </p:nvPr>
        </p:nvSpPr>
        <p:spPr>
          <a:xfrm>
            <a:off x="10269462" y="6492767"/>
            <a:ext cx="1011313" cy="208758"/>
          </a:xfrm>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February 5, 2026</a:t>
            </a:r>
            <a:endParaRPr lang="en-US" dirty="0"/>
          </a:p>
        </p:txBody>
      </p:sp>
      <p:sp>
        <p:nvSpPr>
          <p:cNvPr id="15" name="Slide Number Placeholder 4">
            <a:extLst>
              <a:ext uri="{FF2B5EF4-FFF2-40B4-BE49-F238E27FC236}">
                <a16:creationId xmlns:a16="http://schemas.microsoft.com/office/drawing/2014/main" id="{D81F3C3F-6215-5241-8324-E0933B07451F}"/>
              </a:ext>
            </a:extLst>
          </p:cNvPr>
          <p:cNvSpPr>
            <a:spLocks noGrp="1"/>
          </p:cNvSpPr>
          <p:nvPr>
            <p:ph type="sldNum" sz="quarter" idx="12"/>
          </p:nvPr>
        </p:nvSpPr>
        <p:spPr>
          <a:xfrm>
            <a:off x="11280775" y="6492767"/>
            <a:ext cx="424392" cy="208758"/>
          </a:xfrm>
        </p:spPr>
        <p:txBody>
          <a:bodyPr/>
          <a:lstStyle>
            <a:lvl1pPr>
              <a:defRPr>
                <a:solidFill>
                  <a:schemeClr val="bg1"/>
                </a:solidFill>
              </a:defRPr>
            </a:lvl1pPr>
          </a:lstStyle>
          <a:p>
            <a:fld id="{63DCA5C9-2E11-4C67-86EB-AE1DE127DC64}" type="slidenum">
              <a:rPr lang="en-US" smtClean="0"/>
              <a:pPr/>
              <a:t>‹#›</a:t>
            </a:fld>
            <a:endParaRPr lang="en-US" dirty="0"/>
          </a:p>
        </p:txBody>
      </p:sp>
      <p:sp>
        <p:nvSpPr>
          <p:cNvPr id="16" name="Footer Placeholder 3">
            <a:extLst>
              <a:ext uri="{FF2B5EF4-FFF2-40B4-BE49-F238E27FC236}">
                <a16:creationId xmlns:a16="http://schemas.microsoft.com/office/drawing/2014/main" id="{81C05ACD-07FE-654D-9AF1-5BE77F0205A4}"/>
              </a:ext>
            </a:extLst>
          </p:cNvPr>
          <p:cNvSpPr>
            <a:spLocks noGrp="1"/>
          </p:cNvSpPr>
          <p:nvPr>
            <p:ph type="ftr" sz="quarter" idx="11"/>
          </p:nvPr>
        </p:nvSpPr>
        <p:spPr>
          <a:xfrm>
            <a:off x="491068" y="6496842"/>
            <a:ext cx="4815417" cy="208758"/>
          </a:xfrm>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200"/>
            <a:r>
              <a:rPr lang="en-US"/>
              <a:t>CAR T in BCL</a:t>
            </a:r>
            <a:endParaRPr lang="en-US" dirty="0"/>
          </a:p>
        </p:txBody>
      </p:sp>
      <p:sp>
        <p:nvSpPr>
          <p:cNvPr id="20" name="Content Placeholder 7">
            <a:extLst>
              <a:ext uri="{FF2B5EF4-FFF2-40B4-BE49-F238E27FC236}">
                <a16:creationId xmlns:a16="http://schemas.microsoft.com/office/drawing/2014/main" id="{0CF75C4A-C842-3149-BB8A-04159AE0BFCC}"/>
              </a:ext>
            </a:extLst>
          </p:cNvPr>
          <p:cNvSpPr>
            <a:spLocks noGrp="1"/>
          </p:cNvSpPr>
          <p:nvPr>
            <p:ph sz="quarter" idx="14"/>
          </p:nvPr>
        </p:nvSpPr>
        <p:spPr>
          <a:xfrm>
            <a:off x="488949" y="1600200"/>
            <a:ext cx="7376584" cy="453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Picture Placeholder 6">
            <a:extLst>
              <a:ext uri="{FF2B5EF4-FFF2-40B4-BE49-F238E27FC236}">
                <a16:creationId xmlns:a16="http://schemas.microsoft.com/office/drawing/2014/main" id="{9622D7C8-3365-D245-B264-EBED56CCEE8F}"/>
              </a:ext>
            </a:extLst>
          </p:cNvPr>
          <p:cNvSpPr>
            <a:spLocks noGrp="1"/>
          </p:cNvSpPr>
          <p:nvPr>
            <p:ph type="pic" sz="quarter" idx="15"/>
          </p:nvPr>
        </p:nvSpPr>
        <p:spPr>
          <a:xfrm>
            <a:off x="8170333" y="1600200"/>
            <a:ext cx="3534833" cy="4533900"/>
          </a:xfrm>
          <a:solidFill>
            <a:srgbClr val="9E9E98"/>
          </a:solidFill>
        </p:spPr>
        <p:txBody>
          <a:bodyPr tIns="1737360"/>
          <a:lstStyle>
            <a:lvl1pPr algn="ctr">
              <a:defRPr/>
            </a:lvl1pPr>
          </a:lstStyle>
          <a:p>
            <a:r>
              <a:rPr lang="en-US"/>
              <a:t>Click icon to add picture</a:t>
            </a:r>
            <a:endParaRPr lang="en-US" dirty="0"/>
          </a:p>
        </p:txBody>
      </p:sp>
    </p:spTree>
    <p:extLst>
      <p:ext uri="{BB962C8B-B14F-4D97-AF65-F5344CB8AC3E}">
        <p14:creationId xmlns:p14="http://schemas.microsoft.com/office/powerpoint/2010/main" val="3120929245"/>
      </p:ext>
    </p:extLst>
  </p:cSld>
  <p:clrMapOvr>
    <a:masterClrMapping/>
  </p:clrMapOvr>
  <p:extLst>
    <p:ext uri="{DCECCB84-F9BA-43D5-87BE-67443E8EF086}">
      <p15:sldGuideLst xmlns:p15="http://schemas.microsoft.com/office/powerpoint/2012/main"/>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layout_1/3 content 2/3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C570D-3BAE-433E-8DDA-6594E6C21ABD}"/>
              </a:ext>
            </a:extLst>
          </p:cNvPr>
          <p:cNvSpPr>
            <a:spLocks noGrp="1"/>
          </p:cNvSpPr>
          <p:nvPr>
            <p:ph type="title"/>
          </p:nvPr>
        </p:nvSpPr>
        <p:spPr/>
        <p:txBody>
          <a:bodyPr/>
          <a:lstStyle>
            <a:lvl1pPr>
              <a:defRPr>
                <a:solidFill>
                  <a:srgbClr val="007CBA"/>
                </a:solidFill>
              </a:defRPr>
            </a:lvl1pPr>
          </a:lstStyle>
          <a:p>
            <a:r>
              <a:rPr lang="en-US"/>
              <a:t>Click to edit Master title style</a:t>
            </a:r>
            <a:endParaRPr lang="en-US" dirty="0"/>
          </a:p>
        </p:txBody>
      </p:sp>
      <p:sp>
        <p:nvSpPr>
          <p:cNvPr id="9" name="Content Placeholder 8">
            <a:extLst>
              <a:ext uri="{FF2B5EF4-FFF2-40B4-BE49-F238E27FC236}">
                <a16:creationId xmlns:a16="http://schemas.microsoft.com/office/drawing/2014/main" id="{766D17BA-B313-4C5A-AFC9-CB21C07EF6DA}"/>
              </a:ext>
            </a:extLst>
          </p:cNvPr>
          <p:cNvSpPr>
            <a:spLocks noGrp="1"/>
          </p:cNvSpPr>
          <p:nvPr>
            <p:ph sz="quarter" idx="15"/>
          </p:nvPr>
        </p:nvSpPr>
        <p:spPr>
          <a:xfrm>
            <a:off x="491067" y="1600201"/>
            <a:ext cx="3526367" cy="453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Date Placeholder 2">
            <a:extLst>
              <a:ext uri="{FF2B5EF4-FFF2-40B4-BE49-F238E27FC236}">
                <a16:creationId xmlns:a16="http://schemas.microsoft.com/office/drawing/2014/main" id="{A65D0927-DA99-9048-8CED-BCB00E8529B7}"/>
              </a:ext>
            </a:extLst>
          </p:cNvPr>
          <p:cNvSpPr>
            <a:spLocks noGrp="1"/>
          </p:cNvSpPr>
          <p:nvPr>
            <p:ph type="dt" sz="half" idx="10"/>
          </p:nvPr>
        </p:nvSpPr>
        <p:spPr>
          <a:xfrm>
            <a:off x="10269462" y="6492767"/>
            <a:ext cx="1011313" cy="208758"/>
          </a:xfrm>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February 5, 2026</a:t>
            </a:r>
            <a:endParaRPr lang="en-US" dirty="0"/>
          </a:p>
        </p:txBody>
      </p:sp>
      <p:sp>
        <p:nvSpPr>
          <p:cNvPr id="12" name="Slide Number Placeholder 4">
            <a:extLst>
              <a:ext uri="{FF2B5EF4-FFF2-40B4-BE49-F238E27FC236}">
                <a16:creationId xmlns:a16="http://schemas.microsoft.com/office/drawing/2014/main" id="{5DBCD264-453F-BB4C-9066-966CCFE3B4EE}"/>
              </a:ext>
            </a:extLst>
          </p:cNvPr>
          <p:cNvSpPr>
            <a:spLocks noGrp="1"/>
          </p:cNvSpPr>
          <p:nvPr>
            <p:ph type="sldNum" sz="quarter" idx="12"/>
          </p:nvPr>
        </p:nvSpPr>
        <p:spPr>
          <a:xfrm>
            <a:off x="11280775" y="6492767"/>
            <a:ext cx="424392" cy="208758"/>
          </a:xfrm>
        </p:spPr>
        <p:txBody>
          <a:bodyPr/>
          <a:lstStyle>
            <a:lvl1pPr>
              <a:defRPr>
                <a:solidFill>
                  <a:schemeClr val="bg1"/>
                </a:solidFill>
              </a:defRPr>
            </a:lvl1pPr>
          </a:lstStyle>
          <a:p>
            <a:fld id="{63DCA5C9-2E11-4C67-86EB-AE1DE127DC64}" type="slidenum">
              <a:rPr lang="en-US" smtClean="0"/>
              <a:pPr/>
              <a:t>‹#›</a:t>
            </a:fld>
            <a:endParaRPr lang="en-US" dirty="0"/>
          </a:p>
        </p:txBody>
      </p:sp>
      <p:sp>
        <p:nvSpPr>
          <p:cNvPr id="14" name="Footer Placeholder 3">
            <a:extLst>
              <a:ext uri="{FF2B5EF4-FFF2-40B4-BE49-F238E27FC236}">
                <a16:creationId xmlns:a16="http://schemas.microsoft.com/office/drawing/2014/main" id="{AD2D6EDC-451A-CE48-BE2D-343B7443A3B9}"/>
              </a:ext>
            </a:extLst>
          </p:cNvPr>
          <p:cNvSpPr>
            <a:spLocks noGrp="1"/>
          </p:cNvSpPr>
          <p:nvPr>
            <p:ph type="ftr" sz="quarter" idx="11"/>
          </p:nvPr>
        </p:nvSpPr>
        <p:spPr>
          <a:xfrm>
            <a:off x="491068" y="6496842"/>
            <a:ext cx="4815417" cy="208758"/>
          </a:xfrm>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200"/>
            <a:r>
              <a:rPr lang="en-US"/>
              <a:t>CAR T in BCL</a:t>
            </a:r>
            <a:endParaRPr lang="en-US" dirty="0"/>
          </a:p>
        </p:txBody>
      </p:sp>
      <p:sp>
        <p:nvSpPr>
          <p:cNvPr id="15" name="Picture Placeholder 6">
            <a:extLst>
              <a:ext uri="{FF2B5EF4-FFF2-40B4-BE49-F238E27FC236}">
                <a16:creationId xmlns:a16="http://schemas.microsoft.com/office/drawing/2014/main" id="{BA988A06-E206-A640-A7BD-6E757BEBA0D7}"/>
              </a:ext>
            </a:extLst>
          </p:cNvPr>
          <p:cNvSpPr>
            <a:spLocks noGrp="1"/>
          </p:cNvSpPr>
          <p:nvPr>
            <p:ph type="pic" sz="quarter" idx="16"/>
          </p:nvPr>
        </p:nvSpPr>
        <p:spPr>
          <a:xfrm>
            <a:off x="4326468" y="1600200"/>
            <a:ext cx="7378699" cy="4533900"/>
          </a:xfrm>
          <a:solidFill>
            <a:srgbClr val="9E9E98"/>
          </a:solidFill>
        </p:spPr>
        <p:txBody>
          <a:bodyPr tIns="1737360"/>
          <a:lstStyle>
            <a:lvl1pPr algn="ctr">
              <a:defRPr/>
            </a:lvl1pPr>
          </a:lstStyle>
          <a:p>
            <a:r>
              <a:rPr lang="en-US"/>
              <a:t>Click icon to add picture</a:t>
            </a:r>
            <a:endParaRPr lang="en-US" dirty="0"/>
          </a:p>
        </p:txBody>
      </p:sp>
    </p:spTree>
    <p:extLst>
      <p:ext uri="{BB962C8B-B14F-4D97-AF65-F5344CB8AC3E}">
        <p14:creationId xmlns:p14="http://schemas.microsoft.com/office/powerpoint/2010/main" val="682283141"/>
      </p:ext>
    </p:extLst>
  </p:cSld>
  <p:clrMapOvr>
    <a:masterClrMapping/>
  </p:clrMapOvr>
  <p:extLst>
    <p:ext uri="{DCECCB84-F9BA-43D5-87BE-67443E8EF086}">
      <p15:sldGuideLst xmlns:p15="http://schemas.microsoft.com/office/powerpoint/2012/main"/>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layout_blue 1/3 image">
    <p:bg>
      <p:bgPr>
        <a:solidFill>
          <a:srgbClr val="007CBA"/>
        </a:solidFill>
        <a:effectLst/>
      </p:bgPr>
    </p:bg>
    <p:spTree>
      <p:nvGrpSpPr>
        <p:cNvPr id="1" name=""/>
        <p:cNvGrpSpPr/>
        <p:nvPr/>
      </p:nvGrpSpPr>
      <p:grpSpPr>
        <a:xfrm>
          <a:off x="0" y="0"/>
          <a:ext cx="0" cy="0"/>
          <a:chOff x="0" y="0"/>
          <a:chExt cx="0" cy="0"/>
        </a:xfrm>
      </p:grpSpPr>
      <p:sp>
        <p:nvSpPr>
          <p:cNvPr id="12" name="Picture Placeholder 6">
            <a:extLst>
              <a:ext uri="{FF2B5EF4-FFF2-40B4-BE49-F238E27FC236}">
                <a16:creationId xmlns:a16="http://schemas.microsoft.com/office/drawing/2014/main" id="{09F6368A-A050-6F4E-8198-4FD768942B7E}"/>
              </a:ext>
            </a:extLst>
          </p:cNvPr>
          <p:cNvSpPr>
            <a:spLocks noGrp="1"/>
          </p:cNvSpPr>
          <p:nvPr>
            <p:ph type="pic" sz="quarter" idx="17"/>
          </p:nvPr>
        </p:nvSpPr>
        <p:spPr>
          <a:xfrm>
            <a:off x="8166101" y="0"/>
            <a:ext cx="4025899" cy="6858000"/>
          </a:xfrm>
          <a:solidFill>
            <a:srgbClr val="9E9E98"/>
          </a:solidFill>
        </p:spPr>
        <p:txBody>
          <a:bodyPr tIns="3657600"/>
          <a:lstStyle>
            <a:lvl1pPr algn="ctr">
              <a:defRPr/>
            </a:lvl1pPr>
          </a:lstStyle>
          <a:p>
            <a:r>
              <a:rPr lang="en-US"/>
              <a:t>Click icon to add picture</a:t>
            </a:r>
            <a:endParaRPr lang="en-US" dirty="0"/>
          </a:p>
        </p:txBody>
      </p:sp>
      <p:sp>
        <p:nvSpPr>
          <p:cNvPr id="9" name="Date Placeholder 2">
            <a:extLst>
              <a:ext uri="{FF2B5EF4-FFF2-40B4-BE49-F238E27FC236}">
                <a16:creationId xmlns:a16="http://schemas.microsoft.com/office/drawing/2014/main" id="{ACCE0DA1-4EAE-574E-A16C-A817AC0EF332}"/>
              </a:ext>
            </a:extLst>
          </p:cNvPr>
          <p:cNvSpPr>
            <a:spLocks noGrp="1"/>
          </p:cNvSpPr>
          <p:nvPr>
            <p:ph type="dt" sz="half" idx="10"/>
          </p:nvPr>
        </p:nvSpPr>
        <p:spPr>
          <a:xfrm>
            <a:off x="10269462" y="6492767"/>
            <a:ext cx="1011313" cy="208758"/>
          </a:xfrm>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February 5, 2026</a:t>
            </a:r>
            <a:endParaRPr lang="en-US" dirty="0"/>
          </a:p>
        </p:txBody>
      </p:sp>
      <p:sp>
        <p:nvSpPr>
          <p:cNvPr id="10" name="Slide Number Placeholder 4">
            <a:extLst>
              <a:ext uri="{FF2B5EF4-FFF2-40B4-BE49-F238E27FC236}">
                <a16:creationId xmlns:a16="http://schemas.microsoft.com/office/drawing/2014/main" id="{A5D20A94-E7AE-9046-8ABC-FEDCFD9944B3}"/>
              </a:ext>
            </a:extLst>
          </p:cNvPr>
          <p:cNvSpPr>
            <a:spLocks noGrp="1"/>
          </p:cNvSpPr>
          <p:nvPr>
            <p:ph type="sldNum" sz="quarter" idx="12"/>
          </p:nvPr>
        </p:nvSpPr>
        <p:spPr>
          <a:xfrm>
            <a:off x="11280775" y="6492767"/>
            <a:ext cx="424392" cy="208758"/>
          </a:xfrm>
        </p:spPr>
        <p:txBody>
          <a:bodyPr/>
          <a:lstStyle>
            <a:lvl1pPr>
              <a:defRPr>
                <a:solidFill>
                  <a:schemeClr val="bg1"/>
                </a:solidFill>
              </a:defRPr>
            </a:lvl1pPr>
          </a:lstStyle>
          <a:p>
            <a:fld id="{63DCA5C9-2E11-4C67-86EB-AE1DE127DC64}" type="slidenum">
              <a:rPr lang="en-US" smtClean="0"/>
              <a:pPr/>
              <a:t>‹#›</a:t>
            </a:fld>
            <a:endParaRPr lang="en-US" dirty="0"/>
          </a:p>
        </p:txBody>
      </p:sp>
      <p:sp>
        <p:nvSpPr>
          <p:cNvPr id="11" name="Footer Placeholder 3">
            <a:extLst>
              <a:ext uri="{FF2B5EF4-FFF2-40B4-BE49-F238E27FC236}">
                <a16:creationId xmlns:a16="http://schemas.microsoft.com/office/drawing/2014/main" id="{D99A4600-E9A0-6A43-8DF1-BF326D7ECEED}"/>
              </a:ext>
            </a:extLst>
          </p:cNvPr>
          <p:cNvSpPr>
            <a:spLocks noGrp="1"/>
          </p:cNvSpPr>
          <p:nvPr>
            <p:ph type="ftr" sz="quarter" idx="11"/>
          </p:nvPr>
        </p:nvSpPr>
        <p:spPr>
          <a:xfrm>
            <a:off x="491068" y="6496842"/>
            <a:ext cx="4815417" cy="208758"/>
          </a:xfrm>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200"/>
            <a:r>
              <a:rPr lang="en-US"/>
              <a:t>CAR T in BCL</a:t>
            </a:r>
            <a:endParaRPr lang="en-US" dirty="0"/>
          </a:p>
        </p:txBody>
      </p:sp>
      <p:sp>
        <p:nvSpPr>
          <p:cNvPr id="2" name="Title 1">
            <a:extLst>
              <a:ext uri="{FF2B5EF4-FFF2-40B4-BE49-F238E27FC236}">
                <a16:creationId xmlns:a16="http://schemas.microsoft.com/office/drawing/2014/main" id="{BB964BC4-595C-3344-BD03-B49134F536B5}"/>
              </a:ext>
            </a:extLst>
          </p:cNvPr>
          <p:cNvSpPr>
            <a:spLocks noGrp="1"/>
          </p:cNvSpPr>
          <p:nvPr>
            <p:ph type="title"/>
          </p:nvPr>
        </p:nvSpPr>
        <p:spPr>
          <a:xfrm>
            <a:off x="488951" y="349250"/>
            <a:ext cx="7376583" cy="1022350"/>
          </a:xfrm>
        </p:spPr>
        <p:txBody>
          <a:bodyPr/>
          <a:lstStyle>
            <a:lvl1pPr>
              <a:defRPr>
                <a:solidFill>
                  <a:schemeClr val="bg1"/>
                </a:solidFill>
              </a:defRPr>
            </a:lvl1pPr>
          </a:lstStyle>
          <a:p>
            <a:r>
              <a:rPr lang="en-US"/>
              <a:t>Click to edit Master title style</a:t>
            </a:r>
            <a:endParaRPr lang="en-US" dirty="0"/>
          </a:p>
        </p:txBody>
      </p:sp>
      <p:sp>
        <p:nvSpPr>
          <p:cNvPr id="13" name="Text Placeholder 12">
            <a:extLst>
              <a:ext uri="{FF2B5EF4-FFF2-40B4-BE49-F238E27FC236}">
                <a16:creationId xmlns:a16="http://schemas.microsoft.com/office/drawing/2014/main" id="{13B9E2E0-E558-6849-A55A-6C912DDF1D68}"/>
              </a:ext>
            </a:extLst>
          </p:cNvPr>
          <p:cNvSpPr>
            <a:spLocks noGrp="1"/>
          </p:cNvSpPr>
          <p:nvPr>
            <p:ph type="body" sz="quarter" idx="18"/>
          </p:nvPr>
        </p:nvSpPr>
        <p:spPr>
          <a:xfrm>
            <a:off x="488951" y="1600200"/>
            <a:ext cx="7376583" cy="47625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3354197"/>
      </p:ext>
    </p:extLst>
  </p:cSld>
  <p:clrMapOvr>
    <a:masterClrMapping/>
  </p:clrMapOvr>
  <p:extLst>
    <p:ext uri="{DCECCB84-F9BA-43D5-87BE-67443E8EF086}">
      <p15:sldGuideLst xmlns:p15="http://schemas.microsoft.com/office/powerpoint/2012/main"/>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layout_white 1/3 image">
    <p:bg>
      <p:bgPr>
        <a:solidFill>
          <a:schemeClr val="bg1"/>
        </a:solidFill>
        <a:effectLst/>
      </p:bgPr>
    </p:bg>
    <p:spTree>
      <p:nvGrpSpPr>
        <p:cNvPr id="1" name=""/>
        <p:cNvGrpSpPr/>
        <p:nvPr/>
      </p:nvGrpSpPr>
      <p:grpSpPr>
        <a:xfrm>
          <a:off x="0" y="0"/>
          <a:ext cx="0" cy="0"/>
          <a:chOff x="0" y="0"/>
          <a:chExt cx="0" cy="0"/>
        </a:xfrm>
      </p:grpSpPr>
      <p:sp>
        <p:nvSpPr>
          <p:cNvPr id="15" name="Picture Placeholder 6">
            <a:extLst>
              <a:ext uri="{FF2B5EF4-FFF2-40B4-BE49-F238E27FC236}">
                <a16:creationId xmlns:a16="http://schemas.microsoft.com/office/drawing/2014/main" id="{13392A84-CCC1-1C4F-8EDA-55C96C3382CD}"/>
              </a:ext>
            </a:extLst>
          </p:cNvPr>
          <p:cNvSpPr>
            <a:spLocks noGrp="1"/>
          </p:cNvSpPr>
          <p:nvPr>
            <p:ph type="pic" sz="quarter" idx="17"/>
          </p:nvPr>
        </p:nvSpPr>
        <p:spPr>
          <a:xfrm>
            <a:off x="8166101" y="0"/>
            <a:ext cx="4025899" cy="6858000"/>
          </a:xfrm>
          <a:solidFill>
            <a:srgbClr val="9E9E98"/>
          </a:solidFill>
        </p:spPr>
        <p:txBody>
          <a:bodyPr tIns="3657600"/>
          <a:lstStyle>
            <a:lvl1pPr algn="ctr">
              <a:defRPr/>
            </a:lvl1pPr>
          </a:lstStyle>
          <a:p>
            <a:r>
              <a:rPr lang="en-US"/>
              <a:t>Click icon to add picture</a:t>
            </a:r>
            <a:endParaRPr lang="en-US" dirty="0"/>
          </a:p>
        </p:txBody>
      </p:sp>
      <p:sp>
        <p:nvSpPr>
          <p:cNvPr id="9" name="Date Placeholder 2">
            <a:extLst>
              <a:ext uri="{FF2B5EF4-FFF2-40B4-BE49-F238E27FC236}">
                <a16:creationId xmlns:a16="http://schemas.microsoft.com/office/drawing/2014/main" id="{9A0B444D-6202-AF4D-8E18-738B8229AAF8}"/>
              </a:ext>
            </a:extLst>
          </p:cNvPr>
          <p:cNvSpPr>
            <a:spLocks noGrp="1"/>
          </p:cNvSpPr>
          <p:nvPr>
            <p:ph type="dt" sz="half" idx="10"/>
          </p:nvPr>
        </p:nvSpPr>
        <p:spPr>
          <a:xfrm>
            <a:off x="10269462" y="6492767"/>
            <a:ext cx="1011313" cy="208758"/>
          </a:xfrm>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February 5, 2026</a:t>
            </a:r>
            <a:endParaRPr lang="en-US" dirty="0"/>
          </a:p>
        </p:txBody>
      </p:sp>
      <p:sp>
        <p:nvSpPr>
          <p:cNvPr id="10" name="Slide Number Placeholder 4">
            <a:extLst>
              <a:ext uri="{FF2B5EF4-FFF2-40B4-BE49-F238E27FC236}">
                <a16:creationId xmlns:a16="http://schemas.microsoft.com/office/drawing/2014/main" id="{AA0F37FE-3566-0E43-89F0-113B022A772C}"/>
              </a:ext>
            </a:extLst>
          </p:cNvPr>
          <p:cNvSpPr>
            <a:spLocks noGrp="1"/>
          </p:cNvSpPr>
          <p:nvPr>
            <p:ph type="sldNum" sz="quarter" idx="12"/>
          </p:nvPr>
        </p:nvSpPr>
        <p:spPr>
          <a:xfrm>
            <a:off x="11280775" y="6492767"/>
            <a:ext cx="424392" cy="208758"/>
          </a:xfrm>
        </p:spPr>
        <p:txBody>
          <a:bodyPr/>
          <a:lstStyle>
            <a:lvl1pPr>
              <a:defRPr>
                <a:solidFill>
                  <a:schemeClr val="bg1"/>
                </a:solidFill>
              </a:defRPr>
            </a:lvl1pPr>
          </a:lstStyle>
          <a:p>
            <a:fld id="{63DCA5C9-2E11-4C67-86EB-AE1DE127DC64}" type="slidenum">
              <a:rPr lang="en-US" smtClean="0"/>
              <a:pPr/>
              <a:t>‹#›</a:t>
            </a:fld>
            <a:endParaRPr lang="en-US" dirty="0"/>
          </a:p>
        </p:txBody>
      </p:sp>
      <p:sp>
        <p:nvSpPr>
          <p:cNvPr id="2" name="Title 1">
            <a:extLst>
              <a:ext uri="{FF2B5EF4-FFF2-40B4-BE49-F238E27FC236}">
                <a16:creationId xmlns:a16="http://schemas.microsoft.com/office/drawing/2014/main" id="{0AB70385-4890-D547-AB0F-EE1107678ADA}"/>
              </a:ext>
            </a:extLst>
          </p:cNvPr>
          <p:cNvSpPr>
            <a:spLocks noGrp="1"/>
          </p:cNvSpPr>
          <p:nvPr>
            <p:ph type="title"/>
          </p:nvPr>
        </p:nvSpPr>
        <p:spPr>
          <a:xfrm>
            <a:off x="488951" y="349250"/>
            <a:ext cx="7376583" cy="1022350"/>
          </a:xfrm>
        </p:spPr>
        <p:txBody>
          <a:bodyPr/>
          <a:lstStyle/>
          <a:p>
            <a:r>
              <a:rPr lang="en-US"/>
              <a:t>Click to edit Master title style</a:t>
            </a:r>
            <a:endParaRPr lang="en-US" dirty="0"/>
          </a:p>
        </p:txBody>
      </p:sp>
      <p:sp>
        <p:nvSpPr>
          <p:cNvPr id="13" name="Text Placeholder 12">
            <a:extLst>
              <a:ext uri="{FF2B5EF4-FFF2-40B4-BE49-F238E27FC236}">
                <a16:creationId xmlns:a16="http://schemas.microsoft.com/office/drawing/2014/main" id="{5D310651-6F83-8A45-8932-CE3EFCB5FB66}"/>
              </a:ext>
            </a:extLst>
          </p:cNvPr>
          <p:cNvSpPr>
            <a:spLocks noGrp="1"/>
          </p:cNvSpPr>
          <p:nvPr>
            <p:ph type="body" sz="quarter" idx="18"/>
          </p:nvPr>
        </p:nvSpPr>
        <p:spPr>
          <a:xfrm>
            <a:off x="491067" y="1600200"/>
            <a:ext cx="7374467" cy="4762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Footer Placeholder 3">
            <a:extLst>
              <a:ext uri="{FF2B5EF4-FFF2-40B4-BE49-F238E27FC236}">
                <a16:creationId xmlns:a16="http://schemas.microsoft.com/office/drawing/2014/main" id="{FF195D4B-5092-C24D-85EC-0289A385E424}"/>
              </a:ext>
            </a:extLst>
          </p:cNvPr>
          <p:cNvSpPr>
            <a:spLocks noGrp="1"/>
          </p:cNvSpPr>
          <p:nvPr>
            <p:ph type="ftr" sz="quarter" idx="11"/>
          </p:nvPr>
        </p:nvSpPr>
        <p:spPr>
          <a:xfrm>
            <a:off x="491068" y="6496842"/>
            <a:ext cx="4815417" cy="208758"/>
          </a:xfrm>
        </p:spPr>
        <p:txBody>
          <a:bodyPr/>
          <a:lstStyle>
            <a:lvl1pPr>
              <a:defRPr b="1">
                <a:solidFill>
                  <a:srgbClr val="9E9E98"/>
                </a:solidFill>
              </a:defRPr>
            </a:lvl1pPr>
            <a:lvl2pPr>
              <a:defRPr b="1">
                <a:solidFill>
                  <a:srgbClr val="9E9E98"/>
                </a:solidFill>
              </a:defRPr>
            </a:lvl2pPr>
            <a:lvl3pPr>
              <a:defRPr b="1">
                <a:solidFill>
                  <a:srgbClr val="9E9E98"/>
                </a:solidFill>
              </a:defRPr>
            </a:lvl3pPr>
            <a:lvl4pPr>
              <a:defRPr b="1">
                <a:solidFill>
                  <a:srgbClr val="9E9E98"/>
                </a:solidFill>
              </a:defRPr>
            </a:lvl4pPr>
            <a:lvl5pPr>
              <a:defRPr b="1">
                <a:solidFill>
                  <a:srgbClr val="9E9E98"/>
                </a:solidFill>
              </a:defRPr>
            </a:lvl5pPr>
            <a:lvl6pPr>
              <a:defRPr b="1">
                <a:solidFill>
                  <a:srgbClr val="9E9E98"/>
                </a:solidFill>
              </a:defRPr>
            </a:lvl6pPr>
            <a:lvl7pPr>
              <a:defRPr b="1">
                <a:solidFill>
                  <a:srgbClr val="9E9E98"/>
                </a:solidFill>
              </a:defRPr>
            </a:lvl7pPr>
            <a:lvl8pPr>
              <a:defRPr b="1">
                <a:solidFill>
                  <a:srgbClr val="9E9E98"/>
                </a:solidFill>
              </a:defRPr>
            </a:lvl8pPr>
            <a:lvl9pPr>
              <a:defRPr b="1">
                <a:solidFill>
                  <a:srgbClr val="9E9E98"/>
                </a:solidFill>
              </a:defRPr>
            </a:lvl9pPr>
          </a:lstStyle>
          <a:p>
            <a:pPr indent="-2743200"/>
            <a:r>
              <a:rPr lang="en-US"/>
              <a:t>CAR T in BCL</a:t>
            </a:r>
            <a:endParaRPr lang="en-US" dirty="0"/>
          </a:p>
        </p:txBody>
      </p:sp>
    </p:spTree>
    <p:extLst>
      <p:ext uri="{BB962C8B-B14F-4D97-AF65-F5344CB8AC3E}">
        <p14:creationId xmlns:p14="http://schemas.microsoft.com/office/powerpoint/2010/main" val="2008101037"/>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916FF65-E16B-BA4F-9591-6B4416106527}" type="datetimeFigureOut">
              <a:rPr lang="en-US" smtClean="0"/>
              <a:t>4/24/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0286635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layout_headline only">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C570D-3BAE-433E-8DDA-6594E6C21ABD}"/>
              </a:ext>
            </a:extLst>
          </p:cNvPr>
          <p:cNvSpPr>
            <a:spLocks noGrp="1"/>
          </p:cNvSpPr>
          <p:nvPr>
            <p:ph type="title"/>
          </p:nvPr>
        </p:nvSpPr>
        <p:spPr/>
        <p:txBody>
          <a:bodyPr/>
          <a:lstStyle>
            <a:lvl1pPr>
              <a:defRPr>
                <a:solidFill>
                  <a:srgbClr val="007CBA"/>
                </a:solidFill>
              </a:defRPr>
            </a:lvl1pPr>
          </a:lstStyle>
          <a:p>
            <a:r>
              <a:rPr lang="en-US"/>
              <a:t>Click to edit Master title style</a:t>
            </a:r>
            <a:endParaRPr lang="en-US" dirty="0"/>
          </a:p>
        </p:txBody>
      </p:sp>
      <p:sp>
        <p:nvSpPr>
          <p:cNvPr id="8" name="Date Placeholder 2">
            <a:extLst>
              <a:ext uri="{FF2B5EF4-FFF2-40B4-BE49-F238E27FC236}">
                <a16:creationId xmlns:a16="http://schemas.microsoft.com/office/drawing/2014/main" id="{051F7513-9171-9B44-A9B6-6966BB871CA3}"/>
              </a:ext>
            </a:extLst>
          </p:cNvPr>
          <p:cNvSpPr>
            <a:spLocks noGrp="1"/>
          </p:cNvSpPr>
          <p:nvPr>
            <p:ph type="dt" sz="half" idx="10"/>
          </p:nvPr>
        </p:nvSpPr>
        <p:spPr>
          <a:xfrm>
            <a:off x="10269462" y="6492767"/>
            <a:ext cx="1011313" cy="208758"/>
          </a:xfrm>
        </p:spPr>
        <p:txBody>
          <a:bodyPr/>
          <a:lstStyle>
            <a:lvl1pPr>
              <a:defRPr>
                <a:solidFill>
                  <a:srgbClr val="9E9E98"/>
                </a:solidFill>
                <a:latin typeface="+mn-lt"/>
              </a:defRPr>
            </a:lvl1pPr>
            <a:lvl2pPr>
              <a:defRPr>
                <a:solidFill>
                  <a:srgbClr val="9E9E98"/>
                </a:solidFill>
              </a:defRPr>
            </a:lvl2pPr>
            <a:lvl3pPr>
              <a:defRPr>
                <a:solidFill>
                  <a:srgbClr val="9E9E98"/>
                </a:solidFill>
              </a:defRPr>
            </a:lvl3pPr>
            <a:lvl4pPr>
              <a:defRPr>
                <a:solidFill>
                  <a:srgbClr val="9E9E98"/>
                </a:solidFill>
              </a:defRPr>
            </a:lvl4pPr>
            <a:lvl5pPr>
              <a:defRPr>
                <a:solidFill>
                  <a:srgbClr val="9E9E98"/>
                </a:solidFill>
              </a:defRPr>
            </a:lvl5pPr>
            <a:lvl6pPr>
              <a:defRPr>
                <a:solidFill>
                  <a:srgbClr val="9E9E98"/>
                </a:solidFill>
              </a:defRPr>
            </a:lvl6pPr>
            <a:lvl7pPr>
              <a:defRPr>
                <a:solidFill>
                  <a:srgbClr val="9E9E98"/>
                </a:solidFill>
              </a:defRPr>
            </a:lvl7pPr>
            <a:lvl8pPr>
              <a:defRPr>
                <a:solidFill>
                  <a:srgbClr val="9E9E98"/>
                </a:solidFill>
              </a:defRPr>
            </a:lvl8pPr>
            <a:lvl9pPr>
              <a:defRPr>
                <a:solidFill>
                  <a:srgbClr val="9E9E98"/>
                </a:solidFill>
              </a:defRPr>
            </a:lvl9pPr>
          </a:lstStyle>
          <a:p>
            <a:r>
              <a:rPr lang="en-US"/>
              <a:t>February 5, 2026</a:t>
            </a:r>
            <a:endParaRPr lang="en-US" dirty="0"/>
          </a:p>
        </p:txBody>
      </p:sp>
      <p:sp>
        <p:nvSpPr>
          <p:cNvPr id="9" name="Slide Number Placeholder 4">
            <a:extLst>
              <a:ext uri="{FF2B5EF4-FFF2-40B4-BE49-F238E27FC236}">
                <a16:creationId xmlns:a16="http://schemas.microsoft.com/office/drawing/2014/main" id="{6BF671B6-DD06-854A-8324-66F5BF1D1509}"/>
              </a:ext>
            </a:extLst>
          </p:cNvPr>
          <p:cNvSpPr>
            <a:spLocks noGrp="1"/>
          </p:cNvSpPr>
          <p:nvPr>
            <p:ph type="sldNum" sz="quarter" idx="12"/>
          </p:nvPr>
        </p:nvSpPr>
        <p:spPr>
          <a:xfrm>
            <a:off x="11280775" y="6492767"/>
            <a:ext cx="424392" cy="208758"/>
          </a:xfrm>
        </p:spPr>
        <p:txBody>
          <a:bodyPr/>
          <a:lstStyle>
            <a:lvl1pPr>
              <a:defRPr>
                <a:solidFill>
                  <a:srgbClr val="9E9E98"/>
                </a:solidFill>
              </a:defRPr>
            </a:lvl1pPr>
            <a:lvl2pPr>
              <a:defRPr>
                <a:solidFill>
                  <a:srgbClr val="9E9E98"/>
                </a:solidFill>
              </a:defRPr>
            </a:lvl2pPr>
            <a:lvl3pPr>
              <a:defRPr>
                <a:solidFill>
                  <a:srgbClr val="9E9E98"/>
                </a:solidFill>
              </a:defRPr>
            </a:lvl3pPr>
            <a:lvl4pPr>
              <a:defRPr>
                <a:solidFill>
                  <a:srgbClr val="9E9E98"/>
                </a:solidFill>
              </a:defRPr>
            </a:lvl4pPr>
            <a:lvl5pPr>
              <a:defRPr>
                <a:solidFill>
                  <a:srgbClr val="9E9E98"/>
                </a:solidFill>
              </a:defRPr>
            </a:lvl5pPr>
            <a:lvl6pPr>
              <a:defRPr>
                <a:solidFill>
                  <a:srgbClr val="9E9E98"/>
                </a:solidFill>
              </a:defRPr>
            </a:lvl6pPr>
            <a:lvl7pPr>
              <a:defRPr>
                <a:solidFill>
                  <a:srgbClr val="9E9E98"/>
                </a:solidFill>
              </a:defRPr>
            </a:lvl7pPr>
            <a:lvl8pPr>
              <a:defRPr>
                <a:solidFill>
                  <a:srgbClr val="9E9E98"/>
                </a:solidFill>
              </a:defRPr>
            </a:lvl8pPr>
            <a:lvl9pPr>
              <a:defRPr>
                <a:solidFill>
                  <a:srgbClr val="9E9E98"/>
                </a:solidFill>
              </a:defRPr>
            </a:lvl9pPr>
          </a:lstStyle>
          <a:p>
            <a:fld id="{63DCA5C9-2E11-4C67-86EB-AE1DE127DC64}" type="slidenum">
              <a:rPr lang="en-US" smtClean="0"/>
              <a:pPr/>
              <a:t>‹#›</a:t>
            </a:fld>
            <a:endParaRPr lang="en-US" dirty="0"/>
          </a:p>
        </p:txBody>
      </p:sp>
      <p:sp>
        <p:nvSpPr>
          <p:cNvPr id="10" name="Footer Placeholder 3">
            <a:extLst>
              <a:ext uri="{FF2B5EF4-FFF2-40B4-BE49-F238E27FC236}">
                <a16:creationId xmlns:a16="http://schemas.microsoft.com/office/drawing/2014/main" id="{11E14BD9-CDD5-484F-A581-776B9CDB5616}"/>
              </a:ext>
            </a:extLst>
          </p:cNvPr>
          <p:cNvSpPr>
            <a:spLocks noGrp="1"/>
          </p:cNvSpPr>
          <p:nvPr>
            <p:ph type="ftr" sz="quarter" idx="11"/>
          </p:nvPr>
        </p:nvSpPr>
        <p:spPr>
          <a:xfrm>
            <a:off x="491068" y="6496842"/>
            <a:ext cx="4815417" cy="208758"/>
          </a:xfrm>
        </p:spPr>
        <p:txBody>
          <a:bodyPr/>
          <a:lstStyle>
            <a:lvl1pPr>
              <a:defRPr b="1">
                <a:solidFill>
                  <a:srgbClr val="9E9E98"/>
                </a:solidFill>
              </a:defRPr>
            </a:lvl1pPr>
            <a:lvl2pPr>
              <a:defRPr b="1">
                <a:solidFill>
                  <a:srgbClr val="9E9E98"/>
                </a:solidFill>
              </a:defRPr>
            </a:lvl2pPr>
            <a:lvl3pPr>
              <a:defRPr b="1">
                <a:solidFill>
                  <a:srgbClr val="9E9E98"/>
                </a:solidFill>
              </a:defRPr>
            </a:lvl3pPr>
            <a:lvl4pPr>
              <a:defRPr b="1">
                <a:solidFill>
                  <a:srgbClr val="9E9E98"/>
                </a:solidFill>
              </a:defRPr>
            </a:lvl4pPr>
            <a:lvl5pPr>
              <a:defRPr b="1">
                <a:solidFill>
                  <a:srgbClr val="9E9E98"/>
                </a:solidFill>
              </a:defRPr>
            </a:lvl5pPr>
            <a:lvl6pPr>
              <a:defRPr b="1">
                <a:solidFill>
                  <a:srgbClr val="9E9E98"/>
                </a:solidFill>
              </a:defRPr>
            </a:lvl6pPr>
            <a:lvl7pPr>
              <a:defRPr b="1">
                <a:solidFill>
                  <a:srgbClr val="9E9E98"/>
                </a:solidFill>
              </a:defRPr>
            </a:lvl7pPr>
            <a:lvl8pPr>
              <a:defRPr b="1">
                <a:solidFill>
                  <a:srgbClr val="9E9E98"/>
                </a:solidFill>
              </a:defRPr>
            </a:lvl8pPr>
            <a:lvl9pPr>
              <a:defRPr b="1">
                <a:solidFill>
                  <a:srgbClr val="9E9E98"/>
                </a:solidFill>
              </a:defRPr>
            </a:lvl9pPr>
          </a:lstStyle>
          <a:p>
            <a:pPr indent="-2743200"/>
            <a:r>
              <a:rPr lang="en-US"/>
              <a:t>CAR T in BCL</a:t>
            </a:r>
            <a:endParaRPr lang="en-US" dirty="0"/>
          </a:p>
        </p:txBody>
      </p:sp>
    </p:spTree>
    <p:extLst>
      <p:ext uri="{BB962C8B-B14F-4D97-AF65-F5344CB8AC3E}">
        <p14:creationId xmlns:p14="http://schemas.microsoft.com/office/powerpoint/2010/main" val="3703953559"/>
      </p:ext>
    </p:extLst>
  </p:cSld>
  <p:clrMapOvr>
    <a:masterClrMapping/>
  </p:clrMapOvr>
  <p:extLst>
    <p:ext uri="{DCECCB84-F9BA-43D5-87BE-67443E8EF086}">
      <p15:sldGuideLst xmlns:p15="http://schemas.microsoft.com/office/powerpoint/2012/main"/>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layout_headline blue foo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C570D-3BAE-433E-8DDA-6594E6C21ABD}"/>
              </a:ext>
            </a:extLst>
          </p:cNvPr>
          <p:cNvSpPr>
            <a:spLocks noGrp="1"/>
          </p:cNvSpPr>
          <p:nvPr>
            <p:ph type="title"/>
          </p:nvPr>
        </p:nvSpPr>
        <p:spPr>
          <a:xfrm>
            <a:off x="488951" y="349250"/>
            <a:ext cx="11216216" cy="1022350"/>
          </a:xfrm>
        </p:spPr>
        <p:txBody>
          <a:bodyPr/>
          <a:lstStyle>
            <a:lvl1pPr>
              <a:defRPr>
                <a:solidFill>
                  <a:srgbClr val="007CBA"/>
                </a:solidFill>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C418E43A-2457-42CA-BE83-E9C382D2B993}"/>
              </a:ext>
            </a:extLst>
          </p:cNvPr>
          <p:cNvSpPr>
            <a:spLocks noGrp="1"/>
          </p:cNvSpPr>
          <p:nvPr>
            <p:ph type="dt" sz="half" idx="10"/>
          </p:nvPr>
        </p:nvSpPr>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February 5, 2026</a:t>
            </a:r>
            <a:endParaRPr lang="en-US" dirty="0"/>
          </a:p>
        </p:txBody>
      </p:sp>
      <p:sp>
        <p:nvSpPr>
          <p:cNvPr id="5" name="Slide Number Placeholder 4">
            <a:extLst>
              <a:ext uri="{FF2B5EF4-FFF2-40B4-BE49-F238E27FC236}">
                <a16:creationId xmlns:a16="http://schemas.microsoft.com/office/drawing/2014/main" id="{F0CF157D-7400-499C-96F9-B806E4F48A9A}"/>
              </a:ext>
            </a:extLst>
          </p:cNvPr>
          <p:cNvSpPr>
            <a:spLocks noGrp="1"/>
          </p:cNvSpPr>
          <p:nvPr>
            <p:ph type="sldNum" sz="quarter" idx="12"/>
          </p:nvPr>
        </p:nvSpPr>
        <p:spPr/>
        <p:txBody>
          <a:bodyPr/>
          <a:lstStyle>
            <a:lvl1pPr>
              <a:defRPr>
                <a:solidFill>
                  <a:schemeClr val="bg1"/>
                </a:solidFill>
              </a:defRPr>
            </a:lvl1pPr>
          </a:lstStyle>
          <a:p>
            <a:fld id="{63DCA5C9-2E11-4C67-86EB-AE1DE127DC64}" type="slidenum">
              <a:rPr lang="en-US" smtClean="0"/>
              <a:pPr/>
              <a:t>‹#›</a:t>
            </a:fld>
            <a:endParaRPr lang="en-US" dirty="0"/>
          </a:p>
        </p:txBody>
      </p:sp>
      <p:sp>
        <p:nvSpPr>
          <p:cNvPr id="10" name="Footer Placeholder 3">
            <a:extLst>
              <a:ext uri="{FF2B5EF4-FFF2-40B4-BE49-F238E27FC236}">
                <a16:creationId xmlns:a16="http://schemas.microsoft.com/office/drawing/2014/main" id="{868B56D2-9291-8145-B467-CF3AFF5A71C1}"/>
              </a:ext>
            </a:extLst>
          </p:cNvPr>
          <p:cNvSpPr>
            <a:spLocks noGrp="1"/>
          </p:cNvSpPr>
          <p:nvPr>
            <p:ph type="ftr" sz="quarter" idx="11"/>
          </p:nvPr>
        </p:nvSpPr>
        <p:spPr>
          <a:xfrm>
            <a:off x="491068" y="6496842"/>
            <a:ext cx="4815417" cy="208758"/>
          </a:xfrm>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200"/>
            <a:r>
              <a:rPr lang="en-US"/>
              <a:t>CAR T in BCL</a:t>
            </a:r>
            <a:endParaRPr lang="en-US" dirty="0"/>
          </a:p>
        </p:txBody>
      </p:sp>
    </p:spTree>
    <p:extLst>
      <p:ext uri="{BB962C8B-B14F-4D97-AF65-F5344CB8AC3E}">
        <p14:creationId xmlns:p14="http://schemas.microsoft.com/office/powerpoint/2010/main" val="3219542168"/>
      </p:ext>
    </p:extLst>
  </p:cSld>
  <p:clrMapOvr>
    <a:masterClrMapping/>
  </p:clrMapOvr>
  <p:extLst>
    <p:ext uri="{DCECCB84-F9BA-43D5-87BE-67443E8EF086}">
      <p15:sldGuideLst xmlns:p15="http://schemas.microsoft.com/office/powerpoint/2012/main"/>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layout_blank">
    <p:bg>
      <p:bgPr>
        <a:solidFill>
          <a:schemeClr val="bg1"/>
        </a:solidFill>
        <a:effectLst/>
      </p:bgPr>
    </p:bg>
    <p:spTree>
      <p:nvGrpSpPr>
        <p:cNvPr id="1" name=""/>
        <p:cNvGrpSpPr/>
        <p:nvPr/>
      </p:nvGrpSpPr>
      <p:grpSpPr>
        <a:xfrm>
          <a:off x="0" y="0"/>
          <a:ext cx="0" cy="0"/>
          <a:chOff x="0" y="0"/>
          <a:chExt cx="0" cy="0"/>
        </a:xfrm>
      </p:grpSpPr>
      <p:sp>
        <p:nvSpPr>
          <p:cNvPr id="10" name="Date Placeholder 2">
            <a:extLst>
              <a:ext uri="{FF2B5EF4-FFF2-40B4-BE49-F238E27FC236}">
                <a16:creationId xmlns:a16="http://schemas.microsoft.com/office/drawing/2014/main" id="{60EA7788-CB16-BB42-88A5-202BE84B90B6}"/>
              </a:ext>
            </a:extLst>
          </p:cNvPr>
          <p:cNvSpPr>
            <a:spLocks noGrp="1"/>
          </p:cNvSpPr>
          <p:nvPr>
            <p:ph type="dt" sz="half" idx="10"/>
          </p:nvPr>
        </p:nvSpPr>
        <p:spPr>
          <a:xfrm>
            <a:off x="10269462" y="6492767"/>
            <a:ext cx="1011313" cy="208758"/>
          </a:xfrm>
        </p:spPr>
        <p:txBody>
          <a:bodyPr/>
          <a:lstStyle>
            <a:lvl1pPr>
              <a:defRPr>
                <a:solidFill>
                  <a:srgbClr val="9E9E98"/>
                </a:solidFill>
                <a:latin typeface="+mn-lt"/>
              </a:defRPr>
            </a:lvl1pPr>
            <a:lvl2pPr>
              <a:defRPr>
                <a:solidFill>
                  <a:srgbClr val="9E9E98"/>
                </a:solidFill>
              </a:defRPr>
            </a:lvl2pPr>
            <a:lvl3pPr>
              <a:defRPr>
                <a:solidFill>
                  <a:srgbClr val="9E9E98"/>
                </a:solidFill>
              </a:defRPr>
            </a:lvl3pPr>
            <a:lvl4pPr>
              <a:defRPr>
                <a:solidFill>
                  <a:srgbClr val="9E9E98"/>
                </a:solidFill>
              </a:defRPr>
            </a:lvl4pPr>
            <a:lvl5pPr>
              <a:defRPr>
                <a:solidFill>
                  <a:srgbClr val="9E9E98"/>
                </a:solidFill>
              </a:defRPr>
            </a:lvl5pPr>
            <a:lvl6pPr>
              <a:defRPr>
                <a:solidFill>
                  <a:srgbClr val="9E9E98"/>
                </a:solidFill>
              </a:defRPr>
            </a:lvl6pPr>
            <a:lvl7pPr>
              <a:defRPr>
                <a:solidFill>
                  <a:srgbClr val="9E9E98"/>
                </a:solidFill>
              </a:defRPr>
            </a:lvl7pPr>
            <a:lvl8pPr>
              <a:defRPr>
                <a:solidFill>
                  <a:srgbClr val="9E9E98"/>
                </a:solidFill>
              </a:defRPr>
            </a:lvl8pPr>
            <a:lvl9pPr>
              <a:defRPr>
                <a:solidFill>
                  <a:srgbClr val="9E9E98"/>
                </a:solidFill>
              </a:defRPr>
            </a:lvl9pPr>
          </a:lstStyle>
          <a:p>
            <a:r>
              <a:rPr lang="en-US"/>
              <a:t>February 5, 2026</a:t>
            </a:r>
            <a:endParaRPr lang="en-US" dirty="0"/>
          </a:p>
        </p:txBody>
      </p:sp>
      <p:sp>
        <p:nvSpPr>
          <p:cNvPr id="11" name="Slide Number Placeholder 4">
            <a:extLst>
              <a:ext uri="{FF2B5EF4-FFF2-40B4-BE49-F238E27FC236}">
                <a16:creationId xmlns:a16="http://schemas.microsoft.com/office/drawing/2014/main" id="{45DA6A3D-B417-2944-916A-7BC8B8581BE5}"/>
              </a:ext>
            </a:extLst>
          </p:cNvPr>
          <p:cNvSpPr>
            <a:spLocks noGrp="1"/>
          </p:cNvSpPr>
          <p:nvPr>
            <p:ph type="sldNum" sz="quarter" idx="12"/>
          </p:nvPr>
        </p:nvSpPr>
        <p:spPr>
          <a:xfrm>
            <a:off x="11280775" y="6492767"/>
            <a:ext cx="424392" cy="208758"/>
          </a:xfrm>
        </p:spPr>
        <p:txBody>
          <a:bodyPr/>
          <a:lstStyle>
            <a:lvl1pPr>
              <a:defRPr>
                <a:solidFill>
                  <a:srgbClr val="9E9E98"/>
                </a:solidFill>
              </a:defRPr>
            </a:lvl1pPr>
            <a:lvl2pPr>
              <a:defRPr>
                <a:solidFill>
                  <a:srgbClr val="9E9E98"/>
                </a:solidFill>
              </a:defRPr>
            </a:lvl2pPr>
            <a:lvl3pPr>
              <a:defRPr>
                <a:solidFill>
                  <a:srgbClr val="9E9E98"/>
                </a:solidFill>
              </a:defRPr>
            </a:lvl3pPr>
            <a:lvl4pPr>
              <a:defRPr>
                <a:solidFill>
                  <a:srgbClr val="9E9E98"/>
                </a:solidFill>
              </a:defRPr>
            </a:lvl4pPr>
            <a:lvl5pPr>
              <a:defRPr>
                <a:solidFill>
                  <a:srgbClr val="9E9E98"/>
                </a:solidFill>
              </a:defRPr>
            </a:lvl5pPr>
            <a:lvl6pPr>
              <a:defRPr>
                <a:solidFill>
                  <a:srgbClr val="9E9E98"/>
                </a:solidFill>
              </a:defRPr>
            </a:lvl6pPr>
            <a:lvl7pPr>
              <a:defRPr>
                <a:solidFill>
                  <a:srgbClr val="9E9E98"/>
                </a:solidFill>
              </a:defRPr>
            </a:lvl7pPr>
            <a:lvl8pPr>
              <a:defRPr>
                <a:solidFill>
                  <a:srgbClr val="9E9E98"/>
                </a:solidFill>
              </a:defRPr>
            </a:lvl8pPr>
            <a:lvl9pPr>
              <a:defRPr>
                <a:solidFill>
                  <a:srgbClr val="9E9E98"/>
                </a:solidFill>
              </a:defRPr>
            </a:lvl9pPr>
          </a:lstStyle>
          <a:p>
            <a:fld id="{63DCA5C9-2E11-4C67-86EB-AE1DE127DC64}" type="slidenum">
              <a:rPr lang="en-US" smtClean="0"/>
              <a:pPr/>
              <a:t>‹#›</a:t>
            </a:fld>
            <a:endParaRPr lang="en-US" dirty="0"/>
          </a:p>
        </p:txBody>
      </p:sp>
      <p:sp>
        <p:nvSpPr>
          <p:cNvPr id="12" name="Footer Placeholder 3">
            <a:extLst>
              <a:ext uri="{FF2B5EF4-FFF2-40B4-BE49-F238E27FC236}">
                <a16:creationId xmlns:a16="http://schemas.microsoft.com/office/drawing/2014/main" id="{817F76E8-F632-184A-970C-355073FF5F4D}"/>
              </a:ext>
            </a:extLst>
          </p:cNvPr>
          <p:cNvSpPr>
            <a:spLocks noGrp="1"/>
          </p:cNvSpPr>
          <p:nvPr>
            <p:ph type="ftr" sz="quarter" idx="11"/>
          </p:nvPr>
        </p:nvSpPr>
        <p:spPr>
          <a:xfrm>
            <a:off x="491068" y="6496842"/>
            <a:ext cx="4815417" cy="208758"/>
          </a:xfrm>
        </p:spPr>
        <p:txBody>
          <a:bodyPr/>
          <a:lstStyle>
            <a:lvl1pPr>
              <a:defRPr b="1">
                <a:solidFill>
                  <a:srgbClr val="9E9E98"/>
                </a:solidFill>
              </a:defRPr>
            </a:lvl1pPr>
            <a:lvl2pPr>
              <a:defRPr b="1">
                <a:solidFill>
                  <a:srgbClr val="9E9E98"/>
                </a:solidFill>
              </a:defRPr>
            </a:lvl2pPr>
            <a:lvl3pPr>
              <a:defRPr b="1">
                <a:solidFill>
                  <a:srgbClr val="9E9E98"/>
                </a:solidFill>
              </a:defRPr>
            </a:lvl3pPr>
            <a:lvl4pPr>
              <a:defRPr b="1">
                <a:solidFill>
                  <a:srgbClr val="9E9E98"/>
                </a:solidFill>
              </a:defRPr>
            </a:lvl4pPr>
            <a:lvl5pPr>
              <a:defRPr b="1">
                <a:solidFill>
                  <a:srgbClr val="9E9E98"/>
                </a:solidFill>
              </a:defRPr>
            </a:lvl5pPr>
            <a:lvl6pPr>
              <a:defRPr b="1">
                <a:solidFill>
                  <a:srgbClr val="9E9E98"/>
                </a:solidFill>
              </a:defRPr>
            </a:lvl6pPr>
            <a:lvl7pPr>
              <a:defRPr b="1">
                <a:solidFill>
                  <a:srgbClr val="9E9E98"/>
                </a:solidFill>
              </a:defRPr>
            </a:lvl7pPr>
            <a:lvl8pPr>
              <a:defRPr b="1">
                <a:solidFill>
                  <a:srgbClr val="9E9E98"/>
                </a:solidFill>
              </a:defRPr>
            </a:lvl8pPr>
            <a:lvl9pPr>
              <a:defRPr b="1">
                <a:solidFill>
                  <a:srgbClr val="9E9E98"/>
                </a:solidFill>
              </a:defRPr>
            </a:lvl9pPr>
          </a:lstStyle>
          <a:p>
            <a:pPr indent="-2743200"/>
            <a:r>
              <a:rPr lang="en-US"/>
              <a:t>CAR T in BCL</a:t>
            </a:r>
            <a:endParaRPr lang="en-US" dirty="0"/>
          </a:p>
        </p:txBody>
      </p:sp>
    </p:spTree>
    <p:extLst>
      <p:ext uri="{BB962C8B-B14F-4D97-AF65-F5344CB8AC3E}">
        <p14:creationId xmlns:p14="http://schemas.microsoft.com/office/powerpoint/2010/main" val="1079552146"/>
      </p:ext>
    </p:extLst>
  </p:cSld>
  <p:clrMapOvr>
    <a:masterClrMapping/>
  </p:clrMapOvr>
  <p:extLst>
    <p:ext uri="{DCECCB84-F9BA-43D5-87BE-67443E8EF086}">
      <p15:sldGuideLst xmlns:p15="http://schemas.microsoft.com/office/powerpoint/2012/main"/>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layout_blank blue foo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418E43A-2457-42CA-BE83-E9C382D2B993}"/>
              </a:ext>
            </a:extLst>
          </p:cNvPr>
          <p:cNvSpPr>
            <a:spLocks noGrp="1"/>
          </p:cNvSpPr>
          <p:nvPr>
            <p:ph type="dt" sz="half" idx="10"/>
          </p:nvPr>
        </p:nvSpPr>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February 5, 2026</a:t>
            </a:r>
            <a:endParaRPr lang="en-US" dirty="0"/>
          </a:p>
        </p:txBody>
      </p:sp>
      <p:sp>
        <p:nvSpPr>
          <p:cNvPr id="5" name="Slide Number Placeholder 4">
            <a:extLst>
              <a:ext uri="{FF2B5EF4-FFF2-40B4-BE49-F238E27FC236}">
                <a16:creationId xmlns:a16="http://schemas.microsoft.com/office/drawing/2014/main" id="{F0CF157D-7400-499C-96F9-B806E4F48A9A}"/>
              </a:ext>
            </a:extLst>
          </p:cNvPr>
          <p:cNvSpPr>
            <a:spLocks noGrp="1"/>
          </p:cNvSpPr>
          <p:nvPr>
            <p:ph type="sldNum" sz="quarter" idx="12"/>
          </p:nvPr>
        </p:nvSpPr>
        <p:spPr/>
        <p:txBody>
          <a:bodyPr/>
          <a:lstStyle>
            <a:lvl1pPr>
              <a:defRPr>
                <a:solidFill>
                  <a:schemeClr val="bg1"/>
                </a:solidFill>
              </a:defRPr>
            </a:lvl1pPr>
          </a:lstStyle>
          <a:p>
            <a:fld id="{63DCA5C9-2E11-4C67-86EB-AE1DE127DC64}" type="slidenum">
              <a:rPr lang="en-US" smtClean="0"/>
              <a:pPr/>
              <a:t>‹#›</a:t>
            </a:fld>
            <a:endParaRPr lang="en-US" dirty="0"/>
          </a:p>
        </p:txBody>
      </p:sp>
      <p:sp>
        <p:nvSpPr>
          <p:cNvPr id="10" name="Footer Placeholder 3">
            <a:extLst>
              <a:ext uri="{FF2B5EF4-FFF2-40B4-BE49-F238E27FC236}">
                <a16:creationId xmlns:a16="http://schemas.microsoft.com/office/drawing/2014/main" id="{868B56D2-9291-8145-B467-CF3AFF5A71C1}"/>
              </a:ext>
            </a:extLst>
          </p:cNvPr>
          <p:cNvSpPr>
            <a:spLocks noGrp="1"/>
          </p:cNvSpPr>
          <p:nvPr>
            <p:ph type="ftr" sz="quarter" idx="11"/>
          </p:nvPr>
        </p:nvSpPr>
        <p:spPr>
          <a:xfrm>
            <a:off x="491068" y="6496842"/>
            <a:ext cx="4815417" cy="208758"/>
          </a:xfrm>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200"/>
            <a:r>
              <a:rPr lang="en-US"/>
              <a:t>CAR T in BCL</a:t>
            </a:r>
            <a:endParaRPr lang="en-US" dirty="0"/>
          </a:p>
        </p:txBody>
      </p:sp>
    </p:spTree>
    <p:extLst>
      <p:ext uri="{BB962C8B-B14F-4D97-AF65-F5344CB8AC3E}">
        <p14:creationId xmlns:p14="http://schemas.microsoft.com/office/powerpoint/2010/main" val="3597425365"/>
      </p:ext>
    </p:extLst>
  </p:cSld>
  <p:clrMapOvr>
    <a:masterClrMapping/>
  </p:clrMapOvr>
  <p:extLst>
    <p:ext uri="{DCECCB84-F9BA-43D5-87BE-67443E8EF086}">
      <p15:sldGuideLst xmlns:p15="http://schemas.microsoft.com/office/powerpoint/2012/main"/>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layout_video">
    <p:bg>
      <p:bgPr>
        <a:solidFill>
          <a:schemeClr val="tx1"/>
        </a:solidFill>
        <a:effectLst/>
      </p:bgPr>
    </p:bg>
    <p:spTree>
      <p:nvGrpSpPr>
        <p:cNvPr id="1" name=""/>
        <p:cNvGrpSpPr/>
        <p:nvPr/>
      </p:nvGrpSpPr>
      <p:grpSpPr>
        <a:xfrm>
          <a:off x="0" y="0"/>
          <a:ext cx="0" cy="0"/>
          <a:chOff x="0" y="0"/>
          <a:chExt cx="0" cy="0"/>
        </a:xfrm>
      </p:grpSpPr>
      <p:sp>
        <p:nvSpPr>
          <p:cNvPr id="3" name="Media Placeholder 2"/>
          <p:cNvSpPr>
            <a:spLocks noGrp="1"/>
          </p:cNvSpPr>
          <p:nvPr>
            <p:ph type="media" sz="quarter" idx="10"/>
          </p:nvPr>
        </p:nvSpPr>
        <p:spPr>
          <a:xfrm>
            <a:off x="0" y="0"/>
            <a:ext cx="12192000" cy="6858000"/>
          </a:xfrm>
          <a:solidFill>
            <a:schemeClr val="tx1"/>
          </a:solidFill>
        </p:spPr>
        <p:txBody>
          <a:bodyPr tIns="731520" anchor="ctr" anchorCtr="0"/>
          <a:lstStyle>
            <a:lvl1pPr algn="ctr">
              <a:defRPr sz="2000" b="0">
                <a:solidFill>
                  <a:schemeClr val="bg2"/>
                </a:solidFill>
              </a:defRPr>
            </a:lvl1pPr>
          </a:lstStyle>
          <a:p>
            <a:r>
              <a:rPr lang="en-US"/>
              <a:t>Click icon to add media</a:t>
            </a:r>
            <a:endParaRPr lang="en-US" dirty="0"/>
          </a:p>
        </p:txBody>
      </p:sp>
    </p:spTree>
    <p:extLst>
      <p:ext uri="{BB962C8B-B14F-4D97-AF65-F5344CB8AC3E}">
        <p14:creationId xmlns:p14="http://schemas.microsoft.com/office/powerpoint/2010/main" val="3509961706"/>
      </p:ext>
    </p:extLst>
  </p:cSld>
  <p:clrMapOvr>
    <a:masterClrMapping/>
  </p:clrMapOvr>
  <p:extLst>
    <p:ext uri="{DCECCB84-F9BA-43D5-87BE-67443E8EF086}">
      <p15:sldGuideLst xmlns:p15="http://schemas.microsoft.com/office/powerpoint/2012/main"/>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imagery_2 pics 1/3 and 2/3 -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C570D-3BAE-433E-8DDA-6594E6C21ABD}"/>
              </a:ext>
            </a:extLst>
          </p:cNvPr>
          <p:cNvSpPr>
            <a:spLocks noGrp="1"/>
          </p:cNvSpPr>
          <p:nvPr>
            <p:ph type="title"/>
          </p:nvPr>
        </p:nvSpPr>
        <p:spPr/>
        <p:txBody>
          <a:bodyPr/>
          <a:lstStyle>
            <a:lvl1pPr>
              <a:defRPr>
                <a:solidFill>
                  <a:srgbClr val="007CBA"/>
                </a:solidFill>
              </a:defRPr>
            </a:lvl1pPr>
          </a:lstStyle>
          <a:p>
            <a:r>
              <a:rPr lang="en-US"/>
              <a:t>Click to edit Master title style</a:t>
            </a:r>
            <a:endParaRPr lang="en-US" dirty="0"/>
          </a:p>
        </p:txBody>
      </p:sp>
      <p:sp>
        <p:nvSpPr>
          <p:cNvPr id="11" name="Date Placeholder 2">
            <a:extLst>
              <a:ext uri="{FF2B5EF4-FFF2-40B4-BE49-F238E27FC236}">
                <a16:creationId xmlns:a16="http://schemas.microsoft.com/office/drawing/2014/main" id="{287B8BFF-2EEE-254E-9958-5EAE0DB8EE46}"/>
              </a:ext>
            </a:extLst>
          </p:cNvPr>
          <p:cNvSpPr>
            <a:spLocks noGrp="1"/>
          </p:cNvSpPr>
          <p:nvPr>
            <p:ph type="dt" sz="half" idx="10"/>
          </p:nvPr>
        </p:nvSpPr>
        <p:spPr>
          <a:xfrm>
            <a:off x="10269462" y="6492767"/>
            <a:ext cx="1011313" cy="208758"/>
          </a:xfrm>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February 5, 2026</a:t>
            </a:r>
            <a:endParaRPr lang="en-US" dirty="0"/>
          </a:p>
        </p:txBody>
      </p:sp>
      <p:sp>
        <p:nvSpPr>
          <p:cNvPr id="12" name="Slide Number Placeholder 4">
            <a:extLst>
              <a:ext uri="{FF2B5EF4-FFF2-40B4-BE49-F238E27FC236}">
                <a16:creationId xmlns:a16="http://schemas.microsoft.com/office/drawing/2014/main" id="{0167E20F-4AB8-DE4A-B815-CD37FB6A1A53}"/>
              </a:ext>
            </a:extLst>
          </p:cNvPr>
          <p:cNvSpPr>
            <a:spLocks noGrp="1"/>
          </p:cNvSpPr>
          <p:nvPr>
            <p:ph type="sldNum" sz="quarter" idx="12"/>
          </p:nvPr>
        </p:nvSpPr>
        <p:spPr>
          <a:xfrm>
            <a:off x="11280775" y="6492767"/>
            <a:ext cx="424392" cy="208758"/>
          </a:xfrm>
        </p:spPr>
        <p:txBody>
          <a:bodyPr/>
          <a:lstStyle>
            <a:lvl1pPr>
              <a:defRPr>
                <a:solidFill>
                  <a:schemeClr val="bg1"/>
                </a:solidFill>
              </a:defRPr>
            </a:lvl1pPr>
          </a:lstStyle>
          <a:p>
            <a:fld id="{63DCA5C9-2E11-4C67-86EB-AE1DE127DC64}" type="slidenum">
              <a:rPr lang="en-US" smtClean="0"/>
              <a:pPr/>
              <a:t>‹#›</a:t>
            </a:fld>
            <a:endParaRPr lang="en-US" dirty="0"/>
          </a:p>
        </p:txBody>
      </p:sp>
      <p:sp>
        <p:nvSpPr>
          <p:cNvPr id="14" name="Footer Placeholder 3">
            <a:extLst>
              <a:ext uri="{FF2B5EF4-FFF2-40B4-BE49-F238E27FC236}">
                <a16:creationId xmlns:a16="http://schemas.microsoft.com/office/drawing/2014/main" id="{A24DE43F-6CC4-484C-BE42-8DF124FA937D}"/>
              </a:ext>
            </a:extLst>
          </p:cNvPr>
          <p:cNvSpPr>
            <a:spLocks noGrp="1"/>
          </p:cNvSpPr>
          <p:nvPr>
            <p:ph type="ftr" sz="quarter" idx="11"/>
          </p:nvPr>
        </p:nvSpPr>
        <p:spPr>
          <a:xfrm>
            <a:off x="491068" y="6496842"/>
            <a:ext cx="4815417" cy="208758"/>
          </a:xfrm>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200"/>
            <a:r>
              <a:rPr lang="en-US"/>
              <a:t>CAR T in BCL</a:t>
            </a:r>
            <a:endParaRPr lang="en-US" dirty="0"/>
          </a:p>
        </p:txBody>
      </p:sp>
      <p:sp>
        <p:nvSpPr>
          <p:cNvPr id="15" name="Picture Placeholder 6">
            <a:extLst>
              <a:ext uri="{FF2B5EF4-FFF2-40B4-BE49-F238E27FC236}">
                <a16:creationId xmlns:a16="http://schemas.microsoft.com/office/drawing/2014/main" id="{3F6A4D10-94A7-6949-83F4-57F832B6B74F}"/>
              </a:ext>
            </a:extLst>
          </p:cNvPr>
          <p:cNvSpPr>
            <a:spLocks noGrp="1"/>
          </p:cNvSpPr>
          <p:nvPr>
            <p:ph type="pic" sz="quarter" idx="15"/>
          </p:nvPr>
        </p:nvSpPr>
        <p:spPr>
          <a:xfrm>
            <a:off x="491068" y="1600200"/>
            <a:ext cx="3534833" cy="4533900"/>
          </a:xfrm>
          <a:solidFill>
            <a:srgbClr val="9E9E98"/>
          </a:solidFill>
        </p:spPr>
        <p:txBody>
          <a:bodyPr tIns="1737360"/>
          <a:lstStyle>
            <a:lvl1pPr algn="ctr">
              <a:defRPr/>
            </a:lvl1pPr>
          </a:lstStyle>
          <a:p>
            <a:r>
              <a:rPr lang="en-US"/>
              <a:t>Click icon to add picture</a:t>
            </a:r>
            <a:endParaRPr lang="en-US" dirty="0"/>
          </a:p>
        </p:txBody>
      </p:sp>
      <p:sp>
        <p:nvSpPr>
          <p:cNvPr id="16" name="Picture Placeholder 6">
            <a:extLst>
              <a:ext uri="{FF2B5EF4-FFF2-40B4-BE49-F238E27FC236}">
                <a16:creationId xmlns:a16="http://schemas.microsoft.com/office/drawing/2014/main" id="{EE93E937-BEF0-7C48-9C4F-65186B58F483}"/>
              </a:ext>
            </a:extLst>
          </p:cNvPr>
          <p:cNvSpPr>
            <a:spLocks noGrp="1"/>
          </p:cNvSpPr>
          <p:nvPr>
            <p:ph type="pic" sz="quarter" idx="16"/>
          </p:nvPr>
        </p:nvSpPr>
        <p:spPr>
          <a:xfrm>
            <a:off x="4326468" y="1600200"/>
            <a:ext cx="7378699" cy="4533900"/>
          </a:xfrm>
          <a:solidFill>
            <a:srgbClr val="9E9E98"/>
          </a:solidFill>
        </p:spPr>
        <p:txBody>
          <a:bodyPr tIns="1737360"/>
          <a:lstStyle>
            <a:lvl1pPr algn="ctr">
              <a:defRPr/>
            </a:lvl1pPr>
          </a:lstStyle>
          <a:p>
            <a:r>
              <a:rPr lang="en-US"/>
              <a:t>Click icon to add picture</a:t>
            </a:r>
            <a:endParaRPr lang="en-US" dirty="0"/>
          </a:p>
        </p:txBody>
      </p:sp>
    </p:spTree>
    <p:extLst>
      <p:ext uri="{BB962C8B-B14F-4D97-AF65-F5344CB8AC3E}">
        <p14:creationId xmlns:p14="http://schemas.microsoft.com/office/powerpoint/2010/main" val="3574493047"/>
      </p:ext>
    </p:extLst>
  </p:cSld>
  <p:clrMapOvr>
    <a:masterClrMapping/>
  </p:clrMapOvr>
  <p:extLst>
    <p:ext uri="{DCECCB84-F9BA-43D5-87BE-67443E8EF086}">
      <p15:sldGuideLst xmlns:p15="http://schemas.microsoft.com/office/powerpoint/2012/main"/>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imagery_2 pics 1/3 and 2/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Picture Placeholder 6">
            <a:extLst>
              <a:ext uri="{FF2B5EF4-FFF2-40B4-BE49-F238E27FC236}">
                <a16:creationId xmlns:a16="http://schemas.microsoft.com/office/drawing/2014/main" id="{9B9CAEE6-5A74-824C-A84D-7DEE6DB02216}"/>
              </a:ext>
            </a:extLst>
          </p:cNvPr>
          <p:cNvSpPr>
            <a:spLocks noGrp="1"/>
          </p:cNvSpPr>
          <p:nvPr>
            <p:ph type="pic" sz="quarter" idx="15"/>
          </p:nvPr>
        </p:nvSpPr>
        <p:spPr>
          <a:xfrm>
            <a:off x="491068" y="349250"/>
            <a:ext cx="3534833" cy="5784850"/>
          </a:xfrm>
          <a:solidFill>
            <a:srgbClr val="9E9E98"/>
          </a:solidFill>
        </p:spPr>
        <p:txBody>
          <a:bodyPr tIns="1737360"/>
          <a:lstStyle>
            <a:lvl1pPr algn="ctr">
              <a:defRPr/>
            </a:lvl1pPr>
          </a:lstStyle>
          <a:p>
            <a:r>
              <a:rPr lang="en-US"/>
              <a:t>Click icon to add picture</a:t>
            </a:r>
            <a:endParaRPr lang="en-US" dirty="0"/>
          </a:p>
        </p:txBody>
      </p:sp>
      <p:sp>
        <p:nvSpPr>
          <p:cNvPr id="10" name="Picture Placeholder 6">
            <a:extLst>
              <a:ext uri="{FF2B5EF4-FFF2-40B4-BE49-F238E27FC236}">
                <a16:creationId xmlns:a16="http://schemas.microsoft.com/office/drawing/2014/main" id="{D512A982-A2E1-334F-BC26-BE2E85AB0410}"/>
              </a:ext>
            </a:extLst>
          </p:cNvPr>
          <p:cNvSpPr>
            <a:spLocks noGrp="1"/>
          </p:cNvSpPr>
          <p:nvPr>
            <p:ph type="pic" sz="quarter" idx="16"/>
          </p:nvPr>
        </p:nvSpPr>
        <p:spPr>
          <a:xfrm>
            <a:off x="4326468" y="349250"/>
            <a:ext cx="7378699" cy="5784850"/>
          </a:xfrm>
          <a:solidFill>
            <a:srgbClr val="9E9E98"/>
          </a:solidFill>
        </p:spPr>
        <p:txBody>
          <a:bodyPr tIns="1737360"/>
          <a:lstStyle>
            <a:lvl1pPr algn="ctr">
              <a:defRPr/>
            </a:lvl1pPr>
          </a:lstStyle>
          <a:p>
            <a:r>
              <a:rPr lang="en-US"/>
              <a:t>Click icon to add picture</a:t>
            </a:r>
            <a:endParaRPr lang="en-US" dirty="0"/>
          </a:p>
        </p:txBody>
      </p:sp>
      <p:sp>
        <p:nvSpPr>
          <p:cNvPr id="11" name="Date Placeholder 2">
            <a:extLst>
              <a:ext uri="{FF2B5EF4-FFF2-40B4-BE49-F238E27FC236}">
                <a16:creationId xmlns:a16="http://schemas.microsoft.com/office/drawing/2014/main" id="{3A8FA112-EEA1-0040-AC50-A427E06B9FD1}"/>
              </a:ext>
            </a:extLst>
          </p:cNvPr>
          <p:cNvSpPr>
            <a:spLocks noGrp="1"/>
          </p:cNvSpPr>
          <p:nvPr>
            <p:ph type="dt" sz="half" idx="10"/>
          </p:nvPr>
        </p:nvSpPr>
        <p:spPr>
          <a:xfrm>
            <a:off x="10269462" y="6492767"/>
            <a:ext cx="1011313" cy="208758"/>
          </a:xfrm>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February 5, 2026</a:t>
            </a:r>
            <a:endParaRPr lang="en-US" dirty="0"/>
          </a:p>
        </p:txBody>
      </p:sp>
      <p:sp>
        <p:nvSpPr>
          <p:cNvPr id="12" name="Slide Number Placeholder 4">
            <a:extLst>
              <a:ext uri="{FF2B5EF4-FFF2-40B4-BE49-F238E27FC236}">
                <a16:creationId xmlns:a16="http://schemas.microsoft.com/office/drawing/2014/main" id="{A1E8B353-4F7C-6542-8D14-15DA2113CCB6}"/>
              </a:ext>
            </a:extLst>
          </p:cNvPr>
          <p:cNvSpPr>
            <a:spLocks noGrp="1"/>
          </p:cNvSpPr>
          <p:nvPr>
            <p:ph type="sldNum" sz="quarter" idx="12"/>
          </p:nvPr>
        </p:nvSpPr>
        <p:spPr>
          <a:xfrm>
            <a:off x="11280775" y="6492767"/>
            <a:ext cx="424392" cy="208758"/>
          </a:xfrm>
        </p:spPr>
        <p:txBody>
          <a:bodyPr/>
          <a:lstStyle>
            <a:lvl1pPr>
              <a:defRPr>
                <a:solidFill>
                  <a:schemeClr val="bg1"/>
                </a:solidFill>
              </a:defRPr>
            </a:lvl1pPr>
          </a:lstStyle>
          <a:p>
            <a:fld id="{63DCA5C9-2E11-4C67-86EB-AE1DE127DC64}" type="slidenum">
              <a:rPr lang="en-US" smtClean="0"/>
              <a:pPr/>
              <a:t>‹#›</a:t>
            </a:fld>
            <a:endParaRPr lang="en-US" dirty="0"/>
          </a:p>
        </p:txBody>
      </p:sp>
      <p:sp>
        <p:nvSpPr>
          <p:cNvPr id="14" name="Footer Placeholder 3">
            <a:extLst>
              <a:ext uri="{FF2B5EF4-FFF2-40B4-BE49-F238E27FC236}">
                <a16:creationId xmlns:a16="http://schemas.microsoft.com/office/drawing/2014/main" id="{BEEDD2DE-0E36-BD49-AF12-E56FA13A0371}"/>
              </a:ext>
            </a:extLst>
          </p:cNvPr>
          <p:cNvSpPr>
            <a:spLocks noGrp="1"/>
          </p:cNvSpPr>
          <p:nvPr>
            <p:ph type="ftr" sz="quarter" idx="11"/>
          </p:nvPr>
        </p:nvSpPr>
        <p:spPr>
          <a:xfrm>
            <a:off x="491068" y="6496842"/>
            <a:ext cx="4815417" cy="208758"/>
          </a:xfrm>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200"/>
            <a:r>
              <a:rPr lang="en-US"/>
              <a:t>CAR T in BCL</a:t>
            </a:r>
            <a:endParaRPr lang="en-US" dirty="0"/>
          </a:p>
        </p:txBody>
      </p:sp>
    </p:spTree>
    <p:extLst>
      <p:ext uri="{BB962C8B-B14F-4D97-AF65-F5344CB8AC3E}">
        <p14:creationId xmlns:p14="http://schemas.microsoft.com/office/powerpoint/2010/main" val="72540446"/>
      </p:ext>
    </p:extLst>
  </p:cSld>
  <p:clrMapOvr>
    <a:masterClrMapping/>
  </p:clrMapOvr>
  <p:extLst>
    <p:ext uri="{DCECCB84-F9BA-43D5-87BE-67443E8EF086}">
      <p15:sldGuideLst xmlns:p15="http://schemas.microsoft.com/office/powerpoint/2012/main"/>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imagery_2pics 1/2 and 1/2 -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C570D-3BAE-433E-8DDA-6594E6C21ABD}"/>
              </a:ext>
            </a:extLst>
          </p:cNvPr>
          <p:cNvSpPr>
            <a:spLocks noGrp="1"/>
          </p:cNvSpPr>
          <p:nvPr>
            <p:ph type="title"/>
          </p:nvPr>
        </p:nvSpPr>
        <p:spPr/>
        <p:txBody>
          <a:bodyPr/>
          <a:lstStyle>
            <a:lvl1pPr>
              <a:defRPr>
                <a:solidFill>
                  <a:srgbClr val="007CBA"/>
                </a:solidFill>
              </a:defRPr>
            </a:lvl1pPr>
          </a:lstStyle>
          <a:p>
            <a:r>
              <a:rPr lang="en-US"/>
              <a:t>Click to edit Master title style</a:t>
            </a:r>
            <a:endParaRPr lang="en-US" dirty="0"/>
          </a:p>
        </p:txBody>
      </p:sp>
      <p:sp>
        <p:nvSpPr>
          <p:cNvPr id="8" name="Picture Placeholder 6">
            <a:extLst>
              <a:ext uri="{FF2B5EF4-FFF2-40B4-BE49-F238E27FC236}">
                <a16:creationId xmlns:a16="http://schemas.microsoft.com/office/drawing/2014/main" id="{1C3D7C17-84D2-A046-B75C-5B7B6CA59C1A}"/>
              </a:ext>
            </a:extLst>
          </p:cNvPr>
          <p:cNvSpPr>
            <a:spLocks noGrp="1"/>
          </p:cNvSpPr>
          <p:nvPr>
            <p:ph type="pic" sz="quarter" idx="15"/>
          </p:nvPr>
        </p:nvSpPr>
        <p:spPr>
          <a:xfrm>
            <a:off x="491067" y="1600200"/>
            <a:ext cx="5452533" cy="4533900"/>
          </a:xfrm>
          <a:solidFill>
            <a:srgbClr val="9E9E98"/>
          </a:solidFill>
        </p:spPr>
        <p:txBody>
          <a:bodyPr tIns="1737360"/>
          <a:lstStyle>
            <a:lvl1pPr algn="ctr">
              <a:defRPr/>
            </a:lvl1pPr>
          </a:lstStyle>
          <a:p>
            <a:r>
              <a:rPr lang="en-US"/>
              <a:t>Click icon to add picture</a:t>
            </a:r>
            <a:endParaRPr lang="en-US" dirty="0"/>
          </a:p>
        </p:txBody>
      </p:sp>
      <p:sp>
        <p:nvSpPr>
          <p:cNvPr id="10" name="Picture Placeholder 6">
            <a:extLst>
              <a:ext uri="{FF2B5EF4-FFF2-40B4-BE49-F238E27FC236}">
                <a16:creationId xmlns:a16="http://schemas.microsoft.com/office/drawing/2014/main" id="{63251128-0E5E-2348-AB9B-4278B9B8CB65}"/>
              </a:ext>
            </a:extLst>
          </p:cNvPr>
          <p:cNvSpPr>
            <a:spLocks noGrp="1"/>
          </p:cNvSpPr>
          <p:nvPr>
            <p:ph type="pic" sz="quarter" idx="16"/>
          </p:nvPr>
        </p:nvSpPr>
        <p:spPr>
          <a:xfrm>
            <a:off x="6248401" y="1600200"/>
            <a:ext cx="5456767" cy="4533900"/>
          </a:xfrm>
          <a:solidFill>
            <a:srgbClr val="9E9E98"/>
          </a:solidFill>
        </p:spPr>
        <p:txBody>
          <a:bodyPr tIns="1737360"/>
          <a:lstStyle>
            <a:lvl1pPr algn="ctr">
              <a:defRPr/>
            </a:lvl1pPr>
          </a:lstStyle>
          <a:p>
            <a:r>
              <a:rPr lang="en-US"/>
              <a:t>Click icon to add picture</a:t>
            </a:r>
            <a:endParaRPr lang="en-US" dirty="0"/>
          </a:p>
        </p:txBody>
      </p:sp>
      <p:sp>
        <p:nvSpPr>
          <p:cNvPr id="11" name="Date Placeholder 2">
            <a:extLst>
              <a:ext uri="{FF2B5EF4-FFF2-40B4-BE49-F238E27FC236}">
                <a16:creationId xmlns:a16="http://schemas.microsoft.com/office/drawing/2014/main" id="{27DDF359-A04C-2548-BDC4-DE4CDD066A67}"/>
              </a:ext>
            </a:extLst>
          </p:cNvPr>
          <p:cNvSpPr>
            <a:spLocks noGrp="1"/>
          </p:cNvSpPr>
          <p:nvPr>
            <p:ph type="dt" sz="half" idx="10"/>
          </p:nvPr>
        </p:nvSpPr>
        <p:spPr>
          <a:xfrm>
            <a:off x="10269462" y="6492767"/>
            <a:ext cx="1011313" cy="208758"/>
          </a:xfrm>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February 5, 2026</a:t>
            </a:r>
            <a:endParaRPr lang="en-US" dirty="0"/>
          </a:p>
        </p:txBody>
      </p:sp>
      <p:sp>
        <p:nvSpPr>
          <p:cNvPr id="12" name="Slide Number Placeholder 4">
            <a:extLst>
              <a:ext uri="{FF2B5EF4-FFF2-40B4-BE49-F238E27FC236}">
                <a16:creationId xmlns:a16="http://schemas.microsoft.com/office/drawing/2014/main" id="{E33846A6-1A91-8241-BDDF-5ECCCB04FDFB}"/>
              </a:ext>
            </a:extLst>
          </p:cNvPr>
          <p:cNvSpPr>
            <a:spLocks noGrp="1"/>
          </p:cNvSpPr>
          <p:nvPr>
            <p:ph type="sldNum" sz="quarter" idx="12"/>
          </p:nvPr>
        </p:nvSpPr>
        <p:spPr>
          <a:xfrm>
            <a:off x="11280775" y="6492767"/>
            <a:ext cx="424392" cy="208758"/>
          </a:xfrm>
        </p:spPr>
        <p:txBody>
          <a:bodyPr/>
          <a:lstStyle>
            <a:lvl1pPr>
              <a:defRPr>
                <a:solidFill>
                  <a:schemeClr val="bg1"/>
                </a:solidFill>
              </a:defRPr>
            </a:lvl1pPr>
          </a:lstStyle>
          <a:p>
            <a:fld id="{63DCA5C9-2E11-4C67-86EB-AE1DE127DC64}" type="slidenum">
              <a:rPr lang="en-US" smtClean="0"/>
              <a:pPr/>
              <a:t>‹#›</a:t>
            </a:fld>
            <a:endParaRPr lang="en-US" dirty="0"/>
          </a:p>
        </p:txBody>
      </p:sp>
      <p:sp>
        <p:nvSpPr>
          <p:cNvPr id="14" name="Footer Placeholder 3">
            <a:extLst>
              <a:ext uri="{FF2B5EF4-FFF2-40B4-BE49-F238E27FC236}">
                <a16:creationId xmlns:a16="http://schemas.microsoft.com/office/drawing/2014/main" id="{4B6D2D02-90D3-1A44-8F25-4EEFE0D7FE4D}"/>
              </a:ext>
            </a:extLst>
          </p:cNvPr>
          <p:cNvSpPr>
            <a:spLocks noGrp="1"/>
          </p:cNvSpPr>
          <p:nvPr>
            <p:ph type="ftr" sz="quarter" idx="11"/>
          </p:nvPr>
        </p:nvSpPr>
        <p:spPr>
          <a:xfrm>
            <a:off x="491068" y="6496842"/>
            <a:ext cx="4815417" cy="208758"/>
          </a:xfrm>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200"/>
            <a:r>
              <a:rPr lang="en-US"/>
              <a:t>CAR T in BCL</a:t>
            </a:r>
            <a:endParaRPr lang="en-US" dirty="0"/>
          </a:p>
        </p:txBody>
      </p:sp>
    </p:spTree>
    <p:extLst>
      <p:ext uri="{BB962C8B-B14F-4D97-AF65-F5344CB8AC3E}">
        <p14:creationId xmlns:p14="http://schemas.microsoft.com/office/powerpoint/2010/main" val="2168576241"/>
      </p:ext>
    </p:extLst>
  </p:cSld>
  <p:clrMapOvr>
    <a:masterClrMapping/>
  </p:clrMapOvr>
  <p:extLst>
    <p:ext uri="{DCECCB84-F9BA-43D5-87BE-67443E8EF086}">
      <p15:sldGuideLst xmlns:p15="http://schemas.microsoft.com/office/powerpoint/2012/main"/>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imagery_3pics 1/3, 1/3, 1/3 -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C570D-3BAE-433E-8DDA-6594E6C21ABD}"/>
              </a:ext>
            </a:extLst>
          </p:cNvPr>
          <p:cNvSpPr>
            <a:spLocks noGrp="1"/>
          </p:cNvSpPr>
          <p:nvPr>
            <p:ph type="title"/>
          </p:nvPr>
        </p:nvSpPr>
        <p:spPr/>
        <p:txBody>
          <a:bodyPr/>
          <a:lstStyle>
            <a:lvl1pPr>
              <a:defRPr>
                <a:solidFill>
                  <a:srgbClr val="007CBA"/>
                </a:solidFill>
              </a:defRPr>
            </a:lvl1pPr>
          </a:lstStyle>
          <a:p>
            <a:r>
              <a:rPr lang="en-US"/>
              <a:t>Click to edit Master title style</a:t>
            </a:r>
            <a:endParaRPr lang="en-US" dirty="0"/>
          </a:p>
        </p:txBody>
      </p:sp>
      <p:sp>
        <p:nvSpPr>
          <p:cNvPr id="8" name="Date Placeholder 2">
            <a:extLst>
              <a:ext uri="{FF2B5EF4-FFF2-40B4-BE49-F238E27FC236}">
                <a16:creationId xmlns:a16="http://schemas.microsoft.com/office/drawing/2014/main" id="{7B0B6B73-E91C-864E-8C2B-ADADBC0A0171}"/>
              </a:ext>
            </a:extLst>
          </p:cNvPr>
          <p:cNvSpPr>
            <a:spLocks noGrp="1"/>
          </p:cNvSpPr>
          <p:nvPr>
            <p:ph type="dt" sz="half" idx="10"/>
          </p:nvPr>
        </p:nvSpPr>
        <p:spPr>
          <a:xfrm>
            <a:off x="10269462" y="6492767"/>
            <a:ext cx="1011313" cy="208758"/>
          </a:xfrm>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February 5, 2026</a:t>
            </a:r>
            <a:endParaRPr lang="en-US" dirty="0"/>
          </a:p>
        </p:txBody>
      </p:sp>
      <p:sp>
        <p:nvSpPr>
          <p:cNvPr id="9" name="Slide Number Placeholder 4">
            <a:extLst>
              <a:ext uri="{FF2B5EF4-FFF2-40B4-BE49-F238E27FC236}">
                <a16:creationId xmlns:a16="http://schemas.microsoft.com/office/drawing/2014/main" id="{A3C95C61-0DD8-CB46-A786-8B3CACBFFF9B}"/>
              </a:ext>
            </a:extLst>
          </p:cNvPr>
          <p:cNvSpPr>
            <a:spLocks noGrp="1"/>
          </p:cNvSpPr>
          <p:nvPr>
            <p:ph type="sldNum" sz="quarter" idx="12"/>
          </p:nvPr>
        </p:nvSpPr>
        <p:spPr>
          <a:xfrm>
            <a:off x="11280775" y="6492767"/>
            <a:ext cx="424392" cy="208758"/>
          </a:xfrm>
        </p:spPr>
        <p:txBody>
          <a:bodyPr/>
          <a:lstStyle>
            <a:lvl1pPr>
              <a:defRPr>
                <a:solidFill>
                  <a:schemeClr val="bg1"/>
                </a:solidFill>
              </a:defRPr>
            </a:lvl1pPr>
          </a:lstStyle>
          <a:p>
            <a:fld id="{63DCA5C9-2E11-4C67-86EB-AE1DE127DC64}" type="slidenum">
              <a:rPr lang="en-US" smtClean="0"/>
              <a:pPr/>
              <a:t>‹#›</a:t>
            </a:fld>
            <a:endParaRPr lang="en-US" dirty="0"/>
          </a:p>
        </p:txBody>
      </p:sp>
      <p:sp>
        <p:nvSpPr>
          <p:cNvPr id="11" name="Footer Placeholder 3">
            <a:extLst>
              <a:ext uri="{FF2B5EF4-FFF2-40B4-BE49-F238E27FC236}">
                <a16:creationId xmlns:a16="http://schemas.microsoft.com/office/drawing/2014/main" id="{4A570B21-43A6-F34C-923E-42E156FA3215}"/>
              </a:ext>
            </a:extLst>
          </p:cNvPr>
          <p:cNvSpPr>
            <a:spLocks noGrp="1"/>
          </p:cNvSpPr>
          <p:nvPr>
            <p:ph type="ftr" sz="quarter" idx="11"/>
          </p:nvPr>
        </p:nvSpPr>
        <p:spPr>
          <a:xfrm>
            <a:off x="491068" y="6496842"/>
            <a:ext cx="4815417" cy="208758"/>
          </a:xfrm>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200"/>
            <a:r>
              <a:rPr lang="en-US"/>
              <a:t>CAR T in BCL</a:t>
            </a:r>
            <a:endParaRPr lang="en-US" dirty="0"/>
          </a:p>
        </p:txBody>
      </p:sp>
      <p:sp>
        <p:nvSpPr>
          <p:cNvPr id="12" name="Picture Placeholder 6">
            <a:extLst>
              <a:ext uri="{FF2B5EF4-FFF2-40B4-BE49-F238E27FC236}">
                <a16:creationId xmlns:a16="http://schemas.microsoft.com/office/drawing/2014/main" id="{734C18A7-3584-6D48-A81D-8E9E022EF67C}"/>
              </a:ext>
            </a:extLst>
          </p:cNvPr>
          <p:cNvSpPr>
            <a:spLocks noGrp="1"/>
          </p:cNvSpPr>
          <p:nvPr>
            <p:ph type="pic" sz="quarter" idx="15"/>
          </p:nvPr>
        </p:nvSpPr>
        <p:spPr>
          <a:xfrm>
            <a:off x="491068" y="1600200"/>
            <a:ext cx="3534833" cy="4533900"/>
          </a:xfrm>
          <a:solidFill>
            <a:srgbClr val="9E9E98"/>
          </a:solidFill>
        </p:spPr>
        <p:txBody>
          <a:bodyPr tIns="1737360"/>
          <a:lstStyle>
            <a:lvl1pPr algn="ctr">
              <a:defRPr/>
            </a:lvl1pPr>
          </a:lstStyle>
          <a:p>
            <a:r>
              <a:rPr lang="en-US"/>
              <a:t>Click icon to add picture</a:t>
            </a:r>
            <a:endParaRPr lang="en-US" dirty="0"/>
          </a:p>
        </p:txBody>
      </p:sp>
      <p:sp>
        <p:nvSpPr>
          <p:cNvPr id="13" name="Picture Placeholder 6">
            <a:extLst>
              <a:ext uri="{FF2B5EF4-FFF2-40B4-BE49-F238E27FC236}">
                <a16:creationId xmlns:a16="http://schemas.microsoft.com/office/drawing/2014/main" id="{769A10F0-78C4-0F43-872A-0C7BA4DB8CF3}"/>
              </a:ext>
            </a:extLst>
          </p:cNvPr>
          <p:cNvSpPr>
            <a:spLocks noGrp="1"/>
          </p:cNvSpPr>
          <p:nvPr>
            <p:ph type="pic" sz="quarter" idx="16"/>
          </p:nvPr>
        </p:nvSpPr>
        <p:spPr>
          <a:xfrm>
            <a:off x="4326469" y="1600200"/>
            <a:ext cx="3539065" cy="4533900"/>
          </a:xfrm>
          <a:solidFill>
            <a:srgbClr val="9E9E98"/>
          </a:solidFill>
        </p:spPr>
        <p:txBody>
          <a:bodyPr tIns="1737360"/>
          <a:lstStyle>
            <a:lvl1pPr algn="ctr">
              <a:defRPr/>
            </a:lvl1pPr>
          </a:lstStyle>
          <a:p>
            <a:r>
              <a:rPr lang="en-US"/>
              <a:t>Click icon to add picture</a:t>
            </a:r>
            <a:endParaRPr lang="en-US" dirty="0"/>
          </a:p>
        </p:txBody>
      </p:sp>
      <p:sp>
        <p:nvSpPr>
          <p:cNvPr id="14" name="Picture Placeholder 6">
            <a:extLst>
              <a:ext uri="{FF2B5EF4-FFF2-40B4-BE49-F238E27FC236}">
                <a16:creationId xmlns:a16="http://schemas.microsoft.com/office/drawing/2014/main" id="{995490F6-114C-834C-A109-83C549F80B75}"/>
              </a:ext>
            </a:extLst>
          </p:cNvPr>
          <p:cNvSpPr>
            <a:spLocks noGrp="1"/>
          </p:cNvSpPr>
          <p:nvPr>
            <p:ph type="pic" sz="quarter" idx="17"/>
          </p:nvPr>
        </p:nvSpPr>
        <p:spPr>
          <a:xfrm>
            <a:off x="8166102" y="1600200"/>
            <a:ext cx="3539065" cy="4533900"/>
          </a:xfrm>
          <a:solidFill>
            <a:srgbClr val="9E9E98"/>
          </a:solidFill>
        </p:spPr>
        <p:txBody>
          <a:bodyPr tIns="1737360"/>
          <a:lstStyle>
            <a:lvl1pPr algn="ctr">
              <a:defRPr/>
            </a:lvl1pPr>
          </a:lstStyle>
          <a:p>
            <a:r>
              <a:rPr lang="en-US"/>
              <a:t>Click icon to add picture</a:t>
            </a:r>
            <a:endParaRPr lang="en-US" dirty="0"/>
          </a:p>
        </p:txBody>
      </p:sp>
    </p:spTree>
    <p:extLst>
      <p:ext uri="{BB962C8B-B14F-4D97-AF65-F5344CB8AC3E}">
        <p14:creationId xmlns:p14="http://schemas.microsoft.com/office/powerpoint/2010/main" val="729245139"/>
      </p:ext>
    </p:extLst>
  </p:cSld>
  <p:clrMapOvr>
    <a:masterClrMapping/>
  </p:clrMapOvr>
  <p:extLst>
    <p:ext uri="{DCECCB84-F9BA-43D5-87BE-67443E8EF086}">
      <p15:sldGuideLst xmlns:p15="http://schemas.microsoft.com/office/powerpoint/2012/main"/>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imagery_3 pics 1/3, 1/3, 1/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Picture Placeholder 6">
            <a:extLst>
              <a:ext uri="{FF2B5EF4-FFF2-40B4-BE49-F238E27FC236}">
                <a16:creationId xmlns:a16="http://schemas.microsoft.com/office/drawing/2014/main" id="{8568D37C-CE20-9546-9601-DC53FCAA7760}"/>
              </a:ext>
            </a:extLst>
          </p:cNvPr>
          <p:cNvSpPr>
            <a:spLocks noGrp="1"/>
          </p:cNvSpPr>
          <p:nvPr>
            <p:ph type="pic" sz="quarter" idx="15"/>
          </p:nvPr>
        </p:nvSpPr>
        <p:spPr>
          <a:xfrm>
            <a:off x="491068" y="349250"/>
            <a:ext cx="3534833" cy="5784850"/>
          </a:xfrm>
          <a:solidFill>
            <a:srgbClr val="9E9E98"/>
          </a:solidFill>
        </p:spPr>
        <p:txBody>
          <a:bodyPr tIns="1737360"/>
          <a:lstStyle>
            <a:lvl1pPr algn="ctr">
              <a:defRPr/>
            </a:lvl1pPr>
          </a:lstStyle>
          <a:p>
            <a:r>
              <a:rPr lang="en-US"/>
              <a:t>Click icon to add picture</a:t>
            </a:r>
            <a:endParaRPr lang="en-US" dirty="0"/>
          </a:p>
        </p:txBody>
      </p:sp>
      <p:sp>
        <p:nvSpPr>
          <p:cNvPr id="12" name="Picture Placeholder 6">
            <a:extLst>
              <a:ext uri="{FF2B5EF4-FFF2-40B4-BE49-F238E27FC236}">
                <a16:creationId xmlns:a16="http://schemas.microsoft.com/office/drawing/2014/main" id="{3E42CAFF-56CB-6947-A6C1-DE4741EA2CCB}"/>
              </a:ext>
            </a:extLst>
          </p:cNvPr>
          <p:cNvSpPr>
            <a:spLocks noGrp="1"/>
          </p:cNvSpPr>
          <p:nvPr>
            <p:ph type="pic" sz="quarter" idx="16"/>
          </p:nvPr>
        </p:nvSpPr>
        <p:spPr>
          <a:xfrm>
            <a:off x="4326469" y="349250"/>
            <a:ext cx="3539065" cy="5784850"/>
          </a:xfrm>
          <a:solidFill>
            <a:srgbClr val="9E9E98"/>
          </a:solidFill>
        </p:spPr>
        <p:txBody>
          <a:bodyPr tIns="1737360"/>
          <a:lstStyle>
            <a:lvl1pPr algn="ctr">
              <a:defRPr/>
            </a:lvl1pPr>
          </a:lstStyle>
          <a:p>
            <a:r>
              <a:rPr lang="en-US"/>
              <a:t>Click icon to add picture</a:t>
            </a:r>
            <a:endParaRPr lang="en-US" dirty="0"/>
          </a:p>
        </p:txBody>
      </p:sp>
      <p:sp>
        <p:nvSpPr>
          <p:cNvPr id="15" name="Picture Placeholder 6">
            <a:extLst>
              <a:ext uri="{FF2B5EF4-FFF2-40B4-BE49-F238E27FC236}">
                <a16:creationId xmlns:a16="http://schemas.microsoft.com/office/drawing/2014/main" id="{FEE7BF23-28CA-B342-9099-508D2AB57AA3}"/>
              </a:ext>
            </a:extLst>
          </p:cNvPr>
          <p:cNvSpPr>
            <a:spLocks noGrp="1"/>
          </p:cNvSpPr>
          <p:nvPr>
            <p:ph type="pic" sz="quarter" idx="17"/>
          </p:nvPr>
        </p:nvSpPr>
        <p:spPr>
          <a:xfrm>
            <a:off x="8166102" y="349250"/>
            <a:ext cx="3539065" cy="5784850"/>
          </a:xfrm>
          <a:solidFill>
            <a:srgbClr val="9E9E98"/>
          </a:solidFill>
        </p:spPr>
        <p:txBody>
          <a:bodyPr tIns="1737360"/>
          <a:lstStyle>
            <a:lvl1pPr algn="ctr">
              <a:defRPr/>
            </a:lvl1pPr>
          </a:lstStyle>
          <a:p>
            <a:r>
              <a:rPr lang="en-US"/>
              <a:t>Click icon to add picture</a:t>
            </a:r>
            <a:endParaRPr lang="en-US" dirty="0"/>
          </a:p>
        </p:txBody>
      </p:sp>
      <p:sp>
        <p:nvSpPr>
          <p:cNvPr id="16" name="Date Placeholder 2">
            <a:extLst>
              <a:ext uri="{FF2B5EF4-FFF2-40B4-BE49-F238E27FC236}">
                <a16:creationId xmlns:a16="http://schemas.microsoft.com/office/drawing/2014/main" id="{2354CE54-2BBD-8148-AB94-52CD5A3565A2}"/>
              </a:ext>
            </a:extLst>
          </p:cNvPr>
          <p:cNvSpPr>
            <a:spLocks noGrp="1"/>
          </p:cNvSpPr>
          <p:nvPr>
            <p:ph type="dt" sz="half" idx="10"/>
          </p:nvPr>
        </p:nvSpPr>
        <p:spPr>
          <a:xfrm>
            <a:off x="10269462" y="6492767"/>
            <a:ext cx="1011313" cy="208758"/>
          </a:xfrm>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February 5, 2026</a:t>
            </a:r>
            <a:endParaRPr lang="en-US" dirty="0"/>
          </a:p>
        </p:txBody>
      </p:sp>
      <p:sp>
        <p:nvSpPr>
          <p:cNvPr id="17" name="Slide Number Placeholder 4">
            <a:extLst>
              <a:ext uri="{FF2B5EF4-FFF2-40B4-BE49-F238E27FC236}">
                <a16:creationId xmlns:a16="http://schemas.microsoft.com/office/drawing/2014/main" id="{E70AC771-38C3-BB4F-9C3C-52B68FAEA5FE}"/>
              </a:ext>
            </a:extLst>
          </p:cNvPr>
          <p:cNvSpPr>
            <a:spLocks noGrp="1"/>
          </p:cNvSpPr>
          <p:nvPr>
            <p:ph type="sldNum" sz="quarter" idx="12"/>
          </p:nvPr>
        </p:nvSpPr>
        <p:spPr>
          <a:xfrm>
            <a:off x="11280775" y="6492767"/>
            <a:ext cx="424392" cy="208758"/>
          </a:xfrm>
        </p:spPr>
        <p:txBody>
          <a:bodyPr/>
          <a:lstStyle>
            <a:lvl1pPr>
              <a:defRPr>
                <a:solidFill>
                  <a:schemeClr val="bg1"/>
                </a:solidFill>
              </a:defRPr>
            </a:lvl1pPr>
          </a:lstStyle>
          <a:p>
            <a:fld id="{63DCA5C9-2E11-4C67-86EB-AE1DE127DC64}" type="slidenum">
              <a:rPr lang="en-US" smtClean="0"/>
              <a:pPr/>
              <a:t>‹#›</a:t>
            </a:fld>
            <a:endParaRPr lang="en-US" dirty="0"/>
          </a:p>
        </p:txBody>
      </p:sp>
      <p:sp>
        <p:nvSpPr>
          <p:cNvPr id="18" name="Footer Placeholder 3">
            <a:extLst>
              <a:ext uri="{FF2B5EF4-FFF2-40B4-BE49-F238E27FC236}">
                <a16:creationId xmlns:a16="http://schemas.microsoft.com/office/drawing/2014/main" id="{1E3090FB-4D1F-0C4B-B7E6-FE44855D60C9}"/>
              </a:ext>
            </a:extLst>
          </p:cNvPr>
          <p:cNvSpPr>
            <a:spLocks noGrp="1"/>
          </p:cNvSpPr>
          <p:nvPr>
            <p:ph type="ftr" sz="quarter" idx="11"/>
          </p:nvPr>
        </p:nvSpPr>
        <p:spPr>
          <a:xfrm>
            <a:off x="491068" y="6496842"/>
            <a:ext cx="4815417" cy="208758"/>
          </a:xfrm>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200"/>
            <a:r>
              <a:rPr lang="en-US"/>
              <a:t>CAR T in BCL</a:t>
            </a:r>
            <a:endParaRPr lang="en-US" dirty="0"/>
          </a:p>
        </p:txBody>
      </p:sp>
    </p:spTree>
    <p:extLst>
      <p:ext uri="{BB962C8B-B14F-4D97-AF65-F5344CB8AC3E}">
        <p14:creationId xmlns:p14="http://schemas.microsoft.com/office/powerpoint/2010/main" val="3870437565"/>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916FF65-E16B-BA4F-9591-6B4416106527}" type="datetimeFigureOut">
              <a:rPr lang="en-US" smtClean="0"/>
              <a:t>4/24/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2190637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imagery_6 pics 1/3, 1/3, 1/3 -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C570D-3BAE-433E-8DDA-6594E6C21ABD}"/>
              </a:ext>
            </a:extLst>
          </p:cNvPr>
          <p:cNvSpPr>
            <a:spLocks noGrp="1"/>
          </p:cNvSpPr>
          <p:nvPr>
            <p:ph type="title"/>
          </p:nvPr>
        </p:nvSpPr>
        <p:spPr/>
        <p:txBody>
          <a:bodyPr/>
          <a:lstStyle>
            <a:lvl1pPr>
              <a:defRPr>
                <a:solidFill>
                  <a:srgbClr val="007CBA"/>
                </a:solidFill>
              </a:defRPr>
            </a:lvl1pPr>
          </a:lstStyle>
          <a:p>
            <a:r>
              <a:rPr lang="en-US"/>
              <a:t>Click to edit Master title style</a:t>
            </a:r>
            <a:endParaRPr lang="en-US" dirty="0"/>
          </a:p>
        </p:txBody>
      </p:sp>
      <p:sp>
        <p:nvSpPr>
          <p:cNvPr id="8" name="Date Placeholder 2">
            <a:extLst>
              <a:ext uri="{FF2B5EF4-FFF2-40B4-BE49-F238E27FC236}">
                <a16:creationId xmlns:a16="http://schemas.microsoft.com/office/drawing/2014/main" id="{C6CD4B92-BBDA-4D46-8EE4-D09A4268A94E}"/>
              </a:ext>
            </a:extLst>
          </p:cNvPr>
          <p:cNvSpPr>
            <a:spLocks noGrp="1"/>
          </p:cNvSpPr>
          <p:nvPr>
            <p:ph type="dt" sz="half" idx="10"/>
          </p:nvPr>
        </p:nvSpPr>
        <p:spPr>
          <a:xfrm>
            <a:off x="10269462" y="6492767"/>
            <a:ext cx="1011313" cy="208758"/>
          </a:xfrm>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February 5, 2026</a:t>
            </a:r>
            <a:endParaRPr lang="en-US" dirty="0"/>
          </a:p>
        </p:txBody>
      </p:sp>
      <p:sp>
        <p:nvSpPr>
          <p:cNvPr id="9" name="Slide Number Placeholder 4">
            <a:extLst>
              <a:ext uri="{FF2B5EF4-FFF2-40B4-BE49-F238E27FC236}">
                <a16:creationId xmlns:a16="http://schemas.microsoft.com/office/drawing/2014/main" id="{05CFE90F-7B1D-3B45-881F-DA7B55BD2F02}"/>
              </a:ext>
            </a:extLst>
          </p:cNvPr>
          <p:cNvSpPr>
            <a:spLocks noGrp="1"/>
          </p:cNvSpPr>
          <p:nvPr>
            <p:ph type="sldNum" sz="quarter" idx="12"/>
          </p:nvPr>
        </p:nvSpPr>
        <p:spPr>
          <a:xfrm>
            <a:off x="11280775" y="6492767"/>
            <a:ext cx="424392" cy="208758"/>
          </a:xfrm>
        </p:spPr>
        <p:txBody>
          <a:bodyPr/>
          <a:lstStyle>
            <a:lvl1pPr>
              <a:defRPr>
                <a:solidFill>
                  <a:schemeClr val="bg1"/>
                </a:solidFill>
              </a:defRPr>
            </a:lvl1pPr>
          </a:lstStyle>
          <a:p>
            <a:fld id="{63DCA5C9-2E11-4C67-86EB-AE1DE127DC64}" type="slidenum">
              <a:rPr lang="en-US" smtClean="0"/>
              <a:pPr/>
              <a:t>‹#›</a:t>
            </a:fld>
            <a:endParaRPr lang="en-US" dirty="0"/>
          </a:p>
        </p:txBody>
      </p:sp>
      <p:sp>
        <p:nvSpPr>
          <p:cNvPr id="10" name="Footer Placeholder 3">
            <a:extLst>
              <a:ext uri="{FF2B5EF4-FFF2-40B4-BE49-F238E27FC236}">
                <a16:creationId xmlns:a16="http://schemas.microsoft.com/office/drawing/2014/main" id="{F7B01DBB-D24E-6A4A-8CC6-DEE17412B3D7}"/>
              </a:ext>
            </a:extLst>
          </p:cNvPr>
          <p:cNvSpPr>
            <a:spLocks noGrp="1"/>
          </p:cNvSpPr>
          <p:nvPr>
            <p:ph type="ftr" sz="quarter" idx="11"/>
          </p:nvPr>
        </p:nvSpPr>
        <p:spPr>
          <a:xfrm>
            <a:off x="491068" y="6496842"/>
            <a:ext cx="4815417" cy="208758"/>
          </a:xfrm>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200"/>
            <a:r>
              <a:rPr lang="en-US"/>
              <a:t>CAR T in BCL</a:t>
            </a:r>
            <a:endParaRPr lang="en-US" dirty="0"/>
          </a:p>
        </p:txBody>
      </p:sp>
      <p:sp>
        <p:nvSpPr>
          <p:cNvPr id="11" name="Picture Placeholder 6">
            <a:extLst>
              <a:ext uri="{FF2B5EF4-FFF2-40B4-BE49-F238E27FC236}">
                <a16:creationId xmlns:a16="http://schemas.microsoft.com/office/drawing/2014/main" id="{E3E2B952-0503-C245-9647-B0944760C201}"/>
              </a:ext>
            </a:extLst>
          </p:cNvPr>
          <p:cNvSpPr>
            <a:spLocks noGrp="1"/>
          </p:cNvSpPr>
          <p:nvPr>
            <p:ph type="pic" sz="quarter" idx="15"/>
          </p:nvPr>
        </p:nvSpPr>
        <p:spPr>
          <a:xfrm>
            <a:off x="491068" y="3979332"/>
            <a:ext cx="3534833" cy="2154769"/>
          </a:xfrm>
          <a:solidFill>
            <a:srgbClr val="9E9E98"/>
          </a:solidFill>
        </p:spPr>
        <p:txBody>
          <a:bodyPr tIns="1280160"/>
          <a:lstStyle>
            <a:lvl1pPr algn="ctr">
              <a:defRPr/>
            </a:lvl1pPr>
          </a:lstStyle>
          <a:p>
            <a:r>
              <a:rPr lang="en-US"/>
              <a:t>Click icon to add picture</a:t>
            </a:r>
            <a:endParaRPr lang="en-US" dirty="0"/>
          </a:p>
        </p:txBody>
      </p:sp>
      <p:sp>
        <p:nvSpPr>
          <p:cNvPr id="12" name="Picture Placeholder 6">
            <a:extLst>
              <a:ext uri="{FF2B5EF4-FFF2-40B4-BE49-F238E27FC236}">
                <a16:creationId xmlns:a16="http://schemas.microsoft.com/office/drawing/2014/main" id="{BBF1F671-AC39-6E43-B59E-B176980E804A}"/>
              </a:ext>
            </a:extLst>
          </p:cNvPr>
          <p:cNvSpPr>
            <a:spLocks noGrp="1"/>
          </p:cNvSpPr>
          <p:nvPr>
            <p:ph type="pic" sz="quarter" idx="16"/>
          </p:nvPr>
        </p:nvSpPr>
        <p:spPr>
          <a:xfrm>
            <a:off x="4326469" y="3979332"/>
            <a:ext cx="3539065" cy="2154769"/>
          </a:xfrm>
          <a:solidFill>
            <a:srgbClr val="9E9E98"/>
          </a:solidFill>
        </p:spPr>
        <p:txBody>
          <a:bodyPr tIns="1280160"/>
          <a:lstStyle>
            <a:lvl1pPr algn="ctr">
              <a:defRPr/>
            </a:lvl1pPr>
          </a:lstStyle>
          <a:p>
            <a:r>
              <a:rPr lang="en-US"/>
              <a:t>Click icon to add picture</a:t>
            </a:r>
            <a:endParaRPr lang="en-US" dirty="0"/>
          </a:p>
        </p:txBody>
      </p:sp>
      <p:sp>
        <p:nvSpPr>
          <p:cNvPr id="13" name="Picture Placeholder 6">
            <a:extLst>
              <a:ext uri="{FF2B5EF4-FFF2-40B4-BE49-F238E27FC236}">
                <a16:creationId xmlns:a16="http://schemas.microsoft.com/office/drawing/2014/main" id="{CDDAAB07-CCA3-DD41-9B3B-A62AFB5E35A6}"/>
              </a:ext>
            </a:extLst>
          </p:cNvPr>
          <p:cNvSpPr>
            <a:spLocks noGrp="1"/>
          </p:cNvSpPr>
          <p:nvPr>
            <p:ph type="pic" sz="quarter" idx="17"/>
          </p:nvPr>
        </p:nvSpPr>
        <p:spPr>
          <a:xfrm>
            <a:off x="8166102" y="3979332"/>
            <a:ext cx="3539065" cy="2154769"/>
          </a:xfrm>
          <a:solidFill>
            <a:srgbClr val="9E9E98"/>
          </a:solidFill>
        </p:spPr>
        <p:txBody>
          <a:bodyPr tIns="1280160"/>
          <a:lstStyle>
            <a:lvl1pPr algn="ctr">
              <a:defRPr/>
            </a:lvl1pPr>
          </a:lstStyle>
          <a:p>
            <a:r>
              <a:rPr lang="en-US"/>
              <a:t>Click icon to add picture</a:t>
            </a:r>
            <a:endParaRPr lang="en-US" dirty="0"/>
          </a:p>
        </p:txBody>
      </p:sp>
      <p:sp>
        <p:nvSpPr>
          <p:cNvPr id="14" name="Picture Placeholder 6">
            <a:extLst>
              <a:ext uri="{FF2B5EF4-FFF2-40B4-BE49-F238E27FC236}">
                <a16:creationId xmlns:a16="http://schemas.microsoft.com/office/drawing/2014/main" id="{95958295-E187-9145-A702-EA3103707021}"/>
              </a:ext>
            </a:extLst>
          </p:cNvPr>
          <p:cNvSpPr>
            <a:spLocks noGrp="1"/>
          </p:cNvSpPr>
          <p:nvPr>
            <p:ph type="pic" sz="quarter" idx="18"/>
          </p:nvPr>
        </p:nvSpPr>
        <p:spPr>
          <a:xfrm>
            <a:off x="491068" y="1600201"/>
            <a:ext cx="3534833" cy="2154768"/>
          </a:xfrm>
          <a:solidFill>
            <a:srgbClr val="9E9E98"/>
          </a:solidFill>
        </p:spPr>
        <p:txBody>
          <a:bodyPr tIns="1280160"/>
          <a:lstStyle>
            <a:lvl1pPr algn="ctr">
              <a:defRPr/>
            </a:lvl1pPr>
          </a:lstStyle>
          <a:p>
            <a:r>
              <a:rPr lang="en-US"/>
              <a:t>Click icon to add picture</a:t>
            </a:r>
            <a:endParaRPr lang="en-US" dirty="0"/>
          </a:p>
        </p:txBody>
      </p:sp>
      <p:sp>
        <p:nvSpPr>
          <p:cNvPr id="15" name="Picture Placeholder 6">
            <a:extLst>
              <a:ext uri="{FF2B5EF4-FFF2-40B4-BE49-F238E27FC236}">
                <a16:creationId xmlns:a16="http://schemas.microsoft.com/office/drawing/2014/main" id="{619985AD-DB65-614B-A6DC-98A9B9BE0B57}"/>
              </a:ext>
            </a:extLst>
          </p:cNvPr>
          <p:cNvSpPr>
            <a:spLocks noGrp="1"/>
          </p:cNvSpPr>
          <p:nvPr>
            <p:ph type="pic" sz="quarter" idx="19"/>
          </p:nvPr>
        </p:nvSpPr>
        <p:spPr>
          <a:xfrm>
            <a:off x="4326469" y="1600201"/>
            <a:ext cx="3539065" cy="2154768"/>
          </a:xfrm>
          <a:solidFill>
            <a:srgbClr val="9E9E98"/>
          </a:solidFill>
        </p:spPr>
        <p:txBody>
          <a:bodyPr tIns="1280160"/>
          <a:lstStyle>
            <a:lvl1pPr algn="ctr">
              <a:defRPr/>
            </a:lvl1pPr>
          </a:lstStyle>
          <a:p>
            <a:r>
              <a:rPr lang="en-US"/>
              <a:t>Click icon to add picture</a:t>
            </a:r>
            <a:endParaRPr lang="en-US" dirty="0"/>
          </a:p>
        </p:txBody>
      </p:sp>
      <p:sp>
        <p:nvSpPr>
          <p:cNvPr id="16" name="Picture Placeholder 6">
            <a:extLst>
              <a:ext uri="{FF2B5EF4-FFF2-40B4-BE49-F238E27FC236}">
                <a16:creationId xmlns:a16="http://schemas.microsoft.com/office/drawing/2014/main" id="{5B259422-6E20-8B4E-9DBF-C0C809F179F0}"/>
              </a:ext>
            </a:extLst>
          </p:cNvPr>
          <p:cNvSpPr>
            <a:spLocks noGrp="1"/>
          </p:cNvSpPr>
          <p:nvPr>
            <p:ph type="pic" sz="quarter" idx="20"/>
          </p:nvPr>
        </p:nvSpPr>
        <p:spPr>
          <a:xfrm>
            <a:off x="8166102" y="1600201"/>
            <a:ext cx="3539065" cy="2154768"/>
          </a:xfrm>
          <a:solidFill>
            <a:srgbClr val="9E9E98"/>
          </a:solidFill>
        </p:spPr>
        <p:txBody>
          <a:bodyPr tIns="1280160"/>
          <a:lstStyle>
            <a:lvl1pPr algn="ctr">
              <a:defRPr/>
            </a:lvl1pPr>
          </a:lstStyle>
          <a:p>
            <a:r>
              <a:rPr lang="en-US"/>
              <a:t>Click icon to add picture</a:t>
            </a:r>
            <a:endParaRPr lang="en-US" dirty="0"/>
          </a:p>
        </p:txBody>
      </p:sp>
    </p:spTree>
    <p:extLst>
      <p:ext uri="{BB962C8B-B14F-4D97-AF65-F5344CB8AC3E}">
        <p14:creationId xmlns:p14="http://schemas.microsoft.com/office/powerpoint/2010/main" val="3511364588"/>
      </p:ext>
    </p:extLst>
  </p:cSld>
  <p:clrMapOvr>
    <a:masterClrMapping/>
  </p:clrMapOvr>
  <p:extLst>
    <p:ext uri="{DCECCB84-F9BA-43D5-87BE-67443E8EF086}">
      <p15:sldGuideLst xmlns:p15="http://schemas.microsoft.com/office/powerpoint/2012/main"/>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imagery_6 pics 1/3, 1/3, 1/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Date Placeholder 2">
            <a:extLst>
              <a:ext uri="{FF2B5EF4-FFF2-40B4-BE49-F238E27FC236}">
                <a16:creationId xmlns:a16="http://schemas.microsoft.com/office/drawing/2014/main" id="{7B33FFFA-2BB2-5940-82F3-488F5CFA2A38}"/>
              </a:ext>
            </a:extLst>
          </p:cNvPr>
          <p:cNvSpPr>
            <a:spLocks noGrp="1"/>
          </p:cNvSpPr>
          <p:nvPr>
            <p:ph type="dt" sz="half" idx="10"/>
          </p:nvPr>
        </p:nvSpPr>
        <p:spPr>
          <a:xfrm>
            <a:off x="10269462" y="6492767"/>
            <a:ext cx="1011313" cy="208758"/>
          </a:xfrm>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February 5, 2026</a:t>
            </a:r>
            <a:endParaRPr lang="en-US" dirty="0"/>
          </a:p>
        </p:txBody>
      </p:sp>
      <p:sp>
        <p:nvSpPr>
          <p:cNvPr id="9" name="Slide Number Placeholder 4">
            <a:extLst>
              <a:ext uri="{FF2B5EF4-FFF2-40B4-BE49-F238E27FC236}">
                <a16:creationId xmlns:a16="http://schemas.microsoft.com/office/drawing/2014/main" id="{5C126967-5781-AF4B-86B0-833CE5A7522D}"/>
              </a:ext>
            </a:extLst>
          </p:cNvPr>
          <p:cNvSpPr>
            <a:spLocks noGrp="1"/>
          </p:cNvSpPr>
          <p:nvPr>
            <p:ph type="sldNum" sz="quarter" idx="12"/>
          </p:nvPr>
        </p:nvSpPr>
        <p:spPr>
          <a:xfrm>
            <a:off x="11280775" y="6492767"/>
            <a:ext cx="424392" cy="208758"/>
          </a:xfrm>
        </p:spPr>
        <p:txBody>
          <a:bodyPr/>
          <a:lstStyle>
            <a:lvl1pPr>
              <a:defRPr>
                <a:solidFill>
                  <a:schemeClr val="bg1"/>
                </a:solidFill>
              </a:defRPr>
            </a:lvl1pPr>
          </a:lstStyle>
          <a:p>
            <a:fld id="{63DCA5C9-2E11-4C67-86EB-AE1DE127DC64}" type="slidenum">
              <a:rPr lang="en-US" smtClean="0"/>
              <a:pPr/>
              <a:t>‹#›</a:t>
            </a:fld>
            <a:endParaRPr lang="en-US" dirty="0"/>
          </a:p>
        </p:txBody>
      </p:sp>
      <p:sp>
        <p:nvSpPr>
          <p:cNvPr id="10" name="Footer Placeholder 3">
            <a:extLst>
              <a:ext uri="{FF2B5EF4-FFF2-40B4-BE49-F238E27FC236}">
                <a16:creationId xmlns:a16="http://schemas.microsoft.com/office/drawing/2014/main" id="{ED8B772E-AD25-DD42-8B49-CA4A4E87D1BE}"/>
              </a:ext>
            </a:extLst>
          </p:cNvPr>
          <p:cNvSpPr>
            <a:spLocks noGrp="1"/>
          </p:cNvSpPr>
          <p:nvPr>
            <p:ph type="ftr" sz="quarter" idx="11"/>
          </p:nvPr>
        </p:nvSpPr>
        <p:spPr>
          <a:xfrm>
            <a:off x="491068" y="6496842"/>
            <a:ext cx="4815417" cy="208758"/>
          </a:xfrm>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200"/>
            <a:r>
              <a:rPr lang="en-US"/>
              <a:t>CAR T in BCL</a:t>
            </a:r>
            <a:endParaRPr lang="en-US" dirty="0"/>
          </a:p>
        </p:txBody>
      </p:sp>
      <p:sp>
        <p:nvSpPr>
          <p:cNvPr id="17" name="Picture Placeholder 6">
            <a:extLst>
              <a:ext uri="{FF2B5EF4-FFF2-40B4-BE49-F238E27FC236}">
                <a16:creationId xmlns:a16="http://schemas.microsoft.com/office/drawing/2014/main" id="{050BB7AE-8FC9-4D40-8339-933EE3D4586A}"/>
              </a:ext>
            </a:extLst>
          </p:cNvPr>
          <p:cNvSpPr>
            <a:spLocks noGrp="1"/>
          </p:cNvSpPr>
          <p:nvPr>
            <p:ph type="pic" sz="quarter" idx="18"/>
          </p:nvPr>
        </p:nvSpPr>
        <p:spPr>
          <a:xfrm>
            <a:off x="491068" y="349250"/>
            <a:ext cx="3534833" cy="2768606"/>
          </a:xfrm>
          <a:solidFill>
            <a:srgbClr val="9E9E98"/>
          </a:solidFill>
        </p:spPr>
        <p:txBody>
          <a:bodyPr tIns="1554480"/>
          <a:lstStyle>
            <a:lvl1pPr algn="ctr">
              <a:defRPr/>
            </a:lvl1pPr>
          </a:lstStyle>
          <a:p>
            <a:r>
              <a:rPr lang="en-US"/>
              <a:t>Click icon to add picture</a:t>
            </a:r>
            <a:endParaRPr lang="en-US" dirty="0"/>
          </a:p>
        </p:txBody>
      </p:sp>
      <p:sp>
        <p:nvSpPr>
          <p:cNvPr id="18" name="Picture Placeholder 6">
            <a:extLst>
              <a:ext uri="{FF2B5EF4-FFF2-40B4-BE49-F238E27FC236}">
                <a16:creationId xmlns:a16="http://schemas.microsoft.com/office/drawing/2014/main" id="{7E32A921-2FFF-7D4B-B255-E0E0392C9295}"/>
              </a:ext>
            </a:extLst>
          </p:cNvPr>
          <p:cNvSpPr>
            <a:spLocks noGrp="1"/>
          </p:cNvSpPr>
          <p:nvPr>
            <p:ph type="pic" sz="quarter" idx="19"/>
          </p:nvPr>
        </p:nvSpPr>
        <p:spPr>
          <a:xfrm>
            <a:off x="4326469" y="349250"/>
            <a:ext cx="3539065" cy="2768606"/>
          </a:xfrm>
          <a:solidFill>
            <a:srgbClr val="9E9E98"/>
          </a:solidFill>
        </p:spPr>
        <p:txBody>
          <a:bodyPr tIns="1554480"/>
          <a:lstStyle>
            <a:lvl1pPr algn="ctr">
              <a:defRPr/>
            </a:lvl1pPr>
          </a:lstStyle>
          <a:p>
            <a:r>
              <a:rPr lang="en-US"/>
              <a:t>Click icon to add picture</a:t>
            </a:r>
            <a:endParaRPr lang="en-US" dirty="0"/>
          </a:p>
        </p:txBody>
      </p:sp>
      <p:sp>
        <p:nvSpPr>
          <p:cNvPr id="19" name="Picture Placeholder 6">
            <a:extLst>
              <a:ext uri="{FF2B5EF4-FFF2-40B4-BE49-F238E27FC236}">
                <a16:creationId xmlns:a16="http://schemas.microsoft.com/office/drawing/2014/main" id="{E226DAE5-533E-434D-ADF0-97DB1D2D3276}"/>
              </a:ext>
            </a:extLst>
          </p:cNvPr>
          <p:cNvSpPr>
            <a:spLocks noGrp="1"/>
          </p:cNvSpPr>
          <p:nvPr>
            <p:ph type="pic" sz="quarter" idx="20"/>
          </p:nvPr>
        </p:nvSpPr>
        <p:spPr>
          <a:xfrm>
            <a:off x="8166102" y="349250"/>
            <a:ext cx="3539065" cy="2768606"/>
          </a:xfrm>
          <a:solidFill>
            <a:srgbClr val="9E9E98"/>
          </a:solidFill>
        </p:spPr>
        <p:txBody>
          <a:bodyPr tIns="1554480"/>
          <a:lstStyle>
            <a:lvl1pPr algn="ctr">
              <a:defRPr/>
            </a:lvl1pPr>
          </a:lstStyle>
          <a:p>
            <a:r>
              <a:rPr lang="en-US"/>
              <a:t>Click icon to add picture</a:t>
            </a:r>
            <a:endParaRPr lang="en-US" dirty="0"/>
          </a:p>
        </p:txBody>
      </p:sp>
      <p:sp>
        <p:nvSpPr>
          <p:cNvPr id="20" name="Picture Placeholder 6">
            <a:extLst>
              <a:ext uri="{FF2B5EF4-FFF2-40B4-BE49-F238E27FC236}">
                <a16:creationId xmlns:a16="http://schemas.microsoft.com/office/drawing/2014/main" id="{2F841706-96FF-074A-9125-228D7955A7E4}"/>
              </a:ext>
            </a:extLst>
          </p:cNvPr>
          <p:cNvSpPr>
            <a:spLocks noGrp="1"/>
          </p:cNvSpPr>
          <p:nvPr>
            <p:ph type="pic" sz="quarter" idx="21"/>
          </p:nvPr>
        </p:nvSpPr>
        <p:spPr>
          <a:xfrm>
            <a:off x="491066" y="3342218"/>
            <a:ext cx="3534833" cy="2791883"/>
          </a:xfrm>
          <a:solidFill>
            <a:srgbClr val="9E9E98"/>
          </a:solidFill>
        </p:spPr>
        <p:txBody>
          <a:bodyPr tIns="1554480"/>
          <a:lstStyle>
            <a:lvl1pPr algn="ctr">
              <a:defRPr/>
            </a:lvl1pPr>
          </a:lstStyle>
          <a:p>
            <a:r>
              <a:rPr lang="en-US"/>
              <a:t>Click icon to add picture</a:t>
            </a:r>
            <a:endParaRPr lang="en-US" dirty="0"/>
          </a:p>
        </p:txBody>
      </p:sp>
      <p:sp>
        <p:nvSpPr>
          <p:cNvPr id="21" name="Picture Placeholder 6">
            <a:extLst>
              <a:ext uri="{FF2B5EF4-FFF2-40B4-BE49-F238E27FC236}">
                <a16:creationId xmlns:a16="http://schemas.microsoft.com/office/drawing/2014/main" id="{C3F8AD01-6FB8-7445-B380-3DAFDCF55A72}"/>
              </a:ext>
            </a:extLst>
          </p:cNvPr>
          <p:cNvSpPr>
            <a:spLocks noGrp="1"/>
          </p:cNvSpPr>
          <p:nvPr>
            <p:ph type="pic" sz="quarter" idx="22"/>
          </p:nvPr>
        </p:nvSpPr>
        <p:spPr>
          <a:xfrm>
            <a:off x="4326468" y="3342218"/>
            <a:ext cx="3539065" cy="2791883"/>
          </a:xfrm>
          <a:solidFill>
            <a:srgbClr val="9E9E98"/>
          </a:solidFill>
        </p:spPr>
        <p:txBody>
          <a:bodyPr tIns="1554480"/>
          <a:lstStyle>
            <a:lvl1pPr algn="ctr">
              <a:defRPr/>
            </a:lvl1pPr>
          </a:lstStyle>
          <a:p>
            <a:r>
              <a:rPr lang="en-US"/>
              <a:t>Click icon to add picture</a:t>
            </a:r>
            <a:endParaRPr lang="en-US" dirty="0"/>
          </a:p>
        </p:txBody>
      </p:sp>
      <p:sp>
        <p:nvSpPr>
          <p:cNvPr id="22" name="Picture Placeholder 6">
            <a:extLst>
              <a:ext uri="{FF2B5EF4-FFF2-40B4-BE49-F238E27FC236}">
                <a16:creationId xmlns:a16="http://schemas.microsoft.com/office/drawing/2014/main" id="{2061B9A6-A996-9C4B-BAAF-F1813F3F781D}"/>
              </a:ext>
            </a:extLst>
          </p:cNvPr>
          <p:cNvSpPr>
            <a:spLocks noGrp="1"/>
          </p:cNvSpPr>
          <p:nvPr>
            <p:ph type="pic" sz="quarter" idx="23"/>
          </p:nvPr>
        </p:nvSpPr>
        <p:spPr>
          <a:xfrm>
            <a:off x="8166101" y="3342218"/>
            <a:ext cx="3539065" cy="2791883"/>
          </a:xfrm>
          <a:solidFill>
            <a:srgbClr val="9E9E98"/>
          </a:solidFill>
        </p:spPr>
        <p:txBody>
          <a:bodyPr tIns="1554480"/>
          <a:lstStyle>
            <a:lvl1pPr algn="ctr">
              <a:defRPr/>
            </a:lvl1pPr>
          </a:lstStyle>
          <a:p>
            <a:r>
              <a:rPr lang="en-US"/>
              <a:t>Click icon to add picture</a:t>
            </a:r>
            <a:endParaRPr lang="en-US" dirty="0"/>
          </a:p>
        </p:txBody>
      </p:sp>
    </p:spTree>
    <p:extLst>
      <p:ext uri="{BB962C8B-B14F-4D97-AF65-F5344CB8AC3E}">
        <p14:creationId xmlns:p14="http://schemas.microsoft.com/office/powerpoint/2010/main" val="3835582716"/>
      </p:ext>
    </p:extLst>
  </p:cSld>
  <p:clrMapOvr>
    <a:masterClrMapping/>
  </p:clrMapOvr>
  <p:extLst>
    <p:ext uri="{DCECCB84-F9BA-43D5-87BE-67443E8EF086}">
      <p15:sldGuideLst xmlns:p15="http://schemas.microsoft.com/office/powerpoint/2012/main"/>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imagery_1pic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Date Placeholder 2">
            <a:extLst>
              <a:ext uri="{FF2B5EF4-FFF2-40B4-BE49-F238E27FC236}">
                <a16:creationId xmlns:a16="http://schemas.microsoft.com/office/drawing/2014/main" id="{25F68689-1774-1244-96F2-AE7A54BF8939}"/>
              </a:ext>
            </a:extLst>
          </p:cNvPr>
          <p:cNvSpPr>
            <a:spLocks noGrp="1"/>
          </p:cNvSpPr>
          <p:nvPr>
            <p:ph type="dt" sz="half" idx="10"/>
          </p:nvPr>
        </p:nvSpPr>
        <p:spPr>
          <a:xfrm>
            <a:off x="10269462" y="6492767"/>
            <a:ext cx="1011313" cy="208758"/>
          </a:xfrm>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February 5, 2026</a:t>
            </a:r>
            <a:endParaRPr lang="en-US" dirty="0"/>
          </a:p>
        </p:txBody>
      </p:sp>
      <p:sp>
        <p:nvSpPr>
          <p:cNvPr id="11" name="Slide Number Placeholder 4">
            <a:extLst>
              <a:ext uri="{FF2B5EF4-FFF2-40B4-BE49-F238E27FC236}">
                <a16:creationId xmlns:a16="http://schemas.microsoft.com/office/drawing/2014/main" id="{ABFBC8D5-2E06-6243-A00C-4CA1555164A2}"/>
              </a:ext>
            </a:extLst>
          </p:cNvPr>
          <p:cNvSpPr>
            <a:spLocks noGrp="1"/>
          </p:cNvSpPr>
          <p:nvPr>
            <p:ph type="sldNum" sz="quarter" idx="12"/>
          </p:nvPr>
        </p:nvSpPr>
        <p:spPr>
          <a:xfrm>
            <a:off x="11280775" y="6492767"/>
            <a:ext cx="424392" cy="208758"/>
          </a:xfrm>
        </p:spPr>
        <p:txBody>
          <a:bodyPr/>
          <a:lstStyle>
            <a:lvl1pPr>
              <a:defRPr>
                <a:solidFill>
                  <a:schemeClr val="bg1"/>
                </a:solidFill>
              </a:defRPr>
            </a:lvl1pPr>
          </a:lstStyle>
          <a:p>
            <a:fld id="{63DCA5C9-2E11-4C67-86EB-AE1DE127DC64}" type="slidenum">
              <a:rPr lang="en-US" smtClean="0"/>
              <a:pPr/>
              <a:t>‹#›</a:t>
            </a:fld>
            <a:endParaRPr lang="en-US" dirty="0"/>
          </a:p>
        </p:txBody>
      </p:sp>
      <p:sp>
        <p:nvSpPr>
          <p:cNvPr id="12" name="Footer Placeholder 3">
            <a:extLst>
              <a:ext uri="{FF2B5EF4-FFF2-40B4-BE49-F238E27FC236}">
                <a16:creationId xmlns:a16="http://schemas.microsoft.com/office/drawing/2014/main" id="{5147F5F0-5973-EE43-A786-B95DFF26A310}"/>
              </a:ext>
            </a:extLst>
          </p:cNvPr>
          <p:cNvSpPr>
            <a:spLocks noGrp="1"/>
          </p:cNvSpPr>
          <p:nvPr>
            <p:ph type="ftr" sz="quarter" idx="11"/>
          </p:nvPr>
        </p:nvSpPr>
        <p:spPr>
          <a:xfrm>
            <a:off x="491068" y="6496842"/>
            <a:ext cx="4815417" cy="208758"/>
          </a:xfrm>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200"/>
            <a:r>
              <a:rPr lang="en-US"/>
              <a:t>CAR T in BCL</a:t>
            </a:r>
            <a:endParaRPr lang="en-US" dirty="0"/>
          </a:p>
        </p:txBody>
      </p:sp>
      <p:sp>
        <p:nvSpPr>
          <p:cNvPr id="13" name="Picture Placeholder 6">
            <a:extLst>
              <a:ext uri="{FF2B5EF4-FFF2-40B4-BE49-F238E27FC236}">
                <a16:creationId xmlns:a16="http://schemas.microsoft.com/office/drawing/2014/main" id="{42A61732-9062-E945-945C-4ACF460747E9}"/>
              </a:ext>
            </a:extLst>
          </p:cNvPr>
          <p:cNvSpPr>
            <a:spLocks noGrp="1"/>
          </p:cNvSpPr>
          <p:nvPr>
            <p:ph type="pic" sz="quarter" idx="19"/>
          </p:nvPr>
        </p:nvSpPr>
        <p:spPr>
          <a:xfrm>
            <a:off x="4234" y="0"/>
            <a:ext cx="12187767" cy="6362700"/>
          </a:xfrm>
          <a:solidFill>
            <a:srgbClr val="9E9E98"/>
          </a:solidFill>
        </p:spPr>
        <p:txBody>
          <a:bodyPr tIns="3383280"/>
          <a:lstStyle>
            <a:lvl1pPr algn="ctr">
              <a:defRPr/>
            </a:lvl1pPr>
          </a:lstStyle>
          <a:p>
            <a:r>
              <a:rPr lang="en-US"/>
              <a:t>Click icon to add picture</a:t>
            </a:r>
            <a:endParaRPr lang="en-US" dirty="0"/>
          </a:p>
        </p:txBody>
      </p:sp>
    </p:spTree>
    <p:extLst>
      <p:ext uri="{BB962C8B-B14F-4D97-AF65-F5344CB8AC3E}">
        <p14:creationId xmlns:p14="http://schemas.microsoft.com/office/powerpoint/2010/main" val="2570925931"/>
      </p:ext>
    </p:extLst>
  </p:cSld>
  <p:clrMapOvr>
    <a:masterClrMapping/>
  </p:clrMapOvr>
  <p:extLst>
    <p:ext uri="{DCECCB84-F9BA-43D5-87BE-67443E8EF086}">
      <p15:sldGuideLst xmlns:p15="http://schemas.microsoft.com/office/powerpoint/2012/main"/>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imagery_1 pic blue footer">
    <p:bg>
      <p:bgPr>
        <a:solidFill>
          <a:srgbClr val="007CBA"/>
        </a:solidFill>
        <a:effectLst/>
      </p:bgPr>
    </p:bg>
    <p:spTree>
      <p:nvGrpSpPr>
        <p:cNvPr id="1" name=""/>
        <p:cNvGrpSpPr/>
        <p:nvPr/>
      </p:nvGrpSpPr>
      <p:grpSpPr>
        <a:xfrm>
          <a:off x="0" y="0"/>
          <a:ext cx="0" cy="0"/>
          <a:chOff x="0" y="0"/>
          <a:chExt cx="0" cy="0"/>
        </a:xfrm>
      </p:grpSpPr>
      <p:sp>
        <p:nvSpPr>
          <p:cNvPr id="9" name="Date Placeholder 2">
            <a:extLst>
              <a:ext uri="{FF2B5EF4-FFF2-40B4-BE49-F238E27FC236}">
                <a16:creationId xmlns:a16="http://schemas.microsoft.com/office/drawing/2014/main" id="{AE1C8109-D6D0-3B4B-8634-10DC669C16A4}"/>
              </a:ext>
            </a:extLst>
          </p:cNvPr>
          <p:cNvSpPr>
            <a:spLocks noGrp="1"/>
          </p:cNvSpPr>
          <p:nvPr>
            <p:ph type="dt" sz="half" idx="10"/>
          </p:nvPr>
        </p:nvSpPr>
        <p:spPr>
          <a:xfrm>
            <a:off x="10269462" y="6492767"/>
            <a:ext cx="1011313" cy="208758"/>
          </a:xfrm>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February 5, 2026</a:t>
            </a:r>
            <a:endParaRPr lang="en-US" dirty="0"/>
          </a:p>
        </p:txBody>
      </p:sp>
      <p:sp>
        <p:nvSpPr>
          <p:cNvPr id="10" name="Slide Number Placeholder 4">
            <a:extLst>
              <a:ext uri="{FF2B5EF4-FFF2-40B4-BE49-F238E27FC236}">
                <a16:creationId xmlns:a16="http://schemas.microsoft.com/office/drawing/2014/main" id="{8ADDAE1C-D1BF-BA49-8554-EDBE7880FC9B}"/>
              </a:ext>
            </a:extLst>
          </p:cNvPr>
          <p:cNvSpPr>
            <a:spLocks noGrp="1"/>
          </p:cNvSpPr>
          <p:nvPr>
            <p:ph type="sldNum" sz="quarter" idx="12"/>
          </p:nvPr>
        </p:nvSpPr>
        <p:spPr>
          <a:xfrm>
            <a:off x="11280775" y="6492767"/>
            <a:ext cx="424392" cy="208758"/>
          </a:xfrm>
        </p:spPr>
        <p:txBody>
          <a:bodyPr/>
          <a:lstStyle>
            <a:lvl1pPr>
              <a:defRPr>
                <a:solidFill>
                  <a:schemeClr val="bg1"/>
                </a:solidFill>
              </a:defRPr>
            </a:lvl1pPr>
          </a:lstStyle>
          <a:p>
            <a:fld id="{63DCA5C9-2E11-4C67-86EB-AE1DE127DC64}" type="slidenum">
              <a:rPr lang="en-US" smtClean="0"/>
              <a:pPr/>
              <a:t>‹#›</a:t>
            </a:fld>
            <a:endParaRPr lang="en-US" dirty="0"/>
          </a:p>
        </p:txBody>
      </p:sp>
      <p:sp>
        <p:nvSpPr>
          <p:cNvPr id="11" name="Footer Placeholder 3">
            <a:extLst>
              <a:ext uri="{FF2B5EF4-FFF2-40B4-BE49-F238E27FC236}">
                <a16:creationId xmlns:a16="http://schemas.microsoft.com/office/drawing/2014/main" id="{9B0D9523-A133-6948-B6D7-2C0AC0277B5D}"/>
              </a:ext>
            </a:extLst>
          </p:cNvPr>
          <p:cNvSpPr>
            <a:spLocks noGrp="1"/>
          </p:cNvSpPr>
          <p:nvPr>
            <p:ph type="ftr" sz="quarter" idx="11"/>
          </p:nvPr>
        </p:nvSpPr>
        <p:spPr>
          <a:xfrm>
            <a:off x="491068" y="6496842"/>
            <a:ext cx="4815417" cy="208758"/>
          </a:xfrm>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200"/>
            <a:r>
              <a:rPr lang="en-US"/>
              <a:t>CAR T in BCL</a:t>
            </a:r>
            <a:endParaRPr lang="en-US" dirty="0"/>
          </a:p>
        </p:txBody>
      </p:sp>
      <p:sp>
        <p:nvSpPr>
          <p:cNvPr id="12" name="Picture Placeholder 6">
            <a:extLst>
              <a:ext uri="{FF2B5EF4-FFF2-40B4-BE49-F238E27FC236}">
                <a16:creationId xmlns:a16="http://schemas.microsoft.com/office/drawing/2014/main" id="{96B0FBA3-5EF6-E94C-A6E9-F55840E9298D}"/>
              </a:ext>
            </a:extLst>
          </p:cNvPr>
          <p:cNvSpPr>
            <a:spLocks noGrp="1"/>
          </p:cNvSpPr>
          <p:nvPr>
            <p:ph type="pic" sz="quarter" idx="19"/>
          </p:nvPr>
        </p:nvSpPr>
        <p:spPr>
          <a:xfrm>
            <a:off x="4234" y="0"/>
            <a:ext cx="12187767" cy="4572000"/>
          </a:xfrm>
          <a:solidFill>
            <a:srgbClr val="9E9E98"/>
          </a:solidFill>
        </p:spPr>
        <p:txBody>
          <a:bodyPr tIns="3383280"/>
          <a:lstStyle>
            <a:lvl1pPr algn="ctr">
              <a:defRPr/>
            </a:lvl1pPr>
          </a:lstStyle>
          <a:p>
            <a:r>
              <a:rPr lang="en-US"/>
              <a:t>Click icon to add picture</a:t>
            </a:r>
            <a:endParaRPr lang="en-US" dirty="0"/>
          </a:p>
        </p:txBody>
      </p:sp>
      <p:sp>
        <p:nvSpPr>
          <p:cNvPr id="7" name="Text Placeholder 6"/>
          <p:cNvSpPr>
            <a:spLocks noGrp="1"/>
          </p:cNvSpPr>
          <p:nvPr>
            <p:ph type="body" sz="quarter" idx="14" hasCustomPrompt="1"/>
          </p:nvPr>
        </p:nvSpPr>
        <p:spPr>
          <a:xfrm>
            <a:off x="491067" y="4572000"/>
            <a:ext cx="11214097" cy="1562100"/>
          </a:xfrm>
        </p:spPr>
        <p:txBody>
          <a:bodyPr tIns="256032"/>
          <a:lstStyle>
            <a:lvl1pPr>
              <a:lnSpc>
                <a:spcPct val="90000"/>
              </a:lnSpc>
              <a:spcAft>
                <a:spcPts val="0"/>
              </a:spcAft>
              <a:defRPr sz="1800" b="0" i="0">
                <a:solidFill>
                  <a:schemeClr val="bg1"/>
                </a:solidFill>
                <a:latin typeface="+mn-lt"/>
                <a:ea typeface="Georgia" charset="0"/>
                <a:cs typeface="Georgia" charset="0"/>
              </a:defRPr>
            </a:lvl1pPr>
            <a:lvl2pPr marL="0" indent="0">
              <a:lnSpc>
                <a:spcPct val="90000"/>
              </a:lnSpc>
              <a:spcAft>
                <a:spcPts val="0"/>
              </a:spcAft>
              <a:buFontTx/>
              <a:buNone/>
              <a:tabLst/>
              <a:defRPr sz="1800" b="0" i="0">
                <a:solidFill>
                  <a:schemeClr val="bg1"/>
                </a:solidFill>
                <a:latin typeface="+mn-lt"/>
                <a:ea typeface="Georgia" charset="0"/>
                <a:cs typeface="Georgia" charset="0"/>
              </a:defRPr>
            </a:lvl2pPr>
            <a:lvl3pPr marL="0" indent="0">
              <a:lnSpc>
                <a:spcPct val="90000"/>
              </a:lnSpc>
              <a:spcAft>
                <a:spcPts val="0"/>
              </a:spcAft>
              <a:buFontTx/>
              <a:buNone/>
              <a:tabLst/>
              <a:defRPr sz="1800" b="0" i="0">
                <a:solidFill>
                  <a:schemeClr val="bg1"/>
                </a:solidFill>
                <a:latin typeface="+mn-lt"/>
                <a:ea typeface="Georgia" charset="0"/>
                <a:cs typeface="Georgia" charset="0"/>
              </a:defRPr>
            </a:lvl3pPr>
            <a:lvl4pPr marL="0" indent="0">
              <a:lnSpc>
                <a:spcPct val="90000"/>
              </a:lnSpc>
              <a:spcAft>
                <a:spcPts val="0"/>
              </a:spcAft>
              <a:buFontTx/>
              <a:buNone/>
              <a:tabLst/>
              <a:defRPr sz="1800" b="0" i="0">
                <a:solidFill>
                  <a:schemeClr val="bg1"/>
                </a:solidFill>
                <a:latin typeface="+mn-lt"/>
                <a:ea typeface="Georgia" charset="0"/>
                <a:cs typeface="Georgia" charset="0"/>
              </a:defRPr>
            </a:lvl4pPr>
            <a:lvl5pPr marL="0" indent="0">
              <a:lnSpc>
                <a:spcPct val="90000"/>
              </a:lnSpc>
              <a:spcAft>
                <a:spcPts val="0"/>
              </a:spcAft>
              <a:buFontTx/>
              <a:buNone/>
              <a:tabLst/>
              <a:defRPr sz="1800" b="0" i="0">
                <a:solidFill>
                  <a:schemeClr val="bg1"/>
                </a:solidFill>
                <a:latin typeface="+mn-lt"/>
                <a:ea typeface="Georgia" charset="0"/>
                <a:cs typeface="Georgia" charset="0"/>
              </a:defRPr>
            </a:lvl5pPr>
            <a:lvl6pPr marL="0" indent="0">
              <a:lnSpc>
                <a:spcPct val="90000"/>
              </a:lnSpc>
              <a:spcAft>
                <a:spcPts val="0"/>
              </a:spcAft>
              <a:buFontTx/>
              <a:buNone/>
              <a:tabLst/>
              <a:defRPr sz="1800" b="0" i="0">
                <a:solidFill>
                  <a:schemeClr val="bg1"/>
                </a:solidFill>
                <a:latin typeface="+mn-lt"/>
                <a:ea typeface="Georgia" charset="0"/>
                <a:cs typeface="Georgia" charset="0"/>
              </a:defRPr>
            </a:lvl6pPr>
            <a:lvl7pPr marL="0" indent="0">
              <a:lnSpc>
                <a:spcPct val="90000"/>
              </a:lnSpc>
              <a:spcAft>
                <a:spcPts val="0"/>
              </a:spcAft>
              <a:buFontTx/>
              <a:buNone/>
              <a:tabLst/>
              <a:defRPr sz="1800" b="0" i="0">
                <a:solidFill>
                  <a:schemeClr val="bg1"/>
                </a:solidFill>
                <a:latin typeface="+mn-lt"/>
                <a:ea typeface="Georgia" charset="0"/>
                <a:cs typeface="Georgia" charset="0"/>
              </a:defRPr>
            </a:lvl7pPr>
            <a:lvl8pPr marL="0" indent="0">
              <a:lnSpc>
                <a:spcPct val="90000"/>
              </a:lnSpc>
              <a:spcAft>
                <a:spcPts val="0"/>
              </a:spcAft>
              <a:buFontTx/>
              <a:buNone/>
              <a:tabLst/>
              <a:defRPr sz="1800" b="0" i="0">
                <a:solidFill>
                  <a:schemeClr val="bg1"/>
                </a:solidFill>
                <a:latin typeface="+mn-lt"/>
                <a:ea typeface="Georgia" charset="0"/>
                <a:cs typeface="Georgia" charset="0"/>
              </a:defRPr>
            </a:lvl8pPr>
            <a:lvl9pPr marL="0" indent="0">
              <a:lnSpc>
                <a:spcPct val="90000"/>
              </a:lnSpc>
              <a:spcAft>
                <a:spcPts val="0"/>
              </a:spcAft>
              <a:buFontTx/>
              <a:buNone/>
              <a:tabLst/>
              <a:defRPr sz="1800" b="0" i="0">
                <a:solidFill>
                  <a:schemeClr val="bg1"/>
                </a:solidFill>
                <a:latin typeface="+mn-lt"/>
                <a:ea typeface="Georgia" charset="0"/>
                <a:cs typeface="Georgia"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13848532"/>
      </p:ext>
    </p:extLst>
  </p:cSld>
  <p:clrMapOvr>
    <a:masterClrMapping/>
  </p:clrMapOvr>
  <p:extLst>
    <p:ext uri="{DCECCB84-F9BA-43D5-87BE-67443E8EF086}">
      <p15:sldGuideLst xmlns:p15="http://schemas.microsoft.com/office/powerpoint/2012/main"/>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imagery_1 pic white footer">
    <p:bg>
      <p:bgPr>
        <a:solidFill>
          <a:schemeClr val="bg1"/>
        </a:solidFill>
        <a:effectLst/>
      </p:bgPr>
    </p:bg>
    <p:spTree>
      <p:nvGrpSpPr>
        <p:cNvPr id="1" name=""/>
        <p:cNvGrpSpPr/>
        <p:nvPr/>
      </p:nvGrpSpPr>
      <p:grpSpPr>
        <a:xfrm>
          <a:off x="0" y="0"/>
          <a:ext cx="0" cy="0"/>
          <a:chOff x="0" y="0"/>
          <a:chExt cx="0" cy="0"/>
        </a:xfrm>
      </p:grpSpPr>
      <p:sp>
        <p:nvSpPr>
          <p:cNvPr id="12" name="Date Placeholder 2">
            <a:extLst>
              <a:ext uri="{FF2B5EF4-FFF2-40B4-BE49-F238E27FC236}">
                <a16:creationId xmlns:a16="http://schemas.microsoft.com/office/drawing/2014/main" id="{C999FEF2-918D-CC4F-B634-8FF2D9B206BD}"/>
              </a:ext>
            </a:extLst>
          </p:cNvPr>
          <p:cNvSpPr>
            <a:spLocks noGrp="1"/>
          </p:cNvSpPr>
          <p:nvPr>
            <p:ph type="dt" sz="half" idx="10"/>
          </p:nvPr>
        </p:nvSpPr>
        <p:spPr>
          <a:xfrm>
            <a:off x="10269462" y="6492767"/>
            <a:ext cx="1011313" cy="208758"/>
          </a:xfrm>
        </p:spPr>
        <p:txBody>
          <a:bodyPr/>
          <a:lstStyle>
            <a:lvl1pPr>
              <a:defRPr>
                <a:solidFill>
                  <a:srgbClr val="9E9E98"/>
                </a:solidFill>
                <a:latin typeface="+mn-lt"/>
              </a:defRPr>
            </a:lvl1pPr>
            <a:lvl2pPr>
              <a:defRPr>
                <a:solidFill>
                  <a:srgbClr val="9E9E98"/>
                </a:solidFill>
              </a:defRPr>
            </a:lvl2pPr>
            <a:lvl3pPr>
              <a:defRPr>
                <a:solidFill>
                  <a:srgbClr val="9E9E98"/>
                </a:solidFill>
              </a:defRPr>
            </a:lvl3pPr>
            <a:lvl4pPr>
              <a:defRPr>
                <a:solidFill>
                  <a:srgbClr val="9E9E98"/>
                </a:solidFill>
              </a:defRPr>
            </a:lvl4pPr>
            <a:lvl5pPr>
              <a:defRPr>
                <a:solidFill>
                  <a:srgbClr val="9E9E98"/>
                </a:solidFill>
              </a:defRPr>
            </a:lvl5pPr>
            <a:lvl6pPr>
              <a:defRPr>
                <a:solidFill>
                  <a:srgbClr val="9E9E98"/>
                </a:solidFill>
              </a:defRPr>
            </a:lvl6pPr>
            <a:lvl7pPr>
              <a:defRPr>
                <a:solidFill>
                  <a:srgbClr val="9E9E98"/>
                </a:solidFill>
              </a:defRPr>
            </a:lvl7pPr>
            <a:lvl8pPr>
              <a:defRPr>
                <a:solidFill>
                  <a:srgbClr val="9E9E98"/>
                </a:solidFill>
              </a:defRPr>
            </a:lvl8pPr>
            <a:lvl9pPr>
              <a:defRPr>
                <a:solidFill>
                  <a:srgbClr val="9E9E98"/>
                </a:solidFill>
              </a:defRPr>
            </a:lvl9pPr>
          </a:lstStyle>
          <a:p>
            <a:r>
              <a:rPr lang="en-US"/>
              <a:t>February 5, 2026</a:t>
            </a:r>
            <a:endParaRPr lang="en-US" dirty="0"/>
          </a:p>
        </p:txBody>
      </p:sp>
      <p:sp>
        <p:nvSpPr>
          <p:cNvPr id="13" name="Slide Number Placeholder 4">
            <a:extLst>
              <a:ext uri="{FF2B5EF4-FFF2-40B4-BE49-F238E27FC236}">
                <a16:creationId xmlns:a16="http://schemas.microsoft.com/office/drawing/2014/main" id="{9F055EF9-A0E1-3047-BB7A-F9C94287E08A}"/>
              </a:ext>
            </a:extLst>
          </p:cNvPr>
          <p:cNvSpPr>
            <a:spLocks noGrp="1"/>
          </p:cNvSpPr>
          <p:nvPr>
            <p:ph type="sldNum" sz="quarter" idx="12"/>
          </p:nvPr>
        </p:nvSpPr>
        <p:spPr>
          <a:xfrm>
            <a:off x="11280775" y="6492767"/>
            <a:ext cx="424392" cy="208758"/>
          </a:xfrm>
        </p:spPr>
        <p:txBody>
          <a:bodyPr/>
          <a:lstStyle>
            <a:lvl1pPr>
              <a:defRPr>
                <a:solidFill>
                  <a:srgbClr val="9E9E98"/>
                </a:solidFill>
              </a:defRPr>
            </a:lvl1pPr>
            <a:lvl2pPr>
              <a:defRPr>
                <a:solidFill>
                  <a:srgbClr val="9E9E98"/>
                </a:solidFill>
              </a:defRPr>
            </a:lvl2pPr>
            <a:lvl3pPr>
              <a:defRPr>
                <a:solidFill>
                  <a:srgbClr val="9E9E98"/>
                </a:solidFill>
              </a:defRPr>
            </a:lvl3pPr>
            <a:lvl4pPr>
              <a:defRPr>
                <a:solidFill>
                  <a:srgbClr val="9E9E98"/>
                </a:solidFill>
              </a:defRPr>
            </a:lvl4pPr>
            <a:lvl5pPr>
              <a:defRPr>
                <a:solidFill>
                  <a:srgbClr val="9E9E98"/>
                </a:solidFill>
              </a:defRPr>
            </a:lvl5pPr>
            <a:lvl6pPr>
              <a:defRPr>
                <a:solidFill>
                  <a:srgbClr val="9E9E98"/>
                </a:solidFill>
              </a:defRPr>
            </a:lvl6pPr>
            <a:lvl7pPr>
              <a:defRPr>
                <a:solidFill>
                  <a:srgbClr val="9E9E98"/>
                </a:solidFill>
              </a:defRPr>
            </a:lvl7pPr>
            <a:lvl8pPr>
              <a:defRPr>
                <a:solidFill>
                  <a:srgbClr val="9E9E98"/>
                </a:solidFill>
              </a:defRPr>
            </a:lvl8pPr>
            <a:lvl9pPr>
              <a:defRPr>
                <a:solidFill>
                  <a:srgbClr val="9E9E98"/>
                </a:solidFill>
              </a:defRPr>
            </a:lvl9pPr>
          </a:lstStyle>
          <a:p>
            <a:fld id="{63DCA5C9-2E11-4C67-86EB-AE1DE127DC64}" type="slidenum">
              <a:rPr lang="en-US" smtClean="0"/>
              <a:pPr/>
              <a:t>‹#›</a:t>
            </a:fld>
            <a:endParaRPr lang="en-US" dirty="0"/>
          </a:p>
        </p:txBody>
      </p:sp>
      <p:sp>
        <p:nvSpPr>
          <p:cNvPr id="14" name="Footer Placeholder 3">
            <a:extLst>
              <a:ext uri="{FF2B5EF4-FFF2-40B4-BE49-F238E27FC236}">
                <a16:creationId xmlns:a16="http://schemas.microsoft.com/office/drawing/2014/main" id="{E2A70FE2-B689-3843-AD07-EC768418D5AE}"/>
              </a:ext>
            </a:extLst>
          </p:cNvPr>
          <p:cNvSpPr>
            <a:spLocks noGrp="1"/>
          </p:cNvSpPr>
          <p:nvPr>
            <p:ph type="ftr" sz="quarter" idx="11"/>
          </p:nvPr>
        </p:nvSpPr>
        <p:spPr>
          <a:xfrm>
            <a:off x="491068" y="6496842"/>
            <a:ext cx="4815417" cy="208758"/>
          </a:xfrm>
        </p:spPr>
        <p:txBody>
          <a:bodyPr/>
          <a:lstStyle>
            <a:lvl1pPr>
              <a:defRPr b="1">
                <a:solidFill>
                  <a:srgbClr val="9E9E98"/>
                </a:solidFill>
              </a:defRPr>
            </a:lvl1pPr>
            <a:lvl2pPr>
              <a:defRPr b="1">
                <a:solidFill>
                  <a:srgbClr val="9E9E98"/>
                </a:solidFill>
              </a:defRPr>
            </a:lvl2pPr>
            <a:lvl3pPr>
              <a:defRPr b="1">
                <a:solidFill>
                  <a:srgbClr val="9E9E98"/>
                </a:solidFill>
              </a:defRPr>
            </a:lvl3pPr>
            <a:lvl4pPr>
              <a:defRPr b="1">
                <a:solidFill>
                  <a:srgbClr val="9E9E98"/>
                </a:solidFill>
              </a:defRPr>
            </a:lvl4pPr>
            <a:lvl5pPr>
              <a:defRPr b="1">
                <a:solidFill>
                  <a:srgbClr val="9E9E98"/>
                </a:solidFill>
              </a:defRPr>
            </a:lvl5pPr>
            <a:lvl6pPr>
              <a:defRPr b="1">
                <a:solidFill>
                  <a:srgbClr val="9E9E98"/>
                </a:solidFill>
              </a:defRPr>
            </a:lvl6pPr>
            <a:lvl7pPr>
              <a:defRPr b="1">
                <a:solidFill>
                  <a:srgbClr val="9E9E98"/>
                </a:solidFill>
              </a:defRPr>
            </a:lvl7pPr>
            <a:lvl8pPr>
              <a:defRPr b="1">
                <a:solidFill>
                  <a:srgbClr val="9E9E98"/>
                </a:solidFill>
              </a:defRPr>
            </a:lvl8pPr>
            <a:lvl9pPr>
              <a:defRPr b="1">
                <a:solidFill>
                  <a:srgbClr val="9E9E98"/>
                </a:solidFill>
              </a:defRPr>
            </a:lvl9pPr>
          </a:lstStyle>
          <a:p>
            <a:pPr indent="-2743200"/>
            <a:r>
              <a:rPr lang="en-US"/>
              <a:t>CAR T in BCL</a:t>
            </a:r>
            <a:endParaRPr lang="en-US" dirty="0"/>
          </a:p>
        </p:txBody>
      </p:sp>
      <p:sp>
        <p:nvSpPr>
          <p:cNvPr id="15" name="Picture Placeholder 6">
            <a:extLst>
              <a:ext uri="{FF2B5EF4-FFF2-40B4-BE49-F238E27FC236}">
                <a16:creationId xmlns:a16="http://schemas.microsoft.com/office/drawing/2014/main" id="{153AD1DC-1420-844E-A6C2-7B5512EA8675}"/>
              </a:ext>
            </a:extLst>
          </p:cNvPr>
          <p:cNvSpPr>
            <a:spLocks noGrp="1"/>
          </p:cNvSpPr>
          <p:nvPr>
            <p:ph type="pic" sz="quarter" idx="19"/>
          </p:nvPr>
        </p:nvSpPr>
        <p:spPr>
          <a:xfrm>
            <a:off x="4234" y="0"/>
            <a:ext cx="12187767" cy="4572000"/>
          </a:xfrm>
          <a:solidFill>
            <a:srgbClr val="9E9E98"/>
          </a:solidFill>
        </p:spPr>
        <p:txBody>
          <a:bodyPr tIns="3383280"/>
          <a:lstStyle>
            <a:lvl1pPr algn="ctr">
              <a:defRPr/>
            </a:lvl1pPr>
          </a:lstStyle>
          <a:p>
            <a:r>
              <a:rPr lang="en-US"/>
              <a:t>Click icon to add picture</a:t>
            </a:r>
            <a:endParaRPr lang="en-US" dirty="0"/>
          </a:p>
        </p:txBody>
      </p:sp>
      <p:sp>
        <p:nvSpPr>
          <p:cNvPr id="16" name="Text Placeholder 6">
            <a:extLst>
              <a:ext uri="{FF2B5EF4-FFF2-40B4-BE49-F238E27FC236}">
                <a16:creationId xmlns:a16="http://schemas.microsoft.com/office/drawing/2014/main" id="{F2B5D7B1-FECA-6E4E-874A-E434691347D2}"/>
              </a:ext>
            </a:extLst>
          </p:cNvPr>
          <p:cNvSpPr>
            <a:spLocks noGrp="1"/>
          </p:cNvSpPr>
          <p:nvPr>
            <p:ph type="body" sz="quarter" idx="14" hasCustomPrompt="1"/>
          </p:nvPr>
        </p:nvSpPr>
        <p:spPr>
          <a:xfrm>
            <a:off x="491067" y="4572000"/>
            <a:ext cx="11214097" cy="1562100"/>
          </a:xfrm>
        </p:spPr>
        <p:txBody>
          <a:bodyPr tIns="256032"/>
          <a:lstStyle>
            <a:lvl1pPr>
              <a:lnSpc>
                <a:spcPct val="90000"/>
              </a:lnSpc>
              <a:spcAft>
                <a:spcPts val="0"/>
              </a:spcAft>
              <a:defRPr sz="1800" b="0" i="0">
                <a:solidFill>
                  <a:srgbClr val="007CBA"/>
                </a:solidFill>
                <a:latin typeface="+mn-lt"/>
                <a:ea typeface="Georgia" charset="0"/>
                <a:cs typeface="Georgia" charset="0"/>
              </a:defRPr>
            </a:lvl1pPr>
            <a:lvl2pPr marL="0" indent="0">
              <a:lnSpc>
                <a:spcPct val="90000"/>
              </a:lnSpc>
              <a:spcAft>
                <a:spcPts val="0"/>
              </a:spcAft>
              <a:buFontTx/>
              <a:buNone/>
              <a:tabLst/>
              <a:defRPr sz="1800" b="0" i="0">
                <a:solidFill>
                  <a:srgbClr val="007CBA"/>
                </a:solidFill>
                <a:latin typeface="+mn-lt"/>
                <a:ea typeface="Georgia" charset="0"/>
                <a:cs typeface="Georgia" charset="0"/>
              </a:defRPr>
            </a:lvl2pPr>
            <a:lvl3pPr marL="0" indent="0">
              <a:lnSpc>
                <a:spcPct val="90000"/>
              </a:lnSpc>
              <a:spcAft>
                <a:spcPts val="0"/>
              </a:spcAft>
              <a:buFontTx/>
              <a:buNone/>
              <a:tabLst/>
              <a:defRPr sz="1800" b="0" i="0">
                <a:solidFill>
                  <a:srgbClr val="007CBA"/>
                </a:solidFill>
                <a:latin typeface="+mn-lt"/>
                <a:ea typeface="Georgia" charset="0"/>
                <a:cs typeface="Georgia" charset="0"/>
              </a:defRPr>
            </a:lvl3pPr>
            <a:lvl4pPr marL="0" indent="0">
              <a:lnSpc>
                <a:spcPct val="90000"/>
              </a:lnSpc>
              <a:spcAft>
                <a:spcPts val="0"/>
              </a:spcAft>
              <a:buFontTx/>
              <a:buNone/>
              <a:tabLst/>
              <a:defRPr sz="1800" b="0" i="0">
                <a:solidFill>
                  <a:srgbClr val="007CBA"/>
                </a:solidFill>
                <a:latin typeface="+mn-lt"/>
                <a:ea typeface="Georgia" charset="0"/>
                <a:cs typeface="Georgia" charset="0"/>
              </a:defRPr>
            </a:lvl4pPr>
            <a:lvl5pPr marL="0" indent="0">
              <a:lnSpc>
                <a:spcPct val="90000"/>
              </a:lnSpc>
              <a:spcAft>
                <a:spcPts val="0"/>
              </a:spcAft>
              <a:buFontTx/>
              <a:buNone/>
              <a:tabLst/>
              <a:defRPr sz="1800" b="0" i="0">
                <a:solidFill>
                  <a:srgbClr val="007CBA"/>
                </a:solidFill>
                <a:latin typeface="+mn-lt"/>
                <a:ea typeface="Georgia" charset="0"/>
                <a:cs typeface="Georgia" charset="0"/>
              </a:defRPr>
            </a:lvl5pPr>
            <a:lvl6pPr marL="0" indent="0">
              <a:lnSpc>
                <a:spcPct val="90000"/>
              </a:lnSpc>
              <a:spcAft>
                <a:spcPts val="0"/>
              </a:spcAft>
              <a:buFontTx/>
              <a:buNone/>
              <a:tabLst/>
              <a:defRPr sz="1800" b="0" i="0">
                <a:solidFill>
                  <a:srgbClr val="007CBA"/>
                </a:solidFill>
                <a:latin typeface="+mn-lt"/>
                <a:ea typeface="Georgia" charset="0"/>
                <a:cs typeface="Georgia" charset="0"/>
              </a:defRPr>
            </a:lvl6pPr>
            <a:lvl7pPr marL="0" indent="0">
              <a:lnSpc>
                <a:spcPct val="90000"/>
              </a:lnSpc>
              <a:spcAft>
                <a:spcPts val="0"/>
              </a:spcAft>
              <a:buFontTx/>
              <a:buNone/>
              <a:tabLst/>
              <a:defRPr sz="1800" b="0" i="0">
                <a:solidFill>
                  <a:srgbClr val="007CBA"/>
                </a:solidFill>
                <a:latin typeface="+mn-lt"/>
                <a:ea typeface="Georgia" charset="0"/>
                <a:cs typeface="Georgia" charset="0"/>
              </a:defRPr>
            </a:lvl7pPr>
            <a:lvl8pPr marL="0" indent="0">
              <a:lnSpc>
                <a:spcPct val="90000"/>
              </a:lnSpc>
              <a:spcAft>
                <a:spcPts val="0"/>
              </a:spcAft>
              <a:buFontTx/>
              <a:buNone/>
              <a:tabLst/>
              <a:defRPr sz="1800" b="0" i="0">
                <a:solidFill>
                  <a:srgbClr val="007CBA"/>
                </a:solidFill>
                <a:latin typeface="+mn-lt"/>
                <a:ea typeface="Georgia" charset="0"/>
                <a:cs typeface="Georgia" charset="0"/>
              </a:defRPr>
            </a:lvl8pPr>
            <a:lvl9pPr marL="0" indent="0">
              <a:lnSpc>
                <a:spcPct val="90000"/>
              </a:lnSpc>
              <a:spcAft>
                <a:spcPts val="0"/>
              </a:spcAft>
              <a:buFontTx/>
              <a:buNone/>
              <a:tabLst/>
              <a:defRPr sz="1800" b="0" i="0">
                <a:solidFill>
                  <a:srgbClr val="007CBA"/>
                </a:solidFill>
                <a:latin typeface="+mn-lt"/>
                <a:ea typeface="Georgia" charset="0"/>
                <a:cs typeface="Georgia"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27387181"/>
      </p:ext>
    </p:extLst>
  </p:cSld>
  <p:clrMapOvr>
    <a:masterClrMapping/>
  </p:clrMapOvr>
  <p:extLst>
    <p:ext uri="{DCECCB84-F9BA-43D5-87BE-67443E8EF086}">
      <p15:sldGuideLst xmlns:p15="http://schemas.microsoft.com/office/powerpoint/2012/main"/>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closing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C570D-3BAE-433E-8DDA-6594E6C21ABD}"/>
              </a:ext>
            </a:extLst>
          </p:cNvPr>
          <p:cNvSpPr>
            <a:spLocks noGrp="1"/>
          </p:cNvSpPr>
          <p:nvPr>
            <p:ph type="title"/>
          </p:nvPr>
        </p:nvSpPr>
        <p:spPr>
          <a:xfrm>
            <a:off x="1333500" y="1600200"/>
            <a:ext cx="6532563" cy="4533900"/>
          </a:xfrm>
        </p:spPr>
        <p:txBody>
          <a:bodyPr tIns="0" bIns="0" anchor="ctr" anchorCtr="0"/>
          <a:lstStyle>
            <a:lvl1pPr algn="l">
              <a:defRPr sz="4800" b="0">
                <a:solidFill>
                  <a:schemeClr val="bg1"/>
                </a:solidFill>
                <a:latin typeface="+mn-lt"/>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345F258-1DE2-6546-B560-8C93620CADFB}"/>
              </a:ext>
            </a:extLst>
          </p:cNvPr>
          <p:cNvSpPr>
            <a:spLocks noGrp="1"/>
          </p:cNvSpPr>
          <p:nvPr>
            <p:ph type="body" sz="quarter" idx="10"/>
          </p:nvPr>
        </p:nvSpPr>
        <p:spPr>
          <a:xfrm>
            <a:off x="8170334" y="1600200"/>
            <a:ext cx="3534833" cy="4762501"/>
          </a:xfrm>
        </p:spPr>
        <p:txBody>
          <a:bodyPr bIns="91440" anchor="b" anchorCtr="0"/>
          <a:lstStyle>
            <a:lvl1pPr>
              <a:lnSpc>
                <a:spcPts val="1000"/>
              </a:lnSpc>
              <a:defRPr sz="1200" b="1">
                <a:solidFill>
                  <a:schemeClr val="bg1"/>
                </a:solidFill>
              </a:defRPr>
            </a:lvl1pPr>
            <a:lvl2pPr marL="0" indent="0">
              <a:lnSpc>
                <a:spcPts val="1000"/>
              </a:lnSpc>
              <a:spcAft>
                <a:spcPts val="600"/>
              </a:spcAft>
              <a:buFontTx/>
              <a:buNone/>
              <a:tabLst/>
              <a:defRPr sz="1200">
                <a:solidFill>
                  <a:schemeClr val="bg1"/>
                </a:solidFill>
              </a:defRPr>
            </a:lvl2pPr>
            <a:lvl3pPr marL="0" indent="0">
              <a:lnSpc>
                <a:spcPts val="1000"/>
              </a:lnSpc>
              <a:buFontTx/>
              <a:buNone/>
              <a:tabLst/>
              <a:defRPr sz="1200">
                <a:solidFill>
                  <a:schemeClr val="bg1"/>
                </a:solidFill>
              </a:defRPr>
            </a:lvl3pPr>
            <a:lvl4pPr marL="0" indent="0">
              <a:lnSpc>
                <a:spcPts val="1000"/>
              </a:lnSpc>
              <a:buFontTx/>
              <a:buNone/>
              <a:tabLst/>
              <a:defRPr sz="1200">
                <a:solidFill>
                  <a:schemeClr val="bg1"/>
                </a:solidFill>
              </a:defRPr>
            </a:lvl4pPr>
            <a:lvl5pPr marL="0" indent="0">
              <a:lnSpc>
                <a:spcPts val="1000"/>
              </a:lnSpc>
              <a:buFontTx/>
              <a:buNone/>
              <a:tabLst/>
              <a:defRPr sz="1200">
                <a:solidFill>
                  <a:schemeClr val="bg1"/>
                </a:solidFill>
              </a:defRPr>
            </a:lvl5pPr>
            <a:lvl6pPr marL="0" indent="0">
              <a:lnSpc>
                <a:spcPts val="1000"/>
              </a:lnSpc>
              <a:buFontTx/>
              <a:buNone/>
              <a:tabLst/>
              <a:defRPr sz="1200">
                <a:solidFill>
                  <a:schemeClr val="bg1"/>
                </a:solidFill>
              </a:defRPr>
            </a:lvl6pPr>
            <a:lvl7pPr marL="0" indent="0">
              <a:lnSpc>
                <a:spcPts val="1000"/>
              </a:lnSpc>
              <a:buFontTx/>
              <a:buNone/>
              <a:tabLst/>
              <a:defRPr sz="1200">
                <a:solidFill>
                  <a:schemeClr val="bg1"/>
                </a:solidFill>
              </a:defRPr>
            </a:lvl7pPr>
            <a:lvl8pPr marL="0" indent="0">
              <a:lnSpc>
                <a:spcPts val="1000"/>
              </a:lnSpc>
              <a:buFontTx/>
              <a:buNone/>
              <a:tabLst/>
              <a:defRPr sz="1200">
                <a:solidFill>
                  <a:schemeClr val="bg1"/>
                </a:solidFill>
              </a:defRPr>
            </a:lvl8pPr>
            <a:lvl9pPr marL="0" indent="0">
              <a:lnSpc>
                <a:spcPts val="1000"/>
              </a:lnSpc>
              <a:buFontTx/>
              <a:buNone/>
              <a:tabLst/>
              <a:defRPr sz="120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3802745"/>
      </p:ext>
    </p:extLst>
  </p:cSld>
  <p:clrMapOvr>
    <a:masterClrMapping/>
  </p:clrMapOvr>
  <p:extLst>
    <p:ext uri="{DCECCB84-F9BA-43D5-87BE-67443E8EF086}">
      <p15:sldGuideLst xmlns:p15="http://schemas.microsoft.com/office/powerpoint/2012/main">
        <p15:guide id="1" orient="horz" pos="4098">
          <p15:clr>
            <a:srgbClr val="FBAE4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closing slide_whi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C570D-3BAE-433E-8DDA-6594E6C21ABD}"/>
              </a:ext>
            </a:extLst>
          </p:cNvPr>
          <p:cNvSpPr>
            <a:spLocks noGrp="1"/>
          </p:cNvSpPr>
          <p:nvPr>
            <p:ph type="title"/>
          </p:nvPr>
        </p:nvSpPr>
        <p:spPr>
          <a:xfrm>
            <a:off x="1346730" y="1600200"/>
            <a:ext cx="6519333" cy="4533900"/>
          </a:xfrm>
        </p:spPr>
        <p:txBody>
          <a:bodyPr tIns="0" bIns="0" anchor="ctr" anchorCtr="0"/>
          <a:lstStyle>
            <a:lvl1pPr algn="l">
              <a:defRPr sz="4800" b="0">
                <a:solidFill>
                  <a:srgbClr val="007CBA"/>
                </a:solidFill>
                <a:latin typeface="+mn-lt"/>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345F258-1DE2-6546-B560-8C93620CADFB}"/>
              </a:ext>
            </a:extLst>
          </p:cNvPr>
          <p:cNvSpPr>
            <a:spLocks noGrp="1"/>
          </p:cNvSpPr>
          <p:nvPr>
            <p:ph type="body" sz="quarter" idx="10"/>
          </p:nvPr>
        </p:nvSpPr>
        <p:spPr>
          <a:xfrm>
            <a:off x="8170334" y="1600200"/>
            <a:ext cx="3534833" cy="4762501"/>
          </a:xfrm>
        </p:spPr>
        <p:txBody>
          <a:bodyPr bIns="91440" anchor="b" anchorCtr="0"/>
          <a:lstStyle>
            <a:lvl1pPr>
              <a:lnSpc>
                <a:spcPts val="1000"/>
              </a:lnSpc>
              <a:defRPr sz="1200" b="1">
                <a:solidFill>
                  <a:srgbClr val="9E9E98"/>
                </a:solidFill>
              </a:defRPr>
            </a:lvl1pPr>
            <a:lvl2pPr marL="0" indent="0">
              <a:lnSpc>
                <a:spcPts val="1000"/>
              </a:lnSpc>
              <a:spcAft>
                <a:spcPts val="600"/>
              </a:spcAft>
              <a:buFontTx/>
              <a:buNone/>
              <a:tabLst/>
              <a:defRPr sz="1200">
                <a:solidFill>
                  <a:srgbClr val="9E9E98"/>
                </a:solidFill>
              </a:defRPr>
            </a:lvl2pPr>
            <a:lvl3pPr marL="0" indent="0">
              <a:lnSpc>
                <a:spcPts val="1000"/>
              </a:lnSpc>
              <a:buFontTx/>
              <a:buNone/>
              <a:tabLst/>
              <a:defRPr sz="1200">
                <a:solidFill>
                  <a:srgbClr val="9E9E98"/>
                </a:solidFill>
              </a:defRPr>
            </a:lvl3pPr>
            <a:lvl4pPr marL="0" indent="0">
              <a:lnSpc>
                <a:spcPts val="1000"/>
              </a:lnSpc>
              <a:buFontTx/>
              <a:buNone/>
              <a:tabLst/>
              <a:defRPr sz="1200">
                <a:solidFill>
                  <a:srgbClr val="9E9E98"/>
                </a:solidFill>
              </a:defRPr>
            </a:lvl4pPr>
            <a:lvl5pPr marL="0" indent="0">
              <a:lnSpc>
                <a:spcPts val="1000"/>
              </a:lnSpc>
              <a:buFontTx/>
              <a:buNone/>
              <a:tabLst/>
              <a:defRPr sz="1200">
                <a:solidFill>
                  <a:srgbClr val="9E9E98"/>
                </a:solidFill>
              </a:defRPr>
            </a:lvl5pPr>
            <a:lvl6pPr marL="0" indent="0">
              <a:lnSpc>
                <a:spcPts val="1000"/>
              </a:lnSpc>
              <a:buFontTx/>
              <a:buNone/>
              <a:tabLst/>
              <a:defRPr sz="1200">
                <a:solidFill>
                  <a:srgbClr val="9E9E98"/>
                </a:solidFill>
              </a:defRPr>
            </a:lvl6pPr>
            <a:lvl7pPr marL="0" indent="0">
              <a:lnSpc>
                <a:spcPts val="1000"/>
              </a:lnSpc>
              <a:buFontTx/>
              <a:buNone/>
              <a:tabLst/>
              <a:defRPr sz="1200">
                <a:solidFill>
                  <a:srgbClr val="9E9E98"/>
                </a:solidFill>
              </a:defRPr>
            </a:lvl7pPr>
            <a:lvl8pPr marL="0" indent="0">
              <a:lnSpc>
                <a:spcPts val="1000"/>
              </a:lnSpc>
              <a:buFontTx/>
              <a:buNone/>
              <a:tabLst/>
              <a:defRPr sz="1200">
                <a:solidFill>
                  <a:srgbClr val="9E9E98"/>
                </a:solidFill>
              </a:defRPr>
            </a:lvl8pPr>
            <a:lvl9pPr marL="0" indent="0">
              <a:lnSpc>
                <a:spcPts val="1000"/>
              </a:lnSpc>
              <a:buFontTx/>
              <a:buNone/>
              <a:tabLst/>
              <a:defRPr sz="1200">
                <a:solidFill>
                  <a:srgbClr val="9E9E98"/>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96570181"/>
      </p:ext>
    </p:extLst>
  </p:cSld>
  <p:clrMapOvr>
    <a:masterClrMapping/>
  </p:clrMapOvr>
  <p:extLst>
    <p:ext uri="{DCECCB84-F9BA-43D5-87BE-67443E8EF086}">
      <p15:sldGuideLst xmlns:p15="http://schemas.microsoft.com/office/powerpoint/2012/main">
        <p15:guide id="1" orient="horz" pos="4098">
          <p15:clr>
            <a:srgbClr val="FBAE4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5E58BBF-42E4-AD4E-97E2-21A7C6F7A48F}"/>
              </a:ext>
            </a:extLst>
          </p:cNvPr>
          <p:cNvPicPr>
            <a:picLocks noChangeAspect="1"/>
          </p:cNvPicPr>
          <p:nvPr userDrawn="1"/>
        </p:nvPicPr>
        <p:blipFill>
          <a:blip r:embed="rId2"/>
          <a:srcRect/>
          <a:stretch/>
        </p:blipFill>
        <p:spPr>
          <a:xfrm>
            <a:off x="2" y="1717"/>
            <a:ext cx="12188951" cy="6856284"/>
          </a:xfrm>
          <a:prstGeom prst="rect">
            <a:avLst/>
          </a:prstGeom>
        </p:spPr>
      </p:pic>
      <p:sp>
        <p:nvSpPr>
          <p:cNvPr id="2" name="Title 1">
            <a:extLst>
              <a:ext uri="{FF2B5EF4-FFF2-40B4-BE49-F238E27FC236}">
                <a16:creationId xmlns:a16="http://schemas.microsoft.com/office/drawing/2014/main" id="{A49A1D7F-42E5-744A-B105-2EE2F92CCCE3}"/>
              </a:ext>
            </a:extLst>
          </p:cNvPr>
          <p:cNvSpPr>
            <a:spLocks noGrp="1"/>
          </p:cNvSpPr>
          <p:nvPr>
            <p:ph type="title"/>
          </p:nvPr>
        </p:nvSpPr>
        <p:spPr>
          <a:xfrm>
            <a:off x="947804" y="695739"/>
            <a:ext cx="7013437" cy="1214575"/>
          </a:xfrm>
        </p:spPr>
        <p:txBody>
          <a:bodyPr anchor="b">
            <a:normAutofit/>
          </a:bodyPr>
          <a:lstStyle>
            <a:lvl1pPr>
              <a:defRPr sz="4400">
                <a:solidFill>
                  <a:schemeClr val="bg1"/>
                </a:solidFill>
                <a:effectLst/>
              </a:defRPr>
            </a:lvl1pPr>
          </a:lstStyle>
          <a:p>
            <a:r>
              <a:rPr lang="en-US" dirty="0"/>
              <a:t>Click to edit Master title style</a:t>
            </a:r>
          </a:p>
        </p:txBody>
      </p:sp>
      <p:sp>
        <p:nvSpPr>
          <p:cNvPr id="3" name="Text Placeholder 2">
            <a:extLst>
              <a:ext uri="{FF2B5EF4-FFF2-40B4-BE49-F238E27FC236}">
                <a16:creationId xmlns:a16="http://schemas.microsoft.com/office/drawing/2014/main" id="{4671D49D-D782-6548-B199-80BAA995A843}"/>
              </a:ext>
            </a:extLst>
          </p:cNvPr>
          <p:cNvSpPr>
            <a:spLocks noGrp="1"/>
          </p:cNvSpPr>
          <p:nvPr>
            <p:ph type="body" idx="1" hasCustomPrompt="1"/>
          </p:nvPr>
        </p:nvSpPr>
        <p:spPr>
          <a:xfrm>
            <a:off x="954155" y="1935167"/>
            <a:ext cx="7007087" cy="817973"/>
          </a:xfrm>
        </p:spPr>
        <p:txBody>
          <a:bodyPr lIns="0" tIns="0" rIns="0" bIns="0">
            <a:noAutofit/>
          </a:bodyPr>
          <a:lstStyle>
            <a:lvl1pPr marL="0" indent="0">
              <a:buNone/>
              <a:defRPr sz="2400" b="1">
                <a:solidFill>
                  <a:schemeClr val="accent5">
                    <a:lumMod val="20000"/>
                    <a:lumOff val="80000"/>
                  </a:schemeClr>
                </a:solidFill>
                <a:effectLst/>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6" name="Rectangle 5">
            <a:extLst>
              <a:ext uri="{FF2B5EF4-FFF2-40B4-BE49-F238E27FC236}">
                <a16:creationId xmlns:a16="http://schemas.microsoft.com/office/drawing/2014/main" id="{9772B2FE-8316-BB4B-BA67-E5A35D3E38A9}"/>
              </a:ext>
            </a:extLst>
          </p:cNvPr>
          <p:cNvSpPr/>
          <p:nvPr userDrawn="1"/>
        </p:nvSpPr>
        <p:spPr>
          <a:xfrm>
            <a:off x="10238911" y="6574073"/>
            <a:ext cx="1612942" cy="246221"/>
          </a:xfrm>
          <a:prstGeom prst="rect">
            <a:avLst/>
          </a:prstGeom>
        </p:spPr>
        <p:txBody>
          <a:bodyPr wrap="none">
            <a:spAutoFit/>
          </a:bodyPr>
          <a:lstStyle/>
          <a:p>
            <a:pPr algn="ctr"/>
            <a:r>
              <a:rPr lang="en-US" sz="1000" i="1" dirty="0">
                <a:solidFill>
                  <a:schemeClr val="tx1"/>
                </a:solidFill>
              </a:rPr>
              <a:t>Curio Science Confidential</a:t>
            </a:r>
          </a:p>
        </p:txBody>
      </p:sp>
    </p:spTree>
    <p:extLst>
      <p:ext uri="{BB962C8B-B14F-4D97-AF65-F5344CB8AC3E}">
        <p14:creationId xmlns:p14="http://schemas.microsoft.com/office/powerpoint/2010/main" val="285495509"/>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7_Title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5E58BBF-42E4-AD4E-97E2-21A7C6F7A48F}"/>
              </a:ext>
            </a:extLst>
          </p:cNvPr>
          <p:cNvPicPr>
            <a:picLocks noChangeAspect="1"/>
          </p:cNvPicPr>
          <p:nvPr userDrawn="1"/>
        </p:nvPicPr>
        <p:blipFill>
          <a:blip r:embed="rId2"/>
          <a:srcRect/>
          <a:stretch/>
        </p:blipFill>
        <p:spPr>
          <a:xfrm>
            <a:off x="6350" y="1717"/>
            <a:ext cx="12176252" cy="6856284"/>
          </a:xfrm>
          <a:prstGeom prst="rect">
            <a:avLst/>
          </a:prstGeom>
        </p:spPr>
      </p:pic>
      <p:sp>
        <p:nvSpPr>
          <p:cNvPr id="2" name="Title 1">
            <a:extLst>
              <a:ext uri="{FF2B5EF4-FFF2-40B4-BE49-F238E27FC236}">
                <a16:creationId xmlns:a16="http://schemas.microsoft.com/office/drawing/2014/main" id="{A49A1D7F-42E5-744A-B105-2EE2F92CCCE3}"/>
              </a:ext>
            </a:extLst>
          </p:cNvPr>
          <p:cNvSpPr>
            <a:spLocks noGrp="1"/>
          </p:cNvSpPr>
          <p:nvPr>
            <p:ph type="title"/>
          </p:nvPr>
        </p:nvSpPr>
        <p:spPr>
          <a:xfrm>
            <a:off x="947804" y="2821714"/>
            <a:ext cx="7013437" cy="1214575"/>
          </a:xfrm>
        </p:spPr>
        <p:txBody>
          <a:bodyPr anchor="b">
            <a:normAutofit/>
          </a:bodyPr>
          <a:lstStyle>
            <a:lvl1pPr>
              <a:defRPr sz="4400">
                <a:solidFill>
                  <a:schemeClr val="bg1"/>
                </a:solidFill>
                <a:effectLst/>
              </a:defRPr>
            </a:lvl1pPr>
          </a:lstStyle>
          <a:p>
            <a:r>
              <a:rPr lang="en-US" dirty="0"/>
              <a:t>Click to edit Master title style</a:t>
            </a:r>
          </a:p>
        </p:txBody>
      </p:sp>
      <p:sp>
        <p:nvSpPr>
          <p:cNvPr id="3" name="Text Placeholder 2">
            <a:extLst>
              <a:ext uri="{FF2B5EF4-FFF2-40B4-BE49-F238E27FC236}">
                <a16:creationId xmlns:a16="http://schemas.microsoft.com/office/drawing/2014/main" id="{4671D49D-D782-6548-B199-80BAA995A843}"/>
              </a:ext>
            </a:extLst>
          </p:cNvPr>
          <p:cNvSpPr>
            <a:spLocks noGrp="1"/>
          </p:cNvSpPr>
          <p:nvPr>
            <p:ph type="body" idx="1" hasCustomPrompt="1"/>
          </p:nvPr>
        </p:nvSpPr>
        <p:spPr>
          <a:xfrm>
            <a:off x="954155" y="4061140"/>
            <a:ext cx="7007087" cy="817973"/>
          </a:xfrm>
        </p:spPr>
        <p:txBody>
          <a:bodyPr lIns="0" tIns="0" rIns="0" bIns="0">
            <a:noAutofit/>
          </a:bodyPr>
          <a:lstStyle>
            <a:lvl1pPr marL="0" indent="0">
              <a:buNone/>
              <a:defRPr sz="2400" b="1">
                <a:solidFill>
                  <a:schemeClr val="accent5">
                    <a:lumMod val="20000"/>
                    <a:lumOff val="80000"/>
                  </a:schemeClr>
                </a:solidFill>
                <a:effectLst/>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11" name="Rectangle 10">
            <a:extLst>
              <a:ext uri="{FF2B5EF4-FFF2-40B4-BE49-F238E27FC236}">
                <a16:creationId xmlns:a16="http://schemas.microsoft.com/office/drawing/2014/main" id="{B7B40B94-1307-5748-9202-1D25B40D24E2}"/>
              </a:ext>
            </a:extLst>
          </p:cNvPr>
          <p:cNvSpPr/>
          <p:nvPr userDrawn="1"/>
        </p:nvSpPr>
        <p:spPr>
          <a:xfrm>
            <a:off x="10373708" y="6572155"/>
            <a:ext cx="1645002" cy="246221"/>
          </a:xfrm>
          <a:prstGeom prst="rect">
            <a:avLst/>
          </a:prstGeom>
        </p:spPr>
        <p:txBody>
          <a:bodyPr wrap="none">
            <a:spAutoFit/>
          </a:bodyPr>
          <a:lstStyle/>
          <a:p>
            <a:r>
              <a:rPr lang="en-US" sz="1000" i="1" dirty="0">
                <a:solidFill>
                  <a:schemeClr val="bg1"/>
                </a:solidFill>
              </a:rPr>
              <a:t>Curio Science Confidential.</a:t>
            </a:r>
          </a:p>
        </p:txBody>
      </p:sp>
      <p:sp>
        <p:nvSpPr>
          <p:cNvPr id="6" name="Rectangle 5">
            <a:extLst>
              <a:ext uri="{FF2B5EF4-FFF2-40B4-BE49-F238E27FC236}">
                <a16:creationId xmlns:a16="http://schemas.microsoft.com/office/drawing/2014/main" id="{51E70DFB-438C-4E46-88D1-B80B0F3114DC}"/>
              </a:ext>
            </a:extLst>
          </p:cNvPr>
          <p:cNvSpPr/>
          <p:nvPr userDrawn="1"/>
        </p:nvSpPr>
        <p:spPr>
          <a:xfrm>
            <a:off x="10238911" y="6574073"/>
            <a:ext cx="1612942" cy="246221"/>
          </a:xfrm>
          <a:prstGeom prst="rect">
            <a:avLst/>
          </a:prstGeom>
        </p:spPr>
        <p:txBody>
          <a:bodyPr wrap="none">
            <a:spAutoFit/>
          </a:bodyPr>
          <a:lstStyle/>
          <a:p>
            <a:pPr algn="ctr"/>
            <a:r>
              <a:rPr lang="en-US" sz="1000" i="1" dirty="0">
                <a:solidFill>
                  <a:schemeClr val="tx1"/>
                </a:solidFill>
              </a:rPr>
              <a:t>Curio Science Confidential</a:t>
            </a:r>
          </a:p>
        </p:txBody>
      </p:sp>
    </p:spTree>
    <p:extLst>
      <p:ext uri="{BB962C8B-B14F-4D97-AF65-F5344CB8AC3E}">
        <p14:creationId xmlns:p14="http://schemas.microsoft.com/office/powerpoint/2010/main" val="2264297763"/>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457200" y="443345"/>
            <a:ext cx="11271379" cy="1034473"/>
          </a:xfrm>
        </p:spPr>
        <p:txBody>
          <a:bodyPr/>
          <a:lstStyle>
            <a:lvl1pPr>
              <a:defRPr sz="2600"/>
            </a:lvl1pPr>
          </a:lstStyle>
          <a:p>
            <a:r>
              <a:rPr lang="en-US" dirty="0"/>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p:txBody>
          <a:bodyPr>
            <a:noAutofit/>
          </a:bodyPr>
          <a:lstStyle/>
          <a:p>
            <a:pPr lvl="0"/>
            <a:r>
              <a:rPr lang="en-US" dirty="0"/>
              <a:t>Edit Master text styles</a:t>
            </a:r>
          </a:p>
          <a:p>
            <a:pPr lvl="1"/>
            <a:r>
              <a:rPr lang="en-US" dirty="0"/>
              <a:t>Second level</a:t>
            </a:r>
          </a:p>
          <a:p>
            <a:pPr lvl="2"/>
            <a:r>
              <a:rPr lang="en-US" dirty="0"/>
              <a:t>Third level</a:t>
            </a:r>
          </a:p>
        </p:txBody>
      </p:sp>
      <p:sp>
        <p:nvSpPr>
          <p:cNvPr id="4" name="Text Placeholder 5">
            <a:extLst>
              <a:ext uri="{FF2B5EF4-FFF2-40B4-BE49-F238E27FC236}">
                <a16:creationId xmlns:a16="http://schemas.microsoft.com/office/drawing/2014/main" id="{AA7DF43C-EEAC-8B48-9F09-B28110E00C86}"/>
              </a:ext>
            </a:extLst>
          </p:cNvPr>
          <p:cNvSpPr>
            <a:spLocks noGrp="1"/>
          </p:cNvSpPr>
          <p:nvPr>
            <p:ph type="body" sz="quarter" idx="10"/>
          </p:nvPr>
        </p:nvSpPr>
        <p:spPr>
          <a:xfrm>
            <a:off x="457200" y="6072578"/>
            <a:ext cx="7011635" cy="693983"/>
          </a:xfrm>
        </p:spPr>
        <p:txBody>
          <a:bodyPr anchor="b"/>
          <a:lstStyle>
            <a:lvl1pPr marL="0">
              <a:spcBef>
                <a:spcPts val="0"/>
              </a:spcBef>
              <a:spcAft>
                <a:spcPts val="0"/>
              </a:spcAft>
              <a:buNone/>
              <a:defRPr sz="1000"/>
            </a:lvl1pPr>
            <a:lvl2pPr>
              <a:buNone/>
              <a:defRPr sz="1000"/>
            </a:lvl2pPr>
            <a:lvl3pPr>
              <a:buNone/>
              <a:defRPr sz="1000"/>
            </a:lvl3pPr>
            <a:lvl4pPr>
              <a:buNone/>
              <a:defRPr sz="1000"/>
            </a:lvl4pPr>
            <a:lvl5pPr>
              <a:buNone/>
              <a:defRPr sz="1000"/>
            </a:lvl5pPr>
          </a:lstStyle>
          <a:p>
            <a:pPr lvl="0"/>
            <a:r>
              <a:rPr lang="en-US" dirty="0"/>
              <a:t>Click to edit Master text styles</a:t>
            </a:r>
          </a:p>
        </p:txBody>
      </p:sp>
      <p:sp>
        <p:nvSpPr>
          <p:cNvPr id="5" name="Slide Number Placeholder 3">
            <a:extLst>
              <a:ext uri="{FF2B5EF4-FFF2-40B4-BE49-F238E27FC236}">
                <a16:creationId xmlns:a16="http://schemas.microsoft.com/office/drawing/2014/main" id="{23EA7C18-7122-E14B-96FF-806FACDA8677}"/>
              </a:ext>
            </a:extLst>
          </p:cNvPr>
          <p:cNvSpPr>
            <a:spLocks noGrp="1"/>
          </p:cNvSpPr>
          <p:nvPr>
            <p:ph type="sldNum" sz="quarter" idx="4"/>
          </p:nvPr>
        </p:nvSpPr>
        <p:spPr>
          <a:xfrm>
            <a:off x="9448800" y="6492876"/>
            <a:ext cx="2743200" cy="365125"/>
          </a:xfrm>
          <a:prstGeom prst="rect">
            <a:avLst/>
          </a:prstGeom>
        </p:spPr>
        <p:txBody>
          <a:bodyPr vert="horz" lIns="91440" tIns="45720" rIns="91440" bIns="45720" rtlCol="0" anchor="ctr"/>
          <a:lstStyle>
            <a:lvl1pPr algn="r">
              <a:defRPr sz="1200">
                <a:solidFill>
                  <a:schemeClr val="accent6"/>
                </a:solidFill>
              </a:defRPr>
            </a:lvl1pPr>
          </a:lstStyle>
          <a:p>
            <a:fld id="{89699DCE-0938-FA42-88C1-4B89CF8D84DF}" type="slidenum">
              <a:rPr lang="en-US" smtClean="0"/>
              <a:pPr/>
              <a:t>‹#›</a:t>
            </a:fld>
            <a:endParaRPr lang="en-US" dirty="0"/>
          </a:p>
        </p:txBody>
      </p:sp>
    </p:spTree>
    <p:extLst>
      <p:ext uri="{BB962C8B-B14F-4D97-AF65-F5344CB8AC3E}">
        <p14:creationId xmlns:p14="http://schemas.microsoft.com/office/powerpoint/2010/main" val="251725481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916FF65-E16B-BA4F-9591-6B4416106527}" type="datetimeFigureOut">
              <a:rPr lang="en-US" smtClean="0"/>
              <a:t>4/24/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0810067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457200" y="443346"/>
            <a:ext cx="11271379" cy="1034473"/>
          </a:xfrm>
        </p:spPr>
        <p:txBody>
          <a:bodyPr/>
          <a:lstStyle>
            <a:lvl1pPr>
              <a:defRPr sz="2600"/>
            </a:lvl1pPr>
          </a:lstStyle>
          <a:p>
            <a:r>
              <a:rPr lang="en-US" dirty="0"/>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a:xfrm>
            <a:off x="457201" y="1597892"/>
            <a:ext cx="5514393" cy="4254269"/>
          </a:xfrm>
        </p:spPr>
        <p:txBody>
          <a:bodyPr>
            <a:noAutofit/>
          </a:bodyPr>
          <a:lstStyle/>
          <a:p>
            <a:pPr lvl="0"/>
            <a:r>
              <a:rPr lang="en-US" dirty="0"/>
              <a:t>Edit Master text styles</a:t>
            </a:r>
          </a:p>
          <a:p>
            <a:pPr lvl="1"/>
            <a:r>
              <a:rPr lang="en-US" dirty="0"/>
              <a:t>Second level</a:t>
            </a:r>
          </a:p>
          <a:p>
            <a:pPr lvl="2"/>
            <a:r>
              <a:rPr lang="en-US" dirty="0"/>
              <a:t>Third level</a:t>
            </a:r>
          </a:p>
        </p:txBody>
      </p:sp>
      <p:sp>
        <p:nvSpPr>
          <p:cNvPr id="4" name="Text Placeholder 5">
            <a:extLst>
              <a:ext uri="{FF2B5EF4-FFF2-40B4-BE49-F238E27FC236}">
                <a16:creationId xmlns:a16="http://schemas.microsoft.com/office/drawing/2014/main" id="{AA7DF43C-EEAC-8B48-9F09-B28110E00C86}"/>
              </a:ext>
            </a:extLst>
          </p:cNvPr>
          <p:cNvSpPr>
            <a:spLocks noGrp="1"/>
          </p:cNvSpPr>
          <p:nvPr>
            <p:ph type="body" sz="quarter" idx="10"/>
          </p:nvPr>
        </p:nvSpPr>
        <p:spPr>
          <a:xfrm>
            <a:off x="457200" y="6072578"/>
            <a:ext cx="7011635" cy="693983"/>
          </a:xfrm>
        </p:spPr>
        <p:txBody>
          <a:bodyPr anchor="b"/>
          <a:lstStyle>
            <a:lvl1pPr marL="0">
              <a:spcBef>
                <a:spcPts val="0"/>
              </a:spcBef>
              <a:spcAft>
                <a:spcPts val="0"/>
              </a:spcAft>
              <a:buNone/>
              <a:defRPr sz="1000"/>
            </a:lvl1pPr>
            <a:lvl2pPr>
              <a:buNone/>
              <a:defRPr sz="1000"/>
            </a:lvl2pPr>
            <a:lvl3pPr>
              <a:buNone/>
              <a:defRPr sz="1000"/>
            </a:lvl3pPr>
            <a:lvl4pPr>
              <a:buNone/>
              <a:defRPr sz="1000"/>
            </a:lvl4pPr>
            <a:lvl5pPr>
              <a:buNone/>
              <a:defRPr sz="1000"/>
            </a:lvl5pPr>
          </a:lstStyle>
          <a:p>
            <a:pPr lvl="0"/>
            <a:r>
              <a:rPr lang="en-US" dirty="0"/>
              <a:t>Click to edit Master text styles</a:t>
            </a:r>
          </a:p>
        </p:txBody>
      </p:sp>
      <p:sp>
        <p:nvSpPr>
          <p:cNvPr id="5" name="Slide Number Placeholder 3">
            <a:extLst>
              <a:ext uri="{FF2B5EF4-FFF2-40B4-BE49-F238E27FC236}">
                <a16:creationId xmlns:a16="http://schemas.microsoft.com/office/drawing/2014/main" id="{23EA7C18-7122-E14B-96FF-806FACDA8677}"/>
              </a:ext>
            </a:extLst>
          </p:cNvPr>
          <p:cNvSpPr>
            <a:spLocks noGrp="1"/>
          </p:cNvSpPr>
          <p:nvPr>
            <p:ph type="sldNum" sz="quarter" idx="4"/>
          </p:nvPr>
        </p:nvSpPr>
        <p:spPr>
          <a:xfrm>
            <a:off x="9448800" y="6492876"/>
            <a:ext cx="2743200" cy="365125"/>
          </a:xfrm>
          <a:prstGeom prst="rect">
            <a:avLst/>
          </a:prstGeom>
        </p:spPr>
        <p:txBody>
          <a:bodyPr vert="horz" lIns="91440" tIns="45720" rIns="91440" bIns="45720" rtlCol="0" anchor="ctr"/>
          <a:lstStyle>
            <a:lvl1pPr algn="r">
              <a:defRPr sz="1200">
                <a:solidFill>
                  <a:schemeClr val="accent6"/>
                </a:solidFill>
              </a:defRPr>
            </a:lvl1pPr>
          </a:lstStyle>
          <a:p>
            <a:fld id="{89699DCE-0938-FA42-88C1-4B89CF8D84DF}" type="slidenum">
              <a:rPr lang="en-US" smtClean="0"/>
              <a:pPr/>
              <a:t>‹#›</a:t>
            </a:fld>
            <a:endParaRPr lang="en-US" dirty="0"/>
          </a:p>
        </p:txBody>
      </p:sp>
      <p:sp>
        <p:nvSpPr>
          <p:cNvPr id="6" name="Content Placeholder 2">
            <a:extLst>
              <a:ext uri="{FF2B5EF4-FFF2-40B4-BE49-F238E27FC236}">
                <a16:creationId xmlns:a16="http://schemas.microsoft.com/office/drawing/2014/main" id="{98F7BB16-0970-AC65-2C1C-5D1B573EE818}"/>
              </a:ext>
            </a:extLst>
          </p:cNvPr>
          <p:cNvSpPr>
            <a:spLocks noGrp="1"/>
          </p:cNvSpPr>
          <p:nvPr>
            <p:ph idx="11" hasCustomPrompt="1"/>
          </p:nvPr>
        </p:nvSpPr>
        <p:spPr>
          <a:xfrm>
            <a:off x="6214186" y="1590678"/>
            <a:ext cx="5514393" cy="4254269"/>
          </a:xfrm>
        </p:spPr>
        <p:txBody>
          <a:bodyPr>
            <a:noAutofit/>
          </a:body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542859225"/>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457199" y="443346"/>
            <a:ext cx="11271381" cy="1025237"/>
          </a:xfrm>
        </p:spPr>
        <p:txBody>
          <a:bodyPr/>
          <a:lstStyle>
            <a:lvl1pPr>
              <a:defRPr sz="2600"/>
            </a:lvl1pPr>
          </a:lstStyle>
          <a:p>
            <a:r>
              <a:rPr lang="en-US" dirty="0"/>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a:xfrm>
            <a:off x="457199" y="1597892"/>
            <a:ext cx="7011635" cy="4254269"/>
          </a:xfrm>
        </p:spPr>
        <p:txBody>
          <a:bodyPr>
            <a:noAutofit/>
          </a:bodyPr>
          <a:lstStyle>
            <a:lvl1pPr>
              <a:defRPr sz="1800"/>
            </a:lvl1pPr>
            <a:lvl2pPr>
              <a:defRPr sz="1600"/>
            </a:lvl2pPr>
            <a:lvl3pPr>
              <a:defRPr sz="1400"/>
            </a:lvl3pPr>
          </a:lstStyle>
          <a:p>
            <a:pPr lvl="0"/>
            <a:r>
              <a:rPr lang="en-US" dirty="0"/>
              <a:t>Edit Master text styles</a:t>
            </a:r>
          </a:p>
          <a:p>
            <a:pPr lvl="1"/>
            <a:r>
              <a:rPr lang="en-US" dirty="0"/>
              <a:t>Second level</a:t>
            </a:r>
          </a:p>
          <a:p>
            <a:pPr lvl="2"/>
            <a:r>
              <a:rPr lang="en-US" dirty="0"/>
              <a:t>Third level</a:t>
            </a:r>
          </a:p>
        </p:txBody>
      </p:sp>
      <p:sp>
        <p:nvSpPr>
          <p:cNvPr id="4" name="Text Placeholder 5">
            <a:extLst>
              <a:ext uri="{FF2B5EF4-FFF2-40B4-BE49-F238E27FC236}">
                <a16:creationId xmlns:a16="http://schemas.microsoft.com/office/drawing/2014/main" id="{AA7DF43C-EEAC-8B48-9F09-B28110E00C86}"/>
              </a:ext>
            </a:extLst>
          </p:cNvPr>
          <p:cNvSpPr>
            <a:spLocks noGrp="1"/>
          </p:cNvSpPr>
          <p:nvPr>
            <p:ph type="body" sz="quarter" idx="10"/>
          </p:nvPr>
        </p:nvSpPr>
        <p:spPr>
          <a:xfrm>
            <a:off x="457200" y="6072578"/>
            <a:ext cx="7011635" cy="693983"/>
          </a:xfrm>
        </p:spPr>
        <p:txBody>
          <a:bodyPr anchor="b"/>
          <a:lstStyle>
            <a:lvl1pPr marL="0">
              <a:spcBef>
                <a:spcPts val="0"/>
              </a:spcBef>
              <a:spcAft>
                <a:spcPts val="0"/>
              </a:spcAft>
              <a:buNone/>
              <a:defRPr sz="1000"/>
            </a:lvl1pPr>
            <a:lvl2pPr>
              <a:buNone/>
              <a:defRPr sz="1000"/>
            </a:lvl2pPr>
            <a:lvl3pPr>
              <a:buNone/>
              <a:defRPr sz="1000"/>
            </a:lvl3pPr>
            <a:lvl4pPr>
              <a:buNone/>
              <a:defRPr sz="1000"/>
            </a:lvl4pPr>
            <a:lvl5pPr>
              <a:buNone/>
              <a:defRPr sz="1000"/>
            </a:lvl5pPr>
          </a:lstStyle>
          <a:p>
            <a:pPr lvl="0"/>
            <a:r>
              <a:rPr lang="en-US" dirty="0"/>
              <a:t>Click to edit Master text styles</a:t>
            </a:r>
          </a:p>
        </p:txBody>
      </p:sp>
      <p:sp>
        <p:nvSpPr>
          <p:cNvPr id="5" name="Slide Number Placeholder 3">
            <a:extLst>
              <a:ext uri="{FF2B5EF4-FFF2-40B4-BE49-F238E27FC236}">
                <a16:creationId xmlns:a16="http://schemas.microsoft.com/office/drawing/2014/main" id="{23EA7C18-7122-E14B-96FF-806FACDA8677}"/>
              </a:ext>
            </a:extLst>
          </p:cNvPr>
          <p:cNvSpPr>
            <a:spLocks noGrp="1"/>
          </p:cNvSpPr>
          <p:nvPr>
            <p:ph type="sldNum" sz="quarter" idx="4"/>
          </p:nvPr>
        </p:nvSpPr>
        <p:spPr>
          <a:xfrm>
            <a:off x="9448800" y="6492876"/>
            <a:ext cx="2743200" cy="365125"/>
          </a:xfrm>
          <a:prstGeom prst="rect">
            <a:avLst/>
          </a:prstGeom>
        </p:spPr>
        <p:txBody>
          <a:bodyPr vert="horz" lIns="91440" tIns="45720" rIns="91440" bIns="45720" rtlCol="0" anchor="ctr"/>
          <a:lstStyle>
            <a:lvl1pPr algn="r">
              <a:defRPr sz="1200">
                <a:solidFill>
                  <a:schemeClr val="accent6"/>
                </a:solidFill>
              </a:defRPr>
            </a:lvl1pPr>
          </a:lstStyle>
          <a:p>
            <a:fld id="{89699DCE-0938-FA42-88C1-4B89CF8D84DF}" type="slidenum">
              <a:rPr lang="en-US" smtClean="0"/>
              <a:pPr/>
              <a:t>‹#›</a:t>
            </a:fld>
            <a:endParaRPr lang="en-US" dirty="0"/>
          </a:p>
        </p:txBody>
      </p:sp>
    </p:spTree>
    <p:extLst>
      <p:ext uri="{BB962C8B-B14F-4D97-AF65-F5344CB8AC3E}">
        <p14:creationId xmlns:p14="http://schemas.microsoft.com/office/powerpoint/2010/main" val="652943271"/>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457200" y="443346"/>
            <a:ext cx="11271379" cy="1034473"/>
          </a:xfrm>
        </p:spPr>
        <p:txBody>
          <a:bodyPr/>
          <a:lstStyle>
            <a:lvl1pPr>
              <a:defRPr sz="2600"/>
            </a:lvl1pPr>
          </a:lstStyle>
          <a:p>
            <a:r>
              <a:rPr lang="en-US" dirty="0"/>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a:xfrm>
            <a:off x="457201" y="1616365"/>
            <a:ext cx="5514393" cy="4235796"/>
          </a:xfrm>
        </p:spPr>
        <p:txBody>
          <a:bodyPr>
            <a:noAutofit/>
          </a:bodyPr>
          <a:lstStyle>
            <a:lvl1pPr marL="457189" indent="-457189">
              <a:buFont typeface="+mj-lt"/>
              <a:buAutoNum type="arabicPeriod"/>
              <a:defRPr/>
            </a:lvl1pPr>
          </a:lstStyle>
          <a:p>
            <a:pPr lvl="0"/>
            <a:r>
              <a:rPr lang="en-US" dirty="0"/>
              <a:t>Edit Master text styles</a:t>
            </a:r>
          </a:p>
        </p:txBody>
      </p:sp>
      <p:sp>
        <p:nvSpPr>
          <p:cNvPr id="4" name="Text Placeholder 5">
            <a:extLst>
              <a:ext uri="{FF2B5EF4-FFF2-40B4-BE49-F238E27FC236}">
                <a16:creationId xmlns:a16="http://schemas.microsoft.com/office/drawing/2014/main" id="{AA7DF43C-EEAC-8B48-9F09-B28110E00C86}"/>
              </a:ext>
            </a:extLst>
          </p:cNvPr>
          <p:cNvSpPr>
            <a:spLocks noGrp="1"/>
          </p:cNvSpPr>
          <p:nvPr>
            <p:ph type="body" sz="quarter" idx="10"/>
          </p:nvPr>
        </p:nvSpPr>
        <p:spPr>
          <a:xfrm>
            <a:off x="457200" y="6072578"/>
            <a:ext cx="7011635" cy="693983"/>
          </a:xfrm>
        </p:spPr>
        <p:txBody>
          <a:bodyPr anchor="b"/>
          <a:lstStyle>
            <a:lvl1pPr marL="0">
              <a:spcBef>
                <a:spcPts val="0"/>
              </a:spcBef>
              <a:spcAft>
                <a:spcPts val="0"/>
              </a:spcAft>
              <a:buNone/>
              <a:defRPr sz="1000"/>
            </a:lvl1pPr>
            <a:lvl2pPr>
              <a:buNone/>
              <a:defRPr sz="1000"/>
            </a:lvl2pPr>
            <a:lvl3pPr>
              <a:buNone/>
              <a:defRPr sz="1000"/>
            </a:lvl3pPr>
            <a:lvl4pPr>
              <a:buNone/>
              <a:defRPr sz="1000"/>
            </a:lvl4pPr>
            <a:lvl5pPr>
              <a:buNone/>
              <a:defRPr sz="1000"/>
            </a:lvl5pPr>
          </a:lstStyle>
          <a:p>
            <a:pPr lvl="0"/>
            <a:r>
              <a:rPr lang="en-US" dirty="0"/>
              <a:t>Click to edit Master text styles</a:t>
            </a:r>
          </a:p>
        </p:txBody>
      </p:sp>
      <p:sp>
        <p:nvSpPr>
          <p:cNvPr id="5" name="Slide Number Placeholder 3">
            <a:extLst>
              <a:ext uri="{FF2B5EF4-FFF2-40B4-BE49-F238E27FC236}">
                <a16:creationId xmlns:a16="http://schemas.microsoft.com/office/drawing/2014/main" id="{23EA7C18-7122-E14B-96FF-806FACDA8677}"/>
              </a:ext>
            </a:extLst>
          </p:cNvPr>
          <p:cNvSpPr>
            <a:spLocks noGrp="1"/>
          </p:cNvSpPr>
          <p:nvPr>
            <p:ph type="sldNum" sz="quarter" idx="4"/>
          </p:nvPr>
        </p:nvSpPr>
        <p:spPr>
          <a:xfrm>
            <a:off x="9448800" y="6492876"/>
            <a:ext cx="2743200" cy="365125"/>
          </a:xfrm>
          <a:prstGeom prst="rect">
            <a:avLst/>
          </a:prstGeom>
        </p:spPr>
        <p:txBody>
          <a:bodyPr vert="horz" lIns="91440" tIns="45720" rIns="91440" bIns="45720" rtlCol="0" anchor="ctr"/>
          <a:lstStyle>
            <a:lvl1pPr algn="r">
              <a:defRPr sz="1200">
                <a:solidFill>
                  <a:schemeClr val="accent6"/>
                </a:solidFill>
              </a:defRPr>
            </a:lvl1pPr>
          </a:lstStyle>
          <a:p>
            <a:fld id="{89699DCE-0938-FA42-88C1-4B89CF8D84DF}" type="slidenum">
              <a:rPr lang="en-US" smtClean="0"/>
              <a:pPr/>
              <a:t>‹#›</a:t>
            </a:fld>
            <a:endParaRPr lang="en-US" dirty="0"/>
          </a:p>
        </p:txBody>
      </p:sp>
    </p:spTree>
    <p:extLst>
      <p:ext uri="{BB962C8B-B14F-4D97-AF65-F5344CB8AC3E}">
        <p14:creationId xmlns:p14="http://schemas.microsoft.com/office/powerpoint/2010/main" val="576253570"/>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457200" y="443346"/>
            <a:ext cx="11271379" cy="1034473"/>
          </a:xfrm>
        </p:spPr>
        <p:txBody>
          <a:bodyPr/>
          <a:lstStyle>
            <a:lvl1pPr>
              <a:defRPr sz="2600"/>
            </a:lvl1pPr>
          </a:lstStyle>
          <a:p>
            <a:r>
              <a:rPr lang="en-US" dirty="0"/>
              <a:t>Click to edit Master title style</a:t>
            </a:r>
          </a:p>
        </p:txBody>
      </p:sp>
      <p:sp>
        <p:nvSpPr>
          <p:cNvPr id="4" name="Text Placeholder 5">
            <a:extLst>
              <a:ext uri="{FF2B5EF4-FFF2-40B4-BE49-F238E27FC236}">
                <a16:creationId xmlns:a16="http://schemas.microsoft.com/office/drawing/2014/main" id="{AA7DF43C-EEAC-8B48-9F09-B28110E00C86}"/>
              </a:ext>
            </a:extLst>
          </p:cNvPr>
          <p:cNvSpPr>
            <a:spLocks noGrp="1"/>
          </p:cNvSpPr>
          <p:nvPr>
            <p:ph type="body" sz="quarter" idx="10"/>
          </p:nvPr>
        </p:nvSpPr>
        <p:spPr>
          <a:xfrm>
            <a:off x="457200" y="6072578"/>
            <a:ext cx="7011635" cy="693983"/>
          </a:xfrm>
        </p:spPr>
        <p:txBody>
          <a:bodyPr anchor="b"/>
          <a:lstStyle>
            <a:lvl1pPr marL="0">
              <a:spcBef>
                <a:spcPts val="0"/>
              </a:spcBef>
              <a:spcAft>
                <a:spcPts val="0"/>
              </a:spcAft>
              <a:buNone/>
              <a:defRPr sz="1000"/>
            </a:lvl1pPr>
            <a:lvl2pPr>
              <a:buNone/>
              <a:defRPr sz="1000"/>
            </a:lvl2pPr>
            <a:lvl3pPr>
              <a:buNone/>
              <a:defRPr sz="1000"/>
            </a:lvl3pPr>
            <a:lvl4pPr>
              <a:buNone/>
              <a:defRPr sz="1000"/>
            </a:lvl4pPr>
            <a:lvl5pPr>
              <a:buNone/>
              <a:defRPr sz="1000"/>
            </a:lvl5pPr>
          </a:lstStyle>
          <a:p>
            <a:pPr lvl="0"/>
            <a:r>
              <a:rPr lang="en-US" dirty="0"/>
              <a:t>Click to edit Master text styles</a:t>
            </a:r>
          </a:p>
        </p:txBody>
      </p:sp>
      <p:sp>
        <p:nvSpPr>
          <p:cNvPr id="5" name="Slide Number Placeholder 3">
            <a:extLst>
              <a:ext uri="{FF2B5EF4-FFF2-40B4-BE49-F238E27FC236}">
                <a16:creationId xmlns:a16="http://schemas.microsoft.com/office/drawing/2014/main" id="{23EA7C18-7122-E14B-96FF-806FACDA8677}"/>
              </a:ext>
            </a:extLst>
          </p:cNvPr>
          <p:cNvSpPr>
            <a:spLocks noGrp="1"/>
          </p:cNvSpPr>
          <p:nvPr>
            <p:ph type="sldNum" sz="quarter" idx="4"/>
          </p:nvPr>
        </p:nvSpPr>
        <p:spPr>
          <a:xfrm>
            <a:off x="9448800" y="6492876"/>
            <a:ext cx="2743200" cy="365125"/>
          </a:xfrm>
          <a:prstGeom prst="rect">
            <a:avLst/>
          </a:prstGeom>
        </p:spPr>
        <p:txBody>
          <a:bodyPr vert="horz" lIns="91440" tIns="45720" rIns="91440" bIns="45720" rtlCol="0" anchor="ctr"/>
          <a:lstStyle>
            <a:lvl1pPr algn="r">
              <a:defRPr sz="1200">
                <a:solidFill>
                  <a:schemeClr val="accent6"/>
                </a:solidFill>
              </a:defRPr>
            </a:lvl1pPr>
          </a:lstStyle>
          <a:p>
            <a:fld id="{89699DCE-0938-FA42-88C1-4B89CF8D84DF}" type="slidenum">
              <a:rPr lang="en-US" smtClean="0"/>
              <a:pPr/>
              <a:t>‹#›</a:t>
            </a:fld>
            <a:endParaRPr lang="en-US" dirty="0"/>
          </a:p>
        </p:txBody>
      </p:sp>
    </p:spTree>
    <p:extLst>
      <p:ext uri="{BB962C8B-B14F-4D97-AF65-F5344CB8AC3E}">
        <p14:creationId xmlns:p14="http://schemas.microsoft.com/office/powerpoint/2010/main" val="3424631984"/>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userDrawn="1">
  <p:cSld name="7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699912" y="110072"/>
            <a:ext cx="10792179" cy="1134000"/>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a:xfrm>
            <a:off x="699912" y="1468801"/>
            <a:ext cx="5275720" cy="4495737"/>
          </a:xfrm>
        </p:spPr>
        <p:txBody>
          <a:bodyPr>
            <a:noAutofit/>
          </a:bodyPr>
          <a:lstStyle>
            <a:lvl1pPr>
              <a:buClr>
                <a:schemeClr val="accent1"/>
              </a:buClr>
              <a:buFont typeface="+mj-lt"/>
              <a:buAutoNum type="arabicPeriod"/>
              <a:defRPr/>
            </a:lvl1pPr>
            <a:lvl2pPr>
              <a:buNone/>
              <a:defRPr/>
            </a:lvl2pPr>
          </a:lstStyle>
          <a:p>
            <a:pPr lvl="0"/>
            <a:r>
              <a:rPr lang="en-US" dirty="0"/>
              <a:t>Edit Master text styles</a:t>
            </a:r>
          </a:p>
        </p:txBody>
      </p:sp>
      <p:sp>
        <p:nvSpPr>
          <p:cNvPr id="5" name="Slide Number Placeholder 5">
            <a:extLst>
              <a:ext uri="{FF2B5EF4-FFF2-40B4-BE49-F238E27FC236}">
                <a16:creationId xmlns:a16="http://schemas.microsoft.com/office/drawing/2014/main" id="{5E3874B8-9CF3-B84C-966C-0EBDD5046885}"/>
              </a:ext>
            </a:extLst>
          </p:cNvPr>
          <p:cNvSpPr>
            <a:spLocks noGrp="1"/>
          </p:cNvSpPr>
          <p:nvPr>
            <p:ph type="sldNum" sz="quarter" idx="4"/>
          </p:nvPr>
        </p:nvSpPr>
        <p:spPr>
          <a:xfrm>
            <a:off x="11425287" y="6463722"/>
            <a:ext cx="699911" cy="284207"/>
          </a:xfrm>
          <a:prstGeom prst="rect">
            <a:avLst/>
          </a:prstGeom>
        </p:spPr>
        <p:txBody>
          <a:bodyPr lIns="182880" anchor="ctr"/>
          <a:lstStyle>
            <a:lvl1pPr algn="l">
              <a:defRPr sz="1200">
                <a:solidFill>
                  <a:srgbClr val="728592"/>
                </a:solidFill>
              </a:defRPr>
            </a:lvl1pPr>
          </a:lstStyle>
          <a:p>
            <a:fld id="{2DB2551F-0F36-184F-87EE-E0604C929E46}" type="slidenum">
              <a:rPr lang="en-US" smtClean="0"/>
              <a:pPr/>
              <a:t>‹#›</a:t>
            </a:fld>
            <a:endParaRPr lang="en-US" dirty="0"/>
          </a:p>
        </p:txBody>
      </p:sp>
    </p:spTree>
    <p:extLst>
      <p:ext uri="{BB962C8B-B14F-4D97-AF65-F5344CB8AC3E}">
        <p14:creationId xmlns:p14="http://schemas.microsoft.com/office/powerpoint/2010/main" val="2989329087"/>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userDrawn="1">
  <p:cSld name="8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497840" y="451415"/>
            <a:ext cx="11226800" cy="914400"/>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a:xfrm>
            <a:off x="497840" y="1595120"/>
            <a:ext cx="5477792" cy="4226560"/>
          </a:xfrm>
        </p:spPr>
        <p:txBody>
          <a:bodyPr>
            <a:noAutofit/>
          </a:bodyPr>
          <a:lstStyle>
            <a:lvl1pPr>
              <a:buFont typeface="+mj-lt"/>
              <a:buAutoNum type="arabicPeriod"/>
              <a:defRPr sz="2000"/>
            </a:lvl1pPr>
          </a:lstStyle>
          <a:p>
            <a:pPr lvl="0"/>
            <a:r>
              <a:rPr lang="en-US"/>
              <a:t>Edit Master text styles</a:t>
            </a:r>
          </a:p>
        </p:txBody>
      </p:sp>
      <p:sp>
        <p:nvSpPr>
          <p:cNvPr id="5" name="Slide Number Placeholder 3">
            <a:extLst>
              <a:ext uri="{FF2B5EF4-FFF2-40B4-BE49-F238E27FC236}">
                <a16:creationId xmlns:a16="http://schemas.microsoft.com/office/drawing/2014/main" id="{C5F94200-7FC0-9A4E-A413-F6E00934AD12}"/>
              </a:ext>
            </a:extLst>
          </p:cNvPr>
          <p:cNvSpPr>
            <a:spLocks noGrp="1"/>
          </p:cNvSpPr>
          <p:nvPr>
            <p:ph type="sldNum" sz="quarter" idx="4"/>
          </p:nvPr>
        </p:nvSpPr>
        <p:spPr>
          <a:xfrm>
            <a:off x="11715213" y="6568292"/>
            <a:ext cx="467360" cy="284997"/>
          </a:xfrm>
          <a:prstGeom prst="rect">
            <a:avLst/>
          </a:prstGeom>
        </p:spPr>
        <p:txBody>
          <a:bodyPr vert="horz" lIns="91440" tIns="45720" rIns="91440" bIns="45720" rtlCol="0" anchor="ctr"/>
          <a:lstStyle>
            <a:lvl1pPr algn="r">
              <a:defRPr sz="1100">
                <a:solidFill>
                  <a:schemeClr val="tx1">
                    <a:tint val="75000"/>
                  </a:schemeClr>
                </a:solidFill>
              </a:defRPr>
            </a:lvl1pPr>
          </a:lstStyle>
          <a:p>
            <a:fld id="{1904728E-9179-7340-B99F-8A5623059787}" type="slidenum">
              <a:rPr lang="en-US" smtClean="0"/>
              <a:pPr/>
              <a:t>‹#›</a:t>
            </a:fld>
            <a:endParaRPr lang="en-US" sz="1100"/>
          </a:p>
        </p:txBody>
      </p:sp>
      <p:sp>
        <p:nvSpPr>
          <p:cNvPr id="7" name="Text Placeholder 5">
            <a:extLst>
              <a:ext uri="{FF2B5EF4-FFF2-40B4-BE49-F238E27FC236}">
                <a16:creationId xmlns:a16="http://schemas.microsoft.com/office/drawing/2014/main" id="{957D897E-3A74-704A-9640-6EBF4A423268}"/>
              </a:ext>
            </a:extLst>
          </p:cNvPr>
          <p:cNvSpPr>
            <a:spLocks noGrp="1"/>
          </p:cNvSpPr>
          <p:nvPr>
            <p:ph type="body" sz="quarter" idx="11"/>
          </p:nvPr>
        </p:nvSpPr>
        <p:spPr>
          <a:xfrm>
            <a:off x="497841" y="6194323"/>
            <a:ext cx="6909435" cy="583549"/>
          </a:xfrm>
        </p:spPr>
        <p:txBody>
          <a:bodyPr anchor="b"/>
          <a:lstStyle>
            <a:lvl1pPr>
              <a:spcBef>
                <a:spcPts val="0"/>
              </a:spcBef>
              <a:spcAft>
                <a:spcPts val="0"/>
              </a:spcAft>
              <a:buNone/>
              <a:defRPr sz="1000"/>
            </a:lvl1pPr>
            <a:lvl2pPr>
              <a:buNone/>
              <a:defRPr sz="1000"/>
            </a:lvl2pPr>
            <a:lvl3pPr>
              <a:buNone/>
              <a:defRPr sz="1000"/>
            </a:lvl3pPr>
            <a:lvl4pPr>
              <a:buNone/>
              <a:defRPr sz="1000"/>
            </a:lvl4pPr>
            <a:lvl5pPr>
              <a:buNone/>
              <a:defRPr sz="1000"/>
            </a:lvl5pPr>
          </a:lstStyle>
          <a:p>
            <a:pPr lvl="0"/>
            <a:r>
              <a:rPr lang="en-US"/>
              <a:t>Click to edit Master text styles</a:t>
            </a:r>
          </a:p>
        </p:txBody>
      </p:sp>
    </p:spTree>
    <p:extLst>
      <p:ext uri="{BB962C8B-B14F-4D97-AF65-F5344CB8AC3E}">
        <p14:creationId xmlns:p14="http://schemas.microsoft.com/office/powerpoint/2010/main" val="696715364"/>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userDrawn="1">
  <p:cSld name="Numbers P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699911" y="110074"/>
            <a:ext cx="10792179" cy="1138367"/>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a:xfrm>
            <a:off x="699911" y="1468800"/>
            <a:ext cx="10792179" cy="4622800"/>
          </a:xfrm>
        </p:spPr>
        <p:txBody>
          <a:bodyPr>
            <a:noAutofit/>
          </a:bodyPr>
          <a:lstStyle>
            <a:lvl1pPr marL="320032" indent="-320032">
              <a:spcBef>
                <a:spcPts val="1500"/>
              </a:spcBef>
              <a:buFont typeface="+mj-lt"/>
              <a:buAutoNum type="arabicPeriod"/>
              <a:defRPr/>
            </a:lvl1pPr>
          </a:lstStyle>
          <a:p>
            <a:pPr lvl="0"/>
            <a:r>
              <a:rPr lang="en-US"/>
              <a:t>Edit Master text styles</a:t>
            </a:r>
          </a:p>
        </p:txBody>
      </p:sp>
      <p:sp>
        <p:nvSpPr>
          <p:cNvPr id="5" name="Text Placeholder 4">
            <a:extLst>
              <a:ext uri="{FF2B5EF4-FFF2-40B4-BE49-F238E27FC236}">
                <a16:creationId xmlns:a16="http://schemas.microsoft.com/office/drawing/2014/main" id="{33CBFE31-F981-4B47-ABF8-4E35F06D07FB}"/>
              </a:ext>
            </a:extLst>
          </p:cNvPr>
          <p:cNvSpPr>
            <a:spLocks noGrp="1"/>
          </p:cNvSpPr>
          <p:nvPr>
            <p:ph type="body" sz="quarter" idx="10"/>
          </p:nvPr>
        </p:nvSpPr>
        <p:spPr>
          <a:xfrm>
            <a:off x="699913" y="6149090"/>
            <a:ext cx="5396089" cy="598839"/>
          </a:xfrm>
        </p:spPr>
        <p:txBody>
          <a:bodyPr anchor="b">
            <a:noAutofit/>
          </a:bodyPr>
          <a:lstStyle>
            <a:lvl1pPr marL="0" indent="0">
              <a:spcAft>
                <a:spcPts val="0"/>
              </a:spcAft>
              <a:buNone/>
              <a:defRPr sz="900"/>
            </a:lvl1pPr>
            <a:lvl2pPr marL="457189" indent="0">
              <a:buNone/>
              <a:defRPr sz="1000"/>
            </a:lvl2pPr>
            <a:lvl3pPr marL="914377" indent="0">
              <a:buNone/>
              <a:defRPr sz="1000"/>
            </a:lvl3pPr>
            <a:lvl4pPr marL="1371566" indent="0">
              <a:buNone/>
              <a:defRPr sz="1000"/>
            </a:lvl4pPr>
            <a:lvl5pPr marL="1828754" indent="0">
              <a:buNone/>
              <a:defRPr sz="1000"/>
            </a:lvl5pPr>
          </a:lstStyle>
          <a:p>
            <a:pPr lvl="0"/>
            <a:r>
              <a:rPr lang="en-US"/>
              <a:t>Click to edit Master text styles</a:t>
            </a:r>
          </a:p>
        </p:txBody>
      </p:sp>
      <p:sp>
        <p:nvSpPr>
          <p:cNvPr id="6" name="Slide Number Placeholder 5">
            <a:extLst>
              <a:ext uri="{FF2B5EF4-FFF2-40B4-BE49-F238E27FC236}">
                <a16:creationId xmlns:a16="http://schemas.microsoft.com/office/drawing/2014/main" id="{2110F747-3722-1DC5-C081-947EFE3F7922}"/>
              </a:ext>
            </a:extLst>
          </p:cNvPr>
          <p:cNvSpPr>
            <a:spLocks noGrp="1"/>
          </p:cNvSpPr>
          <p:nvPr>
            <p:ph type="sldNum" sz="quarter" idx="4"/>
          </p:nvPr>
        </p:nvSpPr>
        <p:spPr>
          <a:xfrm>
            <a:off x="11425287" y="6520564"/>
            <a:ext cx="699911" cy="194097"/>
          </a:xfrm>
          <a:prstGeom prst="rect">
            <a:avLst/>
          </a:prstGeom>
        </p:spPr>
        <p:txBody>
          <a:bodyPr lIns="182880" anchor="ctr"/>
          <a:lstStyle>
            <a:lvl1pPr algn="l">
              <a:defRPr sz="1200">
                <a:solidFill>
                  <a:schemeClr val="accent2"/>
                </a:solidFill>
              </a:defRPr>
            </a:lvl1pPr>
          </a:lstStyle>
          <a:p>
            <a:fld id="{2DB2551F-0F36-184F-87EE-E0604C929E46}" type="slidenum">
              <a:rPr lang="en-US" smtClean="0"/>
              <a:pPr/>
              <a:t>‹#›</a:t>
            </a:fld>
            <a:endParaRPr lang="en-US" dirty="0">
              <a:solidFill>
                <a:schemeClr val="accent2"/>
              </a:solidFill>
            </a:endParaRPr>
          </a:p>
        </p:txBody>
      </p:sp>
    </p:spTree>
    <p:extLst>
      <p:ext uri="{BB962C8B-B14F-4D97-AF65-F5344CB8AC3E}">
        <p14:creationId xmlns:p14="http://schemas.microsoft.com/office/powerpoint/2010/main" val="2415532328"/>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Text Placeholder 7"/>
          <p:cNvSpPr>
            <a:spLocks noGrp="1"/>
          </p:cNvSpPr>
          <p:nvPr>
            <p:ph type="body" sz="quarter" idx="11" hasCustomPrompt="1"/>
          </p:nvPr>
        </p:nvSpPr>
        <p:spPr>
          <a:xfrm>
            <a:off x="9851136" y="1"/>
            <a:ext cx="2340864" cy="267175"/>
          </a:xfrm>
        </p:spPr>
        <p:txBody>
          <a:bodyPr/>
          <a:lstStyle>
            <a:lvl1pPr algn="r">
              <a:defRPr sz="1400" b="0">
                <a:solidFill>
                  <a:schemeClr val="bg2"/>
                </a:solidFill>
              </a:defRPr>
            </a:lvl1pPr>
          </a:lstStyle>
          <a:p>
            <a:pPr lvl="0"/>
            <a:r>
              <a:rPr lang="en-US"/>
              <a:t>HIGHLY CONFIDENTIAL</a:t>
            </a:r>
          </a:p>
        </p:txBody>
      </p:sp>
      <p:cxnSp>
        <p:nvCxnSpPr>
          <p:cNvPr id="8" name="Straight Connector 7">
            <a:extLst>
              <a:ext uri="{FF2B5EF4-FFF2-40B4-BE49-F238E27FC236}">
                <a16:creationId xmlns:a16="http://schemas.microsoft.com/office/drawing/2014/main" id="{F72FE6E3-A06C-45E8-B6D7-98992BE91393}"/>
              </a:ext>
            </a:extLst>
          </p:cNvPr>
          <p:cNvCxnSpPr>
            <a:cxnSpLocks/>
          </p:cNvCxnSpPr>
          <p:nvPr userDrawn="1"/>
        </p:nvCxnSpPr>
        <p:spPr>
          <a:xfrm>
            <a:off x="164290" y="6415343"/>
            <a:ext cx="1174236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CD64E7F1-99DF-44BC-AB1D-46A6A8CDB9C2}"/>
              </a:ext>
            </a:extLst>
          </p:cNvPr>
          <p:cNvSpPr>
            <a:spLocks noGrp="1"/>
          </p:cNvSpPr>
          <p:nvPr>
            <p:ph type="ctrTitle" hasCustomPrompt="1"/>
          </p:nvPr>
        </p:nvSpPr>
        <p:spPr>
          <a:xfrm>
            <a:off x="355600" y="2062805"/>
            <a:ext cx="10363200" cy="14700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6038" rIns="45720" bIns="46038" numCol="1" anchor="b" anchorCtr="0" compatLnSpc="1">
            <a:prstTxWarp prst="textNoShape">
              <a:avLst/>
            </a:prstTxWarp>
          </a:bodyPr>
          <a:lstStyle>
            <a:lvl1pPr algn="l">
              <a:defRPr lang="en-US" sz="3733" b="0" dirty="0">
                <a:solidFill>
                  <a:schemeClr val="tx2"/>
                </a:solidFill>
              </a:defRPr>
            </a:lvl1pPr>
          </a:lstStyle>
          <a:p>
            <a:pPr lvl="0"/>
            <a:r>
              <a:rPr lang="en-US"/>
              <a:t>Click to add title</a:t>
            </a:r>
          </a:p>
        </p:txBody>
      </p:sp>
      <p:sp>
        <p:nvSpPr>
          <p:cNvPr id="10" name="Subtitle 2">
            <a:extLst>
              <a:ext uri="{FF2B5EF4-FFF2-40B4-BE49-F238E27FC236}">
                <a16:creationId xmlns:a16="http://schemas.microsoft.com/office/drawing/2014/main" id="{D8BF6F45-2C4D-4D26-B263-FD2054C3548D}"/>
              </a:ext>
            </a:extLst>
          </p:cNvPr>
          <p:cNvSpPr>
            <a:spLocks noGrp="1"/>
          </p:cNvSpPr>
          <p:nvPr>
            <p:ph type="subTitle" idx="1" hasCustomPrompt="1"/>
          </p:nvPr>
        </p:nvSpPr>
        <p:spPr>
          <a:xfrm>
            <a:off x="355600" y="3601149"/>
            <a:ext cx="10363200" cy="419616"/>
          </a:xfrm>
        </p:spPr>
        <p:txBody>
          <a:bodyPr>
            <a:noAutofit/>
          </a:bodyPr>
          <a:lstStyle>
            <a:lvl1pPr marL="0" indent="0" algn="l">
              <a:spcBef>
                <a:spcPts val="0"/>
              </a:spcBef>
              <a:spcAft>
                <a:spcPts val="0"/>
              </a:spcAft>
              <a:buNone/>
              <a:defRPr sz="2133" b="0">
                <a:solidFill>
                  <a:schemeClr val="accent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add authors</a:t>
            </a:r>
          </a:p>
        </p:txBody>
      </p:sp>
    </p:spTree>
    <p:custDataLst>
      <p:tags r:id="rId1"/>
    </p:custDataLst>
    <p:extLst>
      <p:ext uri="{BB962C8B-B14F-4D97-AF65-F5344CB8AC3E}">
        <p14:creationId xmlns:p14="http://schemas.microsoft.com/office/powerpoint/2010/main" val="4205522113"/>
      </p:ext>
    </p:extLst>
  </p:cSld>
  <p:clrMapOvr>
    <a:masterClrMapping/>
  </p:clrMapOvr>
  <p:extLst>
    <p:ext uri="{DCECCB84-F9BA-43D5-87BE-67443E8EF086}">
      <p15:sldGuideLst xmlns:p15="http://schemas.microsoft.com/office/powerpoint/2012/main">
        <p15:guide id="1" orient="horz" pos="673">
          <p15:clr>
            <a:srgbClr val="FBAE40"/>
          </p15:clr>
        </p15:guide>
        <p15:guide id="2" pos="611">
          <p15:clr>
            <a:srgbClr val="FBAE40"/>
          </p15:clr>
        </p15:guide>
        <p15:guide id="3" pos="1075">
          <p15:clr>
            <a:srgbClr val="FBAE40"/>
          </p15:clr>
        </p15:guide>
        <p15:guide id="4" orient="horz" pos="433">
          <p15:clr>
            <a:srgbClr val="FBAE4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preserve="1" userDrawn="1">
  <p:cSld name="Title Slide Oral or Post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55600" y="1889869"/>
            <a:ext cx="10363200" cy="14700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6038" rIns="45720" bIns="46038" numCol="1" anchor="b" anchorCtr="0" compatLnSpc="1">
            <a:prstTxWarp prst="textNoShape">
              <a:avLst/>
            </a:prstTxWarp>
          </a:bodyPr>
          <a:lstStyle>
            <a:lvl1pPr algn="l">
              <a:defRPr lang="en-US" sz="3733" b="0" dirty="0">
                <a:solidFill>
                  <a:schemeClr val="tx2"/>
                </a:solidFill>
              </a:defRPr>
            </a:lvl1pPr>
          </a:lstStyle>
          <a:p>
            <a:pPr lvl="0"/>
            <a:r>
              <a:rPr lang="en-US"/>
              <a:t>Click to add title</a:t>
            </a:r>
          </a:p>
        </p:txBody>
      </p:sp>
      <p:sp>
        <p:nvSpPr>
          <p:cNvPr id="3" name="Subtitle 2"/>
          <p:cNvSpPr>
            <a:spLocks noGrp="1"/>
          </p:cNvSpPr>
          <p:nvPr>
            <p:ph type="subTitle" idx="1" hasCustomPrompt="1"/>
          </p:nvPr>
        </p:nvSpPr>
        <p:spPr>
          <a:xfrm>
            <a:off x="355600" y="3428213"/>
            <a:ext cx="10363200" cy="419616"/>
          </a:xfrm>
        </p:spPr>
        <p:txBody>
          <a:bodyPr>
            <a:noAutofit/>
          </a:bodyPr>
          <a:lstStyle>
            <a:lvl1pPr marL="0" indent="0" algn="l">
              <a:spcBef>
                <a:spcPts val="0"/>
              </a:spcBef>
              <a:spcAft>
                <a:spcPts val="0"/>
              </a:spcAft>
              <a:buNone/>
              <a:defRPr sz="2133" b="0">
                <a:solidFill>
                  <a:schemeClr val="accent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add authors</a:t>
            </a:r>
          </a:p>
        </p:txBody>
      </p:sp>
      <p:cxnSp>
        <p:nvCxnSpPr>
          <p:cNvPr id="9" name="Straight Connector 8">
            <a:extLst>
              <a:ext uri="{FF2B5EF4-FFF2-40B4-BE49-F238E27FC236}">
                <a16:creationId xmlns:a16="http://schemas.microsoft.com/office/drawing/2014/main" id="{E9ED57D8-0216-4E00-A170-28372EC4083A}"/>
              </a:ext>
            </a:extLst>
          </p:cNvPr>
          <p:cNvCxnSpPr>
            <a:cxnSpLocks/>
          </p:cNvCxnSpPr>
          <p:nvPr userDrawn="1"/>
        </p:nvCxnSpPr>
        <p:spPr>
          <a:xfrm>
            <a:off x="164290" y="6415343"/>
            <a:ext cx="1174236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70C96920-974E-4924-9A66-A625F1502062}"/>
              </a:ext>
            </a:extLst>
          </p:cNvPr>
          <p:cNvSpPr>
            <a:spLocks noGrp="1"/>
          </p:cNvSpPr>
          <p:nvPr>
            <p:ph type="body" sz="quarter" idx="12" hasCustomPrompt="1"/>
          </p:nvPr>
        </p:nvSpPr>
        <p:spPr>
          <a:xfrm>
            <a:off x="355600" y="3916151"/>
            <a:ext cx="10363200" cy="353043"/>
          </a:xfrm>
        </p:spPr>
        <p:txBody>
          <a:bodyPr/>
          <a:lstStyle>
            <a:lvl1pPr>
              <a:defRPr sz="1867"/>
            </a:lvl1pPr>
          </a:lstStyle>
          <a:p>
            <a:pPr lvl="0"/>
            <a:r>
              <a:rPr lang="en-US"/>
              <a:t>Click to add affiliations</a:t>
            </a:r>
            <a:endParaRPr lang="en-GB"/>
          </a:p>
        </p:txBody>
      </p:sp>
    </p:spTree>
    <p:custDataLst>
      <p:tags r:id="rId1"/>
    </p:custDataLst>
    <p:extLst>
      <p:ext uri="{BB962C8B-B14F-4D97-AF65-F5344CB8AC3E}">
        <p14:creationId xmlns:p14="http://schemas.microsoft.com/office/powerpoint/2010/main" val="2348990810"/>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0DED229-FF74-4A62-88C2-BBB1F4AD1004}"/>
              </a:ext>
            </a:extLst>
          </p:cNvPr>
          <p:cNvSpPr>
            <a:spLocks noGrp="1"/>
          </p:cNvSpPr>
          <p:nvPr>
            <p:ph type="body" sz="quarter" idx="12" hasCustomPrompt="1"/>
          </p:nvPr>
        </p:nvSpPr>
        <p:spPr>
          <a:xfrm>
            <a:off x="9665818" y="0"/>
            <a:ext cx="2526183" cy="249283"/>
          </a:xfrm>
        </p:spPr>
        <p:txBody>
          <a:bodyPr/>
          <a:lstStyle>
            <a:lvl1pPr algn="r">
              <a:defRPr sz="1067">
                <a:solidFill>
                  <a:schemeClr val="tx2"/>
                </a:solidFill>
              </a:defRPr>
            </a:lvl1pPr>
          </a:lstStyle>
          <a:p>
            <a:pPr lvl="0"/>
            <a:r>
              <a:rPr lang="en-US"/>
              <a:t>Study name</a:t>
            </a:r>
          </a:p>
        </p:txBody>
      </p:sp>
      <p:sp>
        <p:nvSpPr>
          <p:cNvPr id="2" name="Title 1"/>
          <p:cNvSpPr>
            <a:spLocks noGrp="1"/>
          </p:cNvSpPr>
          <p:nvPr>
            <p:ph type="title"/>
          </p:nvPr>
        </p:nvSpPr>
        <p:spPr/>
        <p:txBody>
          <a:bodyPr/>
          <a:lstStyle>
            <a:lvl1pPr>
              <a:defRPr sz="3200"/>
            </a:lvl1pPr>
          </a:lstStyle>
          <a:p>
            <a:r>
              <a:rPr lang="en-US"/>
              <a:t>Click to edit Master title style</a:t>
            </a:r>
          </a:p>
        </p:txBody>
      </p:sp>
      <p:sp>
        <p:nvSpPr>
          <p:cNvPr id="3" name="Content Placeholder 2"/>
          <p:cNvSpPr>
            <a:spLocks noGrp="1"/>
          </p:cNvSpPr>
          <p:nvPr>
            <p:ph idx="1"/>
          </p:nvPr>
        </p:nvSpPr>
        <p:spPr>
          <a:xfrm>
            <a:off x="378462" y="1397000"/>
            <a:ext cx="11435077" cy="4622800"/>
          </a:xfrm>
        </p:spPr>
        <p:txBody>
          <a:bodyPr/>
          <a:lstStyle>
            <a:lvl1pPr marL="0" indent="0">
              <a:buNone/>
              <a:defRPr b="0">
                <a:solidFill>
                  <a:schemeClr val="tx2"/>
                </a:solidFill>
              </a:defRPr>
            </a:lvl1pPr>
            <a:lvl2pPr marL="256026" indent="-256026">
              <a:buFont typeface="Arial" panose="020B0604020202020204" pitchFamily="34" charset="0"/>
              <a:buChar char="•"/>
              <a:defRPr sz="1800"/>
            </a:lvl2pPr>
            <a:lvl3pPr marL="755885" indent="-341367">
              <a:buFont typeface="Arial" panose="020B0604020202020204" pitchFamily="34" charset="0"/>
              <a:buChar char="–"/>
              <a:defRPr sz="1600"/>
            </a:lvl3pPr>
            <a:lvl4pPr marL="1182594" indent="-268217">
              <a:buFont typeface="Arial" panose="020B0604020202020204" pitchFamily="34" charset="0"/>
              <a:buChar char="•"/>
              <a:defRPr sz="1400"/>
            </a:lvl4pPr>
            <a:lvl5pPr marL="1609304" indent="-304792">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p:cNvSpPr>
            <a:spLocks noGrp="1"/>
          </p:cNvSpPr>
          <p:nvPr>
            <p:ph type="sldNum" sz="quarter" idx="4"/>
          </p:nvPr>
        </p:nvSpPr>
        <p:spPr>
          <a:xfrm>
            <a:off x="11149246" y="6332095"/>
            <a:ext cx="662940" cy="365125"/>
          </a:xfrm>
          <a:prstGeom prst="rect">
            <a:avLst/>
          </a:prstGeom>
        </p:spPr>
        <p:txBody>
          <a:bodyPr vert="horz" lIns="0" tIns="0" rIns="0" bIns="0" rtlCol="0" anchor="b" anchorCtr="0"/>
          <a:lstStyle>
            <a:lvl1pPr algn="r">
              <a:defRPr lang="en-US" sz="1200" smtClean="0"/>
            </a:lvl1pPr>
          </a:lstStyle>
          <a:p>
            <a:fld id="{AF1AFCDA-ABCC-4704-AB71-48FDE4F2FA4C}" type="slidenum">
              <a:rPr lang="en-GB" smtClean="0"/>
              <a:pPr/>
              <a:t>‹#›</a:t>
            </a:fld>
            <a:endParaRPr lang="en-GB" dirty="0"/>
          </a:p>
        </p:txBody>
      </p:sp>
      <p:sp>
        <p:nvSpPr>
          <p:cNvPr id="4" name="Footer Placeholder 3">
            <a:extLst>
              <a:ext uri="{FF2B5EF4-FFF2-40B4-BE49-F238E27FC236}">
                <a16:creationId xmlns:a16="http://schemas.microsoft.com/office/drawing/2014/main" id="{06604FB1-BAAF-42A4-8F0F-109AB7DA65F9}"/>
              </a:ext>
            </a:extLst>
          </p:cNvPr>
          <p:cNvSpPr>
            <a:spLocks noGrp="1"/>
          </p:cNvSpPr>
          <p:nvPr>
            <p:ph type="ftr" sz="quarter" idx="13"/>
          </p:nvPr>
        </p:nvSpPr>
        <p:spPr/>
        <p:txBody>
          <a:bodyPr/>
          <a:lstStyle/>
          <a:p>
            <a:endParaRPr lang="en-US" dirty="0"/>
          </a:p>
        </p:txBody>
      </p:sp>
    </p:spTree>
    <p:custDataLst>
      <p:tags r:id="rId1"/>
    </p:custDataLst>
    <p:extLst>
      <p:ext uri="{BB962C8B-B14F-4D97-AF65-F5344CB8AC3E}">
        <p14:creationId xmlns:p14="http://schemas.microsoft.com/office/powerpoint/2010/main" val="2006975846"/>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7206996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7" name="Text Placeholder 4">
            <a:extLst>
              <a:ext uri="{FF2B5EF4-FFF2-40B4-BE49-F238E27FC236}">
                <a16:creationId xmlns:a16="http://schemas.microsoft.com/office/drawing/2014/main" id="{3E8465C9-2B18-4CC9-AD75-2C78F880FA8E}"/>
              </a:ext>
            </a:extLst>
          </p:cNvPr>
          <p:cNvSpPr>
            <a:spLocks noGrp="1"/>
          </p:cNvSpPr>
          <p:nvPr>
            <p:ph type="body" sz="quarter" idx="12" hasCustomPrompt="1"/>
          </p:nvPr>
        </p:nvSpPr>
        <p:spPr>
          <a:xfrm>
            <a:off x="9665818" y="0"/>
            <a:ext cx="2526183" cy="249283"/>
          </a:xfrm>
        </p:spPr>
        <p:txBody>
          <a:bodyPr/>
          <a:lstStyle>
            <a:lvl1pPr algn="r">
              <a:defRPr sz="1067">
                <a:solidFill>
                  <a:schemeClr val="tx2"/>
                </a:solidFill>
              </a:defRPr>
            </a:lvl1pPr>
          </a:lstStyle>
          <a:p>
            <a:pPr lvl="0"/>
            <a:r>
              <a:rPr lang="en-US"/>
              <a:t>Study name</a:t>
            </a:r>
          </a:p>
        </p:txBody>
      </p:sp>
      <p:sp>
        <p:nvSpPr>
          <p:cNvPr id="2" name="Title 1"/>
          <p:cNvSpPr>
            <a:spLocks noGrp="1"/>
          </p:cNvSpPr>
          <p:nvPr>
            <p:ph type="title"/>
          </p:nvPr>
        </p:nvSpPr>
        <p:spPr/>
        <p:txBody>
          <a:bodyPr/>
          <a:lstStyle>
            <a:lvl1pPr>
              <a:defRPr sz="3200"/>
            </a:lvl1pPr>
          </a:lstStyle>
          <a:p>
            <a:r>
              <a:rPr lang="en-US"/>
              <a:t>Click to edit Master title style</a:t>
            </a:r>
          </a:p>
        </p:txBody>
      </p:sp>
      <p:sp>
        <p:nvSpPr>
          <p:cNvPr id="8" name="Slide Number Placeholder 5"/>
          <p:cNvSpPr>
            <a:spLocks noGrp="1"/>
          </p:cNvSpPr>
          <p:nvPr>
            <p:ph type="sldNum" sz="quarter" idx="4"/>
          </p:nvPr>
        </p:nvSpPr>
        <p:spPr>
          <a:xfrm>
            <a:off x="11149247" y="6332095"/>
            <a:ext cx="662940" cy="365125"/>
          </a:xfrm>
          <a:prstGeom prst="rect">
            <a:avLst/>
          </a:prstGeom>
        </p:spPr>
        <p:txBody>
          <a:bodyPr vert="horz" lIns="0" tIns="0" rIns="0" bIns="0" rtlCol="0" anchor="b" anchorCtr="0"/>
          <a:lstStyle>
            <a:lvl1pPr algn="r">
              <a:defRPr lang="en-US" sz="1200" smtClean="0"/>
            </a:lvl1pPr>
          </a:lstStyle>
          <a:p>
            <a:fld id="{AF1AFCDA-ABCC-4704-AB71-48FDE4F2FA4C}" type="slidenum">
              <a:rPr lang="en-GB" smtClean="0"/>
              <a:pPr/>
              <a:t>‹#›</a:t>
            </a:fld>
            <a:endParaRPr lang="en-GB" dirty="0"/>
          </a:p>
        </p:txBody>
      </p:sp>
      <p:sp>
        <p:nvSpPr>
          <p:cNvPr id="6" name="Content Placeholder 5"/>
          <p:cNvSpPr>
            <a:spLocks noGrp="1"/>
          </p:cNvSpPr>
          <p:nvPr>
            <p:ph sz="quarter" idx="10"/>
          </p:nvPr>
        </p:nvSpPr>
        <p:spPr>
          <a:xfrm>
            <a:off x="378461" y="1396999"/>
            <a:ext cx="5552016" cy="472863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p:cNvSpPr>
            <a:spLocks noGrp="1"/>
          </p:cNvSpPr>
          <p:nvPr>
            <p:ph sz="quarter" idx="11"/>
          </p:nvPr>
        </p:nvSpPr>
        <p:spPr>
          <a:xfrm>
            <a:off x="6266179" y="1397001"/>
            <a:ext cx="5547360" cy="47286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875F867A-F92D-47D8-87B4-6EA882EE7AA4}"/>
              </a:ext>
            </a:extLst>
          </p:cNvPr>
          <p:cNvSpPr>
            <a:spLocks noGrp="1"/>
          </p:cNvSpPr>
          <p:nvPr>
            <p:ph type="ftr" sz="quarter" idx="13"/>
          </p:nvPr>
        </p:nvSpPr>
        <p:spPr/>
        <p:txBody>
          <a:bodyPr/>
          <a:lstStyle/>
          <a:p>
            <a:endParaRPr lang="en-US" dirty="0"/>
          </a:p>
        </p:txBody>
      </p:sp>
    </p:spTree>
    <p:custDataLst>
      <p:tags r:id="rId1"/>
    </p:custDataLst>
    <p:extLst>
      <p:ext uri="{BB962C8B-B14F-4D97-AF65-F5344CB8AC3E}">
        <p14:creationId xmlns:p14="http://schemas.microsoft.com/office/powerpoint/2010/main" val="2348108651"/>
      </p:ext>
    </p:extLst>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29725604-E347-496D-96EC-C1B5EDC5FDAE}"/>
              </a:ext>
            </a:extLst>
          </p:cNvPr>
          <p:cNvSpPr>
            <a:spLocks noGrp="1"/>
          </p:cNvSpPr>
          <p:nvPr>
            <p:ph type="body" sz="quarter" idx="13" hasCustomPrompt="1"/>
          </p:nvPr>
        </p:nvSpPr>
        <p:spPr>
          <a:xfrm>
            <a:off x="9665818" y="0"/>
            <a:ext cx="2526183" cy="249283"/>
          </a:xfrm>
        </p:spPr>
        <p:txBody>
          <a:bodyPr/>
          <a:lstStyle>
            <a:lvl1pPr algn="r">
              <a:defRPr sz="1067">
                <a:solidFill>
                  <a:schemeClr val="tx2"/>
                </a:solidFill>
              </a:defRPr>
            </a:lvl1pPr>
          </a:lstStyle>
          <a:p>
            <a:pPr lvl="0"/>
            <a:r>
              <a:rPr lang="en-US"/>
              <a:t>Study name</a:t>
            </a:r>
          </a:p>
        </p:txBody>
      </p:sp>
      <p:sp>
        <p:nvSpPr>
          <p:cNvPr id="2" name="Title 1"/>
          <p:cNvSpPr>
            <a:spLocks noGrp="1"/>
          </p:cNvSpPr>
          <p:nvPr>
            <p:ph type="title"/>
          </p:nvPr>
        </p:nvSpPr>
        <p:spPr/>
        <p:txBody>
          <a:bodyPr/>
          <a:lstStyle>
            <a:lvl1pPr>
              <a:defRPr sz="3200"/>
            </a:lvl1pPr>
          </a:lstStyle>
          <a:p>
            <a:r>
              <a:rPr lang="en-US"/>
              <a:t>Click to edit Master title style</a:t>
            </a:r>
          </a:p>
        </p:txBody>
      </p:sp>
      <p:sp>
        <p:nvSpPr>
          <p:cNvPr id="3" name="Text Placeholder 2"/>
          <p:cNvSpPr>
            <a:spLocks noGrp="1"/>
          </p:cNvSpPr>
          <p:nvPr>
            <p:ph type="body" idx="1"/>
          </p:nvPr>
        </p:nvSpPr>
        <p:spPr>
          <a:xfrm>
            <a:off x="379200" y="1397000"/>
            <a:ext cx="5553600" cy="561109"/>
          </a:xfrm>
        </p:spPr>
        <p:txBody>
          <a:bodyPr anchor="t"/>
          <a:lstStyle>
            <a:lvl1pPr marL="0" indent="0">
              <a:buNone/>
              <a:defRPr sz="2400" b="1">
                <a:solidFill>
                  <a:schemeClr val="tx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5" name="Text Placeholder 4"/>
          <p:cNvSpPr>
            <a:spLocks noGrp="1"/>
          </p:cNvSpPr>
          <p:nvPr>
            <p:ph type="body" sz="quarter" idx="3"/>
          </p:nvPr>
        </p:nvSpPr>
        <p:spPr>
          <a:xfrm>
            <a:off x="6268800" y="1397000"/>
            <a:ext cx="5553600" cy="561109"/>
          </a:xfrm>
        </p:spPr>
        <p:txBody>
          <a:bodyPr anchor="t"/>
          <a:lstStyle>
            <a:lvl1pPr marL="0" indent="0">
              <a:buNone/>
              <a:defRPr sz="2400" b="1">
                <a:solidFill>
                  <a:schemeClr val="tx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10" name="Slide Number Placeholder 5"/>
          <p:cNvSpPr>
            <a:spLocks noGrp="1"/>
          </p:cNvSpPr>
          <p:nvPr>
            <p:ph type="sldNum" sz="quarter" idx="10"/>
          </p:nvPr>
        </p:nvSpPr>
        <p:spPr>
          <a:xfrm>
            <a:off x="11149247" y="6332095"/>
            <a:ext cx="662940" cy="365125"/>
          </a:xfrm>
          <a:prstGeom prst="rect">
            <a:avLst/>
          </a:prstGeom>
        </p:spPr>
        <p:txBody>
          <a:bodyPr vert="horz" lIns="0" tIns="0" rIns="0" bIns="0" rtlCol="0" anchor="b" anchorCtr="0"/>
          <a:lstStyle>
            <a:lvl1pPr algn="r">
              <a:defRPr lang="en-US" sz="1200" smtClean="0"/>
            </a:lvl1pPr>
          </a:lstStyle>
          <a:p>
            <a:fld id="{AF1AFCDA-ABCC-4704-AB71-48FDE4F2FA4C}" type="slidenum">
              <a:rPr lang="en-GB" smtClean="0"/>
              <a:pPr/>
              <a:t>‹#›</a:t>
            </a:fld>
            <a:endParaRPr lang="en-GB" dirty="0"/>
          </a:p>
        </p:txBody>
      </p:sp>
      <p:sp>
        <p:nvSpPr>
          <p:cNvPr id="9" name="Content Placeholder 8"/>
          <p:cNvSpPr>
            <a:spLocks noGrp="1"/>
          </p:cNvSpPr>
          <p:nvPr>
            <p:ph sz="quarter" idx="11"/>
          </p:nvPr>
        </p:nvSpPr>
        <p:spPr>
          <a:xfrm>
            <a:off x="379200" y="2022765"/>
            <a:ext cx="5553600" cy="4042833"/>
          </a:xfrm>
        </p:spPr>
        <p:txBody>
          <a:bodyPr/>
          <a:lstStyle>
            <a:lvl1pPr>
              <a:defRPr sz="2133"/>
            </a:lvl1pPr>
            <a:lvl2pPr>
              <a:defRPr sz="1867"/>
            </a:lvl2pPr>
            <a:lvl3pPr marL="609585" indent="-194728">
              <a:defRPr sz="1600"/>
            </a:lvl3pPr>
            <a:lvl4pPr marL="1071007" indent="-156629">
              <a:defRPr sz="1467"/>
            </a:lvl4pPr>
            <a:lvl5pPr marL="1523962" indent="-220128">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p:cNvSpPr>
            <a:spLocks noGrp="1"/>
          </p:cNvSpPr>
          <p:nvPr>
            <p:ph sz="quarter" idx="12"/>
          </p:nvPr>
        </p:nvSpPr>
        <p:spPr>
          <a:xfrm>
            <a:off x="6268800" y="2022765"/>
            <a:ext cx="5553600" cy="4042833"/>
          </a:xfrm>
        </p:spPr>
        <p:txBody>
          <a:bodyPr/>
          <a:lstStyle>
            <a:lvl1pPr>
              <a:defRPr sz="2133"/>
            </a:lvl1pPr>
            <a:lvl2pPr>
              <a:defRPr sz="1867"/>
            </a:lvl2pPr>
            <a:lvl3pPr marL="609585" indent="-194728">
              <a:defRPr sz="1600"/>
            </a:lvl3pPr>
            <a:lvl4pPr marL="1071007" indent="-156629">
              <a:defRPr sz="1467"/>
            </a:lvl4pPr>
            <a:lvl5pPr marL="1523962" indent="-220128">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894658AF-DF89-4F97-A843-90FCEEA4CA98}"/>
              </a:ext>
            </a:extLst>
          </p:cNvPr>
          <p:cNvSpPr>
            <a:spLocks noGrp="1"/>
          </p:cNvSpPr>
          <p:nvPr>
            <p:ph type="ftr" sz="quarter" idx="14"/>
          </p:nvPr>
        </p:nvSpPr>
        <p:spPr/>
        <p:txBody>
          <a:bodyPr/>
          <a:lstStyle/>
          <a:p>
            <a:endParaRPr lang="en-US" dirty="0"/>
          </a:p>
        </p:txBody>
      </p:sp>
    </p:spTree>
    <p:custDataLst>
      <p:tags r:id="rId1"/>
    </p:custDataLst>
    <p:extLst>
      <p:ext uri="{BB962C8B-B14F-4D97-AF65-F5344CB8AC3E}">
        <p14:creationId xmlns:p14="http://schemas.microsoft.com/office/powerpoint/2010/main" val="3911373872"/>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ext Placeholder 4">
            <a:extLst>
              <a:ext uri="{FF2B5EF4-FFF2-40B4-BE49-F238E27FC236}">
                <a16:creationId xmlns:a16="http://schemas.microsoft.com/office/drawing/2014/main" id="{20169CC9-E48A-4A98-8478-7E438438D46A}"/>
              </a:ext>
            </a:extLst>
          </p:cNvPr>
          <p:cNvSpPr>
            <a:spLocks noGrp="1"/>
          </p:cNvSpPr>
          <p:nvPr>
            <p:ph type="body" sz="quarter" idx="12" hasCustomPrompt="1"/>
          </p:nvPr>
        </p:nvSpPr>
        <p:spPr>
          <a:xfrm>
            <a:off x="9665818" y="0"/>
            <a:ext cx="2526183" cy="249283"/>
          </a:xfrm>
        </p:spPr>
        <p:txBody>
          <a:bodyPr/>
          <a:lstStyle>
            <a:lvl1pPr algn="r">
              <a:defRPr sz="1067">
                <a:solidFill>
                  <a:schemeClr val="tx2"/>
                </a:solidFill>
              </a:defRPr>
            </a:lvl1pPr>
          </a:lstStyle>
          <a:p>
            <a:pPr lvl="0"/>
            <a:r>
              <a:rPr lang="en-US"/>
              <a:t>Study name</a:t>
            </a:r>
          </a:p>
        </p:txBody>
      </p:sp>
      <p:sp>
        <p:nvSpPr>
          <p:cNvPr id="2" name="Title 1"/>
          <p:cNvSpPr>
            <a:spLocks noGrp="1"/>
          </p:cNvSpPr>
          <p:nvPr>
            <p:ph type="title"/>
          </p:nvPr>
        </p:nvSpPr>
        <p:spPr/>
        <p:txBody>
          <a:bodyPr/>
          <a:lstStyle>
            <a:lvl1pPr>
              <a:defRPr sz="3200"/>
            </a:lvl1pPr>
          </a:lstStyle>
          <a:p>
            <a:r>
              <a:rPr lang="en-US"/>
              <a:t>Click to edit Master title style</a:t>
            </a:r>
          </a:p>
        </p:txBody>
      </p:sp>
      <p:sp>
        <p:nvSpPr>
          <p:cNvPr id="6" name="Slide Number Placeholder 5"/>
          <p:cNvSpPr>
            <a:spLocks noGrp="1"/>
          </p:cNvSpPr>
          <p:nvPr>
            <p:ph type="sldNum" sz="quarter" idx="4"/>
          </p:nvPr>
        </p:nvSpPr>
        <p:spPr>
          <a:xfrm>
            <a:off x="11149247" y="6332095"/>
            <a:ext cx="662940" cy="365125"/>
          </a:xfrm>
          <a:prstGeom prst="rect">
            <a:avLst/>
          </a:prstGeom>
        </p:spPr>
        <p:txBody>
          <a:bodyPr vert="horz" lIns="0" tIns="0" rIns="0" bIns="0" rtlCol="0" anchor="b" anchorCtr="0"/>
          <a:lstStyle>
            <a:lvl1pPr algn="r">
              <a:defRPr lang="en-US" sz="1200" smtClean="0"/>
            </a:lvl1pPr>
          </a:lstStyle>
          <a:p>
            <a:fld id="{AF1AFCDA-ABCC-4704-AB71-48FDE4F2FA4C}" type="slidenum">
              <a:rPr lang="en-GB" smtClean="0"/>
              <a:pPr/>
              <a:t>‹#›</a:t>
            </a:fld>
            <a:endParaRPr lang="en-GB" dirty="0"/>
          </a:p>
        </p:txBody>
      </p:sp>
    </p:spTree>
    <p:custDataLst>
      <p:tags r:id="rId1"/>
    </p:custDataLst>
    <p:extLst>
      <p:ext uri="{BB962C8B-B14F-4D97-AF65-F5344CB8AC3E}">
        <p14:creationId xmlns:p14="http://schemas.microsoft.com/office/powerpoint/2010/main" val="310346854"/>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D7339D56-A983-4B5A-B7BB-65D8E60E263A}"/>
              </a:ext>
            </a:extLst>
          </p:cNvPr>
          <p:cNvSpPr>
            <a:spLocks noGrp="1"/>
          </p:cNvSpPr>
          <p:nvPr>
            <p:ph type="body" sz="quarter" idx="12" hasCustomPrompt="1"/>
          </p:nvPr>
        </p:nvSpPr>
        <p:spPr>
          <a:xfrm>
            <a:off x="9665818" y="0"/>
            <a:ext cx="2526183" cy="249283"/>
          </a:xfrm>
        </p:spPr>
        <p:txBody>
          <a:bodyPr/>
          <a:lstStyle>
            <a:lvl1pPr algn="r">
              <a:defRPr sz="1067">
                <a:solidFill>
                  <a:schemeClr val="tx2"/>
                </a:solidFill>
              </a:defRPr>
            </a:lvl1pPr>
          </a:lstStyle>
          <a:p>
            <a:pPr lvl="0"/>
            <a:r>
              <a:rPr lang="en-US"/>
              <a:t>Study name</a:t>
            </a:r>
          </a:p>
        </p:txBody>
      </p:sp>
      <p:sp>
        <p:nvSpPr>
          <p:cNvPr id="5" name="Slide Number Placeholder 5"/>
          <p:cNvSpPr>
            <a:spLocks noGrp="1"/>
          </p:cNvSpPr>
          <p:nvPr>
            <p:ph type="sldNum" sz="quarter" idx="4"/>
          </p:nvPr>
        </p:nvSpPr>
        <p:spPr>
          <a:xfrm>
            <a:off x="11149247" y="6332095"/>
            <a:ext cx="662940" cy="365125"/>
          </a:xfrm>
          <a:prstGeom prst="rect">
            <a:avLst/>
          </a:prstGeom>
        </p:spPr>
        <p:txBody>
          <a:bodyPr vert="horz" lIns="0" tIns="0" rIns="0" bIns="0" rtlCol="0" anchor="b" anchorCtr="0"/>
          <a:lstStyle>
            <a:lvl1pPr algn="r">
              <a:defRPr lang="en-US" sz="1200" smtClean="0"/>
            </a:lvl1pPr>
          </a:lstStyle>
          <a:p>
            <a:fld id="{AF1AFCDA-ABCC-4704-AB71-48FDE4F2FA4C}" type="slidenum">
              <a:rPr lang="en-GB" smtClean="0"/>
              <a:pPr/>
              <a:t>‹#›</a:t>
            </a:fld>
            <a:endParaRPr lang="en-GB" dirty="0"/>
          </a:p>
        </p:txBody>
      </p:sp>
    </p:spTree>
    <p:custDataLst>
      <p:tags r:id="rId1"/>
    </p:custDataLst>
    <p:extLst>
      <p:ext uri="{BB962C8B-B14F-4D97-AF65-F5344CB8AC3E}">
        <p14:creationId xmlns:p14="http://schemas.microsoft.com/office/powerpoint/2010/main" val="2936196502"/>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layout_1 colum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C570D-3BAE-433E-8DDA-6594E6C21ABD}"/>
              </a:ext>
            </a:extLst>
          </p:cNvPr>
          <p:cNvSpPr>
            <a:spLocks noGrp="1"/>
          </p:cNvSpPr>
          <p:nvPr>
            <p:ph type="title"/>
          </p:nvPr>
        </p:nvSpPr>
        <p:spPr>
          <a:xfrm>
            <a:off x="488951" y="349250"/>
            <a:ext cx="11216216" cy="1022350"/>
          </a:xfrm>
        </p:spPr>
        <p:txBody>
          <a:bodyPr/>
          <a:lstStyle>
            <a:lvl1pPr>
              <a:defRPr>
                <a:solidFill>
                  <a:srgbClr val="007CBA"/>
                </a:solidFill>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C418E43A-2457-42CA-BE83-E9C382D2B993}"/>
              </a:ext>
            </a:extLst>
          </p:cNvPr>
          <p:cNvSpPr>
            <a:spLocks noGrp="1"/>
          </p:cNvSpPr>
          <p:nvPr>
            <p:ph type="dt" sz="half" idx="10"/>
          </p:nvPr>
        </p:nvSpPr>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February 5, 2026</a:t>
            </a:r>
            <a:endParaRPr lang="en-US" dirty="0"/>
          </a:p>
        </p:txBody>
      </p:sp>
      <p:sp>
        <p:nvSpPr>
          <p:cNvPr id="5" name="Slide Number Placeholder 4">
            <a:extLst>
              <a:ext uri="{FF2B5EF4-FFF2-40B4-BE49-F238E27FC236}">
                <a16:creationId xmlns:a16="http://schemas.microsoft.com/office/drawing/2014/main" id="{F0CF157D-7400-499C-96F9-B806E4F48A9A}"/>
              </a:ext>
            </a:extLst>
          </p:cNvPr>
          <p:cNvSpPr>
            <a:spLocks noGrp="1"/>
          </p:cNvSpPr>
          <p:nvPr>
            <p:ph type="sldNum" sz="quarter" idx="12"/>
          </p:nvPr>
        </p:nvSpPr>
        <p:spPr/>
        <p:txBody>
          <a:bodyPr/>
          <a:lstStyle>
            <a:lvl1pPr>
              <a:defRPr>
                <a:solidFill>
                  <a:schemeClr val="bg1"/>
                </a:solidFill>
              </a:defRPr>
            </a:lvl1pPr>
          </a:lstStyle>
          <a:p>
            <a:fld id="{63DCA5C9-2E11-4C67-86EB-AE1DE127DC64}" type="slidenum">
              <a:rPr lang="en-US" smtClean="0"/>
              <a:pPr/>
              <a:t>‹#›</a:t>
            </a:fld>
            <a:endParaRPr lang="en-US" dirty="0"/>
          </a:p>
        </p:txBody>
      </p:sp>
      <p:sp>
        <p:nvSpPr>
          <p:cNvPr id="8" name="Content Placeholder 7">
            <a:extLst>
              <a:ext uri="{FF2B5EF4-FFF2-40B4-BE49-F238E27FC236}">
                <a16:creationId xmlns:a16="http://schemas.microsoft.com/office/drawing/2014/main" id="{89460896-BBD5-4265-B217-9DE153A9B618}"/>
              </a:ext>
            </a:extLst>
          </p:cNvPr>
          <p:cNvSpPr>
            <a:spLocks noGrp="1"/>
          </p:cNvSpPr>
          <p:nvPr>
            <p:ph sz="quarter" idx="14"/>
          </p:nvPr>
        </p:nvSpPr>
        <p:spPr>
          <a:xfrm>
            <a:off x="491067" y="1600200"/>
            <a:ext cx="10351104" cy="453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Footer Placeholder 3">
            <a:extLst>
              <a:ext uri="{FF2B5EF4-FFF2-40B4-BE49-F238E27FC236}">
                <a16:creationId xmlns:a16="http://schemas.microsoft.com/office/drawing/2014/main" id="{868B56D2-9291-8145-B467-CF3AFF5A71C1}"/>
              </a:ext>
            </a:extLst>
          </p:cNvPr>
          <p:cNvSpPr>
            <a:spLocks noGrp="1"/>
          </p:cNvSpPr>
          <p:nvPr>
            <p:ph type="ftr" sz="quarter" idx="11"/>
          </p:nvPr>
        </p:nvSpPr>
        <p:spPr>
          <a:xfrm>
            <a:off x="491068" y="6496842"/>
            <a:ext cx="4815417" cy="208758"/>
          </a:xfrm>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200"/>
            <a:r>
              <a:rPr lang="en-US"/>
              <a:t>CAR T in BCL</a:t>
            </a:r>
            <a:endParaRPr lang="en-US" dirty="0"/>
          </a:p>
        </p:txBody>
      </p:sp>
    </p:spTree>
    <p:extLst>
      <p:ext uri="{BB962C8B-B14F-4D97-AF65-F5344CB8AC3E}">
        <p14:creationId xmlns:p14="http://schemas.microsoft.com/office/powerpoint/2010/main" val="1756039070"/>
      </p:ext>
    </p:extLst>
  </p:cSld>
  <p:clrMapOvr>
    <a:masterClrMapping/>
  </p:clrMapOvr>
  <p:extLst>
    <p:ext uri="{DCECCB84-F9BA-43D5-87BE-67443E8EF086}">
      <p15:sldGuideLst xmlns:p15="http://schemas.microsoft.com/office/powerpoint/2012/main"/>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Cle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F0611FB-30E8-9A78-D235-32980648BCEC}"/>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564B210F-77FA-3B44-A84B-F5738364EAE1}"/>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Tree>
    <p:extLst>
      <p:ext uri="{BB962C8B-B14F-4D97-AF65-F5344CB8AC3E}">
        <p14:creationId xmlns:p14="http://schemas.microsoft.com/office/powerpoint/2010/main" val="2306518658"/>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2_Clea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3F636D-53FD-F64F-EBA8-CDE24A2FC65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3" name="Picture Placeholder 2">
            <a:extLst>
              <a:ext uri="{FF2B5EF4-FFF2-40B4-BE49-F238E27FC236}">
                <a16:creationId xmlns:a16="http://schemas.microsoft.com/office/drawing/2014/main" id="{28C9346B-6B4F-54E3-3764-F7DE2F8411DF}"/>
              </a:ext>
            </a:extLst>
          </p:cNvPr>
          <p:cNvSpPr>
            <a:spLocks noGrp="1"/>
          </p:cNvSpPr>
          <p:nvPr>
            <p:ph type="pic" sz="quarter" idx="10"/>
          </p:nvPr>
        </p:nvSpPr>
        <p:spPr>
          <a:xfrm>
            <a:off x="0" y="1090613"/>
            <a:ext cx="4879975" cy="5767387"/>
          </a:xfrm>
        </p:spPr>
        <p:txBody>
          <a:bodyPr/>
          <a:lstStyle/>
          <a:p>
            <a:endParaRPr lang="en-US"/>
          </a:p>
        </p:txBody>
      </p:sp>
      <p:sp>
        <p:nvSpPr>
          <p:cNvPr id="5" name="Text Placeholder 4">
            <a:extLst>
              <a:ext uri="{FF2B5EF4-FFF2-40B4-BE49-F238E27FC236}">
                <a16:creationId xmlns:a16="http://schemas.microsoft.com/office/drawing/2014/main" id="{0DC047D9-CD32-13BC-98F0-39B8237E5719}"/>
              </a:ext>
            </a:extLst>
          </p:cNvPr>
          <p:cNvSpPr>
            <a:spLocks noGrp="1"/>
          </p:cNvSpPr>
          <p:nvPr>
            <p:ph type="body" sz="quarter" idx="11"/>
          </p:nvPr>
        </p:nvSpPr>
        <p:spPr>
          <a:xfrm>
            <a:off x="5321300" y="1366092"/>
            <a:ext cx="6510338" cy="5244258"/>
          </a:xfrm>
        </p:spPr>
        <p:txBody>
          <a:bodyPr/>
          <a:lstStyle>
            <a:lvl1pPr>
              <a:defRPr sz="2400">
                <a:solidFill>
                  <a:schemeClr val="accent2">
                    <a:lumMod val="75000"/>
                  </a:schemeClr>
                </a:solidFill>
              </a:defRPr>
            </a:lvl1pPr>
            <a:lvl2pPr>
              <a:buClr>
                <a:schemeClr val="accent2">
                  <a:lumMod val="75000"/>
                </a:schemeClr>
              </a:buClr>
              <a:defRPr>
                <a:solidFill>
                  <a:schemeClr val="tx1">
                    <a:lumMod val="75000"/>
                  </a:schemeClr>
                </a:solidFill>
              </a:defRPr>
            </a:lvl2pPr>
            <a:lvl3pPr>
              <a:buClr>
                <a:schemeClr val="accent2">
                  <a:lumMod val="75000"/>
                </a:schemeClr>
              </a:buClr>
              <a:defRPr>
                <a:solidFill>
                  <a:schemeClr val="tx1">
                    <a:lumMod val="75000"/>
                  </a:schemeClr>
                </a:solidFill>
              </a:defRPr>
            </a:lvl3pPr>
            <a:lvl4pPr>
              <a:buClr>
                <a:schemeClr val="accent2">
                  <a:lumMod val="75000"/>
                </a:schemeClr>
              </a:buClr>
              <a:defRPr>
                <a:solidFill>
                  <a:schemeClr val="tx1">
                    <a:lumMod val="75000"/>
                  </a:schemeClr>
                </a:solidFill>
              </a:defRPr>
            </a:lvl4pPr>
            <a:lvl5pPr>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27824927"/>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3_Clea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3F636D-53FD-F64F-EBA8-CDE24A2FC65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3" name="Picture Placeholder 2">
            <a:extLst>
              <a:ext uri="{FF2B5EF4-FFF2-40B4-BE49-F238E27FC236}">
                <a16:creationId xmlns:a16="http://schemas.microsoft.com/office/drawing/2014/main" id="{28C9346B-6B4F-54E3-3764-F7DE2F8411DF}"/>
              </a:ext>
            </a:extLst>
          </p:cNvPr>
          <p:cNvSpPr>
            <a:spLocks noGrp="1"/>
          </p:cNvSpPr>
          <p:nvPr>
            <p:ph type="pic" sz="quarter" idx="10"/>
          </p:nvPr>
        </p:nvSpPr>
        <p:spPr>
          <a:xfrm>
            <a:off x="0" y="1090613"/>
            <a:ext cx="4879975" cy="5767387"/>
          </a:xfrm>
        </p:spPr>
        <p:txBody>
          <a:bodyPr/>
          <a:lstStyle/>
          <a:p>
            <a:endParaRPr lang="en-US"/>
          </a:p>
        </p:txBody>
      </p:sp>
    </p:spTree>
    <p:extLst>
      <p:ext uri="{BB962C8B-B14F-4D97-AF65-F5344CB8AC3E}">
        <p14:creationId xmlns:p14="http://schemas.microsoft.com/office/powerpoint/2010/main" val="1334289136"/>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LBU Cle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F0611FB-30E8-9A78-D235-32980648BCEC}"/>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564B210F-77FA-3B44-A84B-F5738364EAE1}"/>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Tree>
    <p:extLst>
      <p:ext uri="{BB962C8B-B14F-4D97-AF65-F5344CB8AC3E}">
        <p14:creationId xmlns:p14="http://schemas.microsoft.com/office/powerpoint/2010/main" val="2977726836"/>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Clear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F0611FB-30E8-9A78-D235-32980648BCEC}"/>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564B210F-77FA-3B44-A84B-F5738364EAE1}"/>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4" name="Text Placeholder 3">
            <a:extLst>
              <a:ext uri="{FF2B5EF4-FFF2-40B4-BE49-F238E27FC236}">
                <a16:creationId xmlns:a16="http://schemas.microsoft.com/office/drawing/2014/main" id="{DF13644C-DAC6-DB43-5F1F-F6080B16CAD3}"/>
              </a:ext>
            </a:extLst>
          </p:cNvPr>
          <p:cNvSpPr>
            <a:spLocks noGrp="1"/>
          </p:cNvSpPr>
          <p:nvPr>
            <p:ph type="body" sz="quarter" idx="14" hasCustomPrompt="1"/>
          </p:nvPr>
        </p:nvSpPr>
        <p:spPr>
          <a:xfrm>
            <a:off x="0" y="6592824"/>
            <a:ext cx="12191999"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8730483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3600949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LBU Clear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6C019F1-3940-E34D-2FB4-781BD52BB0E4}"/>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8D1FA0F4-DC5A-7F72-BA3C-8FF3D9CE2C8D}"/>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7" name="Text Placeholder 3">
            <a:extLst>
              <a:ext uri="{FF2B5EF4-FFF2-40B4-BE49-F238E27FC236}">
                <a16:creationId xmlns:a16="http://schemas.microsoft.com/office/drawing/2014/main" id="{A7953720-7F64-647E-6534-4BB2BE2BB1AC}"/>
              </a:ext>
            </a:extLst>
          </p:cNvPr>
          <p:cNvSpPr>
            <a:spLocks noGrp="1"/>
          </p:cNvSpPr>
          <p:nvPr>
            <p:ph type="body" sz="quarter" idx="14" hasCustomPrompt="1"/>
          </p:nvPr>
        </p:nvSpPr>
        <p:spPr>
          <a:xfrm>
            <a:off x="0" y="6416189"/>
            <a:ext cx="12191999" cy="262943"/>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3901005020"/>
      </p:ext>
    </p:extLst>
  </p:cSld>
  <p:clrMapOvr>
    <a:masterClrMapping/>
  </p:clrMapOvr>
  <p:extLst>
    <p:ext uri="{DCECCB84-F9BA-43D5-87BE-67443E8EF086}">
      <p15:sldGuideLst xmlns:p15="http://schemas.microsoft.com/office/powerpoint/2012/main"/>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itle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6C019F1-3940-E34D-2FB4-781BD52BB0E4}"/>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4"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nchor="ctr" anchorCtr="0">
            <a:noAutofit/>
          </a:bodyPr>
          <a:lstStyle>
            <a:lvl1pPr algn="ctr">
              <a:lnSpc>
                <a:spcPct val="100000"/>
              </a:lnSpc>
              <a:defRPr sz="2000" b="1" cap="none" baseline="0">
                <a:solidFill>
                  <a:schemeClr val="tx1">
                    <a:lumMod val="75000"/>
                  </a:schemeClr>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2" name="Title 1">
            <a:extLst>
              <a:ext uri="{FF2B5EF4-FFF2-40B4-BE49-F238E27FC236}">
                <a16:creationId xmlns:a16="http://schemas.microsoft.com/office/drawing/2014/main" id="{8D1FA0F4-DC5A-7F72-BA3C-8FF3D9CE2C8D}"/>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5" name="Text Placeholder 3">
            <a:extLst>
              <a:ext uri="{FF2B5EF4-FFF2-40B4-BE49-F238E27FC236}">
                <a16:creationId xmlns:a16="http://schemas.microsoft.com/office/drawing/2014/main" id="{A8A4193C-EDCF-5956-D8CC-B2AA5503F86D}"/>
              </a:ext>
            </a:extLst>
          </p:cNvPr>
          <p:cNvSpPr>
            <a:spLocks noGrp="1"/>
          </p:cNvSpPr>
          <p:nvPr>
            <p:ph type="body" sz="quarter" idx="14" hasCustomPrompt="1"/>
          </p:nvPr>
        </p:nvSpPr>
        <p:spPr>
          <a:xfrm>
            <a:off x="0" y="6592824"/>
            <a:ext cx="12191999"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3734566039"/>
      </p:ext>
    </p:extLst>
  </p:cSld>
  <p:clrMapOvr>
    <a:masterClrMapping/>
  </p:clrMapOvr>
  <p:extLst>
    <p:ext uri="{DCECCB84-F9BA-43D5-87BE-67443E8EF086}">
      <p15:sldGuideLst xmlns:p15="http://schemas.microsoft.com/office/powerpoint/2012/main"/>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LBU Title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6C019F1-3940-E34D-2FB4-781BD52BB0E4}"/>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4"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nchor="ctr" anchorCtr="0">
            <a:noAutofit/>
          </a:bodyPr>
          <a:lstStyle>
            <a:lvl1pPr algn="ctr">
              <a:lnSpc>
                <a:spcPct val="100000"/>
              </a:lnSpc>
              <a:defRPr sz="2000" b="1" cap="none" baseline="0">
                <a:solidFill>
                  <a:schemeClr val="tx1">
                    <a:lumMod val="75000"/>
                  </a:schemeClr>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2" name="Title 1">
            <a:extLst>
              <a:ext uri="{FF2B5EF4-FFF2-40B4-BE49-F238E27FC236}">
                <a16:creationId xmlns:a16="http://schemas.microsoft.com/office/drawing/2014/main" id="{8D1FA0F4-DC5A-7F72-BA3C-8FF3D9CE2C8D}"/>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7" name="Text Placeholder 3">
            <a:extLst>
              <a:ext uri="{FF2B5EF4-FFF2-40B4-BE49-F238E27FC236}">
                <a16:creationId xmlns:a16="http://schemas.microsoft.com/office/drawing/2014/main" id="{E3D1803A-4247-7A5F-30A9-2C4492778495}"/>
              </a:ext>
            </a:extLst>
          </p:cNvPr>
          <p:cNvSpPr>
            <a:spLocks noGrp="1"/>
          </p:cNvSpPr>
          <p:nvPr>
            <p:ph type="body" sz="quarter" idx="14" hasCustomPrompt="1"/>
          </p:nvPr>
        </p:nvSpPr>
        <p:spPr>
          <a:xfrm>
            <a:off x="0" y="6416189"/>
            <a:ext cx="12191999" cy="262943"/>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1111144604"/>
      </p:ext>
    </p:extLst>
  </p:cSld>
  <p:clrMapOvr>
    <a:masterClrMapping/>
  </p:clrMapOvr>
  <p:extLst>
    <p:ext uri="{DCECCB84-F9BA-43D5-87BE-67443E8EF086}">
      <p15:sldGuideLst xmlns:p15="http://schemas.microsoft.com/office/powerpoint/2012/main"/>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Callout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8173907-02F2-6AF5-A9A8-90916E5AD7EC}"/>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4" name="Text Placeholder 3"/>
          <p:cNvSpPr>
            <a:spLocks noGrp="1"/>
          </p:cNvSpPr>
          <p:nvPr>
            <p:ph type="body" sz="quarter" idx="11" hasCustomPrompt="1"/>
          </p:nvPr>
        </p:nvSpPr>
        <p:spPr>
          <a:xfrm>
            <a:off x="0" y="1081907"/>
            <a:ext cx="12191999" cy="453183"/>
          </a:xfrm>
          <a:prstGeom prst="rect">
            <a:avLst/>
          </a:prstGeom>
          <a:solidFill>
            <a:srgbClr val="8D8F99"/>
          </a:solidFill>
        </p:spPr>
        <p:txBody>
          <a:bodyPr wrap="square" lIns="360000" tIns="72000" rIns="360000" bIns="72000" anchor="ctr" anchorCtr="0">
            <a:no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2" name="Title 1">
            <a:extLst>
              <a:ext uri="{FF2B5EF4-FFF2-40B4-BE49-F238E27FC236}">
                <a16:creationId xmlns:a16="http://schemas.microsoft.com/office/drawing/2014/main" id="{71728DCD-3921-FF16-E677-C865DF69AA84}"/>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5" name="Text Placeholder 3">
            <a:extLst>
              <a:ext uri="{FF2B5EF4-FFF2-40B4-BE49-F238E27FC236}">
                <a16:creationId xmlns:a16="http://schemas.microsoft.com/office/drawing/2014/main" id="{059FCAAE-B845-1978-966F-257B835B4F81}"/>
              </a:ext>
            </a:extLst>
          </p:cNvPr>
          <p:cNvSpPr>
            <a:spLocks noGrp="1"/>
          </p:cNvSpPr>
          <p:nvPr>
            <p:ph type="body" sz="quarter" idx="14" hasCustomPrompt="1"/>
          </p:nvPr>
        </p:nvSpPr>
        <p:spPr>
          <a:xfrm>
            <a:off x="0" y="6592824"/>
            <a:ext cx="12191999"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450614487"/>
      </p:ext>
    </p:extLst>
  </p:cSld>
  <p:clrMapOvr>
    <a:masterClrMapping/>
  </p:clrMapOvr>
  <p:extLst>
    <p:ext uri="{DCECCB84-F9BA-43D5-87BE-67443E8EF086}">
      <p15:sldGuideLst xmlns:p15="http://schemas.microsoft.com/office/powerpoint/2012/main"/>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LBU Callout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8173907-02F2-6AF5-A9A8-90916E5AD7EC}"/>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4" name="Text Placeholder 3"/>
          <p:cNvSpPr>
            <a:spLocks noGrp="1"/>
          </p:cNvSpPr>
          <p:nvPr>
            <p:ph type="body" sz="quarter" idx="11" hasCustomPrompt="1"/>
          </p:nvPr>
        </p:nvSpPr>
        <p:spPr>
          <a:xfrm>
            <a:off x="0" y="1081907"/>
            <a:ext cx="12191999" cy="453183"/>
          </a:xfrm>
          <a:prstGeom prst="rect">
            <a:avLst/>
          </a:prstGeom>
          <a:solidFill>
            <a:srgbClr val="8D8F99"/>
          </a:solidFill>
        </p:spPr>
        <p:txBody>
          <a:bodyPr wrap="square" lIns="360000" tIns="72000" rIns="360000" bIns="72000" anchor="ctr" anchorCtr="0">
            <a:no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2" name="Title 1">
            <a:extLst>
              <a:ext uri="{FF2B5EF4-FFF2-40B4-BE49-F238E27FC236}">
                <a16:creationId xmlns:a16="http://schemas.microsoft.com/office/drawing/2014/main" id="{71728DCD-3921-FF16-E677-C865DF69AA84}"/>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7" name="Text Placeholder 3">
            <a:extLst>
              <a:ext uri="{FF2B5EF4-FFF2-40B4-BE49-F238E27FC236}">
                <a16:creationId xmlns:a16="http://schemas.microsoft.com/office/drawing/2014/main" id="{B8B0BAB3-8F5A-3771-E846-47F5E2BB34EA}"/>
              </a:ext>
            </a:extLst>
          </p:cNvPr>
          <p:cNvSpPr>
            <a:spLocks noGrp="1"/>
          </p:cNvSpPr>
          <p:nvPr>
            <p:ph type="body" sz="quarter" idx="14" hasCustomPrompt="1"/>
          </p:nvPr>
        </p:nvSpPr>
        <p:spPr>
          <a:xfrm>
            <a:off x="0" y="6416189"/>
            <a:ext cx="12191999" cy="262943"/>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1983210557"/>
      </p:ext>
    </p:extLst>
  </p:cSld>
  <p:clrMapOvr>
    <a:masterClrMapping/>
  </p:clrMapOvr>
  <p:extLst>
    <p:ext uri="{DCECCB84-F9BA-43D5-87BE-67443E8EF086}">
      <p15:sldGuideLst xmlns:p15="http://schemas.microsoft.com/office/powerpoint/2012/main"/>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Content Only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0A8193F-4268-C149-5B9A-4DE7574AF60B}"/>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6" name="Content Placeholder 4"/>
          <p:cNvSpPr>
            <a:spLocks noGrp="1"/>
          </p:cNvSpPr>
          <p:nvPr>
            <p:ph sz="quarter" idx="11" hasCustomPrompt="1"/>
          </p:nvPr>
        </p:nvSpPr>
        <p:spPr>
          <a:xfrm>
            <a:off x="719668" y="1274618"/>
            <a:ext cx="10752667" cy="5065222"/>
          </a:xfrm>
          <a:prstGeom prst="rect">
            <a:avLst/>
          </a:prstGeom>
        </p:spPr>
        <p:txBody>
          <a:bodyPr>
            <a:noAutofit/>
          </a:bodyPr>
          <a:lstStyle>
            <a:lvl1pPr>
              <a:spcBef>
                <a:spcPts val="1200"/>
              </a:spcBef>
              <a:spcAft>
                <a:spcPts val="1200"/>
              </a:spcAft>
              <a:defRPr sz="2400">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9FB8D4E6-6FDC-D5BE-03FA-75E8AF2F8F59}"/>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4" name="Text Placeholder 3">
            <a:extLst>
              <a:ext uri="{FF2B5EF4-FFF2-40B4-BE49-F238E27FC236}">
                <a16:creationId xmlns:a16="http://schemas.microsoft.com/office/drawing/2014/main" id="{259B463B-C869-69A2-9220-F41811708962}"/>
              </a:ext>
            </a:extLst>
          </p:cNvPr>
          <p:cNvSpPr>
            <a:spLocks noGrp="1"/>
          </p:cNvSpPr>
          <p:nvPr>
            <p:ph type="body" sz="quarter" idx="14" hasCustomPrompt="1"/>
          </p:nvPr>
        </p:nvSpPr>
        <p:spPr>
          <a:xfrm>
            <a:off x="0" y="6592824"/>
            <a:ext cx="12191999"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1564550200"/>
      </p:ext>
    </p:extLst>
  </p:cSld>
  <p:clrMapOvr>
    <a:masterClrMapping/>
  </p:clrMapOvr>
  <p:extLst>
    <p:ext uri="{DCECCB84-F9BA-43D5-87BE-67443E8EF086}">
      <p15:sldGuideLst xmlns:p15="http://schemas.microsoft.com/office/powerpoint/2012/main"/>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LBU Content Only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0A8193F-4268-C149-5B9A-4DE7574AF60B}"/>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6" name="Content Placeholder 4"/>
          <p:cNvSpPr>
            <a:spLocks noGrp="1"/>
          </p:cNvSpPr>
          <p:nvPr>
            <p:ph sz="quarter" idx="11" hasCustomPrompt="1"/>
          </p:nvPr>
        </p:nvSpPr>
        <p:spPr>
          <a:xfrm>
            <a:off x="719668" y="1274618"/>
            <a:ext cx="10752667" cy="5065222"/>
          </a:xfrm>
          <a:prstGeom prst="rect">
            <a:avLst/>
          </a:prstGeom>
        </p:spPr>
        <p:txBody>
          <a:bodyPr>
            <a:noAutofit/>
          </a:bodyPr>
          <a:lstStyle>
            <a:lvl1pPr>
              <a:spcBef>
                <a:spcPts val="1200"/>
              </a:spcBef>
              <a:spcAft>
                <a:spcPts val="1200"/>
              </a:spcAft>
              <a:defRPr sz="2400">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9FB8D4E6-6FDC-D5BE-03FA-75E8AF2F8F59}"/>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7" name="Text Placeholder 3">
            <a:extLst>
              <a:ext uri="{FF2B5EF4-FFF2-40B4-BE49-F238E27FC236}">
                <a16:creationId xmlns:a16="http://schemas.microsoft.com/office/drawing/2014/main" id="{24D656BB-1846-7305-4AFA-D50796305215}"/>
              </a:ext>
            </a:extLst>
          </p:cNvPr>
          <p:cNvSpPr>
            <a:spLocks noGrp="1"/>
          </p:cNvSpPr>
          <p:nvPr>
            <p:ph type="body" sz="quarter" idx="14" hasCustomPrompt="1"/>
          </p:nvPr>
        </p:nvSpPr>
        <p:spPr>
          <a:xfrm>
            <a:off x="0" y="6416494"/>
            <a:ext cx="12191999"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3919129583"/>
      </p:ext>
    </p:extLst>
  </p:cSld>
  <p:clrMapOvr>
    <a:masterClrMapping/>
  </p:clrMapOvr>
  <p:extLst>
    <p:ext uri="{DCECCB84-F9BA-43D5-87BE-67443E8EF086}">
      <p15:sldGuideLst xmlns:p15="http://schemas.microsoft.com/office/powerpoint/2012/main"/>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wo Content Only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0A8193F-4268-C149-5B9A-4DE7574AF60B}"/>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9FB8D4E6-6FDC-D5BE-03FA-75E8AF2F8F59}"/>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9" name="Text Placeholder 3">
            <a:extLst>
              <a:ext uri="{FF2B5EF4-FFF2-40B4-BE49-F238E27FC236}">
                <a16:creationId xmlns:a16="http://schemas.microsoft.com/office/drawing/2014/main" id="{32B1CD3C-C054-ED41-A109-15BECECE3110}"/>
              </a:ext>
            </a:extLst>
          </p:cNvPr>
          <p:cNvSpPr>
            <a:spLocks noGrp="1"/>
          </p:cNvSpPr>
          <p:nvPr>
            <p:ph type="body" sz="quarter" idx="14" hasCustomPrompt="1"/>
          </p:nvPr>
        </p:nvSpPr>
        <p:spPr>
          <a:xfrm>
            <a:off x="0" y="6592824"/>
            <a:ext cx="12191999"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10" name="Content Placeholder 4">
            <a:extLst>
              <a:ext uri="{FF2B5EF4-FFF2-40B4-BE49-F238E27FC236}">
                <a16:creationId xmlns:a16="http://schemas.microsoft.com/office/drawing/2014/main" id="{C57BF6F7-4329-4CC5-714B-90529DF468FF}"/>
              </a:ext>
            </a:extLst>
          </p:cNvPr>
          <p:cNvSpPr>
            <a:spLocks noGrp="1"/>
          </p:cNvSpPr>
          <p:nvPr>
            <p:ph sz="quarter" idx="15" hasCustomPrompt="1"/>
          </p:nvPr>
        </p:nvSpPr>
        <p:spPr>
          <a:xfrm>
            <a:off x="6162525" y="1274618"/>
            <a:ext cx="5027989" cy="5065222"/>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4">
            <a:extLst>
              <a:ext uri="{FF2B5EF4-FFF2-40B4-BE49-F238E27FC236}">
                <a16:creationId xmlns:a16="http://schemas.microsoft.com/office/drawing/2014/main" id="{7098CEC6-CE18-15F4-5384-CE7A178B00EC}"/>
              </a:ext>
            </a:extLst>
          </p:cNvPr>
          <p:cNvSpPr>
            <a:spLocks noGrp="1"/>
          </p:cNvSpPr>
          <p:nvPr>
            <p:ph sz="quarter" idx="11" hasCustomPrompt="1"/>
          </p:nvPr>
        </p:nvSpPr>
        <p:spPr>
          <a:xfrm>
            <a:off x="719668" y="1274618"/>
            <a:ext cx="5027989" cy="5065222"/>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3113295"/>
      </p:ext>
    </p:extLst>
  </p:cSld>
  <p:clrMapOvr>
    <a:masterClrMapping/>
  </p:clrMapOvr>
  <p:extLst>
    <p:ext uri="{DCECCB84-F9BA-43D5-87BE-67443E8EF086}">
      <p15:sldGuideLst xmlns:p15="http://schemas.microsoft.com/office/powerpoint/2012/main"/>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1_Two Content Only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0A8193F-4268-C149-5B9A-4DE7574AF60B}"/>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9FB8D4E6-6FDC-D5BE-03FA-75E8AF2F8F59}"/>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4" name="Content Placeholder 4">
            <a:extLst>
              <a:ext uri="{FF2B5EF4-FFF2-40B4-BE49-F238E27FC236}">
                <a16:creationId xmlns:a16="http://schemas.microsoft.com/office/drawing/2014/main" id="{60119B83-31E4-4B88-9637-0A1166CDC109}"/>
              </a:ext>
            </a:extLst>
          </p:cNvPr>
          <p:cNvSpPr>
            <a:spLocks noGrp="1"/>
          </p:cNvSpPr>
          <p:nvPr>
            <p:ph sz="quarter" idx="15" hasCustomPrompt="1"/>
          </p:nvPr>
        </p:nvSpPr>
        <p:spPr>
          <a:xfrm>
            <a:off x="6162525" y="1274618"/>
            <a:ext cx="5027989" cy="5065222"/>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4">
            <a:extLst>
              <a:ext uri="{FF2B5EF4-FFF2-40B4-BE49-F238E27FC236}">
                <a16:creationId xmlns:a16="http://schemas.microsoft.com/office/drawing/2014/main" id="{A1C1FAD9-9349-3998-8C0D-02A7D57273A6}"/>
              </a:ext>
            </a:extLst>
          </p:cNvPr>
          <p:cNvSpPr>
            <a:spLocks noGrp="1"/>
          </p:cNvSpPr>
          <p:nvPr>
            <p:ph sz="quarter" idx="11" hasCustomPrompt="1"/>
          </p:nvPr>
        </p:nvSpPr>
        <p:spPr>
          <a:xfrm>
            <a:off x="719668" y="1274618"/>
            <a:ext cx="5027989" cy="5065222"/>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0FE041EA-859E-609A-5307-D12306F7B01D}"/>
              </a:ext>
            </a:extLst>
          </p:cNvPr>
          <p:cNvSpPr>
            <a:spLocks noGrp="1"/>
          </p:cNvSpPr>
          <p:nvPr>
            <p:ph type="body" sz="quarter" idx="14" hasCustomPrompt="1"/>
          </p:nvPr>
        </p:nvSpPr>
        <p:spPr>
          <a:xfrm>
            <a:off x="0" y="6416494"/>
            <a:ext cx="12191999"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2032278142"/>
      </p:ext>
    </p:extLst>
  </p:cSld>
  <p:clrMapOvr>
    <a:masterClrMapping/>
  </p:clrMapOvr>
  <p:extLst>
    <p:ext uri="{DCECCB84-F9BA-43D5-87BE-67443E8EF086}">
      <p15:sldGuideLst xmlns:p15="http://schemas.microsoft.com/office/powerpoint/2012/main"/>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itle and Content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0A8193F-4268-C149-5B9A-4DE7574AF60B}"/>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9FB8D4E6-6FDC-D5BE-03FA-75E8AF2F8F59}"/>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7" name="Content Placeholder 4">
            <a:extLst>
              <a:ext uri="{FF2B5EF4-FFF2-40B4-BE49-F238E27FC236}">
                <a16:creationId xmlns:a16="http://schemas.microsoft.com/office/drawing/2014/main" id="{9E43360B-710F-8C2A-970C-608C68F9DD68}"/>
              </a:ext>
            </a:extLst>
          </p:cNvPr>
          <p:cNvSpPr>
            <a:spLocks noGrp="1"/>
          </p:cNvSpPr>
          <p:nvPr>
            <p:ph sz="quarter" idx="12" hasCustomPrompt="1"/>
          </p:nvPr>
        </p:nvSpPr>
        <p:spPr>
          <a:xfrm>
            <a:off x="719668" y="1828800"/>
            <a:ext cx="10752667" cy="4511040"/>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3">
            <a:extLst>
              <a:ext uri="{FF2B5EF4-FFF2-40B4-BE49-F238E27FC236}">
                <a16:creationId xmlns:a16="http://schemas.microsoft.com/office/drawing/2014/main" id="{126A3745-A3DD-121D-23F7-9E20B83D98EA}"/>
              </a:ext>
            </a:extLst>
          </p:cNvPr>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nchor="ctr" anchorCtr="0">
            <a:noAutofit/>
          </a:bodyPr>
          <a:lstStyle>
            <a:lvl1pPr algn="ctr">
              <a:lnSpc>
                <a:spcPct val="100000"/>
              </a:lnSpc>
              <a:defRPr sz="2000" b="1" cap="none" baseline="0">
                <a:solidFill>
                  <a:schemeClr val="tx1">
                    <a:lumMod val="75000"/>
                  </a:schemeClr>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10" name="Text Placeholder 3">
            <a:extLst>
              <a:ext uri="{FF2B5EF4-FFF2-40B4-BE49-F238E27FC236}">
                <a16:creationId xmlns:a16="http://schemas.microsoft.com/office/drawing/2014/main" id="{72D626C9-547F-1912-2BD2-AB32B529B019}"/>
              </a:ext>
            </a:extLst>
          </p:cNvPr>
          <p:cNvSpPr>
            <a:spLocks noGrp="1"/>
          </p:cNvSpPr>
          <p:nvPr>
            <p:ph type="body" sz="quarter" idx="14" hasCustomPrompt="1"/>
          </p:nvPr>
        </p:nvSpPr>
        <p:spPr>
          <a:xfrm>
            <a:off x="0" y="6592824"/>
            <a:ext cx="12191999"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510172871"/>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399070"/>
            <a:ext cx="9144000" cy="2123615"/>
          </a:xfrm>
        </p:spPr>
        <p:txBody>
          <a:bodyPr anchor="ctr">
            <a:normAutofit/>
          </a:bodyPr>
          <a:lstStyle>
            <a:lvl1pPr algn="ctr">
              <a:defRPr sz="3600"/>
            </a:lvl1pPr>
          </a:lstStyle>
          <a:p>
            <a:r>
              <a:rPr lang="en-US" dirty="0"/>
              <a:t>Click to edit Master title style</a:t>
            </a:r>
          </a:p>
        </p:txBody>
      </p:sp>
      <p:sp>
        <p:nvSpPr>
          <p:cNvPr id="3" name="Subtitle 2"/>
          <p:cNvSpPr>
            <a:spLocks noGrp="1"/>
          </p:cNvSpPr>
          <p:nvPr>
            <p:ph type="subTitle" idx="1"/>
          </p:nvPr>
        </p:nvSpPr>
        <p:spPr>
          <a:xfrm>
            <a:off x="1524000" y="4614761"/>
            <a:ext cx="9144000" cy="1655762"/>
          </a:xfrm>
        </p:spPr>
        <p:txBody>
          <a:bodyPr anchor="t">
            <a:normAutofit/>
          </a:bodyPr>
          <a:lstStyle>
            <a:lvl1pPr marL="0" indent="0" algn="ctr">
              <a:buNone/>
              <a:defRPr sz="3200">
                <a:solidFill>
                  <a:srgbClr val="50515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p:txBody>
          <a:bodyPr/>
          <a:lstStyle/>
          <a:p>
            <a:fld id="{5916FF65-E16B-BA4F-9591-6B4416106527}" type="datetimeFigureOut">
              <a:rPr lang="en-US" smtClean="0"/>
              <a:t>4/24/26</a:t>
            </a:fld>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7603991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LBU Title and Content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0A8193F-4268-C149-5B9A-4DE7574AF60B}"/>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9FB8D4E6-6FDC-D5BE-03FA-75E8AF2F8F59}"/>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7" name="Content Placeholder 4">
            <a:extLst>
              <a:ext uri="{FF2B5EF4-FFF2-40B4-BE49-F238E27FC236}">
                <a16:creationId xmlns:a16="http://schemas.microsoft.com/office/drawing/2014/main" id="{9E43360B-710F-8C2A-970C-608C68F9DD68}"/>
              </a:ext>
            </a:extLst>
          </p:cNvPr>
          <p:cNvSpPr>
            <a:spLocks noGrp="1"/>
          </p:cNvSpPr>
          <p:nvPr>
            <p:ph sz="quarter" idx="12" hasCustomPrompt="1"/>
          </p:nvPr>
        </p:nvSpPr>
        <p:spPr>
          <a:xfrm>
            <a:off x="719668" y="1828800"/>
            <a:ext cx="10752667" cy="4511040"/>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3">
            <a:extLst>
              <a:ext uri="{FF2B5EF4-FFF2-40B4-BE49-F238E27FC236}">
                <a16:creationId xmlns:a16="http://schemas.microsoft.com/office/drawing/2014/main" id="{126A3745-A3DD-121D-23F7-9E20B83D98EA}"/>
              </a:ext>
            </a:extLst>
          </p:cNvPr>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nchor="ctr" anchorCtr="0">
            <a:noAutofit/>
          </a:bodyPr>
          <a:lstStyle>
            <a:lvl1pPr algn="ctr">
              <a:lnSpc>
                <a:spcPct val="100000"/>
              </a:lnSpc>
              <a:defRPr sz="2000" b="1" cap="none" baseline="0">
                <a:solidFill>
                  <a:schemeClr val="tx1">
                    <a:lumMod val="75000"/>
                  </a:schemeClr>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5" name="Text Placeholder 3">
            <a:extLst>
              <a:ext uri="{FF2B5EF4-FFF2-40B4-BE49-F238E27FC236}">
                <a16:creationId xmlns:a16="http://schemas.microsoft.com/office/drawing/2014/main" id="{1AF5CADC-43D0-3520-6BDB-CA3232387BA0}"/>
              </a:ext>
            </a:extLst>
          </p:cNvPr>
          <p:cNvSpPr>
            <a:spLocks noGrp="1"/>
          </p:cNvSpPr>
          <p:nvPr>
            <p:ph type="body" sz="quarter" idx="14" hasCustomPrompt="1"/>
          </p:nvPr>
        </p:nvSpPr>
        <p:spPr>
          <a:xfrm>
            <a:off x="0" y="6416494"/>
            <a:ext cx="12191999"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4177130904"/>
      </p:ext>
    </p:extLst>
  </p:cSld>
  <p:clrMapOvr>
    <a:masterClrMapping/>
  </p:clrMapOvr>
  <p:extLst>
    <p:ext uri="{DCECCB84-F9BA-43D5-87BE-67443E8EF086}">
      <p15:sldGuideLst xmlns:p15="http://schemas.microsoft.com/office/powerpoint/2012/main"/>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Callout and Content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0A8193F-4268-C149-5B9A-4DE7574AF60B}"/>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9FB8D4E6-6FDC-D5BE-03FA-75E8AF2F8F59}"/>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7" name="Content Placeholder 4">
            <a:extLst>
              <a:ext uri="{FF2B5EF4-FFF2-40B4-BE49-F238E27FC236}">
                <a16:creationId xmlns:a16="http://schemas.microsoft.com/office/drawing/2014/main" id="{9E43360B-710F-8C2A-970C-608C68F9DD68}"/>
              </a:ext>
            </a:extLst>
          </p:cNvPr>
          <p:cNvSpPr>
            <a:spLocks noGrp="1"/>
          </p:cNvSpPr>
          <p:nvPr>
            <p:ph sz="quarter" idx="12" hasCustomPrompt="1"/>
          </p:nvPr>
        </p:nvSpPr>
        <p:spPr>
          <a:xfrm>
            <a:off x="719668" y="1828800"/>
            <a:ext cx="10752667" cy="4511040"/>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lvl2pPr>
            <a:lvl3pPr marL="504000" indent="-252000">
              <a:buClr>
                <a:schemeClr val="accent2">
                  <a:lumMod val="75000"/>
                </a:schemeClr>
              </a:buClr>
              <a:defRPr/>
            </a:lvl3pPr>
            <a:lvl4pPr marL="756000" indent="-252000">
              <a:buClr>
                <a:schemeClr val="accent2">
                  <a:lumMod val="75000"/>
                </a:schemeClr>
              </a:buClr>
              <a:defRPr/>
            </a:lvl4pPr>
            <a:lvl5pPr marL="1008000" indent="-252000">
              <a:buClr>
                <a:schemeClr val="accent2">
                  <a:lumMod val="75000"/>
                </a:schemeClr>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72D626C9-547F-1912-2BD2-AB32B529B019}"/>
              </a:ext>
            </a:extLst>
          </p:cNvPr>
          <p:cNvSpPr>
            <a:spLocks noGrp="1"/>
          </p:cNvSpPr>
          <p:nvPr>
            <p:ph type="body" sz="quarter" idx="14" hasCustomPrompt="1"/>
          </p:nvPr>
        </p:nvSpPr>
        <p:spPr>
          <a:xfrm>
            <a:off x="0" y="6592824"/>
            <a:ext cx="12191999"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4" name="Text Placeholder 3">
            <a:extLst>
              <a:ext uri="{FF2B5EF4-FFF2-40B4-BE49-F238E27FC236}">
                <a16:creationId xmlns:a16="http://schemas.microsoft.com/office/drawing/2014/main" id="{D2807C00-B46C-5164-6FEF-852CA92A3D87}"/>
              </a:ext>
            </a:extLst>
          </p:cNvPr>
          <p:cNvSpPr>
            <a:spLocks noGrp="1"/>
          </p:cNvSpPr>
          <p:nvPr>
            <p:ph type="body" sz="quarter" idx="11" hasCustomPrompt="1"/>
          </p:nvPr>
        </p:nvSpPr>
        <p:spPr>
          <a:xfrm>
            <a:off x="0" y="1081907"/>
            <a:ext cx="12191999" cy="453183"/>
          </a:xfrm>
          <a:prstGeom prst="rect">
            <a:avLst/>
          </a:prstGeom>
          <a:solidFill>
            <a:srgbClr val="8D8F99"/>
          </a:solidFill>
        </p:spPr>
        <p:txBody>
          <a:bodyPr wrap="square" lIns="360000" tIns="72000" rIns="360000" bIns="72000" anchor="ctr" anchorCtr="0">
            <a:no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Tree>
    <p:extLst>
      <p:ext uri="{BB962C8B-B14F-4D97-AF65-F5344CB8AC3E}">
        <p14:creationId xmlns:p14="http://schemas.microsoft.com/office/powerpoint/2010/main" val="3655849123"/>
      </p:ext>
    </p:extLst>
  </p:cSld>
  <p:clrMapOvr>
    <a:masterClrMapping/>
  </p:clrMapOvr>
  <p:extLst>
    <p:ext uri="{DCECCB84-F9BA-43D5-87BE-67443E8EF086}">
      <p15:sldGuideLst xmlns:p15="http://schemas.microsoft.com/office/powerpoint/2012/main"/>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LBU Callout and Content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0A8193F-4268-C149-5B9A-4DE7574AF60B}"/>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9FB8D4E6-6FDC-D5BE-03FA-75E8AF2F8F59}"/>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7" name="Content Placeholder 4">
            <a:extLst>
              <a:ext uri="{FF2B5EF4-FFF2-40B4-BE49-F238E27FC236}">
                <a16:creationId xmlns:a16="http://schemas.microsoft.com/office/drawing/2014/main" id="{9E43360B-710F-8C2A-970C-608C68F9DD68}"/>
              </a:ext>
            </a:extLst>
          </p:cNvPr>
          <p:cNvSpPr>
            <a:spLocks noGrp="1"/>
          </p:cNvSpPr>
          <p:nvPr>
            <p:ph sz="quarter" idx="12" hasCustomPrompt="1"/>
          </p:nvPr>
        </p:nvSpPr>
        <p:spPr>
          <a:xfrm>
            <a:off x="719668" y="1828800"/>
            <a:ext cx="10752667" cy="4511040"/>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lvl2pPr>
            <a:lvl3pPr marL="504000" indent="-252000">
              <a:buClr>
                <a:schemeClr val="accent2">
                  <a:lumMod val="75000"/>
                </a:schemeClr>
              </a:buClr>
              <a:defRPr/>
            </a:lvl3pPr>
            <a:lvl4pPr marL="756000" indent="-252000">
              <a:buClr>
                <a:schemeClr val="accent2">
                  <a:lumMod val="75000"/>
                </a:schemeClr>
              </a:buClr>
              <a:defRPr/>
            </a:lvl4pPr>
            <a:lvl5pPr marL="1008000" indent="-252000">
              <a:buClr>
                <a:schemeClr val="accent2">
                  <a:lumMod val="75000"/>
                </a:schemeClr>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2807C00-B46C-5164-6FEF-852CA92A3D87}"/>
              </a:ext>
            </a:extLst>
          </p:cNvPr>
          <p:cNvSpPr>
            <a:spLocks noGrp="1"/>
          </p:cNvSpPr>
          <p:nvPr>
            <p:ph type="body" sz="quarter" idx="11" hasCustomPrompt="1"/>
          </p:nvPr>
        </p:nvSpPr>
        <p:spPr>
          <a:xfrm>
            <a:off x="0" y="1081907"/>
            <a:ext cx="12191999" cy="453183"/>
          </a:xfrm>
          <a:prstGeom prst="rect">
            <a:avLst/>
          </a:prstGeom>
          <a:solidFill>
            <a:srgbClr val="8D8F99"/>
          </a:solidFill>
        </p:spPr>
        <p:txBody>
          <a:bodyPr wrap="square" lIns="360000" tIns="72000" rIns="360000" bIns="72000" anchor="ctr" anchorCtr="0">
            <a:no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5" name="Text Placeholder 3">
            <a:extLst>
              <a:ext uri="{FF2B5EF4-FFF2-40B4-BE49-F238E27FC236}">
                <a16:creationId xmlns:a16="http://schemas.microsoft.com/office/drawing/2014/main" id="{DC1F8832-4DB4-02D0-91E7-6A2F6E604117}"/>
              </a:ext>
            </a:extLst>
          </p:cNvPr>
          <p:cNvSpPr>
            <a:spLocks noGrp="1"/>
          </p:cNvSpPr>
          <p:nvPr>
            <p:ph type="body" sz="quarter" idx="14" hasCustomPrompt="1"/>
          </p:nvPr>
        </p:nvSpPr>
        <p:spPr>
          <a:xfrm>
            <a:off x="0" y="6416189"/>
            <a:ext cx="12191999" cy="262943"/>
          </a:xfrm>
          <a:noFill/>
        </p:spPr>
        <p:txBody>
          <a:bodyPr wrap="square" lIns="180000" tIns="36000" rIns="180000" bIns="72000" anchor="b" anchorCtr="0">
            <a:spAutoFit/>
          </a:bodyPr>
          <a:lstStyle>
            <a:lvl1pPr>
              <a:lnSpc>
                <a:spcPct val="100000"/>
              </a:lnSpc>
              <a:spcAft>
                <a:spcPts val="0"/>
              </a:spcAft>
              <a:defRPr sz="1000" b="0" i="0"/>
            </a:lvl1pPr>
          </a:lstStyle>
          <a:p>
            <a:pPr lvl="0"/>
            <a:r>
              <a:rPr lang="en-US"/>
              <a:t>Reference</a:t>
            </a:r>
          </a:p>
        </p:txBody>
      </p:sp>
    </p:spTree>
    <p:extLst>
      <p:ext uri="{BB962C8B-B14F-4D97-AF65-F5344CB8AC3E}">
        <p14:creationId xmlns:p14="http://schemas.microsoft.com/office/powerpoint/2010/main" val="1227912325"/>
      </p:ext>
    </p:extLst>
  </p:cSld>
  <p:clrMapOvr>
    <a:masterClrMapping/>
  </p:clrMapOvr>
  <p:extLst>
    <p:ext uri="{DCECCB84-F9BA-43D5-87BE-67443E8EF086}">
      <p15:sldGuideLst xmlns:p15="http://schemas.microsoft.com/office/powerpoint/2012/main"/>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Clear w notes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5" name="Text Placeholder 2">
            <a:extLst>
              <a:ext uri="{FF2B5EF4-FFF2-40B4-BE49-F238E27FC236}">
                <a16:creationId xmlns:a16="http://schemas.microsoft.com/office/drawing/2014/main" id="{49D0B3C9-3CFB-1086-DDDE-BFD8BD093A4D}"/>
              </a:ext>
            </a:extLst>
          </p:cNvPr>
          <p:cNvSpPr>
            <a:spLocks noGrp="1"/>
          </p:cNvSpPr>
          <p:nvPr>
            <p:ph type="body" sz="quarter" idx="15"/>
          </p:nvPr>
        </p:nvSpPr>
        <p:spPr>
          <a:xfrm>
            <a:off x="9132982" y="1078992"/>
            <a:ext cx="3059017" cy="577900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E7C4B0E0-30B2-C68E-3EBE-CC06AADA5FB4}"/>
              </a:ext>
            </a:extLst>
          </p:cNvPr>
          <p:cNvSpPr>
            <a:spLocks noGrp="1"/>
          </p:cNvSpPr>
          <p:nvPr>
            <p:ph type="body" sz="quarter" idx="14" hasCustomPrompt="1"/>
          </p:nvPr>
        </p:nvSpPr>
        <p:spPr>
          <a:xfrm>
            <a:off x="0" y="6592824"/>
            <a:ext cx="9132981"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645536072"/>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LBU Clear w notes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5" name="Text Placeholder 2">
            <a:extLst>
              <a:ext uri="{FF2B5EF4-FFF2-40B4-BE49-F238E27FC236}">
                <a16:creationId xmlns:a16="http://schemas.microsoft.com/office/drawing/2014/main" id="{49D0B3C9-3CFB-1086-DDDE-BFD8BD093A4D}"/>
              </a:ext>
            </a:extLst>
          </p:cNvPr>
          <p:cNvSpPr>
            <a:spLocks noGrp="1"/>
          </p:cNvSpPr>
          <p:nvPr>
            <p:ph type="body" sz="quarter" idx="15"/>
          </p:nvPr>
        </p:nvSpPr>
        <p:spPr>
          <a:xfrm>
            <a:off x="9132982" y="1078992"/>
            <a:ext cx="3059017" cy="559612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73C8AF96-1E29-2576-5CFB-7CF6F39C88C0}"/>
              </a:ext>
            </a:extLst>
          </p:cNvPr>
          <p:cNvSpPr>
            <a:spLocks noGrp="1"/>
          </p:cNvSpPr>
          <p:nvPr>
            <p:ph type="body" sz="quarter" idx="14" hasCustomPrompt="1"/>
          </p:nvPr>
        </p:nvSpPr>
        <p:spPr>
          <a:xfrm>
            <a:off x="1" y="6416189"/>
            <a:ext cx="9129934" cy="262943"/>
          </a:xfrm>
          <a:noFill/>
        </p:spPr>
        <p:txBody>
          <a:bodyPr wrap="square" lIns="180000" tIns="36000" rIns="180000" bIns="72000" anchor="b" anchorCtr="0">
            <a:sp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801732757"/>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itle w notes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5" name="Text Placeholder 2">
            <a:extLst>
              <a:ext uri="{FF2B5EF4-FFF2-40B4-BE49-F238E27FC236}">
                <a16:creationId xmlns:a16="http://schemas.microsoft.com/office/drawing/2014/main" id="{49D0B3C9-3CFB-1086-DDDE-BFD8BD093A4D}"/>
              </a:ext>
            </a:extLst>
          </p:cNvPr>
          <p:cNvSpPr>
            <a:spLocks noGrp="1"/>
          </p:cNvSpPr>
          <p:nvPr>
            <p:ph type="body" sz="quarter" idx="15"/>
          </p:nvPr>
        </p:nvSpPr>
        <p:spPr>
          <a:xfrm>
            <a:off x="9132982" y="1078992"/>
            <a:ext cx="3059017" cy="577900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E7C4B0E0-30B2-C68E-3EBE-CC06AADA5FB4}"/>
              </a:ext>
            </a:extLst>
          </p:cNvPr>
          <p:cNvSpPr>
            <a:spLocks noGrp="1"/>
          </p:cNvSpPr>
          <p:nvPr>
            <p:ph type="body" sz="quarter" idx="14" hasCustomPrompt="1"/>
          </p:nvPr>
        </p:nvSpPr>
        <p:spPr>
          <a:xfrm>
            <a:off x="0" y="6592824"/>
            <a:ext cx="9132981"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4" name="Text Placeholder 3">
            <a:extLst>
              <a:ext uri="{FF2B5EF4-FFF2-40B4-BE49-F238E27FC236}">
                <a16:creationId xmlns:a16="http://schemas.microsoft.com/office/drawing/2014/main" id="{134D223C-C080-696B-FFAD-8FA9A0642C1D}"/>
              </a:ext>
            </a:extLst>
          </p:cNvPr>
          <p:cNvSpPr>
            <a:spLocks noGrp="1"/>
          </p:cNvSpPr>
          <p:nvPr>
            <p:ph type="body" sz="quarter" idx="11" hasCustomPrompt="1"/>
          </p:nvPr>
        </p:nvSpPr>
        <p:spPr>
          <a:xfrm>
            <a:off x="0" y="1081907"/>
            <a:ext cx="9099931" cy="453183"/>
          </a:xfrm>
          <a:prstGeom prst="rect">
            <a:avLst/>
          </a:prstGeom>
          <a:noFill/>
        </p:spPr>
        <p:txBody>
          <a:bodyPr wrap="square" lIns="360000" tIns="72000" rIns="360000" bIns="72000" anchor="ctr" anchorCtr="0">
            <a:noAutofit/>
          </a:bodyPr>
          <a:lstStyle>
            <a:lvl1pPr algn="ctr">
              <a:lnSpc>
                <a:spcPct val="100000"/>
              </a:lnSpc>
              <a:defRPr sz="2000" b="1" cap="none" baseline="0">
                <a:solidFill>
                  <a:schemeClr val="tx1">
                    <a:lumMod val="75000"/>
                  </a:schemeClr>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Tree>
    <p:extLst>
      <p:ext uri="{BB962C8B-B14F-4D97-AF65-F5344CB8AC3E}">
        <p14:creationId xmlns:p14="http://schemas.microsoft.com/office/powerpoint/2010/main" val="598440390"/>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LBU Title w notes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4" name="Text Placeholder 3">
            <a:extLst>
              <a:ext uri="{FF2B5EF4-FFF2-40B4-BE49-F238E27FC236}">
                <a16:creationId xmlns:a16="http://schemas.microsoft.com/office/drawing/2014/main" id="{EBAB14D2-F5FD-20D1-7BCE-2CAD1ADF0C1D}"/>
              </a:ext>
            </a:extLst>
          </p:cNvPr>
          <p:cNvSpPr>
            <a:spLocks noGrp="1"/>
          </p:cNvSpPr>
          <p:nvPr>
            <p:ph type="body" sz="quarter" idx="11" hasCustomPrompt="1"/>
          </p:nvPr>
        </p:nvSpPr>
        <p:spPr>
          <a:xfrm>
            <a:off x="0" y="1081907"/>
            <a:ext cx="9099931" cy="453183"/>
          </a:xfrm>
          <a:prstGeom prst="rect">
            <a:avLst/>
          </a:prstGeom>
          <a:noFill/>
        </p:spPr>
        <p:txBody>
          <a:bodyPr wrap="square" lIns="360000" tIns="72000" rIns="360000" bIns="72000" anchor="ctr" anchorCtr="0">
            <a:noAutofit/>
          </a:bodyPr>
          <a:lstStyle>
            <a:lvl1pPr algn="ctr">
              <a:lnSpc>
                <a:spcPct val="100000"/>
              </a:lnSpc>
              <a:defRPr sz="2000" b="1" cap="none" baseline="0">
                <a:solidFill>
                  <a:schemeClr val="tx1">
                    <a:lumMod val="75000"/>
                  </a:schemeClr>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5" name="Text Placeholder 2">
            <a:extLst>
              <a:ext uri="{FF2B5EF4-FFF2-40B4-BE49-F238E27FC236}">
                <a16:creationId xmlns:a16="http://schemas.microsoft.com/office/drawing/2014/main" id="{03214552-3B79-AE79-01F3-C4F3E3361522}"/>
              </a:ext>
            </a:extLst>
          </p:cNvPr>
          <p:cNvSpPr>
            <a:spLocks noGrp="1"/>
          </p:cNvSpPr>
          <p:nvPr>
            <p:ph type="body" sz="quarter" idx="15"/>
          </p:nvPr>
        </p:nvSpPr>
        <p:spPr>
          <a:xfrm>
            <a:off x="9132982" y="1078992"/>
            <a:ext cx="3059017" cy="559612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3">
            <a:extLst>
              <a:ext uri="{FF2B5EF4-FFF2-40B4-BE49-F238E27FC236}">
                <a16:creationId xmlns:a16="http://schemas.microsoft.com/office/drawing/2014/main" id="{C7059857-CE36-6012-3AA1-113BD12A67E7}"/>
              </a:ext>
            </a:extLst>
          </p:cNvPr>
          <p:cNvSpPr>
            <a:spLocks noGrp="1"/>
          </p:cNvSpPr>
          <p:nvPr>
            <p:ph type="body" sz="quarter" idx="14" hasCustomPrompt="1"/>
          </p:nvPr>
        </p:nvSpPr>
        <p:spPr>
          <a:xfrm>
            <a:off x="1" y="6416189"/>
            <a:ext cx="9129934" cy="262943"/>
          </a:xfrm>
          <a:noFill/>
        </p:spPr>
        <p:txBody>
          <a:bodyPr wrap="square" lIns="180000" tIns="36000" rIns="180000" bIns="72000" anchor="b" anchorCtr="0">
            <a:sp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2021259027"/>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itle w notes w reference_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6" name="Text Placeholder 3">
            <a:extLst>
              <a:ext uri="{FF2B5EF4-FFF2-40B4-BE49-F238E27FC236}">
                <a16:creationId xmlns:a16="http://schemas.microsoft.com/office/drawing/2014/main" id="{E7C4B0E0-30B2-C68E-3EBE-CC06AADA5FB4}"/>
              </a:ext>
            </a:extLst>
          </p:cNvPr>
          <p:cNvSpPr>
            <a:spLocks noGrp="1"/>
          </p:cNvSpPr>
          <p:nvPr>
            <p:ph type="body" sz="quarter" idx="14" hasCustomPrompt="1"/>
          </p:nvPr>
        </p:nvSpPr>
        <p:spPr>
          <a:xfrm>
            <a:off x="1" y="6592824"/>
            <a:ext cx="8809038"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4" name="Text Placeholder 3">
            <a:extLst>
              <a:ext uri="{FF2B5EF4-FFF2-40B4-BE49-F238E27FC236}">
                <a16:creationId xmlns:a16="http://schemas.microsoft.com/office/drawing/2014/main" id="{EBAB14D2-F5FD-20D1-7BCE-2CAD1ADF0C1D}"/>
              </a:ext>
            </a:extLst>
          </p:cNvPr>
          <p:cNvSpPr>
            <a:spLocks noGrp="1"/>
          </p:cNvSpPr>
          <p:nvPr>
            <p:ph type="body" sz="quarter" idx="11" hasCustomPrompt="1"/>
          </p:nvPr>
        </p:nvSpPr>
        <p:spPr>
          <a:xfrm>
            <a:off x="0" y="1081907"/>
            <a:ext cx="8809037" cy="453183"/>
          </a:xfrm>
          <a:prstGeom prst="rect">
            <a:avLst/>
          </a:prstGeom>
          <a:noFill/>
        </p:spPr>
        <p:txBody>
          <a:bodyPr wrap="square" lIns="360000" tIns="72000" rIns="360000" bIns="72000" anchor="ctr" anchorCtr="0">
            <a:noAutofit/>
          </a:bodyPr>
          <a:lstStyle>
            <a:lvl1pPr algn="ctr">
              <a:lnSpc>
                <a:spcPct val="100000"/>
              </a:lnSpc>
              <a:defRPr sz="2000" b="1" cap="none" baseline="0">
                <a:solidFill>
                  <a:schemeClr val="tx1">
                    <a:lumMod val="75000"/>
                  </a:schemeClr>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9" name="Text Placeholder 2">
            <a:extLst>
              <a:ext uri="{FF2B5EF4-FFF2-40B4-BE49-F238E27FC236}">
                <a16:creationId xmlns:a16="http://schemas.microsoft.com/office/drawing/2014/main" id="{9B63B1BD-6595-0E45-3295-1DFA15BDDF1A}"/>
              </a:ext>
            </a:extLst>
          </p:cNvPr>
          <p:cNvSpPr>
            <a:spLocks noGrp="1"/>
          </p:cNvSpPr>
          <p:nvPr>
            <p:ph type="body" sz="quarter" idx="16"/>
          </p:nvPr>
        </p:nvSpPr>
        <p:spPr>
          <a:xfrm>
            <a:off x="8809038" y="1078992"/>
            <a:ext cx="3382962" cy="577900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2708964"/>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LBU Title w notes w reference_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4" name="Text Placeholder 3">
            <a:extLst>
              <a:ext uri="{FF2B5EF4-FFF2-40B4-BE49-F238E27FC236}">
                <a16:creationId xmlns:a16="http://schemas.microsoft.com/office/drawing/2014/main" id="{EBAB14D2-F5FD-20D1-7BCE-2CAD1ADF0C1D}"/>
              </a:ext>
            </a:extLst>
          </p:cNvPr>
          <p:cNvSpPr>
            <a:spLocks noGrp="1"/>
          </p:cNvSpPr>
          <p:nvPr>
            <p:ph type="body" sz="quarter" idx="11" hasCustomPrompt="1"/>
          </p:nvPr>
        </p:nvSpPr>
        <p:spPr>
          <a:xfrm>
            <a:off x="0" y="1081907"/>
            <a:ext cx="8809037" cy="453183"/>
          </a:xfrm>
          <a:prstGeom prst="rect">
            <a:avLst/>
          </a:prstGeom>
          <a:noFill/>
        </p:spPr>
        <p:txBody>
          <a:bodyPr wrap="square" lIns="360000" tIns="72000" rIns="360000" bIns="72000" anchor="ctr" anchorCtr="0">
            <a:noAutofit/>
          </a:bodyPr>
          <a:lstStyle>
            <a:lvl1pPr algn="ctr">
              <a:lnSpc>
                <a:spcPct val="100000"/>
              </a:lnSpc>
              <a:defRPr sz="2000" b="1" cap="none" baseline="0">
                <a:solidFill>
                  <a:schemeClr val="tx1">
                    <a:lumMod val="75000"/>
                  </a:schemeClr>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8" name="Text Placeholder 3">
            <a:extLst>
              <a:ext uri="{FF2B5EF4-FFF2-40B4-BE49-F238E27FC236}">
                <a16:creationId xmlns:a16="http://schemas.microsoft.com/office/drawing/2014/main" id="{44525C16-7D83-9EF7-AD21-5BE7A1A3DD22}"/>
              </a:ext>
            </a:extLst>
          </p:cNvPr>
          <p:cNvSpPr>
            <a:spLocks noGrp="1"/>
          </p:cNvSpPr>
          <p:nvPr>
            <p:ph type="body" sz="quarter" idx="14" hasCustomPrompt="1"/>
          </p:nvPr>
        </p:nvSpPr>
        <p:spPr>
          <a:xfrm>
            <a:off x="1" y="6416189"/>
            <a:ext cx="8805990" cy="262943"/>
          </a:xfrm>
          <a:noFill/>
        </p:spPr>
        <p:txBody>
          <a:bodyPr wrap="square" lIns="180000" tIns="36000" rIns="180000" bIns="72000" anchor="b" anchorCtr="0">
            <a:sp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12" name="Text Placeholder 2">
            <a:extLst>
              <a:ext uri="{FF2B5EF4-FFF2-40B4-BE49-F238E27FC236}">
                <a16:creationId xmlns:a16="http://schemas.microsoft.com/office/drawing/2014/main" id="{CF8F0139-442A-629C-D21D-0667376FF724}"/>
              </a:ext>
            </a:extLst>
          </p:cNvPr>
          <p:cNvSpPr>
            <a:spLocks noGrp="1"/>
          </p:cNvSpPr>
          <p:nvPr>
            <p:ph type="body" sz="quarter" idx="16"/>
          </p:nvPr>
        </p:nvSpPr>
        <p:spPr>
          <a:xfrm>
            <a:off x="8809038" y="1078992"/>
            <a:ext cx="3383280" cy="559612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7915651"/>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Callout w notes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6" name="Text Placeholder 3">
            <a:extLst>
              <a:ext uri="{FF2B5EF4-FFF2-40B4-BE49-F238E27FC236}">
                <a16:creationId xmlns:a16="http://schemas.microsoft.com/office/drawing/2014/main" id="{E7C4B0E0-30B2-C68E-3EBE-CC06AADA5FB4}"/>
              </a:ext>
            </a:extLst>
          </p:cNvPr>
          <p:cNvSpPr>
            <a:spLocks noGrp="1"/>
          </p:cNvSpPr>
          <p:nvPr>
            <p:ph type="body" sz="quarter" idx="14" hasCustomPrompt="1"/>
          </p:nvPr>
        </p:nvSpPr>
        <p:spPr>
          <a:xfrm>
            <a:off x="1" y="6592824"/>
            <a:ext cx="8809038"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5" name="Text Placeholder 3">
            <a:extLst>
              <a:ext uri="{FF2B5EF4-FFF2-40B4-BE49-F238E27FC236}">
                <a16:creationId xmlns:a16="http://schemas.microsoft.com/office/drawing/2014/main" id="{48B4B606-7439-24EA-0A50-1B6C355D7EC4}"/>
              </a:ext>
            </a:extLst>
          </p:cNvPr>
          <p:cNvSpPr>
            <a:spLocks noGrp="1"/>
          </p:cNvSpPr>
          <p:nvPr>
            <p:ph type="body" sz="quarter" idx="11" hasCustomPrompt="1"/>
          </p:nvPr>
        </p:nvSpPr>
        <p:spPr>
          <a:xfrm>
            <a:off x="0" y="1081907"/>
            <a:ext cx="12191999" cy="453183"/>
          </a:xfrm>
          <a:prstGeom prst="rect">
            <a:avLst/>
          </a:prstGeom>
          <a:solidFill>
            <a:srgbClr val="8D8F99"/>
          </a:solidFill>
        </p:spPr>
        <p:txBody>
          <a:bodyPr wrap="square" lIns="360000" tIns="72000" rIns="360000" bIns="72000">
            <a:no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8" name="Text Placeholder 2">
            <a:extLst>
              <a:ext uri="{FF2B5EF4-FFF2-40B4-BE49-F238E27FC236}">
                <a16:creationId xmlns:a16="http://schemas.microsoft.com/office/drawing/2014/main" id="{091958A4-2E58-1740-8466-805EFF72D6DE}"/>
              </a:ext>
            </a:extLst>
          </p:cNvPr>
          <p:cNvSpPr>
            <a:spLocks noGrp="1"/>
          </p:cNvSpPr>
          <p:nvPr>
            <p:ph type="body" sz="quarter" idx="16"/>
          </p:nvPr>
        </p:nvSpPr>
        <p:spPr>
          <a:xfrm>
            <a:off x="8809039" y="1535090"/>
            <a:ext cx="3382962" cy="5322910"/>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696357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defRPr sz="3200"/>
            </a:lvl1pPr>
            <a:lvl2pPr>
              <a:defRPr sz="2800"/>
            </a:lvl2pPr>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4155369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LBU Callout w notes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5" name="Text Placeholder 3">
            <a:extLst>
              <a:ext uri="{FF2B5EF4-FFF2-40B4-BE49-F238E27FC236}">
                <a16:creationId xmlns:a16="http://schemas.microsoft.com/office/drawing/2014/main" id="{D1F739F6-6BFD-402A-555F-E4FF1D2B6AE2}"/>
              </a:ext>
            </a:extLst>
          </p:cNvPr>
          <p:cNvSpPr>
            <a:spLocks noGrp="1"/>
          </p:cNvSpPr>
          <p:nvPr>
            <p:ph type="body" sz="quarter" idx="11" hasCustomPrompt="1"/>
          </p:nvPr>
        </p:nvSpPr>
        <p:spPr>
          <a:xfrm>
            <a:off x="0" y="1081907"/>
            <a:ext cx="12191999" cy="453183"/>
          </a:xfrm>
          <a:prstGeom prst="rect">
            <a:avLst/>
          </a:prstGeom>
          <a:solidFill>
            <a:srgbClr val="8D8F99"/>
          </a:solidFill>
        </p:spPr>
        <p:txBody>
          <a:bodyPr wrap="square" lIns="360000" tIns="72000" rIns="360000" bIns="72000">
            <a:no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8" name="Text Placeholder 3">
            <a:extLst>
              <a:ext uri="{FF2B5EF4-FFF2-40B4-BE49-F238E27FC236}">
                <a16:creationId xmlns:a16="http://schemas.microsoft.com/office/drawing/2014/main" id="{44525C16-7D83-9EF7-AD21-5BE7A1A3DD22}"/>
              </a:ext>
            </a:extLst>
          </p:cNvPr>
          <p:cNvSpPr>
            <a:spLocks noGrp="1"/>
          </p:cNvSpPr>
          <p:nvPr>
            <p:ph type="body" sz="quarter" idx="14" hasCustomPrompt="1"/>
          </p:nvPr>
        </p:nvSpPr>
        <p:spPr>
          <a:xfrm>
            <a:off x="1" y="6416189"/>
            <a:ext cx="8805990" cy="262943"/>
          </a:xfrm>
          <a:noFill/>
        </p:spPr>
        <p:txBody>
          <a:bodyPr wrap="square" lIns="180000" tIns="36000" rIns="180000" bIns="72000" anchor="b" anchorCtr="0">
            <a:sp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6" name="Text Placeholder 2">
            <a:extLst>
              <a:ext uri="{FF2B5EF4-FFF2-40B4-BE49-F238E27FC236}">
                <a16:creationId xmlns:a16="http://schemas.microsoft.com/office/drawing/2014/main" id="{B1635388-5BBD-7335-16D1-DB27D35887F4}"/>
              </a:ext>
            </a:extLst>
          </p:cNvPr>
          <p:cNvSpPr>
            <a:spLocks noGrp="1"/>
          </p:cNvSpPr>
          <p:nvPr>
            <p:ph type="body" sz="quarter" idx="16"/>
          </p:nvPr>
        </p:nvSpPr>
        <p:spPr>
          <a:xfrm>
            <a:off x="8809038" y="1535090"/>
            <a:ext cx="3382962" cy="5144042"/>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4881316"/>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Content Only w notes w reference">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701AFE86-EAD4-253D-A6EE-FEBF804D07F5}"/>
              </a:ext>
            </a:extLst>
          </p:cNvPr>
          <p:cNvSpPr>
            <a:spLocks noGrp="1"/>
          </p:cNvSpPr>
          <p:nvPr>
            <p:ph type="body" sz="quarter" idx="16"/>
          </p:nvPr>
        </p:nvSpPr>
        <p:spPr>
          <a:xfrm>
            <a:off x="8809038" y="1078992"/>
            <a:ext cx="3382962" cy="577900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6" name="Text Placeholder 3">
            <a:extLst>
              <a:ext uri="{FF2B5EF4-FFF2-40B4-BE49-F238E27FC236}">
                <a16:creationId xmlns:a16="http://schemas.microsoft.com/office/drawing/2014/main" id="{E7C4B0E0-30B2-C68E-3EBE-CC06AADA5FB4}"/>
              </a:ext>
            </a:extLst>
          </p:cNvPr>
          <p:cNvSpPr>
            <a:spLocks noGrp="1"/>
          </p:cNvSpPr>
          <p:nvPr>
            <p:ph type="body" sz="quarter" idx="14" hasCustomPrompt="1"/>
          </p:nvPr>
        </p:nvSpPr>
        <p:spPr>
          <a:xfrm>
            <a:off x="1" y="6592824"/>
            <a:ext cx="8809038"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5" name="Content Placeholder 4">
            <a:extLst>
              <a:ext uri="{FF2B5EF4-FFF2-40B4-BE49-F238E27FC236}">
                <a16:creationId xmlns:a16="http://schemas.microsoft.com/office/drawing/2014/main" id="{1B58C873-566F-4F81-F143-EBA82D7824F0}"/>
              </a:ext>
            </a:extLst>
          </p:cNvPr>
          <p:cNvSpPr>
            <a:spLocks noGrp="1"/>
          </p:cNvSpPr>
          <p:nvPr>
            <p:ph sz="quarter" idx="12" hasCustomPrompt="1"/>
          </p:nvPr>
        </p:nvSpPr>
        <p:spPr>
          <a:xfrm>
            <a:off x="719669" y="1274618"/>
            <a:ext cx="7906172" cy="5288742"/>
          </a:xfrm>
          <a:prstGeom prst="rect">
            <a:avLst/>
          </a:prstGeom>
        </p:spPr>
        <p:txBody>
          <a:bodyPr>
            <a:noAutofit/>
          </a:bodyPr>
          <a:lstStyle>
            <a:lvl1pPr>
              <a:spcBef>
                <a:spcPts val="1200"/>
              </a:spcBef>
              <a:spcAft>
                <a:spcPts val="1200"/>
              </a:spcAft>
              <a:buClr>
                <a:schemeClr val="accent2">
                  <a:lumMod val="75000"/>
                </a:schemeClr>
              </a:buClr>
              <a:defRPr>
                <a:solidFill>
                  <a:schemeClr val="tx1">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94296349"/>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LBU Content Only w notes w reference_2">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A73F6500-357D-6C81-614C-186131ED24BF}"/>
              </a:ext>
            </a:extLst>
          </p:cNvPr>
          <p:cNvSpPr>
            <a:spLocks noGrp="1"/>
          </p:cNvSpPr>
          <p:nvPr>
            <p:ph type="body" sz="quarter" idx="16"/>
          </p:nvPr>
        </p:nvSpPr>
        <p:spPr>
          <a:xfrm>
            <a:off x="8809038" y="1078992"/>
            <a:ext cx="3382962" cy="559612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8" name="Text Placeholder 3">
            <a:extLst>
              <a:ext uri="{FF2B5EF4-FFF2-40B4-BE49-F238E27FC236}">
                <a16:creationId xmlns:a16="http://schemas.microsoft.com/office/drawing/2014/main" id="{44525C16-7D83-9EF7-AD21-5BE7A1A3DD22}"/>
              </a:ext>
            </a:extLst>
          </p:cNvPr>
          <p:cNvSpPr>
            <a:spLocks noGrp="1"/>
          </p:cNvSpPr>
          <p:nvPr>
            <p:ph type="body" sz="quarter" idx="14" hasCustomPrompt="1"/>
          </p:nvPr>
        </p:nvSpPr>
        <p:spPr>
          <a:xfrm>
            <a:off x="1" y="6416189"/>
            <a:ext cx="8805990" cy="262943"/>
          </a:xfrm>
          <a:noFill/>
        </p:spPr>
        <p:txBody>
          <a:bodyPr wrap="square" lIns="180000" tIns="36000" rIns="180000" bIns="72000" anchor="b" anchorCtr="0">
            <a:sp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5" name="Content Placeholder 4">
            <a:extLst>
              <a:ext uri="{FF2B5EF4-FFF2-40B4-BE49-F238E27FC236}">
                <a16:creationId xmlns:a16="http://schemas.microsoft.com/office/drawing/2014/main" id="{22D3947B-7BF1-4243-BA47-8AD9125DF320}"/>
              </a:ext>
            </a:extLst>
          </p:cNvPr>
          <p:cNvSpPr>
            <a:spLocks noGrp="1"/>
          </p:cNvSpPr>
          <p:nvPr>
            <p:ph sz="quarter" idx="12" hasCustomPrompt="1"/>
          </p:nvPr>
        </p:nvSpPr>
        <p:spPr>
          <a:xfrm>
            <a:off x="719669" y="1274619"/>
            <a:ext cx="7906172" cy="5012520"/>
          </a:xfrm>
          <a:prstGeom prst="rect">
            <a:avLst/>
          </a:prstGeom>
        </p:spPr>
        <p:txBody>
          <a:bodyPr>
            <a:noAutofit/>
          </a:bodyPr>
          <a:lstStyle>
            <a:lvl1pPr>
              <a:spcBef>
                <a:spcPts val="1200"/>
              </a:spcBef>
              <a:spcAft>
                <a:spcPts val="1200"/>
              </a:spcAft>
              <a:buClr>
                <a:schemeClr val="accent2">
                  <a:lumMod val="75000"/>
                </a:schemeClr>
              </a:buClr>
              <a:defRPr>
                <a:solidFill>
                  <a:schemeClr val="tx1">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5818396"/>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itle and Content w notes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6" name="Text Placeholder 3">
            <a:extLst>
              <a:ext uri="{FF2B5EF4-FFF2-40B4-BE49-F238E27FC236}">
                <a16:creationId xmlns:a16="http://schemas.microsoft.com/office/drawing/2014/main" id="{E7C4B0E0-30B2-C68E-3EBE-CC06AADA5FB4}"/>
              </a:ext>
            </a:extLst>
          </p:cNvPr>
          <p:cNvSpPr>
            <a:spLocks noGrp="1"/>
          </p:cNvSpPr>
          <p:nvPr>
            <p:ph type="body" sz="quarter" idx="14" hasCustomPrompt="1"/>
          </p:nvPr>
        </p:nvSpPr>
        <p:spPr>
          <a:xfrm>
            <a:off x="0" y="6592824"/>
            <a:ext cx="9132981"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4" name="Text Placeholder 3">
            <a:extLst>
              <a:ext uri="{FF2B5EF4-FFF2-40B4-BE49-F238E27FC236}">
                <a16:creationId xmlns:a16="http://schemas.microsoft.com/office/drawing/2014/main" id="{EBAB14D2-F5FD-20D1-7BCE-2CAD1ADF0C1D}"/>
              </a:ext>
            </a:extLst>
          </p:cNvPr>
          <p:cNvSpPr>
            <a:spLocks noGrp="1"/>
          </p:cNvSpPr>
          <p:nvPr>
            <p:ph type="body" sz="quarter" idx="11" hasCustomPrompt="1"/>
          </p:nvPr>
        </p:nvSpPr>
        <p:spPr>
          <a:xfrm>
            <a:off x="0" y="1081907"/>
            <a:ext cx="9099931" cy="453183"/>
          </a:xfrm>
          <a:prstGeom prst="rect">
            <a:avLst/>
          </a:prstGeom>
          <a:noFill/>
        </p:spPr>
        <p:txBody>
          <a:bodyPr wrap="square" lIns="360000" tIns="72000" rIns="360000" bIns="72000" anchor="ctr" anchorCtr="0">
            <a:noAutofit/>
          </a:bodyPr>
          <a:lstStyle>
            <a:lvl1pPr algn="ctr">
              <a:lnSpc>
                <a:spcPct val="100000"/>
              </a:lnSpc>
              <a:defRPr sz="2000" b="1" cap="none" baseline="0">
                <a:solidFill>
                  <a:schemeClr val="tx1">
                    <a:lumMod val="75000"/>
                  </a:schemeClr>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7" name="Content Placeholder 4">
            <a:extLst>
              <a:ext uri="{FF2B5EF4-FFF2-40B4-BE49-F238E27FC236}">
                <a16:creationId xmlns:a16="http://schemas.microsoft.com/office/drawing/2014/main" id="{EF7EF9C3-45FE-BA9F-F6E8-33F5AF37B88A}"/>
              </a:ext>
            </a:extLst>
          </p:cNvPr>
          <p:cNvSpPr>
            <a:spLocks noGrp="1"/>
          </p:cNvSpPr>
          <p:nvPr>
            <p:ph sz="quarter" idx="12" hasCustomPrompt="1"/>
          </p:nvPr>
        </p:nvSpPr>
        <p:spPr>
          <a:xfrm>
            <a:off x="719669" y="1817224"/>
            <a:ext cx="7906172" cy="4746135"/>
          </a:xfrm>
          <a:prstGeom prst="rect">
            <a:avLst/>
          </a:prstGeom>
        </p:spPr>
        <p:txBody>
          <a:bodyPr>
            <a:noAutofit/>
          </a:bodyPr>
          <a:lstStyle>
            <a:lvl1pPr>
              <a:spcBef>
                <a:spcPts val="1200"/>
              </a:spcBef>
              <a:spcAft>
                <a:spcPts val="1200"/>
              </a:spcAft>
              <a:buClr>
                <a:schemeClr val="accent2">
                  <a:lumMod val="75000"/>
                </a:schemeClr>
              </a:buClr>
              <a:defRPr>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C63C06EE-3610-97E9-9B3E-F87CA173FBF2}"/>
              </a:ext>
            </a:extLst>
          </p:cNvPr>
          <p:cNvSpPr>
            <a:spLocks noGrp="1"/>
          </p:cNvSpPr>
          <p:nvPr>
            <p:ph type="body" sz="quarter" idx="15"/>
          </p:nvPr>
        </p:nvSpPr>
        <p:spPr>
          <a:xfrm>
            <a:off x="9132982" y="1078992"/>
            <a:ext cx="3059017" cy="577900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5700701"/>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LBU Title and Content w notes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4" name="Text Placeholder 3">
            <a:extLst>
              <a:ext uri="{FF2B5EF4-FFF2-40B4-BE49-F238E27FC236}">
                <a16:creationId xmlns:a16="http://schemas.microsoft.com/office/drawing/2014/main" id="{EBAB14D2-F5FD-20D1-7BCE-2CAD1ADF0C1D}"/>
              </a:ext>
            </a:extLst>
          </p:cNvPr>
          <p:cNvSpPr>
            <a:spLocks noGrp="1"/>
          </p:cNvSpPr>
          <p:nvPr>
            <p:ph type="body" sz="quarter" idx="11" hasCustomPrompt="1"/>
          </p:nvPr>
        </p:nvSpPr>
        <p:spPr>
          <a:xfrm>
            <a:off x="0" y="1081907"/>
            <a:ext cx="8809037" cy="453183"/>
          </a:xfrm>
          <a:prstGeom prst="rect">
            <a:avLst/>
          </a:prstGeom>
          <a:noFill/>
        </p:spPr>
        <p:txBody>
          <a:bodyPr wrap="square" lIns="360000" tIns="72000" rIns="360000" bIns="72000" anchor="ctr" anchorCtr="0">
            <a:noAutofit/>
          </a:bodyPr>
          <a:lstStyle>
            <a:lvl1pPr algn="ctr">
              <a:lnSpc>
                <a:spcPct val="100000"/>
              </a:lnSpc>
              <a:defRPr sz="2000" b="1" cap="none" baseline="0">
                <a:solidFill>
                  <a:schemeClr val="tx1">
                    <a:lumMod val="75000"/>
                  </a:schemeClr>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8" name="Text Placeholder 3">
            <a:extLst>
              <a:ext uri="{FF2B5EF4-FFF2-40B4-BE49-F238E27FC236}">
                <a16:creationId xmlns:a16="http://schemas.microsoft.com/office/drawing/2014/main" id="{44525C16-7D83-9EF7-AD21-5BE7A1A3DD22}"/>
              </a:ext>
            </a:extLst>
          </p:cNvPr>
          <p:cNvSpPr>
            <a:spLocks noGrp="1"/>
          </p:cNvSpPr>
          <p:nvPr>
            <p:ph type="body" sz="quarter" idx="14" hasCustomPrompt="1"/>
          </p:nvPr>
        </p:nvSpPr>
        <p:spPr>
          <a:xfrm>
            <a:off x="1" y="6416189"/>
            <a:ext cx="8805990" cy="262943"/>
          </a:xfrm>
          <a:noFill/>
        </p:spPr>
        <p:txBody>
          <a:bodyPr wrap="square" lIns="180000" tIns="36000" rIns="180000" bIns="72000" anchor="b" anchorCtr="0">
            <a:spAutoFit/>
          </a:bodyPr>
          <a:lstStyle>
            <a:lvl1pPr>
              <a:lnSpc>
                <a:spcPct val="100000"/>
              </a:lnSpc>
              <a:spcAft>
                <a:spcPts val="0"/>
              </a:spcAft>
              <a:defRPr sz="1000" b="0" i="0"/>
            </a:lvl1pPr>
          </a:lstStyle>
          <a:p>
            <a:pPr lvl="0"/>
            <a:r>
              <a:rPr lang="en-US"/>
              <a:t>Reference</a:t>
            </a:r>
          </a:p>
        </p:txBody>
      </p:sp>
      <p:sp>
        <p:nvSpPr>
          <p:cNvPr id="6" name="Content Placeholder 4">
            <a:extLst>
              <a:ext uri="{FF2B5EF4-FFF2-40B4-BE49-F238E27FC236}">
                <a16:creationId xmlns:a16="http://schemas.microsoft.com/office/drawing/2014/main" id="{B86EA14C-1F1E-FECF-0839-B22780167549}"/>
              </a:ext>
            </a:extLst>
          </p:cNvPr>
          <p:cNvSpPr>
            <a:spLocks noGrp="1"/>
          </p:cNvSpPr>
          <p:nvPr>
            <p:ph sz="quarter" idx="12" hasCustomPrompt="1"/>
          </p:nvPr>
        </p:nvSpPr>
        <p:spPr>
          <a:xfrm>
            <a:off x="719669" y="1817225"/>
            <a:ext cx="7906172" cy="4404708"/>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2">
            <a:extLst>
              <a:ext uri="{FF2B5EF4-FFF2-40B4-BE49-F238E27FC236}">
                <a16:creationId xmlns:a16="http://schemas.microsoft.com/office/drawing/2014/main" id="{43BCADD7-33A4-74C0-71F3-48AAC676BE17}"/>
              </a:ext>
            </a:extLst>
          </p:cNvPr>
          <p:cNvSpPr>
            <a:spLocks noGrp="1"/>
          </p:cNvSpPr>
          <p:nvPr>
            <p:ph type="body" sz="quarter" idx="16"/>
          </p:nvPr>
        </p:nvSpPr>
        <p:spPr>
          <a:xfrm>
            <a:off x="8809038" y="1078992"/>
            <a:ext cx="3382962" cy="559612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6398340"/>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Callout and Content w notes w reference">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14E2EF5E-3825-E16A-B3DA-254C66D346A4}"/>
              </a:ext>
            </a:extLst>
          </p:cNvPr>
          <p:cNvSpPr>
            <a:spLocks noGrp="1"/>
          </p:cNvSpPr>
          <p:nvPr>
            <p:ph type="body" sz="quarter" idx="16"/>
          </p:nvPr>
        </p:nvSpPr>
        <p:spPr>
          <a:xfrm>
            <a:off x="8809038" y="1535090"/>
            <a:ext cx="3382962" cy="5322910"/>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6" name="Text Placeholder 3">
            <a:extLst>
              <a:ext uri="{FF2B5EF4-FFF2-40B4-BE49-F238E27FC236}">
                <a16:creationId xmlns:a16="http://schemas.microsoft.com/office/drawing/2014/main" id="{E7C4B0E0-30B2-C68E-3EBE-CC06AADA5FB4}"/>
              </a:ext>
            </a:extLst>
          </p:cNvPr>
          <p:cNvSpPr>
            <a:spLocks noGrp="1"/>
          </p:cNvSpPr>
          <p:nvPr>
            <p:ph type="body" sz="quarter" idx="14" hasCustomPrompt="1"/>
          </p:nvPr>
        </p:nvSpPr>
        <p:spPr>
          <a:xfrm>
            <a:off x="1" y="6592824"/>
            <a:ext cx="8809038"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5" name="Text Placeholder 3">
            <a:extLst>
              <a:ext uri="{FF2B5EF4-FFF2-40B4-BE49-F238E27FC236}">
                <a16:creationId xmlns:a16="http://schemas.microsoft.com/office/drawing/2014/main" id="{48B4B606-7439-24EA-0A50-1B6C355D7EC4}"/>
              </a:ext>
            </a:extLst>
          </p:cNvPr>
          <p:cNvSpPr>
            <a:spLocks noGrp="1"/>
          </p:cNvSpPr>
          <p:nvPr>
            <p:ph type="body" sz="quarter" idx="11" hasCustomPrompt="1"/>
          </p:nvPr>
        </p:nvSpPr>
        <p:spPr>
          <a:xfrm>
            <a:off x="0" y="1081907"/>
            <a:ext cx="12191999" cy="453183"/>
          </a:xfrm>
          <a:prstGeom prst="rect">
            <a:avLst/>
          </a:prstGeom>
          <a:solidFill>
            <a:srgbClr val="8D8F99"/>
          </a:solidFill>
        </p:spPr>
        <p:txBody>
          <a:bodyPr wrap="square" lIns="360000" tIns="72000" rIns="360000" bIns="72000">
            <a:no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4" name="Content Placeholder 4">
            <a:extLst>
              <a:ext uri="{FF2B5EF4-FFF2-40B4-BE49-F238E27FC236}">
                <a16:creationId xmlns:a16="http://schemas.microsoft.com/office/drawing/2014/main" id="{9C47189E-4003-A1AE-BCA1-AC24366309EE}"/>
              </a:ext>
            </a:extLst>
          </p:cNvPr>
          <p:cNvSpPr>
            <a:spLocks noGrp="1"/>
          </p:cNvSpPr>
          <p:nvPr>
            <p:ph sz="quarter" idx="12" hasCustomPrompt="1"/>
          </p:nvPr>
        </p:nvSpPr>
        <p:spPr>
          <a:xfrm>
            <a:off x="719669" y="1817224"/>
            <a:ext cx="7906172" cy="4746135"/>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3540961"/>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LBU Callout and Content w notes w reference_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5" name="Text Placeholder 3">
            <a:extLst>
              <a:ext uri="{FF2B5EF4-FFF2-40B4-BE49-F238E27FC236}">
                <a16:creationId xmlns:a16="http://schemas.microsoft.com/office/drawing/2014/main" id="{D1F739F6-6BFD-402A-555F-E4FF1D2B6AE2}"/>
              </a:ext>
            </a:extLst>
          </p:cNvPr>
          <p:cNvSpPr>
            <a:spLocks noGrp="1"/>
          </p:cNvSpPr>
          <p:nvPr>
            <p:ph type="body" sz="quarter" idx="11" hasCustomPrompt="1"/>
          </p:nvPr>
        </p:nvSpPr>
        <p:spPr>
          <a:xfrm>
            <a:off x="0" y="1081907"/>
            <a:ext cx="12191999" cy="453183"/>
          </a:xfrm>
          <a:prstGeom prst="rect">
            <a:avLst/>
          </a:prstGeom>
          <a:solidFill>
            <a:srgbClr val="8D8F99"/>
          </a:solidFill>
        </p:spPr>
        <p:txBody>
          <a:bodyPr wrap="square" lIns="360000" tIns="72000" rIns="360000" bIns="72000">
            <a:no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8" name="Text Placeholder 3">
            <a:extLst>
              <a:ext uri="{FF2B5EF4-FFF2-40B4-BE49-F238E27FC236}">
                <a16:creationId xmlns:a16="http://schemas.microsoft.com/office/drawing/2014/main" id="{44525C16-7D83-9EF7-AD21-5BE7A1A3DD22}"/>
              </a:ext>
            </a:extLst>
          </p:cNvPr>
          <p:cNvSpPr>
            <a:spLocks noGrp="1"/>
          </p:cNvSpPr>
          <p:nvPr>
            <p:ph type="body" sz="quarter" idx="14" hasCustomPrompt="1"/>
          </p:nvPr>
        </p:nvSpPr>
        <p:spPr>
          <a:xfrm>
            <a:off x="1" y="6416189"/>
            <a:ext cx="8805990" cy="262943"/>
          </a:xfrm>
          <a:noFill/>
        </p:spPr>
        <p:txBody>
          <a:bodyPr wrap="square" lIns="180000" tIns="36000" rIns="180000" bIns="72000" anchor="b" anchorCtr="0">
            <a:sp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4" name="Content Placeholder 4">
            <a:extLst>
              <a:ext uri="{FF2B5EF4-FFF2-40B4-BE49-F238E27FC236}">
                <a16:creationId xmlns:a16="http://schemas.microsoft.com/office/drawing/2014/main" id="{CBFB835D-D6B5-9649-953C-71EFD2EA2461}"/>
              </a:ext>
            </a:extLst>
          </p:cNvPr>
          <p:cNvSpPr>
            <a:spLocks noGrp="1"/>
          </p:cNvSpPr>
          <p:nvPr>
            <p:ph sz="quarter" idx="12" hasCustomPrompt="1"/>
          </p:nvPr>
        </p:nvSpPr>
        <p:spPr>
          <a:xfrm>
            <a:off x="719669" y="1817225"/>
            <a:ext cx="7906172" cy="4431176"/>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a:extLst>
              <a:ext uri="{FF2B5EF4-FFF2-40B4-BE49-F238E27FC236}">
                <a16:creationId xmlns:a16="http://schemas.microsoft.com/office/drawing/2014/main" id="{BE6D5E2E-DFEA-FED2-4D6F-D09C801F770C}"/>
              </a:ext>
            </a:extLst>
          </p:cNvPr>
          <p:cNvSpPr>
            <a:spLocks noGrp="1"/>
          </p:cNvSpPr>
          <p:nvPr>
            <p:ph type="body" sz="quarter" idx="16"/>
          </p:nvPr>
        </p:nvSpPr>
        <p:spPr>
          <a:xfrm>
            <a:off x="8809038" y="1535090"/>
            <a:ext cx="3382962" cy="5144042"/>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5615481"/>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Clear w notes left w reference">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6994AFB7-A743-154B-A4B6-3F58EA038DC5}"/>
              </a:ext>
            </a:extLst>
          </p:cNvPr>
          <p:cNvSpPr>
            <a:spLocks noGrp="1"/>
          </p:cNvSpPr>
          <p:nvPr>
            <p:ph type="body" sz="quarter" idx="16"/>
          </p:nvPr>
        </p:nvSpPr>
        <p:spPr>
          <a:xfrm>
            <a:off x="0" y="1078992"/>
            <a:ext cx="3382962" cy="577900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6" name="Text Placeholder 3">
            <a:extLst>
              <a:ext uri="{FF2B5EF4-FFF2-40B4-BE49-F238E27FC236}">
                <a16:creationId xmlns:a16="http://schemas.microsoft.com/office/drawing/2014/main" id="{E7C4B0E0-30B2-C68E-3EBE-CC06AADA5FB4}"/>
              </a:ext>
            </a:extLst>
          </p:cNvPr>
          <p:cNvSpPr>
            <a:spLocks noGrp="1"/>
          </p:cNvSpPr>
          <p:nvPr>
            <p:ph type="body" sz="quarter" idx="14" hasCustomPrompt="1"/>
          </p:nvPr>
        </p:nvSpPr>
        <p:spPr>
          <a:xfrm>
            <a:off x="3383279" y="6592824"/>
            <a:ext cx="8808721"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4121479439"/>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BU Clear w notes left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4" name="Text Placeholder 3">
            <a:extLst>
              <a:ext uri="{FF2B5EF4-FFF2-40B4-BE49-F238E27FC236}">
                <a16:creationId xmlns:a16="http://schemas.microsoft.com/office/drawing/2014/main" id="{9B96F56F-431A-3A92-8153-AF0DF4A92A65}"/>
              </a:ext>
            </a:extLst>
          </p:cNvPr>
          <p:cNvSpPr>
            <a:spLocks noGrp="1"/>
          </p:cNvSpPr>
          <p:nvPr>
            <p:ph type="body" sz="quarter" idx="14" hasCustomPrompt="1"/>
          </p:nvPr>
        </p:nvSpPr>
        <p:spPr>
          <a:xfrm>
            <a:off x="3383280" y="6416189"/>
            <a:ext cx="8808719" cy="262943"/>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9" name="Text Placeholder 2">
            <a:extLst>
              <a:ext uri="{FF2B5EF4-FFF2-40B4-BE49-F238E27FC236}">
                <a16:creationId xmlns:a16="http://schemas.microsoft.com/office/drawing/2014/main" id="{4BD3D663-D961-3F76-6F6F-68D36728E441}"/>
              </a:ext>
            </a:extLst>
          </p:cNvPr>
          <p:cNvSpPr>
            <a:spLocks noGrp="1"/>
          </p:cNvSpPr>
          <p:nvPr>
            <p:ph type="body" sz="quarter" idx="16"/>
          </p:nvPr>
        </p:nvSpPr>
        <p:spPr>
          <a:xfrm>
            <a:off x="0" y="1078992"/>
            <a:ext cx="3382962" cy="559612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2779659"/>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itle w notes left w reference">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21E186F2-1E51-466F-1C2C-7EC0A4E0B1BF}"/>
              </a:ext>
            </a:extLst>
          </p:cNvPr>
          <p:cNvSpPr>
            <a:spLocks noGrp="1"/>
          </p:cNvSpPr>
          <p:nvPr>
            <p:ph type="body" sz="quarter" idx="16"/>
          </p:nvPr>
        </p:nvSpPr>
        <p:spPr>
          <a:xfrm>
            <a:off x="0" y="1078992"/>
            <a:ext cx="3382962" cy="577900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6" name="Text Placeholder 3">
            <a:extLst>
              <a:ext uri="{FF2B5EF4-FFF2-40B4-BE49-F238E27FC236}">
                <a16:creationId xmlns:a16="http://schemas.microsoft.com/office/drawing/2014/main" id="{E7C4B0E0-30B2-C68E-3EBE-CC06AADA5FB4}"/>
              </a:ext>
            </a:extLst>
          </p:cNvPr>
          <p:cNvSpPr>
            <a:spLocks noGrp="1"/>
          </p:cNvSpPr>
          <p:nvPr>
            <p:ph type="body" sz="quarter" idx="14" hasCustomPrompt="1"/>
          </p:nvPr>
        </p:nvSpPr>
        <p:spPr>
          <a:xfrm>
            <a:off x="3383279" y="6592824"/>
            <a:ext cx="8808721"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4" name="Text Placeholder 3">
            <a:extLst>
              <a:ext uri="{FF2B5EF4-FFF2-40B4-BE49-F238E27FC236}">
                <a16:creationId xmlns:a16="http://schemas.microsoft.com/office/drawing/2014/main" id="{AEAB3E08-0F2B-3E13-894E-49CE3C116CF6}"/>
              </a:ext>
            </a:extLst>
          </p:cNvPr>
          <p:cNvSpPr>
            <a:spLocks noGrp="1"/>
          </p:cNvSpPr>
          <p:nvPr>
            <p:ph type="body" sz="quarter" idx="11" hasCustomPrompt="1"/>
          </p:nvPr>
        </p:nvSpPr>
        <p:spPr>
          <a:xfrm>
            <a:off x="3383280" y="1081907"/>
            <a:ext cx="8808720" cy="453183"/>
          </a:xfrm>
          <a:prstGeom prst="rect">
            <a:avLst/>
          </a:prstGeom>
          <a:noFill/>
        </p:spPr>
        <p:txBody>
          <a:bodyPr wrap="square" lIns="360000" tIns="72000" rIns="360000" bIns="72000">
            <a:noAutofit/>
          </a:bodyPr>
          <a:lstStyle>
            <a:lvl1pPr algn="ctr">
              <a:lnSpc>
                <a:spcPct val="100000"/>
              </a:lnSpc>
              <a:defRPr sz="2000" b="1" cap="none" baseline="0">
                <a:solidFill>
                  <a:schemeClr val="tx1">
                    <a:lumMod val="75000"/>
                  </a:schemeClr>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Tree>
    <p:extLst>
      <p:ext uri="{BB962C8B-B14F-4D97-AF65-F5344CB8AC3E}">
        <p14:creationId xmlns:p14="http://schemas.microsoft.com/office/powerpoint/2010/main" val="3668026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916FF65-E16B-BA4F-9591-6B4416106527}"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925138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62987" y="1144587"/>
            <a:ext cx="11262167" cy="5257800"/>
          </a:xfrm>
        </p:spPr>
        <p:txBody>
          <a:bodyPr lIns="274320" tIns="182880" rIns="182880" bIns="91440">
            <a:normAutofit/>
          </a:bodyPr>
          <a:lstStyle>
            <a:lvl1pPr marL="91440" indent="0">
              <a:lnSpc>
                <a:spcPts val="2600"/>
              </a:lnSpc>
              <a:spcBef>
                <a:spcPts val="800"/>
              </a:spcBef>
              <a:buNone/>
              <a:defRPr sz="2400" b="1">
                <a:solidFill>
                  <a:srgbClr val="505153"/>
                </a:solidFill>
              </a:defRPr>
            </a:lvl1pPr>
            <a:lvl2pPr>
              <a:defRPr sz="2800"/>
            </a:lvl2pPr>
            <a:lvl3pPr>
              <a:defRPr sz="2400"/>
            </a:lvl3pPr>
            <a:lvl4pPr>
              <a:defRPr sz="2000"/>
            </a:lvl4pPr>
            <a:lvl5pPr>
              <a:defRPr sz="2000"/>
            </a:lvl5pPr>
          </a:lstStyle>
          <a:p>
            <a:pPr lvl="0"/>
            <a:r>
              <a:rPr lang="en-US" dirty="0"/>
              <a:t>Click to edit Master text style</a:t>
            </a:r>
          </a:p>
        </p:txBody>
      </p:sp>
    </p:spTree>
    <p:extLst>
      <p:ext uri="{BB962C8B-B14F-4D97-AF65-F5344CB8AC3E}">
        <p14:creationId xmlns:p14="http://schemas.microsoft.com/office/powerpoint/2010/main" val="25486488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LBU Title w notes left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4" name="Text Placeholder 3">
            <a:extLst>
              <a:ext uri="{FF2B5EF4-FFF2-40B4-BE49-F238E27FC236}">
                <a16:creationId xmlns:a16="http://schemas.microsoft.com/office/drawing/2014/main" id="{9B96F56F-431A-3A92-8153-AF0DF4A92A65}"/>
              </a:ext>
            </a:extLst>
          </p:cNvPr>
          <p:cNvSpPr>
            <a:spLocks noGrp="1"/>
          </p:cNvSpPr>
          <p:nvPr>
            <p:ph type="body" sz="quarter" idx="14" hasCustomPrompt="1"/>
          </p:nvPr>
        </p:nvSpPr>
        <p:spPr>
          <a:xfrm>
            <a:off x="3383280" y="6416189"/>
            <a:ext cx="8808719" cy="262943"/>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6" name="Text Placeholder 3">
            <a:extLst>
              <a:ext uri="{FF2B5EF4-FFF2-40B4-BE49-F238E27FC236}">
                <a16:creationId xmlns:a16="http://schemas.microsoft.com/office/drawing/2014/main" id="{4101D225-71A4-F827-47CA-BED2058E56FA}"/>
              </a:ext>
            </a:extLst>
          </p:cNvPr>
          <p:cNvSpPr>
            <a:spLocks noGrp="1"/>
          </p:cNvSpPr>
          <p:nvPr>
            <p:ph type="body" sz="quarter" idx="11" hasCustomPrompt="1"/>
          </p:nvPr>
        </p:nvSpPr>
        <p:spPr>
          <a:xfrm>
            <a:off x="3383280" y="1081907"/>
            <a:ext cx="8808720" cy="453183"/>
          </a:xfrm>
          <a:prstGeom prst="rect">
            <a:avLst/>
          </a:prstGeom>
          <a:noFill/>
        </p:spPr>
        <p:txBody>
          <a:bodyPr wrap="square" lIns="360000" tIns="72000" rIns="360000" bIns="72000">
            <a:noAutofit/>
          </a:bodyPr>
          <a:lstStyle>
            <a:lvl1pPr algn="ctr">
              <a:lnSpc>
                <a:spcPct val="100000"/>
              </a:lnSpc>
              <a:defRPr sz="2000" b="1" cap="none" baseline="0">
                <a:solidFill>
                  <a:schemeClr val="tx1">
                    <a:lumMod val="75000"/>
                  </a:schemeClr>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8" name="Text Placeholder 2">
            <a:extLst>
              <a:ext uri="{FF2B5EF4-FFF2-40B4-BE49-F238E27FC236}">
                <a16:creationId xmlns:a16="http://schemas.microsoft.com/office/drawing/2014/main" id="{F52CFCE5-7FDA-2E1E-5827-30424F5DFC73}"/>
              </a:ext>
            </a:extLst>
          </p:cNvPr>
          <p:cNvSpPr>
            <a:spLocks noGrp="1"/>
          </p:cNvSpPr>
          <p:nvPr>
            <p:ph type="body" sz="quarter" idx="16"/>
          </p:nvPr>
        </p:nvSpPr>
        <p:spPr>
          <a:xfrm>
            <a:off x="0" y="1078992"/>
            <a:ext cx="3382962" cy="559612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1722654"/>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Callout w notes left w reference">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D839E98A-5F17-8C59-28B1-F22FC26B662B}"/>
              </a:ext>
            </a:extLst>
          </p:cNvPr>
          <p:cNvSpPr>
            <a:spLocks noGrp="1"/>
          </p:cNvSpPr>
          <p:nvPr>
            <p:ph type="body" sz="quarter" idx="16"/>
          </p:nvPr>
        </p:nvSpPr>
        <p:spPr>
          <a:xfrm>
            <a:off x="0" y="1078992"/>
            <a:ext cx="3382962" cy="577900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6" name="Text Placeholder 3">
            <a:extLst>
              <a:ext uri="{FF2B5EF4-FFF2-40B4-BE49-F238E27FC236}">
                <a16:creationId xmlns:a16="http://schemas.microsoft.com/office/drawing/2014/main" id="{E7C4B0E0-30B2-C68E-3EBE-CC06AADA5FB4}"/>
              </a:ext>
            </a:extLst>
          </p:cNvPr>
          <p:cNvSpPr>
            <a:spLocks noGrp="1"/>
          </p:cNvSpPr>
          <p:nvPr>
            <p:ph type="body" sz="quarter" idx="14" hasCustomPrompt="1"/>
          </p:nvPr>
        </p:nvSpPr>
        <p:spPr>
          <a:xfrm>
            <a:off x="3383279" y="6592824"/>
            <a:ext cx="8808721"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7" name="Text Placeholder 3">
            <a:extLst>
              <a:ext uri="{FF2B5EF4-FFF2-40B4-BE49-F238E27FC236}">
                <a16:creationId xmlns:a16="http://schemas.microsoft.com/office/drawing/2014/main" id="{B7734AFC-FE04-9749-382B-C699B3EEA4F9}"/>
              </a:ext>
            </a:extLst>
          </p:cNvPr>
          <p:cNvSpPr>
            <a:spLocks noGrp="1"/>
          </p:cNvSpPr>
          <p:nvPr>
            <p:ph type="body" sz="quarter" idx="11" hasCustomPrompt="1"/>
          </p:nvPr>
        </p:nvSpPr>
        <p:spPr>
          <a:xfrm>
            <a:off x="3382962" y="1081907"/>
            <a:ext cx="8809037" cy="453183"/>
          </a:xfrm>
          <a:prstGeom prst="rect">
            <a:avLst/>
          </a:prstGeom>
          <a:solidFill>
            <a:srgbClr val="8D8F99"/>
          </a:solidFill>
        </p:spPr>
        <p:txBody>
          <a:bodyPr wrap="square" lIns="360000" tIns="72000" rIns="360000" bIns="72000">
            <a:no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Tree>
    <p:extLst>
      <p:ext uri="{BB962C8B-B14F-4D97-AF65-F5344CB8AC3E}">
        <p14:creationId xmlns:p14="http://schemas.microsoft.com/office/powerpoint/2010/main" val="1972060987"/>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LBU Callout w notes left w reference">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FA4AC0B2-1B57-49FA-78CE-56EB5FE60768}"/>
              </a:ext>
            </a:extLst>
          </p:cNvPr>
          <p:cNvSpPr>
            <a:spLocks noGrp="1"/>
          </p:cNvSpPr>
          <p:nvPr>
            <p:ph type="body" sz="quarter" idx="16"/>
          </p:nvPr>
        </p:nvSpPr>
        <p:spPr>
          <a:xfrm>
            <a:off x="0" y="1078992"/>
            <a:ext cx="3382962" cy="559612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4" name="Text Placeholder 3">
            <a:extLst>
              <a:ext uri="{FF2B5EF4-FFF2-40B4-BE49-F238E27FC236}">
                <a16:creationId xmlns:a16="http://schemas.microsoft.com/office/drawing/2014/main" id="{9B96F56F-431A-3A92-8153-AF0DF4A92A65}"/>
              </a:ext>
            </a:extLst>
          </p:cNvPr>
          <p:cNvSpPr>
            <a:spLocks noGrp="1"/>
          </p:cNvSpPr>
          <p:nvPr>
            <p:ph type="body" sz="quarter" idx="14" hasCustomPrompt="1"/>
          </p:nvPr>
        </p:nvSpPr>
        <p:spPr>
          <a:xfrm>
            <a:off x="3383280" y="6416189"/>
            <a:ext cx="8808719" cy="262943"/>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8" name="Text Placeholder 3">
            <a:extLst>
              <a:ext uri="{FF2B5EF4-FFF2-40B4-BE49-F238E27FC236}">
                <a16:creationId xmlns:a16="http://schemas.microsoft.com/office/drawing/2014/main" id="{169B343C-D9D8-7BA0-B6DB-21161DF702D6}"/>
              </a:ext>
            </a:extLst>
          </p:cNvPr>
          <p:cNvSpPr>
            <a:spLocks noGrp="1"/>
          </p:cNvSpPr>
          <p:nvPr>
            <p:ph type="body" sz="quarter" idx="11" hasCustomPrompt="1"/>
          </p:nvPr>
        </p:nvSpPr>
        <p:spPr>
          <a:xfrm>
            <a:off x="3382962" y="1081907"/>
            <a:ext cx="8809037" cy="453183"/>
          </a:xfrm>
          <a:prstGeom prst="rect">
            <a:avLst/>
          </a:prstGeom>
          <a:solidFill>
            <a:srgbClr val="8D8F99"/>
          </a:solidFill>
        </p:spPr>
        <p:txBody>
          <a:bodyPr wrap="square" lIns="360000" tIns="72000" rIns="360000" bIns="72000">
            <a:no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Tree>
    <p:extLst>
      <p:ext uri="{BB962C8B-B14F-4D97-AF65-F5344CB8AC3E}">
        <p14:creationId xmlns:p14="http://schemas.microsoft.com/office/powerpoint/2010/main" val="1447829956"/>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Content Only w notes left w reference">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DADF3735-6D94-DE26-DC4D-3A26D2437DFC}"/>
              </a:ext>
            </a:extLst>
          </p:cNvPr>
          <p:cNvSpPr>
            <a:spLocks noGrp="1"/>
          </p:cNvSpPr>
          <p:nvPr>
            <p:ph type="body" sz="quarter" idx="16"/>
          </p:nvPr>
        </p:nvSpPr>
        <p:spPr>
          <a:xfrm>
            <a:off x="0" y="1078992"/>
            <a:ext cx="3382962" cy="577900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6" name="Text Placeholder 3">
            <a:extLst>
              <a:ext uri="{FF2B5EF4-FFF2-40B4-BE49-F238E27FC236}">
                <a16:creationId xmlns:a16="http://schemas.microsoft.com/office/drawing/2014/main" id="{E7C4B0E0-30B2-C68E-3EBE-CC06AADA5FB4}"/>
              </a:ext>
            </a:extLst>
          </p:cNvPr>
          <p:cNvSpPr>
            <a:spLocks noGrp="1"/>
          </p:cNvSpPr>
          <p:nvPr>
            <p:ph type="body" sz="quarter" idx="14" hasCustomPrompt="1"/>
          </p:nvPr>
        </p:nvSpPr>
        <p:spPr>
          <a:xfrm>
            <a:off x="3383279" y="6592824"/>
            <a:ext cx="8808721"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4" name="Content Placeholder 4">
            <a:extLst>
              <a:ext uri="{FF2B5EF4-FFF2-40B4-BE49-F238E27FC236}">
                <a16:creationId xmlns:a16="http://schemas.microsoft.com/office/drawing/2014/main" id="{07203FFF-6349-D3B0-08A3-56F11772B2A9}"/>
              </a:ext>
            </a:extLst>
          </p:cNvPr>
          <p:cNvSpPr>
            <a:spLocks noGrp="1"/>
          </p:cNvSpPr>
          <p:nvPr>
            <p:ph sz="quarter" idx="12" hasCustomPrompt="1"/>
          </p:nvPr>
        </p:nvSpPr>
        <p:spPr>
          <a:xfrm>
            <a:off x="3786960" y="1274618"/>
            <a:ext cx="7906172" cy="5288742"/>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10979882"/>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LBU Content Only w notes left w reference">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19A82CC2-698B-EBF1-F4F6-308421600A2B}"/>
              </a:ext>
            </a:extLst>
          </p:cNvPr>
          <p:cNvSpPr>
            <a:spLocks noGrp="1"/>
          </p:cNvSpPr>
          <p:nvPr>
            <p:ph type="body" sz="quarter" idx="16"/>
          </p:nvPr>
        </p:nvSpPr>
        <p:spPr>
          <a:xfrm>
            <a:off x="0" y="1078992"/>
            <a:ext cx="3382962" cy="559612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4" name="Text Placeholder 3">
            <a:extLst>
              <a:ext uri="{FF2B5EF4-FFF2-40B4-BE49-F238E27FC236}">
                <a16:creationId xmlns:a16="http://schemas.microsoft.com/office/drawing/2014/main" id="{9B96F56F-431A-3A92-8153-AF0DF4A92A65}"/>
              </a:ext>
            </a:extLst>
          </p:cNvPr>
          <p:cNvSpPr>
            <a:spLocks noGrp="1"/>
          </p:cNvSpPr>
          <p:nvPr>
            <p:ph type="body" sz="quarter" idx="14" hasCustomPrompt="1"/>
          </p:nvPr>
        </p:nvSpPr>
        <p:spPr>
          <a:xfrm>
            <a:off x="3383280" y="6416189"/>
            <a:ext cx="8808719" cy="262943"/>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6" name="Content Placeholder 4">
            <a:extLst>
              <a:ext uri="{FF2B5EF4-FFF2-40B4-BE49-F238E27FC236}">
                <a16:creationId xmlns:a16="http://schemas.microsoft.com/office/drawing/2014/main" id="{81B47914-EBDA-4376-BAF3-D1F59637F7BB}"/>
              </a:ext>
            </a:extLst>
          </p:cNvPr>
          <p:cNvSpPr>
            <a:spLocks noGrp="1"/>
          </p:cNvSpPr>
          <p:nvPr>
            <p:ph sz="quarter" idx="12" hasCustomPrompt="1"/>
          </p:nvPr>
        </p:nvSpPr>
        <p:spPr>
          <a:xfrm>
            <a:off x="3786960" y="1274618"/>
            <a:ext cx="7906172" cy="5004697"/>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6668214"/>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Clear w notes top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F0611FB-30E8-9A78-D235-32980648BCEC}"/>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564B210F-77FA-3B44-A84B-F5738364EAE1}"/>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4" name="Text Placeholder 3">
            <a:extLst>
              <a:ext uri="{FF2B5EF4-FFF2-40B4-BE49-F238E27FC236}">
                <a16:creationId xmlns:a16="http://schemas.microsoft.com/office/drawing/2014/main" id="{DF13644C-DAC6-DB43-5F1F-F6080B16CAD3}"/>
              </a:ext>
            </a:extLst>
          </p:cNvPr>
          <p:cNvSpPr>
            <a:spLocks noGrp="1"/>
          </p:cNvSpPr>
          <p:nvPr>
            <p:ph type="body" sz="quarter" idx="14" hasCustomPrompt="1"/>
          </p:nvPr>
        </p:nvSpPr>
        <p:spPr>
          <a:xfrm>
            <a:off x="0" y="6592824"/>
            <a:ext cx="12191999"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5" name="Text Placeholder 3">
            <a:extLst>
              <a:ext uri="{FF2B5EF4-FFF2-40B4-BE49-F238E27FC236}">
                <a16:creationId xmlns:a16="http://schemas.microsoft.com/office/drawing/2014/main" id="{CCF02F7A-5877-A1E3-0289-7F5719C9D886}"/>
              </a:ext>
            </a:extLst>
          </p:cNvPr>
          <p:cNvSpPr>
            <a:spLocks noGrp="1"/>
          </p:cNvSpPr>
          <p:nvPr>
            <p:ph type="body" sz="quarter" idx="13" hasCustomPrompt="1"/>
          </p:nvPr>
        </p:nvSpPr>
        <p:spPr>
          <a:xfrm>
            <a:off x="0" y="1084310"/>
            <a:ext cx="12191999" cy="1463040"/>
          </a:xfrm>
          <a:solidFill>
            <a:schemeClr val="accent4">
              <a:lumMod val="20000"/>
              <a:lumOff val="80000"/>
            </a:schemeClr>
          </a:solidFill>
        </p:spPr>
        <p:txBody>
          <a:bodyPr wrap="square" lIns="720000" tIns="182880" rIns="720000" bIns="182880" anchor="ctr" anchorCtr="0">
            <a:noAutofit/>
          </a:bodyPr>
          <a:lstStyle>
            <a:lvl1pPr>
              <a:defRPr sz="1600" b="0" i="0">
                <a:solidFill>
                  <a:schemeClr val="tx1">
                    <a:lumMod val="75000"/>
                  </a:schemeClr>
                </a:solidFill>
              </a:defRPr>
            </a:lvl1pPr>
          </a:lstStyle>
          <a:p>
            <a:pPr lvl="0"/>
            <a:r>
              <a:rPr lang="en-US"/>
              <a:t>Notes comes here</a:t>
            </a:r>
          </a:p>
        </p:txBody>
      </p:sp>
    </p:spTree>
    <p:extLst>
      <p:ext uri="{BB962C8B-B14F-4D97-AF65-F5344CB8AC3E}">
        <p14:creationId xmlns:p14="http://schemas.microsoft.com/office/powerpoint/2010/main" val="2218506931"/>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LBU Clear w notes top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6C019F1-3940-E34D-2FB4-781BD52BB0E4}"/>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8D1FA0F4-DC5A-7F72-BA3C-8FF3D9CE2C8D}"/>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7" name="Text Placeholder 3">
            <a:extLst>
              <a:ext uri="{FF2B5EF4-FFF2-40B4-BE49-F238E27FC236}">
                <a16:creationId xmlns:a16="http://schemas.microsoft.com/office/drawing/2014/main" id="{A7953720-7F64-647E-6534-4BB2BE2BB1AC}"/>
              </a:ext>
            </a:extLst>
          </p:cNvPr>
          <p:cNvSpPr>
            <a:spLocks noGrp="1"/>
          </p:cNvSpPr>
          <p:nvPr>
            <p:ph type="body" sz="quarter" idx="14" hasCustomPrompt="1"/>
          </p:nvPr>
        </p:nvSpPr>
        <p:spPr>
          <a:xfrm>
            <a:off x="0" y="6416189"/>
            <a:ext cx="12191999" cy="262943"/>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4" name="Text Placeholder 3">
            <a:extLst>
              <a:ext uri="{FF2B5EF4-FFF2-40B4-BE49-F238E27FC236}">
                <a16:creationId xmlns:a16="http://schemas.microsoft.com/office/drawing/2014/main" id="{C1D936C4-A31C-34BA-C73E-8A252FF69E35}"/>
              </a:ext>
            </a:extLst>
          </p:cNvPr>
          <p:cNvSpPr>
            <a:spLocks noGrp="1"/>
          </p:cNvSpPr>
          <p:nvPr>
            <p:ph type="body" sz="quarter" idx="13" hasCustomPrompt="1"/>
          </p:nvPr>
        </p:nvSpPr>
        <p:spPr>
          <a:xfrm>
            <a:off x="0" y="1084310"/>
            <a:ext cx="12191999" cy="1463040"/>
          </a:xfrm>
          <a:solidFill>
            <a:schemeClr val="accent4">
              <a:lumMod val="20000"/>
              <a:lumOff val="80000"/>
            </a:schemeClr>
          </a:solidFill>
        </p:spPr>
        <p:txBody>
          <a:bodyPr wrap="square" lIns="720000" tIns="182880" rIns="720000" bIns="182880" anchor="ctr" anchorCtr="0">
            <a:noAutofit/>
          </a:bodyPr>
          <a:lstStyle>
            <a:lvl1pPr>
              <a:defRPr sz="1600" b="0" i="0">
                <a:solidFill>
                  <a:schemeClr val="tx1">
                    <a:lumMod val="75000"/>
                  </a:schemeClr>
                </a:solidFill>
              </a:defRPr>
            </a:lvl1pPr>
          </a:lstStyle>
          <a:p>
            <a:pPr lvl="0"/>
            <a:r>
              <a:rPr lang="en-US"/>
              <a:t>Notes comes here</a:t>
            </a:r>
          </a:p>
        </p:txBody>
      </p:sp>
    </p:spTree>
    <p:extLst>
      <p:ext uri="{BB962C8B-B14F-4D97-AF65-F5344CB8AC3E}">
        <p14:creationId xmlns:p14="http://schemas.microsoft.com/office/powerpoint/2010/main" val="1780312758"/>
      </p:ext>
    </p:extLst>
  </p:cSld>
  <p:clrMapOvr>
    <a:masterClrMapping/>
  </p:clrMapOvr>
  <p:extLst>
    <p:ext uri="{DCECCB84-F9BA-43D5-87BE-67443E8EF086}">
      <p15:sldGuideLst xmlns:p15="http://schemas.microsoft.com/office/powerpoint/2012/main"/>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Content Only w notes top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F0611FB-30E8-9A78-D235-32980648BCEC}"/>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564B210F-77FA-3B44-A84B-F5738364EAE1}"/>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4" name="Text Placeholder 3">
            <a:extLst>
              <a:ext uri="{FF2B5EF4-FFF2-40B4-BE49-F238E27FC236}">
                <a16:creationId xmlns:a16="http://schemas.microsoft.com/office/drawing/2014/main" id="{DF13644C-DAC6-DB43-5F1F-F6080B16CAD3}"/>
              </a:ext>
            </a:extLst>
          </p:cNvPr>
          <p:cNvSpPr>
            <a:spLocks noGrp="1"/>
          </p:cNvSpPr>
          <p:nvPr>
            <p:ph type="body" sz="quarter" idx="14" hasCustomPrompt="1"/>
          </p:nvPr>
        </p:nvSpPr>
        <p:spPr>
          <a:xfrm>
            <a:off x="0" y="6592824"/>
            <a:ext cx="12191999"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5" name="Text Placeholder 3">
            <a:extLst>
              <a:ext uri="{FF2B5EF4-FFF2-40B4-BE49-F238E27FC236}">
                <a16:creationId xmlns:a16="http://schemas.microsoft.com/office/drawing/2014/main" id="{CCF02F7A-5877-A1E3-0289-7F5719C9D886}"/>
              </a:ext>
            </a:extLst>
          </p:cNvPr>
          <p:cNvSpPr>
            <a:spLocks noGrp="1"/>
          </p:cNvSpPr>
          <p:nvPr>
            <p:ph type="body" sz="quarter" idx="13" hasCustomPrompt="1"/>
          </p:nvPr>
        </p:nvSpPr>
        <p:spPr>
          <a:xfrm>
            <a:off x="0" y="1084310"/>
            <a:ext cx="12191999" cy="1463040"/>
          </a:xfrm>
          <a:solidFill>
            <a:schemeClr val="accent4">
              <a:lumMod val="20000"/>
              <a:lumOff val="80000"/>
            </a:schemeClr>
          </a:solidFill>
        </p:spPr>
        <p:txBody>
          <a:bodyPr wrap="square" lIns="720000" tIns="182880" rIns="720000" bIns="182880" anchor="ctr" anchorCtr="0">
            <a:noAutofit/>
          </a:bodyPr>
          <a:lstStyle>
            <a:lvl1pPr>
              <a:defRPr sz="1600" b="0" i="0">
                <a:solidFill>
                  <a:schemeClr val="tx1">
                    <a:lumMod val="75000"/>
                  </a:schemeClr>
                </a:solidFill>
              </a:defRPr>
            </a:lvl1pPr>
          </a:lstStyle>
          <a:p>
            <a:pPr lvl="0"/>
            <a:r>
              <a:rPr lang="en-US"/>
              <a:t>Notes comes here</a:t>
            </a:r>
          </a:p>
        </p:txBody>
      </p:sp>
      <p:sp>
        <p:nvSpPr>
          <p:cNvPr id="6" name="Content Placeholder 4">
            <a:extLst>
              <a:ext uri="{FF2B5EF4-FFF2-40B4-BE49-F238E27FC236}">
                <a16:creationId xmlns:a16="http://schemas.microsoft.com/office/drawing/2014/main" id="{5DF107A7-A928-AAFE-CB2B-FBB9D8F2B516}"/>
              </a:ext>
            </a:extLst>
          </p:cNvPr>
          <p:cNvSpPr>
            <a:spLocks noGrp="1"/>
          </p:cNvSpPr>
          <p:nvPr>
            <p:ph sz="quarter" idx="12" hasCustomPrompt="1"/>
          </p:nvPr>
        </p:nvSpPr>
        <p:spPr>
          <a:xfrm>
            <a:off x="719668" y="2772229"/>
            <a:ext cx="10752667" cy="3640928"/>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8572554"/>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LBU Content Only w notes top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6C019F1-3940-E34D-2FB4-781BD52BB0E4}"/>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8D1FA0F4-DC5A-7F72-BA3C-8FF3D9CE2C8D}"/>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7" name="Text Placeholder 3">
            <a:extLst>
              <a:ext uri="{FF2B5EF4-FFF2-40B4-BE49-F238E27FC236}">
                <a16:creationId xmlns:a16="http://schemas.microsoft.com/office/drawing/2014/main" id="{A7953720-7F64-647E-6534-4BB2BE2BB1AC}"/>
              </a:ext>
            </a:extLst>
          </p:cNvPr>
          <p:cNvSpPr>
            <a:spLocks noGrp="1"/>
          </p:cNvSpPr>
          <p:nvPr>
            <p:ph type="body" sz="quarter" idx="14" hasCustomPrompt="1"/>
          </p:nvPr>
        </p:nvSpPr>
        <p:spPr>
          <a:xfrm>
            <a:off x="0" y="6416189"/>
            <a:ext cx="12191999" cy="262943"/>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4" name="Text Placeholder 3">
            <a:extLst>
              <a:ext uri="{FF2B5EF4-FFF2-40B4-BE49-F238E27FC236}">
                <a16:creationId xmlns:a16="http://schemas.microsoft.com/office/drawing/2014/main" id="{C1D936C4-A31C-34BA-C73E-8A252FF69E35}"/>
              </a:ext>
            </a:extLst>
          </p:cNvPr>
          <p:cNvSpPr>
            <a:spLocks noGrp="1"/>
          </p:cNvSpPr>
          <p:nvPr>
            <p:ph type="body" sz="quarter" idx="13" hasCustomPrompt="1"/>
          </p:nvPr>
        </p:nvSpPr>
        <p:spPr>
          <a:xfrm>
            <a:off x="0" y="1084310"/>
            <a:ext cx="12191999" cy="1463040"/>
          </a:xfrm>
          <a:solidFill>
            <a:schemeClr val="accent4">
              <a:lumMod val="20000"/>
              <a:lumOff val="80000"/>
            </a:schemeClr>
          </a:solidFill>
        </p:spPr>
        <p:txBody>
          <a:bodyPr wrap="square" lIns="720000" tIns="182880" rIns="720000" bIns="182880" anchor="ctr" anchorCtr="0">
            <a:noAutofit/>
          </a:bodyPr>
          <a:lstStyle>
            <a:lvl1pPr>
              <a:defRPr sz="1600" b="0" i="0">
                <a:solidFill>
                  <a:schemeClr val="tx1">
                    <a:lumMod val="75000"/>
                  </a:schemeClr>
                </a:solidFill>
              </a:defRPr>
            </a:lvl1pPr>
          </a:lstStyle>
          <a:p>
            <a:pPr lvl="0"/>
            <a:r>
              <a:rPr lang="en-US"/>
              <a:t>Notes comes here</a:t>
            </a:r>
          </a:p>
        </p:txBody>
      </p:sp>
      <p:sp>
        <p:nvSpPr>
          <p:cNvPr id="5" name="Content Placeholder 4">
            <a:extLst>
              <a:ext uri="{FF2B5EF4-FFF2-40B4-BE49-F238E27FC236}">
                <a16:creationId xmlns:a16="http://schemas.microsoft.com/office/drawing/2014/main" id="{4BF27EF5-BED3-1557-61EE-870CCA11E284}"/>
              </a:ext>
            </a:extLst>
          </p:cNvPr>
          <p:cNvSpPr>
            <a:spLocks noGrp="1"/>
          </p:cNvSpPr>
          <p:nvPr>
            <p:ph sz="quarter" idx="12" hasCustomPrompt="1"/>
          </p:nvPr>
        </p:nvSpPr>
        <p:spPr>
          <a:xfrm>
            <a:off x="719668" y="2772229"/>
            <a:ext cx="10752667" cy="3640928"/>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6077033"/>
      </p:ext>
    </p:extLst>
  </p:cSld>
  <p:clrMapOvr>
    <a:masterClrMapping/>
  </p:clrMapOvr>
  <p:extLst>
    <p:ext uri="{DCECCB84-F9BA-43D5-87BE-67443E8EF086}">
      <p15:sldGuideLst xmlns:p15="http://schemas.microsoft.com/office/powerpoint/2012/main"/>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showMasterSp="0" preserve="1" userDrawn="1">
  <p:cSld name="cover_blue">
    <p:spTree>
      <p:nvGrpSpPr>
        <p:cNvPr id="1" name=""/>
        <p:cNvGrpSpPr/>
        <p:nvPr/>
      </p:nvGrpSpPr>
      <p:grpSpPr>
        <a:xfrm>
          <a:off x="0" y="0"/>
          <a:ext cx="0" cy="0"/>
          <a:chOff x="0" y="0"/>
          <a:chExt cx="0" cy="0"/>
        </a:xfrm>
      </p:grpSpPr>
      <p:sp>
        <p:nvSpPr>
          <p:cNvPr id="4" name="Title 3"/>
          <p:cNvSpPr>
            <a:spLocks noGrp="1"/>
          </p:cNvSpPr>
          <p:nvPr>
            <p:ph type="title"/>
          </p:nvPr>
        </p:nvSpPr>
        <p:spPr>
          <a:xfrm>
            <a:off x="1330036" y="1600202"/>
            <a:ext cx="9504219" cy="1537855"/>
          </a:xfrm>
        </p:spPr>
        <p:txBody>
          <a:bodyPr tIns="0" bIns="0" anchor="b" anchorCtr="0"/>
          <a:lstStyle>
            <a:lvl1pPr>
              <a:defRPr sz="3600">
                <a:solidFill>
                  <a:schemeClr val="bg1"/>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CF417E6A-C399-4D34-AA35-6617A97C73B1}"/>
              </a:ext>
            </a:extLst>
          </p:cNvPr>
          <p:cNvSpPr>
            <a:spLocks noGrp="1"/>
          </p:cNvSpPr>
          <p:nvPr>
            <p:ph type="body" sz="quarter" idx="13"/>
          </p:nvPr>
        </p:nvSpPr>
        <p:spPr>
          <a:xfrm>
            <a:off x="1330036" y="3744732"/>
            <a:ext cx="9504219" cy="1810941"/>
          </a:xfrm>
        </p:spPr>
        <p:txBody>
          <a:bodyPr tIns="228600" anchor="t" anchorCtr="0"/>
          <a:lstStyle>
            <a:lvl1pPr>
              <a:lnSpc>
                <a:spcPts val="2000"/>
              </a:lnSpc>
              <a:spcAft>
                <a:spcPts val="0"/>
              </a:spcAft>
              <a:defRPr sz="1400" b="0">
                <a:solidFill>
                  <a:schemeClr val="bg1"/>
                </a:solidFill>
              </a:defRPr>
            </a:lvl1pPr>
            <a:lvl2pPr marL="7938" indent="0">
              <a:lnSpc>
                <a:spcPts val="2000"/>
              </a:lnSpc>
              <a:spcAft>
                <a:spcPts val="0"/>
              </a:spcAft>
              <a:buFontTx/>
              <a:buNone/>
              <a:tabLst/>
              <a:defRPr sz="1400" b="0">
                <a:solidFill>
                  <a:schemeClr val="bg1"/>
                </a:solidFill>
              </a:defRPr>
            </a:lvl2pPr>
            <a:lvl3pPr marL="0" indent="0">
              <a:lnSpc>
                <a:spcPts val="2000"/>
              </a:lnSpc>
              <a:spcAft>
                <a:spcPts val="0"/>
              </a:spcAft>
              <a:buNone/>
              <a:defRPr sz="1400" b="0">
                <a:solidFill>
                  <a:schemeClr val="bg1"/>
                </a:solidFill>
              </a:defRPr>
            </a:lvl3pPr>
            <a:lvl4pPr marL="0" indent="0">
              <a:spcAft>
                <a:spcPts val="0"/>
              </a:spcAft>
              <a:buNone/>
              <a:defRPr sz="1400" b="0">
                <a:solidFill>
                  <a:schemeClr val="bg1"/>
                </a:solidFill>
              </a:defRPr>
            </a:lvl4pPr>
            <a:lvl5pPr marL="0" indent="0">
              <a:spcAft>
                <a:spcPts val="0"/>
              </a:spcAft>
              <a:buNone/>
              <a:defRPr sz="1400" b="0">
                <a:solidFill>
                  <a:schemeClr val="bg1"/>
                </a:solidFill>
              </a:defRPr>
            </a:lvl5pPr>
            <a:lvl6pPr marL="0" indent="0">
              <a:spcAft>
                <a:spcPts val="0"/>
              </a:spcAft>
              <a:buNone/>
              <a:defRPr sz="1400" b="0">
                <a:solidFill>
                  <a:schemeClr val="bg1"/>
                </a:solidFill>
              </a:defRPr>
            </a:lvl6pPr>
            <a:lvl7pPr marL="0" indent="0">
              <a:spcAft>
                <a:spcPts val="0"/>
              </a:spcAft>
              <a:buNone/>
              <a:defRPr sz="1400" b="0">
                <a:solidFill>
                  <a:schemeClr val="bg1"/>
                </a:solidFill>
              </a:defRPr>
            </a:lvl7pPr>
            <a:lvl8pPr marL="0" indent="0">
              <a:lnSpc>
                <a:spcPts val="2000"/>
              </a:lnSpc>
              <a:spcAft>
                <a:spcPts val="0"/>
              </a:spcAft>
              <a:buNone/>
              <a:defRPr sz="1400" b="0">
                <a:solidFill>
                  <a:schemeClr val="bg1"/>
                </a:solidFill>
              </a:defRPr>
            </a:lvl8pPr>
            <a:lvl9pPr marL="0" indent="0">
              <a:lnSpc>
                <a:spcPts val="2000"/>
              </a:lnSpc>
              <a:spcAft>
                <a:spcPts val="0"/>
              </a:spcAft>
              <a:buNone/>
              <a:defRPr sz="1400" b="0">
                <a:solidFill>
                  <a:schemeClr val="bg1"/>
                </a:solidFill>
              </a:defRPr>
            </a:lvl9pPr>
          </a:lstStyle>
          <a:p>
            <a:pPr lvl="0"/>
            <a:r>
              <a:rPr lang="en-US"/>
              <a:t>Click to edit Master text styles</a:t>
            </a:r>
          </a:p>
        </p:txBody>
      </p:sp>
      <p:sp>
        <p:nvSpPr>
          <p:cNvPr id="6" name="Date Placeholder 5">
            <a:extLst>
              <a:ext uri="{FF2B5EF4-FFF2-40B4-BE49-F238E27FC236}">
                <a16:creationId xmlns:a16="http://schemas.microsoft.com/office/drawing/2014/main" id="{5CC17B62-8F17-4111-B083-3AC63A3E0257}"/>
              </a:ext>
            </a:extLst>
          </p:cNvPr>
          <p:cNvSpPr>
            <a:spLocks noGrp="1"/>
          </p:cNvSpPr>
          <p:nvPr>
            <p:ph type="dt" sz="half" idx="10"/>
          </p:nvPr>
        </p:nvSpPr>
        <p:spPr>
          <a:xfrm>
            <a:off x="1330036" y="3138055"/>
            <a:ext cx="9504219" cy="606676"/>
          </a:xfrm>
        </p:spPr>
        <p:txBody>
          <a:bodyPr bIns="0"/>
          <a:lstStyle>
            <a:lvl1pPr algn="l">
              <a:defRPr sz="1200">
                <a:solidFill>
                  <a:schemeClr val="bg1"/>
                </a:solidFill>
                <a:latin typeface="+mn-lt"/>
              </a:defRPr>
            </a:lvl1pPr>
            <a:lvl2pPr algn="l">
              <a:defRPr sz="1200"/>
            </a:lvl2pPr>
            <a:lvl3pPr algn="l">
              <a:defRPr sz="1200"/>
            </a:lvl3pPr>
            <a:lvl4pPr algn="l">
              <a:defRPr sz="1200"/>
            </a:lvl4pPr>
            <a:lvl5pPr algn="l">
              <a:defRPr sz="1200"/>
            </a:lvl5pPr>
            <a:lvl6pPr algn="l">
              <a:defRPr sz="1200"/>
            </a:lvl6pPr>
            <a:lvl7pPr algn="l">
              <a:defRPr sz="1200"/>
            </a:lvl7pPr>
            <a:lvl8pPr algn="l">
              <a:defRPr sz="1200"/>
            </a:lvl8pPr>
            <a:lvl9pPr algn="l">
              <a:defRPr sz="1200"/>
            </a:lvl9pPr>
          </a:lstStyle>
          <a:p>
            <a:r>
              <a:rPr lang="en-US"/>
              <a:t>February 5, 2026</a:t>
            </a:r>
            <a:endParaRPr lang="en-US" dirty="0"/>
          </a:p>
        </p:txBody>
      </p:sp>
    </p:spTree>
    <p:extLst>
      <p:ext uri="{BB962C8B-B14F-4D97-AF65-F5344CB8AC3E}">
        <p14:creationId xmlns:p14="http://schemas.microsoft.com/office/powerpoint/2010/main" val="4115298920"/>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8323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0.xml><?xml version="1.0" encoding="utf-8"?>
<p:sldLayout xmlns:a="http://schemas.openxmlformats.org/drawingml/2006/main" xmlns:r="http://schemas.openxmlformats.org/officeDocument/2006/relationships" xmlns:p="http://schemas.openxmlformats.org/presentationml/2006/main" showMasterSp="0" preserve="1" userDrawn="1">
  <p:cSld name="cover_white">
    <p:spTree>
      <p:nvGrpSpPr>
        <p:cNvPr id="1" name=""/>
        <p:cNvGrpSpPr/>
        <p:nvPr/>
      </p:nvGrpSpPr>
      <p:grpSpPr>
        <a:xfrm>
          <a:off x="0" y="0"/>
          <a:ext cx="0" cy="0"/>
          <a:chOff x="0" y="0"/>
          <a:chExt cx="0" cy="0"/>
        </a:xfrm>
      </p:grpSpPr>
      <p:sp>
        <p:nvSpPr>
          <p:cNvPr id="7" name="Title 3">
            <a:extLst>
              <a:ext uri="{FF2B5EF4-FFF2-40B4-BE49-F238E27FC236}">
                <a16:creationId xmlns:a16="http://schemas.microsoft.com/office/drawing/2014/main" id="{2478E6DB-DBF4-DB49-B350-AB530CC6C0FF}"/>
              </a:ext>
            </a:extLst>
          </p:cNvPr>
          <p:cNvSpPr>
            <a:spLocks noGrp="1"/>
          </p:cNvSpPr>
          <p:nvPr>
            <p:ph type="title"/>
          </p:nvPr>
        </p:nvSpPr>
        <p:spPr>
          <a:xfrm>
            <a:off x="1330033" y="1600200"/>
            <a:ext cx="9531928" cy="1537856"/>
          </a:xfrm>
        </p:spPr>
        <p:txBody>
          <a:bodyPr tIns="0" bIns="0" anchor="b" anchorCtr="0"/>
          <a:lstStyle>
            <a:lvl1pPr>
              <a:defRPr sz="3600">
                <a:solidFill>
                  <a:srgbClr val="007CBA"/>
                </a:solidFill>
              </a:defRPr>
            </a:lvl1pPr>
          </a:lstStyle>
          <a:p>
            <a:r>
              <a:rPr lang="en-US"/>
              <a:t>Click to edit Master title style</a:t>
            </a:r>
            <a:endParaRPr lang="en-US" dirty="0"/>
          </a:p>
        </p:txBody>
      </p:sp>
      <p:sp>
        <p:nvSpPr>
          <p:cNvPr id="8" name="Text Placeholder 9">
            <a:extLst>
              <a:ext uri="{FF2B5EF4-FFF2-40B4-BE49-F238E27FC236}">
                <a16:creationId xmlns:a16="http://schemas.microsoft.com/office/drawing/2014/main" id="{D6536B84-4DA2-8241-AA2E-46095A55B340}"/>
              </a:ext>
            </a:extLst>
          </p:cNvPr>
          <p:cNvSpPr>
            <a:spLocks noGrp="1"/>
          </p:cNvSpPr>
          <p:nvPr>
            <p:ph type="body" sz="quarter" idx="13"/>
          </p:nvPr>
        </p:nvSpPr>
        <p:spPr>
          <a:xfrm>
            <a:off x="1330038" y="3742440"/>
            <a:ext cx="9531927" cy="2023877"/>
          </a:xfrm>
        </p:spPr>
        <p:txBody>
          <a:bodyPr tIns="228600" anchor="t" anchorCtr="0"/>
          <a:lstStyle>
            <a:lvl1pPr>
              <a:lnSpc>
                <a:spcPts val="2000"/>
              </a:lnSpc>
              <a:spcAft>
                <a:spcPts val="0"/>
              </a:spcAft>
              <a:defRPr sz="1400" b="0">
                <a:solidFill>
                  <a:schemeClr val="tx1"/>
                </a:solidFill>
              </a:defRPr>
            </a:lvl1pPr>
            <a:lvl2pPr marL="7938" indent="0">
              <a:lnSpc>
                <a:spcPts val="2000"/>
              </a:lnSpc>
              <a:spcAft>
                <a:spcPts val="0"/>
              </a:spcAft>
              <a:buFontTx/>
              <a:buNone/>
              <a:tabLst/>
              <a:defRPr sz="1400" b="0">
                <a:solidFill>
                  <a:schemeClr val="tx1"/>
                </a:solidFill>
              </a:defRPr>
            </a:lvl2pPr>
            <a:lvl3pPr marL="0" indent="0">
              <a:lnSpc>
                <a:spcPts val="2000"/>
              </a:lnSpc>
              <a:spcAft>
                <a:spcPts val="0"/>
              </a:spcAft>
              <a:buNone/>
              <a:defRPr sz="1400" b="0">
                <a:solidFill>
                  <a:schemeClr val="tx1"/>
                </a:solidFill>
              </a:defRPr>
            </a:lvl3pPr>
            <a:lvl4pPr marL="0" indent="0">
              <a:spcAft>
                <a:spcPts val="0"/>
              </a:spcAft>
              <a:buNone/>
              <a:defRPr sz="1400" b="0">
                <a:solidFill>
                  <a:schemeClr val="tx1"/>
                </a:solidFill>
              </a:defRPr>
            </a:lvl4pPr>
            <a:lvl5pPr marL="0" indent="0">
              <a:spcAft>
                <a:spcPts val="0"/>
              </a:spcAft>
              <a:buNone/>
              <a:defRPr sz="1400" b="0">
                <a:solidFill>
                  <a:schemeClr val="tx1"/>
                </a:solidFill>
              </a:defRPr>
            </a:lvl5pPr>
            <a:lvl6pPr marL="0" indent="0">
              <a:spcAft>
                <a:spcPts val="0"/>
              </a:spcAft>
              <a:buNone/>
              <a:defRPr sz="1400" b="0">
                <a:solidFill>
                  <a:schemeClr val="tx1"/>
                </a:solidFill>
              </a:defRPr>
            </a:lvl6pPr>
            <a:lvl7pPr marL="0" indent="0">
              <a:spcAft>
                <a:spcPts val="0"/>
              </a:spcAft>
              <a:buNone/>
              <a:defRPr sz="1400" b="0">
                <a:solidFill>
                  <a:schemeClr val="tx1"/>
                </a:solidFill>
              </a:defRPr>
            </a:lvl7pPr>
            <a:lvl8pPr marL="0" indent="0">
              <a:lnSpc>
                <a:spcPts val="2000"/>
              </a:lnSpc>
              <a:spcAft>
                <a:spcPts val="0"/>
              </a:spcAft>
              <a:buNone/>
              <a:defRPr sz="1400" b="0">
                <a:solidFill>
                  <a:schemeClr val="tx1"/>
                </a:solidFill>
              </a:defRPr>
            </a:lvl8pPr>
            <a:lvl9pPr marL="0" indent="0">
              <a:lnSpc>
                <a:spcPts val="2000"/>
              </a:lnSpc>
              <a:spcAft>
                <a:spcPts val="0"/>
              </a:spcAft>
              <a:buNone/>
              <a:defRPr sz="1400" b="0">
                <a:solidFill>
                  <a:schemeClr val="tx1"/>
                </a:solidFill>
              </a:defRPr>
            </a:lvl9pPr>
          </a:lstStyle>
          <a:p>
            <a:pPr lvl="0"/>
            <a:r>
              <a:rPr lang="en-US"/>
              <a:t>Click to edit Master text styles</a:t>
            </a:r>
          </a:p>
        </p:txBody>
      </p:sp>
      <p:sp>
        <p:nvSpPr>
          <p:cNvPr id="11" name="Date Placeholder 5">
            <a:extLst>
              <a:ext uri="{FF2B5EF4-FFF2-40B4-BE49-F238E27FC236}">
                <a16:creationId xmlns:a16="http://schemas.microsoft.com/office/drawing/2014/main" id="{43FE71DE-5432-8848-A3FE-9464F92BE835}"/>
              </a:ext>
            </a:extLst>
          </p:cNvPr>
          <p:cNvSpPr>
            <a:spLocks noGrp="1"/>
          </p:cNvSpPr>
          <p:nvPr>
            <p:ph type="dt" sz="half" idx="10"/>
          </p:nvPr>
        </p:nvSpPr>
        <p:spPr>
          <a:xfrm>
            <a:off x="1330037" y="3138058"/>
            <a:ext cx="9531927" cy="604385"/>
          </a:xfrm>
        </p:spPr>
        <p:txBody>
          <a:bodyPr bIns="0"/>
          <a:lstStyle>
            <a:lvl1pPr algn="l">
              <a:defRPr sz="1200">
                <a:solidFill>
                  <a:schemeClr val="tx1"/>
                </a:solidFill>
                <a:latin typeface="+mn-lt"/>
              </a:defRPr>
            </a:lvl1pPr>
            <a:lvl2pPr algn="l">
              <a:defRPr sz="1200">
                <a:solidFill>
                  <a:schemeClr val="tx1"/>
                </a:solidFill>
              </a:defRPr>
            </a:lvl2pPr>
            <a:lvl3pPr algn="l">
              <a:defRPr sz="1200">
                <a:solidFill>
                  <a:schemeClr val="tx1"/>
                </a:solidFill>
              </a:defRPr>
            </a:lvl3pPr>
            <a:lvl4pPr algn="l">
              <a:defRPr sz="1200">
                <a:solidFill>
                  <a:schemeClr val="tx1"/>
                </a:solidFill>
              </a:defRPr>
            </a:lvl4pPr>
            <a:lvl5pPr algn="l">
              <a:defRPr sz="1200">
                <a:solidFill>
                  <a:schemeClr val="tx1"/>
                </a:solidFill>
              </a:defRPr>
            </a:lvl5pPr>
            <a:lvl6pPr algn="l">
              <a:defRPr sz="1200">
                <a:solidFill>
                  <a:schemeClr val="tx1"/>
                </a:solidFill>
              </a:defRPr>
            </a:lvl6pPr>
            <a:lvl7pPr algn="l">
              <a:defRPr sz="1200">
                <a:solidFill>
                  <a:schemeClr val="tx1"/>
                </a:solidFill>
              </a:defRPr>
            </a:lvl7pPr>
            <a:lvl8pPr algn="l">
              <a:defRPr sz="1200">
                <a:solidFill>
                  <a:schemeClr val="tx1"/>
                </a:solidFill>
              </a:defRPr>
            </a:lvl8pPr>
            <a:lvl9pPr algn="l">
              <a:defRPr sz="1200">
                <a:solidFill>
                  <a:schemeClr val="tx1"/>
                </a:solidFill>
              </a:defRPr>
            </a:lvl9pPr>
          </a:lstStyle>
          <a:p>
            <a:r>
              <a:rPr lang="en-US"/>
              <a:t>February 5, 2026</a:t>
            </a:r>
            <a:endParaRPr lang="en-US" dirty="0"/>
          </a:p>
        </p:txBody>
      </p:sp>
    </p:spTree>
    <p:extLst>
      <p:ext uri="{BB962C8B-B14F-4D97-AF65-F5344CB8AC3E}">
        <p14:creationId xmlns:p14="http://schemas.microsoft.com/office/powerpoint/2010/main" val="1452545269"/>
      </p:ext>
    </p:extLst>
  </p:cSld>
  <p:clrMapOvr>
    <a:masterClrMapping/>
  </p:clrMapOvr>
  <p:extLst>
    <p:ext uri="{DCECCB84-F9BA-43D5-87BE-67443E8EF086}">
      <p15:sldGuideLst xmlns:p15="http://schemas.microsoft.com/office/powerpoint/2012/main">
        <p15:guide id="1" orient="horz" pos="4098">
          <p15:clr>
            <a:srgbClr val="FBAE4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preserve="1" userDrawn="1">
  <p:cSld name="agenda_blu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418E43A-2457-42CA-BE83-E9C382D2B993}"/>
              </a:ext>
            </a:extLst>
          </p:cNvPr>
          <p:cNvSpPr>
            <a:spLocks noGrp="1"/>
          </p:cNvSpPr>
          <p:nvPr>
            <p:ph type="dt" sz="half" idx="10"/>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latin typeface="+mn-lt"/>
              </a:defRPr>
            </a:lvl9pPr>
          </a:lstStyle>
          <a:p>
            <a:r>
              <a:rPr lang="en-US"/>
              <a:t>February 5, 2026</a:t>
            </a:r>
            <a:endParaRPr lang="en-US" dirty="0"/>
          </a:p>
        </p:txBody>
      </p:sp>
      <p:sp>
        <p:nvSpPr>
          <p:cNvPr id="4" name="Footer Placeholder 3">
            <a:extLst>
              <a:ext uri="{FF2B5EF4-FFF2-40B4-BE49-F238E27FC236}">
                <a16:creationId xmlns:a16="http://schemas.microsoft.com/office/drawing/2014/main" id="{84EA9C68-E3E9-4609-A378-65D54A205DC3}"/>
              </a:ext>
            </a:extLst>
          </p:cNvPr>
          <p:cNvSpPr>
            <a:spLocks noGrp="1"/>
          </p:cNvSpPr>
          <p:nvPr>
            <p:ph type="ftr" sz="quarter" idx="11"/>
          </p:nvPr>
        </p:nvSpPr>
        <p:spPr/>
        <p:txBody>
          <a:bodyPr/>
          <a:lstStyle>
            <a:lvl1pPr marL="0" indent="0">
              <a:tabLst/>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vl6pPr>
              <a:defRPr b="1">
                <a:solidFill>
                  <a:schemeClr val="bg1"/>
                </a:solidFill>
              </a:defRPr>
            </a:lvl6pPr>
            <a:lvl7pPr>
              <a:defRPr b="1">
                <a:solidFill>
                  <a:schemeClr val="bg1"/>
                </a:solidFill>
              </a:defRPr>
            </a:lvl7pPr>
            <a:lvl8pPr>
              <a:defRPr b="1">
                <a:solidFill>
                  <a:schemeClr val="bg1"/>
                </a:solidFill>
              </a:defRPr>
            </a:lvl8pPr>
            <a:lvl9pPr>
              <a:defRPr b="1">
                <a:solidFill>
                  <a:schemeClr val="bg1"/>
                </a:solidFill>
                <a:latin typeface="+mn-lt"/>
              </a:defRPr>
            </a:lvl9pPr>
          </a:lstStyle>
          <a:p>
            <a:r>
              <a:rPr lang="en-US"/>
              <a:t>CAR T in BCL</a:t>
            </a:r>
            <a:endParaRPr lang="en-US" dirty="0"/>
          </a:p>
        </p:txBody>
      </p:sp>
      <p:sp>
        <p:nvSpPr>
          <p:cNvPr id="5" name="Slide Number Placeholder 4">
            <a:extLst>
              <a:ext uri="{FF2B5EF4-FFF2-40B4-BE49-F238E27FC236}">
                <a16:creationId xmlns:a16="http://schemas.microsoft.com/office/drawing/2014/main" id="{F0CF157D-7400-499C-96F9-B806E4F48A9A}"/>
              </a:ext>
            </a:extLst>
          </p:cNvPr>
          <p:cNvSpPr>
            <a:spLocks noGrp="1"/>
          </p:cNvSpPr>
          <p:nvPr>
            <p:ph type="sldNum" sz="quarter" idx="12"/>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63DCA5C9-2E11-4C67-86EB-AE1DE127DC64}" type="slidenum">
              <a:rPr lang="en-US" smtClean="0"/>
              <a:pPr/>
              <a:t>‹#›</a:t>
            </a:fld>
            <a:endParaRPr lang="en-US" dirty="0"/>
          </a:p>
        </p:txBody>
      </p:sp>
      <p:sp>
        <p:nvSpPr>
          <p:cNvPr id="10" name="Text Placeholder 9"/>
          <p:cNvSpPr>
            <a:spLocks noGrp="1"/>
          </p:cNvSpPr>
          <p:nvPr>
            <p:ph type="body" sz="quarter" idx="13" hasCustomPrompt="1"/>
          </p:nvPr>
        </p:nvSpPr>
        <p:spPr>
          <a:xfrm>
            <a:off x="491069" y="1600200"/>
            <a:ext cx="10354732" cy="4527551"/>
          </a:xfrm>
        </p:spPr>
        <p:txBody>
          <a:bodyPr tIns="1005840"/>
          <a:lstStyle>
            <a:lvl1pPr marL="0" indent="0">
              <a:spcAft>
                <a:spcPts val="1200"/>
              </a:spcAft>
              <a:buFontTx/>
              <a:buNone/>
              <a:defRPr sz="2800">
                <a:solidFill>
                  <a:schemeClr val="bg1"/>
                </a:solidFill>
              </a:defRPr>
            </a:lvl1pPr>
            <a:lvl2pPr marL="174621" indent="-171446">
              <a:spcAft>
                <a:spcPts val="600"/>
              </a:spcAft>
              <a:buFont typeface="Arial" panose="020B0604020202020204" pitchFamily="34" charset="0"/>
              <a:buChar char="•"/>
              <a:tabLst/>
              <a:defRPr sz="1800">
                <a:solidFill>
                  <a:schemeClr val="bg1"/>
                </a:solidFill>
              </a:defRPr>
            </a:lvl2pPr>
            <a:lvl3pPr marL="174621" indent="-171446">
              <a:spcAft>
                <a:spcPts val="600"/>
              </a:spcAft>
              <a:buFont typeface="Arial" panose="020B0604020202020204" pitchFamily="34" charset="0"/>
              <a:buChar char="•"/>
              <a:tabLst/>
              <a:defRPr sz="1800">
                <a:solidFill>
                  <a:schemeClr val="bg1"/>
                </a:solidFill>
              </a:defRPr>
            </a:lvl3pPr>
            <a:lvl4pPr marL="174621" indent="-171446">
              <a:spcAft>
                <a:spcPts val="600"/>
              </a:spcAft>
              <a:buFont typeface="Arial" panose="020B0604020202020204" pitchFamily="34" charset="0"/>
              <a:buChar char="•"/>
              <a:tabLst/>
              <a:defRPr sz="1800">
                <a:solidFill>
                  <a:schemeClr val="bg1"/>
                </a:solidFill>
              </a:defRPr>
            </a:lvl4pPr>
            <a:lvl5pPr marL="174621" indent="-171446">
              <a:spcAft>
                <a:spcPts val="600"/>
              </a:spcAft>
              <a:buFont typeface="Arial" panose="020B0604020202020204" pitchFamily="34" charset="0"/>
              <a:buChar char="•"/>
              <a:tabLst/>
              <a:defRPr sz="1800">
                <a:solidFill>
                  <a:schemeClr val="bg1"/>
                </a:solidFill>
              </a:defRPr>
            </a:lvl5pPr>
            <a:lvl6pPr marL="174621" indent="-171446">
              <a:spcAft>
                <a:spcPts val="600"/>
              </a:spcAft>
              <a:buFont typeface="Arial" panose="020B0604020202020204" pitchFamily="34" charset="0"/>
              <a:buChar char="•"/>
              <a:tabLst/>
              <a:defRPr sz="1800">
                <a:solidFill>
                  <a:schemeClr val="bg1"/>
                </a:solidFill>
              </a:defRPr>
            </a:lvl6pPr>
            <a:lvl7pPr marL="174621" indent="-171446">
              <a:spcAft>
                <a:spcPts val="600"/>
              </a:spcAft>
              <a:buFont typeface="Arial" panose="020B0604020202020204" pitchFamily="34" charset="0"/>
              <a:buChar char="•"/>
              <a:tabLst/>
              <a:defRPr sz="1800">
                <a:solidFill>
                  <a:schemeClr val="bg1"/>
                </a:solidFill>
              </a:defRPr>
            </a:lvl7pPr>
            <a:lvl8pPr marL="174621" indent="-171446">
              <a:spcAft>
                <a:spcPts val="600"/>
              </a:spcAft>
              <a:buFont typeface="Arial" panose="020B0604020202020204" pitchFamily="34" charset="0"/>
              <a:buChar char="•"/>
              <a:tabLst/>
              <a:defRPr sz="1800">
                <a:solidFill>
                  <a:schemeClr val="bg1"/>
                </a:solidFill>
              </a:defRPr>
            </a:lvl8pPr>
            <a:lvl9pPr marL="174621" indent="-171446">
              <a:spcAft>
                <a:spcPts val="600"/>
              </a:spcAft>
              <a:buFont typeface="Arial" panose="020B0604020202020204" pitchFamily="34" charset="0"/>
              <a:buChar char="•"/>
              <a:tabLst/>
              <a:defRPr sz="1800">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1"/>
            <a:r>
              <a:rPr lang="en-US" dirty="0"/>
              <a:t>Fifth level</a:t>
            </a:r>
          </a:p>
        </p:txBody>
      </p:sp>
    </p:spTree>
    <p:extLst>
      <p:ext uri="{BB962C8B-B14F-4D97-AF65-F5344CB8AC3E}">
        <p14:creationId xmlns:p14="http://schemas.microsoft.com/office/powerpoint/2010/main" val="1990347852"/>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showMasterSp="0" preserve="1" userDrawn="1">
  <p:cSld name="agenda_whit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418E43A-2457-42CA-BE83-E9C382D2B993}"/>
              </a:ext>
            </a:extLst>
          </p:cNvPr>
          <p:cNvSpPr>
            <a:spLocks noGrp="1"/>
          </p:cNvSpPr>
          <p:nvPr>
            <p:ph type="dt" sz="half" idx="10"/>
          </p:nvPr>
        </p:nvSpPr>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rgbClr val="333333"/>
                </a:solidFill>
              </a:defRPr>
            </a:lvl5pPr>
            <a:lvl6pPr>
              <a:defRPr>
                <a:solidFill>
                  <a:srgbClr val="333333"/>
                </a:solidFill>
              </a:defRPr>
            </a:lvl6pPr>
            <a:lvl7pPr>
              <a:defRPr>
                <a:solidFill>
                  <a:srgbClr val="333333"/>
                </a:solidFill>
              </a:defRPr>
            </a:lvl7pPr>
            <a:lvl8pPr>
              <a:defRPr>
                <a:solidFill>
                  <a:srgbClr val="333333"/>
                </a:solidFill>
              </a:defRPr>
            </a:lvl8pPr>
            <a:lvl9pPr>
              <a:defRPr>
                <a:solidFill>
                  <a:srgbClr val="333333"/>
                </a:solidFill>
                <a:latin typeface="+mn-lt"/>
              </a:defRPr>
            </a:lvl9pPr>
          </a:lstStyle>
          <a:p>
            <a:r>
              <a:rPr lang="en-US"/>
              <a:t>February 5, 2026</a:t>
            </a:r>
            <a:endParaRPr lang="en-US" dirty="0"/>
          </a:p>
        </p:txBody>
      </p:sp>
      <p:sp>
        <p:nvSpPr>
          <p:cNvPr id="4" name="Footer Placeholder 3">
            <a:extLst>
              <a:ext uri="{FF2B5EF4-FFF2-40B4-BE49-F238E27FC236}">
                <a16:creationId xmlns:a16="http://schemas.microsoft.com/office/drawing/2014/main" id="{84EA9C68-E3E9-4609-A378-65D54A205DC3}"/>
              </a:ext>
            </a:extLst>
          </p:cNvPr>
          <p:cNvSpPr>
            <a:spLocks noGrp="1"/>
          </p:cNvSpPr>
          <p:nvPr>
            <p:ph type="ftr" sz="quarter" idx="11"/>
          </p:nvPr>
        </p:nvSpPr>
        <p:spPr/>
        <p:txBody>
          <a:bodyPr/>
          <a:lstStyle>
            <a:lvl1pPr marL="0" indent="0">
              <a:tabLst/>
              <a:defRPr b="1">
                <a:solidFill>
                  <a:srgbClr val="333333"/>
                </a:solidFill>
              </a:defRPr>
            </a:lvl1pPr>
            <a:lvl2pPr>
              <a:defRPr b="1">
                <a:solidFill>
                  <a:srgbClr val="333333"/>
                </a:solidFill>
              </a:defRPr>
            </a:lvl2pPr>
            <a:lvl3pPr>
              <a:defRPr b="1">
                <a:solidFill>
                  <a:srgbClr val="333333"/>
                </a:solidFill>
              </a:defRPr>
            </a:lvl3pPr>
            <a:lvl4pPr>
              <a:defRPr b="1">
                <a:solidFill>
                  <a:srgbClr val="333333"/>
                </a:solidFill>
              </a:defRPr>
            </a:lvl4pPr>
            <a:lvl5pPr>
              <a:defRPr b="1">
                <a:solidFill>
                  <a:srgbClr val="333333"/>
                </a:solidFill>
              </a:defRPr>
            </a:lvl5pPr>
            <a:lvl6pPr>
              <a:defRPr b="1">
                <a:solidFill>
                  <a:srgbClr val="333333"/>
                </a:solidFill>
              </a:defRPr>
            </a:lvl6pPr>
            <a:lvl7pPr>
              <a:defRPr b="1">
                <a:solidFill>
                  <a:srgbClr val="333333"/>
                </a:solidFill>
              </a:defRPr>
            </a:lvl7pPr>
            <a:lvl8pPr>
              <a:defRPr b="1">
                <a:solidFill>
                  <a:srgbClr val="333333"/>
                </a:solidFill>
              </a:defRPr>
            </a:lvl8pPr>
            <a:lvl9pPr>
              <a:defRPr b="1">
                <a:solidFill>
                  <a:srgbClr val="333333"/>
                </a:solidFill>
                <a:latin typeface="+mn-lt"/>
              </a:defRPr>
            </a:lvl9pPr>
          </a:lstStyle>
          <a:p>
            <a:r>
              <a:rPr lang="en-US"/>
              <a:t>CAR T in BCL</a:t>
            </a:r>
            <a:endParaRPr lang="en-US" dirty="0"/>
          </a:p>
        </p:txBody>
      </p:sp>
      <p:sp>
        <p:nvSpPr>
          <p:cNvPr id="5" name="Slide Number Placeholder 4">
            <a:extLst>
              <a:ext uri="{FF2B5EF4-FFF2-40B4-BE49-F238E27FC236}">
                <a16:creationId xmlns:a16="http://schemas.microsoft.com/office/drawing/2014/main" id="{F0CF157D-7400-499C-96F9-B806E4F48A9A}"/>
              </a:ext>
            </a:extLst>
          </p:cNvPr>
          <p:cNvSpPr>
            <a:spLocks noGrp="1"/>
          </p:cNvSpPr>
          <p:nvPr>
            <p:ph type="sldNum" sz="quarter" idx="12"/>
          </p:nvPr>
        </p:nvSpPr>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rgbClr val="333333"/>
                </a:solidFill>
              </a:defRPr>
            </a:lvl5pPr>
            <a:lvl6pPr>
              <a:defRPr>
                <a:solidFill>
                  <a:srgbClr val="333333"/>
                </a:solidFill>
              </a:defRPr>
            </a:lvl6pPr>
            <a:lvl7pPr>
              <a:defRPr>
                <a:solidFill>
                  <a:srgbClr val="333333"/>
                </a:solidFill>
              </a:defRPr>
            </a:lvl7pPr>
            <a:lvl8pPr>
              <a:defRPr>
                <a:solidFill>
                  <a:srgbClr val="333333"/>
                </a:solidFill>
              </a:defRPr>
            </a:lvl8pPr>
            <a:lvl9pPr>
              <a:defRPr>
                <a:solidFill>
                  <a:srgbClr val="333333"/>
                </a:solidFill>
              </a:defRPr>
            </a:lvl9pPr>
          </a:lstStyle>
          <a:p>
            <a:fld id="{63DCA5C9-2E11-4C67-86EB-AE1DE127DC64}" type="slidenum">
              <a:rPr lang="en-US" smtClean="0"/>
              <a:pPr/>
              <a:t>‹#›</a:t>
            </a:fld>
            <a:endParaRPr lang="en-US" dirty="0"/>
          </a:p>
        </p:txBody>
      </p:sp>
      <p:sp>
        <p:nvSpPr>
          <p:cNvPr id="10" name="Text Placeholder 9"/>
          <p:cNvSpPr>
            <a:spLocks noGrp="1"/>
          </p:cNvSpPr>
          <p:nvPr>
            <p:ph type="body" sz="quarter" idx="13" hasCustomPrompt="1"/>
          </p:nvPr>
        </p:nvSpPr>
        <p:spPr>
          <a:xfrm>
            <a:off x="491069" y="1600200"/>
            <a:ext cx="10354732" cy="4527551"/>
          </a:xfrm>
        </p:spPr>
        <p:txBody>
          <a:bodyPr tIns="1005840"/>
          <a:lstStyle>
            <a:lvl1pPr marL="0" indent="0">
              <a:spcAft>
                <a:spcPts val="1200"/>
              </a:spcAft>
              <a:buFontTx/>
              <a:buNone/>
              <a:defRPr sz="2800">
                <a:solidFill>
                  <a:srgbClr val="007CBA"/>
                </a:solidFill>
              </a:defRPr>
            </a:lvl1pPr>
            <a:lvl2pPr marL="174621" indent="-171446">
              <a:spcAft>
                <a:spcPts val="600"/>
              </a:spcAft>
              <a:buFont typeface="Arial" panose="020B0604020202020204" pitchFamily="34" charset="0"/>
              <a:buChar char="•"/>
              <a:tabLst/>
              <a:defRPr sz="1800">
                <a:solidFill>
                  <a:srgbClr val="333333"/>
                </a:solidFill>
              </a:defRPr>
            </a:lvl2pPr>
            <a:lvl3pPr marL="174621" indent="-171446">
              <a:spcAft>
                <a:spcPts val="600"/>
              </a:spcAft>
              <a:buFont typeface="Arial" panose="020B0604020202020204" pitchFamily="34" charset="0"/>
              <a:buChar char="•"/>
              <a:tabLst/>
              <a:defRPr sz="1800">
                <a:solidFill>
                  <a:srgbClr val="333333"/>
                </a:solidFill>
              </a:defRPr>
            </a:lvl3pPr>
            <a:lvl4pPr marL="174621" indent="-171446">
              <a:spcAft>
                <a:spcPts val="600"/>
              </a:spcAft>
              <a:buFont typeface="Arial" panose="020B0604020202020204" pitchFamily="34" charset="0"/>
              <a:buChar char="•"/>
              <a:tabLst/>
              <a:defRPr sz="1800">
                <a:solidFill>
                  <a:srgbClr val="333333"/>
                </a:solidFill>
              </a:defRPr>
            </a:lvl4pPr>
            <a:lvl5pPr marL="174621" indent="-171446">
              <a:spcAft>
                <a:spcPts val="600"/>
              </a:spcAft>
              <a:buFont typeface="Arial" panose="020B0604020202020204" pitchFamily="34" charset="0"/>
              <a:buChar char="•"/>
              <a:tabLst/>
              <a:defRPr sz="1800">
                <a:solidFill>
                  <a:srgbClr val="333333"/>
                </a:solidFill>
              </a:defRPr>
            </a:lvl5pPr>
            <a:lvl6pPr marL="174621" indent="-171446">
              <a:spcAft>
                <a:spcPts val="600"/>
              </a:spcAft>
              <a:buFont typeface="Arial" panose="020B0604020202020204" pitchFamily="34" charset="0"/>
              <a:buChar char="•"/>
              <a:tabLst/>
              <a:defRPr sz="1800">
                <a:solidFill>
                  <a:srgbClr val="333333"/>
                </a:solidFill>
              </a:defRPr>
            </a:lvl6pPr>
            <a:lvl7pPr marL="174621" indent="-171446">
              <a:spcAft>
                <a:spcPts val="600"/>
              </a:spcAft>
              <a:buFont typeface="Arial" panose="020B0604020202020204" pitchFamily="34" charset="0"/>
              <a:buChar char="•"/>
              <a:tabLst/>
              <a:defRPr sz="1800">
                <a:solidFill>
                  <a:srgbClr val="333333"/>
                </a:solidFill>
              </a:defRPr>
            </a:lvl7pPr>
            <a:lvl8pPr marL="174621" indent="-171446">
              <a:spcAft>
                <a:spcPts val="600"/>
              </a:spcAft>
              <a:buFont typeface="Arial" panose="020B0604020202020204" pitchFamily="34" charset="0"/>
              <a:buChar char="•"/>
              <a:tabLst/>
              <a:defRPr sz="1800">
                <a:solidFill>
                  <a:srgbClr val="333333"/>
                </a:solidFill>
              </a:defRPr>
            </a:lvl8pPr>
            <a:lvl9pPr marL="174621" indent="-171446">
              <a:spcAft>
                <a:spcPts val="600"/>
              </a:spcAft>
              <a:buFont typeface="Arial" panose="020B0604020202020204" pitchFamily="34" charset="0"/>
              <a:buChar char="•"/>
              <a:tabLst/>
              <a:defRPr sz="1800">
                <a:solidFill>
                  <a:srgbClr val="333333"/>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1"/>
            <a:r>
              <a:rPr lang="en-US" dirty="0"/>
              <a:t>Fifth level</a:t>
            </a:r>
          </a:p>
        </p:txBody>
      </p:sp>
    </p:spTree>
    <p:extLst>
      <p:ext uri="{BB962C8B-B14F-4D97-AF65-F5344CB8AC3E}">
        <p14:creationId xmlns:p14="http://schemas.microsoft.com/office/powerpoint/2010/main" val="3600530449"/>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C570D-3BAE-433E-8DDA-6594E6C21ABD}"/>
              </a:ext>
            </a:extLst>
          </p:cNvPr>
          <p:cNvSpPr>
            <a:spLocks noGrp="1"/>
          </p:cNvSpPr>
          <p:nvPr>
            <p:ph type="title"/>
          </p:nvPr>
        </p:nvSpPr>
        <p:spPr>
          <a:xfrm>
            <a:off x="488952" y="1600201"/>
            <a:ext cx="10356848" cy="4762500"/>
          </a:xfrm>
        </p:spPr>
        <p:txBody>
          <a:bodyPr tIns="914400" bIns="0" anchor="t" anchorCtr="0"/>
          <a:lstStyle>
            <a:lvl1pPr>
              <a:defRPr sz="2800" b="0">
                <a:solidFill>
                  <a:schemeClr val="bg1"/>
                </a:solidFill>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C418E43A-2457-42CA-BE83-E9C382D2B993}"/>
              </a:ext>
            </a:extLst>
          </p:cNvPr>
          <p:cNvSpPr>
            <a:spLocks noGrp="1"/>
          </p:cNvSpPr>
          <p:nvPr>
            <p:ph type="dt" sz="half" idx="10"/>
          </p:nvPr>
        </p:nvSpPr>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February 5, 2026</a:t>
            </a:r>
            <a:endParaRPr lang="en-US" dirty="0"/>
          </a:p>
        </p:txBody>
      </p:sp>
      <p:sp>
        <p:nvSpPr>
          <p:cNvPr id="4" name="Footer Placeholder 3">
            <a:extLst>
              <a:ext uri="{FF2B5EF4-FFF2-40B4-BE49-F238E27FC236}">
                <a16:creationId xmlns:a16="http://schemas.microsoft.com/office/drawing/2014/main" id="{84EA9C68-E3E9-4609-A378-65D54A205DC3}"/>
              </a:ext>
            </a:extLst>
          </p:cNvPr>
          <p:cNvSpPr>
            <a:spLocks noGrp="1"/>
          </p:cNvSpPr>
          <p:nvPr>
            <p:ph type="ftr" sz="quarter" idx="11"/>
          </p:nvPr>
        </p:nvSpPr>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131"/>
            <a:r>
              <a:rPr lang="en-US"/>
              <a:t>CAR T in BCL</a:t>
            </a:r>
            <a:endParaRPr lang="en-US" dirty="0"/>
          </a:p>
        </p:txBody>
      </p:sp>
      <p:sp>
        <p:nvSpPr>
          <p:cNvPr id="5" name="Slide Number Placeholder 4">
            <a:extLst>
              <a:ext uri="{FF2B5EF4-FFF2-40B4-BE49-F238E27FC236}">
                <a16:creationId xmlns:a16="http://schemas.microsoft.com/office/drawing/2014/main" id="{F0CF157D-7400-499C-96F9-B806E4F48A9A}"/>
              </a:ext>
            </a:extLst>
          </p:cNvPr>
          <p:cNvSpPr>
            <a:spLocks noGrp="1"/>
          </p:cNvSpPr>
          <p:nvPr>
            <p:ph type="sldNum" sz="quarter" idx="12"/>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213456538"/>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showMasterSp="0" preserve="1" userDrawn="1">
  <p:cSld name="divider_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C570D-3BAE-433E-8DDA-6594E6C21ABD}"/>
              </a:ext>
            </a:extLst>
          </p:cNvPr>
          <p:cNvSpPr>
            <a:spLocks noGrp="1"/>
          </p:cNvSpPr>
          <p:nvPr>
            <p:ph type="title"/>
          </p:nvPr>
        </p:nvSpPr>
        <p:spPr>
          <a:xfrm>
            <a:off x="488952" y="1600201"/>
            <a:ext cx="10356848" cy="4762500"/>
          </a:xfrm>
        </p:spPr>
        <p:txBody>
          <a:bodyPr tIns="914400" bIns="0" anchor="t" anchorCtr="0"/>
          <a:lstStyle>
            <a:lvl1pPr>
              <a:defRPr sz="2800" b="0">
                <a:solidFill>
                  <a:srgbClr val="007CBA"/>
                </a:solidFill>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C418E43A-2457-42CA-BE83-E9C382D2B993}"/>
              </a:ext>
            </a:extLst>
          </p:cNvPr>
          <p:cNvSpPr>
            <a:spLocks noGrp="1"/>
          </p:cNvSpPr>
          <p:nvPr>
            <p:ph type="dt" sz="half" idx="10"/>
          </p:nvPr>
        </p:nvSpPr>
        <p:spPr/>
        <p:txBody>
          <a:bodyPr/>
          <a:lstStyle>
            <a:lvl1pPr>
              <a:defRPr>
                <a:solidFill>
                  <a:srgbClr val="9E9E98"/>
                </a:solidFill>
                <a:latin typeface="+mn-lt"/>
              </a:defRPr>
            </a:lvl1pPr>
            <a:lvl2pPr>
              <a:defRPr>
                <a:solidFill>
                  <a:srgbClr val="9E9E98"/>
                </a:solidFill>
              </a:defRPr>
            </a:lvl2pPr>
            <a:lvl3pPr>
              <a:defRPr>
                <a:solidFill>
                  <a:srgbClr val="9E9E98"/>
                </a:solidFill>
              </a:defRPr>
            </a:lvl3pPr>
            <a:lvl4pPr>
              <a:defRPr>
                <a:solidFill>
                  <a:srgbClr val="9E9E98"/>
                </a:solidFill>
              </a:defRPr>
            </a:lvl4pPr>
            <a:lvl5pPr>
              <a:defRPr>
                <a:solidFill>
                  <a:srgbClr val="9E9E98"/>
                </a:solidFill>
              </a:defRPr>
            </a:lvl5pPr>
            <a:lvl6pPr>
              <a:defRPr>
                <a:solidFill>
                  <a:srgbClr val="9E9E98"/>
                </a:solidFill>
              </a:defRPr>
            </a:lvl6pPr>
            <a:lvl7pPr>
              <a:defRPr>
                <a:solidFill>
                  <a:srgbClr val="9E9E98"/>
                </a:solidFill>
              </a:defRPr>
            </a:lvl7pPr>
            <a:lvl8pPr>
              <a:defRPr>
                <a:solidFill>
                  <a:srgbClr val="9E9E98"/>
                </a:solidFill>
              </a:defRPr>
            </a:lvl8pPr>
            <a:lvl9pPr>
              <a:defRPr>
                <a:solidFill>
                  <a:srgbClr val="9E9E98"/>
                </a:solidFill>
              </a:defRPr>
            </a:lvl9pPr>
          </a:lstStyle>
          <a:p>
            <a:r>
              <a:rPr lang="en-US"/>
              <a:t>February 5, 2026</a:t>
            </a:r>
            <a:endParaRPr lang="en-US" dirty="0"/>
          </a:p>
        </p:txBody>
      </p:sp>
      <p:sp>
        <p:nvSpPr>
          <p:cNvPr id="4" name="Footer Placeholder 3">
            <a:extLst>
              <a:ext uri="{FF2B5EF4-FFF2-40B4-BE49-F238E27FC236}">
                <a16:creationId xmlns:a16="http://schemas.microsoft.com/office/drawing/2014/main" id="{84EA9C68-E3E9-4609-A378-65D54A205DC3}"/>
              </a:ext>
            </a:extLst>
          </p:cNvPr>
          <p:cNvSpPr>
            <a:spLocks noGrp="1"/>
          </p:cNvSpPr>
          <p:nvPr>
            <p:ph type="ftr" sz="quarter" idx="11"/>
          </p:nvPr>
        </p:nvSpPr>
        <p:spPr/>
        <p:txBody>
          <a:bodyPr/>
          <a:lstStyle>
            <a:lvl1pPr>
              <a:defRPr b="1">
                <a:solidFill>
                  <a:srgbClr val="9E9E98"/>
                </a:solidFill>
              </a:defRPr>
            </a:lvl1pPr>
            <a:lvl2pPr>
              <a:defRPr b="1">
                <a:solidFill>
                  <a:srgbClr val="9E9E98"/>
                </a:solidFill>
              </a:defRPr>
            </a:lvl2pPr>
            <a:lvl3pPr>
              <a:defRPr b="1">
                <a:solidFill>
                  <a:srgbClr val="9E9E98"/>
                </a:solidFill>
              </a:defRPr>
            </a:lvl3pPr>
            <a:lvl4pPr>
              <a:defRPr b="1">
                <a:solidFill>
                  <a:srgbClr val="9E9E98"/>
                </a:solidFill>
              </a:defRPr>
            </a:lvl4pPr>
            <a:lvl5pPr>
              <a:defRPr b="1">
                <a:solidFill>
                  <a:srgbClr val="9E9E98"/>
                </a:solidFill>
              </a:defRPr>
            </a:lvl5pPr>
            <a:lvl6pPr>
              <a:defRPr b="1">
                <a:solidFill>
                  <a:srgbClr val="9E9E98"/>
                </a:solidFill>
              </a:defRPr>
            </a:lvl6pPr>
            <a:lvl7pPr>
              <a:defRPr b="1">
                <a:solidFill>
                  <a:srgbClr val="9E9E98"/>
                </a:solidFill>
              </a:defRPr>
            </a:lvl7pPr>
            <a:lvl8pPr>
              <a:defRPr b="1">
                <a:solidFill>
                  <a:srgbClr val="9E9E98"/>
                </a:solidFill>
              </a:defRPr>
            </a:lvl8pPr>
            <a:lvl9pPr>
              <a:defRPr b="1">
                <a:solidFill>
                  <a:srgbClr val="9E9E98"/>
                </a:solidFill>
              </a:defRPr>
            </a:lvl9pPr>
          </a:lstStyle>
          <a:p>
            <a:pPr indent="-2743131"/>
            <a:r>
              <a:rPr lang="en-US"/>
              <a:t>CAR T in BCL</a:t>
            </a:r>
            <a:endParaRPr lang="en-US" dirty="0"/>
          </a:p>
        </p:txBody>
      </p:sp>
      <p:sp>
        <p:nvSpPr>
          <p:cNvPr id="5" name="Slide Number Placeholder 4">
            <a:extLst>
              <a:ext uri="{FF2B5EF4-FFF2-40B4-BE49-F238E27FC236}">
                <a16:creationId xmlns:a16="http://schemas.microsoft.com/office/drawing/2014/main" id="{F0CF157D-7400-499C-96F9-B806E4F48A9A}"/>
              </a:ext>
            </a:extLst>
          </p:cNvPr>
          <p:cNvSpPr>
            <a:spLocks noGrp="1"/>
          </p:cNvSpPr>
          <p:nvPr>
            <p:ph type="sldNum" sz="quarter" idx="12"/>
          </p:nvPr>
        </p:nvSpPr>
        <p:spPr/>
        <p:txBody>
          <a:bodyPr/>
          <a:lstStyle>
            <a:lvl1pPr>
              <a:defRPr>
                <a:solidFill>
                  <a:srgbClr val="9E9E98"/>
                </a:solidFill>
              </a:defRPr>
            </a:lvl1pPr>
            <a:lvl2pPr>
              <a:defRPr>
                <a:solidFill>
                  <a:srgbClr val="9E9E98"/>
                </a:solidFill>
              </a:defRPr>
            </a:lvl2pPr>
            <a:lvl3pPr>
              <a:defRPr>
                <a:solidFill>
                  <a:srgbClr val="9E9E98"/>
                </a:solidFill>
              </a:defRPr>
            </a:lvl3pPr>
            <a:lvl4pPr>
              <a:defRPr>
                <a:solidFill>
                  <a:srgbClr val="9E9E98"/>
                </a:solidFill>
              </a:defRPr>
            </a:lvl4pPr>
            <a:lvl5pPr>
              <a:defRPr>
                <a:solidFill>
                  <a:srgbClr val="9E9E98"/>
                </a:solidFill>
              </a:defRPr>
            </a:lvl5pPr>
            <a:lvl6pPr>
              <a:defRPr>
                <a:solidFill>
                  <a:srgbClr val="9E9E98"/>
                </a:solidFill>
              </a:defRPr>
            </a:lvl6pPr>
            <a:lvl7pPr>
              <a:defRPr>
                <a:solidFill>
                  <a:srgbClr val="9E9E98"/>
                </a:solidFill>
              </a:defRPr>
            </a:lvl7pPr>
            <a:lvl8pPr>
              <a:defRPr>
                <a:solidFill>
                  <a:srgbClr val="9E9E98"/>
                </a:solidFill>
              </a:defRPr>
            </a:lvl8pPr>
            <a:lvl9pPr>
              <a:defRPr>
                <a:solidFill>
                  <a:srgbClr val="9E9E98"/>
                </a:solidFill>
              </a:defRPr>
            </a:lvl9p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1810555037"/>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showMasterSp="0" preserve="1" userDrawn="1">
  <p:cSld name="quote_oran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C570D-3BAE-433E-8DDA-6594E6C21ABD}"/>
              </a:ext>
            </a:extLst>
          </p:cNvPr>
          <p:cNvSpPr>
            <a:spLocks noGrp="1"/>
          </p:cNvSpPr>
          <p:nvPr>
            <p:ph type="title" hasCustomPrompt="1"/>
          </p:nvPr>
        </p:nvSpPr>
        <p:spPr>
          <a:xfrm>
            <a:off x="491069" y="1600201"/>
            <a:ext cx="10354732" cy="4762500"/>
          </a:xfrm>
        </p:spPr>
        <p:txBody>
          <a:bodyPr tIns="914400" bIns="0" anchor="t" anchorCtr="0"/>
          <a:lstStyle>
            <a:lvl1pPr marL="114297" indent="-114297">
              <a:tabLst/>
              <a:defRPr sz="2800" b="0">
                <a:solidFill>
                  <a:schemeClr val="bg1"/>
                </a:solidFill>
              </a:defRPr>
            </a:lvl1pPr>
          </a:lstStyle>
          <a:p>
            <a:r>
              <a:rPr lang="en-US" dirty="0"/>
              <a:t>“Click to edit Master title style”</a:t>
            </a:r>
          </a:p>
        </p:txBody>
      </p:sp>
      <p:sp>
        <p:nvSpPr>
          <p:cNvPr id="3" name="Date Placeholder 2">
            <a:extLst>
              <a:ext uri="{FF2B5EF4-FFF2-40B4-BE49-F238E27FC236}">
                <a16:creationId xmlns:a16="http://schemas.microsoft.com/office/drawing/2014/main" id="{C418E43A-2457-42CA-BE83-E9C382D2B993}"/>
              </a:ext>
            </a:extLst>
          </p:cNvPr>
          <p:cNvSpPr>
            <a:spLocks noGrp="1"/>
          </p:cNvSpPr>
          <p:nvPr>
            <p:ph type="dt" sz="half" idx="10"/>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latin typeface="+mn-lt"/>
              </a:defRPr>
            </a:lvl9pPr>
          </a:lstStyle>
          <a:p>
            <a:pPr lvl="8"/>
            <a:r>
              <a:rPr lang="en-US"/>
              <a:t>February 5, 2026</a:t>
            </a:r>
            <a:endParaRPr lang="en-US" dirty="0"/>
          </a:p>
        </p:txBody>
      </p:sp>
      <p:sp>
        <p:nvSpPr>
          <p:cNvPr id="5" name="Slide Number Placeholder 4">
            <a:extLst>
              <a:ext uri="{FF2B5EF4-FFF2-40B4-BE49-F238E27FC236}">
                <a16:creationId xmlns:a16="http://schemas.microsoft.com/office/drawing/2014/main" id="{F0CF157D-7400-499C-96F9-B806E4F48A9A}"/>
              </a:ext>
            </a:extLst>
          </p:cNvPr>
          <p:cNvSpPr>
            <a:spLocks noGrp="1"/>
          </p:cNvSpPr>
          <p:nvPr>
            <p:ph type="sldNum" sz="quarter" idx="12"/>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63DCA5C9-2E11-4C67-86EB-AE1DE127DC64}" type="slidenum">
              <a:rPr lang="en-US" smtClean="0"/>
              <a:pPr/>
              <a:t>‹#›</a:t>
            </a:fld>
            <a:endParaRPr lang="en-US" dirty="0"/>
          </a:p>
        </p:txBody>
      </p:sp>
      <p:sp>
        <p:nvSpPr>
          <p:cNvPr id="8" name="Footer Placeholder 3">
            <a:extLst>
              <a:ext uri="{FF2B5EF4-FFF2-40B4-BE49-F238E27FC236}">
                <a16:creationId xmlns:a16="http://schemas.microsoft.com/office/drawing/2014/main" id="{847E09F5-A375-C64D-BB39-EB6C814717C6}"/>
              </a:ext>
            </a:extLst>
          </p:cNvPr>
          <p:cNvSpPr>
            <a:spLocks noGrp="1"/>
          </p:cNvSpPr>
          <p:nvPr>
            <p:ph type="ftr" sz="quarter" idx="11"/>
          </p:nvPr>
        </p:nvSpPr>
        <p:spPr>
          <a:xfrm>
            <a:off x="491069" y="6496842"/>
            <a:ext cx="4815417" cy="208759"/>
          </a:xfrm>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131"/>
            <a:r>
              <a:rPr lang="en-US"/>
              <a:t>CAR T in BCL</a:t>
            </a:r>
            <a:endParaRPr lang="en-US" dirty="0"/>
          </a:p>
        </p:txBody>
      </p:sp>
    </p:spTree>
    <p:extLst>
      <p:ext uri="{BB962C8B-B14F-4D97-AF65-F5344CB8AC3E}">
        <p14:creationId xmlns:p14="http://schemas.microsoft.com/office/powerpoint/2010/main" val="2324591214"/>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showMasterSp="0" preserve="1" userDrawn="1">
  <p:cSld name="quote_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C570D-3BAE-433E-8DDA-6594E6C21ABD}"/>
              </a:ext>
            </a:extLst>
          </p:cNvPr>
          <p:cNvSpPr>
            <a:spLocks noGrp="1"/>
          </p:cNvSpPr>
          <p:nvPr>
            <p:ph type="title" hasCustomPrompt="1"/>
          </p:nvPr>
        </p:nvSpPr>
        <p:spPr>
          <a:xfrm>
            <a:off x="491069" y="1600201"/>
            <a:ext cx="10354732" cy="4762500"/>
          </a:xfrm>
        </p:spPr>
        <p:txBody>
          <a:bodyPr tIns="914400" bIns="0" anchor="t" anchorCtr="0"/>
          <a:lstStyle>
            <a:lvl1pPr marL="114297" indent="-114297">
              <a:tabLst/>
              <a:defRPr sz="2800" b="0">
                <a:solidFill>
                  <a:srgbClr val="007CBA"/>
                </a:solidFill>
              </a:defRPr>
            </a:lvl1pPr>
          </a:lstStyle>
          <a:p>
            <a:r>
              <a:rPr lang="en-US" dirty="0"/>
              <a:t>“Click to edit Master title style”</a:t>
            </a:r>
          </a:p>
        </p:txBody>
      </p:sp>
      <p:sp>
        <p:nvSpPr>
          <p:cNvPr id="3" name="Date Placeholder 2">
            <a:extLst>
              <a:ext uri="{FF2B5EF4-FFF2-40B4-BE49-F238E27FC236}">
                <a16:creationId xmlns:a16="http://schemas.microsoft.com/office/drawing/2014/main" id="{C418E43A-2457-42CA-BE83-E9C382D2B993}"/>
              </a:ext>
            </a:extLst>
          </p:cNvPr>
          <p:cNvSpPr>
            <a:spLocks noGrp="1"/>
          </p:cNvSpPr>
          <p:nvPr>
            <p:ph type="dt" sz="half" idx="10"/>
          </p:nvPr>
        </p:nvSpPr>
        <p:spPr/>
        <p:txBody>
          <a:bodyPr/>
          <a:lstStyle>
            <a:lvl1pPr>
              <a:defRPr>
                <a:solidFill>
                  <a:srgbClr val="9E9E98"/>
                </a:solidFill>
              </a:defRPr>
            </a:lvl1pPr>
            <a:lvl2pPr>
              <a:defRPr>
                <a:solidFill>
                  <a:srgbClr val="9E9E98"/>
                </a:solidFill>
              </a:defRPr>
            </a:lvl2pPr>
            <a:lvl3pPr>
              <a:defRPr>
                <a:solidFill>
                  <a:srgbClr val="9E9E98"/>
                </a:solidFill>
              </a:defRPr>
            </a:lvl3pPr>
            <a:lvl4pPr>
              <a:defRPr>
                <a:solidFill>
                  <a:srgbClr val="9E9E98"/>
                </a:solidFill>
              </a:defRPr>
            </a:lvl4pPr>
            <a:lvl5pPr>
              <a:defRPr>
                <a:solidFill>
                  <a:srgbClr val="9E9E98"/>
                </a:solidFill>
              </a:defRPr>
            </a:lvl5pPr>
            <a:lvl6pPr>
              <a:defRPr>
                <a:solidFill>
                  <a:srgbClr val="9E9E98"/>
                </a:solidFill>
              </a:defRPr>
            </a:lvl6pPr>
            <a:lvl7pPr>
              <a:defRPr>
                <a:solidFill>
                  <a:srgbClr val="9E9E98"/>
                </a:solidFill>
              </a:defRPr>
            </a:lvl7pPr>
            <a:lvl8pPr>
              <a:defRPr>
                <a:solidFill>
                  <a:srgbClr val="9E9E98"/>
                </a:solidFill>
              </a:defRPr>
            </a:lvl8pPr>
            <a:lvl9pPr>
              <a:defRPr>
                <a:solidFill>
                  <a:srgbClr val="9E9E98"/>
                </a:solidFill>
                <a:latin typeface="+mn-lt"/>
              </a:defRPr>
            </a:lvl9pPr>
          </a:lstStyle>
          <a:p>
            <a:pPr lvl="8"/>
            <a:r>
              <a:rPr lang="en-US"/>
              <a:t>February 5, 2026</a:t>
            </a:r>
            <a:endParaRPr lang="en-US" dirty="0"/>
          </a:p>
        </p:txBody>
      </p:sp>
      <p:sp>
        <p:nvSpPr>
          <p:cNvPr id="5" name="Slide Number Placeholder 4">
            <a:extLst>
              <a:ext uri="{FF2B5EF4-FFF2-40B4-BE49-F238E27FC236}">
                <a16:creationId xmlns:a16="http://schemas.microsoft.com/office/drawing/2014/main" id="{F0CF157D-7400-499C-96F9-B806E4F48A9A}"/>
              </a:ext>
            </a:extLst>
          </p:cNvPr>
          <p:cNvSpPr>
            <a:spLocks noGrp="1"/>
          </p:cNvSpPr>
          <p:nvPr>
            <p:ph type="sldNum" sz="quarter" idx="12"/>
          </p:nvPr>
        </p:nvSpPr>
        <p:spPr/>
        <p:txBody>
          <a:bodyPr/>
          <a:lstStyle>
            <a:lvl1pPr>
              <a:defRPr>
                <a:solidFill>
                  <a:srgbClr val="9E9E98"/>
                </a:solidFill>
              </a:defRPr>
            </a:lvl1pPr>
            <a:lvl2pPr>
              <a:defRPr>
                <a:solidFill>
                  <a:srgbClr val="9E9E98"/>
                </a:solidFill>
              </a:defRPr>
            </a:lvl2pPr>
            <a:lvl3pPr>
              <a:defRPr>
                <a:solidFill>
                  <a:srgbClr val="9E9E98"/>
                </a:solidFill>
              </a:defRPr>
            </a:lvl3pPr>
            <a:lvl4pPr>
              <a:defRPr>
                <a:solidFill>
                  <a:srgbClr val="9E9E98"/>
                </a:solidFill>
              </a:defRPr>
            </a:lvl4pPr>
            <a:lvl5pPr>
              <a:defRPr>
                <a:solidFill>
                  <a:srgbClr val="9E9E98"/>
                </a:solidFill>
              </a:defRPr>
            </a:lvl5pPr>
            <a:lvl6pPr>
              <a:defRPr>
                <a:solidFill>
                  <a:srgbClr val="9E9E98"/>
                </a:solidFill>
              </a:defRPr>
            </a:lvl6pPr>
            <a:lvl7pPr>
              <a:defRPr>
                <a:solidFill>
                  <a:srgbClr val="9E9E98"/>
                </a:solidFill>
              </a:defRPr>
            </a:lvl7pPr>
            <a:lvl8pPr>
              <a:defRPr>
                <a:solidFill>
                  <a:srgbClr val="9E9E98"/>
                </a:solidFill>
              </a:defRPr>
            </a:lvl8pPr>
            <a:lvl9pPr>
              <a:defRPr>
                <a:solidFill>
                  <a:srgbClr val="9E9E98"/>
                </a:solidFill>
              </a:defRPr>
            </a:lvl9pPr>
          </a:lstStyle>
          <a:p>
            <a:fld id="{63DCA5C9-2E11-4C67-86EB-AE1DE127DC64}" type="slidenum">
              <a:rPr lang="en-US" smtClean="0"/>
              <a:pPr/>
              <a:t>‹#›</a:t>
            </a:fld>
            <a:endParaRPr lang="en-US" dirty="0"/>
          </a:p>
        </p:txBody>
      </p:sp>
      <p:sp>
        <p:nvSpPr>
          <p:cNvPr id="6" name="Footer Placeholder 3">
            <a:extLst>
              <a:ext uri="{FF2B5EF4-FFF2-40B4-BE49-F238E27FC236}">
                <a16:creationId xmlns:a16="http://schemas.microsoft.com/office/drawing/2014/main" id="{8FDDCB98-501F-C943-8697-CF44C63C8AA2}"/>
              </a:ext>
            </a:extLst>
          </p:cNvPr>
          <p:cNvSpPr>
            <a:spLocks noGrp="1"/>
          </p:cNvSpPr>
          <p:nvPr>
            <p:ph type="ftr" sz="quarter" idx="11"/>
          </p:nvPr>
        </p:nvSpPr>
        <p:spPr>
          <a:xfrm>
            <a:off x="491069" y="6496842"/>
            <a:ext cx="4815417" cy="208759"/>
          </a:xfrm>
        </p:spPr>
        <p:txBody>
          <a:bodyPr/>
          <a:lstStyle>
            <a:lvl1pPr>
              <a:defRPr b="1">
                <a:solidFill>
                  <a:srgbClr val="9E9E98"/>
                </a:solidFill>
              </a:defRPr>
            </a:lvl1pPr>
            <a:lvl2pPr>
              <a:defRPr b="1">
                <a:solidFill>
                  <a:srgbClr val="9E9E98"/>
                </a:solidFill>
              </a:defRPr>
            </a:lvl2pPr>
            <a:lvl3pPr>
              <a:defRPr b="1">
                <a:solidFill>
                  <a:srgbClr val="9E9E98"/>
                </a:solidFill>
              </a:defRPr>
            </a:lvl3pPr>
            <a:lvl4pPr>
              <a:defRPr b="1">
                <a:solidFill>
                  <a:srgbClr val="9E9E98"/>
                </a:solidFill>
              </a:defRPr>
            </a:lvl4pPr>
            <a:lvl5pPr>
              <a:defRPr b="1">
                <a:solidFill>
                  <a:srgbClr val="9E9E98"/>
                </a:solidFill>
              </a:defRPr>
            </a:lvl5pPr>
            <a:lvl6pPr>
              <a:defRPr b="1">
                <a:solidFill>
                  <a:srgbClr val="9E9E98"/>
                </a:solidFill>
              </a:defRPr>
            </a:lvl6pPr>
            <a:lvl7pPr>
              <a:defRPr b="1">
                <a:solidFill>
                  <a:srgbClr val="9E9E98"/>
                </a:solidFill>
              </a:defRPr>
            </a:lvl7pPr>
            <a:lvl8pPr>
              <a:defRPr b="1">
                <a:solidFill>
                  <a:srgbClr val="9E9E98"/>
                </a:solidFill>
              </a:defRPr>
            </a:lvl8pPr>
            <a:lvl9pPr>
              <a:defRPr b="1">
                <a:solidFill>
                  <a:srgbClr val="9E9E98"/>
                </a:solidFill>
              </a:defRPr>
            </a:lvl9pPr>
          </a:lstStyle>
          <a:p>
            <a:pPr indent="-2743131"/>
            <a:r>
              <a:rPr lang="en-US"/>
              <a:t>CAR T in BCL</a:t>
            </a:r>
            <a:endParaRPr lang="en-US" dirty="0"/>
          </a:p>
        </p:txBody>
      </p:sp>
    </p:spTree>
    <p:extLst>
      <p:ext uri="{BB962C8B-B14F-4D97-AF65-F5344CB8AC3E}">
        <p14:creationId xmlns:p14="http://schemas.microsoft.com/office/powerpoint/2010/main" val="3238548794"/>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showMasterSp="0" preserve="1" userDrawn="1">
  <p:cSld name="layout_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C570D-3BAE-433E-8DDA-6594E6C21ABD}"/>
              </a:ext>
            </a:extLst>
          </p:cNvPr>
          <p:cNvSpPr>
            <a:spLocks noGrp="1"/>
          </p:cNvSpPr>
          <p:nvPr>
            <p:ph type="title"/>
          </p:nvPr>
        </p:nvSpPr>
        <p:spPr>
          <a:xfrm>
            <a:off x="488951" y="349250"/>
            <a:ext cx="11216216" cy="1022351"/>
          </a:xfrm>
        </p:spPr>
        <p:txBody>
          <a:bodyPr/>
          <a:lstStyle>
            <a:lvl1pPr>
              <a:defRPr>
                <a:solidFill>
                  <a:srgbClr val="007CBA"/>
                </a:solidFill>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C418E43A-2457-42CA-BE83-E9C382D2B993}"/>
              </a:ext>
            </a:extLst>
          </p:cNvPr>
          <p:cNvSpPr>
            <a:spLocks noGrp="1"/>
          </p:cNvSpPr>
          <p:nvPr>
            <p:ph type="dt" sz="half" idx="10"/>
          </p:nvPr>
        </p:nvSpPr>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February 5, 2026</a:t>
            </a:r>
            <a:endParaRPr lang="en-US" dirty="0"/>
          </a:p>
        </p:txBody>
      </p:sp>
      <p:sp>
        <p:nvSpPr>
          <p:cNvPr id="5" name="Slide Number Placeholder 4">
            <a:extLst>
              <a:ext uri="{FF2B5EF4-FFF2-40B4-BE49-F238E27FC236}">
                <a16:creationId xmlns:a16="http://schemas.microsoft.com/office/drawing/2014/main" id="{F0CF157D-7400-499C-96F9-B806E4F48A9A}"/>
              </a:ext>
            </a:extLst>
          </p:cNvPr>
          <p:cNvSpPr>
            <a:spLocks noGrp="1"/>
          </p:cNvSpPr>
          <p:nvPr>
            <p:ph type="sldNum" sz="quarter" idx="12"/>
          </p:nvPr>
        </p:nvSpPr>
        <p:spPr/>
        <p:txBody>
          <a:bodyPr/>
          <a:lstStyle>
            <a:lvl1pPr>
              <a:defRPr>
                <a:solidFill>
                  <a:schemeClr val="bg1"/>
                </a:solidFill>
              </a:defRPr>
            </a:lvl1pPr>
          </a:lstStyle>
          <a:p>
            <a:fld id="{63DCA5C9-2E11-4C67-86EB-AE1DE127DC64}" type="slidenum">
              <a:rPr lang="en-US" smtClean="0"/>
              <a:pPr/>
              <a:t>‹#›</a:t>
            </a:fld>
            <a:endParaRPr lang="en-US" dirty="0"/>
          </a:p>
        </p:txBody>
      </p:sp>
      <p:sp>
        <p:nvSpPr>
          <p:cNvPr id="8" name="Content Placeholder 7">
            <a:extLst>
              <a:ext uri="{FF2B5EF4-FFF2-40B4-BE49-F238E27FC236}">
                <a16:creationId xmlns:a16="http://schemas.microsoft.com/office/drawing/2014/main" id="{89460896-BBD5-4265-B217-9DE153A9B618}"/>
              </a:ext>
            </a:extLst>
          </p:cNvPr>
          <p:cNvSpPr>
            <a:spLocks noGrp="1"/>
          </p:cNvSpPr>
          <p:nvPr>
            <p:ph sz="quarter" idx="14"/>
          </p:nvPr>
        </p:nvSpPr>
        <p:spPr>
          <a:xfrm>
            <a:off x="491067" y="1600201"/>
            <a:ext cx="10351104" cy="453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Footer Placeholder 3">
            <a:extLst>
              <a:ext uri="{FF2B5EF4-FFF2-40B4-BE49-F238E27FC236}">
                <a16:creationId xmlns:a16="http://schemas.microsoft.com/office/drawing/2014/main" id="{868B56D2-9291-8145-B467-CF3AFF5A71C1}"/>
              </a:ext>
            </a:extLst>
          </p:cNvPr>
          <p:cNvSpPr>
            <a:spLocks noGrp="1"/>
          </p:cNvSpPr>
          <p:nvPr>
            <p:ph type="ftr" sz="quarter" idx="11"/>
          </p:nvPr>
        </p:nvSpPr>
        <p:spPr>
          <a:xfrm>
            <a:off x="491069" y="6496842"/>
            <a:ext cx="4815417" cy="208759"/>
          </a:xfrm>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131"/>
            <a:r>
              <a:rPr lang="en-US"/>
              <a:t>CAR T in BCL</a:t>
            </a:r>
            <a:endParaRPr lang="en-US" dirty="0"/>
          </a:p>
        </p:txBody>
      </p:sp>
    </p:spTree>
    <p:extLst>
      <p:ext uri="{BB962C8B-B14F-4D97-AF65-F5344CB8AC3E}">
        <p14:creationId xmlns:p14="http://schemas.microsoft.com/office/powerpoint/2010/main" val="3920817049"/>
      </p:ext>
    </p:extLst>
  </p:cSld>
  <p:clrMapOvr>
    <a:masterClrMapping/>
  </p:clrMapOvr>
  <p:extLst>
    <p:ext uri="{DCECCB84-F9BA-43D5-87BE-67443E8EF086}">
      <p15:sldGuideLst xmlns:p15="http://schemas.microsoft.com/office/powerpoint/2012/main"/>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showMasterSp="0" preserve="1" userDrawn="1">
  <p:cSld name="layout_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C570D-3BAE-433E-8DDA-6594E6C21ABD}"/>
              </a:ext>
            </a:extLst>
          </p:cNvPr>
          <p:cNvSpPr>
            <a:spLocks noGrp="1"/>
          </p:cNvSpPr>
          <p:nvPr>
            <p:ph type="title"/>
          </p:nvPr>
        </p:nvSpPr>
        <p:spPr/>
        <p:txBody>
          <a:bodyPr/>
          <a:lstStyle>
            <a:lvl1pPr>
              <a:defRPr>
                <a:solidFill>
                  <a:srgbClr val="007CBA"/>
                </a:solidFill>
              </a:defRPr>
            </a:lvl1pPr>
          </a:lstStyle>
          <a:p>
            <a:r>
              <a:rPr lang="en-US"/>
              <a:t>Click to edit Master title style</a:t>
            </a:r>
            <a:endParaRPr lang="en-US" dirty="0"/>
          </a:p>
        </p:txBody>
      </p:sp>
      <p:sp>
        <p:nvSpPr>
          <p:cNvPr id="8" name="Content Placeholder 7">
            <a:extLst>
              <a:ext uri="{FF2B5EF4-FFF2-40B4-BE49-F238E27FC236}">
                <a16:creationId xmlns:a16="http://schemas.microsoft.com/office/drawing/2014/main" id="{89460896-BBD5-4265-B217-9DE153A9B618}"/>
              </a:ext>
            </a:extLst>
          </p:cNvPr>
          <p:cNvSpPr>
            <a:spLocks noGrp="1"/>
          </p:cNvSpPr>
          <p:nvPr>
            <p:ph sz="quarter" idx="14"/>
          </p:nvPr>
        </p:nvSpPr>
        <p:spPr>
          <a:xfrm>
            <a:off x="488950" y="1600201"/>
            <a:ext cx="5454652" cy="453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Date Placeholder 2">
            <a:extLst>
              <a:ext uri="{FF2B5EF4-FFF2-40B4-BE49-F238E27FC236}">
                <a16:creationId xmlns:a16="http://schemas.microsoft.com/office/drawing/2014/main" id="{27368064-A7EF-9D45-BBE5-D003BB4D9774}"/>
              </a:ext>
            </a:extLst>
          </p:cNvPr>
          <p:cNvSpPr>
            <a:spLocks noGrp="1"/>
          </p:cNvSpPr>
          <p:nvPr>
            <p:ph type="dt" sz="half" idx="10"/>
          </p:nvPr>
        </p:nvSpPr>
        <p:spPr>
          <a:xfrm>
            <a:off x="10269464" y="6492767"/>
            <a:ext cx="1011313" cy="208759"/>
          </a:xfrm>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February 5, 2026</a:t>
            </a:r>
            <a:endParaRPr lang="en-US" dirty="0"/>
          </a:p>
        </p:txBody>
      </p:sp>
      <p:sp>
        <p:nvSpPr>
          <p:cNvPr id="13" name="Slide Number Placeholder 4">
            <a:extLst>
              <a:ext uri="{FF2B5EF4-FFF2-40B4-BE49-F238E27FC236}">
                <a16:creationId xmlns:a16="http://schemas.microsoft.com/office/drawing/2014/main" id="{588E7AB3-7213-2549-AEC9-BA165AC24B41}"/>
              </a:ext>
            </a:extLst>
          </p:cNvPr>
          <p:cNvSpPr>
            <a:spLocks noGrp="1"/>
          </p:cNvSpPr>
          <p:nvPr>
            <p:ph type="sldNum" sz="quarter" idx="12"/>
          </p:nvPr>
        </p:nvSpPr>
        <p:spPr>
          <a:xfrm>
            <a:off x="11280775" y="6492767"/>
            <a:ext cx="424392" cy="208759"/>
          </a:xfrm>
        </p:spPr>
        <p:txBody>
          <a:bodyPr/>
          <a:lstStyle>
            <a:lvl1pPr>
              <a:defRPr>
                <a:solidFill>
                  <a:schemeClr val="bg1"/>
                </a:solidFill>
              </a:defRPr>
            </a:lvl1pPr>
          </a:lstStyle>
          <a:p>
            <a:fld id="{63DCA5C9-2E11-4C67-86EB-AE1DE127DC64}" type="slidenum">
              <a:rPr lang="en-US" smtClean="0"/>
              <a:pPr/>
              <a:t>‹#›</a:t>
            </a:fld>
            <a:endParaRPr lang="en-US" dirty="0"/>
          </a:p>
        </p:txBody>
      </p:sp>
      <p:sp>
        <p:nvSpPr>
          <p:cNvPr id="14" name="Footer Placeholder 3">
            <a:extLst>
              <a:ext uri="{FF2B5EF4-FFF2-40B4-BE49-F238E27FC236}">
                <a16:creationId xmlns:a16="http://schemas.microsoft.com/office/drawing/2014/main" id="{5807D8EB-86D6-2444-BFEE-CB331CF4F61C}"/>
              </a:ext>
            </a:extLst>
          </p:cNvPr>
          <p:cNvSpPr>
            <a:spLocks noGrp="1"/>
          </p:cNvSpPr>
          <p:nvPr>
            <p:ph type="ftr" sz="quarter" idx="11"/>
          </p:nvPr>
        </p:nvSpPr>
        <p:spPr>
          <a:xfrm>
            <a:off x="491069" y="6496842"/>
            <a:ext cx="4815417" cy="208759"/>
          </a:xfrm>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131"/>
            <a:r>
              <a:rPr lang="en-US"/>
              <a:t>CAR T in BCL</a:t>
            </a:r>
            <a:endParaRPr lang="en-US" dirty="0"/>
          </a:p>
        </p:txBody>
      </p:sp>
      <p:sp>
        <p:nvSpPr>
          <p:cNvPr id="9" name="Content Placeholder 7">
            <a:extLst>
              <a:ext uri="{FF2B5EF4-FFF2-40B4-BE49-F238E27FC236}">
                <a16:creationId xmlns:a16="http://schemas.microsoft.com/office/drawing/2014/main" id="{B387EB40-8C69-BE4E-B0E2-6DA51BA308F7}"/>
              </a:ext>
            </a:extLst>
          </p:cNvPr>
          <p:cNvSpPr>
            <a:spLocks noGrp="1"/>
          </p:cNvSpPr>
          <p:nvPr>
            <p:ph sz="quarter" idx="16"/>
          </p:nvPr>
        </p:nvSpPr>
        <p:spPr>
          <a:xfrm>
            <a:off x="6252635" y="1600201"/>
            <a:ext cx="5452532" cy="453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9861252"/>
      </p:ext>
    </p:extLst>
  </p:cSld>
  <p:clrMapOvr>
    <a:masterClrMapping/>
  </p:clrMapOvr>
  <p:extLst>
    <p:ext uri="{DCECCB84-F9BA-43D5-87BE-67443E8EF086}">
      <p15:sldGuideLst xmlns:p15="http://schemas.microsoft.com/office/powerpoint/2012/main"/>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showMasterSp="0" preserve="1" userDrawn="1">
  <p:cSld name="layout_1/2 content 1/2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C570D-3BAE-433E-8DDA-6594E6C21ABD}"/>
              </a:ext>
            </a:extLst>
          </p:cNvPr>
          <p:cNvSpPr>
            <a:spLocks noGrp="1"/>
          </p:cNvSpPr>
          <p:nvPr>
            <p:ph type="title"/>
          </p:nvPr>
        </p:nvSpPr>
        <p:spPr/>
        <p:txBody>
          <a:bodyPr/>
          <a:lstStyle>
            <a:lvl1pPr>
              <a:defRPr>
                <a:solidFill>
                  <a:srgbClr val="007CBA"/>
                </a:solidFill>
              </a:defRPr>
            </a:lvl1pPr>
          </a:lstStyle>
          <a:p>
            <a:r>
              <a:rPr lang="en-US"/>
              <a:t>Click to edit Master title style</a:t>
            </a:r>
            <a:endParaRPr lang="en-US" dirty="0"/>
          </a:p>
        </p:txBody>
      </p:sp>
      <p:sp>
        <p:nvSpPr>
          <p:cNvPr id="8" name="Content Placeholder 7">
            <a:extLst>
              <a:ext uri="{FF2B5EF4-FFF2-40B4-BE49-F238E27FC236}">
                <a16:creationId xmlns:a16="http://schemas.microsoft.com/office/drawing/2014/main" id="{89460896-BBD5-4265-B217-9DE153A9B618}"/>
              </a:ext>
            </a:extLst>
          </p:cNvPr>
          <p:cNvSpPr>
            <a:spLocks noGrp="1"/>
          </p:cNvSpPr>
          <p:nvPr>
            <p:ph sz="quarter" idx="14"/>
          </p:nvPr>
        </p:nvSpPr>
        <p:spPr>
          <a:xfrm>
            <a:off x="488950" y="1600201"/>
            <a:ext cx="5454652" cy="453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6">
            <a:extLst>
              <a:ext uri="{FF2B5EF4-FFF2-40B4-BE49-F238E27FC236}">
                <a16:creationId xmlns:a16="http://schemas.microsoft.com/office/drawing/2014/main" id="{26362283-5DCE-A241-BB5D-DCF6CF07D5DC}"/>
              </a:ext>
            </a:extLst>
          </p:cNvPr>
          <p:cNvSpPr>
            <a:spLocks noGrp="1"/>
          </p:cNvSpPr>
          <p:nvPr>
            <p:ph type="pic" sz="quarter" idx="15"/>
          </p:nvPr>
        </p:nvSpPr>
        <p:spPr>
          <a:xfrm>
            <a:off x="6252636" y="1600201"/>
            <a:ext cx="5452533" cy="4533900"/>
          </a:xfrm>
          <a:solidFill>
            <a:srgbClr val="9E9E98"/>
          </a:solidFill>
        </p:spPr>
        <p:txBody>
          <a:bodyPr tIns="1737360"/>
          <a:lstStyle>
            <a:lvl1pPr algn="ctr">
              <a:defRPr/>
            </a:lvl1pPr>
          </a:lstStyle>
          <a:p>
            <a:r>
              <a:rPr lang="en-US"/>
              <a:t>Click icon to add picture</a:t>
            </a:r>
            <a:endParaRPr lang="en-US" dirty="0"/>
          </a:p>
        </p:txBody>
      </p:sp>
      <p:sp>
        <p:nvSpPr>
          <p:cNvPr id="12" name="Date Placeholder 2">
            <a:extLst>
              <a:ext uri="{FF2B5EF4-FFF2-40B4-BE49-F238E27FC236}">
                <a16:creationId xmlns:a16="http://schemas.microsoft.com/office/drawing/2014/main" id="{27368064-A7EF-9D45-BBE5-D003BB4D9774}"/>
              </a:ext>
            </a:extLst>
          </p:cNvPr>
          <p:cNvSpPr>
            <a:spLocks noGrp="1"/>
          </p:cNvSpPr>
          <p:nvPr>
            <p:ph type="dt" sz="half" idx="10"/>
          </p:nvPr>
        </p:nvSpPr>
        <p:spPr>
          <a:xfrm>
            <a:off x="10269464" y="6492767"/>
            <a:ext cx="1011313" cy="208759"/>
          </a:xfrm>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February 5, 2026</a:t>
            </a:r>
            <a:endParaRPr lang="en-US" dirty="0"/>
          </a:p>
        </p:txBody>
      </p:sp>
      <p:sp>
        <p:nvSpPr>
          <p:cNvPr id="13" name="Slide Number Placeholder 4">
            <a:extLst>
              <a:ext uri="{FF2B5EF4-FFF2-40B4-BE49-F238E27FC236}">
                <a16:creationId xmlns:a16="http://schemas.microsoft.com/office/drawing/2014/main" id="{588E7AB3-7213-2549-AEC9-BA165AC24B41}"/>
              </a:ext>
            </a:extLst>
          </p:cNvPr>
          <p:cNvSpPr>
            <a:spLocks noGrp="1"/>
          </p:cNvSpPr>
          <p:nvPr>
            <p:ph type="sldNum" sz="quarter" idx="12"/>
          </p:nvPr>
        </p:nvSpPr>
        <p:spPr>
          <a:xfrm>
            <a:off x="11280775" y="6492767"/>
            <a:ext cx="424392" cy="208759"/>
          </a:xfrm>
        </p:spPr>
        <p:txBody>
          <a:bodyPr/>
          <a:lstStyle>
            <a:lvl1pPr>
              <a:defRPr>
                <a:solidFill>
                  <a:schemeClr val="bg1"/>
                </a:solidFill>
              </a:defRPr>
            </a:lvl1pPr>
          </a:lstStyle>
          <a:p>
            <a:fld id="{63DCA5C9-2E11-4C67-86EB-AE1DE127DC64}" type="slidenum">
              <a:rPr lang="en-US" smtClean="0"/>
              <a:pPr/>
              <a:t>‹#›</a:t>
            </a:fld>
            <a:endParaRPr lang="en-US" dirty="0"/>
          </a:p>
        </p:txBody>
      </p:sp>
      <p:sp>
        <p:nvSpPr>
          <p:cNvPr id="14" name="Footer Placeholder 3">
            <a:extLst>
              <a:ext uri="{FF2B5EF4-FFF2-40B4-BE49-F238E27FC236}">
                <a16:creationId xmlns:a16="http://schemas.microsoft.com/office/drawing/2014/main" id="{5807D8EB-86D6-2444-BFEE-CB331CF4F61C}"/>
              </a:ext>
            </a:extLst>
          </p:cNvPr>
          <p:cNvSpPr>
            <a:spLocks noGrp="1"/>
          </p:cNvSpPr>
          <p:nvPr>
            <p:ph type="ftr" sz="quarter" idx="11"/>
          </p:nvPr>
        </p:nvSpPr>
        <p:spPr>
          <a:xfrm>
            <a:off x="491069" y="6496842"/>
            <a:ext cx="4815417" cy="208759"/>
          </a:xfrm>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131"/>
            <a:r>
              <a:rPr lang="en-US"/>
              <a:t>CAR T in BCL</a:t>
            </a:r>
            <a:endParaRPr lang="en-US" dirty="0"/>
          </a:p>
        </p:txBody>
      </p:sp>
    </p:spTree>
    <p:extLst>
      <p:ext uri="{BB962C8B-B14F-4D97-AF65-F5344CB8AC3E}">
        <p14:creationId xmlns:p14="http://schemas.microsoft.com/office/powerpoint/2010/main" val="4064010730"/>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916FF65-E16B-BA4F-9591-6B4416106527}"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38800597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showMasterSp="0" preserve="1" userDrawn="1">
  <p:cSld name="layout_1/3 content 2/3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C570D-3BAE-433E-8DDA-6594E6C21ABD}"/>
              </a:ext>
            </a:extLst>
          </p:cNvPr>
          <p:cNvSpPr>
            <a:spLocks noGrp="1"/>
          </p:cNvSpPr>
          <p:nvPr>
            <p:ph type="title"/>
          </p:nvPr>
        </p:nvSpPr>
        <p:spPr/>
        <p:txBody>
          <a:bodyPr/>
          <a:lstStyle>
            <a:lvl1pPr>
              <a:defRPr>
                <a:solidFill>
                  <a:srgbClr val="007CBA"/>
                </a:solidFill>
              </a:defRPr>
            </a:lvl1pPr>
          </a:lstStyle>
          <a:p>
            <a:r>
              <a:rPr lang="en-US"/>
              <a:t>Click to edit Master title style</a:t>
            </a:r>
            <a:endParaRPr lang="en-US" dirty="0"/>
          </a:p>
        </p:txBody>
      </p:sp>
      <p:sp>
        <p:nvSpPr>
          <p:cNvPr id="9" name="Content Placeholder 8">
            <a:extLst>
              <a:ext uri="{FF2B5EF4-FFF2-40B4-BE49-F238E27FC236}">
                <a16:creationId xmlns:a16="http://schemas.microsoft.com/office/drawing/2014/main" id="{766D17BA-B313-4C5A-AFC9-CB21C07EF6DA}"/>
              </a:ext>
            </a:extLst>
          </p:cNvPr>
          <p:cNvSpPr>
            <a:spLocks noGrp="1"/>
          </p:cNvSpPr>
          <p:nvPr>
            <p:ph sz="quarter" idx="15"/>
          </p:nvPr>
        </p:nvSpPr>
        <p:spPr>
          <a:xfrm>
            <a:off x="491068" y="1600201"/>
            <a:ext cx="3526367" cy="453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Date Placeholder 2">
            <a:extLst>
              <a:ext uri="{FF2B5EF4-FFF2-40B4-BE49-F238E27FC236}">
                <a16:creationId xmlns:a16="http://schemas.microsoft.com/office/drawing/2014/main" id="{C5FFA427-FDB0-2A49-A085-0EA6F30919E8}"/>
              </a:ext>
            </a:extLst>
          </p:cNvPr>
          <p:cNvSpPr>
            <a:spLocks noGrp="1"/>
          </p:cNvSpPr>
          <p:nvPr>
            <p:ph type="dt" sz="half" idx="10"/>
          </p:nvPr>
        </p:nvSpPr>
        <p:spPr>
          <a:xfrm>
            <a:off x="10269464" y="6492767"/>
            <a:ext cx="1011313" cy="208759"/>
          </a:xfrm>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February 5, 2026</a:t>
            </a:r>
            <a:endParaRPr lang="en-US" dirty="0"/>
          </a:p>
        </p:txBody>
      </p:sp>
      <p:sp>
        <p:nvSpPr>
          <p:cNvPr id="12" name="Slide Number Placeholder 4">
            <a:extLst>
              <a:ext uri="{FF2B5EF4-FFF2-40B4-BE49-F238E27FC236}">
                <a16:creationId xmlns:a16="http://schemas.microsoft.com/office/drawing/2014/main" id="{0C7FA53C-A746-F847-AAE9-8991A1888791}"/>
              </a:ext>
            </a:extLst>
          </p:cNvPr>
          <p:cNvSpPr>
            <a:spLocks noGrp="1"/>
          </p:cNvSpPr>
          <p:nvPr>
            <p:ph type="sldNum" sz="quarter" idx="12"/>
          </p:nvPr>
        </p:nvSpPr>
        <p:spPr>
          <a:xfrm>
            <a:off x="11280775" y="6492767"/>
            <a:ext cx="424392" cy="208759"/>
          </a:xfrm>
        </p:spPr>
        <p:txBody>
          <a:bodyPr/>
          <a:lstStyle>
            <a:lvl1pPr>
              <a:defRPr>
                <a:solidFill>
                  <a:schemeClr val="bg1"/>
                </a:solidFill>
              </a:defRPr>
            </a:lvl1pPr>
          </a:lstStyle>
          <a:p>
            <a:fld id="{63DCA5C9-2E11-4C67-86EB-AE1DE127DC64}" type="slidenum">
              <a:rPr lang="en-US" smtClean="0"/>
              <a:pPr/>
              <a:t>‹#›</a:t>
            </a:fld>
            <a:endParaRPr lang="en-US" dirty="0"/>
          </a:p>
        </p:txBody>
      </p:sp>
      <p:sp>
        <p:nvSpPr>
          <p:cNvPr id="14" name="Footer Placeholder 3">
            <a:extLst>
              <a:ext uri="{FF2B5EF4-FFF2-40B4-BE49-F238E27FC236}">
                <a16:creationId xmlns:a16="http://schemas.microsoft.com/office/drawing/2014/main" id="{9F435983-12B7-C848-9FBB-404F8D649791}"/>
              </a:ext>
            </a:extLst>
          </p:cNvPr>
          <p:cNvSpPr>
            <a:spLocks noGrp="1"/>
          </p:cNvSpPr>
          <p:nvPr>
            <p:ph type="ftr" sz="quarter" idx="11"/>
          </p:nvPr>
        </p:nvSpPr>
        <p:spPr>
          <a:xfrm>
            <a:off x="491069" y="6496842"/>
            <a:ext cx="4815417" cy="208759"/>
          </a:xfrm>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131"/>
            <a:r>
              <a:rPr lang="en-US"/>
              <a:t>CAR T in BCL</a:t>
            </a:r>
            <a:endParaRPr lang="en-US" dirty="0"/>
          </a:p>
        </p:txBody>
      </p:sp>
      <p:sp>
        <p:nvSpPr>
          <p:cNvPr id="7" name="Content Placeholder 6">
            <a:extLst>
              <a:ext uri="{FF2B5EF4-FFF2-40B4-BE49-F238E27FC236}">
                <a16:creationId xmlns:a16="http://schemas.microsoft.com/office/drawing/2014/main" id="{494763BF-E3DC-9C42-8B79-E5F1E3650C1E}"/>
              </a:ext>
            </a:extLst>
          </p:cNvPr>
          <p:cNvSpPr>
            <a:spLocks noGrp="1"/>
          </p:cNvSpPr>
          <p:nvPr>
            <p:ph sz="quarter" idx="16"/>
          </p:nvPr>
        </p:nvSpPr>
        <p:spPr>
          <a:xfrm>
            <a:off x="4326467" y="1600201"/>
            <a:ext cx="7378700" cy="453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643479"/>
      </p:ext>
    </p:extLst>
  </p:cSld>
  <p:clrMapOvr>
    <a:masterClrMapping/>
  </p:clrMapOvr>
  <p:extLst>
    <p:ext uri="{DCECCB84-F9BA-43D5-87BE-67443E8EF086}">
      <p15:sldGuideLst xmlns:p15="http://schemas.microsoft.com/office/powerpoint/2012/main"/>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showMasterSp="0" preserve="1" userDrawn="1">
  <p:cSld name="layout_1/3 image 2/3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C570D-3BAE-433E-8DDA-6594E6C21ABD}"/>
              </a:ext>
            </a:extLst>
          </p:cNvPr>
          <p:cNvSpPr>
            <a:spLocks noGrp="1"/>
          </p:cNvSpPr>
          <p:nvPr>
            <p:ph type="title"/>
          </p:nvPr>
        </p:nvSpPr>
        <p:spPr/>
        <p:txBody>
          <a:bodyPr/>
          <a:lstStyle>
            <a:lvl1pPr>
              <a:defRPr>
                <a:solidFill>
                  <a:srgbClr val="007CBA"/>
                </a:solidFill>
              </a:defRPr>
            </a:lvl1pPr>
          </a:lstStyle>
          <a:p>
            <a:r>
              <a:rPr lang="en-US"/>
              <a:t>Click to edit Master title style</a:t>
            </a:r>
            <a:endParaRPr lang="en-US" dirty="0"/>
          </a:p>
        </p:txBody>
      </p:sp>
      <p:sp>
        <p:nvSpPr>
          <p:cNvPr id="9" name="Content Placeholder 8">
            <a:extLst>
              <a:ext uri="{FF2B5EF4-FFF2-40B4-BE49-F238E27FC236}">
                <a16:creationId xmlns:a16="http://schemas.microsoft.com/office/drawing/2014/main" id="{766D17BA-B313-4C5A-AFC9-CB21C07EF6DA}"/>
              </a:ext>
            </a:extLst>
          </p:cNvPr>
          <p:cNvSpPr>
            <a:spLocks noGrp="1"/>
          </p:cNvSpPr>
          <p:nvPr>
            <p:ph sz="quarter" idx="15"/>
          </p:nvPr>
        </p:nvSpPr>
        <p:spPr>
          <a:xfrm>
            <a:off x="4326467" y="1600201"/>
            <a:ext cx="7378700" cy="453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Date Placeholder 2">
            <a:extLst>
              <a:ext uri="{FF2B5EF4-FFF2-40B4-BE49-F238E27FC236}">
                <a16:creationId xmlns:a16="http://schemas.microsoft.com/office/drawing/2014/main" id="{A2FEC933-0487-B540-9BD4-2C03092BACF5}"/>
              </a:ext>
            </a:extLst>
          </p:cNvPr>
          <p:cNvSpPr>
            <a:spLocks noGrp="1"/>
          </p:cNvSpPr>
          <p:nvPr>
            <p:ph type="dt" sz="half" idx="10"/>
          </p:nvPr>
        </p:nvSpPr>
        <p:spPr>
          <a:xfrm>
            <a:off x="10269464" y="6492767"/>
            <a:ext cx="1011313" cy="208759"/>
          </a:xfrm>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February 5, 2026</a:t>
            </a:r>
            <a:endParaRPr lang="en-US" dirty="0"/>
          </a:p>
        </p:txBody>
      </p:sp>
      <p:sp>
        <p:nvSpPr>
          <p:cNvPr id="12" name="Slide Number Placeholder 4">
            <a:extLst>
              <a:ext uri="{FF2B5EF4-FFF2-40B4-BE49-F238E27FC236}">
                <a16:creationId xmlns:a16="http://schemas.microsoft.com/office/drawing/2014/main" id="{5E867178-3C9E-844C-9530-0EDA70554DAA}"/>
              </a:ext>
            </a:extLst>
          </p:cNvPr>
          <p:cNvSpPr>
            <a:spLocks noGrp="1"/>
          </p:cNvSpPr>
          <p:nvPr>
            <p:ph type="sldNum" sz="quarter" idx="12"/>
          </p:nvPr>
        </p:nvSpPr>
        <p:spPr>
          <a:xfrm>
            <a:off x="11280775" y="6492767"/>
            <a:ext cx="424392" cy="208759"/>
          </a:xfrm>
        </p:spPr>
        <p:txBody>
          <a:bodyPr/>
          <a:lstStyle>
            <a:lvl1pPr>
              <a:defRPr>
                <a:solidFill>
                  <a:schemeClr val="bg1"/>
                </a:solidFill>
              </a:defRPr>
            </a:lvl1pPr>
          </a:lstStyle>
          <a:p>
            <a:fld id="{63DCA5C9-2E11-4C67-86EB-AE1DE127DC64}" type="slidenum">
              <a:rPr lang="en-US" smtClean="0"/>
              <a:pPr/>
              <a:t>‹#›</a:t>
            </a:fld>
            <a:endParaRPr lang="en-US" dirty="0"/>
          </a:p>
        </p:txBody>
      </p:sp>
      <p:sp>
        <p:nvSpPr>
          <p:cNvPr id="14" name="Footer Placeholder 3">
            <a:extLst>
              <a:ext uri="{FF2B5EF4-FFF2-40B4-BE49-F238E27FC236}">
                <a16:creationId xmlns:a16="http://schemas.microsoft.com/office/drawing/2014/main" id="{0CF1D2BF-6F7F-C145-9007-C13494FA17EA}"/>
              </a:ext>
            </a:extLst>
          </p:cNvPr>
          <p:cNvSpPr>
            <a:spLocks noGrp="1"/>
          </p:cNvSpPr>
          <p:nvPr>
            <p:ph type="ftr" sz="quarter" idx="11"/>
          </p:nvPr>
        </p:nvSpPr>
        <p:spPr>
          <a:xfrm>
            <a:off x="491069" y="6496842"/>
            <a:ext cx="4815417" cy="208759"/>
          </a:xfrm>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131"/>
            <a:r>
              <a:rPr lang="en-US"/>
              <a:t>CAR T in BCL</a:t>
            </a:r>
            <a:endParaRPr lang="en-US" dirty="0"/>
          </a:p>
        </p:txBody>
      </p:sp>
      <p:sp>
        <p:nvSpPr>
          <p:cNvPr id="15" name="Picture Placeholder 6">
            <a:extLst>
              <a:ext uri="{FF2B5EF4-FFF2-40B4-BE49-F238E27FC236}">
                <a16:creationId xmlns:a16="http://schemas.microsoft.com/office/drawing/2014/main" id="{0E362FD4-229A-204B-BCDA-AA13403A318E}"/>
              </a:ext>
            </a:extLst>
          </p:cNvPr>
          <p:cNvSpPr>
            <a:spLocks noGrp="1"/>
          </p:cNvSpPr>
          <p:nvPr>
            <p:ph type="pic" sz="quarter" idx="16"/>
          </p:nvPr>
        </p:nvSpPr>
        <p:spPr>
          <a:xfrm>
            <a:off x="491069" y="1600201"/>
            <a:ext cx="3534833" cy="4533900"/>
          </a:xfrm>
          <a:solidFill>
            <a:srgbClr val="9E9E98"/>
          </a:solidFill>
        </p:spPr>
        <p:txBody>
          <a:bodyPr tIns="1737360"/>
          <a:lstStyle>
            <a:lvl1pPr algn="ctr">
              <a:defRPr/>
            </a:lvl1pPr>
          </a:lstStyle>
          <a:p>
            <a:r>
              <a:rPr lang="en-US"/>
              <a:t>Click icon to add picture</a:t>
            </a:r>
            <a:endParaRPr lang="en-US" dirty="0"/>
          </a:p>
        </p:txBody>
      </p:sp>
    </p:spTree>
    <p:extLst>
      <p:ext uri="{BB962C8B-B14F-4D97-AF65-F5344CB8AC3E}">
        <p14:creationId xmlns:p14="http://schemas.microsoft.com/office/powerpoint/2010/main" val="3477252744"/>
      </p:ext>
    </p:extLst>
  </p:cSld>
  <p:clrMapOvr>
    <a:masterClrMapping/>
  </p:clrMapOvr>
  <p:extLst>
    <p:ext uri="{DCECCB84-F9BA-43D5-87BE-67443E8EF086}">
      <p15:sldGuideLst xmlns:p15="http://schemas.microsoft.com/office/powerpoint/2012/main"/>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showMasterSp="0" preserve="1" userDrawn="1">
  <p:cSld name="layout_2/3 content 1/3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C570D-3BAE-433E-8DDA-6594E6C21ABD}"/>
              </a:ext>
            </a:extLst>
          </p:cNvPr>
          <p:cNvSpPr>
            <a:spLocks noGrp="1"/>
          </p:cNvSpPr>
          <p:nvPr>
            <p:ph type="title"/>
          </p:nvPr>
        </p:nvSpPr>
        <p:spPr/>
        <p:txBody>
          <a:bodyPr/>
          <a:lstStyle>
            <a:lvl1pPr>
              <a:defRPr>
                <a:solidFill>
                  <a:srgbClr val="007CBA"/>
                </a:solidFill>
              </a:defRPr>
            </a:lvl1pPr>
          </a:lstStyle>
          <a:p>
            <a:r>
              <a:rPr lang="en-US"/>
              <a:t>Click to edit Master title style</a:t>
            </a:r>
            <a:endParaRPr lang="en-US" dirty="0"/>
          </a:p>
        </p:txBody>
      </p:sp>
      <p:sp>
        <p:nvSpPr>
          <p:cNvPr id="9" name="Content Placeholder 8">
            <a:extLst>
              <a:ext uri="{FF2B5EF4-FFF2-40B4-BE49-F238E27FC236}">
                <a16:creationId xmlns:a16="http://schemas.microsoft.com/office/drawing/2014/main" id="{766D17BA-B313-4C5A-AFC9-CB21C07EF6DA}"/>
              </a:ext>
            </a:extLst>
          </p:cNvPr>
          <p:cNvSpPr>
            <a:spLocks noGrp="1"/>
          </p:cNvSpPr>
          <p:nvPr>
            <p:ph sz="quarter" idx="15"/>
          </p:nvPr>
        </p:nvSpPr>
        <p:spPr>
          <a:xfrm>
            <a:off x="491068" y="1600201"/>
            <a:ext cx="7374467" cy="453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Date Placeholder 2">
            <a:extLst>
              <a:ext uri="{FF2B5EF4-FFF2-40B4-BE49-F238E27FC236}">
                <a16:creationId xmlns:a16="http://schemas.microsoft.com/office/drawing/2014/main" id="{A4CB2711-5CAB-A742-9D9C-6F15605049C9}"/>
              </a:ext>
            </a:extLst>
          </p:cNvPr>
          <p:cNvSpPr>
            <a:spLocks noGrp="1"/>
          </p:cNvSpPr>
          <p:nvPr>
            <p:ph type="dt" sz="half" idx="10"/>
          </p:nvPr>
        </p:nvSpPr>
        <p:spPr>
          <a:xfrm>
            <a:off x="10269464" y="6492767"/>
            <a:ext cx="1011313" cy="208759"/>
          </a:xfrm>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February 5, 2026</a:t>
            </a:r>
            <a:endParaRPr lang="en-US" dirty="0"/>
          </a:p>
        </p:txBody>
      </p:sp>
      <p:sp>
        <p:nvSpPr>
          <p:cNvPr id="12" name="Slide Number Placeholder 4">
            <a:extLst>
              <a:ext uri="{FF2B5EF4-FFF2-40B4-BE49-F238E27FC236}">
                <a16:creationId xmlns:a16="http://schemas.microsoft.com/office/drawing/2014/main" id="{FE1070EE-5074-F640-8C59-376A839DE01D}"/>
              </a:ext>
            </a:extLst>
          </p:cNvPr>
          <p:cNvSpPr>
            <a:spLocks noGrp="1"/>
          </p:cNvSpPr>
          <p:nvPr>
            <p:ph type="sldNum" sz="quarter" idx="12"/>
          </p:nvPr>
        </p:nvSpPr>
        <p:spPr>
          <a:xfrm>
            <a:off x="11280775" y="6492767"/>
            <a:ext cx="424392" cy="208759"/>
          </a:xfrm>
        </p:spPr>
        <p:txBody>
          <a:bodyPr/>
          <a:lstStyle>
            <a:lvl1pPr>
              <a:defRPr>
                <a:solidFill>
                  <a:schemeClr val="bg1"/>
                </a:solidFill>
              </a:defRPr>
            </a:lvl1pPr>
          </a:lstStyle>
          <a:p>
            <a:fld id="{63DCA5C9-2E11-4C67-86EB-AE1DE127DC64}" type="slidenum">
              <a:rPr lang="en-US" smtClean="0"/>
              <a:pPr/>
              <a:t>‹#›</a:t>
            </a:fld>
            <a:endParaRPr lang="en-US" dirty="0"/>
          </a:p>
        </p:txBody>
      </p:sp>
      <p:sp>
        <p:nvSpPr>
          <p:cNvPr id="14" name="Footer Placeholder 3">
            <a:extLst>
              <a:ext uri="{FF2B5EF4-FFF2-40B4-BE49-F238E27FC236}">
                <a16:creationId xmlns:a16="http://schemas.microsoft.com/office/drawing/2014/main" id="{74897E64-2768-6244-8B81-D688E147A0A4}"/>
              </a:ext>
            </a:extLst>
          </p:cNvPr>
          <p:cNvSpPr>
            <a:spLocks noGrp="1"/>
          </p:cNvSpPr>
          <p:nvPr>
            <p:ph type="ftr" sz="quarter" idx="11"/>
          </p:nvPr>
        </p:nvSpPr>
        <p:spPr>
          <a:xfrm>
            <a:off x="491069" y="6496842"/>
            <a:ext cx="4815417" cy="208759"/>
          </a:xfrm>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131"/>
            <a:r>
              <a:rPr lang="en-US"/>
              <a:t>CAR T in BCL</a:t>
            </a:r>
            <a:endParaRPr lang="en-US" dirty="0"/>
          </a:p>
        </p:txBody>
      </p:sp>
      <p:sp>
        <p:nvSpPr>
          <p:cNvPr id="7" name="Content Placeholder 6">
            <a:extLst>
              <a:ext uri="{FF2B5EF4-FFF2-40B4-BE49-F238E27FC236}">
                <a16:creationId xmlns:a16="http://schemas.microsoft.com/office/drawing/2014/main" id="{689D8F69-08A0-6B46-8C4C-C43B52F0FD4E}"/>
              </a:ext>
            </a:extLst>
          </p:cNvPr>
          <p:cNvSpPr>
            <a:spLocks noGrp="1"/>
          </p:cNvSpPr>
          <p:nvPr>
            <p:ph sz="quarter" idx="16"/>
          </p:nvPr>
        </p:nvSpPr>
        <p:spPr>
          <a:xfrm>
            <a:off x="8170336" y="1600201"/>
            <a:ext cx="3534833" cy="453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8945811"/>
      </p:ext>
    </p:extLst>
  </p:cSld>
  <p:clrMapOvr>
    <a:masterClrMapping/>
  </p:clrMapOvr>
  <p:extLst>
    <p:ext uri="{DCECCB84-F9BA-43D5-87BE-67443E8EF086}">
      <p15:sldGuideLst xmlns:p15="http://schemas.microsoft.com/office/powerpoint/2012/main"/>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showMasterSp="0" preserve="1" userDrawn="1">
  <p:cSld name="layout_2/3 content 1/3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C570D-3BAE-433E-8DDA-6594E6C21ABD}"/>
              </a:ext>
            </a:extLst>
          </p:cNvPr>
          <p:cNvSpPr>
            <a:spLocks noGrp="1"/>
          </p:cNvSpPr>
          <p:nvPr>
            <p:ph type="title"/>
          </p:nvPr>
        </p:nvSpPr>
        <p:spPr/>
        <p:txBody>
          <a:bodyPr/>
          <a:lstStyle>
            <a:lvl1pPr>
              <a:defRPr>
                <a:solidFill>
                  <a:srgbClr val="007CBA"/>
                </a:solidFill>
              </a:defRPr>
            </a:lvl1pPr>
          </a:lstStyle>
          <a:p>
            <a:r>
              <a:rPr lang="en-US"/>
              <a:t>Click to edit Master title style</a:t>
            </a:r>
            <a:endParaRPr lang="en-US" dirty="0"/>
          </a:p>
        </p:txBody>
      </p:sp>
      <p:sp>
        <p:nvSpPr>
          <p:cNvPr id="12" name="Date Placeholder 2">
            <a:extLst>
              <a:ext uri="{FF2B5EF4-FFF2-40B4-BE49-F238E27FC236}">
                <a16:creationId xmlns:a16="http://schemas.microsoft.com/office/drawing/2014/main" id="{BDBD734F-59E6-7847-87E6-AB6C48BB6376}"/>
              </a:ext>
            </a:extLst>
          </p:cNvPr>
          <p:cNvSpPr>
            <a:spLocks noGrp="1"/>
          </p:cNvSpPr>
          <p:nvPr>
            <p:ph type="dt" sz="half" idx="10"/>
          </p:nvPr>
        </p:nvSpPr>
        <p:spPr>
          <a:xfrm>
            <a:off x="10269464" y="6492767"/>
            <a:ext cx="1011313" cy="208759"/>
          </a:xfrm>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February 5, 2026</a:t>
            </a:r>
            <a:endParaRPr lang="en-US" dirty="0"/>
          </a:p>
        </p:txBody>
      </p:sp>
      <p:sp>
        <p:nvSpPr>
          <p:cNvPr id="15" name="Slide Number Placeholder 4">
            <a:extLst>
              <a:ext uri="{FF2B5EF4-FFF2-40B4-BE49-F238E27FC236}">
                <a16:creationId xmlns:a16="http://schemas.microsoft.com/office/drawing/2014/main" id="{D81F3C3F-6215-5241-8324-E0933B07451F}"/>
              </a:ext>
            </a:extLst>
          </p:cNvPr>
          <p:cNvSpPr>
            <a:spLocks noGrp="1"/>
          </p:cNvSpPr>
          <p:nvPr>
            <p:ph type="sldNum" sz="quarter" idx="12"/>
          </p:nvPr>
        </p:nvSpPr>
        <p:spPr>
          <a:xfrm>
            <a:off x="11280775" y="6492767"/>
            <a:ext cx="424392" cy="208759"/>
          </a:xfrm>
        </p:spPr>
        <p:txBody>
          <a:bodyPr/>
          <a:lstStyle>
            <a:lvl1pPr>
              <a:defRPr>
                <a:solidFill>
                  <a:schemeClr val="bg1"/>
                </a:solidFill>
              </a:defRPr>
            </a:lvl1pPr>
          </a:lstStyle>
          <a:p>
            <a:fld id="{63DCA5C9-2E11-4C67-86EB-AE1DE127DC64}" type="slidenum">
              <a:rPr lang="en-US" smtClean="0"/>
              <a:pPr/>
              <a:t>‹#›</a:t>
            </a:fld>
            <a:endParaRPr lang="en-US" dirty="0"/>
          </a:p>
        </p:txBody>
      </p:sp>
      <p:sp>
        <p:nvSpPr>
          <p:cNvPr id="16" name="Footer Placeholder 3">
            <a:extLst>
              <a:ext uri="{FF2B5EF4-FFF2-40B4-BE49-F238E27FC236}">
                <a16:creationId xmlns:a16="http://schemas.microsoft.com/office/drawing/2014/main" id="{81C05ACD-07FE-654D-9AF1-5BE77F0205A4}"/>
              </a:ext>
            </a:extLst>
          </p:cNvPr>
          <p:cNvSpPr>
            <a:spLocks noGrp="1"/>
          </p:cNvSpPr>
          <p:nvPr>
            <p:ph type="ftr" sz="quarter" idx="11"/>
          </p:nvPr>
        </p:nvSpPr>
        <p:spPr>
          <a:xfrm>
            <a:off x="491069" y="6496842"/>
            <a:ext cx="4815417" cy="208759"/>
          </a:xfrm>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131"/>
            <a:r>
              <a:rPr lang="en-US"/>
              <a:t>CAR T in BCL</a:t>
            </a:r>
            <a:endParaRPr lang="en-US" dirty="0"/>
          </a:p>
        </p:txBody>
      </p:sp>
      <p:sp>
        <p:nvSpPr>
          <p:cNvPr id="20" name="Content Placeholder 7">
            <a:extLst>
              <a:ext uri="{FF2B5EF4-FFF2-40B4-BE49-F238E27FC236}">
                <a16:creationId xmlns:a16="http://schemas.microsoft.com/office/drawing/2014/main" id="{0CF75C4A-C842-3149-BB8A-04159AE0BFCC}"/>
              </a:ext>
            </a:extLst>
          </p:cNvPr>
          <p:cNvSpPr>
            <a:spLocks noGrp="1"/>
          </p:cNvSpPr>
          <p:nvPr>
            <p:ph sz="quarter" idx="14"/>
          </p:nvPr>
        </p:nvSpPr>
        <p:spPr>
          <a:xfrm>
            <a:off x="488949" y="1600201"/>
            <a:ext cx="7376584" cy="453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Picture Placeholder 6">
            <a:extLst>
              <a:ext uri="{FF2B5EF4-FFF2-40B4-BE49-F238E27FC236}">
                <a16:creationId xmlns:a16="http://schemas.microsoft.com/office/drawing/2014/main" id="{9622D7C8-3365-D245-B264-EBED56CCEE8F}"/>
              </a:ext>
            </a:extLst>
          </p:cNvPr>
          <p:cNvSpPr>
            <a:spLocks noGrp="1"/>
          </p:cNvSpPr>
          <p:nvPr>
            <p:ph type="pic" sz="quarter" idx="15"/>
          </p:nvPr>
        </p:nvSpPr>
        <p:spPr>
          <a:xfrm>
            <a:off x="8170334" y="1600201"/>
            <a:ext cx="3534833" cy="4533900"/>
          </a:xfrm>
          <a:solidFill>
            <a:srgbClr val="9E9E98"/>
          </a:solidFill>
        </p:spPr>
        <p:txBody>
          <a:bodyPr tIns="1737360"/>
          <a:lstStyle>
            <a:lvl1pPr algn="ctr">
              <a:defRPr/>
            </a:lvl1pPr>
          </a:lstStyle>
          <a:p>
            <a:r>
              <a:rPr lang="en-US"/>
              <a:t>Click icon to add picture</a:t>
            </a:r>
            <a:endParaRPr lang="en-US" dirty="0"/>
          </a:p>
        </p:txBody>
      </p:sp>
    </p:spTree>
    <p:extLst>
      <p:ext uri="{BB962C8B-B14F-4D97-AF65-F5344CB8AC3E}">
        <p14:creationId xmlns:p14="http://schemas.microsoft.com/office/powerpoint/2010/main" val="1311124364"/>
      </p:ext>
    </p:extLst>
  </p:cSld>
  <p:clrMapOvr>
    <a:masterClrMapping/>
  </p:clrMapOvr>
  <p:extLst>
    <p:ext uri="{DCECCB84-F9BA-43D5-87BE-67443E8EF086}">
      <p15:sldGuideLst xmlns:p15="http://schemas.microsoft.com/office/powerpoint/2012/main"/>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showMasterSp="0" preserve="1" userDrawn="1">
  <p:cSld name="layout_1/3 content 2/3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C570D-3BAE-433E-8DDA-6594E6C21ABD}"/>
              </a:ext>
            </a:extLst>
          </p:cNvPr>
          <p:cNvSpPr>
            <a:spLocks noGrp="1"/>
          </p:cNvSpPr>
          <p:nvPr>
            <p:ph type="title"/>
          </p:nvPr>
        </p:nvSpPr>
        <p:spPr/>
        <p:txBody>
          <a:bodyPr/>
          <a:lstStyle>
            <a:lvl1pPr>
              <a:defRPr>
                <a:solidFill>
                  <a:srgbClr val="007CBA"/>
                </a:solidFill>
              </a:defRPr>
            </a:lvl1pPr>
          </a:lstStyle>
          <a:p>
            <a:r>
              <a:rPr lang="en-US"/>
              <a:t>Click to edit Master title style</a:t>
            </a:r>
            <a:endParaRPr lang="en-US" dirty="0"/>
          </a:p>
        </p:txBody>
      </p:sp>
      <p:sp>
        <p:nvSpPr>
          <p:cNvPr id="9" name="Content Placeholder 8">
            <a:extLst>
              <a:ext uri="{FF2B5EF4-FFF2-40B4-BE49-F238E27FC236}">
                <a16:creationId xmlns:a16="http://schemas.microsoft.com/office/drawing/2014/main" id="{766D17BA-B313-4C5A-AFC9-CB21C07EF6DA}"/>
              </a:ext>
            </a:extLst>
          </p:cNvPr>
          <p:cNvSpPr>
            <a:spLocks noGrp="1"/>
          </p:cNvSpPr>
          <p:nvPr>
            <p:ph sz="quarter" idx="15"/>
          </p:nvPr>
        </p:nvSpPr>
        <p:spPr>
          <a:xfrm>
            <a:off x="491068" y="1600202"/>
            <a:ext cx="3526367" cy="453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Date Placeholder 2">
            <a:extLst>
              <a:ext uri="{FF2B5EF4-FFF2-40B4-BE49-F238E27FC236}">
                <a16:creationId xmlns:a16="http://schemas.microsoft.com/office/drawing/2014/main" id="{A65D0927-DA99-9048-8CED-BCB00E8529B7}"/>
              </a:ext>
            </a:extLst>
          </p:cNvPr>
          <p:cNvSpPr>
            <a:spLocks noGrp="1"/>
          </p:cNvSpPr>
          <p:nvPr>
            <p:ph type="dt" sz="half" idx="10"/>
          </p:nvPr>
        </p:nvSpPr>
        <p:spPr>
          <a:xfrm>
            <a:off x="10269464" y="6492767"/>
            <a:ext cx="1011313" cy="208759"/>
          </a:xfrm>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February 5, 2026</a:t>
            </a:r>
            <a:endParaRPr lang="en-US" dirty="0"/>
          </a:p>
        </p:txBody>
      </p:sp>
      <p:sp>
        <p:nvSpPr>
          <p:cNvPr id="12" name="Slide Number Placeholder 4">
            <a:extLst>
              <a:ext uri="{FF2B5EF4-FFF2-40B4-BE49-F238E27FC236}">
                <a16:creationId xmlns:a16="http://schemas.microsoft.com/office/drawing/2014/main" id="{5DBCD264-453F-BB4C-9066-966CCFE3B4EE}"/>
              </a:ext>
            </a:extLst>
          </p:cNvPr>
          <p:cNvSpPr>
            <a:spLocks noGrp="1"/>
          </p:cNvSpPr>
          <p:nvPr>
            <p:ph type="sldNum" sz="quarter" idx="12"/>
          </p:nvPr>
        </p:nvSpPr>
        <p:spPr>
          <a:xfrm>
            <a:off x="11280775" y="6492767"/>
            <a:ext cx="424392" cy="208759"/>
          </a:xfrm>
        </p:spPr>
        <p:txBody>
          <a:bodyPr/>
          <a:lstStyle>
            <a:lvl1pPr>
              <a:defRPr>
                <a:solidFill>
                  <a:schemeClr val="bg1"/>
                </a:solidFill>
              </a:defRPr>
            </a:lvl1pPr>
          </a:lstStyle>
          <a:p>
            <a:fld id="{63DCA5C9-2E11-4C67-86EB-AE1DE127DC64}" type="slidenum">
              <a:rPr lang="en-US" smtClean="0"/>
              <a:pPr/>
              <a:t>‹#›</a:t>
            </a:fld>
            <a:endParaRPr lang="en-US" dirty="0"/>
          </a:p>
        </p:txBody>
      </p:sp>
      <p:sp>
        <p:nvSpPr>
          <p:cNvPr id="14" name="Footer Placeholder 3">
            <a:extLst>
              <a:ext uri="{FF2B5EF4-FFF2-40B4-BE49-F238E27FC236}">
                <a16:creationId xmlns:a16="http://schemas.microsoft.com/office/drawing/2014/main" id="{AD2D6EDC-451A-CE48-BE2D-343B7443A3B9}"/>
              </a:ext>
            </a:extLst>
          </p:cNvPr>
          <p:cNvSpPr>
            <a:spLocks noGrp="1"/>
          </p:cNvSpPr>
          <p:nvPr>
            <p:ph type="ftr" sz="quarter" idx="11"/>
          </p:nvPr>
        </p:nvSpPr>
        <p:spPr>
          <a:xfrm>
            <a:off x="491069" y="6496842"/>
            <a:ext cx="4815417" cy="208759"/>
          </a:xfrm>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131"/>
            <a:r>
              <a:rPr lang="en-US"/>
              <a:t>CAR T in BCL</a:t>
            </a:r>
            <a:endParaRPr lang="en-US" dirty="0"/>
          </a:p>
        </p:txBody>
      </p:sp>
      <p:sp>
        <p:nvSpPr>
          <p:cNvPr id="15" name="Picture Placeholder 6">
            <a:extLst>
              <a:ext uri="{FF2B5EF4-FFF2-40B4-BE49-F238E27FC236}">
                <a16:creationId xmlns:a16="http://schemas.microsoft.com/office/drawing/2014/main" id="{BA988A06-E206-A640-A7BD-6E757BEBA0D7}"/>
              </a:ext>
            </a:extLst>
          </p:cNvPr>
          <p:cNvSpPr>
            <a:spLocks noGrp="1"/>
          </p:cNvSpPr>
          <p:nvPr>
            <p:ph type="pic" sz="quarter" idx="16"/>
          </p:nvPr>
        </p:nvSpPr>
        <p:spPr>
          <a:xfrm>
            <a:off x="4326469" y="1600201"/>
            <a:ext cx="7378699" cy="4533900"/>
          </a:xfrm>
          <a:solidFill>
            <a:srgbClr val="9E9E98"/>
          </a:solidFill>
        </p:spPr>
        <p:txBody>
          <a:bodyPr tIns="1737360"/>
          <a:lstStyle>
            <a:lvl1pPr algn="ctr">
              <a:defRPr/>
            </a:lvl1pPr>
          </a:lstStyle>
          <a:p>
            <a:r>
              <a:rPr lang="en-US"/>
              <a:t>Click icon to add picture</a:t>
            </a:r>
            <a:endParaRPr lang="en-US" dirty="0"/>
          </a:p>
        </p:txBody>
      </p:sp>
    </p:spTree>
    <p:extLst>
      <p:ext uri="{BB962C8B-B14F-4D97-AF65-F5344CB8AC3E}">
        <p14:creationId xmlns:p14="http://schemas.microsoft.com/office/powerpoint/2010/main" val="3935415204"/>
      </p:ext>
    </p:extLst>
  </p:cSld>
  <p:clrMapOvr>
    <a:masterClrMapping/>
  </p:clrMapOvr>
  <p:extLst>
    <p:ext uri="{DCECCB84-F9BA-43D5-87BE-67443E8EF086}">
      <p15:sldGuideLst xmlns:p15="http://schemas.microsoft.com/office/powerpoint/2012/main"/>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showMasterSp="0" preserve="1" userDrawn="1">
  <p:cSld name="layout_blue 1/3 image">
    <p:spTree>
      <p:nvGrpSpPr>
        <p:cNvPr id="1" name=""/>
        <p:cNvGrpSpPr/>
        <p:nvPr/>
      </p:nvGrpSpPr>
      <p:grpSpPr>
        <a:xfrm>
          <a:off x="0" y="0"/>
          <a:ext cx="0" cy="0"/>
          <a:chOff x="0" y="0"/>
          <a:chExt cx="0" cy="0"/>
        </a:xfrm>
      </p:grpSpPr>
      <p:sp>
        <p:nvSpPr>
          <p:cNvPr id="12" name="Picture Placeholder 6">
            <a:extLst>
              <a:ext uri="{FF2B5EF4-FFF2-40B4-BE49-F238E27FC236}">
                <a16:creationId xmlns:a16="http://schemas.microsoft.com/office/drawing/2014/main" id="{09F6368A-A050-6F4E-8198-4FD768942B7E}"/>
              </a:ext>
            </a:extLst>
          </p:cNvPr>
          <p:cNvSpPr>
            <a:spLocks noGrp="1"/>
          </p:cNvSpPr>
          <p:nvPr>
            <p:ph type="pic" sz="quarter" idx="17"/>
          </p:nvPr>
        </p:nvSpPr>
        <p:spPr>
          <a:xfrm>
            <a:off x="8166101" y="0"/>
            <a:ext cx="4025899" cy="6858000"/>
          </a:xfrm>
          <a:solidFill>
            <a:srgbClr val="9E9E98"/>
          </a:solidFill>
        </p:spPr>
        <p:txBody>
          <a:bodyPr tIns="3657600"/>
          <a:lstStyle>
            <a:lvl1pPr algn="ctr">
              <a:defRPr/>
            </a:lvl1pPr>
          </a:lstStyle>
          <a:p>
            <a:r>
              <a:rPr lang="en-US"/>
              <a:t>Click icon to add picture</a:t>
            </a:r>
            <a:endParaRPr lang="en-US" dirty="0"/>
          </a:p>
        </p:txBody>
      </p:sp>
      <p:sp>
        <p:nvSpPr>
          <p:cNvPr id="9" name="Date Placeholder 2">
            <a:extLst>
              <a:ext uri="{FF2B5EF4-FFF2-40B4-BE49-F238E27FC236}">
                <a16:creationId xmlns:a16="http://schemas.microsoft.com/office/drawing/2014/main" id="{ACCE0DA1-4EAE-574E-A16C-A817AC0EF332}"/>
              </a:ext>
            </a:extLst>
          </p:cNvPr>
          <p:cNvSpPr>
            <a:spLocks noGrp="1"/>
          </p:cNvSpPr>
          <p:nvPr>
            <p:ph type="dt" sz="half" idx="10"/>
          </p:nvPr>
        </p:nvSpPr>
        <p:spPr>
          <a:xfrm>
            <a:off x="10269464" y="6492767"/>
            <a:ext cx="1011313" cy="208759"/>
          </a:xfrm>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February 5, 2026</a:t>
            </a:r>
            <a:endParaRPr lang="en-US" dirty="0"/>
          </a:p>
        </p:txBody>
      </p:sp>
      <p:sp>
        <p:nvSpPr>
          <p:cNvPr id="10" name="Slide Number Placeholder 4">
            <a:extLst>
              <a:ext uri="{FF2B5EF4-FFF2-40B4-BE49-F238E27FC236}">
                <a16:creationId xmlns:a16="http://schemas.microsoft.com/office/drawing/2014/main" id="{A5D20A94-E7AE-9046-8ABC-FEDCFD9944B3}"/>
              </a:ext>
            </a:extLst>
          </p:cNvPr>
          <p:cNvSpPr>
            <a:spLocks noGrp="1"/>
          </p:cNvSpPr>
          <p:nvPr>
            <p:ph type="sldNum" sz="quarter" idx="12"/>
          </p:nvPr>
        </p:nvSpPr>
        <p:spPr>
          <a:xfrm>
            <a:off x="11280775" y="6492767"/>
            <a:ext cx="424392" cy="208759"/>
          </a:xfrm>
        </p:spPr>
        <p:txBody>
          <a:bodyPr/>
          <a:lstStyle>
            <a:lvl1pPr>
              <a:defRPr>
                <a:solidFill>
                  <a:schemeClr val="bg1"/>
                </a:solidFill>
              </a:defRPr>
            </a:lvl1pPr>
          </a:lstStyle>
          <a:p>
            <a:fld id="{63DCA5C9-2E11-4C67-86EB-AE1DE127DC64}" type="slidenum">
              <a:rPr lang="en-US" smtClean="0"/>
              <a:pPr/>
              <a:t>‹#›</a:t>
            </a:fld>
            <a:endParaRPr lang="en-US" dirty="0"/>
          </a:p>
        </p:txBody>
      </p:sp>
      <p:sp>
        <p:nvSpPr>
          <p:cNvPr id="11" name="Footer Placeholder 3">
            <a:extLst>
              <a:ext uri="{FF2B5EF4-FFF2-40B4-BE49-F238E27FC236}">
                <a16:creationId xmlns:a16="http://schemas.microsoft.com/office/drawing/2014/main" id="{D99A4600-E9A0-6A43-8DF1-BF326D7ECEED}"/>
              </a:ext>
            </a:extLst>
          </p:cNvPr>
          <p:cNvSpPr>
            <a:spLocks noGrp="1"/>
          </p:cNvSpPr>
          <p:nvPr>
            <p:ph type="ftr" sz="quarter" idx="11"/>
          </p:nvPr>
        </p:nvSpPr>
        <p:spPr>
          <a:xfrm>
            <a:off x="491069" y="6496842"/>
            <a:ext cx="4815417" cy="208759"/>
          </a:xfrm>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131"/>
            <a:r>
              <a:rPr lang="en-US"/>
              <a:t>CAR T in BCL</a:t>
            </a:r>
            <a:endParaRPr lang="en-US" dirty="0"/>
          </a:p>
        </p:txBody>
      </p:sp>
      <p:sp>
        <p:nvSpPr>
          <p:cNvPr id="2" name="Title 1">
            <a:extLst>
              <a:ext uri="{FF2B5EF4-FFF2-40B4-BE49-F238E27FC236}">
                <a16:creationId xmlns:a16="http://schemas.microsoft.com/office/drawing/2014/main" id="{BB964BC4-595C-3344-BD03-B49134F536B5}"/>
              </a:ext>
            </a:extLst>
          </p:cNvPr>
          <p:cNvSpPr>
            <a:spLocks noGrp="1"/>
          </p:cNvSpPr>
          <p:nvPr>
            <p:ph type="title"/>
          </p:nvPr>
        </p:nvSpPr>
        <p:spPr>
          <a:xfrm>
            <a:off x="488952" y="349250"/>
            <a:ext cx="7376583" cy="1022351"/>
          </a:xfrm>
        </p:spPr>
        <p:txBody>
          <a:bodyPr/>
          <a:lstStyle>
            <a:lvl1pPr>
              <a:defRPr>
                <a:solidFill>
                  <a:schemeClr val="bg1"/>
                </a:solidFill>
              </a:defRPr>
            </a:lvl1pPr>
          </a:lstStyle>
          <a:p>
            <a:r>
              <a:rPr lang="en-US"/>
              <a:t>Click to edit Master title style</a:t>
            </a:r>
            <a:endParaRPr lang="en-US" dirty="0"/>
          </a:p>
        </p:txBody>
      </p:sp>
      <p:sp>
        <p:nvSpPr>
          <p:cNvPr id="13" name="Text Placeholder 12">
            <a:extLst>
              <a:ext uri="{FF2B5EF4-FFF2-40B4-BE49-F238E27FC236}">
                <a16:creationId xmlns:a16="http://schemas.microsoft.com/office/drawing/2014/main" id="{13B9E2E0-E558-6849-A55A-6C912DDF1D68}"/>
              </a:ext>
            </a:extLst>
          </p:cNvPr>
          <p:cNvSpPr>
            <a:spLocks noGrp="1"/>
          </p:cNvSpPr>
          <p:nvPr>
            <p:ph type="body" sz="quarter" idx="18"/>
          </p:nvPr>
        </p:nvSpPr>
        <p:spPr>
          <a:xfrm>
            <a:off x="488952" y="1600201"/>
            <a:ext cx="7376583" cy="47625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6428766"/>
      </p:ext>
    </p:extLst>
  </p:cSld>
  <p:clrMapOvr>
    <a:masterClrMapping/>
  </p:clrMapOvr>
  <p:extLst>
    <p:ext uri="{DCECCB84-F9BA-43D5-87BE-67443E8EF086}">
      <p15:sldGuideLst xmlns:p15="http://schemas.microsoft.com/office/powerpoint/2012/main"/>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showMasterSp="0" preserve="1" userDrawn="1">
  <p:cSld name="layout_white 1/3 image">
    <p:spTree>
      <p:nvGrpSpPr>
        <p:cNvPr id="1" name=""/>
        <p:cNvGrpSpPr/>
        <p:nvPr/>
      </p:nvGrpSpPr>
      <p:grpSpPr>
        <a:xfrm>
          <a:off x="0" y="0"/>
          <a:ext cx="0" cy="0"/>
          <a:chOff x="0" y="0"/>
          <a:chExt cx="0" cy="0"/>
        </a:xfrm>
      </p:grpSpPr>
      <p:sp>
        <p:nvSpPr>
          <p:cNvPr id="15" name="Picture Placeholder 6">
            <a:extLst>
              <a:ext uri="{FF2B5EF4-FFF2-40B4-BE49-F238E27FC236}">
                <a16:creationId xmlns:a16="http://schemas.microsoft.com/office/drawing/2014/main" id="{13392A84-CCC1-1C4F-8EDA-55C96C3382CD}"/>
              </a:ext>
            </a:extLst>
          </p:cNvPr>
          <p:cNvSpPr>
            <a:spLocks noGrp="1"/>
          </p:cNvSpPr>
          <p:nvPr>
            <p:ph type="pic" sz="quarter" idx="17"/>
          </p:nvPr>
        </p:nvSpPr>
        <p:spPr>
          <a:xfrm>
            <a:off x="8166101" y="0"/>
            <a:ext cx="4025899" cy="6858000"/>
          </a:xfrm>
          <a:solidFill>
            <a:srgbClr val="9E9E98"/>
          </a:solidFill>
        </p:spPr>
        <p:txBody>
          <a:bodyPr tIns="3657600"/>
          <a:lstStyle>
            <a:lvl1pPr algn="ctr">
              <a:defRPr/>
            </a:lvl1pPr>
          </a:lstStyle>
          <a:p>
            <a:r>
              <a:rPr lang="en-US"/>
              <a:t>Click icon to add picture</a:t>
            </a:r>
            <a:endParaRPr lang="en-US" dirty="0"/>
          </a:p>
        </p:txBody>
      </p:sp>
      <p:sp>
        <p:nvSpPr>
          <p:cNvPr id="9" name="Date Placeholder 2">
            <a:extLst>
              <a:ext uri="{FF2B5EF4-FFF2-40B4-BE49-F238E27FC236}">
                <a16:creationId xmlns:a16="http://schemas.microsoft.com/office/drawing/2014/main" id="{9A0B444D-6202-AF4D-8E18-738B8229AAF8}"/>
              </a:ext>
            </a:extLst>
          </p:cNvPr>
          <p:cNvSpPr>
            <a:spLocks noGrp="1"/>
          </p:cNvSpPr>
          <p:nvPr>
            <p:ph type="dt" sz="half" idx="10"/>
          </p:nvPr>
        </p:nvSpPr>
        <p:spPr>
          <a:xfrm>
            <a:off x="10269464" y="6492767"/>
            <a:ext cx="1011313" cy="208759"/>
          </a:xfrm>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February 5, 2026</a:t>
            </a:r>
            <a:endParaRPr lang="en-US" dirty="0"/>
          </a:p>
        </p:txBody>
      </p:sp>
      <p:sp>
        <p:nvSpPr>
          <p:cNvPr id="10" name="Slide Number Placeholder 4">
            <a:extLst>
              <a:ext uri="{FF2B5EF4-FFF2-40B4-BE49-F238E27FC236}">
                <a16:creationId xmlns:a16="http://schemas.microsoft.com/office/drawing/2014/main" id="{AA0F37FE-3566-0E43-89F0-113B022A772C}"/>
              </a:ext>
            </a:extLst>
          </p:cNvPr>
          <p:cNvSpPr>
            <a:spLocks noGrp="1"/>
          </p:cNvSpPr>
          <p:nvPr>
            <p:ph type="sldNum" sz="quarter" idx="12"/>
          </p:nvPr>
        </p:nvSpPr>
        <p:spPr>
          <a:xfrm>
            <a:off x="11280775" y="6492767"/>
            <a:ext cx="424392" cy="208759"/>
          </a:xfrm>
        </p:spPr>
        <p:txBody>
          <a:bodyPr/>
          <a:lstStyle>
            <a:lvl1pPr>
              <a:defRPr>
                <a:solidFill>
                  <a:schemeClr val="bg1"/>
                </a:solidFill>
              </a:defRPr>
            </a:lvl1pPr>
          </a:lstStyle>
          <a:p>
            <a:fld id="{63DCA5C9-2E11-4C67-86EB-AE1DE127DC64}" type="slidenum">
              <a:rPr lang="en-US" smtClean="0"/>
              <a:pPr/>
              <a:t>‹#›</a:t>
            </a:fld>
            <a:endParaRPr lang="en-US" dirty="0"/>
          </a:p>
        </p:txBody>
      </p:sp>
      <p:sp>
        <p:nvSpPr>
          <p:cNvPr id="2" name="Title 1">
            <a:extLst>
              <a:ext uri="{FF2B5EF4-FFF2-40B4-BE49-F238E27FC236}">
                <a16:creationId xmlns:a16="http://schemas.microsoft.com/office/drawing/2014/main" id="{0AB70385-4890-D547-AB0F-EE1107678ADA}"/>
              </a:ext>
            </a:extLst>
          </p:cNvPr>
          <p:cNvSpPr>
            <a:spLocks noGrp="1"/>
          </p:cNvSpPr>
          <p:nvPr>
            <p:ph type="title"/>
          </p:nvPr>
        </p:nvSpPr>
        <p:spPr>
          <a:xfrm>
            <a:off x="488952" y="349250"/>
            <a:ext cx="7376583" cy="1022351"/>
          </a:xfrm>
        </p:spPr>
        <p:txBody>
          <a:bodyPr/>
          <a:lstStyle/>
          <a:p>
            <a:r>
              <a:rPr lang="en-US"/>
              <a:t>Click to edit Master title style</a:t>
            </a:r>
            <a:endParaRPr lang="en-US" dirty="0"/>
          </a:p>
        </p:txBody>
      </p:sp>
      <p:sp>
        <p:nvSpPr>
          <p:cNvPr id="13" name="Text Placeholder 12">
            <a:extLst>
              <a:ext uri="{FF2B5EF4-FFF2-40B4-BE49-F238E27FC236}">
                <a16:creationId xmlns:a16="http://schemas.microsoft.com/office/drawing/2014/main" id="{5D310651-6F83-8A45-8932-CE3EFCB5FB66}"/>
              </a:ext>
            </a:extLst>
          </p:cNvPr>
          <p:cNvSpPr>
            <a:spLocks noGrp="1"/>
          </p:cNvSpPr>
          <p:nvPr>
            <p:ph type="body" sz="quarter" idx="18"/>
          </p:nvPr>
        </p:nvSpPr>
        <p:spPr>
          <a:xfrm>
            <a:off x="491068" y="1600201"/>
            <a:ext cx="7374467" cy="4762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Footer Placeholder 3">
            <a:extLst>
              <a:ext uri="{FF2B5EF4-FFF2-40B4-BE49-F238E27FC236}">
                <a16:creationId xmlns:a16="http://schemas.microsoft.com/office/drawing/2014/main" id="{FF195D4B-5092-C24D-85EC-0289A385E424}"/>
              </a:ext>
            </a:extLst>
          </p:cNvPr>
          <p:cNvSpPr>
            <a:spLocks noGrp="1"/>
          </p:cNvSpPr>
          <p:nvPr>
            <p:ph type="ftr" sz="quarter" idx="11"/>
          </p:nvPr>
        </p:nvSpPr>
        <p:spPr>
          <a:xfrm>
            <a:off x="491069" y="6496842"/>
            <a:ext cx="4815417" cy="208759"/>
          </a:xfrm>
        </p:spPr>
        <p:txBody>
          <a:bodyPr/>
          <a:lstStyle>
            <a:lvl1pPr>
              <a:defRPr b="1">
                <a:solidFill>
                  <a:srgbClr val="9E9E98"/>
                </a:solidFill>
              </a:defRPr>
            </a:lvl1pPr>
            <a:lvl2pPr>
              <a:defRPr b="1">
                <a:solidFill>
                  <a:srgbClr val="9E9E98"/>
                </a:solidFill>
              </a:defRPr>
            </a:lvl2pPr>
            <a:lvl3pPr>
              <a:defRPr b="1">
                <a:solidFill>
                  <a:srgbClr val="9E9E98"/>
                </a:solidFill>
              </a:defRPr>
            </a:lvl3pPr>
            <a:lvl4pPr>
              <a:defRPr b="1">
                <a:solidFill>
                  <a:srgbClr val="9E9E98"/>
                </a:solidFill>
              </a:defRPr>
            </a:lvl4pPr>
            <a:lvl5pPr>
              <a:defRPr b="1">
                <a:solidFill>
                  <a:srgbClr val="9E9E98"/>
                </a:solidFill>
              </a:defRPr>
            </a:lvl5pPr>
            <a:lvl6pPr>
              <a:defRPr b="1">
                <a:solidFill>
                  <a:srgbClr val="9E9E98"/>
                </a:solidFill>
              </a:defRPr>
            </a:lvl6pPr>
            <a:lvl7pPr>
              <a:defRPr b="1">
                <a:solidFill>
                  <a:srgbClr val="9E9E98"/>
                </a:solidFill>
              </a:defRPr>
            </a:lvl7pPr>
            <a:lvl8pPr>
              <a:defRPr b="1">
                <a:solidFill>
                  <a:srgbClr val="9E9E98"/>
                </a:solidFill>
              </a:defRPr>
            </a:lvl8pPr>
            <a:lvl9pPr>
              <a:defRPr b="1">
                <a:solidFill>
                  <a:srgbClr val="9E9E98"/>
                </a:solidFill>
              </a:defRPr>
            </a:lvl9pPr>
          </a:lstStyle>
          <a:p>
            <a:pPr indent="-2743131"/>
            <a:r>
              <a:rPr lang="en-US"/>
              <a:t>CAR T in BCL</a:t>
            </a:r>
            <a:endParaRPr lang="en-US" dirty="0"/>
          </a:p>
        </p:txBody>
      </p:sp>
    </p:spTree>
    <p:extLst>
      <p:ext uri="{BB962C8B-B14F-4D97-AF65-F5344CB8AC3E}">
        <p14:creationId xmlns:p14="http://schemas.microsoft.com/office/powerpoint/2010/main" val="2663375905"/>
      </p:ext>
    </p:extLst>
  </p:cSld>
  <p:clrMapOvr>
    <a:masterClrMapping/>
  </p:clrMapOvr>
  <p:extLst>
    <p:ext uri="{DCECCB84-F9BA-43D5-87BE-67443E8EF086}">
      <p15:sldGuideLst xmlns:p15="http://schemas.microsoft.com/office/powerpoint/2012/main"/>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showMasterSp="0" preserve="1" userDrawn="1">
  <p:cSld name="layout_headlin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C570D-3BAE-433E-8DDA-6594E6C21ABD}"/>
              </a:ext>
            </a:extLst>
          </p:cNvPr>
          <p:cNvSpPr>
            <a:spLocks noGrp="1"/>
          </p:cNvSpPr>
          <p:nvPr>
            <p:ph type="title"/>
          </p:nvPr>
        </p:nvSpPr>
        <p:spPr/>
        <p:txBody>
          <a:bodyPr/>
          <a:lstStyle>
            <a:lvl1pPr>
              <a:defRPr>
                <a:solidFill>
                  <a:srgbClr val="007CBA"/>
                </a:solidFill>
              </a:defRPr>
            </a:lvl1pPr>
          </a:lstStyle>
          <a:p>
            <a:r>
              <a:rPr lang="en-US"/>
              <a:t>Click to edit Master title style</a:t>
            </a:r>
            <a:endParaRPr lang="en-US" dirty="0"/>
          </a:p>
        </p:txBody>
      </p:sp>
      <p:sp>
        <p:nvSpPr>
          <p:cNvPr id="8" name="Date Placeholder 2">
            <a:extLst>
              <a:ext uri="{FF2B5EF4-FFF2-40B4-BE49-F238E27FC236}">
                <a16:creationId xmlns:a16="http://schemas.microsoft.com/office/drawing/2014/main" id="{051F7513-9171-9B44-A9B6-6966BB871CA3}"/>
              </a:ext>
            </a:extLst>
          </p:cNvPr>
          <p:cNvSpPr>
            <a:spLocks noGrp="1"/>
          </p:cNvSpPr>
          <p:nvPr>
            <p:ph type="dt" sz="half" idx="10"/>
          </p:nvPr>
        </p:nvSpPr>
        <p:spPr>
          <a:xfrm>
            <a:off x="10269464" y="6492767"/>
            <a:ext cx="1011313" cy="208759"/>
          </a:xfrm>
        </p:spPr>
        <p:txBody>
          <a:bodyPr/>
          <a:lstStyle>
            <a:lvl1pPr>
              <a:defRPr>
                <a:solidFill>
                  <a:srgbClr val="9E9E98"/>
                </a:solidFill>
                <a:latin typeface="+mn-lt"/>
              </a:defRPr>
            </a:lvl1pPr>
            <a:lvl2pPr>
              <a:defRPr>
                <a:solidFill>
                  <a:srgbClr val="9E9E98"/>
                </a:solidFill>
              </a:defRPr>
            </a:lvl2pPr>
            <a:lvl3pPr>
              <a:defRPr>
                <a:solidFill>
                  <a:srgbClr val="9E9E98"/>
                </a:solidFill>
              </a:defRPr>
            </a:lvl3pPr>
            <a:lvl4pPr>
              <a:defRPr>
                <a:solidFill>
                  <a:srgbClr val="9E9E98"/>
                </a:solidFill>
              </a:defRPr>
            </a:lvl4pPr>
            <a:lvl5pPr>
              <a:defRPr>
                <a:solidFill>
                  <a:srgbClr val="9E9E98"/>
                </a:solidFill>
              </a:defRPr>
            </a:lvl5pPr>
            <a:lvl6pPr>
              <a:defRPr>
                <a:solidFill>
                  <a:srgbClr val="9E9E98"/>
                </a:solidFill>
              </a:defRPr>
            </a:lvl6pPr>
            <a:lvl7pPr>
              <a:defRPr>
                <a:solidFill>
                  <a:srgbClr val="9E9E98"/>
                </a:solidFill>
              </a:defRPr>
            </a:lvl7pPr>
            <a:lvl8pPr>
              <a:defRPr>
                <a:solidFill>
                  <a:srgbClr val="9E9E98"/>
                </a:solidFill>
              </a:defRPr>
            </a:lvl8pPr>
            <a:lvl9pPr>
              <a:defRPr>
                <a:solidFill>
                  <a:srgbClr val="9E9E98"/>
                </a:solidFill>
              </a:defRPr>
            </a:lvl9pPr>
          </a:lstStyle>
          <a:p>
            <a:r>
              <a:rPr lang="en-US"/>
              <a:t>February 5, 2026</a:t>
            </a:r>
            <a:endParaRPr lang="en-US" dirty="0"/>
          </a:p>
        </p:txBody>
      </p:sp>
      <p:sp>
        <p:nvSpPr>
          <p:cNvPr id="9" name="Slide Number Placeholder 4">
            <a:extLst>
              <a:ext uri="{FF2B5EF4-FFF2-40B4-BE49-F238E27FC236}">
                <a16:creationId xmlns:a16="http://schemas.microsoft.com/office/drawing/2014/main" id="{6BF671B6-DD06-854A-8324-66F5BF1D1509}"/>
              </a:ext>
            </a:extLst>
          </p:cNvPr>
          <p:cNvSpPr>
            <a:spLocks noGrp="1"/>
          </p:cNvSpPr>
          <p:nvPr>
            <p:ph type="sldNum" sz="quarter" idx="12"/>
          </p:nvPr>
        </p:nvSpPr>
        <p:spPr>
          <a:xfrm>
            <a:off x="11280775" y="6492767"/>
            <a:ext cx="424392" cy="208759"/>
          </a:xfrm>
        </p:spPr>
        <p:txBody>
          <a:bodyPr/>
          <a:lstStyle>
            <a:lvl1pPr>
              <a:defRPr>
                <a:solidFill>
                  <a:srgbClr val="9E9E98"/>
                </a:solidFill>
              </a:defRPr>
            </a:lvl1pPr>
            <a:lvl2pPr>
              <a:defRPr>
                <a:solidFill>
                  <a:srgbClr val="9E9E98"/>
                </a:solidFill>
              </a:defRPr>
            </a:lvl2pPr>
            <a:lvl3pPr>
              <a:defRPr>
                <a:solidFill>
                  <a:srgbClr val="9E9E98"/>
                </a:solidFill>
              </a:defRPr>
            </a:lvl3pPr>
            <a:lvl4pPr>
              <a:defRPr>
                <a:solidFill>
                  <a:srgbClr val="9E9E98"/>
                </a:solidFill>
              </a:defRPr>
            </a:lvl4pPr>
            <a:lvl5pPr>
              <a:defRPr>
                <a:solidFill>
                  <a:srgbClr val="9E9E98"/>
                </a:solidFill>
              </a:defRPr>
            </a:lvl5pPr>
            <a:lvl6pPr>
              <a:defRPr>
                <a:solidFill>
                  <a:srgbClr val="9E9E98"/>
                </a:solidFill>
              </a:defRPr>
            </a:lvl6pPr>
            <a:lvl7pPr>
              <a:defRPr>
                <a:solidFill>
                  <a:srgbClr val="9E9E98"/>
                </a:solidFill>
              </a:defRPr>
            </a:lvl7pPr>
            <a:lvl8pPr>
              <a:defRPr>
                <a:solidFill>
                  <a:srgbClr val="9E9E98"/>
                </a:solidFill>
              </a:defRPr>
            </a:lvl8pPr>
            <a:lvl9pPr>
              <a:defRPr>
                <a:solidFill>
                  <a:srgbClr val="9E9E98"/>
                </a:solidFill>
              </a:defRPr>
            </a:lvl9pPr>
          </a:lstStyle>
          <a:p>
            <a:fld id="{63DCA5C9-2E11-4C67-86EB-AE1DE127DC64}" type="slidenum">
              <a:rPr lang="en-US" smtClean="0"/>
              <a:pPr/>
              <a:t>‹#›</a:t>
            </a:fld>
            <a:endParaRPr lang="en-US" dirty="0"/>
          </a:p>
        </p:txBody>
      </p:sp>
      <p:sp>
        <p:nvSpPr>
          <p:cNvPr id="10" name="Footer Placeholder 3">
            <a:extLst>
              <a:ext uri="{FF2B5EF4-FFF2-40B4-BE49-F238E27FC236}">
                <a16:creationId xmlns:a16="http://schemas.microsoft.com/office/drawing/2014/main" id="{11E14BD9-CDD5-484F-A581-776B9CDB5616}"/>
              </a:ext>
            </a:extLst>
          </p:cNvPr>
          <p:cNvSpPr>
            <a:spLocks noGrp="1"/>
          </p:cNvSpPr>
          <p:nvPr>
            <p:ph type="ftr" sz="quarter" idx="11"/>
          </p:nvPr>
        </p:nvSpPr>
        <p:spPr>
          <a:xfrm>
            <a:off x="491069" y="6496842"/>
            <a:ext cx="4815417" cy="208759"/>
          </a:xfrm>
        </p:spPr>
        <p:txBody>
          <a:bodyPr/>
          <a:lstStyle>
            <a:lvl1pPr>
              <a:defRPr b="1">
                <a:solidFill>
                  <a:srgbClr val="9E9E98"/>
                </a:solidFill>
              </a:defRPr>
            </a:lvl1pPr>
            <a:lvl2pPr>
              <a:defRPr b="1">
                <a:solidFill>
                  <a:srgbClr val="9E9E98"/>
                </a:solidFill>
              </a:defRPr>
            </a:lvl2pPr>
            <a:lvl3pPr>
              <a:defRPr b="1">
                <a:solidFill>
                  <a:srgbClr val="9E9E98"/>
                </a:solidFill>
              </a:defRPr>
            </a:lvl3pPr>
            <a:lvl4pPr>
              <a:defRPr b="1">
                <a:solidFill>
                  <a:srgbClr val="9E9E98"/>
                </a:solidFill>
              </a:defRPr>
            </a:lvl4pPr>
            <a:lvl5pPr>
              <a:defRPr b="1">
                <a:solidFill>
                  <a:srgbClr val="9E9E98"/>
                </a:solidFill>
              </a:defRPr>
            </a:lvl5pPr>
            <a:lvl6pPr>
              <a:defRPr b="1">
                <a:solidFill>
                  <a:srgbClr val="9E9E98"/>
                </a:solidFill>
              </a:defRPr>
            </a:lvl6pPr>
            <a:lvl7pPr>
              <a:defRPr b="1">
                <a:solidFill>
                  <a:srgbClr val="9E9E98"/>
                </a:solidFill>
              </a:defRPr>
            </a:lvl7pPr>
            <a:lvl8pPr>
              <a:defRPr b="1">
                <a:solidFill>
                  <a:srgbClr val="9E9E98"/>
                </a:solidFill>
              </a:defRPr>
            </a:lvl8pPr>
            <a:lvl9pPr>
              <a:defRPr b="1">
                <a:solidFill>
                  <a:srgbClr val="9E9E98"/>
                </a:solidFill>
              </a:defRPr>
            </a:lvl9pPr>
          </a:lstStyle>
          <a:p>
            <a:pPr indent="-2743131"/>
            <a:r>
              <a:rPr lang="en-US"/>
              <a:t>CAR T in BCL</a:t>
            </a:r>
            <a:endParaRPr lang="en-US" dirty="0"/>
          </a:p>
        </p:txBody>
      </p:sp>
    </p:spTree>
    <p:extLst>
      <p:ext uri="{BB962C8B-B14F-4D97-AF65-F5344CB8AC3E}">
        <p14:creationId xmlns:p14="http://schemas.microsoft.com/office/powerpoint/2010/main" val="3886095925"/>
      </p:ext>
    </p:extLst>
  </p:cSld>
  <p:clrMapOvr>
    <a:masterClrMapping/>
  </p:clrMapOvr>
  <p:extLst>
    <p:ext uri="{DCECCB84-F9BA-43D5-87BE-67443E8EF086}">
      <p15:sldGuideLst xmlns:p15="http://schemas.microsoft.com/office/powerpoint/2012/main"/>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showMasterSp="0" preserve="1" userDrawn="1">
  <p:cSld name="layout_headline blue foo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C570D-3BAE-433E-8DDA-6594E6C21ABD}"/>
              </a:ext>
            </a:extLst>
          </p:cNvPr>
          <p:cNvSpPr>
            <a:spLocks noGrp="1"/>
          </p:cNvSpPr>
          <p:nvPr>
            <p:ph type="title"/>
          </p:nvPr>
        </p:nvSpPr>
        <p:spPr>
          <a:xfrm>
            <a:off x="488951" y="349250"/>
            <a:ext cx="11216216" cy="1022351"/>
          </a:xfrm>
        </p:spPr>
        <p:txBody>
          <a:bodyPr/>
          <a:lstStyle>
            <a:lvl1pPr>
              <a:defRPr>
                <a:solidFill>
                  <a:srgbClr val="007CBA"/>
                </a:solidFill>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C418E43A-2457-42CA-BE83-E9C382D2B993}"/>
              </a:ext>
            </a:extLst>
          </p:cNvPr>
          <p:cNvSpPr>
            <a:spLocks noGrp="1"/>
          </p:cNvSpPr>
          <p:nvPr>
            <p:ph type="dt" sz="half" idx="10"/>
          </p:nvPr>
        </p:nvSpPr>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February 5, 2026</a:t>
            </a:r>
            <a:endParaRPr lang="en-US" dirty="0"/>
          </a:p>
        </p:txBody>
      </p:sp>
      <p:sp>
        <p:nvSpPr>
          <p:cNvPr id="5" name="Slide Number Placeholder 4">
            <a:extLst>
              <a:ext uri="{FF2B5EF4-FFF2-40B4-BE49-F238E27FC236}">
                <a16:creationId xmlns:a16="http://schemas.microsoft.com/office/drawing/2014/main" id="{F0CF157D-7400-499C-96F9-B806E4F48A9A}"/>
              </a:ext>
            </a:extLst>
          </p:cNvPr>
          <p:cNvSpPr>
            <a:spLocks noGrp="1"/>
          </p:cNvSpPr>
          <p:nvPr>
            <p:ph type="sldNum" sz="quarter" idx="12"/>
          </p:nvPr>
        </p:nvSpPr>
        <p:spPr/>
        <p:txBody>
          <a:bodyPr/>
          <a:lstStyle>
            <a:lvl1pPr>
              <a:defRPr>
                <a:solidFill>
                  <a:schemeClr val="bg1"/>
                </a:solidFill>
              </a:defRPr>
            </a:lvl1pPr>
          </a:lstStyle>
          <a:p>
            <a:fld id="{63DCA5C9-2E11-4C67-86EB-AE1DE127DC64}" type="slidenum">
              <a:rPr lang="en-US" smtClean="0"/>
              <a:pPr/>
              <a:t>‹#›</a:t>
            </a:fld>
            <a:endParaRPr lang="en-US" dirty="0"/>
          </a:p>
        </p:txBody>
      </p:sp>
      <p:sp>
        <p:nvSpPr>
          <p:cNvPr id="10" name="Footer Placeholder 3">
            <a:extLst>
              <a:ext uri="{FF2B5EF4-FFF2-40B4-BE49-F238E27FC236}">
                <a16:creationId xmlns:a16="http://schemas.microsoft.com/office/drawing/2014/main" id="{868B56D2-9291-8145-B467-CF3AFF5A71C1}"/>
              </a:ext>
            </a:extLst>
          </p:cNvPr>
          <p:cNvSpPr>
            <a:spLocks noGrp="1"/>
          </p:cNvSpPr>
          <p:nvPr>
            <p:ph type="ftr" sz="quarter" idx="11"/>
          </p:nvPr>
        </p:nvSpPr>
        <p:spPr>
          <a:xfrm>
            <a:off x="491069" y="6496842"/>
            <a:ext cx="4815417" cy="208759"/>
          </a:xfrm>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131"/>
            <a:r>
              <a:rPr lang="en-US"/>
              <a:t>CAR T in BCL</a:t>
            </a:r>
            <a:endParaRPr lang="en-US" dirty="0"/>
          </a:p>
        </p:txBody>
      </p:sp>
    </p:spTree>
    <p:extLst>
      <p:ext uri="{BB962C8B-B14F-4D97-AF65-F5344CB8AC3E}">
        <p14:creationId xmlns:p14="http://schemas.microsoft.com/office/powerpoint/2010/main" val="948444192"/>
      </p:ext>
    </p:extLst>
  </p:cSld>
  <p:clrMapOvr>
    <a:masterClrMapping/>
  </p:clrMapOvr>
  <p:extLst>
    <p:ext uri="{DCECCB84-F9BA-43D5-87BE-67443E8EF086}">
      <p15:sldGuideLst xmlns:p15="http://schemas.microsoft.com/office/powerpoint/2012/main"/>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showMasterSp="0" preserve="1" userDrawn="1">
  <p:cSld name="layout_blank">
    <p:spTree>
      <p:nvGrpSpPr>
        <p:cNvPr id="1" name=""/>
        <p:cNvGrpSpPr/>
        <p:nvPr/>
      </p:nvGrpSpPr>
      <p:grpSpPr>
        <a:xfrm>
          <a:off x="0" y="0"/>
          <a:ext cx="0" cy="0"/>
          <a:chOff x="0" y="0"/>
          <a:chExt cx="0" cy="0"/>
        </a:xfrm>
      </p:grpSpPr>
      <p:sp>
        <p:nvSpPr>
          <p:cNvPr id="10" name="Date Placeholder 2">
            <a:extLst>
              <a:ext uri="{FF2B5EF4-FFF2-40B4-BE49-F238E27FC236}">
                <a16:creationId xmlns:a16="http://schemas.microsoft.com/office/drawing/2014/main" id="{60EA7788-CB16-BB42-88A5-202BE84B90B6}"/>
              </a:ext>
            </a:extLst>
          </p:cNvPr>
          <p:cNvSpPr>
            <a:spLocks noGrp="1"/>
          </p:cNvSpPr>
          <p:nvPr>
            <p:ph type="dt" sz="half" idx="10"/>
          </p:nvPr>
        </p:nvSpPr>
        <p:spPr>
          <a:xfrm>
            <a:off x="10269464" y="6492767"/>
            <a:ext cx="1011313" cy="208759"/>
          </a:xfrm>
        </p:spPr>
        <p:txBody>
          <a:bodyPr/>
          <a:lstStyle>
            <a:lvl1pPr>
              <a:defRPr>
                <a:solidFill>
                  <a:srgbClr val="9E9E98"/>
                </a:solidFill>
                <a:latin typeface="+mn-lt"/>
              </a:defRPr>
            </a:lvl1pPr>
            <a:lvl2pPr>
              <a:defRPr>
                <a:solidFill>
                  <a:srgbClr val="9E9E98"/>
                </a:solidFill>
              </a:defRPr>
            </a:lvl2pPr>
            <a:lvl3pPr>
              <a:defRPr>
                <a:solidFill>
                  <a:srgbClr val="9E9E98"/>
                </a:solidFill>
              </a:defRPr>
            </a:lvl3pPr>
            <a:lvl4pPr>
              <a:defRPr>
                <a:solidFill>
                  <a:srgbClr val="9E9E98"/>
                </a:solidFill>
              </a:defRPr>
            </a:lvl4pPr>
            <a:lvl5pPr>
              <a:defRPr>
                <a:solidFill>
                  <a:srgbClr val="9E9E98"/>
                </a:solidFill>
              </a:defRPr>
            </a:lvl5pPr>
            <a:lvl6pPr>
              <a:defRPr>
                <a:solidFill>
                  <a:srgbClr val="9E9E98"/>
                </a:solidFill>
              </a:defRPr>
            </a:lvl6pPr>
            <a:lvl7pPr>
              <a:defRPr>
                <a:solidFill>
                  <a:srgbClr val="9E9E98"/>
                </a:solidFill>
              </a:defRPr>
            </a:lvl7pPr>
            <a:lvl8pPr>
              <a:defRPr>
                <a:solidFill>
                  <a:srgbClr val="9E9E98"/>
                </a:solidFill>
              </a:defRPr>
            </a:lvl8pPr>
            <a:lvl9pPr>
              <a:defRPr>
                <a:solidFill>
                  <a:srgbClr val="9E9E98"/>
                </a:solidFill>
              </a:defRPr>
            </a:lvl9pPr>
          </a:lstStyle>
          <a:p>
            <a:r>
              <a:rPr lang="en-US"/>
              <a:t>February 5, 2026</a:t>
            </a:r>
            <a:endParaRPr lang="en-US" dirty="0"/>
          </a:p>
        </p:txBody>
      </p:sp>
      <p:sp>
        <p:nvSpPr>
          <p:cNvPr id="11" name="Slide Number Placeholder 4">
            <a:extLst>
              <a:ext uri="{FF2B5EF4-FFF2-40B4-BE49-F238E27FC236}">
                <a16:creationId xmlns:a16="http://schemas.microsoft.com/office/drawing/2014/main" id="{45DA6A3D-B417-2944-916A-7BC8B8581BE5}"/>
              </a:ext>
            </a:extLst>
          </p:cNvPr>
          <p:cNvSpPr>
            <a:spLocks noGrp="1"/>
          </p:cNvSpPr>
          <p:nvPr>
            <p:ph type="sldNum" sz="quarter" idx="12"/>
          </p:nvPr>
        </p:nvSpPr>
        <p:spPr>
          <a:xfrm>
            <a:off x="11280775" y="6492767"/>
            <a:ext cx="424392" cy="208759"/>
          </a:xfrm>
        </p:spPr>
        <p:txBody>
          <a:bodyPr/>
          <a:lstStyle>
            <a:lvl1pPr>
              <a:defRPr>
                <a:solidFill>
                  <a:srgbClr val="9E9E98"/>
                </a:solidFill>
              </a:defRPr>
            </a:lvl1pPr>
            <a:lvl2pPr>
              <a:defRPr>
                <a:solidFill>
                  <a:srgbClr val="9E9E98"/>
                </a:solidFill>
              </a:defRPr>
            </a:lvl2pPr>
            <a:lvl3pPr>
              <a:defRPr>
                <a:solidFill>
                  <a:srgbClr val="9E9E98"/>
                </a:solidFill>
              </a:defRPr>
            </a:lvl3pPr>
            <a:lvl4pPr>
              <a:defRPr>
                <a:solidFill>
                  <a:srgbClr val="9E9E98"/>
                </a:solidFill>
              </a:defRPr>
            </a:lvl4pPr>
            <a:lvl5pPr>
              <a:defRPr>
                <a:solidFill>
                  <a:srgbClr val="9E9E98"/>
                </a:solidFill>
              </a:defRPr>
            </a:lvl5pPr>
            <a:lvl6pPr>
              <a:defRPr>
                <a:solidFill>
                  <a:srgbClr val="9E9E98"/>
                </a:solidFill>
              </a:defRPr>
            </a:lvl6pPr>
            <a:lvl7pPr>
              <a:defRPr>
                <a:solidFill>
                  <a:srgbClr val="9E9E98"/>
                </a:solidFill>
              </a:defRPr>
            </a:lvl7pPr>
            <a:lvl8pPr>
              <a:defRPr>
                <a:solidFill>
                  <a:srgbClr val="9E9E98"/>
                </a:solidFill>
              </a:defRPr>
            </a:lvl8pPr>
            <a:lvl9pPr>
              <a:defRPr>
                <a:solidFill>
                  <a:srgbClr val="9E9E98"/>
                </a:solidFill>
              </a:defRPr>
            </a:lvl9pPr>
          </a:lstStyle>
          <a:p>
            <a:fld id="{63DCA5C9-2E11-4C67-86EB-AE1DE127DC64}" type="slidenum">
              <a:rPr lang="en-US" smtClean="0"/>
              <a:pPr/>
              <a:t>‹#›</a:t>
            </a:fld>
            <a:endParaRPr lang="en-US" dirty="0"/>
          </a:p>
        </p:txBody>
      </p:sp>
      <p:sp>
        <p:nvSpPr>
          <p:cNvPr id="12" name="Footer Placeholder 3">
            <a:extLst>
              <a:ext uri="{FF2B5EF4-FFF2-40B4-BE49-F238E27FC236}">
                <a16:creationId xmlns:a16="http://schemas.microsoft.com/office/drawing/2014/main" id="{817F76E8-F632-184A-970C-355073FF5F4D}"/>
              </a:ext>
            </a:extLst>
          </p:cNvPr>
          <p:cNvSpPr>
            <a:spLocks noGrp="1"/>
          </p:cNvSpPr>
          <p:nvPr>
            <p:ph type="ftr" sz="quarter" idx="11"/>
          </p:nvPr>
        </p:nvSpPr>
        <p:spPr>
          <a:xfrm>
            <a:off x="491069" y="6496842"/>
            <a:ext cx="4815417" cy="208759"/>
          </a:xfrm>
        </p:spPr>
        <p:txBody>
          <a:bodyPr/>
          <a:lstStyle>
            <a:lvl1pPr>
              <a:defRPr b="1">
                <a:solidFill>
                  <a:srgbClr val="9E9E98"/>
                </a:solidFill>
              </a:defRPr>
            </a:lvl1pPr>
            <a:lvl2pPr>
              <a:defRPr b="1">
                <a:solidFill>
                  <a:srgbClr val="9E9E98"/>
                </a:solidFill>
              </a:defRPr>
            </a:lvl2pPr>
            <a:lvl3pPr>
              <a:defRPr b="1">
                <a:solidFill>
                  <a:srgbClr val="9E9E98"/>
                </a:solidFill>
              </a:defRPr>
            </a:lvl3pPr>
            <a:lvl4pPr>
              <a:defRPr b="1">
                <a:solidFill>
                  <a:srgbClr val="9E9E98"/>
                </a:solidFill>
              </a:defRPr>
            </a:lvl4pPr>
            <a:lvl5pPr>
              <a:defRPr b="1">
                <a:solidFill>
                  <a:srgbClr val="9E9E98"/>
                </a:solidFill>
              </a:defRPr>
            </a:lvl5pPr>
            <a:lvl6pPr>
              <a:defRPr b="1">
                <a:solidFill>
                  <a:srgbClr val="9E9E98"/>
                </a:solidFill>
              </a:defRPr>
            </a:lvl6pPr>
            <a:lvl7pPr>
              <a:defRPr b="1">
                <a:solidFill>
                  <a:srgbClr val="9E9E98"/>
                </a:solidFill>
              </a:defRPr>
            </a:lvl7pPr>
            <a:lvl8pPr>
              <a:defRPr b="1">
                <a:solidFill>
                  <a:srgbClr val="9E9E98"/>
                </a:solidFill>
              </a:defRPr>
            </a:lvl8pPr>
            <a:lvl9pPr>
              <a:defRPr b="1">
                <a:solidFill>
                  <a:srgbClr val="9E9E98"/>
                </a:solidFill>
              </a:defRPr>
            </a:lvl9pPr>
          </a:lstStyle>
          <a:p>
            <a:pPr indent="-2743131"/>
            <a:r>
              <a:rPr lang="en-US"/>
              <a:t>CAR T in BCL</a:t>
            </a:r>
            <a:endParaRPr lang="en-US" dirty="0"/>
          </a:p>
        </p:txBody>
      </p:sp>
    </p:spTree>
    <p:extLst>
      <p:ext uri="{BB962C8B-B14F-4D97-AF65-F5344CB8AC3E}">
        <p14:creationId xmlns:p14="http://schemas.microsoft.com/office/powerpoint/2010/main" val="2961051646"/>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916FF65-E16B-BA4F-9591-6B4416106527}" type="datetimeFigureOut">
              <a:rPr lang="en-US" smtClean="0"/>
              <a:t>4/24/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7552367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showMasterSp="0" preserve="1" userDrawn="1">
  <p:cSld name="layout_blank blue footer">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418E43A-2457-42CA-BE83-E9C382D2B993}"/>
              </a:ext>
            </a:extLst>
          </p:cNvPr>
          <p:cNvSpPr>
            <a:spLocks noGrp="1"/>
          </p:cNvSpPr>
          <p:nvPr>
            <p:ph type="dt" sz="half" idx="10"/>
          </p:nvPr>
        </p:nvSpPr>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February 5, 2026</a:t>
            </a:r>
            <a:endParaRPr lang="en-US" dirty="0"/>
          </a:p>
        </p:txBody>
      </p:sp>
      <p:sp>
        <p:nvSpPr>
          <p:cNvPr id="5" name="Slide Number Placeholder 4">
            <a:extLst>
              <a:ext uri="{FF2B5EF4-FFF2-40B4-BE49-F238E27FC236}">
                <a16:creationId xmlns:a16="http://schemas.microsoft.com/office/drawing/2014/main" id="{F0CF157D-7400-499C-96F9-B806E4F48A9A}"/>
              </a:ext>
            </a:extLst>
          </p:cNvPr>
          <p:cNvSpPr>
            <a:spLocks noGrp="1"/>
          </p:cNvSpPr>
          <p:nvPr>
            <p:ph type="sldNum" sz="quarter" idx="12"/>
          </p:nvPr>
        </p:nvSpPr>
        <p:spPr/>
        <p:txBody>
          <a:bodyPr/>
          <a:lstStyle>
            <a:lvl1pPr>
              <a:defRPr>
                <a:solidFill>
                  <a:schemeClr val="bg1"/>
                </a:solidFill>
              </a:defRPr>
            </a:lvl1pPr>
          </a:lstStyle>
          <a:p>
            <a:fld id="{63DCA5C9-2E11-4C67-86EB-AE1DE127DC64}" type="slidenum">
              <a:rPr lang="en-US" smtClean="0"/>
              <a:pPr/>
              <a:t>‹#›</a:t>
            </a:fld>
            <a:endParaRPr lang="en-US" dirty="0"/>
          </a:p>
        </p:txBody>
      </p:sp>
      <p:sp>
        <p:nvSpPr>
          <p:cNvPr id="10" name="Footer Placeholder 3">
            <a:extLst>
              <a:ext uri="{FF2B5EF4-FFF2-40B4-BE49-F238E27FC236}">
                <a16:creationId xmlns:a16="http://schemas.microsoft.com/office/drawing/2014/main" id="{868B56D2-9291-8145-B467-CF3AFF5A71C1}"/>
              </a:ext>
            </a:extLst>
          </p:cNvPr>
          <p:cNvSpPr>
            <a:spLocks noGrp="1"/>
          </p:cNvSpPr>
          <p:nvPr>
            <p:ph type="ftr" sz="quarter" idx="11"/>
          </p:nvPr>
        </p:nvSpPr>
        <p:spPr>
          <a:xfrm>
            <a:off x="491069" y="6496842"/>
            <a:ext cx="4815417" cy="208759"/>
          </a:xfrm>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131"/>
            <a:r>
              <a:rPr lang="en-US"/>
              <a:t>CAR T in BCL</a:t>
            </a:r>
            <a:endParaRPr lang="en-US" dirty="0"/>
          </a:p>
        </p:txBody>
      </p:sp>
    </p:spTree>
    <p:extLst>
      <p:ext uri="{BB962C8B-B14F-4D97-AF65-F5344CB8AC3E}">
        <p14:creationId xmlns:p14="http://schemas.microsoft.com/office/powerpoint/2010/main" val="1900976538"/>
      </p:ext>
    </p:extLst>
  </p:cSld>
  <p:clrMapOvr>
    <a:masterClrMapping/>
  </p:clrMapOvr>
  <p:extLst>
    <p:ext uri="{DCECCB84-F9BA-43D5-87BE-67443E8EF086}">
      <p15:sldGuideLst xmlns:p15="http://schemas.microsoft.com/office/powerpoint/2012/main"/>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showMasterSp="0" preserve="1" userDrawn="1">
  <p:cSld name="layout_video">
    <p:spTree>
      <p:nvGrpSpPr>
        <p:cNvPr id="1" name=""/>
        <p:cNvGrpSpPr/>
        <p:nvPr/>
      </p:nvGrpSpPr>
      <p:grpSpPr>
        <a:xfrm>
          <a:off x="0" y="0"/>
          <a:ext cx="0" cy="0"/>
          <a:chOff x="0" y="0"/>
          <a:chExt cx="0" cy="0"/>
        </a:xfrm>
      </p:grpSpPr>
      <p:sp>
        <p:nvSpPr>
          <p:cNvPr id="3" name="Media Placeholder 2"/>
          <p:cNvSpPr>
            <a:spLocks noGrp="1"/>
          </p:cNvSpPr>
          <p:nvPr>
            <p:ph type="media" sz="quarter" idx="10"/>
          </p:nvPr>
        </p:nvSpPr>
        <p:spPr>
          <a:xfrm>
            <a:off x="0" y="0"/>
            <a:ext cx="12192000" cy="6858000"/>
          </a:xfrm>
          <a:solidFill>
            <a:schemeClr val="tx1"/>
          </a:solidFill>
        </p:spPr>
        <p:txBody>
          <a:bodyPr tIns="731520" anchor="ctr" anchorCtr="0"/>
          <a:lstStyle>
            <a:lvl1pPr algn="ctr">
              <a:defRPr sz="2000" b="0">
                <a:solidFill>
                  <a:schemeClr val="bg2"/>
                </a:solidFill>
              </a:defRPr>
            </a:lvl1pPr>
          </a:lstStyle>
          <a:p>
            <a:r>
              <a:rPr lang="en-US"/>
              <a:t>Click icon to add media</a:t>
            </a:r>
            <a:endParaRPr lang="en-US" dirty="0"/>
          </a:p>
        </p:txBody>
      </p:sp>
    </p:spTree>
    <p:extLst>
      <p:ext uri="{BB962C8B-B14F-4D97-AF65-F5344CB8AC3E}">
        <p14:creationId xmlns:p14="http://schemas.microsoft.com/office/powerpoint/2010/main" val="1933193030"/>
      </p:ext>
    </p:extLst>
  </p:cSld>
  <p:clrMapOvr>
    <a:masterClrMapping/>
  </p:clrMapOvr>
  <p:extLst>
    <p:ext uri="{DCECCB84-F9BA-43D5-87BE-67443E8EF086}">
      <p15:sldGuideLst xmlns:p15="http://schemas.microsoft.com/office/powerpoint/2012/main"/>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showMasterSp="0" preserve="1" userDrawn="1">
  <p:cSld name="imagery_2 pics 1/3 and 2/3 -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C570D-3BAE-433E-8DDA-6594E6C21ABD}"/>
              </a:ext>
            </a:extLst>
          </p:cNvPr>
          <p:cNvSpPr>
            <a:spLocks noGrp="1"/>
          </p:cNvSpPr>
          <p:nvPr>
            <p:ph type="title"/>
          </p:nvPr>
        </p:nvSpPr>
        <p:spPr/>
        <p:txBody>
          <a:bodyPr/>
          <a:lstStyle>
            <a:lvl1pPr>
              <a:defRPr>
                <a:solidFill>
                  <a:srgbClr val="007CBA"/>
                </a:solidFill>
              </a:defRPr>
            </a:lvl1pPr>
          </a:lstStyle>
          <a:p>
            <a:r>
              <a:rPr lang="en-US"/>
              <a:t>Click to edit Master title style</a:t>
            </a:r>
            <a:endParaRPr lang="en-US" dirty="0"/>
          </a:p>
        </p:txBody>
      </p:sp>
      <p:sp>
        <p:nvSpPr>
          <p:cNvPr id="11" name="Date Placeholder 2">
            <a:extLst>
              <a:ext uri="{FF2B5EF4-FFF2-40B4-BE49-F238E27FC236}">
                <a16:creationId xmlns:a16="http://schemas.microsoft.com/office/drawing/2014/main" id="{287B8BFF-2EEE-254E-9958-5EAE0DB8EE46}"/>
              </a:ext>
            </a:extLst>
          </p:cNvPr>
          <p:cNvSpPr>
            <a:spLocks noGrp="1"/>
          </p:cNvSpPr>
          <p:nvPr>
            <p:ph type="dt" sz="half" idx="10"/>
          </p:nvPr>
        </p:nvSpPr>
        <p:spPr>
          <a:xfrm>
            <a:off x="10269464" y="6492767"/>
            <a:ext cx="1011313" cy="208759"/>
          </a:xfrm>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February 5, 2026</a:t>
            </a:r>
            <a:endParaRPr lang="en-US" dirty="0"/>
          </a:p>
        </p:txBody>
      </p:sp>
      <p:sp>
        <p:nvSpPr>
          <p:cNvPr id="12" name="Slide Number Placeholder 4">
            <a:extLst>
              <a:ext uri="{FF2B5EF4-FFF2-40B4-BE49-F238E27FC236}">
                <a16:creationId xmlns:a16="http://schemas.microsoft.com/office/drawing/2014/main" id="{0167E20F-4AB8-DE4A-B815-CD37FB6A1A53}"/>
              </a:ext>
            </a:extLst>
          </p:cNvPr>
          <p:cNvSpPr>
            <a:spLocks noGrp="1"/>
          </p:cNvSpPr>
          <p:nvPr>
            <p:ph type="sldNum" sz="quarter" idx="12"/>
          </p:nvPr>
        </p:nvSpPr>
        <p:spPr>
          <a:xfrm>
            <a:off x="11280775" y="6492767"/>
            <a:ext cx="424392" cy="208759"/>
          </a:xfrm>
        </p:spPr>
        <p:txBody>
          <a:bodyPr/>
          <a:lstStyle>
            <a:lvl1pPr>
              <a:defRPr>
                <a:solidFill>
                  <a:schemeClr val="bg1"/>
                </a:solidFill>
              </a:defRPr>
            </a:lvl1pPr>
          </a:lstStyle>
          <a:p>
            <a:fld id="{63DCA5C9-2E11-4C67-86EB-AE1DE127DC64}" type="slidenum">
              <a:rPr lang="en-US" smtClean="0"/>
              <a:pPr/>
              <a:t>‹#›</a:t>
            </a:fld>
            <a:endParaRPr lang="en-US" dirty="0"/>
          </a:p>
        </p:txBody>
      </p:sp>
      <p:sp>
        <p:nvSpPr>
          <p:cNvPr id="14" name="Footer Placeholder 3">
            <a:extLst>
              <a:ext uri="{FF2B5EF4-FFF2-40B4-BE49-F238E27FC236}">
                <a16:creationId xmlns:a16="http://schemas.microsoft.com/office/drawing/2014/main" id="{A24DE43F-6CC4-484C-BE42-8DF124FA937D}"/>
              </a:ext>
            </a:extLst>
          </p:cNvPr>
          <p:cNvSpPr>
            <a:spLocks noGrp="1"/>
          </p:cNvSpPr>
          <p:nvPr>
            <p:ph type="ftr" sz="quarter" idx="11"/>
          </p:nvPr>
        </p:nvSpPr>
        <p:spPr>
          <a:xfrm>
            <a:off x="491069" y="6496842"/>
            <a:ext cx="4815417" cy="208759"/>
          </a:xfrm>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131"/>
            <a:r>
              <a:rPr lang="en-US"/>
              <a:t>CAR T in BCL</a:t>
            </a:r>
            <a:endParaRPr lang="en-US" dirty="0"/>
          </a:p>
        </p:txBody>
      </p:sp>
      <p:sp>
        <p:nvSpPr>
          <p:cNvPr id="15" name="Picture Placeholder 6">
            <a:extLst>
              <a:ext uri="{FF2B5EF4-FFF2-40B4-BE49-F238E27FC236}">
                <a16:creationId xmlns:a16="http://schemas.microsoft.com/office/drawing/2014/main" id="{3F6A4D10-94A7-6949-83F4-57F832B6B74F}"/>
              </a:ext>
            </a:extLst>
          </p:cNvPr>
          <p:cNvSpPr>
            <a:spLocks noGrp="1"/>
          </p:cNvSpPr>
          <p:nvPr>
            <p:ph type="pic" sz="quarter" idx="15"/>
          </p:nvPr>
        </p:nvSpPr>
        <p:spPr>
          <a:xfrm>
            <a:off x="491069" y="1600201"/>
            <a:ext cx="3534833" cy="4533900"/>
          </a:xfrm>
          <a:solidFill>
            <a:srgbClr val="9E9E98"/>
          </a:solidFill>
        </p:spPr>
        <p:txBody>
          <a:bodyPr tIns="1737360"/>
          <a:lstStyle>
            <a:lvl1pPr algn="ctr">
              <a:defRPr/>
            </a:lvl1pPr>
          </a:lstStyle>
          <a:p>
            <a:r>
              <a:rPr lang="en-US"/>
              <a:t>Click icon to add picture</a:t>
            </a:r>
            <a:endParaRPr lang="en-US" dirty="0"/>
          </a:p>
        </p:txBody>
      </p:sp>
      <p:sp>
        <p:nvSpPr>
          <p:cNvPr id="16" name="Picture Placeholder 6">
            <a:extLst>
              <a:ext uri="{FF2B5EF4-FFF2-40B4-BE49-F238E27FC236}">
                <a16:creationId xmlns:a16="http://schemas.microsoft.com/office/drawing/2014/main" id="{EE93E937-BEF0-7C48-9C4F-65186B58F483}"/>
              </a:ext>
            </a:extLst>
          </p:cNvPr>
          <p:cNvSpPr>
            <a:spLocks noGrp="1"/>
          </p:cNvSpPr>
          <p:nvPr>
            <p:ph type="pic" sz="quarter" idx="16"/>
          </p:nvPr>
        </p:nvSpPr>
        <p:spPr>
          <a:xfrm>
            <a:off x="4326469" y="1600201"/>
            <a:ext cx="7378699" cy="4533900"/>
          </a:xfrm>
          <a:solidFill>
            <a:srgbClr val="9E9E98"/>
          </a:solidFill>
        </p:spPr>
        <p:txBody>
          <a:bodyPr tIns="1737360"/>
          <a:lstStyle>
            <a:lvl1pPr algn="ctr">
              <a:defRPr/>
            </a:lvl1pPr>
          </a:lstStyle>
          <a:p>
            <a:r>
              <a:rPr lang="en-US"/>
              <a:t>Click icon to add picture</a:t>
            </a:r>
            <a:endParaRPr lang="en-US" dirty="0"/>
          </a:p>
        </p:txBody>
      </p:sp>
    </p:spTree>
    <p:extLst>
      <p:ext uri="{BB962C8B-B14F-4D97-AF65-F5344CB8AC3E}">
        <p14:creationId xmlns:p14="http://schemas.microsoft.com/office/powerpoint/2010/main" val="933990067"/>
      </p:ext>
    </p:extLst>
  </p:cSld>
  <p:clrMapOvr>
    <a:masterClrMapping/>
  </p:clrMapOvr>
  <p:extLst>
    <p:ext uri="{DCECCB84-F9BA-43D5-87BE-67443E8EF086}">
      <p15:sldGuideLst xmlns:p15="http://schemas.microsoft.com/office/powerpoint/2012/main"/>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showMasterSp="0" preserve="1" userDrawn="1">
  <p:cSld name="imagery_2 pics 1/3 and 2/3">
    <p:spTree>
      <p:nvGrpSpPr>
        <p:cNvPr id="1" name=""/>
        <p:cNvGrpSpPr/>
        <p:nvPr/>
      </p:nvGrpSpPr>
      <p:grpSpPr>
        <a:xfrm>
          <a:off x="0" y="0"/>
          <a:ext cx="0" cy="0"/>
          <a:chOff x="0" y="0"/>
          <a:chExt cx="0" cy="0"/>
        </a:xfrm>
      </p:grpSpPr>
      <p:sp>
        <p:nvSpPr>
          <p:cNvPr id="8" name="Picture Placeholder 6">
            <a:extLst>
              <a:ext uri="{FF2B5EF4-FFF2-40B4-BE49-F238E27FC236}">
                <a16:creationId xmlns:a16="http://schemas.microsoft.com/office/drawing/2014/main" id="{9B9CAEE6-5A74-824C-A84D-7DEE6DB02216}"/>
              </a:ext>
            </a:extLst>
          </p:cNvPr>
          <p:cNvSpPr>
            <a:spLocks noGrp="1"/>
          </p:cNvSpPr>
          <p:nvPr>
            <p:ph type="pic" sz="quarter" idx="15"/>
          </p:nvPr>
        </p:nvSpPr>
        <p:spPr>
          <a:xfrm>
            <a:off x="491069" y="349249"/>
            <a:ext cx="3534833" cy="5784851"/>
          </a:xfrm>
          <a:solidFill>
            <a:srgbClr val="9E9E98"/>
          </a:solidFill>
        </p:spPr>
        <p:txBody>
          <a:bodyPr tIns="1737360"/>
          <a:lstStyle>
            <a:lvl1pPr algn="ctr">
              <a:defRPr/>
            </a:lvl1pPr>
          </a:lstStyle>
          <a:p>
            <a:r>
              <a:rPr lang="en-US"/>
              <a:t>Click icon to add picture</a:t>
            </a:r>
            <a:endParaRPr lang="en-US" dirty="0"/>
          </a:p>
        </p:txBody>
      </p:sp>
      <p:sp>
        <p:nvSpPr>
          <p:cNvPr id="10" name="Picture Placeholder 6">
            <a:extLst>
              <a:ext uri="{FF2B5EF4-FFF2-40B4-BE49-F238E27FC236}">
                <a16:creationId xmlns:a16="http://schemas.microsoft.com/office/drawing/2014/main" id="{D512A982-A2E1-334F-BC26-BE2E85AB0410}"/>
              </a:ext>
            </a:extLst>
          </p:cNvPr>
          <p:cNvSpPr>
            <a:spLocks noGrp="1"/>
          </p:cNvSpPr>
          <p:nvPr>
            <p:ph type="pic" sz="quarter" idx="16"/>
          </p:nvPr>
        </p:nvSpPr>
        <p:spPr>
          <a:xfrm>
            <a:off x="4326469" y="349249"/>
            <a:ext cx="7378699" cy="5784851"/>
          </a:xfrm>
          <a:solidFill>
            <a:srgbClr val="9E9E98"/>
          </a:solidFill>
        </p:spPr>
        <p:txBody>
          <a:bodyPr tIns="1737360"/>
          <a:lstStyle>
            <a:lvl1pPr algn="ctr">
              <a:defRPr/>
            </a:lvl1pPr>
          </a:lstStyle>
          <a:p>
            <a:r>
              <a:rPr lang="en-US"/>
              <a:t>Click icon to add picture</a:t>
            </a:r>
            <a:endParaRPr lang="en-US" dirty="0"/>
          </a:p>
        </p:txBody>
      </p:sp>
      <p:sp>
        <p:nvSpPr>
          <p:cNvPr id="11" name="Date Placeholder 2">
            <a:extLst>
              <a:ext uri="{FF2B5EF4-FFF2-40B4-BE49-F238E27FC236}">
                <a16:creationId xmlns:a16="http://schemas.microsoft.com/office/drawing/2014/main" id="{3A8FA112-EEA1-0040-AC50-A427E06B9FD1}"/>
              </a:ext>
            </a:extLst>
          </p:cNvPr>
          <p:cNvSpPr>
            <a:spLocks noGrp="1"/>
          </p:cNvSpPr>
          <p:nvPr>
            <p:ph type="dt" sz="half" idx="10"/>
          </p:nvPr>
        </p:nvSpPr>
        <p:spPr>
          <a:xfrm>
            <a:off x="10269464" y="6492767"/>
            <a:ext cx="1011313" cy="208759"/>
          </a:xfrm>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February 5, 2026</a:t>
            </a:r>
            <a:endParaRPr lang="en-US" dirty="0"/>
          </a:p>
        </p:txBody>
      </p:sp>
      <p:sp>
        <p:nvSpPr>
          <p:cNvPr id="12" name="Slide Number Placeholder 4">
            <a:extLst>
              <a:ext uri="{FF2B5EF4-FFF2-40B4-BE49-F238E27FC236}">
                <a16:creationId xmlns:a16="http://schemas.microsoft.com/office/drawing/2014/main" id="{A1E8B353-4F7C-6542-8D14-15DA2113CCB6}"/>
              </a:ext>
            </a:extLst>
          </p:cNvPr>
          <p:cNvSpPr>
            <a:spLocks noGrp="1"/>
          </p:cNvSpPr>
          <p:nvPr>
            <p:ph type="sldNum" sz="quarter" idx="12"/>
          </p:nvPr>
        </p:nvSpPr>
        <p:spPr>
          <a:xfrm>
            <a:off x="11280775" y="6492767"/>
            <a:ext cx="424392" cy="208759"/>
          </a:xfrm>
        </p:spPr>
        <p:txBody>
          <a:bodyPr/>
          <a:lstStyle>
            <a:lvl1pPr>
              <a:defRPr>
                <a:solidFill>
                  <a:schemeClr val="bg1"/>
                </a:solidFill>
              </a:defRPr>
            </a:lvl1pPr>
          </a:lstStyle>
          <a:p>
            <a:fld id="{63DCA5C9-2E11-4C67-86EB-AE1DE127DC64}" type="slidenum">
              <a:rPr lang="en-US" smtClean="0"/>
              <a:pPr/>
              <a:t>‹#›</a:t>
            </a:fld>
            <a:endParaRPr lang="en-US" dirty="0"/>
          </a:p>
        </p:txBody>
      </p:sp>
      <p:sp>
        <p:nvSpPr>
          <p:cNvPr id="14" name="Footer Placeholder 3">
            <a:extLst>
              <a:ext uri="{FF2B5EF4-FFF2-40B4-BE49-F238E27FC236}">
                <a16:creationId xmlns:a16="http://schemas.microsoft.com/office/drawing/2014/main" id="{BEEDD2DE-0E36-BD49-AF12-E56FA13A0371}"/>
              </a:ext>
            </a:extLst>
          </p:cNvPr>
          <p:cNvSpPr>
            <a:spLocks noGrp="1"/>
          </p:cNvSpPr>
          <p:nvPr>
            <p:ph type="ftr" sz="quarter" idx="11"/>
          </p:nvPr>
        </p:nvSpPr>
        <p:spPr>
          <a:xfrm>
            <a:off x="491069" y="6496842"/>
            <a:ext cx="4815417" cy="208759"/>
          </a:xfrm>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131"/>
            <a:r>
              <a:rPr lang="en-US"/>
              <a:t>CAR T in BCL</a:t>
            </a:r>
            <a:endParaRPr lang="en-US" dirty="0"/>
          </a:p>
        </p:txBody>
      </p:sp>
    </p:spTree>
    <p:extLst>
      <p:ext uri="{BB962C8B-B14F-4D97-AF65-F5344CB8AC3E}">
        <p14:creationId xmlns:p14="http://schemas.microsoft.com/office/powerpoint/2010/main" val="2816991326"/>
      </p:ext>
    </p:extLst>
  </p:cSld>
  <p:clrMapOvr>
    <a:masterClrMapping/>
  </p:clrMapOvr>
  <p:extLst>
    <p:ext uri="{DCECCB84-F9BA-43D5-87BE-67443E8EF086}">
      <p15:sldGuideLst xmlns:p15="http://schemas.microsoft.com/office/powerpoint/2012/main"/>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showMasterSp="0" preserve="1" userDrawn="1">
  <p:cSld name="imagery_2pics 1/2 and 1/2 -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C570D-3BAE-433E-8DDA-6594E6C21ABD}"/>
              </a:ext>
            </a:extLst>
          </p:cNvPr>
          <p:cNvSpPr>
            <a:spLocks noGrp="1"/>
          </p:cNvSpPr>
          <p:nvPr>
            <p:ph type="title"/>
          </p:nvPr>
        </p:nvSpPr>
        <p:spPr/>
        <p:txBody>
          <a:bodyPr/>
          <a:lstStyle>
            <a:lvl1pPr>
              <a:defRPr>
                <a:solidFill>
                  <a:srgbClr val="007CBA"/>
                </a:solidFill>
              </a:defRPr>
            </a:lvl1pPr>
          </a:lstStyle>
          <a:p>
            <a:r>
              <a:rPr lang="en-US"/>
              <a:t>Click to edit Master title style</a:t>
            </a:r>
            <a:endParaRPr lang="en-US" dirty="0"/>
          </a:p>
        </p:txBody>
      </p:sp>
      <p:sp>
        <p:nvSpPr>
          <p:cNvPr id="8" name="Picture Placeholder 6">
            <a:extLst>
              <a:ext uri="{FF2B5EF4-FFF2-40B4-BE49-F238E27FC236}">
                <a16:creationId xmlns:a16="http://schemas.microsoft.com/office/drawing/2014/main" id="{1C3D7C17-84D2-A046-B75C-5B7B6CA59C1A}"/>
              </a:ext>
            </a:extLst>
          </p:cNvPr>
          <p:cNvSpPr>
            <a:spLocks noGrp="1"/>
          </p:cNvSpPr>
          <p:nvPr>
            <p:ph type="pic" sz="quarter" idx="15"/>
          </p:nvPr>
        </p:nvSpPr>
        <p:spPr>
          <a:xfrm>
            <a:off x="491067" y="1600201"/>
            <a:ext cx="5452533" cy="4533900"/>
          </a:xfrm>
          <a:solidFill>
            <a:srgbClr val="9E9E98"/>
          </a:solidFill>
        </p:spPr>
        <p:txBody>
          <a:bodyPr tIns="1737360"/>
          <a:lstStyle>
            <a:lvl1pPr algn="ctr">
              <a:defRPr/>
            </a:lvl1pPr>
          </a:lstStyle>
          <a:p>
            <a:r>
              <a:rPr lang="en-US"/>
              <a:t>Click icon to add picture</a:t>
            </a:r>
            <a:endParaRPr lang="en-US" dirty="0"/>
          </a:p>
        </p:txBody>
      </p:sp>
      <p:sp>
        <p:nvSpPr>
          <p:cNvPr id="10" name="Picture Placeholder 6">
            <a:extLst>
              <a:ext uri="{FF2B5EF4-FFF2-40B4-BE49-F238E27FC236}">
                <a16:creationId xmlns:a16="http://schemas.microsoft.com/office/drawing/2014/main" id="{63251128-0E5E-2348-AB9B-4278B9B8CB65}"/>
              </a:ext>
            </a:extLst>
          </p:cNvPr>
          <p:cNvSpPr>
            <a:spLocks noGrp="1"/>
          </p:cNvSpPr>
          <p:nvPr>
            <p:ph type="pic" sz="quarter" idx="16"/>
          </p:nvPr>
        </p:nvSpPr>
        <p:spPr>
          <a:xfrm>
            <a:off x="6248402" y="1600201"/>
            <a:ext cx="5456767" cy="4533900"/>
          </a:xfrm>
          <a:solidFill>
            <a:srgbClr val="9E9E98"/>
          </a:solidFill>
        </p:spPr>
        <p:txBody>
          <a:bodyPr tIns="1737360"/>
          <a:lstStyle>
            <a:lvl1pPr algn="ctr">
              <a:defRPr/>
            </a:lvl1pPr>
          </a:lstStyle>
          <a:p>
            <a:r>
              <a:rPr lang="en-US"/>
              <a:t>Click icon to add picture</a:t>
            </a:r>
            <a:endParaRPr lang="en-US" dirty="0"/>
          </a:p>
        </p:txBody>
      </p:sp>
      <p:sp>
        <p:nvSpPr>
          <p:cNvPr id="11" name="Date Placeholder 2">
            <a:extLst>
              <a:ext uri="{FF2B5EF4-FFF2-40B4-BE49-F238E27FC236}">
                <a16:creationId xmlns:a16="http://schemas.microsoft.com/office/drawing/2014/main" id="{27DDF359-A04C-2548-BDC4-DE4CDD066A67}"/>
              </a:ext>
            </a:extLst>
          </p:cNvPr>
          <p:cNvSpPr>
            <a:spLocks noGrp="1"/>
          </p:cNvSpPr>
          <p:nvPr>
            <p:ph type="dt" sz="half" idx="10"/>
          </p:nvPr>
        </p:nvSpPr>
        <p:spPr>
          <a:xfrm>
            <a:off x="10269464" y="6492767"/>
            <a:ext cx="1011313" cy="208759"/>
          </a:xfrm>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February 5, 2026</a:t>
            </a:r>
            <a:endParaRPr lang="en-US" dirty="0"/>
          </a:p>
        </p:txBody>
      </p:sp>
      <p:sp>
        <p:nvSpPr>
          <p:cNvPr id="12" name="Slide Number Placeholder 4">
            <a:extLst>
              <a:ext uri="{FF2B5EF4-FFF2-40B4-BE49-F238E27FC236}">
                <a16:creationId xmlns:a16="http://schemas.microsoft.com/office/drawing/2014/main" id="{E33846A6-1A91-8241-BDDF-5ECCCB04FDFB}"/>
              </a:ext>
            </a:extLst>
          </p:cNvPr>
          <p:cNvSpPr>
            <a:spLocks noGrp="1"/>
          </p:cNvSpPr>
          <p:nvPr>
            <p:ph type="sldNum" sz="quarter" idx="12"/>
          </p:nvPr>
        </p:nvSpPr>
        <p:spPr>
          <a:xfrm>
            <a:off x="11280775" y="6492767"/>
            <a:ext cx="424392" cy="208759"/>
          </a:xfrm>
        </p:spPr>
        <p:txBody>
          <a:bodyPr/>
          <a:lstStyle>
            <a:lvl1pPr>
              <a:defRPr>
                <a:solidFill>
                  <a:schemeClr val="bg1"/>
                </a:solidFill>
              </a:defRPr>
            </a:lvl1pPr>
          </a:lstStyle>
          <a:p>
            <a:fld id="{63DCA5C9-2E11-4C67-86EB-AE1DE127DC64}" type="slidenum">
              <a:rPr lang="en-US" smtClean="0"/>
              <a:pPr/>
              <a:t>‹#›</a:t>
            </a:fld>
            <a:endParaRPr lang="en-US" dirty="0"/>
          </a:p>
        </p:txBody>
      </p:sp>
      <p:sp>
        <p:nvSpPr>
          <p:cNvPr id="14" name="Footer Placeholder 3">
            <a:extLst>
              <a:ext uri="{FF2B5EF4-FFF2-40B4-BE49-F238E27FC236}">
                <a16:creationId xmlns:a16="http://schemas.microsoft.com/office/drawing/2014/main" id="{4B6D2D02-90D3-1A44-8F25-4EEFE0D7FE4D}"/>
              </a:ext>
            </a:extLst>
          </p:cNvPr>
          <p:cNvSpPr>
            <a:spLocks noGrp="1"/>
          </p:cNvSpPr>
          <p:nvPr>
            <p:ph type="ftr" sz="quarter" idx="11"/>
          </p:nvPr>
        </p:nvSpPr>
        <p:spPr>
          <a:xfrm>
            <a:off x="491069" y="6496842"/>
            <a:ext cx="4815417" cy="208759"/>
          </a:xfrm>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131"/>
            <a:r>
              <a:rPr lang="en-US"/>
              <a:t>CAR T in BCL</a:t>
            </a:r>
            <a:endParaRPr lang="en-US" dirty="0"/>
          </a:p>
        </p:txBody>
      </p:sp>
    </p:spTree>
    <p:extLst>
      <p:ext uri="{BB962C8B-B14F-4D97-AF65-F5344CB8AC3E}">
        <p14:creationId xmlns:p14="http://schemas.microsoft.com/office/powerpoint/2010/main" val="3002718801"/>
      </p:ext>
    </p:extLst>
  </p:cSld>
  <p:clrMapOvr>
    <a:masterClrMapping/>
  </p:clrMapOvr>
  <p:extLst>
    <p:ext uri="{DCECCB84-F9BA-43D5-87BE-67443E8EF086}">
      <p15:sldGuideLst xmlns:p15="http://schemas.microsoft.com/office/powerpoint/2012/main"/>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showMasterSp="0" preserve="1" userDrawn="1">
  <p:cSld name="imagery_3pics 1/3, 1/3, 1/3 -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C570D-3BAE-433E-8DDA-6594E6C21ABD}"/>
              </a:ext>
            </a:extLst>
          </p:cNvPr>
          <p:cNvSpPr>
            <a:spLocks noGrp="1"/>
          </p:cNvSpPr>
          <p:nvPr>
            <p:ph type="title"/>
          </p:nvPr>
        </p:nvSpPr>
        <p:spPr/>
        <p:txBody>
          <a:bodyPr/>
          <a:lstStyle>
            <a:lvl1pPr>
              <a:defRPr>
                <a:solidFill>
                  <a:srgbClr val="007CBA"/>
                </a:solidFill>
              </a:defRPr>
            </a:lvl1pPr>
          </a:lstStyle>
          <a:p>
            <a:r>
              <a:rPr lang="en-US"/>
              <a:t>Click to edit Master title style</a:t>
            </a:r>
            <a:endParaRPr lang="en-US" dirty="0"/>
          </a:p>
        </p:txBody>
      </p:sp>
      <p:sp>
        <p:nvSpPr>
          <p:cNvPr id="8" name="Date Placeholder 2">
            <a:extLst>
              <a:ext uri="{FF2B5EF4-FFF2-40B4-BE49-F238E27FC236}">
                <a16:creationId xmlns:a16="http://schemas.microsoft.com/office/drawing/2014/main" id="{7B0B6B73-E91C-864E-8C2B-ADADBC0A0171}"/>
              </a:ext>
            </a:extLst>
          </p:cNvPr>
          <p:cNvSpPr>
            <a:spLocks noGrp="1"/>
          </p:cNvSpPr>
          <p:nvPr>
            <p:ph type="dt" sz="half" idx="10"/>
          </p:nvPr>
        </p:nvSpPr>
        <p:spPr>
          <a:xfrm>
            <a:off x="10269464" y="6492767"/>
            <a:ext cx="1011313" cy="208759"/>
          </a:xfrm>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February 5, 2026</a:t>
            </a:r>
            <a:endParaRPr lang="en-US" dirty="0"/>
          </a:p>
        </p:txBody>
      </p:sp>
      <p:sp>
        <p:nvSpPr>
          <p:cNvPr id="9" name="Slide Number Placeholder 4">
            <a:extLst>
              <a:ext uri="{FF2B5EF4-FFF2-40B4-BE49-F238E27FC236}">
                <a16:creationId xmlns:a16="http://schemas.microsoft.com/office/drawing/2014/main" id="{A3C95C61-0DD8-CB46-A786-8B3CACBFFF9B}"/>
              </a:ext>
            </a:extLst>
          </p:cNvPr>
          <p:cNvSpPr>
            <a:spLocks noGrp="1"/>
          </p:cNvSpPr>
          <p:nvPr>
            <p:ph type="sldNum" sz="quarter" idx="12"/>
          </p:nvPr>
        </p:nvSpPr>
        <p:spPr>
          <a:xfrm>
            <a:off x="11280775" y="6492767"/>
            <a:ext cx="424392" cy="208759"/>
          </a:xfrm>
        </p:spPr>
        <p:txBody>
          <a:bodyPr/>
          <a:lstStyle>
            <a:lvl1pPr>
              <a:defRPr>
                <a:solidFill>
                  <a:schemeClr val="bg1"/>
                </a:solidFill>
              </a:defRPr>
            </a:lvl1pPr>
          </a:lstStyle>
          <a:p>
            <a:fld id="{63DCA5C9-2E11-4C67-86EB-AE1DE127DC64}" type="slidenum">
              <a:rPr lang="en-US" smtClean="0"/>
              <a:pPr/>
              <a:t>‹#›</a:t>
            </a:fld>
            <a:endParaRPr lang="en-US" dirty="0"/>
          </a:p>
        </p:txBody>
      </p:sp>
      <p:sp>
        <p:nvSpPr>
          <p:cNvPr id="11" name="Footer Placeholder 3">
            <a:extLst>
              <a:ext uri="{FF2B5EF4-FFF2-40B4-BE49-F238E27FC236}">
                <a16:creationId xmlns:a16="http://schemas.microsoft.com/office/drawing/2014/main" id="{4A570B21-43A6-F34C-923E-42E156FA3215}"/>
              </a:ext>
            </a:extLst>
          </p:cNvPr>
          <p:cNvSpPr>
            <a:spLocks noGrp="1"/>
          </p:cNvSpPr>
          <p:nvPr>
            <p:ph type="ftr" sz="quarter" idx="11"/>
          </p:nvPr>
        </p:nvSpPr>
        <p:spPr>
          <a:xfrm>
            <a:off x="491069" y="6496842"/>
            <a:ext cx="4815417" cy="208759"/>
          </a:xfrm>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131"/>
            <a:r>
              <a:rPr lang="en-US"/>
              <a:t>CAR T in BCL</a:t>
            </a:r>
            <a:endParaRPr lang="en-US" dirty="0"/>
          </a:p>
        </p:txBody>
      </p:sp>
      <p:sp>
        <p:nvSpPr>
          <p:cNvPr id="12" name="Picture Placeholder 6">
            <a:extLst>
              <a:ext uri="{FF2B5EF4-FFF2-40B4-BE49-F238E27FC236}">
                <a16:creationId xmlns:a16="http://schemas.microsoft.com/office/drawing/2014/main" id="{734C18A7-3584-6D48-A81D-8E9E022EF67C}"/>
              </a:ext>
            </a:extLst>
          </p:cNvPr>
          <p:cNvSpPr>
            <a:spLocks noGrp="1"/>
          </p:cNvSpPr>
          <p:nvPr>
            <p:ph type="pic" sz="quarter" idx="15"/>
          </p:nvPr>
        </p:nvSpPr>
        <p:spPr>
          <a:xfrm>
            <a:off x="491069" y="1600201"/>
            <a:ext cx="3534833" cy="4533900"/>
          </a:xfrm>
          <a:solidFill>
            <a:srgbClr val="9E9E98"/>
          </a:solidFill>
        </p:spPr>
        <p:txBody>
          <a:bodyPr tIns="1737360"/>
          <a:lstStyle>
            <a:lvl1pPr algn="ctr">
              <a:defRPr/>
            </a:lvl1pPr>
          </a:lstStyle>
          <a:p>
            <a:r>
              <a:rPr lang="en-US"/>
              <a:t>Click icon to add picture</a:t>
            </a:r>
            <a:endParaRPr lang="en-US" dirty="0"/>
          </a:p>
        </p:txBody>
      </p:sp>
      <p:sp>
        <p:nvSpPr>
          <p:cNvPr id="13" name="Picture Placeholder 6">
            <a:extLst>
              <a:ext uri="{FF2B5EF4-FFF2-40B4-BE49-F238E27FC236}">
                <a16:creationId xmlns:a16="http://schemas.microsoft.com/office/drawing/2014/main" id="{769A10F0-78C4-0F43-872A-0C7BA4DB8CF3}"/>
              </a:ext>
            </a:extLst>
          </p:cNvPr>
          <p:cNvSpPr>
            <a:spLocks noGrp="1"/>
          </p:cNvSpPr>
          <p:nvPr>
            <p:ph type="pic" sz="quarter" idx="16"/>
          </p:nvPr>
        </p:nvSpPr>
        <p:spPr>
          <a:xfrm>
            <a:off x="4326470" y="1600201"/>
            <a:ext cx="3539065" cy="4533900"/>
          </a:xfrm>
          <a:solidFill>
            <a:srgbClr val="9E9E98"/>
          </a:solidFill>
        </p:spPr>
        <p:txBody>
          <a:bodyPr tIns="1737360"/>
          <a:lstStyle>
            <a:lvl1pPr algn="ctr">
              <a:defRPr/>
            </a:lvl1pPr>
          </a:lstStyle>
          <a:p>
            <a:r>
              <a:rPr lang="en-US"/>
              <a:t>Click icon to add picture</a:t>
            </a:r>
            <a:endParaRPr lang="en-US" dirty="0"/>
          </a:p>
        </p:txBody>
      </p:sp>
      <p:sp>
        <p:nvSpPr>
          <p:cNvPr id="14" name="Picture Placeholder 6">
            <a:extLst>
              <a:ext uri="{FF2B5EF4-FFF2-40B4-BE49-F238E27FC236}">
                <a16:creationId xmlns:a16="http://schemas.microsoft.com/office/drawing/2014/main" id="{995490F6-114C-834C-A109-83C549F80B75}"/>
              </a:ext>
            </a:extLst>
          </p:cNvPr>
          <p:cNvSpPr>
            <a:spLocks noGrp="1"/>
          </p:cNvSpPr>
          <p:nvPr>
            <p:ph type="pic" sz="quarter" idx="17"/>
          </p:nvPr>
        </p:nvSpPr>
        <p:spPr>
          <a:xfrm>
            <a:off x="8166104" y="1600201"/>
            <a:ext cx="3539065" cy="4533900"/>
          </a:xfrm>
          <a:solidFill>
            <a:srgbClr val="9E9E98"/>
          </a:solidFill>
        </p:spPr>
        <p:txBody>
          <a:bodyPr tIns="1737360"/>
          <a:lstStyle>
            <a:lvl1pPr algn="ctr">
              <a:defRPr/>
            </a:lvl1pPr>
          </a:lstStyle>
          <a:p>
            <a:r>
              <a:rPr lang="en-US"/>
              <a:t>Click icon to add picture</a:t>
            </a:r>
            <a:endParaRPr lang="en-US" dirty="0"/>
          </a:p>
        </p:txBody>
      </p:sp>
    </p:spTree>
    <p:extLst>
      <p:ext uri="{BB962C8B-B14F-4D97-AF65-F5344CB8AC3E}">
        <p14:creationId xmlns:p14="http://schemas.microsoft.com/office/powerpoint/2010/main" val="3256302530"/>
      </p:ext>
    </p:extLst>
  </p:cSld>
  <p:clrMapOvr>
    <a:masterClrMapping/>
  </p:clrMapOvr>
  <p:extLst>
    <p:ext uri="{DCECCB84-F9BA-43D5-87BE-67443E8EF086}">
      <p15:sldGuideLst xmlns:p15="http://schemas.microsoft.com/office/powerpoint/2012/main"/>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showMasterSp="0" preserve="1" userDrawn="1">
  <p:cSld name="imagery_3 pics 1/3, 1/3, 1/3">
    <p:spTree>
      <p:nvGrpSpPr>
        <p:cNvPr id="1" name=""/>
        <p:cNvGrpSpPr/>
        <p:nvPr/>
      </p:nvGrpSpPr>
      <p:grpSpPr>
        <a:xfrm>
          <a:off x="0" y="0"/>
          <a:ext cx="0" cy="0"/>
          <a:chOff x="0" y="0"/>
          <a:chExt cx="0" cy="0"/>
        </a:xfrm>
      </p:grpSpPr>
      <p:sp>
        <p:nvSpPr>
          <p:cNvPr id="11" name="Picture Placeholder 6">
            <a:extLst>
              <a:ext uri="{FF2B5EF4-FFF2-40B4-BE49-F238E27FC236}">
                <a16:creationId xmlns:a16="http://schemas.microsoft.com/office/drawing/2014/main" id="{8568D37C-CE20-9546-9601-DC53FCAA7760}"/>
              </a:ext>
            </a:extLst>
          </p:cNvPr>
          <p:cNvSpPr>
            <a:spLocks noGrp="1"/>
          </p:cNvSpPr>
          <p:nvPr>
            <p:ph type="pic" sz="quarter" idx="15"/>
          </p:nvPr>
        </p:nvSpPr>
        <p:spPr>
          <a:xfrm>
            <a:off x="491069" y="349249"/>
            <a:ext cx="3534833" cy="5784851"/>
          </a:xfrm>
          <a:solidFill>
            <a:srgbClr val="9E9E98"/>
          </a:solidFill>
        </p:spPr>
        <p:txBody>
          <a:bodyPr tIns="1737360"/>
          <a:lstStyle>
            <a:lvl1pPr algn="ctr">
              <a:defRPr/>
            </a:lvl1pPr>
          </a:lstStyle>
          <a:p>
            <a:r>
              <a:rPr lang="en-US"/>
              <a:t>Click icon to add picture</a:t>
            </a:r>
            <a:endParaRPr lang="en-US" dirty="0"/>
          </a:p>
        </p:txBody>
      </p:sp>
      <p:sp>
        <p:nvSpPr>
          <p:cNvPr id="12" name="Picture Placeholder 6">
            <a:extLst>
              <a:ext uri="{FF2B5EF4-FFF2-40B4-BE49-F238E27FC236}">
                <a16:creationId xmlns:a16="http://schemas.microsoft.com/office/drawing/2014/main" id="{3E42CAFF-56CB-6947-A6C1-DE4741EA2CCB}"/>
              </a:ext>
            </a:extLst>
          </p:cNvPr>
          <p:cNvSpPr>
            <a:spLocks noGrp="1"/>
          </p:cNvSpPr>
          <p:nvPr>
            <p:ph type="pic" sz="quarter" idx="16"/>
          </p:nvPr>
        </p:nvSpPr>
        <p:spPr>
          <a:xfrm>
            <a:off x="4326470" y="349249"/>
            <a:ext cx="3539065" cy="5784851"/>
          </a:xfrm>
          <a:solidFill>
            <a:srgbClr val="9E9E98"/>
          </a:solidFill>
        </p:spPr>
        <p:txBody>
          <a:bodyPr tIns="1737360"/>
          <a:lstStyle>
            <a:lvl1pPr algn="ctr">
              <a:defRPr/>
            </a:lvl1pPr>
          </a:lstStyle>
          <a:p>
            <a:r>
              <a:rPr lang="en-US"/>
              <a:t>Click icon to add picture</a:t>
            </a:r>
            <a:endParaRPr lang="en-US" dirty="0"/>
          </a:p>
        </p:txBody>
      </p:sp>
      <p:sp>
        <p:nvSpPr>
          <p:cNvPr id="15" name="Picture Placeholder 6">
            <a:extLst>
              <a:ext uri="{FF2B5EF4-FFF2-40B4-BE49-F238E27FC236}">
                <a16:creationId xmlns:a16="http://schemas.microsoft.com/office/drawing/2014/main" id="{FEE7BF23-28CA-B342-9099-508D2AB57AA3}"/>
              </a:ext>
            </a:extLst>
          </p:cNvPr>
          <p:cNvSpPr>
            <a:spLocks noGrp="1"/>
          </p:cNvSpPr>
          <p:nvPr>
            <p:ph type="pic" sz="quarter" idx="17"/>
          </p:nvPr>
        </p:nvSpPr>
        <p:spPr>
          <a:xfrm>
            <a:off x="8166104" y="349249"/>
            <a:ext cx="3539065" cy="5784851"/>
          </a:xfrm>
          <a:solidFill>
            <a:srgbClr val="9E9E98"/>
          </a:solidFill>
        </p:spPr>
        <p:txBody>
          <a:bodyPr tIns="1737360"/>
          <a:lstStyle>
            <a:lvl1pPr algn="ctr">
              <a:defRPr/>
            </a:lvl1pPr>
          </a:lstStyle>
          <a:p>
            <a:r>
              <a:rPr lang="en-US"/>
              <a:t>Click icon to add picture</a:t>
            </a:r>
            <a:endParaRPr lang="en-US" dirty="0"/>
          </a:p>
        </p:txBody>
      </p:sp>
      <p:sp>
        <p:nvSpPr>
          <p:cNvPr id="16" name="Date Placeholder 2">
            <a:extLst>
              <a:ext uri="{FF2B5EF4-FFF2-40B4-BE49-F238E27FC236}">
                <a16:creationId xmlns:a16="http://schemas.microsoft.com/office/drawing/2014/main" id="{2354CE54-2BBD-8148-AB94-52CD5A3565A2}"/>
              </a:ext>
            </a:extLst>
          </p:cNvPr>
          <p:cNvSpPr>
            <a:spLocks noGrp="1"/>
          </p:cNvSpPr>
          <p:nvPr>
            <p:ph type="dt" sz="half" idx="10"/>
          </p:nvPr>
        </p:nvSpPr>
        <p:spPr>
          <a:xfrm>
            <a:off x="10269464" y="6492767"/>
            <a:ext cx="1011313" cy="208759"/>
          </a:xfrm>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February 5, 2026</a:t>
            </a:r>
            <a:endParaRPr lang="en-US" dirty="0"/>
          </a:p>
        </p:txBody>
      </p:sp>
      <p:sp>
        <p:nvSpPr>
          <p:cNvPr id="17" name="Slide Number Placeholder 4">
            <a:extLst>
              <a:ext uri="{FF2B5EF4-FFF2-40B4-BE49-F238E27FC236}">
                <a16:creationId xmlns:a16="http://schemas.microsoft.com/office/drawing/2014/main" id="{E70AC771-38C3-BB4F-9C3C-52B68FAEA5FE}"/>
              </a:ext>
            </a:extLst>
          </p:cNvPr>
          <p:cNvSpPr>
            <a:spLocks noGrp="1"/>
          </p:cNvSpPr>
          <p:nvPr>
            <p:ph type="sldNum" sz="quarter" idx="12"/>
          </p:nvPr>
        </p:nvSpPr>
        <p:spPr>
          <a:xfrm>
            <a:off x="11280775" y="6492767"/>
            <a:ext cx="424392" cy="208759"/>
          </a:xfrm>
        </p:spPr>
        <p:txBody>
          <a:bodyPr/>
          <a:lstStyle>
            <a:lvl1pPr>
              <a:defRPr>
                <a:solidFill>
                  <a:schemeClr val="bg1"/>
                </a:solidFill>
              </a:defRPr>
            </a:lvl1pPr>
          </a:lstStyle>
          <a:p>
            <a:fld id="{63DCA5C9-2E11-4C67-86EB-AE1DE127DC64}" type="slidenum">
              <a:rPr lang="en-US" smtClean="0"/>
              <a:pPr/>
              <a:t>‹#›</a:t>
            </a:fld>
            <a:endParaRPr lang="en-US" dirty="0"/>
          </a:p>
        </p:txBody>
      </p:sp>
      <p:sp>
        <p:nvSpPr>
          <p:cNvPr id="18" name="Footer Placeholder 3">
            <a:extLst>
              <a:ext uri="{FF2B5EF4-FFF2-40B4-BE49-F238E27FC236}">
                <a16:creationId xmlns:a16="http://schemas.microsoft.com/office/drawing/2014/main" id="{1E3090FB-4D1F-0C4B-B7E6-FE44855D60C9}"/>
              </a:ext>
            </a:extLst>
          </p:cNvPr>
          <p:cNvSpPr>
            <a:spLocks noGrp="1"/>
          </p:cNvSpPr>
          <p:nvPr>
            <p:ph type="ftr" sz="quarter" idx="11"/>
          </p:nvPr>
        </p:nvSpPr>
        <p:spPr>
          <a:xfrm>
            <a:off x="491069" y="6496842"/>
            <a:ext cx="4815417" cy="208759"/>
          </a:xfrm>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131"/>
            <a:r>
              <a:rPr lang="en-US"/>
              <a:t>CAR T in BCL</a:t>
            </a:r>
            <a:endParaRPr lang="en-US" dirty="0"/>
          </a:p>
        </p:txBody>
      </p:sp>
    </p:spTree>
    <p:extLst>
      <p:ext uri="{BB962C8B-B14F-4D97-AF65-F5344CB8AC3E}">
        <p14:creationId xmlns:p14="http://schemas.microsoft.com/office/powerpoint/2010/main" val="2272917824"/>
      </p:ext>
    </p:extLst>
  </p:cSld>
  <p:clrMapOvr>
    <a:masterClrMapping/>
  </p:clrMapOvr>
  <p:extLst>
    <p:ext uri="{DCECCB84-F9BA-43D5-87BE-67443E8EF086}">
      <p15:sldGuideLst xmlns:p15="http://schemas.microsoft.com/office/powerpoint/2012/main"/>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showMasterSp="0" preserve="1" userDrawn="1">
  <p:cSld name="imagery_6 pics 1/3, 1/3, 1/3 -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C570D-3BAE-433E-8DDA-6594E6C21ABD}"/>
              </a:ext>
            </a:extLst>
          </p:cNvPr>
          <p:cNvSpPr>
            <a:spLocks noGrp="1"/>
          </p:cNvSpPr>
          <p:nvPr>
            <p:ph type="title"/>
          </p:nvPr>
        </p:nvSpPr>
        <p:spPr/>
        <p:txBody>
          <a:bodyPr/>
          <a:lstStyle>
            <a:lvl1pPr>
              <a:defRPr>
                <a:solidFill>
                  <a:srgbClr val="007CBA"/>
                </a:solidFill>
              </a:defRPr>
            </a:lvl1pPr>
          </a:lstStyle>
          <a:p>
            <a:r>
              <a:rPr lang="en-US"/>
              <a:t>Click to edit Master title style</a:t>
            </a:r>
            <a:endParaRPr lang="en-US" dirty="0"/>
          </a:p>
        </p:txBody>
      </p:sp>
      <p:sp>
        <p:nvSpPr>
          <p:cNvPr id="8" name="Date Placeholder 2">
            <a:extLst>
              <a:ext uri="{FF2B5EF4-FFF2-40B4-BE49-F238E27FC236}">
                <a16:creationId xmlns:a16="http://schemas.microsoft.com/office/drawing/2014/main" id="{C6CD4B92-BBDA-4D46-8EE4-D09A4268A94E}"/>
              </a:ext>
            </a:extLst>
          </p:cNvPr>
          <p:cNvSpPr>
            <a:spLocks noGrp="1"/>
          </p:cNvSpPr>
          <p:nvPr>
            <p:ph type="dt" sz="half" idx="10"/>
          </p:nvPr>
        </p:nvSpPr>
        <p:spPr>
          <a:xfrm>
            <a:off x="10269464" y="6492767"/>
            <a:ext cx="1011313" cy="208759"/>
          </a:xfrm>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February 5, 2026</a:t>
            </a:r>
            <a:endParaRPr lang="en-US" dirty="0"/>
          </a:p>
        </p:txBody>
      </p:sp>
      <p:sp>
        <p:nvSpPr>
          <p:cNvPr id="9" name="Slide Number Placeholder 4">
            <a:extLst>
              <a:ext uri="{FF2B5EF4-FFF2-40B4-BE49-F238E27FC236}">
                <a16:creationId xmlns:a16="http://schemas.microsoft.com/office/drawing/2014/main" id="{05CFE90F-7B1D-3B45-881F-DA7B55BD2F02}"/>
              </a:ext>
            </a:extLst>
          </p:cNvPr>
          <p:cNvSpPr>
            <a:spLocks noGrp="1"/>
          </p:cNvSpPr>
          <p:nvPr>
            <p:ph type="sldNum" sz="quarter" idx="12"/>
          </p:nvPr>
        </p:nvSpPr>
        <p:spPr>
          <a:xfrm>
            <a:off x="11280775" y="6492767"/>
            <a:ext cx="424392" cy="208759"/>
          </a:xfrm>
        </p:spPr>
        <p:txBody>
          <a:bodyPr/>
          <a:lstStyle>
            <a:lvl1pPr>
              <a:defRPr>
                <a:solidFill>
                  <a:schemeClr val="bg1"/>
                </a:solidFill>
              </a:defRPr>
            </a:lvl1pPr>
          </a:lstStyle>
          <a:p>
            <a:fld id="{63DCA5C9-2E11-4C67-86EB-AE1DE127DC64}" type="slidenum">
              <a:rPr lang="en-US" smtClean="0"/>
              <a:pPr/>
              <a:t>‹#›</a:t>
            </a:fld>
            <a:endParaRPr lang="en-US" dirty="0"/>
          </a:p>
        </p:txBody>
      </p:sp>
      <p:sp>
        <p:nvSpPr>
          <p:cNvPr id="10" name="Footer Placeholder 3">
            <a:extLst>
              <a:ext uri="{FF2B5EF4-FFF2-40B4-BE49-F238E27FC236}">
                <a16:creationId xmlns:a16="http://schemas.microsoft.com/office/drawing/2014/main" id="{F7B01DBB-D24E-6A4A-8CC6-DEE17412B3D7}"/>
              </a:ext>
            </a:extLst>
          </p:cNvPr>
          <p:cNvSpPr>
            <a:spLocks noGrp="1"/>
          </p:cNvSpPr>
          <p:nvPr>
            <p:ph type="ftr" sz="quarter" idx="11"/>
          </p:nvPr>
        </p:nvSpPr>
        <p:spPr>
          <a:xfrm>
            <a:off x="491069" y="6496842"/>
            <a:ext cx="4815417" cy="208759"/>
          </a:xfrm>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131"/>
            <a:r>
              <a:rPr lang="en-US"/>
              <a:t>CAR T in BCL</a:t>
            </a:r>
            <a:endParaRPr lang="en-US" dirty="0"/>
          </a:p>
        </p:txBody>
      </p:sp>
      <p:sp>
        <p:nvSpPr>
          <p:cNvPr id="11" name="Picture Placeholder 6">
            <a:extLst>
              <a:ext uri="{FF2B5EF4-FFF2-40B4-BE49-F238E27FC236}">
                <a16:creationId xmlns:a16="http://schemas.microsoft.com/office/drawing/2014/main" id="{E3E2B952-0503-C245-9647-B0944760C201}"/>
              </a:ext>
            </a:extLst>
          </p:cNvPr>
          <p:cNvSpPr>
            <a:spLocks noGrp="1"/>
          </p:cNvSpPr>
          <p:nvPr>
            <p:ph type="pic" sz="quarter" idx="15"/>
          </p:nvPr>
        </p:nvSpPr>
        <p:spPr>
          <a:xfrm>
            <a:off x="491069" y="3979333"/>
            <a:ext cx="3534833" cy="2154769"/>
          </a:xfrm>
          <a:solidFill>
            <a:srgbClr val="9E9E98"/>
          </a:solidFill>
        </p:spPr>
        <p:txBody>
          <a:bodyPr tIns="1280160"/>
          <a:lstStyle>
            <a:lvl1pPr algn="ctr">
              <a:defRPr/>
            </a:lvl1pPr>
          </a:lstStyle>
          <a:p>
            <a:r>
              <a:rPr lang="en-US"/>
              <a:t>Click icon to add picture</a:t>
            </a:r>
            <a:endParaRPr lang="en-US" dirty="0"/>
          </a:p>
        </p:txBody>
      </p:sp>
      <p:sp>
        <p:nvSpPr>
          <p:cNvPr id="12" name="Picture Placeholder 6">
            <a:extLst>
              <a:ext uri="{FF2B5EF4-FFF2-40B4-BE49-F238E27FC236}">
                <a16:creationId xmlns:a16="http://schemas.microsoft.com/office/drawing/2014/main" id="{BBF1F671-AC39-6E43-B59E-B176980E804A}"/>
              </a:ext>
            </a:extLst>
          </p:cNvPr>
          <p:cNvSpPr>
            <a:spLocks noGrp="1"/>
          </p:cNvSpPr>
          <p:nvPr>
            <p:ph type="pic" sz="quarter" idx="16"/>
          </p:nvPr>
        </p:nvSpPr>
        <p:spPr>
          <a:xfrm>
            <a:off x="4326470" y="3979333"/>
            <a:ext cx="3539065" cy="2154769"/>
          </a:xfrm>
          <a:solidFill>
            <a:srgbClr val="9E9E98"/>
          </a:solidFill>
        </p:spPr>
        <p:txBody>
          <a:bodyPr tIns="1280160"/>
          <a:lstStyle>
            <a:lvl1pPr algn="ctr">
              <a:defRPr/>
            </a:lvl1pPr>
          </a:lstStyle>
          <a:p>
            <a:r>
              <a:rPr lang="en-US"/>
              <a:t>Click icon to add picture</a:t>
            </a:r>
            <a:endParaRPr lang="en-US" dirty="0"/>
          </a:p>
        </p:txBody>
      </p:sp>
      <p:sp>
        <p:nvSpPr>
          <p:cNvPr id="13" name="Picture Placeholder 6">
            <a:extLst>
              <a:ext uri="{FF2B5EF4-FFF2-40B4-BE49-F238E27FC236}">
                <a16:creationId xmlns:a16="http://schemas.microsoft.com/office/drawing/2014/main" id="{CDDAAB07-CCA3-DD41-9B3B-A62AFB5E35A6}"/>
              </a:ext>
            </a:extLst>
          </p:cNvPr>
          <p:cNvSpPr>
            <a:spLocks noGrp="1"/>
          </p:cNvSpPr>
          <p:nvPr>
            <p:ph type="pic" sz="quarter" idx="17"/>
          </p:nvPr>
        </p:nvSpPr>
        <p:spPr>
          <a:xfrm>
            <a:off x="8166104" y="3979333"/>
            <a:ext cx="3539065" cy="2154769"/>
          </a:xfrm>
          <a:solidFill>
            <a:srgbClr val="9E9E98"/>
          </a:solidFill>
        </p:spPr>
        <p:txBody>
          <a:bodyPr tIns="1280160"/>
          <a:lstStyle>
            <a:lvl1pPr algn="ctr">
              <a:defRPr/>
            </a:lvl1pPr>
          </a:lstStyle>
          <a:p>
            <a:r>
              <a:rPr lang="en-US"/>
              <a:t>Click icon to add picture</a:t>
            </a:r>
            <a:endParaRPr lang="en-US" dirty="0"/>
          </a:p>
        </p:txBody>
      </p:sp>
      <p:sp>
        <p:nvSpPr>
          <p:cNvPr id="14" name="Picture Placeholder 6">
            <a:extLst>
              <a:ext uri="{FF2B5EF4-FFF2-40B4-BE49-F238E27FC236}">
                <a16:creationId xmlns:a16="http://schemas.microsoft.com/office/drawing/2014/main" id="{95958295-E187-9145-A702-EA3103707021}"/>
              </a:ext>
            </a:extLst>
          </p:cNvPr>
          <p:cNvSpPr>
            <a:spLocks noGrp="1"/>
          </p:cNvSpPr>
          <p:nvPr>
            <p:ph type="pic" sz="quarter" idx="18"/>
          </p:nvPr>
        </p:nvSpPr>
        <p:spPr>
          <a:xfrm>
            <a:off x="491069" y="1600201"/>
            <a:ext cx="3534833" cy="2154768"/>
          </a:xfrm>
          <a:solidFill>
            <a:srgbClr val="9E9E98"/>
          </a:solidFill>
        </p:spPr>
        <p:txBody>
          <a:bodyPr tIns="1280160"/>
          <a:lstStyle>
            <a:lvl1pPr algn="ctr">
              <a:defRPr/>
            </a:lvl1pPr>
          </a:lstStyle>
          <a:p>
            <a:r>
              <a:rPr lang="en-US"/>
              <a:t>Click icon to add picture</a:t>
            </a:r>
            <a:endParaRPr lang="en-US" dirty="0"/>
          </a:p>
        </p:txBody>
      </p:sp>
      <p:sp>
        <p:nvSpPr>
          <p:cNvPr id="15" name="Picture Placeholder 6">
            <a:extLst>
              <a:ext uri="{FF2B5EF4-FFF2-40B4-BE49-F238E27FC236}">
                <a16:creationId xmlns:a16="http://schemas.microsoft.com/office/drawing/2014/main" id="{619985AD-DB65-614B-A6DC-98A9B9BE0B57}"/>
              </a:ext>
            </a:extLst>
          </p:cNvPr>
          <p:cNvSpPr>
            <a:spLocks noGrp="1"/>
          </p:cNvSpPr>
          <p:nvPr>
            <p:ph type="pic" sz="quarter" idx="19"/>
          </p:nvPr>
        </p:nvSpPr>
        <p:spPr>
          <a:xfrm>
            <a:off x="4326470" y="1600201"/>
            <a:ext cx="3539065" cy="2154768"/>
          </a:xfrm>
          <a:solidFill>
            <a:srgbClr val="9E9E98"/>
          </a:solidFill>
        </p:spPr>
        <p:txBody>
          <a:bodyPr tIns="1280160"/>
          <a:lstStyle>
            <a:lvl1pPr algn="ctr">
              <a:defRPr/>
            </a:lvl1pPr>
          </a:lstStyle>
          <a:p>
            <a:r>
              <a:rPr lang="en-US"/>
              <a:t>Click icon to add picture</a:t>
            </a:r>
            <a:endParaRPr lang="en-US" dirty="0"/>
          </a:p>
        </p:txBody>
      </p:sp>
      <p:sp>
        <p:nvSpPr>
          <p:cNvPr id="16" name="Picture Placeholder 6">
            <a:extLst>
              <a:ext uri="{FF2B5EF4-FFF2-40B4-BE49-F238E27FC236}">
                <a16:creationId xmlns:a16="http://schemas.microsoft.com/office/drawing/2014/main" id="{5B259422-6E20-8B4E-9DBF-C0C809F179F0}"/>
              </a:ext>
            </a:extLst>
          </p:cNvPr>
          <p:cNvSpPr>
            <a:spLocks noGrp="1"/>
          </p:cNvSpPr>
          <p:nvPr>
            <p:ph type="pic" sz="quarter" idx="20"/>
          </p:nvPr>
        </p:nvSpPr>
        <p:spPr>
          <a:xfrm>
            <a:off x="8166104" y="1600201"/>
            <a:ext cx="3539065" cy="2154768"/>
          </a:xfrm>
          <a:solidFill>
            <a:srgbClr val="9E9E98"/>
          </a:solidFill>
        </p:spPr>
        <p:txBody>
          <a:bodyPr tIns="1280160"/>
          <a:lstStyle>
            <a:lvl1pPr algn="ctr">
              <a:defRPr/>
            </a:lvl1pPr>
          </a:lstStyle>
          <a:p>
            <a:r>
              <a:rPr lang="en-US"/>
              <a:t>Click icon to add picture</a:t>
            </a:r>
            <a:endParaRPr lang="en-US" dirty="0"/>
          </a:p>
        </p:txBody>
      </p:sp>
    </p:spTree>
    <p:extLst>
      <p:ext uri="{BB962C8B-B14F-4D97-AF65-F5344CB8AC3E}">
        <p14:creationId xmlns:p14="http://schemas.microsoft.com/office/powerpoint/2010/main" val="2070739561"/>
      </p:ext>
    </p:extLst>
  </p:cSld>
  <p:clrMapOvr>
    <a:masterClrMapping/>
  </p:clrMapOvr>
  <p:extLst>
    <p:ext uri="{DCECCB84-F9BA-43D5-87BE-67443E8EF086}">
      <p15:sldGuideLst xmlns:p15="http://schemas.microsoft.com/office/powerpoint/2012/main"/>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showMasterSp="0" preserve="1" userDrawn="1">
  <p:cSld name="imagery_6 pics 1/3, 1/3, 1/3">
    <p:spTree>
      <p:nvGrpSpPr>
        <p:cNvPr id="1" name=""/>
        <p:cNvGrpSpPr/>
        <p:nvPr/>
      </p:nvGrpSpPr>
      <p:grpSpPr>
        <a:xfrm>
          <a:off x="0" y="0"/>
          <a:ext cx="0" cy="0"/>
          <a:chOff x="0" y="0"/>
          <a:chExt cx="0" cy="0"/>
        </a:xfrm>
      </p:grpSpPr>
      <p:sp>
        <p:nvSpPr>
          <p:cNvPr id="8" name="Date Placeholder 2">
            <a:extLst>
              <a:ext uri="{FF2B5EF4-FFF2-40B4-BE49-F238E27FC236}">
                <a16:creationId xmlns:a16="http://schemas.microsoft.com/office/drawing/2014/main" id="{7B33FFFA-2BB2-5940-82F3-488F5CFA2A38}"/>
              </a:ext>
            </a:extLst>
          </p:cNvPr>
          <p:cNvSpPr>
            <a:spLocks noGrp="1"/>
          </p:cNvSpPr>
          <p:nvPr>
            <p:ph type="dt" sz="half" idx="10"/>
          </p:nvPr>
        </p:nvSpPr>
        <p:spPr>
          <a:xfrm>
            <a:off x="10269464" y="6492767"/>
            <a:ext cx="1011313" cy="208759"/>
          </a:xfrm>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February 5, 2026</a:t>
            </a:r>
            <a:endParaRPr lang="en-US" dirty="0"/>
          </a:p>
        </p:txBody>
      </p:sp>
      <p:sp>
        <p:nvSpPr>
          <p:cNvPr id="9" name="Slide Number Placeholder 4">
            <a:extLst>
              <a:ext uri="{FF2B5EF4-FFF2-40B4-BE49-F238E27FC236}">
                <a16:creationId xmlns:a16="http://schemas.microsoft.com/office/drawing/2014/main" id="{5C126967-5781-AF4B-86B0-833CE5A7522D}"/>
              </a:ext>
            </a:extLst>
          </p:cNvPr>
          <p:cNvSpPr>
            <a:spLocks noGrp="1"/>
          </p:cNvSpPr>
          <p:nvPr>
            <p:ph type="sldNum" sz="quarter" idx="12"/>
          </p:nvPr>
        </p:nvSpPr>
        <p:spPr>
          <a:xfrm>
            <a:off x="11280775" y="6492767"/>
            <a:ext cx="424392" cy="208759"/>
          </a:xfrm>
        </p:spPr>
        <p:txBody>
          <a:bodyPr/>
          <a:lstStyle>
            <a:lvl1pPr>
              <a:defRPr>
                <a:solidFill>
                  <a:schemeClr val="bg1"/>
                </a:solidFill>
              </a:defRPr>
            </a:lvl1pPr>
          </a:lstStyle>
          <a:p>
            <a:fld id="{63DCA5C9-2E11-4C67-86EB-AE1DE127DC64}" type="slidenum">
              <a:rPr lang="en-US" smtClean="0"/>
              <a:pPr/>
              <a:t>‹#›</a:t>
            </a:fld>
            <a:endParaRPr lang="en-US" dirty="0"/>
          </a:p>
        </p:txBody>
      </p:sp>
      <p:sp>
        <p:nvSpPr>
          <p:cNvPr id="10" name="Footer Placeholder 3">
            <a:extLst>
              <a:ext uri="{FF2B5EF4-FFF2-40B4-BE49-F238E27FC236}">
                <a16:creationId xmlns:a16="http://schemas.microsoft.com/office/drawing/2014/main" id="{ED8B772E-AD25-DD42-8B49-CA4A4E87D1BE}"/>
              </a:ext>
            </a:extLst>
          </p:cNvPr>
          <p:cNvSpPr>
            <a:spLocks noGrp="1"/>
          </p:cNvSpPr>
          <p:nvPr>
            <p:ph type="ftr" sz="quarter" idx="11"/>
          </p:nvPr>
        </p:nvSpPr>
        <p:spPr>
          <a:xfrm>
            <a:off x="491069" y="6496842"/>
            <a:ext cx="4815417" cy="208759"/>
          </a:xfrm>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131"/>
            <a:r>
              <a:rPr lang="en-US"/>
              <a:t>CAR T in BCL</a:t>
            </a:r>
            <a:endParaRPr lang="en-US" dirty="0"/>
          </a:p>
        </p:txBody>
      </p:sp>
      <p:sp>
        <p:nvSpPr>
          <p:cNvPr id="17" name="Picture Placeholder 6">
            <a:extLst>
              <a:ext uri="{FF2B5EF4-FFF2-40B4-BE49-F238E27FC236}">
                <a16:creationId xmlns:a16="http://schemas.microsoft.com/office/drawing/2014/main" id="{050BB7AE-8FC9-4D40-8339-933EE3D4586A}"/>
              </a:ext>
            </a:extLst>
          </p:cNvPr>
          <p:cNvSpPr>
            <a:spLocks noGrp="1"/>
          </p:cNvSpPr>
          <p:nvPr>
            <p:ph type="pic" sz="quarter" idx="18"/>
          </p:nvPr>
        </p:nvSpPr>
        <p:spPr>
          <a:xfrm>
            <a:off x="491069" y="349250"/>
            <a:ext cx="3534833" cy="2768607"/>
          </a:xfrm>
          <a:solidFill>
            <a:srgbClr val="9E9E98"/>
          </a:solidFill>
        </p:spPr>
        <p:txBody>
          <a:bodyPr tIns="1554480"/>
          <a:lstStyle>
            <a:lvl1pPr algn="ctr">
              <a:defRPr/>
            </a:lvl1pPr>
          </a:lstStyle>
          <a:p>
            <a:r>
              <a:rPr lang="en-US"/>
              <a:t>Click icon to add picture</a:t>
            </a:r>
            <a:endParaRPr lang="en-US" dirty="0"/>
          </a:p>
        </p:txBody>
      </p:sp>
      <p:sp>
        <p:nvSpPr>
          <p:cNvPr id="18" name="Picture Placeholder 6">
            <a:extLst>
              <a:ext uri="{FF2B5EF4-FFF2-40B4-BE49-F238E27FC236}">
                <a16:creationId xmlns:a16="http://schemas.microsoft.com/office/drawing/2014/main" id="{7E32A921-2FFF-7D4B-B255-E0E0392C9295}"/>
              </a:ext>
            </a:extLst>
          </p:cNvPr>
          <p:cNvSpPr>
            <a:spLocks noGrp="1"/>
          </p:cNvSpPr>
          <p:nvPr>
            <p:ph type="pic" sz="quarter" idx="19"/>
          </p:nvPr>
        </p:nvSpPr>
        <p:spPr>
          <a:xfrm>
            <a:off x="4326470" y="349250"/>
            <a:ext cx="3539065" cy="2768607"/>
          </a:xfrm>
          <a:solidFill>
            <a:srgbClr val="9E9E98"/>
          </a:solidFill>
        </p:spPr>
        <p:txBody>
          <a:bodyPr tIns="1554480"/>
          <a:lstStyle>
            <a:lvl1pPr algn="ctr">
              <a:defRPr/>
            </a:lvl1pPr>
          </a:lstStyle>
          <a:p>
            <a:r>
              <a:rPr lang="en-US"/>
              <a:t>Click icon to add picture</a:t>
            </a:r>
            <a:endParaRPr lang="en-US" dirty="0"/>
          </a:p>
        </p:txBody>
      </p:sp>
      <p:sp>
        <p:nvSpPr>
          <p:cNvPr id="19" name="Picture Placeholder 6">
            <a:extLst>
              <a:ext uri="{FF2B5EF4-FFF2-40B4-BE49-F238E27FC236}">
                <a16:creationId xmlns:a16="http://schemas.microsoft.com/office/drawing/2014/main" id="{E226DAE5-533E-434D-ADF0-97DB1D2D3276}"/>
              </a:ext>
            </a:extLst>
          </p:cNvPr>
          <p:cNvSpPr>
            <a:spLocks noGrp="1"/>
          </p:cNvSpPr>
          <p:nvPr>
            <p:ph type="pic" sz="quarter" idx="20"/>
          </p:nvPr>
        </p:nvSpPr>
        <p:spPr>
          <a:xfrm>
            <a:off x="8166104" y="349250"/>
            <a:ext cx="3539065" cy="2768607"/>
          </a:xfrm>
          <a:solidFill>
            <a:srgbClr val="9E9E98"/>
          </a:solidFill>
        </p:spPr>
        <p:txBody>
          <a:bodyPr tIns="1554480"/>
          <a:lstStyle>
            <a:lvl1pPr algn="ctr">
              <a:defRPr/>
            </a:lvl1pPr>
          </a:lstStyle>
          <a:p>
            <a:r>
              <a:rPr lang="en-US"/>
              <a:t>Click icon to add picture</a:t>
            </a:r>
            <a:endParaRPr lang="en-US" dirty="0"/>
          </a:p>
        </p:txBody>
      </p:sp>
      <p:sp>
        <p:nvSpPr>
          <p:cNvPr id="20" name="Picture Placeholder 6">
            <a:extLst>
              <a:ext uri="{FF2B5EF4-FFF2-40B4-BE49-F238E27FC236}">
                <a16:creationId xmlns:a16="http://schemas.microsoft.com/office/drawing/2014/main" id="{2F841706-96FF-074A-9125-228D7955A7E4}"/>
              </a:ext>
            </a:extLst>
          </p:cNvPr>
          <p:cNvSpPr>
            <a:spLocks noGrp="1"/>
          </p:cNvSpPr>
          <p:nvPr>
            <p:ph type="pic" sz="quarter" idx="21"/>
          </p:nvPr>
        </p:nvSpPr>
        <p:spPr>
          <a:xfrm>
            <a:off x="491068" y="3342219"/>
            <a:ext cx="3534833" cy="2791883"/>
          </a:xfrm>
          <a:solidFill>
            <a:srgbClr val="9E9E98"/>
          </a:solidFill>
        </p:spPr>
        <p:txBody>
          <a:bodyPr tIns="1554480"/>
          <a:lstStyle>
            <a:lvl1pPr algn="ctr">
              <a:defRPr/>
            </a:lvl1pPr>
          </a:lstStyle>
          <a:p>
            <a:r>
              <a:rPr lang="en-US"/>
              <a:t>Click icon to add picture</a:t>
            </a:r>
            <a:endParaRPr lang="en-US" dirty="0"/>
          </a:p>
        </p:txBody>
      </p:sp>
      <p:sp>
        <p:nvSpPr>
          <p:cNvPr id="21" name="Picture Placeholder 6">
            <a:extLst>
              <a:ext uri="{FF2B5EF4-FFF2-40B4-BE49-F238E27FC236}">
                <a16:creationId xmlns:a16="http://schemas.microsoft.com/office/drawing/2014/main" id="{C3F8AD01-6FB8-7445-B380-3DAFDCF55A72}"/>
              </a:ext>
            </a:extLst>
          </p:cNvPr>
          <p:cNvSpPr>
            <a:spLocks noGrp="1"/>
          </p:cNvSpPr>
          <p:nvPr>
            <p:ph type="pic" sz="quarter" idx="22"/>
          </p:nvPr>
        </p:nvSpPr>
        <p:spPr>
          <a:xfrm>
            <a:off x="4326469" y="3342219"/>
            <a:ext cx="3539065" cy="2791883"/>
          </a:xfrm>
          <a:solidFill>
            <a:srgbClr val="9E9E98"/>
          </a:solidFill>
        </p:spPr>
        <p:txBody>
          <a:bodyPr tIns="1554480"/>
          <a:lstStyle>
            <a:lvl1pPr algn="ctr">
              <a:defRPr/>
            </a:lvl1pPr>
          </a:lstStyle>
          <a:p>
            <a:r>
              <a:rPr lang="en-US"/>
              <a:t>Click icon to add picture</a:t>
            </a:r>
            <a:endParaRPr lang="en-US" dirty="0"/>
          </a:p>
        </p:txBody>
      </p:sp>
      <p:sp>
        <p:nvSpPr>
          <p:cNvPr id="22" name="Picture Placeholder 6">
            <a:extLst>
              <a:ext uri="{FF2B5EF4-FFF2-40B4-BE49-F238E27FC236}">
                <a16:creationId xmlns:a16="http://schemas.microsoft.com/office/drawing/2014/main" id="{2061B9A6-A996-9C4B-BAAF-F1813F3F781D}"/>
              </a:ext>
            </a:extLst>
          </p:cNvPr>
          <p:cNvSpPr>
            <a:spLocks noGrp="1"/>
          </p:cNvSpPr>
          <p:nvPr>
            <p:ph type="pic" sz="quarter" idx="23"/>
          </p:nvPr>
        </p:nvSpPr>
        <p:spPr>
          <a:xfrm>
            <a:off x="8166102" y="3342219"/>
            <a:ext cx="3539065" cy="2791883"/>
          </a:xfrm>
          <a:solidFill>
            <a:srgbClr val="9E9E98"/>
          </a:solidFill>
        </p:spPr>
        <p:txBody>
          <a:bodyPr tIns="1554480"/>
          <a:lstStyle>
            <a:lvl1pPr algn="ctr">
              <a:defRPr/>
            </a:lvl1pPr>
          </a:lstStyle>
          <a:p>
            <a:r>
              <a:rPr lang="en-US"/>
              <a:t>Click icon to add picture</a:t>
            </a:r>
            <a:endParaRPr lang="en-US" dirty="0"/>
          </a:p>
        </p:txBody>
      </p:sp>
    </p:spTree>
    <p:extLst>
      <p:ext uri="{BB962C8B-B14F-4D97-AF65-F5344CB8AC3E}">
        <p14:creationId xmlns:p14="http://schemas.microsoft.com/office/powerpoint/2010/main" val="2897513135"/>
      </p:ext>
    </p:extLst>
  </p:cSld>
  <p:clrMapOvr>
    <a:masterClrMapping/>
  </p:clrMapOvr>
  <p:extLst>
    <p:ext uri="{DCECCB84-F9BA-43D5-87BE-67443E8EF086}">
      <p15:sldGuideLst xmlns:p15="http://schemas.microsoft.com/office/powerpoint/2012/main"/>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showMasterSp="0" preserve="1" userDrawn="1">
  <p:cSld name="imagery_1pic ">
    <p:spTree>
      <p:nvGrpSpPr>
        <p:cNvPr id="1" name=""/>
        <p:cNvGrpSpPr/>
        <p:nvPr/>
      </p:nvGrpSpPr>
      <p:grpSpPr>
        <a:xfrm>
          <a:off x="0" y="0"/>
          <a:ext cx="0" cy="0"/>
          <a:chOff x="0" y="0"/>
          <a:chExt cx="0" cy="0"/>
        </a:xfrm>
      </p:grpSpPr>
      <p:sp>
        <p:nvSpPr>
          <p:cNvPr id="10" name="Date Placeholder 2">
            <a:extLst>
              <a:ext uri="{FF2B5EF4-FFF2-40B4-BE49-F238E27FC236}">
                <a16:creationId xmlns:a16="http://schemas.microsoft.com/office/drawing/2014/main" id="{25F68689-1774-1244-96F2-AE7A54BF8939}"/>
              </a:ext>
            </a:extLst>
          </p:cNvPr>
          <p:cNvSpPr>
            <a:spLocks noGrp="1"/>
          </p:cNvSpPr>
          <p:nvPr>
            <p:ph type="dt" sz="half" idx="10"/>
          </p:nvPr>
        </p:nvSpPr>
        <p:spPr>
          <a:xfrm>
            <a:off x="10269464" y="6492767"/>
            <a:ext cx="1011313" cy="208759"/>
          </a:xfrm>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February 5, 2026</a:t>
            </a:r>
            <a:endParaRPr lang="en-US" dirty="0"/>
          </a:p>
        </p:txBody>
      </p:sp>
      <p:sp>
        <p:nvSpPr>
          <p:cNvPr id="11" name="Slide Number Placeholder 4">
            <a:extLst>
              <a:ext uri="{FF2B5EF4-FFF2-40B4-BE49-F238E27FC236}">
                <a16:creationId xmlns:a16="http://schemas.microsoft.com/office/drawing/2014/main" id="{ABFBC8D5-2E06-6243-A00C-4CA1555164A2}"/>
              </a:ext>
            </a:extLst>
          </p:cNvPr>
          <p:cNvSpPr>
            <a:spLocks noGrp="1"/>
          </p:cNvSpPr>
          <p:nvPr>
            <p:ph type="sldNum" sz="quarter" idx="12"/>
          </p:nvPr>
        </p:nvSpPr>
        <p:spPr>
          <a:xfrm>
            <a:off x="11280775" y="6492767"/>
            <a:ext cx="424392" cy="208759"/>
          </a:xfrm>
        </p:spPr>
        <p:txBody>
          <a:bodyPr/>
          <a:lstStyle>
            <a:lvl1pPr>
              <a:defRPr>
                <a:solidFill>
                  <a:schemeClr val="bg1"/>
                </a:solidFill>
              </a:defRPr>
            </a:lvl1pPr>
          </a:lstStyle>
          <a:p>
            <a:fld id="{63DCA5C9-2E11-4C67-86EB-AE1DE127DC64}" type="slidenum">
              <a:rPr lang="en-US" smtClean="0"/>
              <a:pPr/>
              <a:t>‹#›</a:t>
            </a:fld>
            <a:endParaRPr lang="en-US" dirty="0"/>
          </a:p>
        </p:txBody>
      </p:sp>
      <p:sp>
        <p:nvSpPr>
          <p:cNvPr id="12" name="Footer Placeholder 3">
            <a:extLst>
              <a:ext uri="{FF2B5EF4-FFF2-40B4-BE49-F238E27FC236}">
                <a16:creationId xmlns:a16="http://schemas.microsoft.com/office/drawing/2014/main" id="{5147F5F0-5973-EE43-A786-B95DFF26A310}"/>
              </a:ext>
            </a:extLst>
          </p:cNvPr>
          <p:cNvSpPr>
            <a:spLocks noGrp="1"/>
          </p:cNvSpPr>
          <p:nvPr>
            <p:ph type="ftr" sz="quarter" idx="11"/>
          </p:nvPr>
        </p:nvSpPr>
        <p:spPr>
          <a:xfrm>
            <a:off x="491069" y="6496842"/>
            <a:ext cx="4815417" cy="208759"/>
          </a:xfrm>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131"/>
            <a:r>
              <a:rPr lang="en-US"/>
              <a:t>CAR T in BCL</a:t>
            </a:r>
            <a:endParaRPr lang="en-US" dirty="0"/>
          </a:p>
        </p:txBody>
      </p:sp>
      <p:sp>
        <p:nvSpPr>
          <p:cNvPr id="13" name="Picture Placeholder 6">
            <a:extLst>
              <a:ext uri="{FF2B5EF4-FFF2-40B4-BE49-F238E27FC236}">
                <a16:creationId xmlns:a16="http://schemas.microsoft.com/office/drawing/2014/main" id="{42A61732-9062-E945-945C-4ACF460747E9}"/>
              </a:ext>
            </a:extLst>
          </p:cNvPr>
          <p:cNvSpPr>
            <a:spLocks noGrp="1"/>
          </p:cNvSpPr>
          <p:nvPr>
            <p:ph type="pic" sz="quarter" idx="19"/>
          </p:nvPr>
        </p:nvSpPr>
        <p:spPr>
          <a:xfrm>
            <a:off x="4235" y="1"/>
            <a:ext cx="12187767" cy="6362700"/>
          </a:xfrm>
          <a:solidFill>
            <a:srgbClr val="9E9E98"/>
          </a:solidFill>
        </p:spPr>
        <p:txBody>
          <a:bodyPr tIns="3383280"/>
          <a:lstStyle>
            <a:lvl1pPr algn="ctr">
              <a:defRPr/>
            </a:lvl1pPr>
          </a:lstStyle>
          <a:p>
            <a:r>
              <a:rPr lang="en-US"/>
              <a:t>Click icon to add picture</a:t>
            </a:r>
            <a:endParaRPr lang="en-US" dirty="0"/>
          </a:p>
        </p:txBody>
      </p:sp>
    </p:spTree>
    <p:extLst>
      <p:ext uri="{BB962C8B-B14F-4D97-AF65-F5344CB8AC3E}">
        <p14:creationId xmlns:p14="http://schemas.microsoft.com/office/powerpoint/2010/main" val="1281712591"/>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916FF65-E16B-BA4F-9591-6B4416106527}" type="datetimeFigureOut">
              <a:rPr lang="en-US" smtClean="0"/>
              <a:t>4/24/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1924392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showMasterSp="0" preserve="1" userDrawn="1">
  <p:cSld name="imagery_1 pic blue footer">
    <p:spTree>
      <p:nvGrpSpPr>
        <p:cNvPr id="1" name=""/>
        <p:cNvGrpSpPr/>
        <p:nvPr/>
      </p:nvGrpSpPr>
      <p:grpSpPr>
        <a:xfrm>
          <a:off x="0" y="0"/>
          <a:ext cx="0" cy="0"/>
          <a:chOff x="0" y="0"/>
          <a:chExt cx="0" cy="0"/>
        </a:xfrm>
      </p:grpSpPr>
      <p:sp>
        <p:nvSpPr>
          <p:cNvPr id="9" name="Date Placeholder 2">
            <a:extLst>
              <a:ext uri="{FF2B5EF4-FFF2-40B4-BE49-F238E27FC236}">
                <a16:creationId xmlns:a16="http://schemas.microsoft.com/office/drawing/2014/main" id="{AE1C8109-D6D0-3B4B-8634-10DC669C16A4}"/>
              </a:ext>
            </a:extLst>
          </p:cNvPr>
          <p:cNvSpPr>
            <a:spLocks noGrp="1"/>
          </p:cNvSpPr>
          <p:nvPr>
            <p:ph type="dt" sz="half" idx="10"/>
          </p:nvPr>
        </p:nvSpPr>
        <p:spPr>
          <a:xfrm>
            <a:off x="10269464" y="6492767"/>
            <a:ext cx="1011313" cy="208759"/>
          </a:xfrm>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February 5, 2026</a:t>
            </a:r>
            <a:endParaRPr lang="en-US" dirty="0"/>
          </a:p>
        </p:txBody>
      </p:sp>
      <p:sp>
        <p:nvSpPr>
          <p:cNvPr id="10" name="Slide Number Placeholder 4">
            <a:extLst>
              <a:ext uri="{FF2B5EF4-FFF2-40B4-BE49-F238E27FC236}">
                <a16:creationId xmlns:a16="http://schemas.microsoft.com/office/drawing/2014/main" id="{8ADDAE1C-D1BF-BA49-8554-EDBE7880FC9B}"/>
              </a:ext>
            </a:extLst>
          </p:cNvPr>
          <p:cNvSpPr>
            <a:spLocks noGrp="1"/>
          </p:cNvSpPr>
          <p:nvPr>
            <p:ph type="sldNum" sz="quarter" idx="12"/>
          </p:nvPr>
        </p:nvSpPr>
        <p:spPr>
          <a:xfrm>
            <a:off x="11280775" y="6492767"/>
            <a:ext cx="424392" cy="208759"/>
          </a:xfrm>
        </p:spPr>
        <p:txBody>
          <a:bodyPr/>
          <a:lstStyle>
            <a:lvl1pPr>
              <a:defRPr>
                <a:solidFill>
                  <a:schemeClr val="bg1"/>
                </a:solidFill>
              </a:defRPr>
            </a:lvl1pPr>
          </a:lstStyle>
          <a:p>
            <a:fld id="{63DCA5C9-2E11-4C67-86EB-AE1DE127DC64}" type="slidenum">
              <a:rPr lang="en-US" smtClean="0"/>
              <a:pPr/>
              <a:t>‹#›</a:t>
            </a:fld>
            <a:endParaRPr lang="en-US" dirty="0"/>
          </a:p>
        </p:txBody>
      </p:sp>
      <p:sp>
        <p:nvSpPr>
          <p:cNvPr id="11" name="Footer Placeholder 3">
            <a:extLst>
              <a:ext uri="{FF2B5EF4-FFF2-40B4-BE49-F238E27FC236}">
                <a16:creationId xmlns:a16="http://schemas.microsoft.com/office/drawing/2014/main" id="{9B0D9523-A133-6948-B6D7-2C0AC0277B5D}"/>
              </a:ext>
            </a:extLst>
          </p:cNvPr>
          <p:cNvSpPr>
            <a:spLocks noGrp="1"/>
          </p:cNvSpPr>
          <p:nvPr>
            <p:ph type="ftr" sz="quarter" idx="11"/>
          </p:nvPr>
        </p:nvSpPr>
        <p:spPr>
          <a:xfrm>
            <a:off x="491069" y="6496842"/>
            <a:ext cx="4815417" cy="208759"/>
          </a:xfrm>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131"/>
            <a:r>
              <a:rPr lang="en-US"/>
              <a:t>CAR T in BCL</a:t>
            </a:r>
            <a:endParaRPr lang="en-US" dirty="0"/>
          </a:p>
        </p:txBody>
      </p:sp>
      <p:sp>
        <p:nvSpPr>
          <p:cNvPr id="12" name="Picture Placeholder 6">
            <a:extLst>
              <a:ext uri="{FF2B5EF4-FFF2-40B4-BE49-F238E27FC236}">
                <a16:creationId xmlns:a16="http://schemas.microsoft.com/office/drawing/2014/main" id="{96B0FBA3-5EF6-E94C-A6E9-F55840E9298D}"/>
              </a:ext>
            </a:extLst>
          </p:cNvPr>
          <p:cNvSpPr>
            <a:spLocks noGrp="1"/>
          </p:cNvSpPr>
          <p:nvPr>
            <p:ph type="pic" sz="quarter" idx="19"/>
          </p:nvPr>
        </p:nvSpPr>
        <p:spPr>
          <a:xfrm>
            <a:off x="4235" y="0"/>
            <a:ext cx="12187767" cy="4572000"/>
          </a:xfrm>
          <a:solidFill>
            <a:srgbClr val="9E9E98"/>
          </a:solidFill>
        </p:spPr>
        <p:txBody>
          <a:bodyPr tIns="3383280"/>
          <a:lstStyle>
            <a:lvl1pPr algn="ctr">
              <a:defRPr/>
            </a:lvl1pPr>
          </a:lstStyle>
          <a:p>
            <a:r>
              <a:rPr lang="en-US"/>
              <a:t>Click icon to add picture</a:t>
            </a:r>
            <a:endParaRPr lang="en-US" dirty="0"/>
          </a:p>
        </p:txBody>
      </p:sp>
      <p:sp>
        <p:nvSpPr>
          <p:cNvPr id="7" name="Text Placeholder 6"/>
          <p:cNvSpPr>
            <a:spLocks noGrp="1"/>
          </p:cNvSpPr>
          <p:nvPr>
            <p:ph type="body" sz="quarter" idx="14" hasCustomPrompt="1"/>
          </p:nvPr>
        </p:nvSpPr>
        <p:spPr>
          <a:xfrm>
            <a:off x="491067" y="4572001"/>
            <a:ext cx="11214097" cy="1562100"/>
          </a:xfrm>
        </p:spPr>
        <p:txBody>
          <a:bodyPr tIns="256032"/>
          <a:lstStyle>
            <a:lvl1pPr>
              <a:lnSpc>
                <a:spcPct val="90000"/>
              </a:lnSpc>
              <a:spcAft>
                <a:spcPts val="0"/>
              </a:spcAft>
              <a:defRPr sz="1800" b="0" i="0">
                <a:solidFill>
                  <a:schemeClr val="bg1"/>
                </a:solidFill>
                <a:latin typeface="+mn-lt"/>
                <a:ea typeface="Georgia" charset="0"/>
                <a:cs typeface="Georgia" charset="0"/>
              </a:defRPr>
            </a:lvl1pPr>
            <a:lvl2pPr marL="0" indent="0">
              <a:lnSpc>
                <a:spcPct val="90000"/>
              </a:lnSpc>
              <a:spcAft>
                <a:spcPts val="0"/>
              </a:spcAft>
              <a:buFontTx/>
              <a:buNone/>
              <a:tabLst/>
              <a:defRPr sz="1800" b="0" i="0">
                <a:solidFill>
                  <a:schemeClr val="bg1"/>
                </a:solidFill>
                <a:latin typeface="+mn-lt"/>
                <a:ea typeface="Georgia" charset="0"/>
                <a:cs typeface="Georgia" charset="0"/>
              </a:defRPr>
            </a:lvl2pPr>
            <a:lvl3pPr marL="0" indent="0">
              <a:lnSpc>
                <a:spcPct val="90000"/>
              </a:lnSpc>
              <a:spcAft>
                <a:spcPts val="0"/>
              </a:spcAft>
              <a:buFontTx/>
              <a:buNone/>
              <a:tabLst/>
              <a:defRPr sz="1800" b="0" i="0">
                <a:solidFill>
                  <a:schemeClr val="bg1"/>
                </a:solidFill>
                <a:latin typeface="+mn-lt"/>
                <a:ea typeface="Georgia" charset="0"/>
                <a:cs typeface="Georgia" charset="0"/>
              </a:defRPr>
            </a:lvl3pPr>
            <a:lvl4pPr marL="0" indent="0">
              <a:lnSpc>
                <a:spcPct val="90000"/>
              </a:lnSpc>
              <a:spcAft>
                <a:spcPts val="0"/>
              </a:spcAft>
              <a:buFontTx/>
              <a:buNone/>
              <a:tabLst/>
              <a:defRPr sz="1800" b="0" i="0">
                <a:solidFill>
                  <a:schemeClr val="bg1"/>
                </a:solidFill>
                <a:latin typeface="+mn-lt"/>
                <a:ea typeface="Georgia" charset="0"/>
                <a:cs typeface="Georgia" charset="0"/>
              </a:defRPr>
            </a:lvl4pPr>
            <a:lvl5pPr marL="0" indent="0">
              <a:lnSpc>
                <a:spcPct val="90000"/>
              </a:lnSpc>
              <a:spcAft>
                <a:spcPts val="0"/>
              </a:spcAft>
              <a:buFontTx/>
              <a:buNone/>
              <a:tabLst/>
              <a:defRPr sz="1800" b="0" i="0">
                <a:solidFill>
                  <a:schemeClr val="bg1"/>
                </a:solidFill>
                <a:latin typeface="+mn-lt"/>
                <a:ea typeface="Georgia" charset="0"/>
                <a:cs typeface="Georgia" charset="0"/>
              </a:defRPr>
            </a:lvl5pPr>
            <a:lvl6pPr marL="0" indent="0">
              <a:lnSpc>
                <a:spcPct val="90000"/>
              </a:lnSpc>
              <a:spcAft>
                <a:spcPts val="0"/>
              </a:spcAft>
              <a:buFontTx/>
              <a:buNone/>
              <a:tabLst/>
              <a:defRPr sz="1800" b="0" i="0">
                <a:solidFill>
                  <a:schemeClr val="bg1"/>
                </a:solidFill>
                <a:latin typeface="+mn-lt"/>
                <a:ea typeface="Georgia" charset="0"/>
                <a:cs typeface="Georgia" charset="0"/>
              </a:defRPr>
            </a:lvl6pPr>
            <a:lvl7pPr marL="0" indent="0">
              <a:lnSpc>
                <a:spcPct val="90000"/>
              </a:lnSpc>
              <a:spcAft>
                <a:spcPts val="0"/>
              </a:spcAft>
              <a:buFontTx/>
              <a:buNone/>
              <a:tabLst/>
              <a:defRPr sz="1800" b="0" i="0">
                <a:solidFill>
                  <a:schemeClr val="bg1"/>
                </a:solidFill>
                <a:latin typeface="+mn-lt"/>
                <a:ea typeface="Georgia" charset="0"/>
                <a:cs typeface="Georgia" charset="0"/>
              </a:defRPr>
            </a:lvl7pPr>
            <a:lvl8pPr marL="0" indent="0">
              <a:lnSpc>
                <a:spcPct val="90000"/>
              </a:lnSpc>
              <a:spcAft>
                <a:spcPts val="0"/>
              </a:spcAft>
              <a:buFontTx/>
              <a:buNone/>
              <a:tabLst/>
              <a:defRPr sz="1800" b="0" i="0">
                <a:solidFill>
                  <a:schemeClr val="bg1"/>
                </a:solidFill>
                <a:latin typeface="+mn-lt"/>
                <a:ea typeface="Georgia" charset="0"/>
                <a:cs typeface="Georgia" charset="0"/>
              </a:defRPr>
            </a:lvl8pPr>
            <a:lvl9pPr marL="0" indent="0">
              <a:lnSpc>
                <a:spcPct val="90000"/>
              </a:lnSpc>
              <a:spcAft>
                <a:spcPts val="0"/>
              </a:spcAft>
              <a:buFontTx/>
              <a:buNone/>
              <a:tabLst/>
              <a:defRPr sz="1800" b="0" i="0">
                <a:solidFill>
                  <a:schemeClr val="bg1"/>
                </a:solidFill>
                <a:latin typeface="+mn-lt"/>
                <a:ea typeface="Georgia" charset="0"/>
                <a:cs typeface="Georgia"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94487801"/>
      </p:ext>
    </p:extLst>
  </p:cSld>
  <p:clrMapOvr>
    <a:masterClrMapping/>
  </p:clrMapOvr>
  <p:extLst>
    <p:ext uri="{DCECCB84-F9BA-43D5-87BE-67443E8EF086}">
      <p15:sldGuideLst xmlns:p15="http://schemas.microsoft.com/office/powerpoint/2012/main"/>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showMasterSp="0" preserve="1" userDrawn="1">
  <p:cSld name="imagery_1 pic white footer">
    <p:spTree>
      <p:nvGrpSpPr>
        <p:cNvPr id="1" name=""/>
        <p:cNvGrpSpPr/>
        <p:nvPr/>
      </p:nvGrpSpPr>
      <p:grpSpPr>
        <a:xfrm>
          <a:off x="0" y="0"/>
          <a:ext cx="0" cy="0"/>
          <a:chOff x="0" y="0"/>
          <a:chExt cx="0" cy="0"/>
        </a:xfrm>
      </p:grpSpPr>
      <p:sp>
        <p:nvSpPr>
          <p:cNvPr id="12" name="Date Placeholder 2">
            <a:extLst>
              <a:ext uri="{FF2B5EF4-FFF2-40B4-BE49-F238E27FC236}">
                <a16:creationId xmlns:a16="http://schemas.microsoft.com/office/drawing/2014/main" id="{C999FEF2-918D-CC4F-B634-8FF2D9B206BD}"/>
              </a:ext>
            </a:extLst>
          </p:cNvPr>
          <p:cNvSpPr>
            <a:spLocks noGrp="1"/>
          </p:cNvSpPr>
          <p:nvPr>
            <p:ph type="dt" sz="half" idx="10"/>
          </p:nvPr>
        </p:nvSpPr>
        <p:spPr>
          <a:xfrm>
            <a:off x="10269464" y="6492767"/>
            <a:ext cx="1011313" cy="208759"/>
          </a:xfrm>
        </p:spPr>
        <p:txBody>
          <a:bodyPr/>
          <a:lstStyle>
            <a:lvl1pPr>
              <a:defRPr>
                <a:solidFill>
                  <a:srgbClr val="9E9E98"/>
                </a:solidFill>
                <a:latin typeface="+mn-lt"/>
              </a:defRPr>
            </a:lvl1pPr>
            <a:lvl2pPr>
              <a:defRPr>
                <a:solidFill>
                  <a:srgbClr val="9E9E98"/>
                </a:solidFill>
              </a:defRPr>
            </a:lvl2pPr>
            <a:lvl3pPr>
              <a:defRPr>
                <a:solidFill>
                  <a:srgbClr val="9E9E98"/>
                </a:solidFill>
              </a:defRPr>
            </a:lvl3pPr>
            <a:lvl4pPr>
              <a:defRPr>
                <a:solidFill>
                  <a:srgbClr val="9E9E98"/>
                </a:solidFill>
              </a:defRPr>
            </a:lvl4pPr>
            <a:lvl5pPr>
              <a:defRPr>
                <a:solidFill>
                  <a:srgbClr val="9E9E98"/>
                </a:solidFill>
              </a:defRPr>
            </a:lvl5pPr>
            <a:lvl6pPr>
              <a:defRPr>
                <a:solidFill>
                  <a:srgbClr val="9E9E98"/>
                </a:solidFill>
              </a:defRPr>
            </a:lvl6pPr>
            <a:lvl7pPr>
              <a:defRPr>
                <a:solidFill>
                  <a:srgbClr val="9E9E98"/>
                </a:solidFill>
              </a:defRPr>
            </a:lvl7pPr>
            <a:lvl8pPr>
              <a:defRPr>
                <a:solidFill>
                  <a:srgbClr val="9E9E98"/>
                </a:solidFill>
              </a:defRPr>
            </a:lvl8pPr>
            <a:lvl9pPr>
              <a:defRPr>
                <a:solidFill>
                  <a:srgbClr val="9E9E98"/>
                </a:solidFill>
              </a:defRPr>
            </a:lvl9pPr>
          </a:lstStyle>
          <a:p>
            <a:r>
              <a:rPr lang="en-US"/>
              <a:t>February 5, 2026</a:t>
            </a:r>
            <a:endParaRPr lang="en-US" dirty="0"/>
          </a:p>
        </p:txBody>
      </p:sp>
      <p:sp>
        <p:nvSpPr>
          <p:cNvPr id="13" name="Slide Number Placeholder 4">
            <a:extLst>
              <a:ext uri="{FF2B5EF4-FFF2-40B4-BE49-F238E27FC236}">
                <a16:creationId xmlns:a16="http://schemas.microsoft.com/office/drawing/2014/main" id="{9F055EF9-A0E1-3047-BB7A-F9C94287E08A}"/>
              </a:ext>
            </a:extLst>
          </p:cNvPr>
          <p:cNvSpPr>
            <a:spLocks noGrp="1"/>
          </p:cNvSpPr>
          <p:nvPr>
            <p:ph type="sldNum" sz="quarter" idx="12"/>
          </p:nvPr>
        </p:nvSpPr>
        <p:spPr>
          <a:xfrm>
            <a:off x="11280775" y="6492767"/>
            <a:ext cx="424392" cy="208759"/>
          </a:xfrm>
        </p:spPr>
        <p:txBody>
          <a:bodyPr/>
          <a:lstStyle>
            <a:lvl1pPr>
              <a:defRPr>
                <a:solidFill>
                  <a:srgbClr val="9E9E98"/>
                </a:solidFill>
              </a:defRPr>
            </a:lvl1pPr>
            <a:lvl2pPr>
              <a:defRPr>
                <a:solidFill>
                  <a:srgbClr val="9E9E98"/>
                </a:solidFill>
              </a:defRPr>
            </a:lvl2pPr>
            <a:lvl3pPr>
              <a:defRPr>
                <a:solidFill>
                  <a:srgbClr val="9E9E98"/>
                </a:solidFill>
              </a:defRPr>
            </a:lvl3pPr>
            <a:lvl4pPr>
              <a:defRPr>
                <a:solidFill>
                  <a:srgbClr val="9E9E98"/>
                </a:solidFill>
              </a:defRPr>
            </a:lvl4pPr>
            <a:lvl5pPr>
              <a:defRPr>
                <a:solidFill>
                  <a:srgbClr val="9E9E98"/>
                </a:solidFill>
              </a:defRPr>
            </a:lvl5pPr>
            <a:lvl6pPr>
              <a:defRPr>
                <a:solidFill>
                  <a:srgbClr val="9E9E98"/>
                </a:solidFill>
              </a:defRPr>
            </a:lvl6pPr>
            <a:lvl7pPr>
              <a:defRPr>
                <a:solidFill>
                  <a:srgbClr val="9E9E98"/>
                </a:solidFill>
              </a:defRPr>
            </a:lvl7pPr>
            <a:lvl8pPr>
              <a:defRPr>
                <a:solidFill>
                  <a:srgbClr val="9E9E98"/>
                </a:solidFill>
              </a:defRPr>
            </a:lvl8pPr>
            <a:lvl9pPr>
              <a:defRPr>
                <a:solidFill>
                  <a:srgbClr val="9E9E98"/>
                </a:solidFill>
              </a:defRPr>
            </a:lvl9pPr>
          </a:lstStyle>
          <a:p>
            <a:fld id="{63DCA5C9-2E11-4C67-86EB-AE1DE127DC64}" type="slidenum">
              <a:rPr lang="en-US" smtClean="0"/>
              <a:pPr/>
              <a:t>‹#›</a:t>
            </a:fld>
            <a:endParaRPr lang="en-US" dirty="0"/>
          </a:p>
        </p:txBody>
      </p:sp>
      <p:sp>
        <p:nvSpPr>
          <p:cNvPr id="14" name="Footer Placeholder 3">
            <a:extLst>
              <a:ext uri="{FF2B5EF4-FFF2-40B4-BE49-F238E27FC236}">
                <a16:creationId xmlns:a16="http://schemas.microsoft.com/office/drawing/2014/main" id="{E2A70FE2-B689-3843-AD07-EC768418D5AE}"/>
              </a:ext>
            </a:extLst>
          </p:cNvPr>
          <p:cNvSpPr>
            <a:spLocks noGrp="1"/>
          </p:cNvSpPr>
          <p:nvPr>
            <p:ph type="ftr" sz="quarter" idx="11"/>
          </p:nvPr>
        </p:nvSpPr>
        <p:spPr>
          <a:xfrm>
            <a:off x="491069" y="6496842"/>
            <a:ext cx="4815417" cy="208759"/>
          </a:xfrm>
        </p:spPr>
        <p:txBody>
          <a:bodyPr/>
          <a:lstStyle>
            <a:lvl1pPr>
              <a:defRPr b="1">
                <a:solidFill>
                  <a:srgbClr val="9E9E98"/>
                </a:solidFill>
              </a:defRPr>
            </a:lvl1pPr>
            <a:lvl2pPr>
              <a:defRPr b="1">
                <a:solidFill>
                  <a:srgbClr val="9E9E98"/>
                </a:solidFill>
              </a:defRPr>
            </a:lvl2pPr>
            <a:lvl3pPr>
              <a:defRPr b="1">
                <a:solidFill>
                  <a:srgbClr val="9E9E98"/>
                </a:solidFill>
              </a:defRPr>
            </a:lvl3pPr>
            <a:lvl4pPr>
              <a:defRPr b="1">
                <a:solidFill>
                  <a:srgbClr val="9E9E98"/>
                </a:solidFill>
              </a:defRPr>
            </a:lvl4pPr>
            <a:lvl5pPr>
              <a:defRPr b="1">
                <a:solidFill>
                  <a:srgbClr val="9E9E98"/>
                </a:solidFill>
              </a:defRPr>
            </a:lvl5pPr>
            <a:lvl6pPr>
              <a:defRPr b="1">
                <a:solidFill>
                  <a:srgbClr val="9E9E98"/>
                </a:solidFill>
              </a:defRPr>
            </a:lvl6pPr>
            <a:lvl7pPr>
              <a:defRPr b="1">
                <a:solidFill>
                  <a:srgbClr val="9E9E98"/>
                </a:solidFill>
              </a:defRPr>
            </a:lvl7pPr>
            <a:lvl8pPr>
              <a:defRPr b="1">
                <a:solidFill>
                  <a:srgbClr val="9E9E98"/>
                </a:solidFill>
              </a:defRPr>
            </a:lvl8pPr>
            <a:lvl9pPr>
              <a:defRPr b="1">
                <a:solidFill>
                  <a:srgbClr val="9E9E98"/>
                </a:solidFill>
              </a:defRPr>
            </a:lvl9pPr>
          </a:lstStyle>
          <a:p>
            <a:pPr indent="-2743131"/>
            <a:r>
              <a:rPr lang="en-US"/>
              <a:t>CAR T in BCL</a:t>
            </a:r>
            <a:endParaRPr lang="en-US" dirty="0"/>
          </a:p>
        </p:txBody>
      </p:sp>
      <p:sp>
        <p:nvSpPr>
          <p:cNvPr id="15" name="Picture Placeholder 6">
            <a:extLst>
              <a:ext uri="{FF2B5EF4-FFF2-40B4-BE49-F238E27FC236}">
                <a16:creationId xmlns:a16="http://schemas.microsoft.com/office/drawing/2014/main" id="{153AD1DC-1420-844E-A6C2-7B5512EA8675}"/>
              </a:ext>
            </a:extLst>
          </p:cNvPr>
          <p:cNvSpPr>
            <a:spLocks noGrp="1"/>
          </p:cNvSpPr>
          <p:nvPr>
            <p:ph type="pic" sz="quarter" idx="19"/>
          </p:nvPr>
        </p:nvSpPr>
        <p:spPr>
          <a:xfrm>
            <a:off x="4235" y="0"/>
            <a:ext cx="12187767" cy="4572000"/>
          </a:xfrm>
          <a:solidFill>
            <a:srgbClr val="9E9E98"/>
          </a:solidFill>
        </p:spPr>
        <p:txBody>
          <a:bodyPr tIns="3383280"/>
          <a:lstStyle>
            <a:lvl1pPr algn="ctr">
              <a:defRPr/>
            </a:lvl1pPr>
          </a:lstStyle>
          <a:p>
            <a:r>
              <a:rPr lang="en-US"/>
              <a:t>Click icon to add picture</a:t>
            </a:r>
            <a:endParaRPr lang="en-US" dirty="0"/>
          </a:p>
        </p:txBody>
      </p:sp>
      <p:sp>
        <p:nvSpPr>
          <p:cNvPr id="16" name="Text Placeholder 6">
            <a:extLst>
              <a:ext uri="{FF2B5EF4-FFF2-40B4-BE49-F238E27FC236}">
                <a16:creationId xmlns:a16="http://schemas.microsoft.com/office/drawing/2014/main" id="{F2B5D7B1-FECA-6E4E-874A-E434691347D2}"/>
              </a:ext>
            </a:extLst>
          </p:cNvPr>
          <p:cNvSpPr>
            <a:spLocks noGrp="1"/>
          </p:cNvSpPr>
          <p:nvPr>
            <p:ph type="body" sz="quarter" idx="14" hasCustomPrompt="1"/>
          </p:nvPr>
        </p:nvSpPr>
        <p:spPr>
          <a:xfrm>
            <a:off x="491067" y="4572001"/>
            <a:ext cx="11214097" cy="1562100"/>
          </a:xfrm>
        </p:spPr>
        <p:txBody>
          <a:bodyPr tIns="256032"/>
          <a:lstStyle>
            <a:lvl1pPr>
              <a:lnSpc>
                <a:spcPct val="90000"/>
              </a:lnSpc>
              <a:spcAft>
                <a:spcPts val="0"/>
              </a:spcAft>
              <a:defRPr sz="1800" b="0" i="0">
                <a:solidFill>
                  <a:srgbClr val="007CBA"/>
                </a:solidFill>
                <a:latin typeface="+mn-lt"/>
                <a:ea typeface="Georgia" charset="0"/>
                <a:cs typeface="Georgia" charset="0"/>
              </a:defRPr>
            </a:lvl1pPr>
            <a:lvl2pPr marL="0" indent="0">
              <a:lnSpc>
                <a:spcPct val="90000"/>
              </a:lnSpc>
              <a:spcAft>
                <a:spcPts val="0"/>
              </a:spcAft>
              <a:buFontTx/>
              <a:buNone/>
              <a:tabLst/>
              <a:defRPr sz="1800" b="0" i="0">
                <a:solidFill>
                  <a:srgbClr val="007CBA"/>
                </a:solidFill>
                <a:latin typeface="+mn-lt"/>
                <a:ea typeface="Georgia" charset="0"/>
                <a:cs typeface="Georgia" charset="0"/>
              </a:defRPr>
            </a:lvl2pPr>
            <a:lvl3pPr marL="0" indent="0">
              <a:lnSpc>
                <a:spcPct val="90000"/>
              </a:lnSpc>
              <a:spcAft>
                <a:spcPts val="0"/>
              </a:spcAft>
              <a:buFontTx/>
              <a:buNone/>
              <a:tabLst/>
              <a:defRPr sz="1800" b="0" i="0">
                <a:solidFill>
                  <a:srgbClr val="007CBA"/>
                </a:solidFill>
                <a:latin typeface="+mn-lt"/>
                <a:ea typeface="Georgia" charset="0"/>
                <a:cs typeface="Georgia" charset="0"/>
              </a:defRPr>
            </a:lvl3pPr>
            <a:lvl4pPr marL="0" indent="0">
              <a:lnSpc>
                <a:spcPct val="90000"/>
              </a:lnSpc>
              <a:spcAft>
                <a:spcPts val="0"/>
              </a:spcAft>
              <a:buFontTx/>
              <a:buNone/>
              <a:tabLst/>
              <a:defRPr sz="1800" b="0" i="0">
                <a:solidFill>
                  <a:srgbClr val="007CBA"/>
                </a:solidFill>
                <a:latin typeface="+mn-lt"/>
                <a:ea typeface="Georgia" charset="0"/>
                <a:cs typeface="Georgia" charset="0"/>
              </a:defRPr>
            </a:lvl4pPr>
            <a:lvl5pPr marL="0" indent="0">
              <a:lnSpc>
                <a:spcPct val="90000"/>
              </a:lnSpc>
              <a:spcAft>
                <a:spcPts val="0"/>
              </a:spcAft>
              <a:buFontTx/>
              <a:buNone/>
              <a:tabLst/>
              <a:defRPr sz="1800" b="0" i="0">
                <a:solidFill>
                  <a:srgbClr val="007CBA"/>
                </a:solidFill>
                <a:latin typeface="+mn-lt"/>
                <a:ea typeface="Georgia" charset="0"/>
                <a:cs typeface="Georgia" charset="0"/>
              </a:defRPr>
            </a:lvl5pPr>
            <a:lvl6pPr marL="0" indent="0">
              <a:lnSpc>
                <a:spcPct val="90000"/>
              </a:lnSpc>
              <a:spcAft>
                <a:spcPts val="0"/>
              </a:spcAft>
              <a:buFontTx/>
              <a:buNone/>
              <a:tabLst/>
              <a:defRPr sz="1800" b="0" i="0">
                <a:solidFill>
                  <a:srgbClr val="007CBA"/>
                </a:solidFill>
                <a:latin typeface="+mn-lt"/>
                <a:ea typeface="Georgia" charset="0"/>
                <a:cs typeface="Georgia" charset="0"/>
              </a:defRPr>
            </a:lvl6pPr>
            <a:lvl7pPr marL="0" indent="0">
              <a:lnSpc>
                <a:spcPct val="90000"/>
              </a:lnSpc>
              <a:spcAft>
                <a:spcPts val="0"/>
              </a:spcAft>
              <a:buFontTx/>
              <a:buNone/>
              <a:tabLst/>
              <a:defRPr sz="1800" b="0" i="0">
                <a:solidFill>
                  <a:srgbClr val="007CBA"/>
                </a:solidFill>
                <a:latin typeface="+mn-lt"/>
                <a:ea typeface="Georgia" charset="0"/>
                <a:cs typeface="Georgia" charset="0"/>
              </a:defRPr>
            </a:lvl7pPr>
            <a:lvl8pPr marL="0" indent="0">
              <a:lnSpc>
                <a:spcPct val="90000"/>
              </a:lnSpc>
              <a:spcAft>
                <a:spcPts val="0"/>
              </a:spcAft>
              <a:buFontTx/>
              <a:buNone/>
              <a:tabLst/>
              <a:defRPr sz="1800" b="0" i="0">
                <a:solidFill>
                  <a:srgbClr val="007CBA"/>
                </a:solidFill>
                <a:latin typeface="+mn-lt"/>
                <a:ea typeface="Georgia" charset="0"/>
                <a:cs typeface="Georgia" charset="0"/>
              </a:defRPr>
            </a:lvl8pPr>
            <a:lvl9pPr marL="0" indent="0">
              <a:lnSpc>
                <a:spcPct val="90000"/>
              </a:lnSpc>
              <a:spcAft>
                <a:spcPts val="0"/>
              </a:spcAft>
              <a:buFontTx/>
              <a:buNone/>
              <a:tabLst/>
              <a:defRPr sz="1800" b="0" i="0">
                <a:solidFill>
                  <a:srgbClr val="007CBA"/>
                </a:solidFill>
                <a:latin typeface="+mn-lt"/>
                <a:ea typeface="Georgia" charset="0"/>
                <a:cs typeface="Georgia"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95849579"/>
      </p:ext>
    </p:extLst>
  </p:cSld>
  <p:clrMapOvr>
    <a:masterClrMapping/>
  </p:clrMapOvr>
  <p:extLst>
    <p:ext uri="{DCECCB84-F9BA-43D5-87BE-67443E8EF086}">
      <p15:sldGuideLst xmlns:p15="http://schemas.microsoft.com/office/powerpoint/2012/main"/>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C570D-3BAE-433E-8DDA-6594E6C21ABD}"/>
              </a:ext>
            </a:extLst>
          </p:cNvPr>
          <p:cNvSpPr>
            <a:spLocks noGrp="1"/>
          </p:cNvSpPr>
          <p:nvPr>
            <p:ph type="title"/>
          </p:nvPr>
        </p:nvSpPr>
        <p:spPr>
          <a:xfrm>
            <a:off x="1333501" y="1600201"/>
            <a:ext cx="6532563" cy="4533900"/>
          </a:xfrm>
        </p:spPr>
        <p:txBody>
          <a:bodyPr tIns="0" bIns="0" anchor="ctr" anchorCtr="0"/>
          <a:lstStyle>
            <a:lvl1pPr algn="l">
              <a:defRPr sz="4800" b="0">
                <a:solidFill>
                  <a:schemeClr val="bg1"/>
                </a:solidFill>
                <a:latin typeface="+mn-lt"/>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345F258-1DE2-6546-B560-8C93620CADFB}"/>
              </a:ext>
            </a:extLst>
          </p:cNvPr>
          <p:cNvSpPr>
            <a:spLocks noGrp="1"/>
          </p:cNvSpPr>
          <p:nvPr>
            <p:ph type="body" sz="quarter" idx="10"/>
          </p:nvPr>
        </p:nvSpPr>
        <p:spPr>
          <a:xfrm>
            <a:off x="8170336" y="1600200"/>
            <a:ext cx="3534833" cy="4762501"/>
          </a:xfrm>
        </p:spPr>
        <p:txBody>
          <a:bodyPr bIns="91440" anchor="b" anchorCtr="0"/>
          <a:lstStyle>
            <a:lvl1pPr>
              <a:lnSpc>
                <a:spcPts val="1000"/>
              </a:lnSpc>
              <a:defRPr sz="1200" b="1">
                <a:solidFill>
                  <a:schemeClr val="bg1"/>
                </a:solidFill>
              </a:defRPr>
            </a:lvl1pPr>
            <a:lvl2pPr marL="0" indent="0">
              <a:lnSpc>
                <a:spcPts val="1000"/>
              </a:lnSpc>
              <a:spcAft>
                <a:spcPts val="600"/>
              </a:spcAft>
              <a:buFontTx/>
              <a:buNone/>
              <a:tabLst/>
              <a:defRPr sz="1200">
                <a:solidFill>
                  <a:schemeClr val="bg1"/>
                </a:solidFill>
              </a:defRPr>
            </a:lvl2pPr>
            <a:lvl3pPr marL="0" indent="0">
              <a:lnSpc>
                <a:spcPts val="1000"/>
              </a:lnSpc>
              <a:buFontTx/>
              <a:buNone/>
              <a:tabLst/>
              <a:defRPr sz="1200">
                <a:solidFill>
                  <a:schemeClr val="bg1"/>
                </a:solidFill>
              </a:defRPr>
            </a:lvl3pPr>
            <a:lvl4pPr marL="0" indent="0">
              <a:lnSpc>
                <a:spcPts val="1000"/>
              </a:lnSpc>
              <a:buFontTx/>
              <a:buNone/>
              <a:tabLst/>
              <a:defRPr sz="1200">
                <a:solidFill>
                  <a:schemeClr val="bg1"/>
                </a:solidFill>
              </a:defRPr>
            </a:lvl4pPr>
            <a:lvl5pPr marL="0" indent="0">
              <a:lnSpc>
                <a:spcPts val="1000"/>
              </a:lnSpc>
              <a:buFontTx/>
              <a:buNone/>
              <a:tabLst/>
              <a:defRPr sz="1200">
                <a:solidFill>
                  <a:schemeClr val="bg1"/>
                </a:solidFill>
              </a:defRPr>
            </a:lvl5pPr>
            <a:lvl6pPr marL="0" indent="0">
              <a:lnSpc>
                <a:spcPts val="1000"/>
              </a:lnSpc>
              <a:buFontTx/>
              <a:buNone/>
              <a:tabLst/>
              <a:defRPr sz="1200">
                <a:solidFill>
                  <a:schemeClr val="bg1"/>
                </a:solidFill>
              </a:defRPr>
            </a:lvl6pPr>
            <a:lvl7pPr marL="0" indent="0">
              <a:lnSpc>
                <a:spcPts val="1000"/>
              </a:lnSpc>
              <a:buFontTx/>
              <a:buNone/>
              <a:tabLst/>
              <a:defRPr sz="1200">
                <a:solidFill>
                  <a:schemeClr val="bg1"/>
                </a:solidFill>
              </a:defRPr>
            </a:lvl7pPr>
            <a:lvl8pPr marL="0" indent="0">
              <a:lnSpc>
                <a:spcPts val="1000"/>
              </a:lnSpc>
              <a:buFontTx/>
              <a:buNone/>
              <a:tabLst/>
              <a:defRPr sz="1200">
                <a:solidFill>
                  <a:schemeClr val="bg1"/>
                </a:solidFill>
              </a:defRPr>
            </a:lvl8pPr>
            <a:lvl9pPr marL="0" indent="0">
              <a:lnSpc>
                <a:spcPts val="1000"/>
              </a:lnSpc>
              <a:buFontTx/>
              <a:buNone/>
              <a:tabLst/>
              <a:defRPr sz="120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33576654"/>
      </p:ext>
    </p:extLst>
  </p:cSld>
  <p:clrMapOvr>
    <a:masterClrMapping/>
  </p:clrMapOvr>
  <p:extLst>
    <p:ext uri="{DCECCB84-F9BA-43D5-87BE-67443E8EF086}">
      <p15:sldGuideLst xmlns:p15="http://schemas.microsoft.com/office/powerpoint/2012/main">
        <p15:guide id="1" orient="horz" pos="4098">
          <p15:clr>
            <a:srgbClr val="FBAE4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showMasterSp="0" preserve="1" userDrawn="1">
  <p:cSld name="closing slide_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C570D-3BAE-433E-8DDA-6594E6C21ABD}"/>
              </a:ext>
            </a:extLst>
          </p:cNvPr>
          <p:cNvSpPr>
            <a:spLocks noGrp="1"/>
          </p:cNvSpPr>
          <p:nvPr>
            <p:ph type="title"/>
          </p:nvPr>
        </p:nvSpPr>
        <p:spPr>
          <a:xfrm>
            <a:off x="1346731" y="1600201"/>
            <a:ext cx="6519333" cy="4533900"/>
          </a:xfrm>
        </p:spPr>
        <p:txBody>
          <a:bodyPr tIns="0" bIns="0" anchor="ctr" anchorCtr="0"/>
          <a:lstStyle>
            <a:lvl1pPr algn="l">
              <a:defRPr sz="4800" b="0">
                <a:solidFill>
                  <a:srgbClr val="007CBA"/>
                </a:solidFill>
                <a:latin typeface="+mn-lt"/>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345F258-1DE2-6546-B560-8C93620CADFB}"/>
              </a:ext>
            </a:extLst>
          </p:cNvPr>
          <p:cNvSpPr>
            <a:spLocks noGrp="1"/>
          </p:cNvSpPr>
          <p:nvPr>
            <p:ph type="body" sz="quarter" idx="10"/>
          </p:nvPr>
        </p:nvSpPr>
        <p:spPr>
          <a:xfrm>
            <a:off x="8170336" y="1600200"/>
            <a:ext cx="3534833" cy="4762501"/>
          </a:xfrm>
        </p:spPr>
        <p:txBody>
          <a:bodyPr bIns="91440" anchor="b" anchorCtr="0"/>
          <a:lstStyle>
            <a:lvl1pPr>
              <a:lnSpc>
                <a:spcPts val="1000"/>
              </a:lnSpc>
              <a:defRPr sz="1200" b="1">
                <a:solidFill>
                  <a:srgbClr val="9E9E98"/>
                </a:solidFill>
              </a:defRPr>
            </a:lvl1pPr>
            <a:lvl2pPr marL="0" indent="0">
              <a:lnSpc>
                <a:spcPts val="1000"/>
              </a:lnSpc>
              <a:spcAft>
                <a:spcPts val="600"/>
              </a:spcAft>
              <a:buFontTx/>
              <a:buNone/>
              <a:tabLst/>
              <a:defRPr sz="1200">
                <a:solidFill>
                  <a:srgbClr val="9E9E98"/>
                </a:solidFill>
              </a:defRPr>
            </a:lvl2pPr>
            <a:lvl3pPr marL="0" indent="0">
              <a:lnSpc>
                <a:spcPts val="1000"/>
              </a:lnSpc>
              <a:buFontTx/>
              <a:buNone/>
              <a:tabLst/>
              <a:defRPr sz="1200">
                <a:solidFill>
                  <a:srgbClr val="9E9E98"/>
                </a:solidFill>
              </a:defRPr>
            </a:lvl3pPr>
            <a:lvl4pPr marL="0" indent="0">
              <a:lnSpc>
                <a:spcPts val="1000"/>
              </a:lnSpc>
              <a:buFontTx/>
              <a:buNone/>
              <a:tabLst/>
              <a:defRPr sz="1200">
                <a:solidFill>
                  <a:srgbClr val="9E9E98"/>
                </a:solidFill>
              </a:defRPr>
            </a:lvl4pPr>
            <a:lvl5pPr marL="0" indent="0">
              <a:lnSpc>
                <a:spcPts val="1000"/>
              </a:lnSpc>
              <a:buFontTx/>
              <a:buNone/>
              <a:tabLst/>
              <a:defRPr sz="1200">
                <a:solidFill>
                  <a:srgbClr val="9E9E98"/>
                </a:solidFill>
              </a:defRPr>
            </a:lvl5pPr>
            <a:lvl6pPr marL="0" indent="0">
              <a:lnSpc>
                <a:spcPts val="1000"/>
              </a:lnSpc>
              <a:buFontTx/>
              <a:buNone/>
              <a:tabLst/>
              <a:defRPr sz="1200">
                <a:solidFill>
                  <a:srgbClr val="9E9E98"/>
                </a:solidFill>
              </a:defRPr>
            </a:lvl6pPr>
            <a:lvl7pPr marL="0" indent="0">
              <a:lnSpc>
                <a:spcPts val="1000"/>
              </a:lnSpc>
              <a:buFontTx/>
              <a:buNone/>
              <a:tabLst/>
              <a:defRPr sz="1200">
                <a:solidFill>
                  <a:srgbClr val="9E9E98"/>
                </a:solidFill>
              </a:defRPr>
            </a:lvl7pPr>
            <a:lvl8pPr marL="0" indent="0">
              <a:lnSpc>
                <a:spcPts val="1000"/>
              </a:lnSpc>
              <a:buFontTx/>
              <a:buNone/>
              <a:tabLst/>
              <a:defRPr sz="1200">
                <a:solidFill>
                  <a:srgbClr val="9E9E98"/>
                </a:solidFill>
              </a:defRPr>
            </a:lvl8pPr>
            <a:lvl9pPr marL="0" indent="0">
              <a:lnSpc>
                <a:spcPts val="1000"/>
              </a:lnSpc>
              <a:buFontTx/>
              <a:buNone/>
              <a:tabLst/>
              <a:defRPr sz="1200">
                <a:solidFill>
                  <a:srgbClr val="9E9E98"/>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0188798"/>
      </p:ext>
    </p:extLst>
  </p:cSld>
  <p:clrMapOvr>
    <a:masterClrMapping/>
  </p:clrMapOvr>
  <p:extLst>
    <p:ext uri="{DCECCB84-F9BA-43D5-87BE-67443E8EF086}">
      <p15:sldGuideLst xmlns:p15="http://schemas.microsoft.com/office/powerpoint/2012/main">
        <p15:guide id="1" orient="horz" pos="4098">
          <p15:clr>
            <a:srgbClr val="FBAE4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7" name="Rectangle 6"/>
          <p:cNvSpPr/>
          <p:nvPr userDrawn="1"/>
        </p:nvSpPr>
        <p:spPr>
          <a:xfrm>
            <a:off x="0" y="1"/>
            <a:ext cx="12192000" cy="6858000"/>
          </a:xfrm>
          <a:prstGeom prst="rect">
            <a:avLst/>
          </a:prstGeom>
          <a:solidFill>
            <a:srgbClr val="2986E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n>
                <a:noFill/>
              </a:ln>
            </a:endParaRPr>
          </a:p>
        </p:txBody>
      </p:sp>
      <p:pic>
        <p:nvPicPr>
          <p:cNvPr id="9" name="Picture 8" descr="MSKCC_logo_hor_s_rev_rgb_150.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7700" y="402167"/>
            <a:ext cx="2877749" cy="664760"/>
          </a:xfrm>
          <a:prstGeom prst="rect">
            <a:avLst/>
          </a:prstGeom>
        </p:spPr>
      </p:pic>
      <p:sp>
        <p:nvSpPr>
          <p:cNvPr id="2" name="Title 1"/>
          <p:cNvSpPr>
            <a:spLocks noGrp="1"/>
          </p:cNvSpPr>
          <p:nvPr>
            <p:ph type="ctrTitle"/>
          </p:nvPr>
        </p:nvSpPr>
        <p:spPr>
          <a:xfrm>
            <a:off x="969048" y="2084802"/>
            <a:ext cx="10363200" cy="1470025"/>
          </a:xfrm>
        </p:spPr>
        <p:txBody>
          <a:bodyPr>
            <a:noAutofit/>
          </a:bodyPr>
          <a:lstStyle>
            <a:lvl1pPr>
              <a:defRPr sz="4800">
                <a:solidFill>
                  <a:srgbClr val="FFFFFF"/>
                </a:solidFill>
              </a:defRPr>
            </a:lvl1pPr>
          </a:lstStyle>
          <a:p>
            <a:r>
              <a:rPr lang="en-US" dirty="0"/>
              <a:t>Click to edit Master title style</a:t>
            </a:r>
          </a:p>
        </p:txBody>
      </p:sp>
      <p:sp>
        <p:nvSpPr>
          <p:cNvPr id="11" name="Slide Number Placeholder 10"/>
          <p:cNvSpPr>
            <a:spLocks noGrp="1"/>
          </p:cNvSpPr>
          <p:nvPr>
            <p:ph type="sldNum" sz="quarter" idx="11"/>
          </p:nvPr>
        </p:nvSpPr>
        <p:spPr/>
        <p:txBody>
          <a:bodyPr/>
          <a:lstStyle>
            <a:lvl1pPr algn="ctr">
              <a:defRPr>
                <a:solidFill>
                  <a:srgbClr val="FFFFFF"/>
                </a:solidFill>
              </a:defRPr>
            </a:lvl1pPr>
          </a:lstStyle>
          <a:p>
            <a:fld id="{D9DADDD7-F6DB-DE43-84D3-BDE65D6DBA61}" type="slidenum">
              <a:rPr lang="en-US" smtClean="0"/>
              <a:pPr/>
              <a:t>‹#›</a:t>
            </a:fld>
            <a:endParaRPr lang="en-US"/>
          </a:p>
        </p:txBody>
      </p:sp>
      <p:pic>
        <p:nvPicPr>
          <p:cNvPr id="8" name="Picture 7"/>
          <p:cNvPicPr>
            <a:picLocks noChangeAspect="1"/>
          </p:cNvPicPr>
          <p:nvPr userDrawn="1"/>
        </p:nvPicPr>
        <p:blipFill rotWithShape="1">
          <a:blip r:embed="rId3">
            <a:extLst>
              <a:ext uri="{28A0092B-C50C-407E-A947-70E740481C1C}">
                <a14:useLocalDpi xmlns:a14="http://schemas.microsoft.com/office/drawing/2010/main" val="0"/>
              </a:ext>
            </a:extLst>
          </a:blip>
          <a:srcRect r="28825" b="23828"/>
          <a:stretch/>
        </p:blipFill>
        <p:spPr>
          <a:xfrm>
            <a:off x="5878833" y="1630037"/>
            <a:ext cx="6321779" cy="5227964"/>
          </a:xfrm>
          <a:prstGeom prst="rect">
            <a:avLst/>
          </a:prstGeom>
        </p:spPr>
      </p:pic>
    </p:spTree>
    <p:extLst>
      <p:ext uri="{BB962C8B-B14F-4D97-AF65-F5344CB8AC3E}">
        <p14:creationId xmlns:p14="http://schemas.microsoft.com/office/powerpoint/2010/main" val="3145618360"/>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722"/>
            <a:ext cx="10363200" cy="1470025"/>
          </a:xfrm>
        </p:spPr>
        <p:txBody>
          <a:bodyPr/>
          <a:lstStyle>
            <a:lvl1pPr algn="ctr">
              <a:defRPr sz="4267"/>
            </a:lvl1p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nchor="ctr"/>
          <a:lstStyle>
            <a:lvl1pPr marL="0" indent="0" algn="ctr">
              <a:buNone/>
              <a:defRPr sz="3200"/>
            </a:lvl1pPr>
            <a:lvl2pPr marL="607547" indent="0" algn="ctr">
              <a:buNone/>
              <a:defRPr/>
            </a:lvl2pPr>
            <a:lvl3pPr marL="1215168" indent="0" algn="ctr">
              <a:buNone/>
              <a:defRPr/>
            </a:lvl3pPr>
            <a:lvl4pPr marL="1822733" indent="0" algn="ctr">
              <a:buNone/>
              <a:defRPr/>
            </a:lvl4pPr>
            <a:lvl5pPr marL="2430326" indent="0" algn="ctr">
              <a:buNone/>
              <a:defRPr/>
            </a:lvl5pPr>
            <a:lvl6pPr marL="3037875" indent="0" algn="ctr">
              <a:buNone/>
              <a:defRPr/>
            </a:lvl6pPr>
            <a:lvl7pPr marL="3645436" indent="0" algn="ctr">
              <a:buNone/>
              <a:defRPr/>
            </a:lvl7pPr>
            <a:lvl8pPr marL="4253034" indent="0" algn="ctr">
              <a:buNone/>
              <a:defRPr/>
            </a:lvl8pPr>
            <a:lvl9pPr marL="4860601" indent="0" algn="ctr">
              <a:buNone/>
              <a:defRPr/>
            </a:lvl9pPr>
          </a:lstStyle>
          <a:p>
            <a:r>
              <a:rPr lang="en-US"/>
              <a:t>Click to edit Master subtitle style</a:t>
            </a:r>
          </a:p>
        </p:txBody>
      </p:sp>
    </p:spTree>
    <p:extLst>
      <p:ext uri="{BB962C8B-B14F-4D97-AF65-F5344CB8AC3E}">
        <p14:creationId xmlns:p14="http://schemas.microsoft.com/office/powerpoint/2010/main" val="467609440"/>
      </p:ext>
    </p:extLst>
  </p:cSld>
  <p:clrMapOvr>
    <a:masterClrMapping/>
  </p:clrMapOvr>
  <p:transition advClick="0"/>
</p:sldLayout>
</file>

<file path=ppt/slideLayouts/slideLayout44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17527046"/>
      </p:ext>
    </p:extLst>
  </p:cSld>
  <p:clrMapOvr>
    <a:masterClrMapping/>
  </p:clrMapOvr>
  <p:transition advClick="0"/>
</p:sldLayout>
</file>

<file path=ppt/slideLayouts/slideLayout44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33"/>
            <a:ext cx="10363200" cy="1362075"/>
          </a:xfrm>
        </p:spPr>
        <p:txBody>
          <a:bodyPr anchor="t"/>
          <a:lstStyle>
            <a:lvl1pPr algn="l">
              <a:defRPr sz="4267" b="1" cap="none"/>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667"/>
            </a:lvl1pPr>
            <a:lvl2pPr marL="607547" indent="0">
              <a:buNone/>
              <a:defRPr sz="2400"/>
            </a:lvl2pPr>
            <a:lvl3pPr marL="1215168" indent="0">
              <a:buNone/>
              <a:defRPr sz="2133"/>
            </a:lvl3pPr>
            <a:lvl4pPr marL="1822733" indent="0">
              <a:buNone/>
              <a:defRPr sz="1867"/>
            </a:lvl4pPr>
            <a:lvl5pPr marL="2430326" indent="0">
              <a:buNone/>
              <a:defRPr sz="1867"/>
            </a:lvl5pPr>
            <a:lvl6pPr marL="3037875" indent="0">
              <a:buNone/>
              <a:defRPr sz="1867"/>
            </a:lvl6pPr>
            <a:lvl7pPr marL="3645436" indent="0">
              <a:buNone/>
              <a:defRPr sz="1867"/>
            </a:lvl7pPr>
            <a:lvl8pPr marL="4253034" indent="0">
              <a:buNone/>
              <a:defRPr sz="1867"/>
            </a:lvl8pPr>
            <a:lvl9pPr marL="4860601" indent="0">
              <a:buNone/>
              <a:defRPr sz="1867"/>
            </a:lvl9pPr>
          </a:lstStyle>
          <a:p>
            <a:pPr lvl="0"/>
            <a:r>
              <a:rPr lang="en-US"/>
              <a:t>Click to edit Master text styles</a:t>
            </a:r>
          </a:p>
        </p:txBody>
      </p:sp>
    </p:spTree>
    <p:extLst>
      <p:ext uri="{BB962C8B-B14F-4D97-AF65-F5344CB8AC3E}">
        <p14:creationId xmlns:p14="http://schemas.microsoft.com/office/powerpoint/2010/main" val="1356527583"/>
      </p:ext>
    </p:extLst>
  </p:cSld>
  <p:clrMapOvr>
    <a:masterClrMapping/>
  </p:clrMapOvr>
  <p:transition advClick="0"/>
</p:sldLayout>
</file>

<file path=ppt/slideLayouts/slideLayout44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007594" y="1676400"/>
            <a:ext cx="5033433" cy="4419600"/>
          </a:xfrm>
        </p:spPr>
        <p:txBody>
          <a:bodyPr/>
          <a:lstStyle>
            <a:lvl1pPr>
              <a:defRPr sz="2667"/>
            </a:lvl1pPr>
            <a:lvl2pPr>
              <a:defRPr sz="2400"/>
            </a:lvl2pPr>
            <a:lvl3pPr>
              <a:defRPr sz="2133"/>
            </a:lvl3pPr>
            <a:lvl4pPr>
              <a:defRPr sz="1867"/>
            </a:lvl4pPr>
            <a:lvl5pPr>
              <a:defRPr sz="240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6244326" y="1676400"/>
            <a:ext cx="5033433" cy="4419600"/>
          </a:xfrm>
        </p:spPr>
        <p:txBody>
          <a:bodyPr/>
          <a:lstStyle>
            <a:lvl1pPr>
              <a:defRPr sz="2667"/>
            </a:lvl1pPr>
            <a:lvl2pPr>
              <a:defRPr sz="2400"/>
            </a:lvl2pPr>
            <a:lvl3pPr>
              <a:defRPr sz="2133"/>
            </a:lvl3pPr>
            <a:lvl4pPr>
              <a:defRPr sz="1867"/>
            </a:lvl4pPr>
            <a:lvl5pPr>
              <a:defRPr sz="240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037193793"/>
      </p:ext>
    </p:extLst>
  </p:cSld>
  <p:clrMapOvr>
    <a:masterClrMapping/>
  </p:clrMapOvr>
  <p:transition advClick="0"/>
</p:sldLayout>
</file>

<file path=ppt/slideLayouts/slideLayout449.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37995560"/>
      </p:ext>
    </p:extLst>
  </p:cSld>
  <p:clrMapOvr>
    <a:masterClrMapping/>
  </p:clrMapOvr>
  <p:transition advClick="0"/>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000"/>
            </a:lvl1pPr>
          </a:lstStyle>
          <a:p>
            <a:r>
              <a:rPr lang="en-US" dirty="0"/>
              <a:t>Click to edit Master title style</a:t>
            </a:r>
          </a:p>
        </p:txBody>
      </p:sp>
      <p:sp>
        <p:nvSpPr>
          <p:cNvPr id="3" name="Date Placeholder 2"/>
          <p:cNvSpPr>
            <a:spLocks noGrp="1"/>
          </p:cNvSpPr>
          <p:nvPr>
            <p:ph type="dt" sz="half" idx="10"/>
          </p:nvPr>
        </p:nvSpPr>
        <p:spPr/>
        <p:txBody>
          <a:bodyPr/>
          <a:lstStyle/>
          <a:p>
            <a:fld id="{5916FF65-E16B-BA4F-9591-6B4416106527}" type="datetimeFigureOut">
              <a:rPr lang="en-US" smtClean="0"/>
              <a:t>4/24/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9817199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9087264"/>
      </p:ext>
    </p:extLst>
  </p:cSld>
  <p:clrMapOvr>
    <a:masterClrMapping/>
  </p:clrMapOvr>
  <p:transition advClick="0"/>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800199" y="355600"/>
            <a:ext cx="9867900" cy="787400"/>
          </a:xfrm>
        </p:spPr>
        <p:txBody>
          <a:bodyPr/>
          <a:lstStyle/>
          <a:p>
            <a:r>
              <a:rPr lang="en-US"/>
              <a:t>Click to edit Master title style</a:t>
            </a:r>
          </a:p>
        </p:txBody>
      </p:sp>
      <p:sp>
        <p:nvSpPr>
          <p:cNvPr id="3" name="Table Placeholder 2"/>
          <p:cNvSpPr>
            <a:spLocks noGrp="1"/>
          </p:cNvSpPr>
          <p:nvPr>
            <p:ph type="tbl" idx="1"/>
          </p:nvPr>
        </p:nvSpPr>
        <p:spPr>
          <a:xfrm>
            <a:off x="851014" y="1647825"/>
            <a:ext cx="9870017" cy="4419600"/>
          </a:xfrm>
        </p:spPr>
        <p:txBody>
          <a:bodyPr/>
          <a:lstStyle/>
          <a:p>
            <a:pPr lvl="0"/>
            <a:endParaRPr lang="en-US" noProof="0" dirty="0"/>
          </a:p>
        </p:txBody>
      </p:sp>
    </p:spTree>
    <p:extLst>
      <p:ext uri="{BB962C8B-B14F-4D97-AF65-F5344CB8AC3E}">
        <p14:creationId xmlns:p14="http://schemas.microsoft.com/office/powerpoint/2010/main" val="104167747"/>
      </p:ext>
    </p:extLst>
  </p:cSld>
  <p:clrMapOvr>
    <a:masterClrMapping/>
  </p:clrMapOvr>
  <p:transition advClick="0"/>
</p:sldLayout>
</file>

<file path=ppt/slideLayouts/slideLayout452.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5" name="Content Placeholder 1"/>
          <p:cNvSpPr>
            <a:spLocks noGrp="1"/>
          </p:cNvSpPr>
          <p:nvPr>
            <p:ph idx="12"/>
          </p:nvPr>
        </p:nvSpPr>
        <p:spPr>
          <a:xfrm>
            <a:off x="914455" y="1295452"/>
            <a:ext cx="10566401" cy="48831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p:cNvSpPr>
            <a:spLocks noGrp="1"/>
          </p:cNvSpPr>
          <p:nvPr>
            <p:ph type="title"/>
          </p:nvPr>
        </p:nvSpPr>
        <p:spPr>
          <a:xfrm>
            <a:off x="914400" y="279400"/>
            <a:ext cx="10566400" cy="787400"/>
          </a:xfrm>
        </p:spPr>
        <p:txBody>
          <a:bodyPr/>
          <a:lstStyle/>
          <a:p>
            <a:r>
              <a:rPr lang="en-US"/>
              <a:t>Click to edit Master title style</a:t>
            </a:r>
          </a:p>
        </p:txBody>
      </p:sp>
      <p:sp>
        <p:nvSpPr>
          <p:cNvPr id="4" name="Rectangle 26"/>
          <p:cNvSpPr>
            <a:spLocks noGrp="1" noChangeArrowheads="1"/>
          </p:cNvSpPr>
          <p:nvPr>
            <p:ph type="sldNum" sz="quarter" idx="13"/>
          </p:nvPr>
        </p:nvSpPr>
        <p:spPr>
          <a:xfrm>
            <a:off x="10668000" y="6629400"/>
            <a:ext cx="1524000" cy="228600"/>
          </a:xfrm>
          <a:prstGeom prst="rect">
            <a:avLst/>
          </a:prstGeom>
        </p:spPr>
        <p:txBody>
          <a:bodyPr lIns="91150" tIns="45583" rIns="91150" bIns="45583"/>
          <a:lstStyle>
            <a:lvl1pPr algn="l" eaLnBrk="1" hangingPunct="1">
              <a:defRPr sz="3200" b="0" baseline="-25000">
                <a:solidFill>
                  <a:srgbClr val="000000"/>
                </a:solidFill>
                <a:ea typeface="MS PGothic" pitchFamily="34" charset="-128"/>
                <a:cs typeface="+mn-cs"/>
              </a:defRPr>
            </a:lvl1pPr>
          </a:lstStyle>
          <a:p>
            <a:pPr fontAlgn="base">
              <a:spcBef>
                <a:spcPct val="0"/>
              </a:spcBef>
              <a:spcAft>
                <a:spcPct val="0"/>
              </a:spcAft>
              <a:defRPr/>
            </a:pPr>
            <a:r>
              <a:rPr lang="en-US"/>
              <a:t>Slide </a:t>
            </a:r>
            <a:fld id="{CBD8A522-FB19-4997-8DFE-42F6C1BC3DC4}" type="slidenum">
              <a:rPr lang="en-US"/>
              <a:pPr fontAlgn="base">
                <a:spcBef>
                  <a:spcPct val="0"/>
                </a:spcBef>
                <a:spcAft>
                  <a:spcPct val="0"/>
                </a:spcAft>
                <a:defRPr/>
              </a:pPr>
              <a:t>‹#›</a:t>
            </a:fld>
            <a:endParaRPr lang="en-US"/>
          </a:p>
        </p:txBody>
      </p:sp>
      <p:sp>
        <p:nvSpPr>
          <p:cNvPr id="7" name="Rectangle 28"/>
          <p:cNvSpPr>
            <a:spLocks noGrp="1" noChangeArrowheads="1"/>
          </p:cNvSpPr>
          <p:nvPr>
            <p:ph type="ftr" sz="quarter" idx="14"/>
          </p:nvPr>
        </p:nvSpPr>
        <p:spPr>
          <a:xfrm>
            <a:off x="4057667" y="6629400"/>
            <a:ext cx="4076700" cy="228600"/>
          </a:xfrm>
          <a:prstGeom prst="rect">
            <a:avLst/>
          </a:prstGeom>
        </p:spPr>
        <p:txBody>
          <a:bodyPr lIns="91150" tIns="45583" rIns="91150" bIns="45583"/>
          <a:lstStyle>
            <a:lvl1pPr algn="l" eaLnBrk="1" hangingPunct="1">
              <a:defRPr sz="3200" b="0" baseline="-25000">
                <a:solidFill>
                  <a:srgbClr val="000000"/>
                </a:solidFill>
                <a:ea typeface="MS PGothic" pitchFamily="34" charset="-128"/>
                <a:cs typeface="+mn-cs"/>
              </a:defRPr>
            </a:lvl1pPr>
          </a:lstStyle>
          <a:p>
            <a:pPr fontAlgn="base">
              <a:spcBef>
                <a:spcPct val="0"/>
              </a:spcBef>
              <a:spcAft>
                <a:spcPct val="0"/>
              </a:spcAft>
              <a:defRPr/>
            </a:pPr>
            <a:r>
              <a:rPr lang="en-US"/>
              <a:t>Gilead Confidential and Proprietary</a:t>
            </a:r>
            <a:endParaRPr lang="en-US" dirty="0"/>
          </a:p>
        </p:txBody>
      </p:sp>
    </p:spTree>
    <p:extLst>
      <p:ext uri="{BB962C8B-B14F-4D97-AF65-F5344CB8AC3E}">
        <p14:creationId xmlns:p14="http://schemas.microsoft.com/office/powerpoint/2010/main" val="4255284395"/>
      </p:ext>
    </p:extLst>
  </p:cSld>
  <p:clrMapOvr>
    <a:masterClrMapping/>
  </p:clrMapOvr>
  <p:transition advClick="0"/>
</p:sldLayout>
</file>

<file path=ppt/slideLayouts/slideLayout453.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sz="2800" b="0" i="0">
                <a:solidFill>
                  <a:schemeClr val="tx1"/>
                </a:solidFill>
                <a:latin typeface="Arial"/>
                <a:cs typeface="Aria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sz="1600" b="0" i="0">
                <a:solidFill>
                  <a:srgbClr val="344451"/>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4/26</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957602445"/>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0" i="0">
                <a:solidFill>
                  <a:schemeClr val="tx1"/>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sz="1600" b="0" i="0">
                <a:solidFill>
                  <a:srgbClr val="344451"/>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4/26</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583323291"/>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0" i="0">
                <a:solidFill>
                  <a:schemeClr val="tx1"/>
                </a:solidFill>
                <a:latin typeface="Arial"/>
                <a:cs typeface="Arial"/>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4/26</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966739240"/>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0" y="0"/>
            <a:ext cx="12192000" cy="6858000"/>
          </a:xfrm>
          <a:prstGeom prst="rect">
            <a:avLst/>
          </a:prstGeom>
        </p:spPr>
      </p:pic>
      <p:sp>
        <p:nvSpPr>
          <p:cNvPr id="17" name="bg object 17"/>
          <p:cNvSpPr/>
          <p:nvPr/>
        </p:nvSpPr>
        <p:spPr>
          <a:xfrm>
            <a:off x="5" y="1553286"/>
            <a:ext cx="9185910" cy="5266690"/>
          </a:xfrm>
          <a:custGeom>
            <a:avLst/>
            <a:gdLst/>
            <a:ahLst/>
            <a:cxnLst/>
            <a:rect l="l" t="t" r="r" b="b"/>
            <a:pathLst>
              <a:path w="9185910" h="5266690">
                <a:moveTo>
                  <a:pt x="9185554" y="0"/>
                </a:moveTo>
                <a:lnTo>
                  <a:pt x="0" y="758723"/>
                </a:lnTo>
                <a:lnTo>
                  <a:pt x="0" y="5266613"/>
                </a:lnTo>
                <a:lnTo>
                  <a:pt x="9185554" y="5266613"/>
                </a:lnTo>
                <a:lnTo>
                  <a:pt x="9185554" y="0"/>
                </a:lnTo>
                <a:close/>
              </a:path>
            </a:pathLst>
          </a:custGeom>
          <a:solidFill>
            <a:srgbClr val="363A3E"/>
          </a:solidFill>
        </p:spPr>
        <p:txBody>
          <a:bodyPr wrap="square" lIns="0" tIns="0" rIns="0" bIns="0" rtlCol="0"/>
          <a:lstStyle/>
          <a:p>
            <a:endParaRPr/>
          </a:p>
        </p:txBody>
      </p:sp>
      <p:sp>
        <p:nvSpPr>
          <p:cNvPr id="18" name="bg object 18"/>
          <p:cNvSpPr/>
          <p:nvPr/>
        </p:nvSpPr>
        <p:spPr>
          <a:xfrm>
            <a:off x="5" y="1591373"/>
            <a:ext cx="9185910" cy="5266690"/>
          </a:xfrm>
          <a:custGeom>
            <a:avLst/>
            <a:gdLst/>
            <a:ahLst/>
            <a:cxnLst/>
            <a:rect l="l" t="t" r="r" b="b"/>
            <a:pathLst>
              <a:path w="9185910" h="5266690">
                <a:moveTo>
                  <a:pt x="9185554" y="0"/>
                </a:moveTo>
                <a:lnTo>
                  <a:pt x="0" y="758748"/>
                </a:lnTo>
                <a:lnTo>
                  <a:pt x="0" y="5266626"/>
                </a:lnTo>
                <a:lnTo>
                  <a:pt x="9185554" y="5266626"/>
                </a:lnTo>
                <a:lnTo>
                  <a:pt x="9185554" y="0"/>
                </a:lnTo>
                <a:close/>
              </a:path>
            </a:pathLst>
          </a:custGeom>
          <a:solidFill>
            <a:srgbClr val="6381AA"/>
          </a:solidFill>
        </p:spPr>
        <p:txBody>
          <a:bodyPr wrap="square" lIns="0" tIns="0" rIns="0" bIns="0" rtlCol="0"/>
          <a:lstStyle/>
          <a:p>
            <a:endParaRPr/>
          </a:p>
        </p:txBody>
      </p:sp>
      <p:sp>
        <p:nvSpPr>
          <p:cNvPr id="19" name="bg object 19"/>
          <p:cNvSpPr/>
          <p:nvPr/>
        </p:nvSpPr>
        <p:spPr>
          <a:xfrm>
            <a:off x="7676735" y="5879924"/>
            <a:ext cx="273685" cy="290830"/>
          </a:xfrm>
          <a:custGeom>
            <a:avLst/>
            <a:gdLst/>
            <a:ahLst/>
            <a:cxnLst/>
            <a:rect l="l" t="t" r="r" b="b"/>
            <a:pathLst>
              <a:path w="273684" h="290829">
                <a:moveTo>
                  <a:pt x="273181" y="290771"/>
                </a:moveTo>
                <a:lnTo>
                  <a:pt x="179473" y="290771"/>
                </a:lnTo>
                <a:lnTo>
                  <a:pt x="67269" y="158918"/>
                </a:lnTo>
                <a:lnTo>
                  <a:pt x="67269" y="290771"/>
                </a:lnTo>
                <a:lnTo>
                  <a:pt x="0" y="290771"/>
                </a:lnTo>
                <a:lnTo>
                  <a:pt x="0" y="0"/>
                </a:lnTo>
                <a:lnTo>
                  <a:pt x="67269" y="0"/>
                </a:lnTo>
                <a:lnTo>
                  <a:pt x="67269" y="115248"/>
                </a:lnTo>
                <a:lnTo>
                  <a:pt x="174315" y="0"/>
                </a:lnTo>
                <a:lnTo>
                  <a:pt x="262541" y="0"/>
                </a:lnTo>
                <a:lnTo>
                  <a:pt x="133915" y="135322"/>
                </a:lnTo>
                <a:lnTo>
                  <a:pt x="273181" y="290771"/>
                </a:lnTo>
                <a:close/>
              </a:path>
            </a:pathLst>
          </a:custGeom>
          <a:solidFill>
            <a:srgbClr val="FFFFFF"/>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7952544" y="5872659"/>
            <a:ext cx="74462" cy="74857"/>
          </a:xfrm>
          <a:prstGeom prst="rect">
            <a:avLst/>
          </a:prstGeom>
        </p:spPr>
      </p:pic>
      <p:sp>
        <p:nvSpPr>
          <p:cNvPr id="21" name="bg object 21"/>
          <p:cNvSpPr/>
          <p:nvPr/>
        </p:nvSpPr>
        <p:spPr>
          <a:xfrm>
            <a:off x="7957337" y="5911469"/>
            <a:ext cx="241300" cy="264160"/>
          </a:xfrm>
          <a:custGeom>
            <a:avLst/>
            <a:gdLst/>
            <a:ahLst/>
            <a:cxnLst/>
            <a:rect l="l" t="t" r="r" b="b"/>
            <a:pathLst>
              <a:path w="241300" h="264160">
                <a:moveTo>
                  <a:pt x="64858" y="58229"/>
                </a:moveTo>
                <a:lnTo>
                  <a:pt x="0" y="58229"/>
                </a:lnTo>
                <a:lnTo>
                  <a:pt x="0" y="259232"/>
                </a:lnTo>
                <a:lnTo>
                  <a:pt x="64858" y="259232"/>
                </a:lnTo>
                <a:lnTo>
                  <a:pt x="64858" y="58229"/>
                </a:lnTo>
                <a:close/>
              </a:path>
              <a:path w="241300" h="264160">
                <a:moveTo>
                  <a:pt x="241096" y="58229"/>
                </a:moveTo>
                <a:lnTo>
                  <a:pt x="188087" y="58229"/>
                </a:lnTo>
                <a:lnTo>
                  <a:pt x="188087" y="0"/>
                </a:lnTo>
                <a:lnTo>
                  <a:pt x="123278" y="0"/>
                </a:lnTo>
                <a:lnTo>
                  <a:pt x="123278" y="58229"/>
                </a:lnTo>
                <a:lnTo>
                  <a:pt x="84658" y="58229"/>
                </a:lnTo>
                <a:lnTo>
                  <a:pt x="84658" y="111239"/>
                </a:lnTo>
                <a:lnTo>
                  <a:pt x="123190" y="111239"/>
                </a:lnTo>
                <a:lnTo>
                  <a:pt x="123190" y="202399"/>
                </a:lnTo>
                <a:lnTo>
                  <a:pt x="123405" y="209715"/>
                </a:lnTo>
                <a:lnTo>
                  <a:pt x="137807" y="245071"/>
                </a:lnTo>
                <a:lnTo>
                  <a:pt x="174967" y="262331"/>
                </a:lnTo>
                <a:lnTo>
                  <a:pt x="196570" y="264160"/>
                </a:lnTo>
                <a:lnTo>
                  <a:pt x="203784" y="264147"/>
                </a:lnTo>
                <a:lnTo>
                  <a:pt x="210997" y="263728"/>
                </a:lnTo>
                <a:lnTo>
                  <a:pt x="225488" y="262115"/>
                </a:lnTo>
                <a:lnTo>
                  <a:pt x="232676" y="260451"/>
                </a:lnTo>
                <a:lnTo>
                  <a:pt x="241096" y="257403"/>
                </a:lnTo>
                <a:lnTo>
                  <a:pt x="241096" y="200037"/>
                </a:lnTo>
                <a:lnTo>
                  <a:pt x="237185" y="203555"/>
                </a:lnTo>
                <a:lnTo>
                  <a:pt x="234162" y="205955"/>
                </a:lnTo>
                <a:lnTo>
                  <a:pt x="230479" y="207378"/>
                </a:lnTo>
                <a:lnTo>
                  <a:pt x="226618" y="207619"/>
                </a:lnTo>
                <a:lnTo>
                  <a:pt x="222542" y="208216"/>
                </a:lnTo>
                <a:lnTo>
                  <a:pt x="218427" y="208546"/>
                </a:lnTo>
                <a:lnTo>
                  <a:pt x="214312" y="208622"/>
                </a:lnTo>
                <a:lnTo>
                  <a:pt x="209359" y="208826"/>
                </a:lnTo>
                <a:lnTo>
                  <a:pt x="188899" y="188899"/>
                </a:lnTo>
                <a:lnTo>
                  <a:pt x="188353" y="184086"/>
                </a:lnTo>
                <a:lnTo>
                  <a:pt x="188099" y="179247"/>
                </a:lnTo>
                <a:lnTo>
                  <a:pt x="188112" y="111239"/>
                </a:lnTo>
                <a:lnTo>
                  <a:pt x="241096" y="111239"/>
                </a:lnTo>
                <a:lnTo>
                  <a:pt x="241096" y="58229"/>
                </a:lnTo>
                <a:close/>
              </a:path>
            </a:pathLst>
          </a:custGeom>
          <a:solidFill>
            <a:srgbClr val="FFFFFF"/>
          </a:solidFill>
        </p:spPr>
        <p:txBody>
          <a:bodyPr wrap="square" lIns="0" tIns="0" rIns="0" bIns="0" rtlCol="0"/>
          <a:lstStyle/>
          <a:p>
            <a:endParaRPr/>
          </a:p>
        </p:txBody>
      </p:sp>
      <p:pic>
        <p:nvPicPr>
          <p:cNvPr id="22" name="bg object 22"/>
          <p:cNvPicPr/>
          <p:nvPr/>
        </p:nvPicPr>
        <p:blipFill>
          <a:blip r:embed="rId4" cstate="print"/>
          <a:stretch>
            <a:fillRect/>
          </a:stretch>
        </p:blipFill>
        <p:spPr>
          <a:xfrm>
            <a:off x="8218155" y="5964847"/>
            <a:ext cx="204618" cy="210584"/>
          </a:xfrm>
          <a:prstGeom prst="rect">
            <a:avLst/>
          </a:prstGeom>
        </p:spPr>
      </p:pic>
      <p:pic>
        <p:nvPicPr>
          <p:cNvPr id="23" name="bg object 23"/>
          <p:cNvPicPr/>
          <p:nvPr/>
        </p:nvPicPr>
        <p:blipFill>
          <a:blip r:embed="rId5" cstate="print"/>
          <a:stretch>
            <a:fillRect/>
          </a:stretch>
        </p:blipFill>
        <p:spPr>
          <a:xfrm>
            <a:off x="7790691" y="6253385"/>
            <a:ext cx="81285" cy="87694"/>
          </a:xfrm>
          <a:prstGeom prst="rect">
            <a:avLst/>
          </a:prstGeom>
        </p:spPr>
      </p:pic>
      <p:pic>
        <p:nvPicPr>
          <p:cNvPr id="24" name="bg object 24"/>
          <p:cNvPicPr/>
          <p:nvPr/>
        </p:nvPicPr>
        <p:blipFill>
          <a:blip r:embed="rId6" cstate="print"/>
          <a:stretch>
            <a:fillRect/>
          </a:stretch>
        </p:blipFill>
        <p:spPr>
          <a:xfrm>
            <a:off x="7671702" y="6259627"/>
            <a:ext cx="72967" cy="81397"/>
          </a:xfrm>
          <a:prstGeom prst="rect">
            <a:avLst/>
          </a:prstGeom>
        </p:spPr>
      </p:pic>
      <p:pic>
        <p:nvPicPr>
          <p:cNvPr id="25" name="bg object 25"/>
          <p:cNvPicPr/>
          <p:nvPr/>
        </p:nvPicPr>
        <p:blipFill>
          <a:blip r:embed="rId7" cstate="print"/>
          <a:stretch>
            <a:fillRect/>
          </a:stretch>
        </p:blipFill>
        <p:spPr>
          <a:xfrm>
            <a:off x="7898414" y="6253519"/>
            <a:ext cx="897020" cy="111850"/>
          </a:xfrm>
          <a:prstGeom prst="rect">
            <a:avLst/>
          </a:prstGeom>
        </p:spPr>
      </p:pic>
      <p:sp>
        <p:nvSpPr>
          <p:cNvPr id="26" name="bg object 26"/>
          <p:cNvSpPr/>
          <p:nvPr/>
        </p:nvSpPr>
        <p:spPr>
          <a:xfrm>
            <a:off x="6690601" y="5735218"/>
            <a:ext cx="986155" cy="603250"/>
          </a:xfrm>
          <a:custGeom>
            <a:avLst/>
            <a:gdLst/>
            <a:ahLst/>
            <a:cxnLst/>
            <a:rect l="l" t="t" r="r" b="b"/>
            <a:pathLst>
              <a:path w="986154" h="603250">
                <a:moveTo>
                  <a:pt x="967613" y="825"/>
                </a:moveTo>
                <a:lnTo>
                  <a:pt x="967333" y="177"/>
                </a:lnTo>
                <a:lnTo>
                  <a:pt x="966990" y="0"/>
                </a:lnTo>
                <a:lnTo>
                  <a:pt x="966533" y="101"/>
                </a:lnTo>
                <a:lnTo>
                  <a:pt x="356641" y="122745"/>
                </a:lnTo>
                <a:lnTo>
                  <a:pt x="356641" y="388708"/>
                </a:lnTo>
                <a:lnTo>
                  <a:pt x="307009" y="423621"/>
                </a:lnTo>
                <a:lnTo>
                  <a:pt x="306552" y="402615"/>
                </a:lnTo>
                <a:lnTo>
                  <a:pt x="303999" y="381800"/>
                </a:lnTo>
                <a:lnTo>
                  <a:pt x="292747" y="341414"/>
                </a:lnTo>
                <a:lnTo>
                  <a:pt x="271729" y="305549"/>
                </a:lnTo>
                <a:lnTo>
                  <a:pt x="226733" y="260210"/>
                </a:lnTo>
                <a:lnTo>
                  <a:pt x="174447" y="228396"/>
                </a:lnTo>
                <a:lnTo>
                  <a:pt x="117195" y="204584"/>
                </a:lnTo>
                <a:lnTo>
                  <a:pt x="87325" y="195999"/>
                </a:lnTo>
                <a:lnTo>
                  <a:pt x="156895" y="182410"/>
                </a:lnTo>
                <a:lnTo>
                  <a:pt x="196253" y="196164"/>
                </a:lnTo>
                <a:lnTo>
                  <a:pt x="251561" y="224282"/>
                </a:lnTo>
                <a:lnTo>
                  <a:pt x="299948" y="260451"/>
                </a:lnTo>
                <a:lnTo>
                  <a:pt x="342709" y="322173"/>
                </a:lnTo>
                <a:lnTo>
                  <a:pt x="353974" y="362559"/>
                </a:lnTo>
                <a:lnTo>
                  <a:pt x="356641" y="388708"/>
                </a:lnTo>
                <a:lnTo>
                  <a:pt x="356641" y="122745"/>
                </a:lnTo>
                <a:lnTo>
                  <a:pt x="198615" y="154520"/>
                </a:lnTo>
                <a:lnTo>
                  <a:pt x="198615" y="155930"/>
                </a:lnTo>
                <a:lnTo>
                  <a:pt x="117055" y="171729"/>
                </a:lnTo>
                <a:lnTo>
                  <a:pt x="193916" y="155473"/>
                </a:lnTo>
                <a:lnTo>
                  <a:pt x="198615" y="155930"/>
                </a:lnTo>
                <a:lnTo>
                  <a:pt x="198615" y="154520"/>
                </a:lnTo>
                <a:lnTo>
                  <a:pt x="50761" y="184238"/>
                </a:lnTo>
                <a:lnTo>
                  <a:pt x="50380" y="184289"/>
                </a:lnTo>
                <a:lnTo>
                  <a:pt x="50101" y="184619"/>
                </a:lnTo>
                <a:lnTo>
                  <a:pt x="660" y="194246"/>
                </a:lnTo>
                <a:lnTo>
                  <a:pt x="317" y="194246"/>
                </a:lnTo>
                <a:lnTo>
                  <a:pt x="0" y="194627"/>
                </a:lnTo>
                <a:lnTo>
                  <a:pt x="25" y="195364"/>
                </a:lnTo>
                <a:lnTo>
                  <a:pt x="304" y="195681"/>
                </a:lnTo>
                <a:lnTo>
                  <a:pt x="2692" y="195999"/>
                </a:lnTo>
                <a:lnTo>
                  <a:pt x="24714" y="200977"/>
                </a:lnTo>
                <a:lnTo>
                  <a:pt x="65481" y="212915"/>
                </a:lnTo>
                <a:lnTo>
                  <a:pt x="116281" y="231279"/>
                </a:lnTo>
                <a:lnTo>
                  <a:pt x="168363" y="255574"/>
                </a:lnTo>
                <a:lnTo>
                  <a:pt x="219341" y="289026"/>
                </a:lnTo>
                <a:lnTo>
                  <a:pt x="257810" y="329006"/>
                </a:lnTo>
                <a:lnTo>
                  <a:pt x="280250" y="391083"/>
                </a:lnTo>
                <a:lnTo>
                  <a:pt x="283108" y="461518"/>
                </a:lnTo>
                <a:lnTo>
                  <a:pt x="283260" y="461784"/>
                </a:lnTo>
                <a:lnTo>
                  <a:pt x="283514" y="461937"/>
                </a:lnTo>
                <a:lnTo>
                  <a:pt x="284187" y="461937"/>
                </a:lnTo>
                <a:lnTo>
                  <a:pt x="284365" y="461784"/>
                </a:lnTo>
                <a:lnTo>
                  <a:pt x="327596" y="432092"/>
                </a:lnTo>
                <a:lnTo>
                  <a:pt x="967257" y="1397"/>
                </a:lnTo>
                <a:lnTo>
                  <a:pt x="967524" y="1181"/>
                </a:lnTo>
                <a:lnTo>
                  <a:pt x="967613" y="825"/>
                </a:lnTo>
                <a:close/>
              </a:path>
              <a:path w="986154" h="603250">
                <a:moveTo>
                  <a:pt x="986040" y="15582"/>
                </a:moveTo>
                <a:lnTo>
                  <a:pt x="985951" y="15214"/>
                </a:lnTo>
                <a:lnTo>
                  <a:pt x="985393" y="14782"/>
                </a:lnTo>
                <a:lnTo>
                  <a:pt x="985012" y="14782"/>
                </a:lnTo>
                <a:lnTo>
                  <a:pt x="984732" y="14986"/>
                </a:lnTo>
                <a:lnTo>
                  <a:pt x="725170" y="199529"/>
                </a:lnTo>
                <a:lnTo>
                  <a:pt x="725170" y="515391"/>
                </a:lnTo>
                <a:lnTo>
                  <a:pt x="700824" y="562952"/>
                </a:lnTo>
                <a:lnTo>
                  <a:pt x="687819" y="539597"/>
                </a:lnTo>
                <a:lnTo>
                  <a:pt x="640245" y="492175"/>
                </a:lnTo>
                <a:lnTo>
                  <a:pt x="588175" y="471589"/>
                </a:lnTo>
                <a:lnTo>
                  <a:pt x="561073" y="460883"/>
                </a:lnTo>
                <a:lnTo>
                  <a:pt x="545249" y="454634"/>
                </a:lnTo>
                <a:lnTo>
                  <a:pt x="390004" y="460883"/>
                </a:lnTo>
                <a:lnTo>
                  <a:pt x="453593" y="415607"/>
                </a:lnTo>
                <a:lnTo>
                  <a:pt x="565264" y="394347"/>
                </a:lnTo>
                <a:lnTo>
                  <a:pt x="577646" y="394550"/>
                </a:lnTo>
                <a:lnTo>
                  <a:pt x="655066" y="417588"/>
                </a:lnTo>
                <a:lnTo>
                  <a:pt x="706259" y="470662"/>
                </a:lnTo>
                <a:lnTo>
                  <a:pt x="725170" y="515391"/>
                </a:lnTo>
                <a:lnTo>
                  <a:pt x="725170" y="199529"/>
                </a:lnTo>
                <a:lnTo>
                  <a:pt x="362686" y="457238"/>
                </a:lnTo>
                <a:lnTo>
                  <a:pt x="362635" y="457441"/>
                </a:lnTo>
                <a:lnTo>
                  <a:pt x="313651" y="491299"/>
                </a:lnTo>
                <a:lnTo>
                  <a:pt x="313740" y="492175"/>
                </a:lnTo>
                <a:lnTo>
                  <a:pt x="313804" y="492366"/>
                </a:lnTo>
                <a:lnTo>
                  <a:pt x="314236" y="492569"/>
                </a:lnTo>
                <a:lnTo>
                  <a:pt x="314820" y="492366"/>
                </a:lnTo>
                <a:lnTo>
                  <a:pt x="316572" y="491807"/>
                </a:lnTo>
                <a:lnTo>
                  <a:pt x="339026" y="486625"/>
                </a:lnTo>
                <a:lnTo>
                  <a:pt x="382638" y="479348"/>
                </a:lnTo>
                <a:lnTo>
                  <a:pt x="438861" y="473278"/>
                </a:lnTo>
                <a:lnTo>
                  <a:pt x="500532" y="471589"/>
                </a:lnTo>
                <a:lnTo>
                  <a:pt x="528853" y="473735"/>
                </a:lnTo>
                <a:lnTo>
                  <a:pt x="583399" y="488340"/>
                </a:lnTo>
                <a:lnTo>
                  <a:pt x="636765" y="519696"/>
                </a:lnTo>
                <a:lnTo>
                  <a:pt x="684161" y="572223"/>
                </a:lnTo>
                <a:lnTo>
                  <a:pt x="702094" y="603084"/>
                </a:lnTo>
                <a:lnTo>
                  <a:pt x="703287" y="603084"/>
                </a:lnTo>
                <a:lnTo>
                  <a:pt x="703402" y="602881"/>
                </a:lnTo>
                <a:lnTo>
                  <a:pt x="722185" y="562952"/>
                </a:lnTo>
                <a:lnTo>
                  <a:pt x="730300" y="545680"/>
                </a:lnTo>
                <a:lnTo>
                  <a:pt x="986040" y="15582"/>
                </a:lnTo>
                <a:close/>
              </a:path>
            </a:pathLst>
          </a:custGeom>
          <a:solidFill>
            <a:srgbClr val="FFFFFF"/>
          </a:solidFill>
        </p:spPr>
        <p:txBody>
          <a:bodyPr wrap="square" lIns="0" tIns="0" rIns="0" bIns="0" rtlCol="0"/>
          <a:lstStyle/>
          <a:p>
            <a:endParaRPr/>
          </a:p>
        </p:txBody>
      </p:sp>
      <p:sp>
        <p:nvSpPr>
          <p:cNvPr id="27" name="bg object 27"/>
          <p:cNvSpPr/>
          <p:nvPr/>
        </p:nvSpPr>
        <p:spPr>
          <a:xfrm>
            <a:off x="11352530" y="182079"/>
            <a:ext cx="399415" cy="342900"/>
          </a:xfrm>
          <a:custGeom>
            <a:avLst/>
            <a:gdLst/>
            <a:ahLst/>
            <a:cxnLst/>
            <a:rect l="l" t="t" r="r" b="b"/>
            <a:pathLst>
              <a:path w="399415" h="342900">
                <a:moveTo>
                  <a:pt x="342328" y="201231"/>
                </a:moveTo>
                <a:lnTo>
                  <a:pt x="199694" y="65659"/>
                </a:lnTo>
                <a:lnTo>
                  <a:pt x="57048" y="201231"/>
                </a:lnTo>
                <a:lnTo>
                  <a:pt x="57048" y="342519"/>
                </a:lnTo>
                <a:lnTo>
                  <a:pt x="171157" y="342519"/>
                </a:lnTo>
                <a:lnTo>
                  <a:pt x="171157" y="223596"/>
                </a:lnTo>
                <a:lnTo>
                  <a:pt x="228219" y="223596"/>
                </a:lnTo>
                <a:lnTo>
                  <a:pt x="228219" y="342519"/>
                </a:lnTo>
                <a:lnTo>
                  <a:pt x="342328" y="342519"/>
                </a:lnTo>
                <a:lnTo>
                  <a:pt x="342328" y="201231"/>
                </a:lnTo>
                <a:close/>
              </a:path>
              <a:path w="399415" h="342900">
                <a:moveTo>
                  <a:pt x="399389" y="190296"/>
                </a:moveTo>
                <a:lnTo>
                  <a:pt x="199694" y="0"/>
                </a:lnTo>
                <a:lnTo>
                  <a:pt x="0" y="190296"/>
                </a:lnTo>
                <a:lnTo>
                  <a:pt x="21386" y="208368"/>
                </a:lnTo>
                <a:lnTo>
                  <a:pt x="199694" y="39014"/>
                </a:lnTo>
                <a:lnTo>
                  <a:pt x="377990" y="208368"/>
                </a:lnTo>
                <a:lnTo>
                  <a:pt x="399389" y="190296"/>
                </a:lnTo>
                <a:close/>
              </a:path>
            </a:pathLst>
          </a:custGeom>
          <a:solidFill>
            <a:srgbClr val="344451"/>
          </a:solid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2800" b="0" i="0">
                <a:solidFill>
                  <a:schemeClr val="tx1"/>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4/26</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724279428"/>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4/26</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71664777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ase Slides">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7749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916FF65-E16B-BA4F-9591-6B4416106527}" type="datetimeFigureOut">
              <a:rPr lang="en-US" smtClean="0"/>
              <a:t>4/24/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2372807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916FF65-E16B-BA4F-9591-6B4416106527}" type="datetimeFigureOut">
              <a:rPr lang="en-US" smtClean="0"/>
              <a:t>4/24/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8521483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916FF65-E16B-BA4F-9591-6B4416106527}" type="datetimeFigureOut">
              <a:rPr lang="en-US" smtClean="0"/>
              <a:t>4/24/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34566258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916FF65-E16B-BA4F-9591-6B4416106527}" type="datetimeFigureOut">
              <a:rPr lang="en-US" smtClean="0"/>
              <a:t>4/24/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6902761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1731601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32538804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BE2A9F-50DE-E0C6-7E5F-9B3311C3B5B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C44D01B-8BC8-75A9-C209-905DBD757A1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DD396E7-7A6B-4570-A689-7F5E478A1F48}"/>
              </a:ext>
            </a:extLst>
          </p:cNvPr>
          <p:cNvSpPr>
            <a:spLocks noGrp="1"/>
          </p:cNvSpPr>
          <p:nvPr>
            <p:ph type="dt" sz="half" idx="10"/>
          </p:nvPr>
        </p:nvSpPr>
        <p:spPr/>
        <p:txBody>
          <a:bodyPr/>
          <a:lstStyle/>
          <a:p>
            <a:fld id="{60D0D249-0A93-1146-95E4-9C10624C1793}" type="datetimeFigureOut">
              <a:rPr lang="en-US" smtClean="0"/>
              <a:t>4/24/26</a:t>
            </a:fld>
            <a:endParaRPr lang="en-US"/>
          </a:p>
        </p:txBody>
      </p:sp>
      <p:sp>
        <p:nvSpPr>
          <p:cNvPr id="5" name="Footer Placeholder 4">
            <a:extLst>
              <a:ext uri="{FF2B5EF4-FFF2-40B4-BE49-F238E27FC236}">
                <a16:creationId xmlns:a16="http://schemas.microsoft.com/office/drawing/2014/main" id="{6A8967AB-9E96-B597-BA78-FE4864B03B9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741487A-80A0-D429-BCE1-01E3750A0251}"/>
              </a:ext>
            </a:extLst>
          </p:cNvPr>
          <p:cNvSpPr>
            <a:spLocks noGrp="1"/>
          </p:cNvSpPr>
          <p:nvPr>
            <p:ph type="sldNum" sz="quarter" idx="12"/>
          </p:nvPr>
        </p:nvSpPr>
        <p:spPr/>
        <p:txBody>
          <a:bodyPr/>
          <a:lstStyle/>
          <a:p>
            <a:fld id="{468DE67D-C88F-BA48-97C7-38554DCCA25F}" type="slidenum">
              <a:rPr lang="en-US" smtClean="0"/>
              <a:t>‹#›</a:t>
            </a:fld>
            <a:endParaRPr lang="en-US"/>
          </a:p>
        </p:txBody>
      </p:sp>
    </p:spTree>
    <p:extLst>
      <p:ext uri="{BB962C8B-B14F-4D97-AF65-F5344CB8AC3E}">
        <p14:creationId xmlns:p14="http://schemas.microsoft.com/office/powerpoint/2010/main" val="29012735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6BD48F-733D-80E5-63C7-9D7346DFD35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B8E2133-913F-32B8-FB76-0249602E1A4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86B6FA3-E241-21A8-CEBD-72E7317B14CA}"/>
              </a:ext>
            </a:extLst>
          </p:cNvPr>
          <p:cNvSpPr>
            <a:spLocks noGrp="1"/>
          </p:cNvSpPr>
          <p:nvPr>
            <p:ph type="dt" sz="half" idx="10"/>
          </p:nvPr>
        </p:nvSpPr>
        <p:spPr/>
        <p:txBody>
          <a:bodyPr/>
          <a:lstStyle/>
          <a:p>
            <a:fld id="{60D0D249-0A93-1146-95E4-9C10624C1793}" type="datetimeFigureOut">
              <a:rPr lang="en-US" smtClean="0"/>
              <a:t>4/24/26</a:t>
            </a:fld>
            <a:endParaRPr lang="en-US"/>
          </a:p>
        </p:txBody>
      </p:sp>
      <p:sp>
        <p:nvSpPr>
          <p:cNvPr id="5" name="Footer Placeholder 4">
            <a:extLst>
              <a:ext uri="{FF2B5EF4-FFF2-40B4-BE49-F238E27FC236}">
                <a16:creationId xmlns:a16="http://schemas.microsoft.com/office/drawing/2014/main" id="{A0FCCC1F-C114-584A-962B-44BA158C5A0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7C8AD3F-C7ED-9E0C-62DD-BEC19CCD1187}"/>
              </a:ext>
            </a:extLst>
          </p:cNvPr>
          <p:cNvSpPr>
            <a:spLocks noGrp="1"/>
          </p:cNvSpPr>
          <p:nvPr>
            <p:ph type="sldNum" sz="quarter" idx="12"/>
          </p:nvPr>
        </p:nvSpPr>
        <p:spPr/>
        <p:txBody>
          <a:bodyPr/>
          <a:lstStyle/>
          <a:p>
            <a:fld id="{468DE67D-C88F-BA48-97C7-38554DCCA25F}" type="slidenum">
              <a:rPr lang="en-US" smtClean="0"/>
              <a:t>‹#›</a:t>
            </a:fld>
            <a:endParaRPr lang="en-US"/>
          </a:p>
        </p:txBody>
      </p:sp>
    </p:spTree>
    <p:extLst>
      <p:ext uri="{BB962C8B-B14F-4D97-AF65-F5344CB8AC3E}">
        <p14:creationId xmlns:p14="http://schemas.microsoft.com/office/powerpoint/2010/main" val="3690485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B38EB1-4213-5010-9E3E-D84DC014C83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9F26782-2772-3B82-DD70-EA4DA294FE9D}"/>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D056281-CAB1-C78C-ED65-6904ADE4A04F}"/>
              </a:ext>
            </a:extLst>
          </p:cNvPr>
          <p:cNvSpPr>
            <a:spLocks noGrp="1"/>
          </p:cNvSpPr>
          <p:nvPr>
            <p:ph type="dt" sz="half" idx="10"/>
          </p:nvPr>
        </p:nvSpPr>
        <p:spPr/>
        <p:txBody>
          <a:bodyPr/>
          <a:lstStyle/>
          <a:p>
            <a:fld id="{60D0D249-0A93-1146-95E4-9C10624C1793}" type="datetimeFigureOut">
              <a:rPr lang="en-US" smtClean="0"/>
              <a:t>4/24/26</a:t>
            </a:fld>
            <a:endParaRPr lang="en-US"/>
          </a:p>
        </p:txBody>
      </p:sp>
      <p:sp>
        <p:nvSpPr>
          <p:cNvPr id="5" name="Footer Placeholder 4">
            <a:extLst>
              <a:ext uri="{FF2B5EF4-FFF2-40B4-BE49-F238E27FC236}">
                <a16:creationId xmlns:a16="http://schemas.microsoft.com/office/drawing/2014/main" id="{1261245F-0512-B846-E9C4-638EA779D47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D33DB49-BA1B-A4E8-51FC-9AA263558F98}"/>
              </a:ext>
            </a:extLst>
          </p:cNvPr>
          <p:cNvSpPr>
            <a:spLocks noGrp="1"/>
          </p:cNvSpPr>
          <p:nvPr>
            <p:ph type="sldNum" sz="quarter" idx="12"/>
          </p:nvPr>
        </p:nvSpPr>
        <p:spPr/>
        <p:txBody>
          <a:bodyPr/>
          <a:lstStyle/>
          <a:p>
            <a:fld id="{468DE67D-C88F-BA48-97C7-38554DCCA25F}" type="slidenum">
              <a:rPr lang="en-US" smtClean="0"/>
              <a:t>‹#›</a:t>
            </a:fld>
            <a:endParaRPr lang="en-US"/>
          </a:p>
        </p:txBody>
      </p:sp>
    </p:spTree>
    <p:extLst>
      <p:ext uri="{BB962C8B-B14F-4D97-AF65-F5344CB8AC3E}">
        <p14:creationId xmlns:p14="http://schemas.microsoft.com/office/powerpoint/2010/main" val="38066261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71A01-3DE2-D565-64BC-13683AE6DDB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66A6C3D-90A0-A5FD-CCF8-5D676B6A440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3435067-37D1-BD7E-9EAF-7EC27573130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E42B99A-4145-9F8E-C2EE-BAA4BCA22B97}"/>
              </a:ext>
            </a:extLst>
          </p:cNvPr>
          <p:cNvSpPr>
            <a:spLocks noGrp="1"/>
          </p:cNvSpPr>
          <p:nvPr>
            <p:ph type="dt" sz="half" idx="10"/>
          </p:nvPr>
        </p:nvSpPr>
        <p:spPr/>
        <p:txBody>
          <a:bodyPr/>
          <a:lstStyle/>
          <a:p>
            <a:fld id="{60D0D249-0A93-1146-95E4-9C10624C1793}" type="datetimeFigureOut">
              <a:rPr lang="en-US" smtClean="0"/>
              <a:t>4/24/26</a:t>
            </a:fld>
            <a:endParaRPr lang="en-US"/>
          </a:p>
        </p:txBody>
      </p:sp>
      <p:sp>
        <p:nvSpPr>
          <p:cNvPr id="6" name="Footer Placeholder 5">
            <a:extLst>
              <a:ext uri="{FF2B5EF4-FFF2-40B4-BE49-F238E27FC236}">
                <a16:creationId xmlns:a16="http://schemas.microsoft.com/office/drawing/2014/main" id="{18118174-9992-7251-17DC-203642B51AC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2E1A4B5-0BC4-453B-DBFF-6494620B6B4A}"/>
              </a:ext>
            </a:extLst>
          </p:cNvPr>
          <p:cNvSpPr>
            <a:spLocks noGrp="1"/>
          </p:cNvSpPr>
          <p:nvPr>
            <p:ph type="sldNum" sz="quarter" idx="12"/>
          </p:nvPr>
        </p:nvSpPr>
        <p:spPr/>
        <p:txBody>
          <a:bodyPr/>
          <a:lstStyle/>
          <a:p>
            <a:fld id="{468DE67D-C88F-BA48-97C7-38554DCCA25F}" type="slidenum">
              <a:rPr lang="en-US" smtClean="0"/>
              <a:t>‹#›</a:t>
            </a:fld>
            <a:endParaRPr lang="en-US"/>
          </a:p>
        </p:txBody>
      </p:sp>
    </p:spTree>
    <p:extLst>
      <p:ext uri="{BB962C8B-B14F-4D97-AF65-F5344CB8AC3E}">
        <p14:creationId xmlns:p14="http://schemas.microsoft.com/office/powerpoint/2010/main" val="259030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0C4D90-0678-781A-465F-1A0F90ED691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CA9FB65-08AF-67E1-7BD6-D559C0354AF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A5BAB7A-0236-D74B-DEA1-01B04D61351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2051A63-6C8D-8636-1F5D-B8894BDC13F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9CE1F01-6BA1-1F81-65AA-CB718F88852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EFB5437-3FBF-12B5-1381-5D8845B3CA14}"/>
              </a:ext>
            </a:extLst>
          </p:cNvPr>
          <p:cNvSpPr>
            <a:spLocks noGrp="1"/>
          </p:cNvSpPr>
          <p:nvPr>
            <p:ph type="dt" sz="half" idx="10"/>
          </p:nvPr>
        </p:nvSpPr>
        <p:spPr/>
        <p:txBody>
          <a:bodyPr/>
          <a:lstStyle/>
          <a:p>
            <a:fld id="{60D0D249-0A93-1146-95E4-9C10624C1793}" type="datetimeFigureOut">
              <a:rPr lang="en-US" smtClean="0"/>
              <a:t>4/24/26</a:t>
            </a:fld>
            <a:endParaRPr lang="en-US"/>
          </a:p>
        </p:txBody>
      </p:sp>
      <p:sp>
        <p:nvSpPr>
          <p:cNvPr id="8" name="Footer Placeholder 7">
            <a:extLst>
              <a:ext uri="{FF2B5EF4-FFF2-40B4-BE49-F238E27FC236}">
                <a16:creationId xmlns:a16="http://schemas.microsoft.com/office/drawing/2014/main" id="{BE33D101-E7ED-A7D8-3307-5469CA2644E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7A92110-2B7F-55EE-34D8-2525B6B27A08}"/>
              </a:ext>
            </a:extLst>
          </p:cNvPr>
          <p:cNvSpPr>
            <a:spLocks noGrp="1"/>
          </p:cNvSpPr>
          <p:nvPr>
            <p:ph type="sldNum" sz="quarter" idx="12"/>
          </p:nvPr>
        </p:nvSpPr>
        <p:spPr/>
        <p:txBody>
          <a:bodyPr/>
          <a:lstStyle/>
          <a:p>
            <a:fld id="{468DE67D-C88F-BA48-97C7-38554DCCA25F}" type="slidenum">
              <a:rPr lang="en-US" smtClean="0"/>
              <a:t>‹#›</a:t>
            </a:fld>
            <a:endParaRPr lang="en-US"/>
          </a:p>
        </p:txBody>
      </p:sp>
    </p:spTree>
    <p:extLst>
      <p:ext uri="{BB962C8B-B14F-4D97-AF65-F5344CB8AC3E}">
        <p14:creationId xmlns:p14="http://schemas.microsoft.com/office/powerpoint/2010/main" val="40685547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366D5F-CAD7-3C7C-3A3C-900728FEC3D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A847829-DD5A-4AB3-B2D8-F72414980205}"/>
              </a:ext>
            </a:extLst>
          </p:cNvPr>
          <p:cNvSpPr>
            <a:spLocks noGrp="1"/>
          </p:cNvSpPr>
          <p:nvPr>
            <p:ph type="dt" sz="half" idx="10"/>
          </p:nvPr>
        </p:nvSpPr>
        <p:spPr/>
        <p:txBody>
          <a:bodyPr/>
          <a:lstStyle/>
          <a:p>
            <a:fld id="{60D0D249-0A93-1146-95E4-9C10624C1793}" type="datetimeFigureOut">
              <a:rPr lang="en-US" smtClean="0"/>
              <a:t>4/24/26</a:t>
            </a:fld>
            <a:endParaRPr lang="en-US"/>
          </a:p>
        </p:txBody>
      </p:sp>
      <p:sp>
        <p:nvSpPr>
          <p:cNvPr id="4" name="Footer Placeholder 3">
            <a:extLst>
              <a:ext uri="{FF2B5EF4-FFF2-40B4-BE49-F238E27FC236}">
                <a16:creationId xmlns:a16="http://schemas.microsoft.com/office/drawing/2014/main" id="{87B4182A-FFE9-5F6D-DE14-764E0950B22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D374FA5-1ECC-1B0C-28BE-D685D649BF01}"/>
              </a:ext>
            </a:extLst>
          </p:cNvPr>
          <p:cNvSpPr>
            <a:spLocks noGrp="1"/>
          </p:cNvSpPr>
          <p:nvPr>
            <p:ph type="sldNum" sz="quarter" idx="12"/>
          </p:nvPr>
        </p:nvSpPr>
        <p:spPr/>
        <p:txBody>
          <a:bodyPr/>
          <a:lstStyle/>
          <a:p>
            <a:fld id="{468DE67D-C88F-BA48-97C7-38554DCCA25F}" type="slidenum">
              <a:rPr lang="en-US" smtClean="0"/>
              <a:t>‹#›</a:t>
            </a:fld>
            <a:endParaRPr lang="en-US"/>
          </a:p>
        </p:txBody>
      </p:sp>
    </p:spTree>
    <p:extLst>
      <p:ext uri="{BB962C8B-B14F-4D97-AF65-F5344CB8AC3E}">
        <p14:creationId xmlns:p14="http://schemas.microsoft.com/office/powerpoint/2010/main" val="39212121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41A2E3A-4172-F750-F111-46031C288ADB}"/>
              </a:ext>
            </a:extLst>
          </p:cNvPr>
          <p:cNvSpPr>
            <a:spLocks noGrp="1"/>
          </p:cNvSpPr>
          <p:nvPr>
            <p:ph type="dt" sz="half" idx="10"/>
          </p:nvPr>
        </p:nvSpPr>
        <p:spPr/>
        <p:txBody>
          <a:bodyPr/>
          <a:lstStyle/>
          <a:p>
            <a:fld id="{60D0D249-0A93-1146-95E4-9C10624C1793}" type="datetimeFigureOut">
              <a:rPr lang="en-US" smtClean="0"/>
              <a:t>4/24/26</a:t>
            </a:fld>
            <a:endParaRPr lang="en-US"/>
          </a:p>
        </p:txBody>
      </p:sp>
      <p:sp>
        <p:nvSpPr>
          <p:cNvPr id="3" name="Footer Placeholder 2">
            <a:extLst>
              <a:ext uri="{FF2B5EF4-FFF2-40B4-BE49-F238E27FC236}">
                <a16:creationId xmlns:a16="http://schemas.microsoft.com/office/drawing/2014/main" id="{87E344FF-BC94-3558-95A6-E2BD23220EE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BD4F34F-4949-55EF-9450-D751A9995041}"/>
              </a:ext>
            </a:extLst>
          </p:cNvPr>
          <p:cNvSpPr>
            <a:spLocks noGrp="1"/>
          </p:cNvSpPr>
          <p:nvPr>
            <p:ph type="sldNum" sz="quarter" idx="12"/>
          </p:nvPr>
        </p:nvSpPr>
        <p:spPr/>
        <p:txBody>
          <a:bodyPr/>
          <a:lstStyle/>
          <a:p>
            <a:fld id="{468DE67D-C88F-BA48-97C7-38554DCCA25F}" type="slidenum">
              <a:rPr lang="en-US" smtClean="0"/>
              <a:t>‹#›</a:t>
            </a:fld>
            <a:endParaRPr lang="en-US"/>
          </a:p>
        </p:txBody>
      </p:sp>
    </p:spTree>
    <p:extLst>
      <p:ext uri="{BB962C8B-B14F-4D97-AF65-F5344CB8AC3E}">
        <p14:creationId xmlns:p14="http://schemas.microsoft.com/office/powerpoint/2010/main" val="29860810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ED6EFF-52BA-326D-FE5D-260D97367E7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E0B0D2C-979A-237B-E1B7-CA70C3FF783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E1A9B06-FED7-814B-26F0-CB6CCAF1C4A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5B6575F-524F-BBA0-BF5F-A2DE76526F25}"/>
              </a:ext>
            </a:extLst>
          </p:cNvPr>
          <p:cNvSpPr>
            <a:spLocks noGrp="1"/>
          </p:cNvSpPr>
          <p:nvPr>
            <p:ph type="dt" sz="half" idx="10"/>
          </p:nvPr>
        </p:nvSpPr>
        <p:spPr/>
        <p:txBody>
          <a:bodyPr/>
          <a:lstStyle/>
          <a:p>
            <a:fld id="{60D0D249-0A93-1146-95E4-9C10624C1793}" type="datetimeFigureOut">
              <a:rPr lang="en-US" smtClean="0"/>
              <a:t>4/24/26</a:t>
            </a:fld>
            <a:endParaRPr lang="en-US"/>
          </a:p>
        </p:txBody>
      </p:sp>
      <p:sp>
        <p:nvSpPr>
          <p:cNvPr id="6" name="Footer Placeholder 5">
            <a:extLst>
              <a:ext uri="{FF2B5EF4-FFF2-40B4-BE49-F238E27FC236}">
                <a16:creationId xmlns:a16="http://schemas.microsoft.com/office/drawing/2014/main" id="{82151142-F2C0-1AB4-490A-80F3EDDAB22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ACC403D-7A8F-BF0C-26A4-B81DD7E809D1}"/>
              </a:ext>
            </a:extLst>
          </p:cNvPr>
          <p:cNvSpPr>
            <a:spLocks noGrp="1"/>
          </p:cNvSpPr>
          <p:nvPr>
            <p:ph type="sldNum" sz="quarter" idx="12"/>
          </p:nvPr>
        </p:nvSpPr>
        <p:spPr/>
        <p:txBody>
          <a:bodyPr/>
          <a:lstStyle/>
          <a:p>
            <a:fld id="{468DE67D-C88F-BA48-97C7-38554DCCA25F}" type="slidenum">
              <a:rPr lang="en-US" smtClean="0"/>
              <a:t>‹#›</a:t>
            </a:fld>
            <a:endParaRPr lang="en-US"/>
          </a:p>
        </p:txBody>
      </p:sp>
    </p:spTree>
    <p:extLst>
      <p:ext uri="{BB962C8B-B14F-4D97-AF65-F5344CB8AC3E}">
        <p14:creationId xmlns:p14="http://schemas.microsoft.com/office/powerpoint/2010/main" val="7193956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916FF65-E16B-BA4F-9591-6B4416106527}" type="datetimeFigureOut">
              <a:rPr lang="en-US" smtClean="0"/>
              <a:t>4/24/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7653482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BC5B16-72EA-C746-3D8F-C97D7286885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985303B-25EB-885B-C7A3-8687F4637BA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65572A5-1526-ABB9-02BA-9CE1F0315BA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1097CC5-8AB9-A723-61F9-D34B56053240}"/>
              </a:ext>
            </a:extLst>
          </p:cNvPr>
          <p:cNvSpPr>
            <a:spLocks noGrp="1"/>
          </p:cNvSpPr>
          <p:nvPr>
            <p:ph type="dt" sz="half" idx="10"/>
          </p:nvPr>
        </p:nvSpPr>
        <p:spPr/>
        <p:txBody>
          <a:bodyPr/>
          <a:lstStyle/>
          <a:p>
            <a:fld id="{60D0D249-0A93-1146-95E4-9C10624C1793}" type="datetimeFigureOut">
              <a:rPr lang="en-US" smtClean="0"/>
              <a:t>4/24/26</a:t>
            </a:fld>
            <a:endParaRPr lang="en-US"/>
          </a:p>
        </p:txBody>
      </p:sp>
      <p:sp>
        <p:nvSpPr>
          <p:cNvPr id="6" name="Footer Placeholder 5">
            <a:extLst>
              <a:ext uri="{FF2B5EF4-FFF2-40B4-BE49-F238E27FC236}">
                <a16:creationId xmlns:a16="http://schemas.microsoft.com/office/drawing/2014/main" id="{C63B1B3C-B93F-B771-E16A-14A35411F64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8885865-7675-998B-1AFD-F891A38151BE}"/>
              </a:ext>
            </a:extLst>
          </p:cNvPr>
          <p:cNvSpPr>
            <a:spLocks noGrp="1"/>
          </p:cNvSpPr>
          <p:nvPr>
            <p:ph type="sldNum" sz="quarter" idx="12"/>
          </p:nvPr>
        </p:nvSpPr>
        <p:spPr/>
        <p:txBody>
          <a:bodyPr/>
          <a:lstStyle/>
          <a:p>
            <a:fld id="{468DE67D-C88F-BA48-97C7-38554DCCA25F}" type="slidenum">
              <a:rPr lang="en-US" smtClean="0"/>
              <a:t>‹#›</a:t>
            </a:fld>
            <a:endParaRPr lang="en-US"/>
          </a:p>
        </p:txBody>
      </p:sp>
    </p:spTree>
    <p:extLst>
      <p:ext uri="{BB962C8B-B14F-4D97-AF65-F5344CB8AC3E}">
        <p14:creationId xmlns:p14="http://schemas.microsoft.com/office/powerpoint/2010/main" val="3601748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8C9FBE-8115-85C7-C549-78DA0150303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A986A76-E831-8F84-D47A-BB8B37B8F9C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9F8DB77-ADAD-E358-41BD-9EF126ACE41F}"/>
              </a:ext>
            </a:extLst>
          </p:cNvPr>
          <p:cNvSpPr>
            <a:spLocks noGrp="1"/>
          </p:cNvSpPr>
          <p:nvPr>
            <p:ph type="dt" sz="half" idx="10"/>
          </p:nvPr>
        </p:nvSpPr>
        <p:spPr/>
        <p:txBody>
          <a:bodyPr/>
          <a:lstStyle/>
          <a:p>
            <a:fld id="{60D0D249-0A93-1146-95E4-9C10624C1793}" type="datetimeFigureOut">
              <a:rPr lang="en-US" smtClean="0"/>
              <a:t>4/24/26</a:t>
            </a:fld>
            <a:endParaRPr lang="en-US"/>
          </a:p>
        </p:txBody>
      </p:sp>
      <p:sp>
        <p:nvSpPr>
          <p:cNvPr id="5" name="Footer Placeholder 4">
            <a:extLst>
              <a:ext uri="{FF2B5EF4-FFF2-40B4-BE49-F238E27FC236}">
                <a16:creationId xmlns:a16="http://schemas.microsoft.com/office/drawing/2014/main" id="{2A019B6A-A32C-1140-A2C4-DBDC118CE8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22809F-05F1-5484-538F-F0BAE788EB78}"/>
              </a:ext>
            </a:extLst>
          </p:cNvPr>
          <p:cNvSpPr>
            <a:spLocks noGrp="1"/>
          </p:cNvSpPr>
          <p:nvPr>
            <p:ph type="sldNum" sz="quarter" idx="12"/>
          </p:nvPr>
        </p:nvSpPr>
        <p:spPr/>
        <p:txBody>
          <a:bodyPr/>
          <a:lstStyle/>
          <a:p>
            <a:fld id="{468DE67D-C88F-BA48-97C7-38554DCCA25F}" type="slidenum">
              <a:rPr lang="en-US" smtClean="0"/>
              <a:t>‹#›</a:t>
            </a:fld>
            <a:endParaRPr lang="en-US"/>
          </a:p>
        </p:txBody>
      </p:sp>
    </p:spTree>
    <p:extLst>
      <p:ext uri="{BB962C8B-B14F-4D97-AF65-F5344CB8AC3E}">
        <p14:creationId xmlns:p14="http://schemas.microsoft.com/office/powerpoint/2010/main" val="5719060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8539777-3974-4C66-8DCE-BFBA0FFC666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05AE211-2BBF-AB34-D861-6A6C810A44D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C629AF1-877A-0755-0511-85B4DA1A546F}"/>
              </a:ext>
            </a:extLst>
          </p:cNvPr>
          <p:cNvSpPr>
            <a:spLocks noGrp="1"/>
          </p:cNvSpPr>
          <p:nvPr>
            <p:ph type="dt" sz="half" idx="10"/>
          </p:nvPr>
        </p:nvSpPr>
        <p:spPr/>
        <p:txBody>
          <a:bodyPr/>
          <a:lstStyle/>
          <a:p>
            <a:fld id="{60D0D249-0A93-1146-95E4-9C10624C1793}" type="datetimeFigureOut">
              <a:rPr lang="en-US" smtClean="0"/>
              <a:t>4/24/26</a:t>
            </a:fld>
            <a:endParaRPr lang="en-US"/>
          </a:p>
        </p:txBody>
      </p:sp>
      <p:sp>
        <p:nvSpPr>
          <p:cNvPr id="5" name="Footer Placeholder 4">
            <a:extLst>
              <a:ext uri="{FF2B5EF4-FFF2-40B4-BE49-F238E27FC236}">
                <a16:creationId xmlns:a16="http://schemas.microsoft.com/office/drawing/2014/main" id="{7CB41369-0362-E616-3763-6F8F0DC58A2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483118D-6ABF-5F8B-F9ED-D1D57FECA943}"/>
              </a:ext>
            </a:extLst>
          </p:cNvPr>
          <p:cNvSpPr>
            <a:spLocks noGrp="1"/>
          </p:cNvSpPr>
          <p:nvPr>
            <p:ph type="sldNum" sz="quarter" idx="12"/>
          </p:nvPr>
        </p:nvSpPr>
        <p:spPr/>
        <p:txBody>
          <a:bodyPr/>
          <a:lstStyle/>
          <a:p>
            <a:fld id="{468DE67D-C88F-BA48-97C7-38554DCCA25F}" type="slidenum">
              <a:rPr lang="en-US" smtClean="0"/>
              <a:t>‹#›</a:t>
            </a:fld>
            <a:endParaRPr lang="en-US"/>
          </a:p>
        </p:txBody>
      </p:sp>
    </p:spTree>
    <p:extLst>
      <p:ext uri="{BB962C8B-B14F-4D97-AF65-F5344CB8AC3E}">
        <p14:creationId xmlns:p14="http://schemas.microsoft.com/office/powerpoint/2010/main" val="15335718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Slid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BDE7A-85D9-41DD-86FC-5A5E00CB01EC}"/>
              </a:ext>
            </a:extLst>
          </p:cNvPr>
          <p:cNvSpPr>
            <a:spLocks noGrp="1"/>
          </p:cNvSpPr>
          <p:nvPr>
            <p:ph type="ctrTitle" hasCustomPrompt="1"/>
          </p:nvPr>
        </p:nvSpPr>
        <p:spPr>
          <a:xfrm>
            <a:off x="640080" y="1489130"/>
            <a:ext cx="10972800" cy="2223261"/>
          </a:xfrm>
        </p:spPr>
        <p:txBody>
          <a:bodyPr anchor="b">
            <a:normAutofit/>
          </a:bodyPr>
          <a:lstStyle>
            <a:lvl1pPr algn="l">
              <a:defRPr sz="5400" b="1">
                <a:solidFill>
                  <a:srgbClr val="002557"/>
                </a:solidFill>
                <a:latin typeface="Arial" panose="020B0604020202020204" pitchFamily="34" charset="0"/>
                <a:cs typeface="Arial" panose="020B0604020202020204" pitchFamily="34" charset="0"/>
              </a:defRPr>
            </a:lvl1pPr>
          </a:lstStyle>
          <a:p>
            <a:r>
              <a:rPr lang="en-US" dirty="0"/>
              <a:t>TITLE OF MODULE/LECTURE</a:t>
            </a:r>
          </a:p>
        </p:txBody>
      </p:sp>
      <p:sp>
        <p:nvSpPr>
          <p:cNvPr id="3" name="Subtitle 2">
            <a:extLst>
              <a:ext uri="{FF2B5EF4-FFF2-40B4-BE49-F238E27FC236}">
                <a16:creationId xmlns:a16="http://schemas.microsoft.com/office/drawing/2014/main" id="{144CC758-05CD-498C-B7EA-1421DD07FBAE}"/>
              </a:ext>
            </a:extLst>
          </p:cNvPr>
          <p:cNvSpPr>
            <a:spLocks noGrp="1"/>
          </p:cNvSpPr>
          <p:nvPr>
            <p:ph type="subTitle" idx="1"/>
          </p:nvPr>
        </p:nvSpPr>
        <p:spPr>
          <a:xfrm>
            <a:off x="640080" y="3797535"/>
            <a:ext cx="10972800" cy="948671"/>
          </a:xfrm>
        </p:spPr>
        <p:txBody>
          <a:bodyPr>
            <a:normAutofit/>
          </a:bodyPr>
          <a:lstStyle>
            <a:lvl1pPr marL="0" indent="0" algn="l">
              <a:buNone/>
              <a:defRPr sz="2800">
                <a:solidFill>
                  <a:srgbClr val="00255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3" name="Text Placeholder 8">
            <a:extLst>
              <a:ext uri="{FF2B5EF4-FFF2-40B4-BE49-F238E27FC236}">
                <a16:creationId xmlns:a16="http://schemas.microsoft.com/office/drawing/2014/main" id="{1D9F7408-FA39-411A-B427-9F7A5AE9AC1D}"/>
              </a:ext>
            </a:extLst>
          </p:cNvPr>
          <p:cNvSpPr>
            <a:spLocks noGrp="1"/>
          </p:cNvSpPr>
          <p:nvPr>
            <p:ph type="body" sz="quarter" idx="14" hasCustomPrompt="1"/>
          </p:nvPr>
        </p:nvSpPr>
        <p:spPr>
          <a:xfrm>
            <a:off x="640080" y="5142187"/>
            <a:ext cx="10972800" cy="594131"/>
          </a:xfrm>
        </p:spPr>
        <p:txBody>
          <a:bodyPr>
            <a:noAutofit/>
          </a:bodyPr>
          <a:lstStyle>
            <a:lvl1pPr marL="0" indent="0">
              <a:buFontTx/>
              <a:buNone/>
              <a:defRPr sz="2000">
                <a:solidFill>
                  <a:srgbClr val="002557"/>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dirty="0"/>
              <a:t>Click to Edit Speaker</a:t>
            </a:r>
          </a:p>
        </p:txBody>
      </p:sp>
      <p:pic>
        <p:nvPicPr>
          <p:cNvPr id="16" name="Picture 15" descr="A close-up of a logo&#10;&#10;Description automatically generated with low confidence">
            <a:extLst>
              <a:ext uri="{FF2B5EF4-FFF2-40B4-BE49-F238E27FC236}">
                <a16:creationId xmlns:a16="http://schemas.microsoft.com/office/drawing/2014/main" id="{EE074238-864E-3958-FA33-DEE9C64186B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456" t="19616" r="3979" b="3414"/>
          <a:stretch/>
        </p:blipFill>
        <p:spPr>
          <a:xfrm>
            <a:off x="569361" y="198413"/>
            <a:ext cx="6754483" cy="1147313"/>
          </a:xfrm>
          <a:prstGeom prst="rect">
            <a:avLst/>
          </a:prstGeom>
        </p:spPr>
      </p:pic>
    </p:spTree>
    <p:extLst>
      <p:ext uri="{BB962C8B-B14F-4D97-AF65-F5344CB8AC3E}">
        <p14:creationId xmlns:p14="http://schemas.microsoft.com/office/powerpoint/2010/main" val="30375639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932884"/>
            <a:ext cx="10363200" cy="1300163"/>
          </a:xfrm>
        </p:spPr>
        <p:txBody>
          <a:bodyPr lIns="90000" tIns="46800" rIns="90000" bIns="46800"/>
          <a:lstStyle>
            <a:lvl1pPr algn="l">
              <a:defRPr sz="3732" spc="0" baseline="0">
                <a:solidFill>
                  <a:schemeClr val="tx2"/>
                </a:solidFill>
                <a:latin typeface="+mn-lt"/>
              </a:defRPr>
            </a:lvl1pPr>
          </a:lstStyle>
          <a:p>
            <a:r>
              <a:rPr lang="en-US" dirty="0"/>
              <a:t>Click to edit Master title style</a:t>
            </a:r>
            <a:endParaRPr lang="en-GB" dirty="0"/>
          </a:p>
        </p:txBody>
      </p:sp>
      <p:cxnSp>
        <p:nvCxnSpPr>
          <p:cNvPr id="5" name="Straight Connector 4"/>
          <p:cNvCxnSpPr/>
          <p:nvPr userDrawn="1"/>
        </p:nvCxnSpPr>
        <p:spPr>
          <a:xfrm flipV="1">
            <a:off x="528323" y="2880508"/>
            <a:ext cx="11135360" cy="9525"/>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ubtitle 2">
            <a:extLst>
              <a:ext uri="{FF2B5EF4-FFF2-40B4-BE49-F238E27FC236}">
                <a16:creationId xmlns:a16="http://schemas.microsoft.com/office/drawing/2014/main" id="{CB92EBC5-026D-4287-AF7F-3A7743A12C26}"/>
              </a:ext>
            </a:extLst>
          </p:cNvPr>
          <p:cNvSpPr>
            <a:spLocks noGrp="1"/>
          </p:cNvSpPr>
          <p:nvPr>
            <p:ph type="subTitle" idx="1"/>
          </p:nvPr>
        </p:nvSpPr>
        <p:spPr>
          <a:xfrm>
            <a:off x="914400" y="3624954"/>
            <a:ext cx="10363200" cy="693058"/>
          </a:xfrm>
          <a:prstGeom prst="rect">
            <a:avLst/>
          </a:prstGeom>
        </p:spPr>
        <p:txBody>
          <a:bodyPr/>
          <a:lstStyle>
            <a:lvl1pPr marL="0" indent="0">
              <a:buNone/>
              <a:defRPr sz="2133">
                <a:solidFill>
                  <a:schemeClr val="tx1"/>
                </a:solidFill>
                <a:latin typeface="+mn-lt"/>
              </a:defRPr>
            </a:lvl1pPr>
          </a:lstStyle>
          <a:p>
            <a:r>
              <a:rPr lang="en-GB" sz="2159" dirty="0"/>
              <a:t>Author names</a:t>
            </a:r>
            <a:r>
              <a:rPr lang="en-GB" sz="2159" baseline="30000" dirty="0"/>
              <a:t>1,2 </a:t>
            </a:r>
            <a:r>
              <a:rPr lang="en-GB" sz="2159" dirty="0"/>
              <a:t>(Arial 18 </a:t>
            </a:r>
            <a:r>
              <a:rPr lang="en-GB" sz="2159" dirty="0" err="1"/>
              <a:t>pt</a:t>
            </a:r>
            <a:r>
              <a:rPr lang="en-GB" sz="2159" dirty="0"/>
              <a:t>)</a:t>
            </a:r>
          </a:p>
        </p:txBody>
      </p:sp>
      <p:sp>
        <p:nvSpPr>
          <p:cNvPr id="12" name="Text Placeholder 3">
            <a:extLst>
              <a:ext uri="{FF2B5EF4-FFF2-40B4-BE49-F238E27FC236}">
                <a16:creationId xmlns:a16="http://schemas.microsoft.com/office/drawing/2014/main" id="{1E894BEA-76D2-43AC-BECE-7FE25863A859}"/>
              </a:ext>
            </a:extLst>
          </p:cNvPr>
          <p:cNvSpPr>
            <a:spLocks noGrp="1"/>
          </p:cNvSpPr>
          <p:nvPr>
            <p:ph type="body" sz="quarter" idx="10"/>
          </p:nvPr>
        </p:nvSpPr>
        <p:spPr>
          <a:xfrm>
            <a:off x="914400" y="5063065"/>
            <a:ext cx="10363200" cy="571500"/>
          </a:xfrm>
          <a:prstGeom prst="rect">
            <a:avLst/>
          </a:prstGeom>
        </p:spPr>
        <p:txBody>
          <a:bodyPr/>
          <a:lstStyle>
            <a:lvl1pPr marL="0" indent="0">
              <a:buNone/>
              <a:defRPr sz="1400" i="1">
                <a:solidFill>
                  <a:schemeClr val="tx1"/>
                </a:solidFill>
                <a:latin typeface="+mn-lt"/>
              </a:defRPr>
            </a:lvl1pPr>
          </a:lstStyle>
          <a:p>
            <a:r>
              <a:rPr lang="en-GB" sz="1440" baseline="30000" dirty="0"/>
              <a:t>1</a:t>
            </a:r>
            <a:r>
              <a:rPr lang="en-GB" sz="1440" dirty="0"/>
              <a:t>Affiliations (Arial 11 </a:t>
            </a:r>
            <a:r>
              <a:rPr lang="en-GB" sz="1440" dirty="0" err="1"/>
              <a:t>pt</a:t>
            </a:r>
            <a:r>
              <a:rPr lang="en-GB" sz="1440" dirty="0"/>
              <a:t> </a:t>
            </a:r>
            <a:r>
              <a:rPr lang="en-GB" sz="1440" dirty="0" err="1"/>
              <a:t>itals</a:t>
            </a:r>
            <a:r>
              <a:rPr lang="en-GB" sz="1440" dirty="0"/>
              <a:t>)</a:t>
            </a:r>
          </a:p>
        </p:txBody>
      </p:sp>
      <p:cxnSp>
        <p:nvCxnSpPr>
          <p:cNvPr id="13" name="Straight Connector 12">
            <a:extLst>
              <a:ext uri="{FF2B5EF4-FFF2-40B4-BE49-F238E27FC236}">
                <a16:creationId xmlns:a16="http://schemas.microsoft.com/office/drawing/2014/main" id="{2EF12FC8-6320-4F30-BC04-DA9B9FFDAA1B}"/>
              </a:ext>
            </a:extLst>
          </p:cNvPr>
          <p:cNvCxnSpPr>
            <a:cxnSpLocks/>
          </p:cNvCxnSpPr>
          <p:nvPr userDrawn="1"/>
        </p:nvCxnSpPr>
        <p:spPr>
          <a:xfrm flipH="1">
            <a:off x="545577" y="3146348"/>
            <a:ext cx="3811" cy="1242204"/>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6" name="Text Placeholder 3">
            <a:extLst>
              <a:ext uri="{FF2B5EF4-FFF2-40B4-BE49-F238E27FC236}">
                <a16:creationId xmlns:a16="http://schemas.microsoft.com/office/drawing/2014/main" id="{4A27C4D8-49BE-4F9F-8201-7490DEA848F6}"/>
              </a:ext>
            </a:extLst>
          </p:cNvPr>
          <p:cNvSpPr>
            <a:spLocks noGrp="1"/>
          </p:cNvSpPr>
          <p:nvPr>
            <p:ph type="body" sz="quarter" idx="13" hasCustomPrompt="1"/>
          </p:nvPr>
        </p:nvSpPr>
        <p:spPr>
          <a:xfrm>
            <a:off x="9659802" y="104288"/>
            <a:ext cx="2427877" cy="1343043"/>
          </a:xfrm>
          <a:prstGeom prst="rect">
            <a:avLst/>
          </a:prstGeom>
          <a:noFill/>
        </p:spPr>
        <p:txBody>
          <a:bodyPr anchor="ctr"/>
          <a:lstStyle>
            <a:lvl1pPr marL="0" indent="0">
              <a:buNone/>
              <a:defRPr sz="2133">
                <a:latin typeface="+mn-lt"/>
              </a:defRPr>
            </a:lvl1pPr>
          </a:lstStyle>
          <a:p>
            <a:pPr algn="ctr"/>
            <a:r>
              <a:rPr lang="en-GB" sz="2399" i="1" dirty="0">
                <a:solidFill>
                  <a:schemeClr val="tx2"/>
                </a:solidFill>
              </a:rPr>
              <a:t>Video location</a:t>
            </a:r>
          </a:p>
        </p:txBody>
      </p:sp>
    </p:spTree>
    <p:extLst>
      <p:ext uri="{BB962C8B-B14F-4D97-AF65-F5344CB8AC3E}">
        <p14:creationId xmlns:p14="http://schemas.microsoft.com/office/powerpoint/2010/main" val="36205173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Sectio">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33"/>
            <a:ext cx="10363200" cy="1300163"/>
          </a:xfrm>
        </p:spPr>
        <p:txBody>
          <a:bodyPr lIns="360000"/>
          <a:lstStyle>
            <a:lvl1pPr algn="l">
              <a:defRPr sz="4265" spc="0" baseline="0">
                <a:solidFill>
                  <a:schemeClr val="bg1"/>
                </a:solidFill>
                <a:latin typeface="+mn-lt"/>
              </a:defRPr>
            </a:lvl1pPr>
          </a:lstStyle>
          <a:p>
            <a:r>
              <a:rPr lang="en-US" dirty="0"/>
              <a:t>Click to edit Master title style</a:t>
            </a:r>
            <a:endParaRPr lang="en-GB" dirty="0"/>
          </a:p>
        </p:txBody>
      </p:sp>
      <p:sp>
        <p:nvSpPr>
          <p:cNvPr id="3" name="Subtitle 2"/>
          <p:cNvSpPr>
            <a:spLocks noGrp="1"/>
          </p:cNvSpPr>
          <p:nvPr>
            <p:ph type="subTitle" idx="1"/>
          </p:nvPr>
        </p:nvSpPr>
        <p:spPr>
          <a:xfrm>
            <a:off x="914400" y="3624954"/>
            <a:ext cx="10363200" cy="693058"/>
          </a:xfrm>
          <a:prstGeom prst="rect">
            <a:avLst/>
          </a:prstGeom>
        </p:spPr>
        <p:txBody>
          <a:bodyPr lIns="360000" tIns="45640" rIns="91280" bIns="45640"/>
          <a:lstStyle>
            <a:lvl1pPr marL="0" indent="0" algn="l">
              <a:spcBef>
                <a:spcPts val="0"/>
              </a:spcBef>
              <a:spcAft>
                <a:spcPts val="0"/>
              </a:spcAft>
              <a:buNone/>
              <a:defRPr sz="2133" i="1">
                <a:solidFill>
                  <a:schemeClr val="bg1"/>
                </a:solidFill>
                <a:latin typeface="+mn-lt"/>
              </a:defRPr>
            </a:lvl1pPr>
            <a:lvl2pPr marL="456226" indent="0" algn="ctr">
              <a:buNone/>
              <a:defRPr>
                <a:solidFill>
                  <a:schemeClr val="tx1">
                    <a:tint val="75000"/>
                  </a:schemeClr>
                </a:solidFill>
              </a:defRPr>
            </a:lvl2pPr>
            <a:lvl3pPr marL="912450" indent="0" algn="ctr">
              <a:buNone/>
              <a:defRPr>
                <a:solidFill>
                  <a:schemeClr val="tx1">
                    <a:tint val="75000"/>
                  </a:schemeClr>
                </a:solidFill>
              </a:defRPr>
            </a:lvl3pPr>
            <a:lvl4pPr marL="1368676" indent="0" algn="ctr">
              <a:buNone/>
              <a:defRPr>
                <a:solidFill>
                  <a:schemeClr val="tx1">
                    <a:tint val="75000"/>
                  </a:schemeClr>
                </a:solidFill>
              </a:defRPr>
            </a:lvl4pPr>
            <a:lvl5pPr marL="1824901" indent="0" algn="ctr">
              <a:buNone/>
              <a:defRPr>
                <a:solidFill>
                  <a:schemeClr val="tx1">
                    <a:tint val="75000"/>
                  </a:schemeClr>
                </a:solidFill>
              </a:defRPr>
            </a:lvl5pPr>
            <a:lvl6pPr marL="2281125" indent="0" algn="ctr">
              <a:buNone/>
              <a:defRPr>
                <a:solidFill>
                  <a:schemeClr val="tx1">
                    <a:tint val="75000"/>
                  </a:schemeClr>
                </a:solidFill>
              </a:defRPr>
            </a:lvl6pPr>
            <a:lvl7pPr marL="2737353" indent="0" algn="ctr">
              <a:buNone/>
              <a:defRPr>
                <a:solidFill>
                  <a:schemeClr val="tx1">
                    <a:tint val="75000"/>
                  </a:schemeClr>
                </a:solidFill>
              </a:defRPr>
            </a:lvl7pPr>
            <a:lvl8pPr marL="3193576" indent="0" algn="ctr">
              <a:buNone/>
              <a:defRPr>
                <a:solidFill>
                  <a:schemeClr val="tx1">
                    <a:tint val="75000"/>
                  </a:schemeClr>
                </a:solidFill>
              </a:defRPr>
            </a:lvl8pPr>
            <a:lvl9pPr marL="3649797" indent="0" algn="ctr">
              <a:buNone/>
              <a:defRPr>
                <a:solidFill>
                  <a:schemeClr val="tx1">
                    <a:tint val="75000"/>
                  </a:schemeClr>
                </a:solidFill>
              </a:defRPr>
            </a:lvl9pPr>
          </a:lstStyle>
          <a:p>
            <a:r>
              <a:rPr lang="en-US" dirty="0"/>
              <a:t>Click to edit Master subtitle style</a:t>
            </a:r>
            <a:endParaRPr lang="en-GB" dirty="0"/>
          </a:p>
        </p:txBody>
      </p:sp>
      <p:cxnSp>
        <p:nvCxnSpPr>
          <p:cNvPr id="5" name="Straight Connector 4">
            <a:extLst>
              <a:ext uri="{FF2B5EF4-FFF2-40B4-BE49-F238E27FC236}">
                <a16:creationId xmlns:a16="http://schemas.microsoft.com/office/drawing/2014/main" id="{1C4B9F0A-2668-7142-8307-4E6DEED2A492}"/>
              </a:ext>
            </a:extLst>
          </p:cNvPr>
          <p:cNvCxnSpPr/>
          <p:nvPr userDrawn="1"/>
        </p:nvCxnSpPr>
        <p:spPr>
          <a:xfrm>
            <a:off x="914400" y="2130434"/>
            <a:ext cx="0" cy="2187579"/>
          </a:xfrm>
          <a:prstGeom prst="line">
            <a:avLst/>
          </a:prstGeom>
          <a:ln w="635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03048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8321" y="241925"/>
            <a:ext cx="8246376" cy="907252"/>
          </a:xfrm>
        </p:spPr>
        <p:txBody>
          <a:bodyPr/>
          <a:lstStyle>
            <a:lvl1pPr>
              <a:lnSpc>
                <a:spcPts val="3839"/>
              </a:lnSpc>
              <a:defRPr sz="3732"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3" y="1268964"/>
            <a:ext cx="11135360" cy="9525"/>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15"/>
          <p:cNvSpPr>
            <a:spLocks noGrp="1"/>
          </p:cNvSpPr>
          <p:nvPr>
            <p:ph type="body" sz="quarter" idx="11" hasCustomPrompt="1"/>
          </p:nvPr>
        </p:nvSpPr>
        <p:spPr>
          <a:xfrm>
            <a:off x="527049" y="6259600"/>
            <a:ext cx="4800000" cy="360000"/>
          </a:xfrm>
          <a:prstGeom prst="rect">
            <a:avLst/>
          </a:prstGeom>
        </p:spPr>
        <p:txBody>
          <a:bodyPr lIns="0" tIns="0" rIns="0" bIns="0" anchor="b"/>
          <a:lstStyle>
            <a:lvl1pPr marL="0" indent="0">
              <a:buNone/>
              <a:tabLst/>
              <a:defRPr sz="1080">
                <a:solidFill>
                  <a:schemeClr val="tx1"/>
                </a:solidFill>
                <a:latin typeface="+mn-lt"/>
                <a:cs typeface="Arial" panose="020B0604020202020204" pitchFamily="34" charset="0"/>
              </a:defRPr>
            </a:lvl1pPr>
          </a:lstStyle>
          <a:p>
            <a:pPr lvl="0"/>
            <a:r>
              <a:rPr lang="en-US" dirty="0"/>
              <a:t>Footnotes</a:t>
            </a:r>
          </a:p>
        </p:txBody>
      </p:sp>
      <p:sp>
        <p:nvSpPr>
          <p:cNvPr id="18" name="Text Placeholder 17"/>
          <p:cNvSpPr>
            <a:spLocks noGrp="1"/>
          </p:cNvSpPr>
          <p:nvPr>
            <p:ph type="body" sz="quarter" idx="12" hasCustomPrompt="1"/>
          </p:nvPr>
        </p:nvSpPr>
        <p:spPr>
          <a:xfrm>
            <a:off x="6864951" y="6259600"/>
            <a:ext cx="4800000" cy="360000"/>
          </a:xfrm>
          <a:prstGeom prst="rect">
            <a:avLst/>
          </a:prstGeom>
        </p:spPr>
        <p:txBody>
          <a:bodyPr lIns="0" tIns="0" rIns="0" bIns="0" anchor="b"/>
          <a:lstStyle>
            <a:lvl1pPr marL="212274" indent="-212274" algn="r">
              <a:buNone/>
              <a:defRPr lang="en-GB" sz="1080" dirty="0">
                <a:solidFill>
                  <a:schemeClr val="tx1"/>
                </a:solidFill>
                <a:latin typeface="+mn-lt"/>
              </a:defRPr>
            </a:lvl1pPr>
          </a:lstStyle>
          <a:p>
            <a:pPr marL="0" lvl="0" indent="0"/>
            <a:r>
              <a:rPr lang="en-GB" dirty="0"/>
              <a:t>References</a:t>
            </a:r>
          </a:p>
        </p:txBody>
      </p:sp>
      <p:sp>
        <p:nvSpPr>
          <p:cNvPr id="7" name="Text Placeholder 3">
            <a:extLst>
              <a:ext uri="{FF2B5EF4-FFF2-40B4-BE49-F238E27FC236}">
                <a16:creationId xmlns:a16="http://schemas.microsoft.com/office/drawing/2014/main" id="{CA9898A9-9A13-49ED-AB91-E1277119FA32}"/>
              </a:ext>
            </a:extLst>
          </p:cNvPr>
          <p:cNvSpPr>
            <a:spLocks noGrp="1"/>
          </p:cNvSpPr>
          <p:nvPr>
            <p:ph type="body" sz="quarter" idx="13" hasCustomPrompt="1"/>
          </p:nvPr>
        </p:nvSpPr>
        <p:spPr>
          <a:xfrm>
            <a:off x="9659802" y="104288"/>
            <a:ext cx="2427877" cy="1343043"/>
          </a:xfrm>
          <a:prstGeom prst="rect">
            <a:avLst/>
          </a:prstGeom>
          <a:noFill/>
        </p:spPr>
        <p:txBody>
          <a:bodyPr anchor="ctr"/>
          <a:lstStyle>
            <a:lvl1pPr marL="0" indent="0">
              <a:buNone/>
              <a:defRPr sz="2133">
                <a:latin typeface="+mn-lt"/>
              </a:defRPr>
            </a:lvl1pPr>
          </a:lstStyle>
          <a:p>
            <a:pPr algn="ctr"/>
            <a:r>
              <a:rPr lang="en-GB" sz="2399" i="1" dirty="0">
                <a:solidFill>
                  <a:schemeClr val="tx2"/>
                </a:solidFill>
              </a:rPr>
              <a:t>Video location</a:t>
            </a:r>
          </a:p>
        </p:txBody>
      </p:sp>
      <p:sp>
        <p:nvSpPr>
          <p:cNvPr id="8" name="Text Placeholder 13">
            <a:extLst>
              <a:ext uri="{FF2B5EF4-FFF2-40B4-BE49-F238E27FC236}">
                <a16:creationId xmlns:a16="http://schemas.microsoft.com/office/drawing/2014/main" id="{47745C21-9B99-486C-9373-656E692F4534}"/>
              </a:ext>
            </a:extLst>
          </p:cNvPr>
          <p:cNvSpPr>
            <a:spLocks noGrp="1"/>
          </p:cNvSpPr>
          <p:nvPr>
            <p:ph type="body" sz="quarter" idx="10"/>
          </p:nvPr>
        </p:nvSpPr>
        <p:spPr>
          <a:xfrm>
            <a:off x="527057" y="1735944"/>
            <a:ext cx="11137900" cy="4155314"/>
          </a:xfrm>
          <a:prstGeom prst="rect">
            <a:avLst/>
          </a:prstGeom>
        </p:spPr>
        <p:txBody>
          <a:bodyPr lIns="72000" tIns="0" rIns="72000" bIns="0"/>
          <a:lstStyle>
            <a:lvl1pPr>
              <a:spcAft>
                <a:spcPts val="720"/>
              </a:spcAft>
              <a:buClr>
                <a:schemeClr val="tx2"/>
              </a:buClr>
              <a:defRPr sz="2133">
                <a:solidFill>
                  <a:schemeClr val="tx1"/>
                </a:solidFill>
                <a:latin typeface="+mn-lt"/>
              </a:defRPr>
            </a:lvl1pPr>
            <a:lvl2pPr>
              <a:spcAft>
                <a:spcPts val="720"/>
              </a:spcAft>
              <a:buClr>
                <a:schemeClr val="tx2"/>
              </a:buClr>
              <a:defRPr sz="1866">
                <a:solidFill>
                  <a:schemeClr val="tx1"/>
                </a:solidFill>
                <a:latin typeface="+mn-lt"/>
              </a:defRPr>
            </a:lvl2pPr>
            <a:lvl3pPr>
              <a:spcAft>
                <a:spcPts val="720"/>
              </a:spcAft>
              <a:buClr>
                <a:schemeClr val="tx2"/>
              </a:buClr>
              <a:defRPr sz="1599">
                <a:solidFill>
                  <a:schemeClr val="tx1"/>
                </a:solidFill>
                <a:latin typeface="+mn-lt"/>
              </a:defRPr>
            </a:lvl3pPr>
            <a:lvl4pPr>
              <a:spcAft>
                <a:spcPts val="720"/>
              </a:spcAft>
              <a:buClr>
                <a:schemeClr val="accent6"/>
              </a:buClr>
              <a:defRPr sz="1679">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106391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8321" y="241925"/>
            <a:ext cx="8246376" cy="907252"/>
          </a:xfrm>
        </p:spPr>
        <p:txBody>
          <a:bodyPr/>
          <a:lstStyle>
            <a:lvl1pPr>
              <a:lnSpc>
                <a:spcPts val="3839"/>
              </a:lnSpc>
              <a:defRPr sz="3732"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3" y="1268964"/>
            <a:ext cx="11135360" cy="9525"/>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15"/>
          <p:cNvSpPr>
            <a:spLocks noGrp="1"/>
          </p:cNvSpPr>
          <p:nvPr>
            <p:ph type="body" sz="quarter" idx="11" hasCustomPrompt="1"/>
          </p:nvPr>
        </p:nvSpPr>
        <p:spPr>
          <a:xfrm>
            <a:off x="527049" y="6259600"/>
            <a:ext cx="4800000" cy="360000"/>
          </a:xfrm>
          <a:prstGeom prst="rect">
            <a:avLst/>
          </a:prstGeom>
        </p:spPr>
        <p:txBody>
          <a:bodyPr lIns="0" tIns="0" rIns="0" bIns="0" anchor="b"/>
          <a:lstStyle>
            <a:lvl1pPr marL="0" indent="0">
              <a:buNone/>
              <a:tabLst/>
              <a:defRPr sz="1080">
                <a:solidFill>
                  <a:schemeClr val="tx1"/>
                </a:solidFill>
                <a:latin typeface="+mn-lt"/>
                <a:cs typeface="Arial" panose="020B0604020202020204" pitchFamily="34" charset="0"/>
              </a:defRPr>
            </a:lvl1pPr>
          </a:lstStyle>
          <a:p>
            <a:pPr lvl="0"/>
            <a:r>
              <a:rPr lang="en-US" dirty="0"/>
              <a:t>Footnotes</a:t>
            </a:r>
          </a:p>
        </p:txBody>
      </p:sp>
      <p:sp>
        <p:nvSpPr>
          <p:cNvPr id="18" name="Text Placeholder 17"/>
          <p:cNvSpPr>
            <a:spLocks noGrp="1"/>
          </p:cNvSpPr>
          <p:nvPr>
            <p:ph type="body" sz="quarter" idx="12" hasCustomPrompt="1"/>
          </p:nvPr>
        </p:nvSpPr>
        <p:spPr>
          <a:xfrm>
            <a:off x="6864951" y="6259600"/>
            <a:ext cx="4800000" cy="360000"/>
          </a:xfrm>
          <a:prstGeom prst="rect">
            <a:avLst/>
          </a:prstGeom>
        </p:spPr>
        <p:txBody>
          <a:bodyPr lIns="0" tIns="0" rIns="0" bIns="0" anchor="b"/>
          <a:lstStyle>
            <a:lvl1pPr marL="212274" indent="-212274" algn="r">
              <a:buNone/>
              <a:defRPr lang="en-GB" sz="1080" dirty="0">
                <a:solidFill>
                  <a:schemeClr val="tx1"/>
                </a:solidFill>
                <a:latin typeface="+mn-lt"/>
              </a:defRPr>
            </a:lvl1pPr>
          </a:lstStyle>
          <a:p>
            <a:pPr marL="0" lvl="0" indent="0"/>
            <a:r>
              <a:rPr lang="en-GB" dirty="0"/>
              <a:t>References</a:t>
            </a:r>
          </a:p>
        </p:txBody>
      </p:sp>
      <p:sp>
        <p:nvSpPr>
          <p:cNvPr id="7" name="Text Placeholder 3">
            <a:extLst>
              <a:ext uri="{FF2B5EF4-FFF2-40B4-BE49-F238E27FC236}">
                <a16:creationId xmlns:a16="http://schemas.microsoft.com/office/drawing/2014/main" id="{CA9898A9-9A13-49ED-AB91-E1277119FA32}"/>
              </a:ext>
            </a:extLst>
          </p:cNvPr>
          <p:cNvSpPr>
            <a:spLocks noGrp="1"/>
          </p:cNvSpPr>
          <p:nvPr>
            <p:ph type="body" sz="quarter" idx="13" hasCustomPrompt="1"/>
          </p:nvPr>
        </p:nvSpPr>
        <p:spPr>
          <a:xfrm>
            <a:off x="9659802" y="104288"/>
            <a:ext cx="2427877" cy="1343043"/>
          </a:xfrm>
          <a:prstGeom prst="rect">
            <a:avLst/>
          </a:prstGeom>
          <a:noFill/>
        </p:spPr>
        <p:txBody>
          <a:bodyPr anchor="ctr"/>
          <a:lstStyle>
            <a:lvl1pPr marL="0" indent="0">
              <a:buNone/>
              <a:defRPr sz="2133">
                <a:latin typeface="+mn-lt"/>
              </a:defRPr>
            </a:lvl1pPr>
          </a:lstStyle>
          <a:p>
            <a:pPr algn="ctr"/>
            <a:r>
              <a:rPr lang="en-GB" sz="2399" i="1" dirty="0">
                <a:solidFill>
                  <a:schemeClr val="tx2"/>
                </a:solidFill>
              </a:rPr>
              <a:t>Video location</a:t>
            </a:r>
          </a:p>
        </p:txBody>
      </p:sp>
      <p:sp>
        <p:nvSpPr>
          <p:cNvPr id="8" name="Text Placeholder 13">
            <a:extLst>
              <a:ext uri="{FF2B5EF4-FFF2-40B4-BE49-F238E27FC236}">
                <a16:creationId xmlns:a16="http://schemas.microsoft.com/office/drawing/2014/main" id="{47745C21-9B99-486C-9373-656E692F4534}"/>
              </a:ext>
            </a:extLst>
          </p:cNvPr>
          <p:cNvSpPr>
            <a:spLocks noGrp="1"/>
          </p:cNvSpPr>
          <p:nvPr>
            <p:ph type="body" sz="quarter" idx="10"/>
          </p:nvPr>
        </p:nvSpPr>
        <p:spPr>
          <a:xfrm>
            <a:off x="527057" y="1754478"/>
            <a:ext cx="11137900" cy="1186397"/>
          </a:xfrm>
          <a:prstGeom prst="round1Rect">
            <a:avLst>
              <a:gd name="adj" fmla="val 11105"/>
            </a:avLst>
          </a:prstGeom>
          <a:solidFill>
            <a:schemeClr val="accent3">
              <a:lumMod val="20000"/>
              <a:lumOff val="80000"/>
              <a:alpha val="70000"/>
            </a:schemeClr>
          </a:solidFill>
          <a:effectLst/>
        </p:spPr>
        <p:txBody>
          <a:bodyPr lIns="72000" tIns="72000" rIns="72000" bIns="72000" anchor="ctr">
            <a:spAutoFit/>
          </a:bodyPr>
          <a:lstStyle>
            <a:lvl1pPr>
              <a:spcAft>
                <a:spcPts val="720"/>
              </a:spcAft>
              <a:buClr>
                <a:schemeClr val="tx2"/>
              </a:buClr>
              <a:defRPr sz="2133">
                <a:solidFill>
                  <a:schemeClr val="tx1"/>
                </a:solidFill>
                <a:latin typeface="+mn-lt"/>
              </a:defRPr>
            </a:lvl1pPr>
            <a:lvl2pPr>
              <a:spcAft>
                <a:spcPts val="720"/>
              </a:spcAft>
              <a:buClr>
                <a:schemeClr val="tx2"/>
              </a:buClr>
              <a:defRPr sz="1866">
                <a:solidFill>
                  <a:schemeClr val="tx1"/>
                </a:solidFill>
                <a:latin typeface="+mn-lt"/>
              </a:defRPr>
            </a:lvl2pPr>
            <a:lvl3pPr>
              <a:spcAft>
                <a:spcPts val="0"/>
              </a:spcAft>
              <a:buClr>
                <a:schemeClr val="tx2"/>
              </a:buClr>
              <a:defRPr sz="1599">
                <a:solidFill>
                  <a:schemeClr val="tx1"/>
                </a:solidFill>
                <a:latin typeface="+mn-lt"/>
              </a:defRPr>
            </a:lvl3pPr>
            <a:lvl4pPr>
              <a:spcAft>
                <a:spcPts val="720"/>
              </a:spcAft>
              <a:buClr>
                <a:schemeClr val="accent6"/>
              </a:buClr>
              <a:defRPr sz="1679">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2530660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7058" y="241934"/>
            <a:ext cx="8247641" cy="907252"/>
          </a:xfrm>
        </p:spPr>
        <p:txBody>
          <a:bodyPr/>
          <a:lstStyle>
            <a:lvl1pPr>
              <a:lnSpc>
                <a:spcPts val="3839"/>
              </a:lnSpc>
              <a:defRPr sz="3732"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3" y="1268964"/>
            <a:ext cx="11135360" cy="9525"/>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 Placeholder 15">
            <a:extLst>
              <a:ext uri="{FF2B5EF4-FFF2-40B4-BE49-F238E27FC236}">
                <a16:creationId xmlns:a16="http://schemas.microsoft.com/office/drawing/2014/main" id="{DCEB6377-7DF2-433B-947B-5145BF52DFCB}"/>
              </a:ext>
            </a:extLst>
          </p:cNvPr>
          <p:cNvSpPr>
            <a:spLocks noGrp="1"/>
          </p:cNvSpPr>
          <p:nvPr>
            <p:ph type="body" sz="quarter" idx="11" hasCustomPrompt="1"/>
          </p:nvPr>
        </p:nvSpPr>
        <p:spPr>
          <a:xfrm>
            <a:off x="527049" y="6259600"/>
            <a:ext cx="4800000" cy="360000"/>
          </a:xfrm>
          <a:prstGeom prst="rect">
            <a:avLst/>
          </a:prstGeom>
        </p:spPr>
        <p:txBody>
          <a:bodyPr lIns="0" tIns="0" rIns="0" bIns="0" anchor="b"/>
          <a:lstStyle>
            <a:lvl1pPr marL="0" indent="0">
              <a:buNone/>
              <a:defRPr sz="1066">
                <a:solidFill>
                  <a:schemeClr val="tx1"/>
                </a:solidFill>
                <a:latin typeface="+mn-lt"/>
                <a:cs typeface="Arial" panose="020B0604020202020204" pitchFamily="34" charset="0"/>
              </a:defRPr>
            </a:lvl1pPr>
          </a:lstStyle>
          <a:p>
            <a:pPr lvl="0"/>
            <a:r>
              <a:rPr lang="en-US" dirty="0"/>
              <a:t>Footnotes</a:t>
            </a:r>
          </a:p>
        </p:txBody>
      </p:sp>
      <p:sp>
        <p:nvSpPr>
          <p:cNvPr id="9" name="Text Placeholder 17">
            <a:extLst>
              <a:ext uri="{FF2B5EF4-FFF2-40B4-BE49-F238E27FC236}">
                <a16:creationId xmlns:a16="http://schemas.microsoft.com/office/drawing/2014/main" id="{492B9EF9-365E-471A-80C3-7563D12C18E8}"/>
              </a:ext>
            </a:extLst>
          </p:cNvPr>
          <p:cNvSpPr>
            <a:spLocks noGrp="1"/>
          </p:cNvSpPr>
          <p:nvPr>
            <p:ph type="body" sz="quarter" idx="12" hasCustomPrompt="1"/>
          </p:nvPr>
        </p:nvSpPr>
        <p:spPr>
          <a:xfrm>
            <a:off x="6864951" y="6259600"/>
            <a:ext cx="4800000" cy="360000"/>
          </a:xfrm>
          <a:prstGeom prst="rect">
            <a:avLst/>
          </a:prstGeom>
        </p:spPr>
        <p:txBody>
          <a:bodyPr lIns="0" tIns="0" rIns="0" bIns="0" anchor="b"/>
          <a:lstStyle>
            <a:lvl1pPr marL="212274" indent="-212274" algn="r">
              <a:buNone/>
              <a:defRPr lang="en-GB" sz="1066" dirty="0">
                <a:solidFill>
                  <a:schemeClr val="tx1"/>
                </a:solidFill>
                <a:latin typeface="+mn-lt"/>
              </a:defRPr>
            </a:lvl1pPr>
          </a:lstStyle>
          <a:p>
            <a:pPr marL="0" lvl="0" indent="0"/>
            <a:r>
              <a:rPr lang="en-GB" dirty="0"/>
              <a:t>References</a:t>
            </a:r>
          </a:p>
        </p:txBody>
      </p:sp>
      <p:sp>
        <p:nvSpPr>
          <p:cNvPr id="11" name="Text Placeholder 3">
            <a:extLst>
              <a:ext uri="{FF2B5EF4-FFF2-40B4-BE49-F238E27FC236}">
                <a16:creationId xmlns:a16="http://schemas.microsoft.com/office/drawing/2014/main" id="{312D42AB-8B51-41E8-BB9D-68E15C9276EA}"/>
              </a:ext>
            </a:extLst>
          </p:cNvPr>
          <p:cNvSpPr>
            <a:spLocks noGrp="1"/>
          </p:cNvSpPr>
          <p:nvPr>
            <p:ph type="body" sz="quarter" idx="14" hasCustomPrompt="1"/>
          </p:nvPr>
        </p:nvSpPr>
        <p:spPr>
          <a:xfrm>
            <a:off x="9659802" y="104288"/>
            <a:ext cx="2427877" cy="1343043"/>
          </a:xfrm>
          <a:prstGeom prst="rect">
            <a:avLst/>
          </a:prstGeom>
          <a:noFill/>
        </p:spPr>
        <p:txBody>
          <a:bodyPr anchor="ctr"/>
          <a:lstStyle>
            <a:lvl1pPr marL="0" indent="0">
              <a:buNone/>
              <a:defRPr sz="2133">
                <a:latin typeface="+mn-lt"/>
              </a:defRPr>
            </a:lvl1pPr>
          </a:lstStyle>
          <a:p>
            <a:pPr algn="ctr"/>
            <a:r>
              <a:rPr lang="en-GB" sz="2399" i="1" dirty="0">
                <a:solidFill>
                  <a:schemeClr val="tx2"/>
                </a:solidFill>
              </a:rPr>
              <a:t>Video location</a:t>
            </a:r>
          </a:p>
        </p:txBody>
      </p:sp>
      <p:sp>
        <p:nvSpPr>
          <p:cNvPr id="12" name="Text Placeholder 13">
            <a:extLst>
              <a:ext uri="{FF2B5EF4-FFF2-40B4-BE49-F238E27FC236}">
                <a16:creationId xmlns:a16="http://schemas.microsoft.com/office/drawing/2014/main" id="{8A8F6F41-E4E2-4CF5-B3F3-601469C45B3B}"/>
              </a:ext>
            </a:extLst>
          </p:cNvPr>
          <p:cNvSpPr>
            <a:spLocks noGrp="1"/>
          </p:cNvSpPr>
          <p:nvPr>
            <p:ph type="body" sz="quarter" idx="10"/>
          </p:nvPr>
        </p:nvSpPr>
        <p:spPr>
          <a:xfrm>
            <a:off x="527057" y="1735944"/>
            <a:ext cx="5482535" cy="4155314"/>
          </a:xfrm>
          <a:prstGeom prst="rect">
            <a:avLst/>
          </a:prstGeom>
        </p:spPr>
        <p:txBody>
          <a:bodyPr lIns="72000" tIns="0" rIns="72000" bIns="0"/>
          <a:lstStyle>
            <a:lvl1pPr>
              <a:spcAft>
                <a:spcPts val="720"/>
              </a:spcAft>
              <a:buClr>
                <a:schemeClr val="tx2"/>
              </a:buClr>
              <a:defRPr sz="2133">
                <a:solidFill>
                  <a:schemeClr val="tx1"/>
                </a:solidFill>
                <a:latin typeface="+mn-lt"/>
              </a:defRPr>
            </a:lvl1pPr>
            <a:lvl2pPr>
              <a:spcAft>
                <a:spcPts val="720"/>
              </a:spcAft>
              <a:buClr>
                <a:schemeClr val="tx2"/>
              </a:buClr>
              <a:defRPr sz="1866">
                <a:solidFill>
                  <a:schemeClr val="tx1"/>
                </a:solidFill>
                <a:latin typeface="+mn-lt"/>
              </a:defRPr>
            </a:lvl2pPr>
            <a:lvl3pPr>
              <a:spcAft>
                <a:spcPts val="720"/>
              </a:spcAft>
              <a:buClr>
                <a:schemeClr val="tx2"/>
              </a:buClr>
              <a:defRPr sz="1599">
                <a:solidFill>
                  <a:schemeClr val="tx1"/>
                </a:solidFill>
                <a:latin typeface="+mn-lt"/>
              </a:defRPr>
            </a:lvl3pPr>
            <a:lvl4pPr>
              <a:spcAft>
                <a:spcPts val="720"/>
              </a:spcAft>
              <a:buClr>
                <a:schemeClr val="accent6"/>
              </a:buClr>
              <a:defRPr sz="1679">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
        <p:nvSpPr>
          <p:cNvPr id="13" name="Text Placeholder 13">
            <a:extLst>
              <a:ext uri="{FF2B5EF4-FFF2-40B4-BE49-F238E27FC236}">
                <a16:creationId xmlns:a16="http://schemas.microsoft.com/office/drawing/2014/main" id="{D0B2D27A-03CE-4684-A81D-3025ABD3C9FB}"/>
              </a:ext>
            </a:extLst>
          </p:cNvPr>
          <p:cNvSpPr>
            <a:spLocks noGrp="1"/>
          </p:cNvSpPr>
          <p:nvPr>
            <p:ph type="body" sz="quarter" idx="15"/>
          </p:nvPr>
        </p:nvSpPr>
        <p:spPr>
          <a:xfrm>
            <a:off x="6182413" y="1735944"/>
            <a:ext cx="5482539" cy="4155314"/>
          </a:xfrm>
          <a:prstGeom prst="rect">
            <a:avLst/>
          </a:prstGeom>
        </p:spPr>
        <p:txBody>
          <a:bodyPr lIns="72000" tIns="0" rIns="72000" bIns="0"/>
          <a:lstStyle>
            <a:lvl1pPr>
              <a:spcAft>
                <a:spcPts val="720"/>
              </a:spcAft>
              <a:buClr>
                <a:schemeClr val="tx2"/>
              </a:buClr>
              <a:defRPr sz="2133">
                <a:solidFill>
                  <a:schemeClr val="tx1"/>
                </a:solidFill>
                <a:latin typeface="+mn-lt"/>
              </a:defRPr>
            </a:lvl1pPr>
            <a:lvl2pPr>
              <a:spcAft>
                <a:spcPts val="720"/>
              </a:spcAft>
              <a:buClr>
                <a:schemeClr val="tx2"/>
              </a:buClr>
              <a:defRPr sz="1866">
                <a:solidFill>
                  <a:schemeClr val="tx1"/>
                </a:solidFill>
                <a:latin typeface="+mn-lt"/>
              </a:defRPr>
            </a:lvl2pPr>
            <a:lvl3pPr>
              <a:spcAft>
                <a:spcPts val="720"/>
              </a:spcAft>
              <a:buClr>
                <a:schemeClr val="tx2"/>
              </a:buClr>
              <a:defRPr sz="1599">
                <a:solidFill>
                  <a:schemeClr val="tx1"/>
                </a:solidFill>
                <a:latin typeface="+mn-lt"/>
              </a:defRPr>
            </a:lvl3pPr>
            <a:lvl4pPr>
              <a:spcAft>
                <a:spcPts val="720"/>
              </a:spcAft>
              <a:buClr>
                <a:schemeClr val="accent6"/>
              </a:buClr>
              <a:defRPr sz="1679">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5219755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7058" y="241934"/>
            <a:ext cx="8247641" cy="907252"/>
          </a:xfrm>
        </p:spPr>
        <p:txBody>
          <a:bodyPr/>
          <a:lstStyle>
            <a:lvl1pPr>
              <a:lnSpc>
                <a:spcPts val="3839"/>
              </a:lnSpc>
              <a:defRPr sz="3732"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3" y="1268964"/>
            <a:ext cx="11135360" cy="9525"/>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 Placeholder 15">
            <a:extLst>
              <a:ext uri="{FF2B5EF4-FFF2-40B4-BE49-F238E27FC236}">
                <a16:creationId xmlns:a16="http://schemas.microsoft.com/office/drawing/2014/main" id="{DCEB6377-7DF2-433B-947B-5145BF52DFCB}"/>
              </a:ext>
            </a:extLst>
          </p:cNvPr>
          <p:cNvSpPr>
            <a:spLocks noGrp="1"/>
          </p:cNvSpPr>
          <p:nvPr>
            <p:ph type="body" sz="quarter" idx="11" hasCustomPrompt="1"/>
          </p:nvPr>
        </p:nvSpPr>
        <p:spPr>
          <a:xfrm>
            <a:off x="527049" y="6259600"/>
            <a:ext cx="4800000" cy="360000"/>
          </a:xfrm>
          <a:prstGeom prst="rect">
            <a:avLst/>
          </a:prstGeom>
        </p:spPr>
        <p:txBody>
          <a:bodyPr lIns="0" tIns="0" rIns="0" bIns="0" anchor="b"/>
          <a:lstStyle>
            <a:lvl1pPr marL="0" indent="0">
              <a:buNone/>
              <a:defRPr sz="1066">
                <a:solidFill>
                  <a:schemeClr val="tx1"/>
                </a:solidFill>
                <a:latin typeface="+mn-lt"/>
                <a:cs typeface="Arial" panose="020B0604020202020204" pitchFamily="34" charset="0"/>
              </a:defRPr>
            </a:lvl1pPr>
          </a:lstStyle>
          <a:p>
            <a:pPr lvl="0"/>
            <a:r>
              <a:rPr lang="en-US" dirty="0"/>
              <a:t>Footnotes</a:t>
            </a:r>
          </a:p>
        </p:txBody>
      </p:sp>
      <p:sp>
        <p:nvSpPr>
          <p:cNvPr id="9" name="Text Placeholder 17">
            <a:extLst>
              <a:ext uri="{FF2B5EF4-FFF2-40B4-BE49-F238E27FC236}">
                <a16:creationId xmlns:a16="http://schemas.microsoft.com/office/drawing/2014/main" id="{492B9EF9-365E-471A-80C3-7563D12C18E8}"/>
              </a:ext>
            </a:extLst>
          </p:cNvPr>
          <p:cNvSpPr>
            <a:spLocks noGrp="1"/>
          </p:cNvSpPr>
          <p:nvPr>
            <p:ph type="body" sz="quarter" idx="12" hasCustomPrompt="1"/>
          </p:nvPr>
        </p:nvSpPr>
        <p:spPr>
          <a:xfrm>
            <a:off x="6864951" y="6259600"/>
            <a:ext cx="4800000" cy="360000"/>
          </a:xfrm>
          <a:prstGeom prst="rect">
            <a:avLst/>
          </a:prstGeom>
        </p:spPr>
        <p:txBody>
          <a:bodyPr lIns="0" tIns="0" rIns="0" bIns="0" anchor="b"/>
          <a:lstStyle>
            <a:lvl1pPr marL="212274" indent="-212274" algn="r">
              <a:buNone/>
              <a:defRPr lang="en-GB" sz="1066" dirty="0">
                <a:solidFill>
                  <a:schemeClr val="tx1"/>
                </a:solidFill>
                <a:latin typeface="+mn-lt"/>
              </a:defRPr>
            </a:lvl1pPr>
          </a:lstStyle>
          <a:p>
            <a:pPr marL="0" lvl="0" indent="0"/>
            <a:r>
              <a:rPr lang="en-GB" dirty="0"/>
              <a:t>References</a:t>
            </a:r>
          </a:p>
        </p:txBody>
      </p:sp>
      <p:sp>
        <p:nvSpPr>
          <p:cNvPr id="11" name="Text Placeholder 3">
            <a:extLst>
              <a:ext uri="{FF2B5EF4-FFF2-40B4-BE49-F238E27FC236}">
                <a16:creationId xmlns:a16="http://schemas.microsoft.com/office/drawing/2014/main" id="{312D42AB-8B51-41E8-BB9D-68E15C9276EA}"/>
              </a:ext>
            </a:extLst>
          </p:cNvPr>
          <p:cNvSpPr>
            <a:spLocks noGrp="1"/>
          </p:cNvSpPr>
          <p:nvPr>
            <p:ph type="body" sz="quarter" idx="14" hasCustomPrompt="1"/>
          </p:nvPr>
        </p:nvSpPr>
        <p:spPr>
          <a:xfrm>
            <a:off x="9659802" y="104288"/>
            <a:ext cx="2427877" cy="1343043"/>
          </a:xfrm>
          <a:prstGeom prst="rect">
            <a:avLst/>
          </a:prstGeom>
          <a:noFill/>
        </p:spPr>
        <p:txBody>
          <a:bodyPr anchor="ctr"/>
          <a:lstStyle>
            <a:lvl1pPr marL="0" indent="0">
              <a:buNone/>
              <a:defRPr sz="2133">
                <a:latin typeface="+mn-lt"/>
              </a:defRPr>
            </a:lvl1pPr>
          </a:lstStyle>
          <a:p>
            <a:pPr algn="ctr"/>
            <a:r>
              <a:rPr lang="en-GB" sz="2399" i="1" dirty="0">
                <a:solidFill>
                  <a:schemeClr val="tx2"/>
                </a:solidFill>
              </a:rPr>
              <a:t>Video location</a:t>
            </a:r>
          </a:p>
        </p:txBody>
      </p:sp>
      <p:sp>
        <p:nvSpPr>
          <p:cNvPr id="13" name="Text Placeholder 13">
            <a:extLst>
              <a:ext uri="{FF2B5EF4-FFF2-40B4-BE49-F238E27FC236}">
                <a16:creationId xmlns:a16="http://schemas.microsoft.com/office/drawing/2014/main" id="{D0B2D27A-03CE-4684-A81D-3025ABD3C9FB}"/>
              </a:ext>
            </a:extLst>
          </p:cNvPr>
          <p:cNvSpPr>
            <a:spLocks noGrp="1"/>
          </p:cNvSpPr>
          <p:nvPr>
            <p:ph type="body" sz="quarter" idx="15"/>
          </p:nvPr>
        </p:nvSpPr>
        <p:spPr>
          <a:xfrm>
            <a:off x="6182413" y="1754478"/>
            <a:ext cx="5482539" cy="1186397"/>
          </a:xfrm>
          <a:prstGeom prst="round1Rect">
            <a:avLst>
              <a:gd name="adj" fmla="val 7629"/>
            </a:avLst>
          </a:prstGeom>
          <a:solidFill>
            <a:schemeClr val="accent3">
              <a:lumMod val="20000"/>
              <a:lumOff val="80000"/>
              <a:alpha val="70000"/>
            </a:schemeClr>
          </a:solidFill>
          <a:effectLst/>
        </p:spPr>
        <p:txBody>
          <a:bodyPr lIns="72000" tIns="72000" rIns="72000" bIns="72000" anchor="ctr">
            <a:spAutoFit/>
          </a:bodyPr>
          <a:lstStyle>
            <a:lvl1pPr>
              <a:spcAft>
                <a:spcPts val="720"/>
              </a:spcAft>
              <a:buClr>
                <a:schemeClr val="tx2"/>
              </a:buClr>
              <a:defRPr sz="2133">
                <a:solidFill>
                  <a:schemeClr val="tx1"/>
                </a:solidFill>
                <a:latin typeface="+mn-lt"/>
              </a:defRPr>
            </a:lvl1pPr>
            <a:lvl2pPr>
              <a:spcAft>
                <a:spcPts val="720"/>
              </a:spcAft>
              <a:buClr>
                <a:schemeClr val="tx2"/>
              </a:buClr>
              <a:defRPr sz="1866">
                <a:solidFill>
                  <a:schemeClr val="tx1"/>
                </a:solidFill>
                <a:latin typeface="+mn-lt"/>
              </a:defRPr>
            </a:lvl2pPr>
            <a:lvl3pPr>
              <a:spcAft>
                <a:spcPts val="0"/>
              </a:spcAft>
              <a:buClr>
                <a:schemeClr val="tx2"/>
              </a:buClr>
              <a:defRPr sz="1599">
                <a:solidFill>
                  <a:schemeClr val="tx1"/>
                </a:solidFill>
                <a:latin typeface="+mn-lt"/>
              </a:defRPr>
            </a:lvl3pPr>
            <a:lvl4pPr>
              <a:spcAft>
                <a:spcPts val="720"/>
              </a:spcAft>
              <a:buClr>
                <a:schemeClr val="accent6"/>
              </a:buClr>
              <a:defRPr sz="1679">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
        <p:nvSpPr>
          <p:cNvPr id="14" name="Text Placeholder 13">
            <a:extLst>
              <a:ext uri="{FF2B5EF4-FFF2-40B4-BE49-F238E27FC236}">
                <a16:creationId xmlns:a16="http://schemas.microsoft.com/office/drawing/2014/main" id="{CD6AABCE-79A0-4BD1-8518-A40974D9AEEF}"/>
              </a:ext>
            </a:extLst>
          </p:cNvPr>
          <p:cNvSpPr>
            <a:spLocks noGrp="1"/>
          </p:cNvSpPr>
          <p:nvPr>
            <p:ph type="body" sz="quarter" idx="16"/>
          </p:nvPr>
        </p:nvSpPr>
        <p:spPr>
          <a:xfrm>
            <a:off x="528321" y="1754478"/>
            <a:ext cx="5482539" cy="1186397"/>
          </a:xfrm>
          <a:prstGeom prst="round1Rect">
            <a:avLst>
              <a:gd name="adj" fmla="val 9715"/>
            </a:avLst>
          </a:prstGeom>
          <a:solidFill>
            <a:schemeClr val="accent3">
              <a:lumMod val="20000"/>
              <a:lumOff val="80000"/>
              <a:alpha val="70000"/>
            </a:schemeClr>
          </a:solidFill>
          <a:effectLst/>
        </p:spPr>
        <p:txBody>
          <a:bodyPr lIns="72000" tIns="72000" rIns="72000" bIns="72000" anchor="ctr">
            <a:spAutoFit/>
          </a:bodyPr>
          <a:lstStyle>
            <a:lvl1pPr>
              <a:spcAft>
                <a:spcPts val="720"/>
              </a:spcAft>
              <a:buClr>
                <a:schemeClr val="tx2"/>
              </a:buClr>
              <a:defRPr sz="2133">
                <a:solidFill>
                  <a:schemeClr val="tx1"/>
                </a:solidFill>
                <a:latin typeface="+mn-lt"/>
              </a:defRPr>
            </a:lvl1pPr>
            <a:lvl2pPr>
              <a:spcAft>
                <a:spcPts val="720"/>
              </a:spcAft>
              <a:buClr>
                <a:schemeClr val="tx2"/>
              </a:buClr>
              <a:defRPr sz="1866">
                <a:solidFill>
                  <a:schemeClr val="tx1"/>
                </a:solidFill>
                <a:latin typeface="+mn-lt"/>
              </a:defRPr>
            </a:lvl2pPr>
            <a:lvl3pPr>
              <a:spcAft>
                <a:spcPts val="0"/>
              </a:spcAft>
              <a:buClr>
                <a:schemeClr val="tx2"/>
              </a:buClr>
              <a:defRPr sz="1599">
                <a:solidFill>
                  <a:schemeClr val="tx1"/>
                </a:solidFill>
                <a:latin typeface="+mn-lt"/>
              </a:defRPr>
            </a:lvl3pPr>
            <a:lvl4pPr>
              <a:spcAft>
                <a:spcPts val="720"/>
              </a:spcAft>
              <a:buClr>
                <a:schemeClr val="accent6"/>
              </a:buClr>
              <a:defRPr sz="1679">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8044634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000"/>
            </a:lvl1pPr>
          </a:lstStyle>
          <a:p>
            <a:r>
              <a:rPr lang="en-US" dirty="0"/>
              <a:t>Click to edit Master title style</a:t>
            </a:r>
          </a:p>
        </p:txBody>
      </p:sp>
      <p:sp>
        <p:nvSpPr>
          <p:cNvPr id="3" name="Date Placeholder 2"/>
          <p:cNvSpPr>
            <a:spLocks noGrp="1"/>
          </p:cNvSpPr>
          <p:nvPr>
            <p:ph type="dt" sz="half" idx="10"/>
          </p:nvPr>
        </p:nvSpPr>
        <p:spPr/>
        <p:txBody>
          <a:bodyPr/>
          <a:lstStyle/>
          <a:p>
            <a:fld id="{5916FF65-E16B-BA4F-9591-6B4416106527}" type="datetimeFigureOut">
              <a:rPr lang="en-US" smtClean="0"/>
              <a:t>4/24/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9288288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27057" y="241934"/>
            <a:ext cx="8247641" cy="907252"/>
          </a:xfrm>
        </p:spPr>
        <p:txBody>
          <a:bodyPr/>
          <a:lstStyle>
            <a:lvl1pPr>
              <a:lnSpc>
                <a:spcPts val="3839"/>
              </a:lnSpc>
              <a:defRPr sz="3732">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3" y="1268964"/>
            <a:ext cx="11135360" cy="9525"/>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6" name="Text Placeholder 15">
            <a:extLst>
              <a:ext uri="{FF2B5EF4-FFF2-40B4-BE49-F238E27FC236}">
                <a16:creationId xmlns:a16="http://schemas.microsoft.com/office/drawing/2014/main" id="{CCA7112D-5416-4F9D-98ED-11F5D963980E}"/>
              </a:ext>
            </a:extLst>
          </p:cNvPr>
          <p:cNvSpPr>
            <a:spLocks noGrp="1"/>
          </p:cNvSpPr>
          <p:nvPr>
            <p:ph type="body" sz="quarter" idx="11" hasCustomPrompt="1"/>
          </p:nvPr>
        </p:nvSpPr>
        <p:spPr>
          <a:xfrm>
            <a:off x="527049" y="6259600"/>
            <a:ext cx="4800000" cy="360000"/>
          </a:xfrm>
          <a:prstGeom prst="rect">
            <a:avLst/>
          </a:prstGeom>
        </p:spPr>
        <p:txBody>
          <a:bodyPr lIns="0" tIns="0" rIns="0" bIns="0" anchor="b"/>
          <a:lstStyle>
            <a:lvl1pPr marL="0" indent="0">
              <a:buNone/>
              <a:defRPr sz="1066">
                <a:solidFill>
                  <a:schemeClr val="tx1"/>
                </a:solidFill>
                <a:latin typeface="+mn-lt"/>
                <a:cs typeface="Arial" panose="020B0604020202020204" pitchFamily="34" charset="0"/>
              </a:defRPr>
            </a:lvl1pPr>
          </a:lstStyle>
          <a:p>
            <a:pPr lvl="0"/>
            <a:r>
              <a:rPr lang="en-US" dirty="0"/>
              <a:t>Footnotes</a:t>
            </a:r>
          </a:p>
        </p:txBody>
      </p:sp>
      <p:sp>
        <p:nvSpPr>
          <p:cNvPr id="7" name="Text Placeholder 17">
            <a:extLst>
              <a:ext uri="{FF2B5EF4-FFF2-40B4-BE49-F238E27FC236}">
                <a16:creationId xmlns:a16="http://schemas.microsoft.com/office/drawing/2014/main" id="{CD206B1E-413B-495E-8F38-977C209B7D33}"/>
              </a:ext>
            </a:extLst>
          </p:cNvPr>
          <p:cNvSpPr>
            <a:spLocks noGrp="1"/>
          </p:cNvSpPr>
          <p:nvPr>
            <p:ph type="body" sz="quarter" idx="12" hasCustomPrompt="1"/>
          </p:nvPr>
        </p:nvSpPr>
        <p:spPr>
          <a:xfrm>
            <a:off x="6864951" y="6259600"/>
            <a:ext cx="4800000" cy="360000"/>
          </a:xfrm>
          <a:prstGeom prst="rect">
            <a:avLst/>
          </a:prstGeom>
        </p:spPr>
        <p:txBody>
          <a:bodyPr lIns="0" tIns="0" rIns="0" bIns="0" anchor="b"/>
          <a:lstStyle>
            <a:lvl1pPr marL="212274" indent="-212274" algn="r">
              <a:buNone/>
              <a:defRPr lang="en-GB" sz="1066" dirty="0">
                <a:solidFill>
                  <a:schemeClr val="tx1"/>
                </a:solidFill>
                <a:latin typeface="+mn-lt"/>
              </a:defRPr>
            </a:lvl1pPr>
          </a:lstStyle>
          <a:p>
            <a:pPr marL="0" lvl="0" indent="0"/>
            <a:r>
              <a:rPr lang="en-GB" dirty="0"/>
              <a:t>References</a:t>
            </a:r>
          </a:p>
        </p:txBody>
      </p:sp>
      <p:sp>
        <p:nvSpPr>
          <p:cNvPr id="8" name="Text Placeholder 3">
            <a:extLst>
              <a:ext uri="{FF2B5EF4-FFF2-40B4-BE49-F238E27FC236}">
                <a16:creationId xmlns:a16="http://schemas.microsoft.com/office/drawing/2014/main" id="{A8D61146-BEBD-4D85-8FF5-0615F15509F8}"/>
              </a:ext>
            </a:extLst>
          </p:cNvPr>
          <p:cNvSpPr>
            <a:spLocks noGrp="1"/>
          </p:cNvSpPr>
          <p:nvPr>
            <p:ph type="body" sz="quarter" idx="13" hasCustomPrompt="1"/>
          </p:nvPr>
        </p:nvSpPr>
        <p:spPr>
          <a:xfrm>
            <a:off x="9659802" y="104288"/>
            <a:ext cx="2427877" cy="1343043"/>
          </a:xfrm>
          <a:prstGeom prst="rect">
            <a:avLst/>
          </a:prstGeom>
          <a:noFill/>
        </p:spPr>
        <p:txBody>
          <a:bodyPr anchor="ctr"/>
          <a:lstStyle>
            <a:lvl1pPr marL="0" indent="0">
              <a:buNone/>
              <a:defRPr sz="2133">
                <a:latin typeface="+mn-lt"/>
              </a:defRPr>
            </a:lvl1pPr>
          </a:lstStyle>
          <a:p>
            <a:pPr algn="ctr"/>
            <a:r>
              <a:rPr lang="en-GB" sz="2399" i="1" dirty="0">
                <a:solidFill>
                  <a:schemeClr val="tx2"/>
                </a:solidFill>
              </a:rPr>
              <a:t>Video location</a:t>
            </a:r>
          </a:p>
        </p:txBody>
      </p:sp>
    </p:spTree>
    <p:extLst>
      <p:ext uri="{BB962C8B-B14F-4D97-AF65-F5344CB8AC3E}">
        <p14:creationId xmlns:p14="http://schemas.microsoft.com/office/powerpoint/2010/main" val="15448055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12C4F-2028-424E-B2EF-5E1B5512B12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0C62975-55A4-444B-B500-FF16913EB71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F7E7729-A73E-7C4B-A31E-4BEE623EA71F}"/>
              </a:ext>
            </a:extLst>
          </p:cNvPr>
          <p:cNvSpPr>
            <a:spLocks noGrp="1"/>
          </p:cNvSpPr>
          <p:nvPr>
            <p:ph type="dt" sz="half" idx="10"/>
          </p:nvPr>
        </p:nvSpPr>
        <p:spPr/>
        <p:txBody>
          <a:bodyPr/>
          <a:lstStyle/>
          <a:p>
            <a:fld id="{AABBCEEC-2E89-1C4F-B7A7-16E4850DCB52}" type="datetimeFigureOut">
              <a:rPr lang="en-US" smtClean="0"/>
              <a:t>4/24/26</a:t>
            </a:fld>
            <a:endParaRPr lang="en-US"/>
          </a:p>
        </p:txBody>
      </p:sp>
      <p:sp>
        <p:nvSpPr>
          <p:cNvPr id="5" name="Footer Placeholder 4">
            <a:extLst>
              <a:ext uri="{FF2B5EF4-FFF2-40B4-BE49-F238E27FC236}">
                <a16:creationId xmlns:a16="http://schemas.microsoft.com/office/drawing/2014/main" id="{36725444-DDC9-E14F-BD2A-72CAFF926CF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F174D58-A0C8-A94A-9C6A-397A0C069358}"/>
              </a:ext>
            </a:extLst>
          </p:cNvPr>
          <p:cNvSpPr>
            <a:spLocks noGrp="1"/>
          </p:cNvSpPr>
          <p:nvPr>
            <p:ph type="sldNum" sz="quarter" idx="12"/>
          </p:nvPr>
        </p:nvSpPr>
        <p:spPr/>
        <p:txBody>
          <a:bodyPr/>
          <a:lstStyle/>
          <a:p>
            <a:fld id="{45567BE9-8433-B14C-ACE4-D400E65CA777}" type="slidenum">
              <a:rPr lang="en-US" smtClean="0"/>
              <a:t>‹#›</a:t>
            </a:fld>
            <a:endParaRPr lang="en-US"/>
          </a:p>
        </p:txBody>
      </p:sp>
    </p:spTree>
    <p:extLst>
      <p:ext uri="{BB962C8B-B14F-4D97-AF65-F5344CB8AC3E}">
        <p14:creationId xmlns:p14="http://schemas.microsoft.com/office/powerpoint/2010/main" val="4112730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B36E43-0E3B-B541-BF9F-1E684BB7867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F8061FF-93FB-B645-BE39-56EBDC590BE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9E192B2-6F51-B54A-BA40-7794A9F3F169}"/>
              </a:ext>
            </a:extLst>
          </p:cNvPr>
          <p:cNvSpPr>
            <a:spLocks noGrp="1"/>
          </p:cNvSpPr>
          <p:nvPr>
            <p:ph type="dt" sz="half" idx="10"/>
          </p:nvPr>
        </p:nvSpPr>
        <p:spPr/>
        <p:txBody>
          <a:bodyPr/>
          <a:lstStyle/>
          <a:p>
            <a:fld id="{AABBCEEC-2E89-1C4F-B7A7-16E4850DCB52}" type="datetimeFigureOut">
              <a:rPr lang="en-US" smtClean="0"/>
              <a:t>4/24/26</a:t>
            </a:fld>
            <a:endParaRPr lang="en-US"/>
          </a:p>
        </p:txBody>
      </p:sp>
      <p:sp>
        <p:nvSpPr>
          <p:cNvPr id="5" name="Footer Placeholder 4">
            <a:extLst>
              <a:ext uri="{FF2B5EF4-FFF2-40B4-BE49-F238E27FC236}">
                <a16:creationId xmlns:a16="http://schemas.microsoft.com/office/drawing/2014/main" id="{183040C5-E70D-944B-81E8-41D7081269F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1DB1DA4-173B-B040-8915-7592B00CFAAC}"/>
              </a:ext>
            </a:extLst>
          </p:cNvPr>
          <p:cNvSpPr>
            <a:spLocks noGrp="1"/>
          </p:cNvSpPr>
          <p:nvPr>
            <p:ph type="sldNum" sz="quarter" idx="12"/>
          </p:nvPr>
        </p:nvSpPr>
        <p:spPr/>
        <p:txBody>
          <a:bodyPr/>
          <a:lstStyle/>
          <a:p>
            <a:fld id="{45567BE9-8433-B14C-ACE4-D400E65CA777}" type="slidenum">
              <a:rPr lang="en-US" smtClean="0"/>
              <a:t>‹#›</a:t>
            </a:fld>
            <a:endParaRPr lang="en-US"/>
          </a:p>
        </p:txBody>
      </p:sp>
    </p:spTree>
    <p:extLst>
      <p:ext uri="{BB962C8B-B14F-4D97-AF65-F5344CB8AC3E}">
        <p14:creationId xmlns:p14="http://schemas.microsoft.com/office/powerpoint/2010/main" val="39454823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E72D62-C90F-8945-B774-B5E099894BA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3CA8DC3-B57D-6642-A775-C0825C4D324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4853A52-FFBC-4B4C-90AD-89835B308EA8}"/>
              </a:ext>
            </a:extLst>
          </p:cNvPr>
          <p:cNvSpPr>
            <a:spLocks noGrp="1"/>
          </p:cNvSpPr>
          <p:nvPr>
            <p:ph type="dt" sz="half" idx="10"/>
          </p:nvPr>
        </p:nvSpPr>
        <p:spPr/>
        <p:txBody>
          <a:bodyPr/>
          <a:lstStyle/>
          <a:p>
            <a:fld id="{AABBCEEC-2E89-1C4F-B7A7-16E4850DCB52}" type="datetimeFigureOut">
              <a:rPr lang="en-US" smtClean="0"/>
              <a:t>4/24/26</a:t>
            </a:fld>
            <a:endParaRPr lang="en-US"/>
          </a:p>
        </p:txBody>
      </p:sp>
      <p:sp>
        <p:nvSpPr>
          <p:cNvPr id="5" name="Footer Placeholder 4">
            <a:extLst>
              <a:ext uri="{FF2B5EF4-FFF2-40B4-BE49-F238E27FC236}">
                <a16:creationId xmlns:a16="http://schemas.microsoft.com/office/drawing/2014/main" id="{12C62709-2FD3-B740-82CD-9506B88D840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B769B04-AE13-C442-B6B3-BA78F1774474}"/>
              </a:ext>
            </a:extLst>
          </p:cNvPr>
          <p:cNvSpPr>
            <a:spLocks noGrp="1"/>
          </p:cNvSpPr>
          <p:nvPr>
            <p:ph type="sldNum" sz="quarter" idx="12"/>
          </p:nvPr>
        </p:nvSpPr>
        <p:spPr/>
        <p:txBody>
          <a:bodyPr/>
          <a:lstStyle/>
          <a:p>
            <a:fld id="{45567BE9-8433-B14C-ACE4-D400E65CA777}" type="slidenum">
              <a:rPr lang="en-US" smtClean="0"/>
              <a:t>‹#›</a:t>
            </a:fld>
            <a:endParaRPr lang="en-US"/>
          </a:p>
        </p:txBody>
      </p:sp>
    </p:spTree>
    <p:extLst>
      <p:ext uri="{BB962C8B-B14F-4D97-AF65-F5344CB8AC3E}">
        <p14:creationId xmlns:p14="http://schemas.microsoft.com/office/powerpoint/2010/main" val="41309684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D3A302-D775-A14D-8CA8-76C2CEE8FD6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82976B4-A218-DC45-93C4-06409B4D193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24C097C-6419-974D-87A9-0CCB7714FA2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57B9F19-2020-1844-AF5E-A6CAEE8885E9}"/>
              </a:ext>
            </a:extLst>
          </p:cNvPr>
          <p:cNvSpPr>
            <a:spLocks noGrp="1"/>
          </p:cNvSpPr>
          <p:nvPr>
            <p:ph type="dt" sz="half" idx="10"/>
          </p:nvPr>
        </p:nvSpPr>
        <p:spPr/>
        <p:txBody>
          <a:bodyPr/>
          <a:lstStyle/>
          <a:p>
            <a:fld id="{AABBCEEC-2E89-1C4F-B7A7-16E4850DCB52}" type="datetimeFigureOut">
              <a:rPr lang="en-US" smtClean="0"/>
              <a:t>4/24/26</a:t>
            </a:fld>
            <a:endParaRPr lang="en-US"/>
          </a:p>
        </p:txBody>
      </p:sp>
      <p:sp>
        <p:nvSpPr>
          <p:cNvPr id="6" name="Footer Placeholder 5">
            <a:extLst>
              <a:ext uri="{FF2B5EF4-FFF2-40B4-BE49-F238E27FC236}">
                <a16:creationId xmlns:a16="http://schemas.microsoft.com/office/drawing/2014/main" id="{09F10238-FEF5-8445-86CE-18D3CE242FD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7A94A6E-F38D-064E-95B4-D6CD5D611840}"/>
              </a:ext>
            </a:extLst>
          </p:cNvPr>
          <p:cNvSpPr>
            <a:spLocks noGrp="1"/>
          </p:cNvSpPr>
          <p:nvPr>
            <p:ph type="sldNum" sz="quarter" idx="12"/>
          </p:nvPr>
        </p:nvSpPr>
        <p:spPr/>
        <p:txBody>
          <a:bodyPr/>
          <a:lstStyle/>
          <a:p>
            <a:fld id="{45567BE9-8433-B14C-ACE4-D400E65CA777}" type="slidenum">
              <a:rPr lang="en-US" smtClean="0"/>
              <a:t>‹#›</a:t>
            </a:fld>
            <a:endParaRPr lang="en-US"/>
          </a:p>
        </p:txBody>
      </p:sp>
    </p:spTree>
    <p:extLst>
      <p:ext uri="{BB962C8B-B14F-4D97-AF65-F5344CB8AC3E}">
        <p14:creationId xmlns:p14="http://schemas.microsoft.com/office/powerpoint/2010/main" val="30694876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646A95-4121-844C-AAEF-9491509457C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28D979B-C7BD-C843-92C4-69F7B2B8277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1D34785-1D16-1E4C-9E42-E88ED60FD3E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105FCD7-F8CF-3642-BCDD-A39298A07A3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E23909D-24F4-2043-A585-00805020398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36E9CB5-8B02-AD43-989C-CF60191877C6}"/>
              </a:ext>
            </a:extLst>
          </p:cNvPr>
          <p:cNvSpPr>
            <a:spLocks noGrp="1"/>
          </p:cNvSpPr>
          <p:nvPr>
            <p:ph type="dt" sz="half" idx="10"/>
          </p:nvPr>
        </p:nvSpPr>
        <p:spPr/>
        <p:txBody>
          <a:bodyPr/>
          <a:lstStyle/>
          <a:p>
            <a:fld id="{AABBCEEC-2E89-1C4F-B7A7-16E4850DCB52}" type="datetimeFigureOut">
              <a:rPr lang="en-US" smtClean="0"/>
              <a:t>4/24/26</a:t>
            </a:fld>
            <a:endParaRPr lang="en-US"/>
          </a:p>
        </p:txBody>
      </p:sp>
      <p:sp>
        <p:nvSpPr>
          <p:cNvPr id="8" name="Footer Placeholder 7">
            <a:extLst>
              <a:ext uri="{FF2B5EF4-FFF2-40B4-BE49-F238E27FC236}">
                <a16:creationId xmlns:a16="http://schemas.microsoft.com/office/drawing/2014/main" id="{1F933014-E228-B74C-BE17-FE329E1EAF1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82C9F0C-9AF8-6D49-B64E-23336AC1777F}"/>
              </a:ext>
            </a:extLst>
          </p:cNvPr>
          <p:cNvSpPr>
            <a:spLocks noGrp="1"/>
          </p:cNvSpPr>
          <p:nvPr>
            <p:ph type="sldNum" sz="quarter" idx="12"/>
          </p:nvPr>
        </p:nvSpPr>
        <p:spPr/>
        <p:txBody>
          <a:bodyPr/>
          <a:lstStyle/>
          <a:p>
            <a:fld id="{45567BE9-8433-B14C-ACE4-D400E65CA777}" type="slidenum">
              <a:rPr lang="en-US" smtClean="0"/>
              <a:t>‹#›</a:t>
            </a:fld>
            <a:endParaRPr lang="en-US"/>
          </a:p>
        </p:txBody>
      </p:sp>
    </p:spTree>
    <p:extLst>
      <p:ext uri="{BB962C8B-B14F-4D97-AF65-F5344CB8AC3E}">
        <p14:creationId xmlns:p14="http://schemas.microsoft.com/office/powerpoint/2010/main" val="28162213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670E64-C6A2-C043-B6F4-6C83EA1F33D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2A5BB2C-14C4-E145-B02B-5C47CEC4AC5B}"/>
              </a:ext>
            </a:extLst>
          </p:cNvPr>
          <p:cNvSpPr>
            <a:spLocks noGrp="1"/>
          </p:cNvSpPr>
          <p:nvPr>
            <p:ph type="dt" sz="half" idx="10"/>
          </p:nvPr>
        </p:nvSpPr>
        <p:spPr/>
        <p:txBody>
          <a:bodyPr/>
          <a:lstStyle/>
          <a:p>
            <a:fld id="{AABBCEEC-2E89-1C4F-B7A7-16E4850DCB52}" type="datetimeFigureOut">
              <a:rPr lang="en-US" smtClean="0"/>
              <a:t>4/24/26</a:t>
            </a:fld>
            <a:endParaRPr lang="en-US"/>
          </a:p>
        </p:txBody>
      </p:sp>
      <p:sp>
        <p:nvSpPr>
          <p:cNvPr id="4" name="Footer Placeholder 3">
            <a:extLst>
              <a:ext uri="{FF2B5EF4-FFF2-40B4-BE49-F238E27FC236}">
                <a16:creationId xmlns:a16="http://schemas.microsoft.com/office/drawing/2014/main" id="{D1768841-E478-5943-A0E3-CB006D37A8A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3B6EAD8-1EC7-F44E-881A-2857ED579F63}"/>
              </a:ext>
            </a:extLst>
          </p:cNvPr>
          <p:cNvSpPr>
            <a:spLocks noGrp="1"/>
          </p:cNvSpPr>
          <p:nvPr>
            <p:ph type="sldNum" sz="quarter" idx="12"/>
          </p:nvPr>
        </p:nvSpPr>
        <p:spPr/>
        <p:txBody>
          <a:bodyPr/>
          <a:lstStyle/>
          <a:p>
            <a:fld id="{45567BE9-8433-B14C-ACE4-D400E65CA777}" type="slidenum">
              <a:rPr lang="en-US" smtClean="0"/>
              <a:t>‹#›</a:t>
            </a:fld>
            <a:endParaRPr lang="en-US"/>
          </a:p>
        </p:txBody>
      </p:sp>
    </p:spTree>
    <p:extLst>
      <p:ext uri="{BB962C8B-B14F-4D97-AF65-F5344CB8AC3E}">
        <p14:creationId xmlns:p14="http://schemas.microsoft.com/office/powerpoint/2010/main" val="6498073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CB8BA70-3798-D54C-BDAD-8E8692F4AE6E}"/>
              </a:ext>
            </a:extLst>
          </p:cNvPr>
          <p:cNvSpPr>
            <a:spLocks noGrp="1"/>
          </p:cNvSpPr>
          <p:nvPr>
            <p:ph type="dt" sz="half" idx="10"/>
          </p:nvPr>
        </p:nvSpPr>
        <p:spPr/>
        <p:txBody>
          <a:bodyPr/>
          <a:lstStyle/>
          <a:p>
            <a:fld id="{AABBCEEC-2E89-1C4F-B7A7-16E4850DCB52}" type="datetimeFigureOut">
              <a:rPr lang="en-US" smtClean="0"/>
              <a:t>4/24/26</a:t>
            </a:fld>
            <a:endParaRPr lang="en-US"/>
          </a:p>
        </p:txBody>
      </p:sp>
      <p:sp>
        <p:nvSpPr>
          <p:cNvPr id="3" name="Footer Placeholder 2">
            <a:extLst>
              <a:ext uri="{FF2B5EF4-FFF2-40B4-BE49-F238E27FC236}">
                <a16:creationId xmlns:a16="http://schemas.microsoft.com/office/drawing/2014/main" id="{F75D04FC-1440-6847-A631-47D4111AB1D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0688405-DD93-E742-BA3F-0555DE5CAE44}"/>
              </a:ext>
            </a:extLst>
          </p:cNvPr>
          <p:cNvSpPr>
            <a:spLocks noGrp="1"/>
          </p:cNvSpPr>
          <p:nvPr>
            <p:ph type="sldNum" sz="quarter" idx="12"/>
          </p:nvPr>
        </p:nvSpPr>
        <p:spPr/>
        <p:txBody>
          <a:bodyPr/>
          <a:lstStyle/>
          <a:p>
            <a:fld id="{45567BE9-8433-B14C-ACE4-D400E65CA777}" type="slidenum">
              <a:rPr lang="en-US" smtClean="0"/>
              <a:t>‹#›</a:t>
            </a:fld>
            <a:endParaRPr lang="en-US"/>
          </a:p>
        </p:txBody>
      </p:sp>
    </p:spTree>
    <p:extLst>
      <p:ext uri="{BB962C8B-B14F-4D97-AF65-F5344CB8AC3E}">
        <p14:creationId xmlns:p14="http://schemas.microsoft.com/office/powerpoint/2010/main" val="12348269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9E793A-4DC8-3F47-A497-20577189F62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BD410D5-5D57-4A43-9CEF-F908A0F3279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4007EF4-601B-F449-96AE-EC8AF141D16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8C23D9C-2BFE-524D-BE50-17BA071010F3}"/>
              </a:ext>
            </a:extLst>
          </p:cNvPr>
          <p:cNvSpPr>
            <a:spLocks noGrp="1"/>
          </p:cNvSpPr>
          <p:nvPr>
            <p:ph type="dt" sz="half" idx="10"/>
          </p:nvPr>
        </p:nvSpPr>
        <p:spPr/>
        <p:txBody>
          <a:bodyPr/>
          <a:lstStyle/>
          <a:p>
            <a:fld id="{AABBCEEC-2E89-1C4F-B7A7-16E4850DCB52}" type="datetimeFigureOut">
              <a:rPr lang="en-US" smtClean="0"/>
              <a:t>4/24/26</a:t>
            </a:fld>
            <a:endParaRPr lang="en-US"/>
          </a:p>
        </p:txBody>
      </p:sp>
      <p:sp>
        <p:nvSpPr>
          <p:cNvPr id="6" name="Footer Placeholder 5">
            <a:extLst>
              <a:ext uri="{FF2B5EF4-FFF2-40B4-BE49-F238E27FC236}">
                <a16:creationId xmlns:a16="http://schemas.microsoft.com/office/drawing/2014/main" id="{025BD173-F056-C742-A16C-6A51740A5AA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5FA2FED-1976-BA45-BB9E-5522F7B9CEB0}"/>
              </a:ext>
            </a:extLst>
          </p:cNvPr>
          <p:cNvSpPr>
            <a:spLocks noGrp="1"/>
          </p:cNvSpPr>
          <p:nvPr>
            <p:ph type="sldNum" sz="quarter" idx="12"/>
          </p:nvPr>
        </p:nvSpPr>
        <p:spPr/>
        <p:txBody>
          <a:bodyPr/>
          <a:lstStyle/>
          <a:p>
            <a:fld id="{45567BE9-8433-B14C-ACE4-D400E65CA777}" type="slidenum">
              <a:rPr lang="en-US" smtClean="0"/>
              <a:t>‹#›</a:t>
            </a:fld>
            <a:endParaRPr lang="en-US"/>
          </a:p>
        </p:txBody>
      </p:sp>
    </p:spTree>
    <p:extLst>
      <p:ext uri="{BB962C8B-B14F-4D97-AF65-F5344CB8AC3E}">
        <p14:creationId xmlns:p14="http://schemas.microsoft.com/office/powerpoint/2010/main" val="23942065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19B6D1-1158-314D-AE37-9C7736C5BDC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EAF96B2-0437-1E44-AA14-94BF9BE9AA9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D49F8A3-F1C8-0247-8296-93D8691624E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DBB42B9-17D3-694E-84E0-CEB570E286B4}"/>
              </a:ext>
            </a:extLst>
          </p:cNvPr>
          <p:cNvSpPr>
            <a:spLocks noGrp="1"/>
          </p:cNvSpPr>
          <p:nvPr>
            <p:ph type="dt" sz="half" idx="10"/>
          </p:nvPr>
        </p:nvSpPr>
        <p:spPr/>
        <p:txBody>
          <a:bodyPr/>
          <a:lstStyle/>
          <a:p>
            <a:fld id="{AABBCEEC-2E89-1C4F-B7A7-16E4850DCB52}" type="datetimeFigureOut">
              <a:rPr lang="en-US" smtClean="0"/>
              <a:t>4/24/26</a:t>
            </a:fld>
            <a:endParaRPr lang="en-US"/>
          </a:p>
        </p:txBody>
      </p:sp>
      <p:sp>
        <p:nvSpPr>
          <p:cNvPr id="6" name="Footer Placeholder 5">
            <a:extLst>
              <a:ext uri="{FF2B5EF4-FFF2-40B4-BE49-F238E27FC236}">
                <a16:creationId xmlns:a16="http://schemas.microsoft.com/office/drawing/2014/main" id="{F352F237-A86A-8B4B-81AF-34B7EFCD2F3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F83FA39-1461-0B4C-9403-97C6BA4A0A07}"/>
              </a:ext>
            </a:extLst>
          </p:cNvPr>
          <p:cNvSpPr>
            <a:spLocks noGrp="1"/>
          </p:cNvSpPr>
          <p:nvPr>
            <p:ph type="sldNum" sz="quarter" idx="12"/>
          </p:nvPr>
        </p:nvSpPr>
        <p:spPr/>
        <p:txBody>
          <a:bodyPr/>
          <a:lstStyle/>
          <a:p>
            <a:fld id="{45567BE9-8433-B14C-ACE4-D400E65CA777}" type="slidenum">
              <a:rPr lang="en-US" smtClean="0"/>
              <a:t>‹#›</a:t>
            </a:fld>
            <a:endParaRPr lang="en-US"/>
          </a:p>
        </p:txBody>
      </p:sp>
    </p:spTree>
    <p:extLst>
      <p:ext uri="{BB962C8B-B14F-4D97-AF65-F5344CB8AC3E}">
        <p14:creationId xmlns:p14="http://schemas.microsoft.com/office/powerpoint/2010/main" val="4311193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916FF65-E16B-BA4F-9591-6B4416106527}" type="datetimeFigureOut">
              <a:rPr lang="en-US" smtClean="0"/>
              <a:t>4/24/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5602254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3F77A1-BC88-4244-82CB-3282E30D6EB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D479F5E-512F-654F-986C-6B8E0D711DA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7CBAD13-D85A-6A49-B599-9FDE62232CFD}"/>
              </a:ext>
            </a:extLst>
          </p:cNvPr>
          <p:cNvSpPr>
            <a:spLocks noGrp="1"/>
          </p:cNvSpPr>
          <p:nvPr>
            <p:ph type="dt" sz="half" idx="10"/>
          </p:nvPr>
        </p:nvSpPr>
        <p:spPr/>
        <p:txBody>
          <a:bodyPr/>
          <a:lstStyle/>
          <a:p>
            <a:fld id="{AABBCEEC-2E89-1C4F-B7A7-16E4850DCB52}" type="datetimeFigureOut">
              <a:rPr lang="en-US" smtClean="0"/>
              <a:t>4/24/26</a:t>
            </a:fld>
            <a:endParaRPr lang="en-US"/>
          </a:p>
        </p:txBody>
      </p:sp>
      <p:sp>
        <p:nvSpPr>
          <p:cNvPr id="5" name="Footer Placeholder 4">
            <a:extLst>
              <a:ext uri="{FF2B5EF4-FFF2-40B4-BE49-F238E27FC236}">
                <a16:creationId xmlns:a16="http://schemas.microsoft.com/office/drawing/2014/main" id="{151B4F03-4EC7-9B44-ABEC-2219BA7A2F7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526A386-D8A5-C14C-802B-2BE25052E533}"/>
              </a:ext>
            </a:extLst>
          </p:cNvPr>
          <p:cNvSpPr>
            <a:spLocks noGrp="1"/>
          </p:cNvSpPr>
          <p:nvPr>
            <p:ph type="sldNum" sz="quarter" idx="12"/>
          </p:nvPr>
        </p:nvSpPr>
        <p:spPr/>
        <p:txBody>
          <a:bodyPr/>
          <a:lstStyle/>
          <a:p>
            <a:fld id="{45567BE9-8433-B14C-ACE4-D400E65CA777}" type="slidenum">
              <a:rPr lang="en-US" smtClean="0"/>
              <a:t>‹#›</a:t>
            </a:fld>
            <a:endParaRPr lang="en-US"/>
          </a:p>
        </p:txBody>
      </p:sp>
    </p:spTree>
    <p:extLst>
      <p:ext uri="{BB962C8B-B14F-4D97-AF65-F5344CB8AC3E}">
        <p14:creationId xmlns:p14="http://schemas.microsoft.com/office/powerpoint/2010/main" val="4978879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2183836-77A6-784D-ADBC-3AB6BE1910E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AFCE0A4-FA56-8741-AF4C-040EC74B044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5F631D7-E789-604C-AB2A-197ACB29FA58}"/>
              </a:ext>
            </a:extLst>
          </p:cNvPr>
          <p:cNvSpPr>
            <a:spLocks noGrp="1"/>
          </p:cNvSpPr>
          <p:nvPr>
            <p:ph type="dt" sz="half" idx="10"/>
          </p:nvPr>
        </p:nvSpPr>
        <p:spPr/>
        <p:txBody>
          <a:bodyPr/>
          <a:lstStyle/>
          <a:p>
            <a:fld id="{AABBCEEC-2E89-1C4F-B7A7-16E4850DCB52}" type="datetimeFigureOut">
              <a:rPr lang="en-US" smtClean="0"/>
              <a:t>4/24/26</a:t>
            </a:fld>
            <a:endParaRPr lang="en-US"/>
          </a:p>
        </p:txBody>
      </p:sp>
      <p:sp>
        <p:nvSpPr>
          <p:cNvPr id="5" name="Footer Placeholder 4">
            <a:extLst>
              <a:ext uri="{FF2B5EF4-FFF2-40B4-BE49-F238E27FC236}">
                <a16:creationId xmlns:a16="http://schemas.microsoft.com/office/drawing/2014/main" id="{74B3EC5A-D67C-F74C-A313-A1E29E4365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31D1D16-1A30-A643-B9F8-F81731BAC5FF}"/>
              </a:ext>
            </a:extLst>
          </p:cNvPr>
          <p:cNvSpPr>
            <a:spLocks noGrp="1"/>
          </p:cNvSpPr>
          <p:nvPr>
            <p:ph type="sldNum" sz="quarter" idx="12"/>
          </p:nvPr>
        </p:nvSpPr>
        <p:spPr/>
        <p:txBody>
          <a:bodyPr/>
          <a:lstStyle/>
          <a:p>
            <a:fld id="{45567BE9-8433-B14C-ACE4-D400E65CA777}" type="slidenum">
              <a:rPr lang="en-US" smtClean="0"/>
              <a:t>‹#›</a:t>
            </a:fld>
            <a:endParaRPr lang="en-US"/>
          </a:p>
        </p:txBody>
      </p:sp>
    </p:spTree>
    <p:extLst>
      <p:ext uri="{BB962C8B-B14F-4D97-AF65-F5344CB8AC3E}">
        <p14:creationId xmlns:p14="http://schemas.microsoft.com/office/powerpoint/2010/main" val="31879166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Clear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31337669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27057" y="241934"/>
            <a:ext cx="8247641" cy="907252"/>
          </a:xfrm>
        </p:spPr>
        <p:txBody>
          <a:bodyPr/>
          <a:lstStyle>
            <a:lvl1pPr>
              <a:lnSpc>
                <a:spcPts val="3840"/>
              </a:lnSpc>
              <a:defRPr sz="3840">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2"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6" name="Text Placeholder 15">
            <a:extLst>
              <a:ext uri="{FF2B5EF4-FFF2-40B4-BE49-F238E27FC236}">
                <a16:creationId xmlns:a16="http://schemas.microsoft.com/office/drawing/2014/main" id="{CCA7112D-5416-4F9D-98ED-11F5D963980E}"/>
              </a:ext>
            </a:extLst>
          </p:cNvPr>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defRPr sz="960">
                <a:solidFill>
                  <a:schemeClr val="tx1"/>
                </a:solidFill>
                <a:latin typeface="+mn-lt"/>
                <a:cs typeface="Arial" panose="020B0604020202020204" pitchFamily="34" charset="0"/>
              </a:defRPr>
            </a:lvl1pPr>
          </a:lstStyle>
          <a:p>
            <a:pPr lvl="0"/>
            <a:r>
              <a:rPr lang="en-US" dirty="0"/>
              <a:t>Footnotes</a:t>
            </a:r>
          </a:p>
        </p:txBody>
      </p:sp>
      <p:sp>
        <p:nvSpPr>
          <p:cNvPr id="7" name="Text Placeholder 17">
            <a:extLst>
              <a:ext uri="{FF2B5EF4-FFF2-40B4-BE49-F238E27FC236}">
                <a16:creationId xmlns:a16="http://schemas.microsoft.com/office/drawing/2014/main" id="{CD206B1E-413B-495E-8F38-977C209B7D33}"/>
              </a:ext>
            </a:extLst>
          </p:cNvPr>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2342" indent="-212342" algn="r">
              <a:buNone/>
              <a:defRPr lang="en-GB" sz="960" dirty="0">
                <a:solidFill>
                  <a:schemeClr val="tx1"/>
                </a:solidFill>
                <a:latin typeface="+mn-lt"/>
              </a:defRPr>
            </a:lvl1pPr>
          </a:lstStyle>
          <a:p>
            <a:pPr marL="0" lvl="0" indent="0"/>
            <a:r>
              <a:rPr lang="en-GB" dirty="0"/>
              <a:t>References</a:t>
            </a:r>
          </a:p>
        </p:txBody>
      </p:sp>
      <p:sp>
        <p:nvSpPr>
          <p:cNvPr id="8" name="Text Placeholder 3">
            <a:extLst>
              <a:ext uri="{FF2B5EF4-FFF2-40B4-BE49-F238E27FC236}">
                <a16:creationId xmlns:a16="http://schemas.microsoft.com/office/drawing/2014/main" id="{A8D61146-BEBD-4D85-8FF5-0615F15509F8}"/>
              </a:ext>
            </a:extLst>
          </p:cNvPr>
          <p:cNvSpPr>
            <a:spLocks noGrp="1"/>
          </p:cNvSpPr>
          <p:nvPr>
            <p:ph type="body" sz="quarter" idx="13" hasCustomPrompt="1"/>
          </p:nvPr>
        </p:nvSpPr>
        <p:spPr>
          <a:xfrm>
            <a:off x="8853163" y="61447"/>
            <a:ext cx="2810515" cy="1554708"/>
          </a:xfrm>
          <a:prstGeom prst="rect">
            <a:avLst/>
          </a:prstGeom>
          <a:noFill/>
        </p:spPr>
        <p:txBody>
          <a:bodyPr anchor="ctr"/>
          <a:lstStyle>
            <a:lvl1pPr marL="0" indent="0">
              <a:buNone/>
              <a:defRPr/>
            </a:lvl1pPr>
          </a:lstStyle>
          <a:p>
            <a:pPr algn="ctr"/>
            <a:r>
              <a:rPr lang="en-GB" sz="2400" i="1" dirty="0">
                <a:solidFill>
                  <a:schemeClr val="tx2"/>
                </a:solidFill>
              </a:rPr>
              <a:t>Zoom video location</a:t>
            </a:r>
          </a:p>
        </p:txBody>
      </p:sp>
    </p:spTree>
    <p:extLst>
      <p:ext uri="{BB962C8B-B14F-4D97-AF65-F5344CB8AC3E}">
        <p14:creationId xmlns:p14="http://schemas.microsoft.com/office/powerpoint/2010/main" val="29972288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userDrawn="1">
  <p:cSld name="Clear w notes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2">
            <a:extLst>
              <a:ext uri="{FF2B5EF4-FFF2-40B4-BE49-F238E27FC236}">
                <a16:creationId xmlns:a16="http://schemas.microsoft.com/office/drawing/2014/main" id="{E2E26E41-BE52-EA4D-9723-BC2D74815111}"/>
              </a:ext>
            </a:extLst>
          </p:cNvPr>
          <p:cNvSpPr>
            <a:spLocks noGrp="1"/>
          </p:cNvSpPr>
          <p:nvPr>
            <p:ph type="body" sz="quarter" idx="15"/>
          </p:nvPr>
        </p:nvSpPr>
        <p:spPr>
          <a:xfrm>
            <a:off x="8809038" y="1082676"/>
            <a:ext cx="3382962" cy="5495546"/>
          </a:xfrm>
          <a:solidFill>
            <a:schemeClr val="bg1">
              <a:lumMod val="95000"/>
            </a:schemeClr>
          </a:solidFill>
        </p:spPr>
        <p:txBody>
          <a:bodyPr lIns="274320" tIns="274320" rIns="274320" bIns="274320" anchor="ct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
            <a:extLst>
              <a:ext uri="{FF2B5EF4-FFF2-40B4-BE49-F238E27FC236}">
                <a16:creationId xmlns:a16="http://schemas.microsoft.com/office/drawing/2014/main" id="{F481B53C-8B67-2A4C-A0EB-8E19D7EA1391}"/>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1987849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matchingName="Title and Content">
  <p:cSld name="1_Title and Content">
    <p:spTree>
      <p:nvGrpSpPr>
        <p:cNvPr id="1" name="Shape 17"/>
        <p:cNvGrpSpPr/>
        <p:nvPr/>
      </p:nvGrpSpPr>
      <p:grpSpPr>
        <a:xfrm>
          <a:off x="0" y="0"/>
          <a:ext cx="0" cy="0"/>
          <a:chOff x="0" y="0"/>
          <a:chExt cx="0" cy="0"/>
        </a:xfrm>
      </p:grpSpPr>
      <p:sp>
        <p:nvSpPr>
          <p:cNvPr id="18" name="Google Shape;18;p3"/>
          <p:cNvSpPr txBox="1">
            <a:spLocks noGrp="1"/>
          </p:cNvSpPr>
          <p:nvPr>
            <p:ph type="title"/>
          </p:nvPr>
        </p:nvSpPr>
        <p:spPr>
          <a:xfrm>
            <a:off x="528321" y="241925"/>
            <a:ext cx="8246376" cy="907252"/>
          </a:xfrm>
          <a:prstGeom prst="rect">
            <a:avLst/>
          </a:prstGeom>
          <a:noFill/>
          <a:ln>
            <a:noFill/>
          </a:ln>
        </p:spPr>
        <p:txBody>
          <a:bodyPr spcFirstLastPara="1" wrap="square" lIns="0" tIns="0" rIns="0" bIns="0" anchor="b" anchorCtr="0">
            <a:noAutofit/>
          </a:bodyPr>
          <a:lstStyle>
            <a:lvl1pPr lvl="0" algn="l">
              <a:lnSpc>
                <a:spcPct val="102857"/>
              </a:lnSpc>
              <a:spcBef>
                <a:spcPts val="0"/>
              </a:spcBef>
              <a:spcAft>
                <a:spcPts val="0"/>
              </a:spcAft>
              <a:buSzPts val="1400"/>
              <a:buNone/>
              <a:defRPr sz="3732" b="1">
                <a:solidFill>
                  <a:schemeClr val="dk2"/>
                </a:solidFill>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19" name="Google Shape;19;p3"/>
          <p:cNvCxnSpPr/>
          <p:nvPr/>
        </p:nvCxnSpPr>
        <p:spPr>
          <a:xfrm rot="10800000" flipH="1">
            <a:off x="528323" y="1268964"/>
            <a:ext cx="11135360" cy="9525"/>
          </a:xfrm>
          <a:prstGeom prst="straightConnector1">
            <a:avLst/>
          </a:prstGeom>
          <a:noFill/>
          <a:ln w="28575" cap="flat" cmpd="sng">
            <a:solidFill>
              <a:schemeClr val="dk2"/>
            </a:solidFill>
            <a:prstDash val="solid"/>
            <a:round/>
            <a:headEnd type="none" w="sm" len="sm"/>
            <a:tailEnd type="none" w="sm" len="sm"/>
          </a:ln>
        </p:spPr>
      </p:cxnSp>
      <p:sp>
        <p:nvSpPr>
          <p:cNvPr id="20" name="Google Shape;20;p3"/>
          <p:cNvSpPr txBox="1">
            <a:spLocks noGrp="1"/>
          </p:cNvSpPr>
          <p:nvPr>
            <p:ph type="body" idx="1"/>
          </p:nvPr>
        </p:nvSpPr>
        <p:spPr>
          <a:xfrm>
            <a:off x="527049" y="6259600"/>
            <a:ext cx="4800000" cy="360000"/>
          </a:xfrm>
          <a:prstGeom prst="rect">
            <a:avLst/>
          </a:prstGeom>
          <a:noFill/>
          <a:ln>
            <a:noFill/>
          </a:ln>
        </p:spPr>
        <p:txBody>
          <a:bodyPr spcFirstLastPara="1" wrap="square" lIns="0" tIns="0" rIns="0" bIns="0" anchor="b" anchorCtr="0">
            <a:noAutofit/>
          </a:bodyPr>
          <a:lstStyle>
            <a:lvl1pPr marL="609402" marR="0" lvl="0" indent="-304701" algn="l" rtl="0">
              <a:spcBef>
                <a:spcPts val="0"/>
              </a:spcBef>
              <a:spcAft>
                <a:spcPts val="0"/>
              </a:spcAft>
              <a:buClr>
                <a:srgbClr val="F9B49B"/>
              </a:buClr>
              <a:buSzPts val="810"/>
              <a:buFont typeface="Arial"/>
              <a:buNone/>
              <a:defRPr sz="1080" b="0" i="0" u="none" strike="noStrike" cap="none">
                <a:solidFill>
                  <a:schemeClr val="dk1"/>
                </a:solidFill>
                <a:latin typeface="Arial"/>
                <a:ea typeface="Arial"/>
                <a:cs typeface="Arial"/>
                <a:sym typeface="Arial"/>
              </a:defRPr>
            </a:lvl1pPr>
            <a:lvl2pPr marL="1218804" marR="0" lvl="1" indent="-431660" algn="l" rtl="0">
              <a:spcBef>
                <a:spcPts val="300"/>
              </a:spcBef>
              <a:spcAft>
                <a:spcPts val="0"/>
              </a:spcAft>
              <a:buClr>
                <a:srgbClr val="F9B49B"/>
              </a:buClr>
              <a:buSzPts val="1500"/>
              <a:buFont typeface="Arial"/>
              <a:buChar char="–"/>
              <a:defRPr sz="1999" b="0" i="0" u="none" strike="noStrike" cap="none">
                <a:solidFill>
                  <a:srgbClr val="052066"/>
                </a:solidFill>
                <a:latin typeface="Arial Narrow"/>
                <a:ea typeface="Arial Narrow"/>
                <a:cs typeface="Arial Narrow"/>
                <a:sym typeface="Arial Narrow"/>
              </a:defRPr>
            </a:lvl2pPr>
            <a:lvl3pPr marL="1828206" marR="0" lvl="2" indent="-431660" algn="l" rtl="0">
              <a:spcBef>
                <a:spcPts val="300"/>
              </a:spcBef>
              <a:spcAft>
                <a:spcPts val="0"/>
              </a:spcAft>
              <a:buClr>
                <a:srgbClr val="F9B49B"/>
              </a:buClr>
              <a:buSzPts val="1500"/>
              <a:buFont typeface="Arial"/>
              <a:buChar char="•"/>
              <a:defRPr sz="1999" b="0" i="0" u="none" strike="noStrike" cap="none">
                <a:solidFill>
                  <a:srgbClr val="052066"/>
                </a:solidFill>
                <a:latin typeface="Arial Narrow"/>
                <a:ea typeface="Arial Narrow"/>
                <a:cs typeface="Arial Narrow"/>
                <a:sym typeface="Arial Narrow"/>
              </a:defRPr>
            </a:lvl3pPr>
            <a:lvl4pPr marL="2437608" marR="0" lvl="3" indent="-431660" algn="l" rtl="0">
              <a:spcBef>
                <a:spcPts val="300"/>
              </a:spcBef>
              <a:spcAft>
                <a:spcPts val="0"/>
              </a:spcAft>
              <a:buClr>
                <a:srgbClr val="F9B49B"/>
              </a:buClr>
              <a:buSzPts val="1500"/>
              <a:buFont typeface="Arial"/>
              <a:buChar char="•"/>
              <a:defRPr sz="1999" b="0" i="0" u="none" strike="noStrike" cap="none">
                <a:solidFill>
                  <a:srgbClr val="052066"/>
                </a:solidFill>
                <a:latin typeface="Arial Narrow"/>
                <a:ea typeface="Arial Narrow"/>
                <a:cs typeface="Arial Narrow"/>
                <a:sym typeface="Arial Narrow"/>
              </a:defRPr>
            </a:lvl4pPr>
            <a:lvl5pPr marL="3047009" marR="0" lvl="4" indent="-431660" algn="l" rtl="0">
              <a:spcBef>
                <a:spcPts val="400"/>
              </a:spcBef>
              <a:spcAft>
                <a:spcPts val="0"/>
              </a:spcAft>
              <a:buClr>
                <a:schemeClr val="dk1"/>
              </a:buClr>
              <a:buSzPts val="1500"/>
              <a:buFont typeface="Arial"/>
              <a:buChar char="»"/>
              <a:defRPr sz="1999" b="0" i="0" u="none" strike="noStrike" cap="none">
                <a:solidFill>
                  <a:schemeClr val="dk1"/>
                </a:solidFill>
                <a:latin typeface="Arial"/>
                <a:ea typeface="Arial"/>
                <a:cs typeface="Arial"/>
                <a:sym typeface="Arial"/>
              </a:defRPr>
            </a:lvl5pPr>
            <a:lvl6pPr marL="3656411" marR="0" lvl="5" indent="-431660" algn="l" rtl="0">
              <a:spcBef>
                <a:spcPts val="400"/>
              </a:spcBef>
              <a:spcAft>
                <a:spcPts val="0"/>
              </a:spcAft>
              <a:buClr>
                <a:schemeClr val="dk1"/>
              </a:buClr>
              <a:buSzPts val="1500"/>
              <a:buFont typeface="Arial"/>
              <a:buChar char="•"/>
              <a:defRPr sz="1999" b="0" i="0" u="none" strike="noStrike" cap="none">
                <a:solidFill>
                  <a:schemeClr val="dk1"/>
                </a:solidFill>
                <a:latin typeface="Arial"/>
                <a:ea typeface="Arial"/>
                <a:cs typeface="Arial"/>
                <a:sym typeface="Arial"/>
              </a:defRPr>
            </a:lvl6pPr>
            <a:lvl7pPr marL="4265813" marR="0" lvl="6" indent="-431660" algn="l" rtl="0">
              <a:spcBef>
                <a:spcPts val="400"/>
              </a:spcBef>
              <a:spcAft>
                <a:spcPts val="0"/>
              </a:spcAft>
              <a:buClr>
                <a:schemeClr val="dk1"/>
              </a:buClr>
              <a:buSzPts val="1500"/>
              <a:buFont typeface="Arial"/>
              <a:buChar char="•"/>
              <a:defRPr sz="1999" b="0" i="0" u="none" strike="noStrike" cap="none">
                <a:solidFill>
                  <a:schemeClr val="dk1"/>
                </a:solidFill>
                <a:latin typeface="Arial"/>
                <a:ea typeface="Arial"/>
                <a:cs typeface="Arial"/>
                <a:sym typeface="Arial"/>
              </a:defRPr>
            </a:lvl7pPr>
            <a:lvl8pPr marL="4875215" marR="0" lvl="7" indent="-431660" algn="l" rtl="0">
              <a:spcBef>
                <a:spcPts val="400"/>
              </a:spcBef>
              <a:spcAft>
                <a:spcPts val="0"/>
              </a:spcAft>
              <a:buClr>
                <a:schemeClr val="dk1"/>
              </a:buClr>
              <a:buSzPts val="1500"/>
              <a:buFont typeface="Arial"/>
              <a:buChar char="•"/>
              <a:defRPr sz="1999" b="0" i="0" u="none" strike="noStrike" cap="none">
                <a:solidFill>
                  <a:schemeClr val="dk1"/>
                </a:solidFill>
                <a:latin typeface="Arial"/>
                <a:ea typeface="Arial"/>
                <a:cs typeface="Arial"/>
                <a:sym typeface="Arial"/>
              </a:defRPr>
            </a:lvl8pPr>
            <a:lvl9pPr marL="5484617" marR="0" lvl="8" indent="-431660" algn="l" rtl="0">
              <a:spcBef>
                <a:spcPts val="400"/>
              </a:spcBef>
              <a:spcAft>
                <a:spcPts val="0"/>
              </a:spcAft>
              <a:buClr>
                <a:schemeClr val="dk1"/>
              </a:buClr>
              <a:buSzPts val="1500"/>
              <a:buFont typeface="Arial"/>
              <a:buChar char="•"/>
              <a:defRPr sz="1999" b="0" i="0" u="none" strike="noStrike" cap="none">
                <a:solidFill>
                  <a:schemeClr val="dk1"/>
                </a:solidFill>
                <a:latin typeface="Arial"/>
                <a:ea typeface="Arial"/>
                <a:cs typeface="Arial"/>
                <a:sym typeface="Arial"/>
              </a:defRPr>
            </a:lvl9pPr>
          </a:lstStyle>
          <a:p>
            <a:endParaRPr/>
          </a:p>
        </p:txBody>
      </p:sp>
      <p:sp>
        <p:nvSpPr>
          <p:cNvPr id="21" name="Google Shape;21;p3"/>
          <p:cNvSpPr txBox="1">
            <a:spLocks noGrp="1"/>
          </p:cNvSpPr>
          <p:nvPr>
            <p:ph type="body" idx="2"/>
          </p:nvPr>
        </p:nvSpPr>
        <p:spPr>
          <a:xfrm>
            <a:off x="6864951" y="6259600"/>
            <a:ext cx="4800000" cy="360000"/>
          </a:xfrm>
          <a:prstGeom prst="rect">
            <a:avLst/>
          </a:prstGeom>
          <a:noFill/>
          <a:ln>
            <a:noFill/>
          </a:ln>
        </p:spPr>
        <p:txBody>
          <a:bodyPr spcFirstLastPara="1" wrap="square" lIns="0" tIns="0" rIns="0" bIns="0" anchor="b" anchorCtr="0">
            <a:noAutofit/>
          </a:bodyPr>
          <a:lstStyle>
            <a:lvl1pPr marL="609402" marR="0" lvl="0" indent="-304701" algn="r" rtl="0">
              <a:spcBef>
                <a:spcPts val="0"/>
              </a:spcBef>
              <a:spcAft>
                <a:spcPts val="0"/>
              </a:spcAft>
              <a:buClr>
                <a:srgbClr val="F9B49B"/>
              </a:buClr>
              <a:buSzPts val="810"/>
              <a:buFont typeface="Arial"/>
              <a:buNone/>
              <a:defRPr sz="1080" b="0" i="0" u="none" strike="noStrike" cap="none">
                <a:solidFill>
                  <a:schemeClr val="dk1"/>
                </a:solidFill>
                <a:latin typeface="Arial"/>
                <a:ea typeface="Arial"/>
                <a:cs typeface="Arial"/>
                <a:sym typeface="Arial"/>
              </a:defRPr>
            </a:lvl1pPr>
            <a:lvl2pPr marL="1218804" marR="0" lvl="1" indent="-431660" algn="l" rtl="0">
              <a:spcBef>
                <a:spcPts val="300"/>
              </a:spcBef>
              <a:spcAft>
                <a:spcPts val="0"/>
              </a:spcAft>
              <a:buClr>
                <a:srgbClr val="F9B49B"/>
              </a:buClr>
              <a:buSzPts val="1500"/>
              <a:buFont typeface="Arial"/>
              <a:buChar char="–"/>
              <a:defRPr sz="1999" b="0" i="0" u="none" strike="noStrike" cap="none">
                <a:solidFill>
                  <a:srgbClr val="052066"/>
                </a:solidFill>
                <a:latin typeface="Arial Narrow"/>
                <a:ea typeface="Arial Narrow"/>
                <a:cs typeface="Arial Narrow"/>
                <a:sym typeface="Arial Narrow"/>
              </a:defRPr>
            </a:lvl2pPr>
            <a:lvl3pPr marL="1828206" marR="0" lvl="2" indent="-431660" algn="l" rtl="0">
              <a:spcBef>
                <a:spcPts val="300"/>
              </a:spcBef>
              <a:spcAft>
                <a:spcPts val="0"/>
              </a:spcAft>
              <a:buClr>
                <a:srgbClr val="F9B49B"/>
              </a:buClr>
              <a:buSzPts val="1500"/>
              <a:buFont typeface="Arial"/>
              <a:buChar char="•"/>
              <a:defRPr sz="1999" b="0" i="0" u="none" strike="noStrike" cap="none">
                <a:solidFill>
                  <a:srgbClr val="052066"/>
                </a:solidFill>
                <a:latin typeface="Arial Narrow"/>
                <a:ea typeface="Arial Narrow"/>
                <a:cs typeface="Arial Narrow"/>
                <a:sym typeface="Arial Narrow"/>
              </a:defRPr>
            </a:lvl3pPr>
            <a:lvl4pPr marL="2437608" marR="0" lvl="3" indent="-431660" algn="l" rtl="0">
              <a:spcBef>
                <a:spcPts val="300"/>
              </a:spcBef>
              <a:spcAft>
                <a:spcPts val="0"/>
              </a:spcAft>
              <a:buClr>
                <a:srgbClr val="F9B49B"/>
              </a:buClr>
              <a:buSzPts val="1500"/>
              <a:buFont typeface="Arial"/>
              <a:buChar char="•"/>
              <a:defRPr sz="1999" b="0" i="0" u="none" strike="noStrike" cap="none">
                <a:solidFill>
                  <a:srgbClr val="052066"/>
                </a:solidFill>
                <a:latin typeface="Arial Narrow"/>
                <a:ea typeface="Arial Narrow"/>
                <a:cs typeface="Arial Narrow"/>
                <a:sym typeface="Arial Narrow"/>
              </a:defRPr>
            </a:lvl4pPr>
            <a:lvl5pPr marL="3047009" marR="0" lvl="4" indent="-431660" algn="l" rtl="0">
              <a:spcBef>
                <a:spcPts val="400"/>
              </a:spcBef>
              <a:spcAft>
                <a:spcPts val="0"/>
              </a:spcAft>
              <a:buClr>
                <a:schemeClr val="dk1"/>
              </a:buClr>
              <a:buSzPts val="1500"/>
              <a:buFont typeface="Arial"/>
              <a:buChar char="»"/>
              <a:defRPr sz="1999" b="0" i="0" u="none" strike="noStrike" cap="none">
                <a:solidFill>
                  <a:schemeClr val="dk1"/>
                </a:solidFill>
                <a:latin typeface="Arial"/>
                <a:ea typeface="Arial"/>
                <a:cs typeface="Arial"/>
                <a:sym typeface="Arial"/>
              </a:defRPr>
            </a:lvl5pPr>
            <a:lvl6pPr marL="3656411" marR="0" lvl="5" indent="-431660" algn="l" rtl="0">
              <a:spcBef>
                <a:spcPts val="400"/>
              </a:spcBef>
              <a:spcAft>
                <a:spcPts val="0"/>
              </a:spcAft>
              <a:buClr>
                <a:schemeClr val="dk1"/>
              </a:buClr>
              <a:buSzPts val="1500"/>
              <a:buFont typeface="Arial"/>
              <a:buChar char="•"/>
              <a:defRPr sz="1999" b="0" i="0" u="none" strike="noStrike" cap="none">
                <a:solidFill>
                  <a:schemeClr val="dk1"/>
                </a:solidFill>
                <a:latin typeface="Arial"/>
                <a:ea typeface="Arial"/>
                <a:cs typeface="Arial"/>
                <a:sym typeface="Arial"/>
              </a:defRPr>
            </a:lvl6pPr>
            <a:lvl7pPr marL="4265813" marR="0" lvl="6" indent="-431660" algn="l" rtl="0">
              <a:spcBef>
                <a:spcPts val="400"/>
              </a:spcBef>
              <a:spcAft>
                <a:spcPts val="0"/>
              </a:spcAft>
              <a:buClr>
                <a:schemeClr val="dk1"/>
              </a:buClr>
              <a:buSzPts val="1500"/>
              <a:buFont typeface="Arial"/>
              <a:buChar char="•"/>
              <a:defRPr sz="1999" b="0" i="0" u="none" strike="noStrike" cap="none">
                <a:solidFill>
                  <a:schemeClr val="dk1"/>
                </a:solidFill>
                <a:latin typeface="Arial"/>
                <a:ea typeface="Arial"/>
                <a:cs typeface="Arial"/>
                <a:sym typeface="Arial"/>
              </a:defRPr>
            </a:lvl7pPr>
            <a:lvl8pPr marL="4875215" marR="0" lvl="7" indent="-431660" algn="l" rtl="0">
              <a:spcBef>
                <a:spcPts val="400"/>
              </a:spcBef>
              <a:spcAft>
                <a:spcPts val="0"/>
              </a:spcAft>
              <a:buClr>
                <a:schemeClr val="dk1"/>
              </a:buClr>
              <a:buSzPts val="1500"/>
              <a:buFont typeface="Arial"/>
              <a:buChar char="•"/>
              <a:defRPr sz="1999" b="0" i="0" u="none" strike="noStrike" cap="none">
                <a:solidFill>
                  <a:schemeClr val="dk1"/>
                </a:solidFill>
                <a:latin typeface="Arial"/>
                <a:ea typeface="Arial"/>
                <a:cs typeface="Arial"/>
                <a:sym typeface="Arial"/>
              </a:defRPr>
            </a:lvl8pPr>
            <a:lvl9pPr marL="5484617" marR="0" lvl="8" indent="-431660" algn="l" rtl="0">
              <a:spcBef>
                <a:spcPts val="400"/>
              </a:spcBef>
              <a:spcAft>
                <a:spcPts val="0"/>
              </a:spcAft>
              <a:buClr>
                <a:schemeClr val="dk1"/>
              </a:buClr>
              <a:buSzPts val="1500"/>
              <a:buFont typeface="Arial"/>
              <a:buChar char="•"/>
              <a:defRPr sz="1999" b="0" i="0" u="none" strike="noStrike" cap="none">
                <a:solidFill>
                  <a:schemeClr val="dk1"/>
                </a:solidFill>
                <a:latin typeface="Arial"/>
                <a:ea typeface="Arial"/>
                <a:cs typeface="Arial"/>
                <a:sym typeface="Arial"/>
              </a:defRPr>
            </a:lvl9pPr>
          </a:lstStyle>
          <a:p>
            <a:endParaRPr/>
          </a:p>
        </p:txBody>
      </p:sp>
      <p:sp>
        <p:nvSpPr>
          <p:cNvPr id="22" name="Google Shape;22;p3"/>
          <p:cNvSpPr txBox="1">
            <a:spLocks noGrp="1"/>
          </p:cNvSpPr>
          <p:nvPr>
            <p:ph type="body" idx="3"/>
          </p:nvPr>
        </p:nvSpPr>
        <p:spPr>
          <a:xfrm>
            <a:off x="527057" y="1735944"/>
            <a:ext cx="11137900" cy="4155314"/>
          </a:xfrm>
          <a:prstGeom prst="rect">
            <a:avLst/>
          </a:prstGeom>
          <a:noFill/>
          <a:ln>
            <a:noFill/>
          </a:ln>
        </p:spPr>
        <p:txBody>
          <a:bodyPr spcFirstLastPara="1" wrap="square" lIns="72000" tIns="0" rIns="72000" bIns="0" anchor="t" anchorCtr="0">
            <a:noAutofit/>
          </a:bodyPr>
          <a:lstStyle>
            <a:lvl1pPr marL="609402" marR="0" lvl="0" indent="-440124" algn="l" rtl="0">
              <a:spcBef>
                <a:spcPts val="0"/>
              </a:spcBef>
              <a:spcAft>
                <a:spcPts val="0"/>
              </a:spcAft>
              <a:buClr>
                <a:schemeClr val="dk2"/>
              </a:buClr>
              <a:buSzPts val="1600"/>
              <a:buFont typeface="Arial"/>
              <a:buChar char="•"/>
              <a:defRPr sz="2133" b="0" i="0" u="none" strike="noStrike" cap="none">
                <a:solidFill>
                  <a:schemeClr val="dk1"/>
                </a:solidFill>
                <a:latin typeface="Arial"/>
                <a:ea typeface="Arial"/>
                <a:cs typeface="Arial"/>
                <a:sym typeface="Arial"/>
              </a:defRPr>
            </a:lvl1pPr>
            <a:lvl2pPr marL="1218804" marR="0" lvl="1" indent="-423196" algn="l" rtl="0">
              <a:spcBef>
                <a:spcPts val="720"/>
              </a:spcBef>
              <a:spcAft>
                <a:spcPts val="0"/>
              </a:spcAft>
              <a:buClr>
                <a:schemeClr val="dk2"/>
              </a:buClr>
              <a:buSzPts val="1400"/>
              <a:buFont typeface="Arial"/>
              <a:buChar char="–"/>
              <a:defRPr sz="1866" b="0" i="0" u="none" strike="noStrike" cap="none">
                <a:solidFill>
                  <a:schemeClr val="dk1"/>
                </a:solidFill>
                <a:latin typeface="Arial"/>
                <a:ea typeface="Arial"/>
                <a:cs typeface="Arial"/>
                <a:sym typeface="Arial"/>
              </a:defRPr>
            </a:lvl2pPr>
            <a:lvl3pPr marL="1828206" marR="0" lvl="2" indent="-406268" algn="l" rtl="0">
              <a:spcBef>
                <a:spcPts val="720"/>
              </a:spcBef>
              <a:spcAft>
                <a:spcPts val="0"/>
              </a:spcAft>
              <a:buClr>
                <a:schemeClr val="dk2"/>
              </a:buClr>
              <a:buSzPts val="1200"/>
              <a:buFont typeface="Arial"/>
              <a:buChar char="•"/>
              <a:defRPr sz="1599" b="0" i="0" u="none" strike="noStrike" cap="none">
                <a:solidFill>
                  <a:schemeClr val="dk1"/>
                </a:solidFill>
                <a:latin typeface="Arial"/>
                <a:ea typeface="Arial"/>
                <a:cs typeface="Arial"/>
                <a:sym typeface="Arial"/>
              </a:defRPr>
            </a:lvl3pPr>
            <a:lvl4pPr marL="2437608" marR="0" lvl="3" indent="-411346" algn="l" rtl="0">
              <a:spcBef>
                <a:spcPts val="720"/>
              </a:spcBef>
              <a:spcAft>
                <a:spcPts val="0"/>
              </a:spcAft>
              <a:buClr>
                <a:schemeClr val="accent6"/>
              </a:buClr>
              <a:buSzPts val="1260"/>
              <a:buFont typeface="Arial"/>
              <a:buChar char="•"/>
              <a:defRPr sz="1679" b="0" i="0" u="none" strike="noStrike" cap="none">
                <a:solidFill>
                  <a:schemeClr val="dk1"/>
                </a:solidFill>
                <a:latin typeface="Arial"/>
                <a:ea typeface="Arial"/>
                <a:cs typeface="Arial"/>
                <a:sym typeface="Arial"/>
              </a:defRPr>
            </a:lvl4pPr>
            <a:lvl5pPr marL="3047009" marR="0" lvl="4" indent="-431660" algn="l" rtl="0">
              <a:spcBef>
                <a:spcPts val="720"/>
              </a:spcBef>
              <a:spcAft>
                <a:spcPts val="0"/>
              </a:spcAft>
              <a:buClr>
                <a:schemeClr val="dk1"/>
              </a:buClr>
              <a:buSzPts val="1500"/>
              <a:buFont typeface="Arial"/>
              <a:buChar char="»"/>
              <a:defRPr sz="1999" b="0" i="0" u="none" strike="noStrike" cap="none">
                <a:solidFill>
                  <a:schemeClr val="dk1"/>
                </a:solidFill>
                <a:latin typeface="Arial"/>
                <a:ea typeface="Arial"/>
                <a:cs typeface="Arial"/>
                <a:sym typeface="Arial"/>
              </a:defRPr>
            </a:lvl5pPr>
            <a:lvl6pPr marL="3656411" marR="0" lvl="5" indent="-431660" algn="l" rtl="0">
              <a:spcBef>
                <a:spcPts val="400"/>
              </a:spcBef>
              <a:spcAft>
                <a:spcPts val="0"/>
              </a:spcAft>
              <a:buClr>
                <a:schemeClr val="dk1"/>
              </a:buClr>
              <a:buSzPts val="1500"/>
              <a:buFont typeface="Arial"/>
              <a:buChar char="•"/>
              <a:defRPr sz="1999" b="0" i="0" u="none" strike="noStrike" cap="none">
                <a:solidFill>
                  <a:schemeClr val="dk1"/>
                </a:solidFill>
                <a:latin typeface="Arial"/>
                <a:ea typeface="Arial"/>
                <a:cs typeface="Arial"/>
                <a:sym typeface="Arial"/>
              </a:defRPr>
            </a:lvl6pPr>
            <a:lvl7pPr marL="4265813" marR="0" lvl="6" indent="-431660" algn="l" rtl="0">
              <a:spcBef>
                <a:spcPts val="400"/>
              </a:spcBef>
              <a:spcAft>
                <a:spcPts val="0"/>
              </a:spcAft>
              <a:buClr>
                <a:schemeClr val="dk1"/>
              </a:buClr>
              <a:buSzPts val="1500"/>
              <a:buFont typeface="Arial"/>
              <a:buChar char="•"/>
              <a:defRPr sz="1999" b="0" i="0" u="none" strike="noStrike" cap="none">
                <a:solidFill>
                  <a:schemeClr val="dk1"/>
                </a:solidFill>
                <a:latin typeface="Arial"/>
                <a:ea typeface="Arial"/>
                <a:cs typeface="Arial"/>
                <a:sym typeface="Arial"/>
              </a:defRPr>
            </a:lvl7pPr>
            <a:lvl8pPr marL="4875215" marR="0" lvl="7" indent="-431660" algn="l" rtl="0">
              <a:spcBef>
                <a:spcPts val="400"/>
              </a:spcBef>
              <a:spcAft>
                <a:spcPts val="0"/>
              </a:spcAft>
              <a:buClr>
                <a:schemeClr val="dk1"/>
              </a:buClr>
              <a:buSzPts val="1500"/>
              <a:buFont typeface="Arial"/>
              <a:buChar char="•"/>
              <a:defRPr sz="1999" b="0" i="0" u="none" strike="noStrike" cap="none">
                <a:solidFill>
                  <a:schemeClr val="dk1"/>
                </a:solidFill>
                <a:latin typeface="Arial"/>
                <a:ea typeface="Arial"/>
                <a:cs typeface="Arial"/>
                <a:sym typeface="Arial"/>
              </a:defRPr>
            </a:lvl8pPr>
            <a:lvl9pPr marL="5484617" marR="0" lvl="8" indent="-431660" algn="l" rtl="0">
              <a:spcBef>
                <a:spcPts val="400"/>
              </a:spcBef>
              <a:spcAft>
                <a:spcPts val="0"/>
              </a:spcAft>
              <a:buClr>
                <a:schemeClr val="dk1"/>
              </a:buClr>
              <a:buSzPts val="1500"/>
              <a:buFont typeface="Arial"/>
              <a:buChar char="•"/>
              <a:defRPr sz="1999"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7105201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B40CB2-79EF-19ED-CEBD-C3A92E5B52F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BDDAAB6-3B9E-3397-6F36-0F793B5B5D7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D380803-D22D-5F3C-5FCA-2C7AE7A67D82}"/>
              </a:ext>
            </a:extLst>
          </p:cNvPr>
          <p:cNvSpPr>
            <a:spLocks noGrp="1"/>
          </p:cNvSpPr>
          <p:nvPr>
            <p:ph type="dt" sz="half" idx="10"/>
          </p:nvPr>
        </p:nvSpPr>
        <p:spPr/>
        <p:txBody>
          <a:bodyPr/>
          <a:lstStyle/>
          <a:p>
            <a:fld id="{8F00264B-6436-41C1-8070-7B4904EB773E}" type="datetimeFigureOut">
              <a:rPr lang="en-US" smtClean="0"/>
              <a:t>4/24/26</a:t>
            </a:fld>
            <a:endParaRPr lang="en-US"/>
          </a:p>
        </p:txBody>
      </p:sp>
      <p:sp>
        <p:nvSpPr>
          <p:cNvPr id="5" name="Footer Placeholder 4">
            <a:extLst>
              <a:ext uri="{FF2B5EF4-FFF2-40B4-BE49-F238E27FC236}">
                <a16:creationId xmlns:a16="http://schemas.microsoft.com/office/drawing/2014/main" id="{C47F86B9-830D-6948-84D2-C3B4E60ECC4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396BA34-DD78-FF83-D2B3-6F2AD0B1A96C}"/>
              </a:ext>
            </a:extLst>
          </p:cNvPr>
          <p:cNvSpPr>
            <a:spLocks noGrp="1"/>
          </p:cNvSpPr>
          <p:nvPr>
            <p:ph type="sldNum" sz="quarter" idx="12"/>
          </p:nvPr>
        </p:nvSpPr>
        <p:spPr/>
        <p:txBody>
          <a:bodyPr/>
          <a:lstStyle/>
          <a:p>
            <a:fld id="{86C7046F-7E11-4EF8-BCCF-10010BAD6D11}" type="slidenum">
              <a:rPr lang="en-US" smtClean="0"/>
              <a:t>‹#›</a:t>
            </a:fld>
            <a:endParaRPr lang="en-US"/>
          </a:p>
        </p:txBody>
      </p:sp>
    </p:spTree>
    <p:extLst>
      <p:ext uri="{BB962C8B-B14F-4D97-AF65-F5344CB8AC3E}">
        <p14:creationId xmlns:p14="http://schemas.microsoft.com/office/powerpoint/2010/main" val="13968148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C9FA33-EB74-9631-3515-CD5FE26E745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F4AEC7-444A-C309-BF35-CE1D9DD5A49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351E6DA-DA23-23BE-4045-9F088932A685}"/>
              </a:ext>
            </a:extLst>
          </p:cNvPr>
          <p:cNvSpPr>
            <a:spLocks noGrp="1"/>
          </p:cNvSpPr>
          <p:nvPr>
            <p:ph type="dt" sz="half" idx="10"/>
          </p:nvPr>
        </p:nvSpPr>
        <p:spPr/>
        <p:txBody>
          <a:bodyPr/>
          <a:lstStyle/>
          <a:p>
            <a:fld id="{8F00264B-6436-41C1-8070-7B4904EB773E}" type="datetimeFigureOut">
              <a:rPr lang="en-US" smtClean="0"/>
              <a:t>4/24/26</a:t>
            </a:fld>
            <a:endParaRPr lang="en-US"/>
          </a:p>
        </p:txBody>
      </p:sp>
      <p:sp>
        <p:nvSpPr>
          <p:cNvPr id="5" name="Footer Placeholder 4">
            <a:extLst>
              <a:ext uri="{FF2B5EF4-FFF2-40B4-BE49-F238E27FC236}">
                <a16:creationId xmlns:a16="http://schemas.microsoft.com/office/drawing/2014/main" id="{23B6073D-9AB8-9492-7C32-5BFB6A62FED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481433-8996-DF6B-7195-AF78499118E6}"/>
              </a:ext>
            </a:extLst>
          </p:cNvPr>
          <p:cNvSpPr>
            <a:spLocks noGrp="1"/>
          </p:cNvSpPr>
          <p:nvPr>
            <p:ph type="sldNum" sz="quarter" idx="12"/>
          </p:nvPr>
        </p:nvSpPr>
        <p:spPr/>
        <p:txBody>
          <a:bodyPr/>
          <a:lstStyle/>
          <a:p>
            <a:fld id="{86C7046F-7E11-4EF8-BCCF-10010BAD6D11}" type="slidenum">
              <a:rPr lang="en-US" smtClean="0"/>
              <a:t>‹#›</a:t>
            </a:fld>
            <a:endParaRPr lang="en-US"/>
          </a:p>
        </p:txBody>
      </p:sp>
    </p:spTree>
    <p:extLst>
      <p:ext uri="{BB962C8B-B14F-4D97-AF65-F5344CB8AC3E}">
        <p14:creationId xmlns:p14="http://schemas.microsoft.com/office/powerpoint/2010/main" val="33163646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E40A5-4D20-2BD5-59B7-A1DD3531791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8BFA3F3-6AB3-A7C6-1A2A-3433B115205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4EA8B98-A9DA-559B-4006-BD8D70BC5D58}"/>
              </a:ext>
            </a:extLst>
          </p:cNvPr>
          <p:cNvSpPr>
            <a:spLocks noGrp="1"/>
          </p:cNvSpPr>
          <p:nvPr>
            <p:ph type="dt" sz="half" idx="10"/>
          </p:nvPr>
        </p:nvSpPr>
        <p:spPr/>
        <p:txBody>
          <a:bodyPr/>
          <a:lstStyle/>
          <a:p>
            <a:fld id="{8F00264B-6436-41C1-8070-7B4904EB773E}" type="datetimeFigureOut">
              <a:rPr lang="en-US" smtClean="0"/>
              <a:t>4/24/26</a:t>
            </a:fld>
            <a:endParaRPr lang="en-US"/>
          </a:p>
        </p:txBody>
      </p:sp>
      <p:sp>
        <p:nvSpPr>
          <p:cNvPr id="5" name="Footer Placeholder 4">
            <a:extLst>
              <a:ext uri="{FF2B5EF4-FFF2-40B4-BE49-F238E27FC236}">
                <a16:creationId xmlns:a16="http://schemas.microsoft.com/office/drawing/2014/main" id="{61185042-58C3-B2B7-AEB4-8DF6F399F1D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D3977A3-83A0-D209-2467-9B9C87AFC29B}"/>
              </a:ext>
            </a:extLst>
          </p:cNvPr>
          <p:cNvSpPr>
            <a:spLocks noGrp="1"/>
          </p:cNvSpPr>
          <p:nvPr>
            <p:ph type="sldNum" sz="quarter" idx="12"/>
          </p:nvPr>
        </p:nvSpPr>
        <p:spPr/>
        <p:txBody>
          <a:bodyPr/>
          <a:lstStyle/>
          <a:p>
            <a:fld id="{86C7046F-7E11-4EF8-BCCF-10010BAD6D11}" type="slidenum">
              <a:rPr lang="en-US" smtClean="0"/>
              <a:t>‹#›</a:t>
            </a:fld>
            <a:endParaRPr lang="en-US"/>
          </a:p>
        </p:txBody>
      </p:sp>
    </p:spTree>
    <p:extLst>
      <p:ext uri="{BB962C8B-B14F-4D97-AF65-F5344CB8AC3E}">
        <p14:creationId xmlns:p14="http://schemas.microsoft.com/office/powerpoint/2010/main" val="31663108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CF616F-AFF3-35ED-DA0D-82C6EBC9BB1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36E0BE7-513F-1777-1D77-388ADB90543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6B062B3-4B10-4335-DB53-7E65B4E7347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43B713D-A16A-7FD1-8C93-6EB85253581A}"/>
              </a:ext>
            </a:extLst>
          </p:cNvPr>
          <p:cNvSpPr>
            <a:spLocks noGrp="1"/>
          </p:cNvSpPr>
          <p:nvPr>
            <p:ph type="dt" sz="half" idx="10"/>
          </p:nvPr>
        </p:nvSpPr>
        <p:spPr/>
        <p:txBody>
          <a:bodyPr/>
          <a:lstStyle/>
          <a:p>
            <a:fld id="{8F00264B-6436-41C1-8070-7B4904EB773E}" type="datetimeFigureOut">
              <a:rPr lang="en-US" smtClean="0"/>
              <a:t>4/24/26</a:t>
            </a:fld>
            <a:endParaRPr lang="en-US"/>
          </a:p>
        </p:txBody>
      </p:sp>
      <p:sp>
        <p:nvSpPr>
          <p:cNvPr id="6" name="Footer Placeholder 5">
            <a:extLst>
              <a:ext uri="{FF2B5EF4-FFF2-40B4-BE49-F238E27FC236}">
                <a16:creationId xmlns:a16="http://schemas.microsoft.com/office/drawing/2014/main" id="{3DB91910-669C-8D2E-4853-2E83C52AB6E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0D7B501-A70C-73A1-BA5D-8A5B829923ED}"/>
              </a:ext>
            </a:extLst>
          </p:cNvPr>
          <p:cNvSpPr>
            <a:spLocks noGrp="1"/>
          </p:cNvSpPr>
          <p:nvPr>
            <p:ph type="sldNum" sz="quarter" idx="12"/>
          </p:nvPr>
        </p:nvSpPr>
        <p:spPr/>
        <p:txBody>
          <a:bodyPr/>
          <a:lstStyle/>
          <a:p>
            <a:fld id="{86C7046F-7E11-4EF8-BCCF-10010BAD6D11}" type="slidenum">
              <a:rPr lang="en-US" smtClean="0"/>
              <a:t>‹#›</a:t>
            </a:fld>
            <a:endParaRPr lang="en-US"/>
          </a:p>
        </p:txBody>
      </p:sp>
    </p:spTree>
    <p:extLst>
      <p:ext uri="{BB962C8B-B14F-4D97-AF65-F5344CB8AC3E}">
        <p14:creationId xmlns:p14="http://schemas.microsoft.com/office/powerpoint/2010/main" val="31001436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916FF65-E16B-BA4F-9591-6B4416106527}" type="datetimeFigureOut">
              <a:rPr lang="en-US" smtClean="0"/>
              <a:t>4/24/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9335225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478BA-B0E7-AA0D-43C1-6B822DCB850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FEC8E6B-5FEE-C4A4-2964-6DFB7D9E380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69DD333-0103-2CD4-3A4D-116B362E2BC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6D89824-2AD3-365E-1496-5D6DC3C8392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63BF1C8-C917-A1EA-85E4-E8C595748BB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EA731F8-5597-8A19-E65B-3C4B59AEF411}"/>
              </a:ext>
            </a:extLst>
          </p:cNvPr>
          <p:cNvSpPr>
            <a:spLocks noGrp="1"/>
          </p:cNvSpPr>
          <p:nvPr>
            <p:ph type="dt" sz="half" idx="10"/>
          </p:nvPr>
        </p:nvSpPr>
        <p:spPr/>
        <p:txBody>
          <a:bodyPr/>
          <a:lstStyle/>
          <a:p>
            <a:fld id="{8F00264B-6436-41C1-8070-7B4904EB773E}" type="datetimeFigureOut">
              <a:rPr lang="en-US" smtClean="0"/>
              <a:t>4/24/26</a:t>
            </a:fld>
            <a:endParaRPr lang="en-US"/>
          </a:p>
        </p:txBody>
      </p:sp>
      <p:sp>
        <p:nvSpPr>
          <p:cNvPr id="8" name="Footer Placeholder 7">
            <a:extLst>
              <a:ext uri="{FF2B5EF4-FFF2-40B4-BE49-F238E27FC236}">
                <a16:creationId xmlns:a16="http://schemas.microsoft.com/office/drawing/2014/main" id="{DCC215B6-6D05-F524-F431-9A82D7383A7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3226239-C3AC-B182-ADAE-E9EA4AF83669}"/>
              </a:ext>
            </a:extLst>
          </p:cNvPr>
          <p:cNvSpPr>
            <a:spLocks noGrp="1"/>
          </p:cNvSpPr>
          <p:nvPr>
            <p:ph type="sldNum" sz="quarter" idx="12"/>
          </p:nvPr>
        </p:nvSpPr>
        <p:spPr/>
        <p:txBody>
          <a:bodyPr/>
          <a:lstStyle/>
          <a:p>
            <a:fld id="{86C7046F-7E11-4EF8-BCCF-10010BAD6D11}" type="slidenum">
              <a:rPr lang="en-US" smtClean="0"/>
              <a:t>‹#›</a:t>
            </a:fld>
            <a:endParaRPr lang="en-US"/>
          </a:p>
        </p:txBody>
      </p:sp>
    </p:spTree>
    <p:extLst>
      <p:ext uri="{BB962C8B-B14F-4D97-AF65-F5344CB8AC3E}">
        <p14:creationId xmlns:p14="http://schemas.microsoft.com/office/powerpoint/2010/main" val="1847514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5E6C71-6334-CF6B-6D5E-41544D5B309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A695AF5-6903-1047-8C78-0AB237EA3308}"/>
              </a:ext>
            </a:extLst>
          </p:cNvPr>
          <p:cNvSpPr>
            <a:spLocks noGrp="1"/>
          </p:cNvSpPr>
          <p:nvPr>
            <p:ph type="dt" sz="half" idx="10"/>
          </p:nvPr>
        </p:nvSpPr>
        <p:spPr/>
        <p:txBody>
          <a:bodyPr/>
          <a:lstStyle/>
          <a:p>
            <a:fld id="{8F00264B-6436-41C1-8070-7B4904EB773E}" type="datetimeFigureOut">
              <a:rPr lang="en-US" smtClean="0"/>
              <a:t>4/24/26</a:t>
            </a:fld>
            <a:endParaRPr lang="en-US"/>
          </a:p>
        </p:txBody>
      </p:sp>
      <p:sp>
        <p:nvSpPr>
          <p:cNvPr id="4" name="Footer Placeholder 3">
            <a:extLst>
              <a:ext uri="{FF2B5EF4-FFF2-40B4-BE49-F238E27FC236}">
                <a16:creationId xmlns:a16="http://schemas.microsoft.com/office/drawing/2014/main" id="{AD0D7098-D3F3-48B0-3EE5-E43A7815674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6C13416-AA5C-BEE3-659A-9833A5A5AFFF}"/>
              </a:ext>
            </a:extLst>
          </p:cNvPr>
          <p:cNvSpPr>
            <a:spLocks noGrp="1"/>
          </p:cNvSpPr>
          <p:nvPr>
            <p:ph type="sldNum" sz="quarter" idx="12"/>
          </p:nvPr>
        </p:nvSpPr>
        <p:spPr/>
        <p:txBody>
          <a:bodyPr/>
          <a:lstStyle/>
          <a:p>
            <a:fld id="{86C7046F-7E11-4EF8-BCCF-10010BAD6D11}" type="slidenum">
              <a:rPr lang="en-US" smtClean="0"/>
              <a:t>‹#›</a:t>
            </a:fld>
            <a:endParaRPr lang="en-US"/>
          </a:p>
        </p:txBody>
      </p:sp>
    </p:spTree>
    <p:extLst>
      <p:ext uri="{BB962C8B-B14F-4D97-AF65-F5344CB8AC3E}">
        <p14:creationId xmlns:p14="http://schemas.microsoft.com/office/powerpoint/2010/main" val="14355409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AD7015F-2BE5-5015-1209-0776F40496B1}"/>
              </a:ext>
            </a:extLst>
          </p:cNvPr>
          <p:cNvSpPr>
            <a:spLocks noGrp="1"/>
          </p:cNvSpPr>
          <p:nvPr>
            <p:ph type="dt" sz="half" idx="10"/>
          </p:nvPr>
        </p:nvSpPr>
        <p:spPr/>
        <p:txBody>
          <a:bodyPr/>
          <a:lstStyle/>
          <a:p>
            <a:fld id="{8F00264B-6436-41C1-8070-7B4904EB773E}" type="datetimeFigureOut">
              <a:rPr lang="en-US" smtClean="0"/>
              <a:t>4/24/26</a:t>
            </a:fld>
            <a:endParaRPr lang="en-US"/>
          </a:p>
        </p:txBody>
      </p:sp>
      <p:sp>
        <p:nvSpPr>
          <p:cNvPr id="3" name="Footer Placeholder 2">
            <a:extLst>
              <a:ext uri="{FF2B5EF4-FFF2-40B4-BE49-F238E27FC236}">
                <a16:creationId xmlns:a16="http://schemas.microsoft.com/office/drawing/2014/main" id="{E3B15267-0F1E-E058-5F40-7D4E9817467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A4595F7-2969-207B-473C-97DFC2EEAB63}"/>
              </a:ext>
            </a:extLst>
          </p:cNvPr>
          <p:cNvSpPr>
            <a:spLocks noGrp="1"/>
          </p:cNvSpPr>
          <p:nvPr>
            <p:ph type="sldNum" sz="quarter" idx="12"/>
          </p:nvPr>
        </p:nvSpPr>
        <p:spPr/>
        <p:txBody>
          <a:bodyPr/>
          <a:lstStyle/>
          <a:p>
            <a:fld id="{86C7046F-7E11-4EF8-BCCF-10010BAD6D11}" type="slidenum">
              <a:rPr lang="en-US" smtClean="0"/>
              <a:t>‹#›</a:t>
            </a:fld>
            <a:endParaRPr lang="en-US"/>
          </a:p>
        </p:txBody>
      </p:sp>
    </p:spTree>
    <p:extLst>
      <p:ext uri="{BB962C8B-B14F-4D97-AF65-F5344CB8AC3E}">
        <p14:creationId xmlns:p14="http://schemas.microsoft.com/office/powerpoint/2010/main" val="17902584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BD17C6-A6D9-46DD-A6BF-8B7340E6723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A2686E7-4B84-1182-C0BA-641B9BB062D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DA25C79-192F-AE3A-4DBD-FE85CD2D5CB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586EB1A-3DBB-C90C-AF68-0DB17AC616EF}"/>
              </a:ext>
            </a:extLst>
          </p:cNvPr>
          <p:cNvSpPr>
            <a:spLocks noGrp="1"/>
          </p:cNvSpPr>
          <p:nvPr>
            <p:ph type="dt" sz="half" idx="10"/>
          </p:nvPr>
        </p:nvSpPr>
        <p:spPr/>
        <p:txBody>
          <a:bodyPr/>
          <a:lstStyle/>
          <a:p>
            <a:fld id="{8F00264B-6436-41C1-8070-7B4904EB773E}" type="datetimeFigureOut">
              <a:rPr lang="en-US" smtClean="0"/>
              <a:t>4/24/26</a:t>
            </a:fld>
            <a:endParaRPr lang="en-US"/>
          </a:p>
        </p:txBody>
      </p:sp>
      <p:sp>
        <p:nvSpPr>
          <p:cNvPr id="6" name="Footer Placeholder 5">
            <a:extLst>
              <a:ext uri="{FF2B5EF4-FFF2-40B4-BE49-F238E27FC236}">
                <a16:creationId xmlns:a16="http://schemas.microsoft.com/office/drawing/2014/main" id="{9F498E7E-775D-EB8E-A0AE-5B1D648B422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6E9A059-F7C9-45E9-D9DA-3A34C4EE9B17}"/>
              </a:ext>
            </a:extLst>
          </p:cNvPr>
          <p:cNvSpPr>
            <a:spLocks noGrp="1"/>
          </p:cNvSpPr>
          <p:nvPr>
            <p:ph type="sldNum" sz="quarter" idx="12"/>
          </p:nvPr>
        </p:nvSpPr>
        <p:spPr/>
        <p:txBody>
          <a:bodyPr/>
          <a:lstStyle/>
          <a:p>
            <a:fld id="{86C7046F-7E11-4EF8-BCCF-10010BAD6D11}" type="slidenum">
              <a:rPr lang="en-US" smtClean="0"/>
              <a:t>‹#›</a:t>
            </a:fld>
            <a:endParaRPr lang="en-US"/>
          </a:p>
        </p:txBody>
      </p:sp>
    </p:spTree>
    <p:extLst>
      <p:ext uri="{BB962C8B-B14F-4D97-AF65-F5344CB8AC3E}">
        <p14:creationId xmlns:p14="http://schemas.microsoft.com/office/powerpoint/2010/main" val="19953997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D55C6A-81F0-A115-8163-174433F136E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BFF39E5-9C5B-4C7C-AC8E-7BBC2F59181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D36DA71-68E1-F0A8-08C5-EEF22DBD825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AF8E559-7F5A-FF3F-ECFE-EC58704A14C6}"/>
              </a:ext>
            </a:extLst>
          </p:cNvPr>
          <p:cNvSpPr>
            <a:spLocks noGrp="1"/>
          </p:cNvSpPr>
          <p:nvPr>
            <p:ph type="dt" sz="half" idx="10"/>
          </p:nvPr>
        </p:nvSpPr>
        <p:spPr/>
        <p:txBody>
          <a:bodyPr/>
          <a:lstStyle/>
          <a:p>
            <a:fld id="{8F00264B-6436-41C1-8070-7B4904EB773E}" type="datetimeFigureOut">
              <a:rPr lang="en-US" smtClean="0"/>
              <a:t>4/24/26</a:t>
            </a:fld>
            <a:endParaRPr lang="en-US"/>
          </a:p>
        </p:txBody>
      </p:sp>
      <p:sp>
        <p:nvSpPr>
          <p:cNvPr id="6" name="Footer Placeholder 5">
            <a:extLst>
              <a:ext uri="{FF2B5EF4-FFF2-40B4-BE49-F238E27FC236}">
                <a16:creationId xmlns:a16="http://schemas.microsoft.com/office/drawing/2014/main" id="{BF24D03C-E781-CF1B-22E7-4E72F009AB2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ECC378D-ECBE-14BD-3965-8EAB51AF723D}"/>
              </a:ext>
            </a:extLst>
          </p:cNvPr>
          <p:cNvSpPr>
            <a:spLocks noGrp="1"/>
          </p:cNvSpPr>
          <p:nvPr>
            <p:ph type="sldNum" sz="quarter" idx="12"/>
          </p:nvPr>
        </p:nvSpPr>
        <p:spPr/>
        <p:txBody>
          <a:bodyPr/>
          <a:lstStyle/>
          <a:p>
            <a:fld id="{86C7046F-7E11-4EF8-BCCF-10010BAD6D11}" type="slidenum">
              <a:rPr lang="en-US" smtClean="0"/>
              <a:t>‹#›</a:t>
            </a:fld>
            <a:endParaRPr lang="en-US"/>
          </a:p>
        </p:txBody>
      </p:sp>
    </p:spTree>
    <p:extLst>
      <p:ext uri="{BB962C8B-B14F-4D97-AF65-F5344CB8AC3E}">
        <p14:creationId xmlns:p14="http://schemas.microsoft.com/office/powerpoint/2010/main" val="42481928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95D2CB-1C35-332C-80E7-BB38B59FE6C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0D46EF8-62A7-E72C-3F2D-6D07111BCA9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1012189-F470-9A8F-646D-7BCC6EFE7A4C}"/>
              </a:ext>
            </a:extLst>
          </p:cNvPr>
          <p:cNvSpPr>
            <a:spLocks noGrp="1"/>
          </p:cNvSpPr>
          <p:nvPr>
            <p:ph type="dt" sz="half" idx="10"/>
          </p:nvPr>
        </p:nvSpPr>
        <p:spPr/>
        <p:txBody>
          <a:bodyPr/>
          <a:lstStyle/>
          <a:p>
            <a:fld id="{8F00264B-6436-41C1-8070-7B4904EB773E}" type="datetimeFigureOut">
              <a:rPr lang="en-US" smtClean="0"/>
              <a:t>4/24/26</a:t>
            </a:fld>
            <a:endParaRPr lang="en-US"/>
          </a:p>
        </p:txBody>
      </p:sp>
      <p:sp>
        <p:nvSpPr>
          <p:cNvPr id="5" name="Footer Placeholder 4">
            <a:extLst>
              <a:ext uri="{FF2B5EF4-FFF2-40B4-BE49-F238E27FC236}">
                <a16:creationId xmlns:a16="http://schemas.microsoft.com/office/drawing/2014/main" id="{D993963B-FF67-557B-C45D-8AC8E9C6A17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82B7F78-C3EB-D6B7-F300-90B4134E5118}"/>
              </a:ext>
            </a:extLst>
          </p:cNvPr>
          <p:cNvSpPr>
            <a:spLocks noGrp="1"/>
          </p:cNvSpPr>
          <p:nvPr>
            <p:ph type="sldNum" sz="quarter" idx="12"/>
          </p:nvPr>
        </p:nvSpPr>
        <p:spPr/>
        <p:txBody>
          <a:bodyPr/>
          <a:lstStyle/>
          <a:p>
            <a:fld id="{86C7046F-7E11-4EF8-BCCF-10010BAD6D11}" type="slidenum">
              <a:rPr lang="en-US" smtClean="0"/>
              <a:t>‹#›</a:t>
            </a:fld>
            <a:endParaRPr lang="en-US"/>
          </a:p>
        </p:txBody>
      </p:sp>
    </p:spTree>
    <p:extLst>
      <p:ext uri="{BB962C8B-B14F-4D97-AF65-F5344CB8AC3E}">
        <p14:creationId xmlns:p14="http://schemas.microsoft.com/office/powerpoint/2010/main" val="26959186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B6D3F49-83CA-A202-FAA1-8C2190381A3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2B1B2C0-83CA-6570-7F5D-B99C7276A36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E0FEC8D-32B4-0E93-A63F-4D7E357EF63C}"/>
              </a:ext>
            </a:extLst>
          </p:cNvPr>
          <p:cNvSpPr>
            <a:spLocks noGrp="1"/>
          </p:cNvSpPr>
          <p:nvPr>
            <p:ph type="dt" sz="half" idx="10"/>
          </p:nvPr>
        </p:nvSpPr>
        <p:spPr/>
        <p:txBody>
          <a:bodyPr/>
          <a:lstStyle/>
          <a:p>
            <a:fld id="{8F00264B-6436-41C1-8070-7B4904EB773E}" type="datetimeFigureOut">
              <a:rPr lang="en-US" smtClean="0"/>
              <a:t>4/24/26</a:t>
            </a:fld>
            <a:endParaRPr lang="en-US"/>
          </a:p>
        </p:txBody>
      </p:sp>
      <p:sp>
        <p:nvSpPr>
          <p:cNvPr id="5" name="Footer Placeholder 4">
            <a:extLst>
              <a:ext uri="{FF2B5EF4-FFF2-40B4-BE49-F238E27FC236}">
                <a16:creationId xmlns:a16="http://schemas.microsoft.com/office/drawing/2014/main" id="{571796B4-2121-44A3-A20F-FDCA43977E1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94CC150-9A86-4A71-F040-BED4A3E52ADD}"/>
              </a:ext>
            </a:extLst>
          </p:cNvPr>
          <p:cNvSpPr>
            <a:spLocks noGrp="1"/>
          </p:cNvSpPr>
          <p:nvPr>
            <p:ph type="sldNum" sz="quarter" idx="12"/>
          </p:nvPr>
        </p:nvSpPr>
        <p:spPr/>
        <p:txBody>
          <a:bodyPr/>
          <a:lstStyle/>
          <a:p>
            <a:fld id="{86C7046F-7E11-4EF8-BCCF-10010BAD6D11}" type="slidenum">
              <a:rPr lang="en-US" smtClean="0"/>
              <a:t>‹#›</a:t>
            </a:fld>
            <a:endParaRPr lang="en-US"/>
          </a:p>
        </p:txBody>
      </p:sp>
    </p:spTree>
    <p:extLst>
      <p:ext uri="{BB962C8B-B14F-4D97-AF65-F5344CB8AC3E}">
        <p14:creationId xmlns:p14="http://schemas.microsoft.com/office/powerpoint/2010/main" val="33962528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Large image">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C903DAF9-9411-4944-8139-4DCDD62E6654}"/>
              </a:ext>
            </a:extLst>
          </p:cNvPr>
          <p:cNvSpPr>
            <a:spLocks noGrp="1"/>
          </p:cNvSpPr>
          <p:nvPr>
            <p:ph type="pic" sz="quarter" idx="16"/>
          </p:nvPr>
        </p:nvSpPr>
        <p:spPr>
          <a:xfrm>
            <a:off x="942110" y="1606550"/>
            <a:ext cx="10411690" cy="4295486"/>
          </a:xfrm>
          <a:prstGeom prst="rect">
            <a:avLst/>
          </a:prstGeom>
        </p:spPr>
        <p:txBody>
          <a:bodyPr/>
          <a:lstStyle/>
          <a:p>
            <a:r>
              <a:rPr lang="en-US"/>
              <a:t>Click icon to add picture</a:t>
            </a:r>
          </a:p>
        </p:txBody>
      </p:sp>
      <p:sp>
        <p:nvSpPr>
          <p:cNvPr id="6" name="Text Placeholder 10">
            <a:extLst>
              <a:ext uri="{FF2B5EF4-FFF2-40B4-BE49-F238E27FC236}">
                <a16:creationId xmlns:a16="http://schemas.microsoft.com/office/drawing/2014/main" id="{34C1C6C8-17B7-5F42-9712-E50384856449}"/>
              </a:ext>
            </a:extLst>
          </p:cNvPr>
          <p:cNvSpPr>
            <a:spLocks noGrp="1"/>
          </p:cNvSpPr>
          <p:nvPr>
            <p:ph type="body" sz="quarter" idx="20" hasCustomPrompt="1"/>
          </p:nvPr>
        </p:nvSpPr>
        <p:spPr>
          <a:xfrm>
            <a:off x="942110" y="741566"/>
            <a:ext cx="10411690" cy="674688"/>
          </a:xfrm>
          <a:prstGeom prst="rect">
            <a:avLst/>
          </a:prstGeom>
        </p:spPr>
        <p:txBody>
          <a:bodyPr>
            <a:normAutofit/>
          </a:bodyPr>
          <a:lstStyle>
            <a:lvl1pPr marL="0" indent="0" algn="ctr">
              <a:buNone/>
              <a:defRPr sz="4000" b="1">
                <a:solidFill>
                  <a:schemeClr val="tx2"/>
                </a:solidFill>
              </a:defRPr>
            </a:lvl1pPr>
          </a:lstStyle>
          <a:p>
            <a:pPr lvl="0"/>
            <a:r>
              <a:rPr lang="en-US" dirty="0"/>
              <a:t>Arial Bold 40pt Title</a:t>
            </a:r>
          </a:p>
        </p:txBody>
      </p:sp>
    </p:spTree>
    <p:extLst>
      <p:ext uri="{BB962C8B-B14F-4D97-AF65-F5344CB8AC3E}">
        <p14:creationId xmlns:p14="http://schemas.microsoft.com/office/powerpoint/2010/main" val="7180177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Column Left — Footer">
    <p:spTree>
      <p:nvGrpSpPr>
        <p:cNvPr id="1" name=""/>
        <p:cNvGrpSpPr/>
        <p:nvPr/>
      </p:nvGrpSpPr>
      <p:grpSpPr>
        <a:xfrm>
          <a:off x="0" y="0"/>
          <a:ext cx="0" cy="0"/>
          <a:chOff x="0" y="0"/>
          <a:chExt cx="0" cy="0"/>
        </a:xfrm>
      </p:grpSpPr>
      <p:pic>
        <p:nvPicPr>
          <p:cNvPr id="5" name="Picture 4" descr="CCR_54px Logo GREY.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4801" y="6384925"/>
            <a:ext cx="2495551" cy="344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5"/>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081684" y="6561138"/>
            <a:ext cx="160867" cy="13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14"/>
          <p:cNvSpPr txBox="1">
            <a:spLocks noChangeArrowheads="1"/>
          </p:cNvSpPr>
          <p:nvPr userDrawn="1"/>
        </p:nvSpPr>
        <p:spPr bwMode="auto">
          <a:xfrm>
            <a:off x="11529485" y="6519864"/>
            <a:ext cx="410633" cy="242887"/>
          </a:xfrm>
          <a:prstGeom prst="rect">
            <a:avLst/>
          </a:prstGeom>
          <a:noFill/>
          <a:ln w="9525">
            <a:noFill/>
            <a:miter lim="800000"/>
            <a:headEnd/>
            <a:tailEnd/>
          </a:ln>
          <a:effectLst/>
        </p:spPr>
        <p:txBody>
          <a:bodyPr lIns="0" tIns="0" rIns="0" bIns="0"/>
          <a:lstStyle>
            <a:lvl1pPr defTabSz="912813" eaLnBrk="0" hangingPunct="0">
              <a:tabLst>
                <a:tab pos="11025188" algn="r"/>
              </a:tabLst>
              <a:defRPr sz="2400">
                <a:solidFill>
                  <a:schemeClr val="tx1"/>
                </a:solidFill>
                <a:latin typeface="Georgia" charset="0"/>
                <a:ea typeface="ＭＳ Ｐゴシック" charset="0"/>
                <a:cs typeface="ＭＳ Ｐゴシック" charset="0"/>
              </a:defRPr>
            </a:lvl1pPr>
            <a:lvl2pPr marL="37931725" indent="-37474525" defTabSz="912813" eaLnBrk="0" hangingPunct="0">
              <a:tabLst>
                <a:tab pos="11025188" algn="r"/>
              </a:tabLst>
              <a:defRPr sz="2400">
                <a:solidFill>
                  <a:schemeClr val="tx1"/>
                </a:solidFill>
                <a:latin typeface="Georgia" charset="0"/>
                <a:ea typeface="ＭＳ Ｐゴシック" charset="0"/>
              </a:defRPr>
            </a:lvl2pPr>
            <a:lvl3pPr eaLnBrk="0" hangingPunct="0">
              <a:tabLst>
                <a:tab pos="11025188" algn="r"/>
              </a:tabLst>
              <a:defRPr sz="2400">
                <a:solidFill>
                  <a:schemeClr val="tx1"/>
                </a:solidFill>
                <a:latin typeface="Georgia" charset="0"/>
                <a:ea typeface="ＭＳ Ｐゴシック" charset="0"/>
              </a:defRPr>
            </a:lvl3pPr>
            <a:lvl4pPr eaLnBrk="0" hangingPunct="0">
              <a:tabLst>
                <a:tab pos="11025188" algn="r"/>
              </a:tabLst>
              <a:defRPr sz="2400">
                <a:solidFill>
                  <a:schemeClr val="tx1"/>
                </a:solidFill>
                <a:latin typeface="Georgia" charset="0"/>
                <a:ea typeface="ＭＳ Ｐゴシック" charset="0"/>
              </a:defRPr>
            </a:lvl4pPr>
            <a:lvl5pPr eaLnBrk="0" hangingPunct="0">
              <a:tabLst>
                <a:tab pos="11025188" algn="r"/>
              </a:tabLst>
              <a:defRPr sz="2400">
                <a:solidFill>
                  <a:schemeClr val="tx1"/>
                </a:solidFill>
                <a:latin typeface="Georgia" charset="0"/>
                <a:ea typeface="ＭＳ Ｐゴシック" charset="0"/>
              </a:defRPr>
            </a:lvl5pPr>
            <a:lvl6pPr marL="457200" eaLnBrk="0" fontAlgn="base" hangingPunct="0">
              <a:spcBef>
                <a:spcPct val="0"/>
              </a:spcBef>
              <a:spcAft>
                <a:spcPct val="0"/>
              </a:spcAft>
              <a:tabLst>
                <a:tab pos="11025188" algn="r"/>
              </a:tabLst>
              <a:defRPr sz="2400">
                <a:solidFill>
                  <a:schemeClr val="tx1"/>
                </a:solidFill>
                <a:latin typeface="Georgia" charset="0"/>
                <a:ea typeface="ＭＳ Ｐゴシック" charset="0"/>
              </a:defRPr>
            </a:lvl6pPr>
            <a:lvl7pPr marL="914400" eaLnBrk="0" fontAlgn="base" hangingPunct="0">
              <a:spcBef>
                <a:spcPct val="0"/>
              </a:spcBef>
              <a:spcAft>
                <a:spcPct val="0"/>
              </a:spcAft>
              <a:tabLst>
                <a:tab pos="11025188" algn="r"/>
              </a:tabLst>
              <a:defRPr sz="2400">
                <a:solidFill>
                  <a:schemeClr val="tx1"/>
                </a:solidFill>
                <a:latin typeface="Georgia" charset="0"/>
                <a:ea typeface="ＭＳ Ｐゴシック" charset="0"/>
              </a:defRPr>
            </a:lvl7pPr>
            <a:lvl8pPr marL="1371600" eaLnBrk="0" fontAlgn="base" hangingPunct="0">
              <a:spcBef>
                <a:spcPct val="0"/>
              </a:spcBef>
              <a:spcAft>
                <a:spcPct val="0"/>
              </a:spcAft>
              <a:tabLst>
                <a:tab pos="11025188" algn="r"/>
              </a:tabLst>
              <a:defRPr sz="2400">
                <a:solidFill>
                  <a:schemeClr val="tx1"/>
                </a:solidFill>
                <a:latin typeface="Georgia" charset="0"/>
                <a:ea typeface="ＭＳ Ｐゴシック" charset="0"/>
              </a:defRPr>
            </a:lvl8pPr>
            <a:lvl9pPr marL="1828800" eaLnBrk="0" fontAlgn="base" hangingPunct="0">
              <a:spcBef>
                <a:spcPct val="0"/>
              </a:spcBef>
              <a:spcAft>
                <a:spcPct val="0"/>
              </a:spcAft>
              <a:tabLst>
                <a:tab pos="11025188" algn="r"/>
              </a:tabLst>
              <a:defRPr sz="2400">
                <a:solidFill>
                  <a:schemeClr val="tx1"/>
                </a:solidFill>
                <a:latin typeface="Georgia" charset="0"/>
                <a:ea typeface="ＭＳ Ｐゴシック" charset="0"/>
              </a:defRPr>
            </a:lvl9pPr>
          </a:lstStyle>
          <a:p>
            <a:pPr algn="r" fontAlgn="auto">
              <a:lnSpc>
                <a:spcPct val="101000"/>
              </a:lnSpc>
              <a:spcBef>
                <a:spcPct val="50000"/>
              </a:spcBef>
              <a:spcAft>
                <a:spcPts val="0"/>
              </a:spcAft>
              <a:defRPr/>
            </a:pPr>
            <a:r>
              <a:rPr lang="en-US" sz="1000" b="1" dirty="0">
                <a:solidFill>
                  <a:srgbClr val="6C6C6C"/>
                </a:solidFill>
                <a:latin typeface="+mn-lt"/>
                <a:cs typeface="SapientSansRegular"/>
              </a:rPr>
              <a:t> </a:t>
            </a:r>
            <a:fld id="{4DDD0D21-86A5-478D-B176-F062912A7DB1}" type="slidenum">
              <a:rPr lang="en-US" sz="1000" b="1" smtClean="0">
                <a:solidFill>
                  <a:srgbClr val="6C6C6C"/>
                </a:solidFill>
                <a:latin typeface="+mn-lt"/>
                <a:cs typeface="SapientSansRegular"/>
              </a:rPr>
              <a:pPr algn="r" fontAlgn="auto">
                <a:lnSpc>
                  <a:spcPct val="101000"/>
                </a:lnSpc>
                <a:spcBef>
                  <a:spcPct val="50000"/>
                </a:spcBef>
                <a:spcAft>
                  <a:spcPts val="0"/>
                </a:spcAft>
                <a:defRPr/>
              </a:pPr>
              <a:t>‹#›</a:t>
            </a:fld>
            <a:endParaRPr lang="en-US" sz="1000" b="1" dirty="0">
              <a:solidFill>
                <a:srgbClr val="6C6C6C"/>
              </a:solidFill>
              <a:latin typeface="+mn-lt"/>
              <a:cs typeface="SapientSansRegular"/>
            </a:endParaRPr>
          </a:p>
        </p:txBody>
      </p:sp>
      <p:pic>
        <p:nvPicPr>
          <p:cNvPr id="10" name="Picture 7"/>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0289118" y="6545264"/>
            <a:ext cx="1225549"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le 1"/>
          <p:cNvSpPr>
            <a:spLocks noGrp="1"/>
          </p:cNvSpPr>
          <p:nvPr>
            <p:ph type="title"/>
          </p:nvPr>
        </p:nvSpPr>
        <p:spPr>
          <a:xfrm>
            <a:off x="658368" y="415547"/>
            <a:ext cx="10887456" cy="423193"/>
          </a:xfrm>
        </p:spPr>
        <p:txBody>
          <a:bodyPr lIns="0" tIns="0" rIns="0" bIns="0" anchor="b">
            <a:noAutofit/>
          </a:bodyPr>
          <a:lstStyle>
            <a:lvl1pPr>
              <a:lnSpc>
                <a:spcPct val="90000"/>
              </a:lnSpc>
              <a:defRPr sz="2400" baseline="0">
                <a:solidFill>
                  <a:srgbClr val="123E57"/>
                </a:solidFill>
                <a:latin typeface="+mj-lt"/>
                <a:cs typeface="SapientSansBold"/>
              </a:defRPr>
            </a:lvl1pPr>
          </a:lstStyle>
          <a:p>
            <a:r>
              <a:rPr lang="en-US"/>
              <a:t>Click to edit Master title style</a:t>
            </a:r>
            <a:endParaRPr lang="en-US" dirty="0"/>
          </a:p>
        </p:txBody>
      </p:sp>
      <p:sp>
        <p:nvSpPr>
          <p:cNvPr id="6" name="Content Placeholder 2"/>
          <p:cNvSpPr>
            <a:spLocks noGrp="1"/>
          </p:cNvSpPr>
          <p:nvPr>
            <p:ph sz="quarter" idx="11"/>
          </p:nvPr>
        </p:nvSpPr>
        <p:spPr>
          <a:xfrm>
            <a:off x="658370" y="1426633"/>
            <a:ext cx="5477849" cy="4800600"/>
          </a:xfrm>
        </p:spPr>
        <p:txBody>
          <a:bodyPr numCol="1"/>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4"/>
          <p:cNvSpPr>
            <a:spLocks noGrp="1"/>
          </p:cNvSpPr>
          <p:nvPr>
            <p:ph sz="quarter" idx="12"/>
          </p:nvPr>
        </p:nvSpPr>
        <p:spPr>
          <a:xfrm>
            <a:off x="6349409" y="1426633"/>
            <a:ext cx="5196417" cy="4800600"/>
          </a:xfrm>
        </p:spPr>
        <p:txBody>
          <a:bodyPr anchor="ctr"/>
          <a:lstStyle>
            <a:lvl1pPr marL="0" indent="0" algn="ctr">
              <a:buFontTx/>
              <a:buNone/>
              <a:defRPr/>
            </a:lvl1pPr>
          </a:lstStyle>
          <a:p>
            <a:pPr lvl="0"/>
            <a:r>
              <a:rPr lang="en-US"/>
              <a:t>Click to edit Master text styles</a:t>
            </a:r>
          </a:p>
        </p:txBody>
      </p:sp>
    </p:spTree>
    <p:extLst>
      <p:ext uri="{BB962C8B-B14F-4D97-AF65-F5344CB8AC3E}">
        <p14:creationId xmlns:p14="http://schemas.microsoft.com/office/powerpoint/2010/main" val="13925441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6" name="Text Placeholder 11">
            <a:extLst>
              <a:ext uri="{FF2B5EF4-FFF2-40B4-BE49-F238E27FC236}">
                <a16:creationId xmlns:a16="http://schemas.microsoft.com/office/drawing/2014/main" id="{C848D903-2EA0-6340-99B3-5F3395B7CF00}"/>
              </a:ext>
            </a:extLst>
          </p:cNvPr>
          <p:cNvSpPr>
            <a:spLocks noGrp="1"/>
          </p:cNvSpPr>
          <p:nvPr>
            <p:ph type="body" sz="quarter" idx="11" hasCustomPrompt="1"/>
          </p:nvPr>
        </p:nvSpPr>
        <p:spPr>
          <a:xfrm>
            <a:off x="1329178" y="2006834"/>
            <a:ext cx="10024621" cy="3932121"/>
          </a:xfrm>
          <a:prstGeom prst="rect">
            <a:avLst/>
          </a:prstGeom>
        </p:spPr>
        <p:txBody>
          <a:bodyPr anchor="t">
            <a:normAutofit/>
          </a:bodyPr>
          <a:lstStyle>
            <a:lvl1pPr marL="571500" marR="0" indent="-571500" algn="l" defTabSz="914400" rtl="0" eaLnBrk="1" fontAlgn="auto" latinLnBrk="0" hangingPunct="1">
              <a:lnSpc>
                <a:spcPct val="150000"/>
              </a:lnSpc>
              <a:spcBef>
                <a:spcPts val="0"/>
              </a:spcBef>
              <a:spcAft>
                <a:spcPts val="0"/>
              </a:spcAft>
              <a:buClr>
                <a:srgbClr val="12689B"/>
              </a:buClr>
              <a:buSzPct val="125000"/>
              <a:buFont typeface="Arial" panose="020B0604020202020204" pitchFamily="34" charset="0"/>
              <a:buChar char="•"/>
              <a:tabLst/>
              <a:defRPr sz="3200"/>
            </a:lvl1pPr>
          </a:lstStyle>
          <a:p>
            <a:pPr marL="571500" indent="-571500">
              <a:lnSpc>
                <a:spcPct val="150000"/>
              </a:lnSpc>
              <a:buClr>
                <a:srgbClr val="12689B"/>
              </a:buClr>
              <a:buSzPct val="125000"/>
              <a:buFont typeface="Arial" panose="020B0604020202020204" pitchFamily="34" charset="0"/>
              <a:buChar char="•"/>
            </a:pPr>
            <a:r>
              <a:rPr lang="en-US" sz="3200" dirty="0"/>
              <a:t>Bullet Arial 32pt </a:t>
            </a:r>
          </a:p>
          <a:p>
            <a:pPr marL="571500" indent="-571500">
              <a:lnSpc>
                <a:spcPct val="150000"/>
              </a:lnSpc>
              <a:buClr>
                <a:srgbClr val="12689B"/>
              </a:buClr>
              <a:buSzPct val="125000"/>
              <a:buFont typeface="Arial" panose="020B0604020202020204" pitchFamily="34" charset="0"/>
              <a:buChar char="•"/>
            </a:pPr>
            <a:r>
              <a:rPr lang="en-US" sz="3200" dirty="0"/>
              <a:t>Bullet Arial 32pt</a:t>
            </a:r>
          </a:p>
          <a:p>
            <a:pPr marL="571500" indent="-571500">
              <a:lnSpc>
                <a:spcPct val="150000"/>
              </a:lnSpc>
              <a:buClr>
                <a:srgbClr val="12689B"/>
              </a:buClr>
              <a:buSzPct val="125000"/>
              <a:buFont typeface="Arial" panose="020B0604020202020204" pitchFamily="34" charset="0"/>
              <a:buChar char="•"/>
            </a:pPr>
            <a:r>
              <a:rPr lang="en-US" sz="3200" dirty="0"/>
              <a:t>Bullet Arial 32pt</a:t>
            </a:r>
          </a:p>
          <a:p>
            <a:pPr marL="571500" indent="-571500">
              <a:lnSpc>
                <a:spcPct val="150000"/>
              </a:lnSpc>
              <a:buClr>
                <a:srgbClr val="12689B"/>
              </a:buClr>
              <a:buSzPct val="125000"/>
              <a:buFont typeface="Arial" panose="020B0604020202020204" pitchFamily="34" charset="0"/>
              <a:buChar char="•"/>
            </a:pPr>
            <a:r>
              <a:rPr lang="en-US" sz="3200" dirty="0"/>
              <a:t>Bullet Arial 32pt</a:t>
            </a:r>
          </a:p>
        </p:txBody>
      </p:sp>
      <p:sp>
        <p:nvSpPr>
          <p:cNvPr id="7" name="Text Placeholder 10">
            <a:extLst>
              <a:ext uri="{FF2B5EF4-FFF2-40B4-BE49-F238E27FC236}">
                <a16:creationId xmlns:a16="http://schemas.microsoft.com/office/drawing/2014/main" id="{93CBD464-DC4C-E04F-990C-0BAD194E6910}"/>
              </a:ext>
            </a:extLst>
          </p:cNvPr>
          <p:cNvSpPr>
            <a:spLocks noGrp="1"/>
          </p:cNvSpPr>
          <p:nvPr>
            <p:ph type="body" sz="quarter" idx="12" hasCustomPrompt="1"/>
          </p:nvPr>
        </p:nvSpPr>
        <p:spPr>
          <a:xfrm>
            <a:off x="1328738" y="622827"/>
            <a:ext cx="10025062" cy="1325699"/>
          </a:xfrm>
          <a:prstGeom prst="rect">
            <a:avLst/>
          </a:prstGeom>
        </p:spPr>
        <p:txBody>
          <a:bodyPr anchor="b">
            <a:normAutofit/>
          </a:bodyPr>
          <a:lstStyle>
            <a:lvl1pPr marL="0" indent="0">
              <a:buNone/>
              <a:defRPr sz="4000" b="1">
                <a:solidFill>
                  <a:schemeClr val="tx2"/>
                </a:solidFill>
              </a:defRPr>
            </a:lvl1pPr>
          </a:lstStyle>
          <a:p>
            <a:pPr lvl="0"/>
            <a:r>
              <a:rPr lang="en-US" dirty="0"/>
              <a:t>Arial Bold 40pt Title</a:t>
            </a:r>
          </a:p>
        </p:txBody>
      </p:sp>
    </p:spTree>
    <p:extLst>
      <p:ext uri="{BB962C8B-B14F-4D97-AF65-F5344CB8AC3E}">
        <p14:creationId xmlns:p14="http://schemas.microsoft.com/office/powerpoint/2010/main" val="30763058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117.xml"/><Relationship Id="rId2" Type="http://schemas.openxmlformats.org/officeDocument/2006/relationships/slideLayout" Target="../slideLayouts/slideLayout116.xml"/><Relationship Id="rId1" Type="http://schemas.openxmlformats.org/officeDocument/2006/relationships/slideLayout" Target="../slideLayouts/slideLayout115.xml"/><Relationship Id="rId6" Type="http://schemas.openxmlformats.org/officeDocument/2006/relationships/theme" Target="../theme/theme10.xml"/><Relationship Id="rId5" Type="http://schemas.openxmlformats.org/officeDocument/2006/relationships/slideLayout" Target="../slideLayouts/slideLayout119.xml"/><Relationship Id="rId4" Type="http://schemas.openxmlformats.org/officeDocument/2006/relationships/slideLayout" Target="../slideLayouts/slideLayout118.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122.xml"/><Relationship Id="rId2" Type="http://schemas.openxmlformats.org/officeDocument/2006/relationships/slideLayout" Target="../slideLayouts/slideLayout121.xml"/><Relationship Id="rId1" Type="http://schemas.openxmlformats.org/officeDocument/2006/relationships/slideLayout" Target="../slideLayouts/slideLayout120.xml"/><Relationship Id="rId6" Type="http://schemas.openxmlformats.org/officeDocument/2006/relationships/theme" Target="../theme/theme11.xml"/><Relationship Id="rId5" Type="http://schemas.openxmlformats.org/officeDocument/2006/relationships/slideLayout" Target="../slideLayouts/slideLayout124.xml"/><Relationship Id="rId4" Type="http://schemas.openxmlformats.org/officeDocument/2006/relationships/slideLayout" Target="../slideLayouts/slideLayout123.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127.xml"/><Relationship Id="rId7" Type="http://schemas.openxmlformats.org/officeDocument/2006/relationships/image" Target="../media/image10.png"/><Relationship Id="rId2" Type="http://schemas.openxmlformats.org/officeDocument/2006/relationships/slideLayout" Target="../slideLayouts/slideLayout126.xml"/><Relationship Id="rId1" Type="http://schemas.openxmlformats.org/officeDocument/2006/relationships/slideLayout" Target="../slideLayouts/slideLayout125.xml"/><Relationship Id="rId6" Type="http://schemas.openxmlformats.org/officeDocument/2006/relationships/theme" Target="../theme/theme12.xml"/><Relationship Id="rId5" Type="http://schemas.openxmlformats.org/officeDocument/2006/relationships/slideLayout" Target="../slideLayouts/slideLayout129.xml"/><Relationship Id="rId4" Type="http://schemas.openxmlformats.org/officeDocument/2006/relationships/slideLayout" Target="../slideLayouts/slideLayout128.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132.xml"/><Relationship Id="rId2" Type="http://schemas.openxmlformats.org/officeDocument/2006/relationships/slideLayout" Target="../slideLayouts/slideLayout131.xml"/><Relationship Id="rId1" Type="http://schemas.openxmlformats.org/officeDocument/2006/relationships/slideLayout" Target="../slideLayouts/slideLayout130.xml"/><Relationship Id="rId6" Type="http://schemas.openxmlformats.org/officeDocument/2006/relationships/theme" Target="../theme/theme13.xml"/><Relationship Id="rId5" Type="http://schemas.openxmlformats.org/officeDocument/2006/relationships/slideLayout" Target="../slideLayouts/slideLayout134.xml"/><Relationship Id="rId4" Type="http://schemas.openxmlformats.org/officeDocument/2006/relationships/slideLayout" Target="../slideLayouts/slideLayout13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slideLayout" Target="../slideLayouts/slideLayout147.xml"/><Relationship Id="rId18" Type="http://schemas.openxmlformats.org/officeDocument/2006/relationships/slideLayout" Target="../slideLayouts/slideLayout152.xml"/><Relationship Id="rId26" Type="http://schemas.openxmlformats.org/officeDocument/2006/relationships/slideLayout" Target="../slideLayouts/slideLayout160.xml"/><Relationship Id="rId3" Type="http://schemas.openxmlformats.org/officeDocument/2006/relationships/slideLayout" Target="../slideLayouts/slideLayout137.xml"/><Relationship Id="rId21" Type="http://schemas.openxmlformats.org/officeDocument/2006/relationships/slideLayout" Target="../slideLayouts/slideLayout155.xml"/><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slideLayout" Target="../slideLayouts/slideLayout151.xml"/><Relationship Id="rId25" Type="http://schemas.openxmlformats.org/officeDocument/2006/relationships/slideLayout" Target="../slideLayouts/slideLayout159.xml"/><Relationship Id="rId2" Type="http://schemas.openxmlformats.org/officeDocument/2006/relationships/slideLayout" Target="../slideLayouts/slideLayout136.xml"/><Relationship Id="rId16" Type="http://schemas.openxmlformats.org/officeDocument/2006/relationships/slideLayout" Target="../slideLayouts/slideLayout150.xml"/><Relationship Id="rId20" Type="http://schemas.openxmlformats.org/officeDocument/2006/relationships/slideLayout" Target="../slideLayouts/slideLayout154.xml"/><Relationship Id="rId29" Type="http://schemas.openxmlformats.org/officeDocument/2006/relationships/image" Target="../media/image13.svg"/><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24" Type="http://schemas.openxmlformats.org/officeDocument/2006/relationships/slideLayout" Target="../slideLayouts/slideLayout158.xml"/><Relationship Id="rId5" Type="http://schemas.openxmlformats.org/officeDocument/2006/relationships/slideLayout" Target="../slideLayouts/slideLayout139.xml"/><Relationship Id="rId15" Type="http://schemas.openxmlformats.org/officeDocument/2006/relationships/slideLayout" Target="../slideLayouts/slideLayout149.xml"/><Relationship Id="rId23" Type="http://schemas.openxmlformats.org/officeDocument/2006/relationships/slideLayout" Target="../slideLayouts/slideLayout157.xml"/><Relationship Id="rId28" Type="http://schemas.openxmlformats.org/officeDocument/2006/relationships/theme" Target="../theme/theme14.xml"/><Relationship Id="rId10" Type="http://schemas.openxmlformats.org/officeDocument/2006/relationships/slideLayout" Target="../slideLayouts/slideLayout144.xml"/><Relationship Id="rId19" Type="http://schemas.openxmlformats.org/officeDocument/2006/relationships/slideLayout" Target="../slideLayouts/slideLayout153.xml"/><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slideLayout" Target="../slideLayouts/slideLayout148.xml"/><Relationship Id="rId22" Type="http://schemas.openxmlformats.org/officeDocument/2006/relationships/slideLayout" Target="../slideLayouts/slideLayout156.xml"/><Relationship Id="rId27" Type="http://schemas.openxmlformats.org/officeDocument/2006/relationships/slideLayout" Target="../slideLayouts/slideLayout161.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69.xml"/><Relationship Id="rId13" Type="http://schemas.openxmlformats.org/officeDocument/2006/relationships/slideLayout" Target="../slideLayouts/slideLayout174.xml"/><Relationship Id="rId18" Type="http://schemas.openxmlformats.org/officeDocument/2006/relationships/theme" Target="../theme/theme15.xml"/><Relationship Id="rId3" Type="http://schemas.openxmlformats.org/officeDocument/2006/relationships/slideLayout" Target="../slideLayouts/slideLayout164.xml"/><Relationship Id="rId7" Type="http://schemas.openxmlformats.org/officeDocument/2006/relationships/slideLayout" Target="../slideLayouts/slideLayout168.xml"/><Relationship Id="rId12" Type="http://schemas.openxmlformats.org/officeDocument/2006/relationships/slideLayout" Target="../slideLayouts/slideLayout173.xml"/><Relationship Id="rId17" Type="http://schemas.openxmlformats.org/officeDocument/2006/relationships/slideLayout" Target="../slideLayouts/slideLayout178.xml"/><Relationship Id="rId2" Type="http://schemas.openxmlformats.org/officeDocument/2006/relationships/slideLayout" Target="../slideLayouts/slideLayout163.xml"/><Relationship Id="rId16" Type="http://schemas.openxmlformats.org/officeDocument/2006/relationships/slideLayout" Target="../slideLayouts/slideLayout177.xml"/><Relationship Id="rId1" Type="http://schemas.openxmlformats.org/officeDocument/2006/relationships/slideLayout" Target="../slideLayouts/slideLayout162.xml"/><Relationship Id="rId6" Type="http://schemas.openxmlformats.org/officeDocument/2006/relationships/slideLayout" Target="../slideLayouts/slideLayout167.xml"/><Relationship Id="rId11" Type="http://schemas.openxmlformats.org/officeDocument/2006/relationships/slideLayout" Target="../slideLayouts/slideLayout172.xml"/><Relationship Id="rId5" Type="http://schemas.openxmlformats.org/officeDocument/2006/relationships/slideLayout" Target="../slideLayouts/slideLayout166.xml"/><Relationship Id="rId15" Type="http://schemas.openxmlformats.org/officeDocument/2006/relationships/slideLayout" Target="../slideLayouts/slideLayout176.xml"/><Relationship Id="rId10" Type="http://schemas.openxmlformats.org/officeDocument/2006/relationships/slideLayout" Target="../slideLayouts/slideLayout171.xml"/><Relationship Id="rId19" Type="http://schemas.openxmlformats.org/officeDocument/2006/relationships/image" Target="../media/image27.png"/><Relationship Id="rId4" Type="http://schemas.openxmlformats.org/officeDocument/2006/relationships/slideLayout" Target="../slideLayouts/slideLayout165.xml"/><Relationship Id="rId9" Type="http://schemas.openxmlformats.org/officeDocument/2006/relationships/slideLayout" Target="../slideLayouts/slideLayout170.xml"/><Relationship Id="rId14" Type="http://schemas.openxmlformats.org/officeDocument/2006/relationships/slideLayout" Target="../slideLayouts/slideLayout17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3" Type="http://schemas.openxmlformats.org/officeDocument/2006/relationships/slideLayout" Target="../slideLayouts/slideLayout181.xml"/><Relationship Id="rId7" Type="http://schemas.openxmlformats.org/officeDocument/2006/relationships/slideLayout" Target="../slideLayouts/slideLayout185.xml"/><Relationship Id="rId12" Type="http://schemas.openxmlformats.org/officeDocument/2006/relationships/slideLayout" Target="../slideLayouts/slideLayout190.xml"/><Relationship Id="rId2" Type="http://schemas.openxmlformats.org/officeDocument/2006/relationships/slideLayout" Target="../slideLayouts/slideLayout180.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5" Type="http://schemas.openxmlformats.org/officeDocument/2006/relationships/slideLayout" Target="../slideLayouts/slideLayout183.xml"/><Relationship Id="rId15" Type="http://schemas.openxmlformats.org/officeDocument/2006/relationships/theme" Target="../theme/theme16.xml"/><Relationship Id="rId10" Type="http://schemas.openxmlformats.org/officeDocument/2006/relationships/slideLayout" Target="../slideLayouts/slideLayout188.xml"/><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slideLayout" Target="../slideLayouts/slideLayout205.xml"/><Relationship Id="rId3" Type="http://schemas.openxmlformats.org/officeDocument/2006/relationships/slideLayout" Target="../slideLayouts/slideLayout195.xml"/><Relationship Id="rId7" Type="http://schemas.openxmlformats.org/officeDocument/2006/relationships/slideLayout" Target="../slideLayouts/slideLayout199.xml"/><Relationship Id="rId12" Type="http://schemas.openxmlformats.org/officeDocument/2006/relationships/slideLayout" Target="../slideLayouts/slideLayout204.xml"/><Relationship Id="rId2" Type="http://schemas.openxmlformats.org/officeDocument/2006/relationships/slideLayout" Target="../slideLayouts/slideLayout194.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slideLayout" Target="../slideLayouts/slideLayout203.xml"/><Relationship Id="rId5" Type="http://schemas.openxmlformats.org/officeDocument/2006/relationships/slideLayout" Target="../slideLayouts/slideLayout197.xml"/><Relationship Id="rId10" Type="http://schemas.openxmlformats.org/officeDocument/2006/relationships/slideLayout" Target="../slideLayouts/slideLayout202.xml"/><Relationship Id="rId4" Type="http://schemas.openxmlformats.org/officeDocument/2006/relationships/slideLayout" Target="../slideLayouts/slideLayout196.xml"/><Relationship Id="rId9" Type="http://schemas.openxmlformats.org/officeDocument/2006/relationships/slideLayout" Target="../slideLayouts/slideLayout201.xml"/><Relationship Id="rId14"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13.xml"/><Relationship Id="rId13" Type="http://schemas.openxmlformats.org/officeDocument/2006/relationships/slideLayout" Target="../slideLayouts/slideLayout218.xml"/><Relationship Id="rId3" Type="http://schemas.openxmlformats.org/officeDocument/2006/relationships/slideLayout" Target="../slideLayouts/slideLayout208.xml"/><Relationship Id="rId7" Type="http://schemas.openxmlformats.org/officeDocument/2006/relationships/slideLayout" Target="../slideLayouts/slideLayout212.xml"/><Relationship Id="rId12" Type="http://schemas.openxmlformats.org/officeDocument/2006/relationships/slideLayout" Target="../slideLayouts/slideLayout217.xml"/><Relationship Id="rId2" Type="http://schemas.openxmlformats.org/officeDocument/2006/relationships/slideLayout" Target="../slideLayouts/slideLayout207.xml"/><Relationship Id="rId1" Type="http://schemas.openxmlformats.org/officeDocument/2006/relationships/slideLayout" Target="../slideLayouts/slideLayout206.xml"/><Relationship Id="rId6" Type="http://schemas.openxmlformats.org/officeDocument/2006/relationships/slideLayout" Target="../slideLayouts/slideLayout211.xml"/><Relationship Id="rId11" Type="http://schemas.openxmlformats.org/officeDocument/2006/relationships/slideLayout" Target="../slideLayouts/slideLayout216.xml"/><Relationship Id="rId5" Type="http://schemas.openxmlformats.org/officeDocument/2006/relationships/slideLayout" Target="../slideLayouts/slideLayout210.xml"/><Relationship Id="rId10" Type="http://schemas.openxmlformats.org/officeDocument/2006/relationships/slideLayout" Target="../slideLayouts/slideLayout215.xml"/><Relationship Id="rId4" Type="http://schemas.openxmlformats.org/officeDocument/2006/relationships/slideLayout" Target="../slideLayouts/slideLayout209.xml"/><Relationship Id="rId9" Type="http://schemas.openxmlformats.org/officeDocument/2006/relationships/slideLayout" Target="../slideLayouts/slideLayout214.xml"/><Relationship Id="rId14"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3" Type="http://schemas.openxmlformats.org/officeDocument/2006/relationships/slideLayout" Target="../slideLayouts/slideLayout221.xml"/><Relationship Id="rId7" Type="http://schemas.openxmlformats.org/officeDocument/2006/relationships/image" Target="../media/image31.jpg"/><Relationship Id="rId2" Type="http://schemas.openxmlformats.org/officeDocument/2006/relationships/slideLayout" Target="../slideLayouts/slideLayout220.xml"/><Relationship Id="rId1" Type="http://schemas.openxmlformats.org/officeDocument/2006/relationships/slideLayout" Target="../slideLayouts/slideLayout219.xml"/><Relationship Id="rId6" Type="http://schemas.openxmlformats.org/officeDocument/2006/relationships/theme" Target="../theme/theme19.xml"/><Relationship Id="rId5" Type="http://schemas.openxmlformats.org/officeDocument/2006/relationships/slideLayout" Target="../slideLayouts/slideLayout223.xml"/><Relationship Id="rId4" Type="http://schemas.openxmlformats.org/officeDocument/2006/relationships/slideLayout" Target="../slideLayouts/slideLayout2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image" Target="../media/image1.png"/><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231.xml"/><Relationship Id="rId13" Type="http://schemas.openxmlformats.org/officeDocument/2006/relationships/slideLayout" Target="../slideLayouts/slideLayout236.xml"/><Relationship Id="rId18" Type="http://schemas.openxmlformats.org/officeDocument/2006/relationships/slideLayout" Target="../slideLayouts/slideLayout241.xml"/><Relationship Id="rId3" Type="http://schemas.openxmlformats.org/officeDocument/2006/relationships/slideLayout" Target="../slideLayouts/slideLayout226.xml"/><Relationship Id="rId7" Type="http://schemas.openxmlformats.org/officeDocument/2006/relationships/slideLayout" Target="../slideLayouts/slideLayout230.xml"/><Relationship Id="rId12" Type="http://schemas.openxmlformats.org/officeDocument/2006/relationships/slideLayout" Target="../slideLayouts/slideLayout235.xml"/><Relationship Id="rId17" Type="http://schemas.openxmlformats.org/officeDocument/2006/relationships/slideLayout" Target="../slideLayouts/slideLayout240.xml"/><Relationship Id="rId2" Type="http://schemas.openxmlformats.org/officeDocument/2006/relationships/slideLayout" Target="../slideLayouts/slideLayout225.xml"/><Relationship Id="rId16" Type="http://schemas.openxmlformats.org/officeDocument/2006/relationships/slideLayout" Target="../slideLayouts/slideLayout239.xml"/><Relationship Id="rId20" Type="http://schemas.openxmlformats.org/officeDocument/2006/relationships/image" Target="../media/image28.png"/><Relationship Id="rId1" Type="http://schemas.openxmlformats.org/officeDocument/2006/relationships/slideLayout" Target="../slideLayouts/slideLayout224.xml"/><Relationship Id="rId6" Type="http://schemas.openxmlformats.org/officeDocument/2006/relationships/slideLayout" Target="../slideLayouts/slideLayout229.xml"/><Relationship Id="rId11" Type="http://schemas.openxmlformats.org/officeDocument/2006/relationships/slideLayout" Target="../slideLayouts/slideLayout234.xml"/><Relationship Id="rId5" Type="http://schemas.openxmlformats.org/officeDocument/2006/relationships/slideLayout" Target="../slideLayouts/slideLayout228.xml"/><Relationship Id="rId15" Type="http://schemas.openxmlformats.org/officeDocument/2006/relationships/slideLayout" Target="../slideLayouts/slideLayout238.xml"/><Relationship Id="rId10" Type="http://schemas.openxmlformats.org/officeDocument/2006/relationships/slideLayout" Target="../slideLayouts/slideLayout233.xml"/><Relationship Id="rId19" Type="http://schemas.openxmlformats.org/officeDocument/2006/relationships/theme" Target="../theme/theme20.xml"/><Relationship Id="rId4" Type="http://schemas.openxmlformats.org/officeDocument/2006/relationships/slideLayout" Target="../slideLayouts/slideLayout227.xml"/><Relationship Id="rId9" Type="http://schemas.openxmlformats.org/officeDocument/2006/relationships/slideLayout" Target="../slideLayouts/slideLayout232.xml"/><Relationship Id="rId14" Type="http://schemas.openxmlformats.org/officeDocument/2006/relationships/slideLayout" Target="../slideLayouts/slideLayout237.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249.xml"/><Relationship Id="rId13" Type="http://schemas.openxmlformats.org/officeDocument/2006/relationships/slideLayout" Target="../slideLayouts/slideLayout254.xml"/><Relationship Id="rId18" Type="http://schemas.openxmlformats.org/officeDocument/2006/relationships/theme" Target="../theme/theme21.xml"/><Relationship Id="rId3" Type="http://schemas.openxmlformats.org/officeDocument/2006/relationships/slideLayout" Target="../slideLayouts/slideLayout244.xml"/><Relationship Id="rId7" Type="http://schemas.openxmlformats.org/officeDocument/2006/relationships/slideLayout" Target="../slideLayouts/slideLayout248.xml"/><Relationship Id="rId12" Type="http://schemas.openxmlformats.org/officeDocument/2006/relationships/slideLayout" Target="../slideLayouts/slideLayout253.xml"/><Relationship Id="rId17" Type="http://schemas.openxmlformats.org/officeDocument/2006/relationships/slideLayout" Target="../slideLayouts/slideLayout258.xml"/><Relationship Id="rId2" Type="http://schemas.openxmlformats.org/officeDocument/2006/relationships/slideLayout" Target="../slideLayouts/slideLayout243.xml"/><Relationship Id="rId16" Type="http://schemas.openxmlformats.org/officeDocument/2006/relationships/slideLayout" Target="../slideLayouts/slideLayout257.xml"/><Relationship Id="rId1" Type="http://schemas.openxmlformats.org/officeDocument/2006/relationships/slideLayout" Target="../slideLayouts/slideLayout242.xml"/><Relationship Id="rId6" Type="http://schemas.openxmlformats.org/officeDocument/2006/relationships/slideLayout" Target="../slideLayouts/slideLayout247.xml"/><Relationship Id="rId11" Type="http://schemas.openxmlformats.org/officeDocument/2006/relationships/slideLayout" Target="../slideLayouts/slideLayout252.xml"/><Relationship Id="rId5" Type="http://schemas.openxmlformats.org/officeDocument/2006/relationships/slideLayout" Target="../slideLayouts/slideLayout246.xml"/><Relationship Id="rId15" Type="http://schemas.openxmlformats.org/officeDocument/2006/relationships/slideLayout" Target="../slideLayouts/slideLayout256.xml"/><Relationship Id="rId10" Type="http://schemas.openxmlformats.org/officeDocument/2006/relationships/slideLayout" Target="../slideLayouts/slideLayout251.xml"/><Relationship Id="rId19" Type="http://schemas.openxmlformats.org/officeDocument/2006/relationships/image" Target="../media/image28.png"/><Relationship Id="rId4" Type="http://schemas.openxmlformats.org/officeDocument/2006/relationships/slideLayout" Target="../slideLayouts/slideLayout245.xml"/><Relationship Id="rId9" Type="http://schemas.openxmlformats.org/officeDocument/2006/relationships/slideLayout" Target="../slideLayouts/slideLayout250.xml"/><Relationship Id="rId14" Type="http://schemas.openxmlformats.org/officeDocument/2006/relationships/slideLayout" Target="../slideLayouts/slideLayout255.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266.xml"/><Relationship Id="rId13" Type="http://schemas.openxmlformats.org/officeDocument/2006/relationships/slideLayout" Target="../slideLayouts/slideLayout271.xml"/><Relationship Id="rId3" Type="http://schemas.openxmlformats.org/officeDocument/2006/relationships/slideLayout" Target="../slideLayouts/slideLayout261.xml"/><Relationship Id="rId7" Type="http://schemas.openxmlformats.org/officeDocument/2006/relationships/slideLayout" Target="../slideLayouts/slideLayout265.xml"/><Relationship Id="rId12" Type="http://schemas.openxmlformats.org/officeDocument/2006/relationships/slideLayout" Target="../slideLayouts/slideLayout270.xml"/><Relationship Id="rId2" Type="http://schemas.openxmlformats.org/officeDocument/2006/relationships/slideLayout" Target="../slideLayouts/slideLayout260.xml"/><Relationship Id="rId1" Type="http://schemas.openxmlformats.org/officeDocument/2006/relationships/slideLayout" Target="../slideLayouts/slideLayout259.xml"/><Relationship Id="rId6" Type="http://schemas.openxmlformats.org/officeDocument/2006/relationships/slideLayout" Target="../slideLayouts/slideLayout264.xml"/><Relationship Id="rId11" Type="http://schemas.openxmlformats.org/officeDocument/2006/relationships/slideLayout" Target="../slideLayouts/slideLayout269.xml"/><Relationship Id="rId5" Type="http://schemas.openxmlformats.org/officeDocument/2006/relationships/slideLayout" Target="../slideLayouts/slideLayout263.xml"/><Relationship Id="rId15" Type="http://schemas.openxmlformats.org/officeDocument/2006/relationships/theme" Target="../theme/theme22.xml"/><Relationship Id="rId10" Type="http://schemas.openxmlformats.org/officeDocument/2006/relationships/slideLayout" Target="../slideLayouts/slideLayout268.xml"/><Relationship Id="rId4" Type="http://schemas.openxmlformats.org/officeDocument/2006/relationships/slideLayout" Target="../slideLayouts/slideLayout262.xml"/><Relationship Id="rId9" Type="http://schemas.openxmlformats.org/officeDocument/2006/relationships/slideLayout" Target="../slideLayouts/slideLayout267.xml"/><Relationship Id="rId14" Type="http://schemas.openxmlformats.org/officeDocument/2006/relationships/slideLayout" Target="../slideLayouts/slideLayout272.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80.xml"/><Relationship Id="rId3" Type="http://schemas.openxmlformats.org/officeDocument/2006/relationships/slideLayout" Target="../slideLayouts/slideLayout275.xml"/><Relationship Id="rId7" Type="http://schemas.openxmlformats.org/officeDocument/2006/relationships/slideLayout" Target="../slideLayouts/slideLayout279.xml"/><Relationship Id="rId12" Type="http://schemas.openxmlformats.org/officeDocument/2006/relationships/image" Target="../media/image28.png"/><Relationship Id="rId2" Type="http://schemas.openxmlformats.org/officeDocument/2006/relationships/slideLayout" Target="../slideLayouts/slideLayout274.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theme" Target="../theme/theme23.xml"/><Relationship Id="rId5" Type="http://schemas.openxmlformats.org/officeDocument/2006/relationships/slideLayout" Target="../slideLayouts/slideLayout277.xml"/><Relationship Id="rId10" Type="http://schemas.openxmlformats.org/officeDocument/2006/relationships/slideLayout" Target="../slideLayouts/slideLayout282.xml"/><Relationship Id="rId4" Type="http://schemas.openxmlformats.org/officeDocument/2006/relationships/slideLayout" Target="../slideLayouts/slideLayout276.xml"/><Relationship Id="rId9" Type="http://schemas.openxmlformats.org/officeDocument/2006/relationships/slideLayout" Target="../slideLayouts/slideLayout281.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90.xml"/><Relationship Id="rId13" Type="http://schemas.openxmlformats.org/officeDocument/2006/relationships/slideLayout" Target="../slideLayouts/slideLayout295.xml"/><Relationship Id="rId3" Type="http://schemas.openxmlformats.org/officeDocument/2006/relationships/slideLayout" Target="../slideLayouts/slideLayout285.xml"/><Relationship Id="rId7" Type="http://schemas.openxmlformats.org/officeDocument/2006/relationships/slideLayout" Target="../slideLayouts/slideLayout289.xml"/><Relationship Id="rId12" Type="http://schemas.openxmlformats.org/officeDocument/2006/relationships/slideLayout" Target="../slideLayouts/slideLayout294.xml"/><Relationship Id="rId17" Type="http://schemas.openxmlformats.org/officeDocument/2006/relationships/theme" Target="../theme/theme24.xml"/><Relationship Id="rId2" Type="http://schemas.openxmlformats.org/officeDocument/2006/relationships/slideLayout" Target="../slideLayouts/slideLayout284.xml"/><Relationship Id="rId16" Type="http://schemas.openxmlformats.org/officeDocument/2006/relationships/slideLayout" Target="../slideLayouts/slideLayout298.xml"/><Relationship Id="rId1" Type="http://schemas.openxmlformats.org/officeDocument/2006/relationships/slideLayout" Target="../slideLayouts/slideLayout283.xml"/><Relationship Id="rId6" Type="http://schemas.openxmlformats.org/officeDocument/2006/relationships/slideLayout" Target="../slideLayouts/slideLayout288.xml"/><Relationship Id="rId11" Type="http://schemas.openxmlformats.org/officeDocument/2006/relationships/slideLayout" Target="../slideLayouts/slideLayout293.xml"/><Relationship Id="rId5" Type="http://schemas.openxmlformats.org/officeDocument/2006/relationships/slideLayout" Target="../slideLayouts/slideLayout287.xml"/><Relationship Id="rId15" Type="http://schemas.openxmlformats.org/officeDocument/2006/relationships/slideLayout" Target="../slideLayouts/slideLayout297.xml"/><Relationship Id="rId10" Type="http://schemas.openxmlformats.org/officeDocument/2006/relationships/slideLayout" Target="../slideLayouts/slideLayout292.xml"/><Relationship Id="rId4" Type="http://schemas.openxmlformats.org/officeDocument/2006/relationships/slideLayout" Target="../slideLayouts/slideLayout286.xml"/><Relationship Id="rId9" Type="http://schemas.openxmlformats.org/officeDocument/2006/relationships/slideLayout" Target="../slideLayouts/slideLayout291.xml"/><Relationship Id="rId14" Type="http://schemas.openxmlformats.org/officeDocument/2006/relationships/slideLayout" Target="../slideLayouts/slideLayout296.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306.xml"/><Relationship Id="rId13" Type="http://schemas.openxmlformats.org/officeDocument/2006/relationships/slideLayout" Target="../slideLayouts/slideLayout311.xml"/><Relationship Id="rId18" Type="http://schemas.openxmlformats.org/officeDocument/2006/relationships/image" Target="../media/image36.emf"/><Relationship Id="rId3" Type="http://schemas.openxmlformats.org/officeDocument/2006/relationships/slideLayout" Target="../slideLayouts/slideLayout301.xml"/><Relationship Id="rId7" Type="http://schemas.openxmlformats.org/officeDocument/2006/relationships/slideLayout" Target="../slideLayouts/slideLayout305.xml"/><Relationship Id="rId12" Type="http://schemas.openxmlformats.org/officeDocument/2006/relationships/slideLayout" Target="../slideLayouts/slideLayout310.xml"/><Relationship Id="rId17" Type="http://schemas.openxmlformats.org/officeDocument/2006/relationships/oleObject" Target="../embeddings/oleObject1.bin"/><Relationship Id="rId2" Type="http://schemas.openxmlformats.org/officeDocument/2006/relationships/slideLayout" Target="../slideLayouts/slideLayout300.xml"/><Relationship Id="rId16" Type="http://schemas.openxmlformats.org/officeDocument/2006/relationships/tags" Target="../tags/tag4.xml"/><Relationship Id="rId1" Type="http://schemas.openxmlformats.org/officeDocument/2006/relationships/slideLayout" Target="../slideLayouts/slideLayout299.xml"/><Relationship Id="rId6" Type="http://schemas.openxmlformats.org/officeDocument/2006/relationships/slideLayout" Target="../slideLayouts/slideLayout304.xml"/><Relationship Id="rId11" Type="http://schemas.openxmlformats.org/officeDocument/2006/relationships/slideLayout" Target="../slideLayouts/slideLayout309.xml"/><Relationship Id="rId5" Type="http://schemas.openxmlformats.org/officeDocument/2006/relationships/slideLayout" Target="../slideLayouts/slideLayout303.xml"/><Relationship Id="rId15" Type="http://schemas.openxmlformats.org/officeDocument/2006/relationships/tags" Target="../tags/tag3.xml"/><Relationship Id="rId10" Type="http://schemas.openxmlformats.org/officeDocument/2006/relationships/slideLayout" Target="../slideLayouts/slideLayout308.xml"/><Relationship Id="rId4" Type="http://schemas.openxmlformats.org/officeDocument/2006/relationships/slideLayout" Target="../slideLayouts/slideLayout302.xml"/><Relationship Id="rId9" Type="http://schemas.openxmlformats.org/officeDocument/2006/relationships/slideLayout" Target="../slideLayouts/slideLayout307.xml"/><Relationship Id="rId14" Type="http://schemas.openxmlformats.org/officeDocument/2006/relationships/theme" Target="../theme/theme25.xml"/></Relationships>
</file>

<file path=ppt/slideMasters/_rels/slideMaster26.xml.rels><?xml version="1.0" encoding="UTF-8" standalone="yes"?>
<Relationships xmlns="http://schemas.openxmlformats.org/package/2006/relationships"><Relationship Id="rId13" Type="http://schemas.openxmlformats.org/officeDocument/2006/relationships/slideLayout" Target="../slideLayouts/slideLayout324.xml"/><Relationship Id="rId18" Type="http://schemas.openxmlformats.org/officeDocument/2006/relationships/slideLayout" Target="../slideLayouts/slideLayout329.xml"/><Relationship Id="rId26" Type="http://schemas.openxmlformats.org/officeDocument/2006/relationships/slideLayout" Target="../slideLayouts/slideLayout337.xml"/><Relationship Id="rId3" Type="http://schemas.openxmlformats.org/officeDocument/2006/relationships/slideLayout" Target="../slideLayouts/slideLayout314.xml"/><Relationship Id="rId21" Type="http://schemas.openxmlformats.org/officeDocument/2006/relationships/slideLayout" Target="../slideLayouts/slideLayout332.xml"/><Relationship Id="rId34" Type="http://schemas.openxmlformats.org/officeDocument/2006/relationships/slideLayout" Target="../slideLayouts/slideLayout345.xml"/><Relationship Id="rId7" Type="http://schemas.openxmlformats.org/officeDocument/2006/relationships/slideLayout" Target="../slideLayouts/slideLayout318.xml"/><Relationship Id="rId12" Type="http://schemas.openxmlformats.org/officeDocument/2006/relationships/slideLayout" Target="../slideLayouts/slideLayout323.xml"/><Relationship Id="rId17" Type="http://schemas.openxmlformats.org/officeDocument/2006/relationships/slideLayout" Target="../slideLayouts/slideLayout328.xml"/><Relationship Id="rId25" Type="http://schemas.openxmlformats.org/officeDocument/2006/relationships/slideLayout" Target="../slideLayouts/slideLayout336.xml"/><Relationship Id="rId33" Type="http://schemas.openxmlformats.org/officeDocument/2006/relationships/slideLayout" Target="../slideLayouts/slideLayout344.xml"/><Relationship Id="rId2" Type="http://schemas.openxmlformats.org/officeDocument/2006/relationships/slideLayout" Target="../slideLayouts/slideLayout313.xml"/><Relationship Id="rId16" Type="http://schemas.openxmlformats.org/officeDocument/2006/relationships/slideLayout" Target="../slideLayouts/slideLayout327.xml"/><Relationship Id="rId20" Type="http://schemas.openxmlformats.org/officeDocument/2006/relationships/slideLayout" Target="../slideLayouts/slideLayout331.xml"/><Relationship Id="rId29" Type="http://schemas.openxmlformats.org/officeDocument/2006/relationships/slideLayout" Target="../slideLayouts/slideLayout340.xml"/><Relationship Id="rId1" Type="http://schemas.openxmlformats.org/officeDocument/2006/relationships/slideLayout" Target="../slideLayouts/slideLayout312.xml"/><Relationship Id="rId6" Type="http://schemas.openxmlformats.org/officeDocument/2006/relationships/slideLayout" Target="../slideLayouts/slideLayout317.xml"/><Relationship Id="rId11" Type="http://schemas.openxmlformats.org/officeDocument/2006/relationships/slideLayout" Target="../slideLayouts/slideLayout322.xml"/><Relationship Id="rId24" Type="http://schemas.openxmlformats.org/officeDocument/2006/relationships/slideLayout" Target="../slideLayouts/slideLayout335.xml"/><Relationship Id="rId32" Type="http://schemas.openxmlformats.org/officeDocument/2006/relationships/slideLayout" Target="../slideLayouts/slideLayout343.xml"/><Relationship Id="rId5" Type="http://schemas.openxmlformats.org/officeDocument/2006/relationships/slideLayout" Target="../slideLayouts/slideLayout316.xml"/><Relationship Id="rId15" Type="http://schemas.openxmlformats.org/officeDocument/2006/relationships/slideLayout" Target="../slideLayouts/slideLayout326.xml"/><Relationship Id="rId23" Type="http://schemas.openxmlformats.org/officeDocument/2006/relationships/slideLayout" Target="../slideLayouts/slideLayout334.xml"/><Relationship Id="rId28" Type="http://schemas.openxmlformats.org/officeDocument/2006/relationships/slideLayout" Target="../slideLayouts/slideLayout339.xml"/><Relationship Id="rId36" Type="http://schemas.openxmlformats.org/officeDocument/2006/relationships/theme" Target="../theme/theme26.xml"/><Relationship Id="rId10" Type="http://schemas.openxmlformats.org/officeDocument/2006/relationships/slideLayout" Target="../slideLayouts/slideLayout321.xml"/><Relationship Id="rId19" Type="http://schemas.openxmlformats.org/officeDocument/2006/relationships/slideLayout" Target="../slideLayouts/slideLayout330.xml"/><Relationship Id="rId31" Type="http://schemas.openxmlformats.org/officeDocument/2006/relationships/slideLayout" Target="../slideLayouts/slideLayout342.xml"/><Relationship Id="rId4" Type="http://schemas.openxmlformats.org/officeDocument/2006/relationships/slideLayout" Target="../slideLayouts/slideLayout315.xml"/><Relationship Id="rId9" Type="http://schemas.openxmlformats.org/officeDocument/2006/relationships/slideLayout" Target="../slideLayouts/slideLayout320.xml"/><Relationship Id="rId14" Type="http://schemas.openxmlformats.org/officeDocument/2006/relationships/slideLayout" Target="../slideLayouts/slideLayout325.xml"/><Relationship Id="rId22" Type="http://schemas.openxmlformats.org/officeDocument/2006/relationships/slideLayout" Target="../slideLayouts/slideLayout333.xml"/><Relationship Id="rId27" Type="http://schemas.openxmlformats.org/officeDocument/2006/relationships/slideLayout" Target="../slideLayouts/slideLayout338.xml"/><Relationship Id="rId30" Type="http://schemas.openxmlformats.org/officeDocument/2006/relationships/slideLayout" Target="../slideLayouts/slideLayout341.xml"/><Relationship Id="rId35" Type="http://schemas.openxmlformats.org/officeDocument/2006/relationships/slideLayout" Target="../slideLayouts/slideLayout346.xml"/><Relationship Id="rId8" Type="http://schemas.openxmlformats.org/officeDocument/2006/relationships/slideLayout" Target="../slideLayouts/slideLayout319.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354.xml"/><Relationship Id="rId3" Type="http://schemas.openxmlformats.org/officeDocument/2006/relationships/slideLayout" Target="../slideLayouts/slideLayout349.xml"/><Relationship Id="rId7" Type="http://schemas.openxmlformats.org/officeDocument/2006/relationships/slideLayout" Target="../slideLayouts/slideLayout353.xml"/><Relationship Id="rId12" Type="http://schemas.openxmlformats.org/officeDocument/2006/relationships/image" Target="../media/image42.png"/><Relationship Id="rId2" Type="http://schemas.openxmlformats.org/officeDocument/2006/relationships/slideLayout" Target="../slideLayouts/slideLayout348.xml"/><Relationship Id="rId1" Type="http://schemas.openxmlformats.org/officeDocument/2006/relationships/slideLayout" Target="../slideLayouts/slideLayout347.xml"/><Relationship Id="rId6" Type="http://schemas.openxmlformats.org/officeDocument/2006/relationships/slideLayout" Target="../slideLayouts/slideLayout352.xml"/><Relationship Id="rId11" Type="http://schemas.openxmlformats.org/officeDocument/2006/relationships/theme" Target="../theme/theme27.xml"/><Relationship Id="rId5" Type="http://schemas.openxmlformats.org/officeDocument/2006/relationships/slideLayout" Target="../slideLayouts/slideLayout351.xml"/><Relationship Id="rId10" Type="http://schemas.openxmlformats.org/officeDocument/2006/relationships/slideLayout" Target="../slideLayouts/slideLayout356.xml"/><Relationship Id="rId4" Type="http://schemas.openxmlformats.org/officeDocument/2006/relationships/slideLayout" Target="../slideLayouts/slideLayout350.xml"/><Relationship Id="rId9" Type="http://schemas.openxmlformats.org/officeDocument/2006/relationships/slideLayout" Target="../slideLayouts/slideLayout355.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364.xml"/><Relationship Id="rId3" Type="http://schemas.openxmlformats.org/officeDocument/2006/relationships/slideLayout" Target="../slideLayouts/slideLayout359.xml"/><Relationship Id="rId7" Type="http://schemas.openxmlformats.org/officeDocument/2006/relationships/slideLayout" Target="../slideLayouts/slideLayout363.xml"/><Relationship Id="rId2" Type="http://schemas.openxmlformats.org/officeDocument/2006/relationships/slideLayout" Target="../slideLayouts/slideLayout358.xml"/><Relationship Id="rId1" Type="http://schemas.openxmlformats.org/officeDocument/2006/relationships/slideLayout" Target="../slideLayouts/slideLayout357.xml"/><Relationship Id="rId6" Type="http://schemas.openxmlformats.org/officeDocument/2006/relationships/slideLayout" Target="../slideLayouts/slideLayout362.xml"/><Relationship Id="rId5" Type="http://schemas.openxmlformats.org/officeDocument/2006/relationships/slideLayout" Target="../slideLayouts/slideLayout361.xml"/><Relationship Id="rId10" Type="http://schemas.openxmlformats.org/officeDocument/2006/relationships/tags" Target="../tags/tag14.xml"/><Relationship Id="rId4" Type="http://schemas.openxmlformats.org/officeDocument/2006/relationships/slideLayout" Target="../slideLayouts/slideLayout360.xml"/><Relationship Id="rId9" Type="http://schemas.openxmlformats.org/officeDocument/2006/relationships/theme" Target="../theme/theme28.xml"/></Relationships>
</file>

<file path=ppt/slideMasters/_rels/slideMaster29.xml.rels><?xml version="1.0" encoding="UTF-8" standalone="yes"?>
<Relationships xmlns="http://schemas.openxmlformats.org/package/2006/relationships"><Relationship Id="rId13" Type="http://schemas.openxmlformats.org/officeDocument/2006/relationships/slideLayout" Target="../slideLayouts/slideLayout377.xml"/><Relationship Id="rId18" Type="http://schemas.openxmlformats.org/officeDocument/2006/relationships/slideLayout" Target="../slideLayouts/slideLayout382.xml"/><Relationship Id="rId26" Type="http://schemas.openxmlformats.org/officeDocument/2006/relationships/slideLayout" Target="../slideLayouts/slideLayout390.xml"/><Relationship Id="rId39" Type="http://schemas.openxmlformats.org/officeDocument/2006/relationships/slideLayout" Target="../slideLayouts/slideLayout403.xml"/><Relationship Id="rId21" Type="http://schemas.openxmlformats.org/officeDocument/2006/relationships/slideLayout" Target="../slideLayouts/slideLayout385.xml"/><Relationship Id="rId34" Type="http://schemas.openxmlformats.org/officeDocument/2006/relationships/slideLayout" Target="../slideLayouts/slideLayout398.xml"/><Relationship Id="rId42" Type="http://schemas.openxmlformats.org/officeDocument/2006/relationships/slideLayout" Target="../slideLayouts/slideLayout406.xml"/><Relationship Id="rId7" Type="http://schemas.openxmlformats.org/officeDocument/2006/relationships/slideLayout" Target="../slideLayouts/slideLayout371.xml"/><Relationship Id="rId2" Type="http://schemas.openxmlformats.org/officeDocument/2006/relationships/slideLayout" Target="../slideLayouts/slideLayout366.xml"/><Relationship Id="rId16" Type="http://schemas.openxmlformats.org/officeDocument/2006/relationships/slideLayout" Target="../slideLayouts/slideLayout380.xml"/><Relationship Id="rId29" Type="http://schemas.openxmlformats.org/officeDocument/2006/relationships/slideLayout" Target="../slideLayouts/slideLayout393.xml"/><Relationship Id="rId1" Type="http://schemas.openxmlformats.org/officeDocument/2006/relationships/slideLayout" Target="../slideLayouts/slideLayout365.xml"/><Relationship Id="rId6" Type="http://schemas.openxmlformats.org/officeDocument/2006/relationships/slideLayout" Target="../slideLayouts/slideLayout370.xml"/><Relationship Id="rId11" Type="http://schemas.openxmlformats.org/officeDocument/2006/relationships/slideLayout" Target="../slideLayouts/slideLayout375.xml"/><Relationship Id="rId24" Type="http://schemas.openxmlformats.org/officeDocument/2006/relationships/slideLayout" Target="../slideLayouts/slideLayout388.xml"/><Relationship Id="rId32" Type="http://schemas.openxmlformats.org/officeDocument/2006/relationships/slideLayout" Target="../slideLayouts/slideLayout396.xml"/><Relationship Id="rId37" Type="http://schemas.openxmlformats.org/officeDocument/2006/relationships/slideLayout" Target="../slideLayouts/slideLayout401.xml"/><Relationship Id="rId40" Type="http://schemas.openxmlformats.org/officeDocument/2006/relationships/slideLayout" Target="../slideLayouts/slideLayout404.xml"/><Relationship Id="rId45" Type="http://schemas.openxmlformats.org/officeDocument/2006/relationships/theme" Target="../theme/theme29.xml"/><Relationship Id="rId5" Type="http://schemas.openxmlformats.org/officeDocument/2006/relationships/slideLayout" Target="../slideLayouts/slideLayout369.xml"/><Relationship Id="rId15" Type="http://schemas.openxmlformats.org/officeDocument/2006/relationships/slideLayout" Target="../slideLayouts/slideLayout379.xml"/><Relationship Id="rId23" Type="http://schemas.openxmlformats.org/officeDocument/2006/relationships/slideLayout" Target="../slideLayouts/slideLayout387.xml"/><Relationship Id="rId28" Type="http://schemas.openxmlformats.org/officeDocument/2006/relationships/slideLayout" Target="../slideLayouts/slideLayout392.xml"/><Relationship Id="rId36" Type="http://schemas.openxmlformats.org/officeDocument/2006/relationships/slideLayout" Target="../slideLayouts/slideLayout400.xml"/><Relationship Id="rId10" Type="http://schemas.openxmlformats.org/officeDocument/2006/relationships/slideLayout" Target="../slideLayouts/slideLayout374.xml"/><Relationship Id="rId19" Type="http://schemas.openxmlformats.org/officeDocument/2006/relationships/slideLayout" Target="../slideLayouts/slideLayout383.xml"/><Relationship Id="rId31" Type="http://schemas.openxmlformats.org/officeDocument/2006/relationships/slideLayout" Target="../slideLayouts/slideLayout395.xml"/><Relationship Id="rId44" Type="http://schemas.openxmlformats.org/officeDocument/2006/relationships/slideLayout" Target="../slideLayouts/slideLayout408.xml"/><Relationship Id="rId4" Type="http://schemas.openxmlformats.org/officeDocument/2006/relationships/slideLayout" Target="../slideLayouts/slideLayout368.xml"/><Relationship Id="rId9" Type="http://schemas.openxmlformats.org/officeDocument/2006/relationships/slideLayout" Target="../slideLayouts/slideLayout373.xml"/><Relationship Id="rId14" Type="http://schemas.openxmlformats.org/officeDocument/2006/relationships/slideLayout" Target="../slideLayouts/slideLayout378.xml"/><Relationship Id="rId22" Type="http://schemas.openxmlformats.org/officeDocument/2006/relationships/slideLayout" Target="../slideLayouts/slideLayout386.xml"/><Relationship Id="rId27" Type="http://schemas.openxmlformats.org/officeDocument/2006/relationships/slideLayout" Target="../slideLayouts/slideLayout391.xml"/><Relationship Id="rId30" Type="http://schemas.openxmlformats.org/officeDocument/2006/relationships/slideLayout" Target="../slideLayouts/slideLayout394.xml"/><Relationship Id="rId35" Type="http://schemas.openxmlformats.org/officeDocument/2006/relationships/slideLayout" Target="../slideLayouts/slideLayout399.xml"/><Relationship Id="rId43" Type="http://schemas.openxmlformats.org/officeDocument/2006/relationships/slideLayout" Target="../slideLayouts/slideLayout407.xml"/><Relationship Id="rId8" Type="http://schemas.openxmlformats.org/officeDocument/2006/relationships/slideLayout" Target="../slideLayouts/slideLayout372.xml"/><Relationship Id="rId3" Type="http://schemas.openxmlformats.org/officeDocument/2006/relationships/slideLayout" Target="../slideLayouts/slideLayout367.xml"/><Relationship Id="rId12" Type="http://schemas.openxmlformats.org/officeDocument/2006/relationships/slideLayout" Target="../slideLayouts/slideLayout376.xml"/><Relationship Id="rId17" Type="http://schemas.openxmlformats.org/officeDocument/2006/relationships/slideLayout" Target="../slideLayouts/slideLayout381.xml"/><Relationship Id="rId25" Type="http://schemas.openxmlformats.org/officeDocument/2006/relationships/slideLayout" Target="../slideLayouts/slideLayout389.xml"/><Relationship Id="rId33" Type="http://schemas.openxmlformats.org/officeDocument/2006/relationships/slideLayout" Target="../slideLayouts/slideLayout397.xml"/><Relationship Id="rId38" Type="http://schemas.openxmlformats.org/officeDocument/2006/relationships/slideLayout" Target="../slideLayouts/slideLayout402.xml"/><Relationship Id="rId20" Type="http://schemas.openxmlformats.org/officeDocument/2006/relationships/slideLayout" Target="../slideLayouts/slideLayout384.xml"/><Relationship Id="rId41" Type="http://schemas.openxmlformats.org/officeDocument/2006/relationships/slideLayout" Target="../slideLayouts/slideLayout40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theme" Target="../theme/theme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image" Target="../media/image1.png"/></Relationships>
</file>

<file path=ppt/slideMasters/_rels/slideMaster30.xml.rels><?xml version="1.0" encoding="UTF-8" standalone="yes"?>
<Relationships xmlns="http://schemas.openxmlformats.org/package/2006/relationships"><Relationship Id="rId13" Type="http://schemas.openxmlformats.org/officeDocument/2006/relationships/slideLayout" Target="../slideLayouts/slideLayout421.xml"/><Relationship Id="rId18" Type="http://schemas.openxmlformats.org/officeDocument/2006/relationships/slideLayout" Target="../slideLayouts/slideLayout426.xml"/><Relationship Id="rId26" Type="http://schemas.openxmlformats.org/officeDocument/2006/relationships/slideLayout" Target="../slideLayouts/slideLayout434.xml"/><Relationship Id="rId21" Type="http://schemas.openxmlformats.org/officeDocument/2006/relationships/slideLayout" Target="../slideLayouts/slideLayout429.xml"/><Relationship Id="rId34" Type="http://schemas.openxmlformats.org/officeDocument/2006/relationships/slideLayout" Target="../slideLayouts/slideLayout442.xml"/><Relationship Id="rId7" Type="http://schemas.openxmlformats.org/officeDocument/2006/relationships/slideLayout" Target="../slideLayouts/slideLayout415.xml"/><Relationship Id="rId12" Type="http://schemas.openxmlformats.org/officeDocument/2006/relationships/slideLayout" Target="../slideLayouts/slideLayout420.xml"/><Relationship Id="rId17" Type="http://schemas.openxmlformats.org/officeDocument/2006/relationships/slideLayout" Target="../slideLayouts/slideLayout425.xml"/><Relationship Id="rId25" Type="http://schemas.openxmlformats.org/officeDocument/2006/relationships/slideLayout" Target="../slideLayouts/slideLayout433.xml"/><Relationship Id="rId33" Type="http://schemas.openxmlformats.org/officeDocument/2006/relationships/slideLayout" Target="../slideLayouts/slideLayout441.xml"/><Relationship Id="rId2" Type="http://schemas.openxmlformats.org/officeDocument/2006/relationships/slideLayout" Target="../slideLayouts/slideLayout410.xml"/><Relationship Id="rId16" Type="http://schemas.openxmlformats.org/officeDocument/2006/relationships/slideLayout" Target="../slideLayouts/slideLayout424.xml"/><Relationship Id="rId20" Type="http://schemas.openxmlformats.org/officeDocument/2006/relationships/slideLayout" Target="../slideLayouts/slideLayout428.xml"/><Relationship Id="rId29" Type="http://schemas.openxmlformats.org/officeDocument/2006/relationships/slideLayout" Target="../slideLayouts/slideLayout437.xml"/><Relationship Id="rId1" Type="http://schemas.openxmlformats.org/officeDocument/2006/relationships/slideLayout" Target="../slideLayouts/slideLayout409.xml"/><Relationship Id="rId6" Type="http://schemas.openxmlformats.org/officeDocument/2006/relationships/slideLayout" Target="../slideLayouts/slideLayout414.xml"/><Relationship Id="rId11" Type="http://schemas.openxmlformats.org/officeDocument/2006/relationships/slideLayout" Target="../slideLayouts/slideLayout419.xml"/><Relationship Id="rId24" Type="http://schemas.openxmlformats.org/officeDocument/2006/relationships/slideLayout" Target="../slideLayouts/slideLayout432.xml"/><Relationship Id="rId32" Type="http://schemas.openxmlformats.org/officeDocument/2006/relationships/slideLayout" Target="../slideLayouts/slideLayout440.xml"/><Relationship Id="rId37" Type="http://schemas.openxmlformats.org/officeDocument/2006/relationships/theme" Target="../theme/theme30.xml"/><Relationship Id="rId5" Type="http://schemas.openxmlformats.org/officeDocument/2006/relationships/slideLayout" Target="../slideLayouts/slideLayout413.xml"/><Relationship Id="rId15" Type="http://schemas.openxmlformats.org/officeDocument/2006/relationships/slideLayout" Target="../slideLayouts/slideLayout423.xml"/><Relationship Id="rId23" Type="http://schemas.openxmlformats.org/officeDocument/2006/relationships/slideLayout" Target="../slideLayouts/slideLayout431.xml"/><Relationship Id="rId28" Type="http://schemas.openxmlformats.org/officeDocument/2006/relationships/slideLayout" Target="../slideLayouts/slideLayout436.xml"/><Relationship Id="rId36" Type="http://schemas.openxmlformats.org/officeDocument/2006/relationships/slideLayout" Target="../slideLayouts/slideLayout444.xml"/><Relationship Id="rId10" Type="http://schemas.openxmlformats.org/officeDocument/2006/relationships/slideLayout" Target="../slideLayouts/slideLayout418.xml"/><Relationship Id="rId19" Type="http://schemas.openxmlformats.org/officeDocument/2006/relationships/slideLayout" Target="../slideLayouts/slideLayout427.xml"/><Relationship Id="rId31" Type="http://schemas.openxmlformats.org/officeDocument/2006/relationships/slideLayout" Target="../slideLayouts/slideLayout439.xml"/><Relationship Id="rId4" Type="http://schemas.openxmlformats.org/officeDocument/2006/relationships/slideLayout" Target="../slideLayouts/slideLayout412.xml"/><Relationship Id="rId9" Type="http://schemas.openxmlformats.org/officeDocument/2006/relationships/slideLayout" Target="../slideLayouts/slideLayout417.xml"/><Relationship Id="rId14" Type="http://schemas.openxmlformats.org/officeDocument/2006/relationships/slideLayout" Target="../slideLayouts/slideLayout422.xml"/><Relationship Id="rId22" Type="http://schemas.openxmlformats.org/officeDocument/2006/relationships/slideLayout" Target="../slideLayouts/slideLayout430.xml"/><Relationship Id="rId27" Type="http://schemas.openxmlformats.org/officeDocument/2006/relationships/slideLayout" Target="../slideLayouts/slideLayout435.xml"/><Relationship Id="rId30" Type="http://schemas.openxmlformats.org/officeDocument/2006/relationships/slideLayout" Target="../slideLayouts/slideLayout438.xml"/><Relationship Id="rId35" Type="http://schemas.openxmlformats.org/officeDocument/2006/relationships/slideLayout" Target="../slideLayouts/slideLayout443.xml"/><Relationship Id="rId8" Type="http://schemas.openxmlformats.org/officeDocument/2006/relationships/slideLayout" Target="../slideLayouts/slideLayout416.xml"/><Relationship Id="rId3" Type="http://schemas.openxmlformats.org/officeDocument/2006/relationships/slideLayout" Target="../slideLayouts/slideLayout411.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452.xml"/><Relationship Id="rId3" Type="http://schemas.openxmlformats.org/officeDocument/2006/relationships/slideLayout" Target="../slideLayouts/slideLayout447.xml"/><Relationship Id="rId7" Type="http://schemas.openxmlformats.org/officeDocument/2006/relationships/slideLayout" Target="../slideLayouts/slideLayout451.xml"/><Relationship Id="rId2" Type="http://schemas.openxmlformats.org/officeDocument/2006/relationships/slideLayout" Target="../slideLayouts/slideLayout446.xml"/><Relationship Id="rId1" Type="http://schemas.openxmlformats.org/officeDocument/2006/relationships/slideLayout" Target="../slideLayouts/slideLayout445.xml"/><Relationship Id="rId6" Type="http://schemas.openxmlformats.org/officeDocument/2006/relationships/slideLayout" Target="../slideLayouts/slideLayout450.xml"/><Relationship Id="rId5" Type="http://schemas.openxmlformats.org/officeDocument/2006/relationships/slideLayout" Target="../slideLayouts/slideLayout449.xml"/><Relationship Id="rId4" Type="http://schemas.openxmlformats.org/officeDocument/2006/relationships/slideLayout" Target="../slideLayouts/slideLayout448.xml"/><Relationship Id="rId9" Type="http://schemas.openxmlformats.org/officeDocument/2006/relationships/theme" Target="../theme/theme31.xml"/></Relationships>
</file>

<file path=ppt/slideMasters/_rels/slideMaster32.xml.rels><?xml version="1.0" encoding="UTF-8" standalone="yes"?>
<Relationships xmlns="http://schemas.openxmlformats.org/package/2006/relationships"><Relationship Id="rId3" Type="http://schemas.openxmlformats.org/officeDocument/2006/relationships/slideLayout" Target="../slideLayouts/slideLayout455.xml"/><Relationship Id="rId7" Type="http://schemas.openxmlformats.org/officeDocument/2006/relationships/image" Target="../media/image47.png"/><Relationship Id="rId2" Type="http://schemas.openxmlformats.org/officeDocument/2006/relationships/slideLayout" Target="../slideLayouts/slideLayout454.xml"/><Relationship Id="rId1" Type="http://schemas.openxmlformats.org/officeDocument/2006/relationships/slideLayout" Target="../slideLayouts/slideLayout453.xml"/><Relationship Id="rId6" Type="http://schemas.openxmlformats.org/officeDocument/2006/relationships/theme" Target="../theme/theme32.xml"/><Relationship Id="rId5" Type="http://schemas.openxmlformats.org/officeDocument/2006/relationships/slideLayout" Target="../slideLayouts/slideLayout457.xml"/><Relationship Id="rId4" Type="http://schemas.openxmlformats.org/officeDocument/2006/relationships/slideLayout" Target="../slideLayouts/slideLayout45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2" Type="http://schemas.openxmlformats.org/officeDocument/2006/relationships/slideLayout" Target="../slideLayouts/slideLayout39.xml"/><Relationship Id="rId16" Type="http://schemas.openxmlformats.org/officeDocument/2006/relationships/image" Target="../media/image1.png"/><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theme" Target="../theme/theme4.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theme" Target="../theme/theme5.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66.xml"/><Relationship Id="rId7" Type="http://schemas.openxmlformats.org/officeDocument/2006/relationships/slideLayout" Target="../slideLayouts/slideLayout70.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5" Type="http://schemas.openxmlformats.org/officeDocument/2006/relationships/slideLayout" Target="../slideLayouts/slideLayout68.xml"/><Relationship Id="rId4" Type="http://schemas.openxmlformats.org/officeDocument/2006/relationships/slideLayout" Target="../slideLayouts/slideLayout6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2" Type="http://schemas.openxmlformats.org/officeDocument/2006/relationships/slideLayout" Target="../slideLayouts/slideLayout72.xml"/><Relationship Id="rId16" Type="http://schemas.openxmlformats.org/officeDocument/2006/relationships/theme" Target="../theme/theme7.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slideLayout" Target="../slideLayouts/slideLayout98.xml"/><Relationship Id="rId3" Type="http://schemas.openxmlformats.org/officeDocument/2006/relationships/slideLayout" Target="../slideLayouts/slideLayout88.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2" Type="http://schemas.openxmlformats.org/officeDocument/2006/relationships/slideLayout" Target="../slideLayouts/slideLayout87.xml"/><Relationship Id="rId16" Type="http://schemas.openxmlformats.org/officeDocument/2006/relationships/theme" Target="../theme/theme8.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10" Type="http://schemas.openxmlformats.org/officeDocument/2006/relationships/slideLayout" Target="../slideLayouts/slideLayout95.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3" Type="http://schemas.openxmlformats.org/officeDocument/2006/relationships/slideLayout" Target="../slideLayouts/slideLayout103.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2" Type="http://schemas.openxmlformats.org/officeDocument/2006/relationships/slideLayout" Target="../slideLayouts/slideLayout102.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5" Type="http://schemas.openxmlformats.org/officeDocument/2006/relationships/slideLayout" Target="../slideLayouts/slideLayout105.xml"/><Relationship Id="rId15" Type="http://schemas.openxmlformats.org/officeDocument/2006/relationships/theme" Target="../theme/theme9.xml"/><Relationship Id="rId10" Type="http://schemas.openxmlformats.org/officeDocument/2006/relationships/slideLayout" Target="../slideLayouts/slideLayout110.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0" y="0"/>
            <a:ext cx="12188952" cy="6856286"/>
          </a:xfrm>
          <a:prstGeom prst="rect">
            <a:avLst/>
          </a:prstGeom>
        </p:spPr>
      </p:pic>
      <p:sp>
        <p:nvSpPr>
          <p:cNvPr id="2" name="Title Placeholder 1"/>
          <p:cNvSpPr>
            <a:spLocks noGrp="1"/>
          </p:cNvSpPr>
          <p:nvPr>
            <p:ph type="title"/>
          </p:nvPr>
        </p:nvSpPr>
        <p:spPr>
          <a:xfrm>
            <a:off x="838200" y="1"/>
            <a:ext cx="10515600" cy="1144588"/>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383737"/>
            <a:ext cx="10515600" cy="4800600"/>
          </a:xfrm>
          <a:prstGeom prst="rect">
            <a:avLst/>
          </a:prstGeom>
        </p:spPr>
        <p:txBody>
          <a:bodyPr vert="horz" lIns="91440" tIns="45720" rIns="91440" bIns="45720" rtlCol="0">
            <a:normAutofit/>
          </a:body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charset="0"/>
                <a:ea typeface="Arial" charset="0"/>
                <a:cs typeface="Arial" charset="0"/>
              </a:defRPr>
            </a:lvl1pPr>
          </a:lstStyle>
          <a:p>
            <a:fld id="{5916FF65-E16B-BA4F-9591-6B4416106527}" type="datetimeFigureOut">
              <a:rPr lang="en-US" smtClean="0"/>
              <a:pPr/>
              <a:t>4/24/2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charset="0"/>
                <a:ea typeface="Arial" charset="0"/>
                <a:cs typeface="Arial" charset="0"/>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charset="0"/>
                <a:ea typeface="Arial" charset="0"/>
                <a:cs typeface="Arial" charset="0"/>
              </a:defRPr>
            </a:lvl1pPr>
          </a:lstStyle>
          <a:p>
            <a:fld id="{BB442168-F8B8-B34D-83CF-DF309AC8169E}" type="slidenum">
              <a:rPr lang="en-US" smtClean="0"/>
              <a:pPr/>
              <a:t>‹#›</a:t>
            </a:fld>
            <a:endParaRPr lang="en-US"/>
          </a:p>
        </p:txBody>
      </p:sp>
    </p:spTree>
    <p:extLst>
      <p:ext uri="{BB962C8B-B14F-4D97-AF65-F5344CB8AC3E}">
        <p14:creationId xmlns:p14="http://schemas.microsoft.com/office/powerpoint/2010/main" val="183206803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914400" rtl="0" eaLnBrk="1" latinLnBrk="0" hangingPunct="1">
        <a:lnSpc>
          <a:spcPct val="90000"/>
        </a:lnSpc>
        <a:spcBef>
          <a:spcPct val="0"/>
        </a:spcBef>
        <a:buNone/>
        <a:defRPr sz="3600" b="1" kern="1200">
          <a:solidFill>
            <a:srgbClr val="002656"/>
          </a:solidFill>
          <a:latin typeface="Arial" charset="0"/>
          <a:ea typeface="Arial" charset="0"/>
          <a:cs typeface="Arial" charset="0"/>
        </a:defRPr>
      </a:lvl1pPr>
    </p:titleStyle>
    <p:bodyStyle>
      <a:lvl1pPr marL="228600" indent="-228600" algn="l" defTabSz="914400" rtl="0" eaLnBrk="1" latinLnBrk="0" hangingPunct="1">
        <a:lnSpc>
          <a:spcPct val="90000"/>
        </a:lnSpc>
        <a:spcBef>
          <a:spcPts val="1000"/>
        </a:spcBef>
        <a:buFont typeface="Arial"/>
        <a:buChar char="•"/>
        <a:defRPr sz="2800" kern="1200">
          <a:solidFill>
            <a:srgbClr val="505153"/>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a:buChar char="•"/>
        <a:defRPr sz="2400" kern="1200">
          <a:solidFill>
            <a:srgbClr val="505153"/>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Arial"/>
        <a:buChar char="•"/>
        <a:defRPr sz="2000" kern="1200">
          <a:solidFill>
            <a:srgbClr val="505153"/>
          </a:solidFill>
          <a:latin typeface="Arial" charset="0"/>
          <a:ea typeface="Arial" charset="0"/>
          <a:cs typeface="Arial" charset="0"/>
        </a:defRPr>
      </a:lvl3pPr>
      <a:lvl4pPr marL="1600200" indent="-228600" algn="l" defTabSz="914400" rtl="0" eaLnBrk="1" latinLnBrk="0" hangingPunct="1">
        <a:lnSpc>
          <a:spcPct val="90000"/>
        </a:lnSpc>
        <a:spcBef>
          <a:spcPts val="500"/>
        </a:spcBef>
        <a:buFont typeface="Arial"/>
        <a:buChar char="•"/>
        <a:defRPr sz="1800" kern="1200">
          <a:solidFill>
            <a:srgbClr val="505153"/>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a:buChar char="•"/>
        <a:defRPr sz="1800" kern="1200">
          <a:solidFill>
            <a:srgbClr val="505153"/>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539750" y="1275925"/>
            <a:ext cx="11136207" cy="10160"/>
          </a:xfrm>
          <a:custGeom>
            <a:avLst/>
            <a:gdLst/>
            <a:ahLst/>
            <a:cxnLst/>
            <a:rect l="l" t="t" r="r" b="b"/>
            <a:pathLst>
              <a:path w="8352155" h="7619">
                <a:moveTo>
                  <a:pt x="0" y="7112"/>
                </a:moveTo>
                <a:lnTo>
                  <a:pt x="8351583" y="0"/>
                </a:lnTo>
              </a:path>
            </a:pathLst>
          </a:custGeom>
          <a:ln w="28575">
            <a:solidFill>
              <a:srgbClr val="0A41CD"/>
            </a:solidFill>
          </a:ln>
        </p:spPr>
        <p:txBody>
          <a:bodyPr wrap="square" lIns="0" tIns="0" rIns="0" bIns="0" rtlCol="0"/>
          <a:lstStyle/>
          <a:p>
            <a:endParaRPr sz="2400"/>
          </a:p>
        </p:txBody>
      </p:sp>
      <p:sp>
        <p:nvSpPr>
          <p:cNvPr id="2" name="Holder 2"/>
          <p:cNvSpPr>
            <a:spLocks noGrp="1"/>
          </p:cNvSpPr>
          <p:nvPr>
            <p:ph type="title"/>
          </p:nvPr>
        </p:nvSpPr>
        <p:spPr>
          <a:xfrm>
            <a:off x="511809" y="143085"/>
            <a:ext cx="8788400" cy="369332"/>
          </a:xfrm>
          <a:prstGeom prst="rect">
            <a:avLst/>
          </a:prstGeom>
        </p:spPr>
        <p:txBody>
          <a:bodyPr wrap="square" lIns="0" tIns="0" rIns="0" bIns="0">
            <a:spAutoFit/>
          </a:bodyPr>
          <a:lstStyle>
            <a:lvl1pPr>
              <a:defRPr sz="2400" b="1" i="0">
                <a:solidFill>
                  <a:srgbClr val="0A41CD"/>
                </a:solidFill>
                <a:latin typeface="Arial"/>
                <a:cs typeface="Arial"/>
              </a:defRPr>
            </a:lvl1pPr>
          </a:lstStyle>
          <a:p>
            <a:endParaRPr/>
          </a:p>
        </p:txBody>
      </p:sp>
      <p:sp>
        <p:nvSpPr>
          <p:cNvPr id="3" name="Holder 3"/>
          <p:cNvSpPr>
            <a:spLocks noGrp="1"/>
          </p:cNvSpPr>
          <p:nvPr>
            <p:ph type="body" idx="1"/>
          </p:nvPr>
        </p:nvSpPr>
        <p:spPr>
          <a:xfrm>
            <a:off x="467783" y="1524593"/>
            <a:ext cx="11254740" cy="27699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1"/>
            <a:ext cx="3901440"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1"/>
            <a:ext cx="280416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4/24/26</a:t>
            </a:fld>
            <a:endParaRPr lang="en-US"/>
          </a:p>
        </p:txBody>
      </p:sp>
      <p:sp>
        <p:nvSpPr>
          <p:cNvPr id="6" name="Holder 6"/>
          <p:cNvSpPr>
            <a:spLocks noGrp="1"/>
          </p:cNvSpPr>
          <p:nvPr>
            <p:ph type="sldNum" sz="quarter" idx="7"/>
          </p:nvPr>
        </p:nvSpPr>
        <p:spPr>
          <a:xfrm>
            <a:off x="8778240" y="6377941"/>
            <a:ext cx="2804160"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65782452"/>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defRPr>
          <a:latin typeface="+mj-lt"/>
          <a:ea typeface="+mj-ea"/>
          <a:cs typeface="+mj-cs"/>
        </a:defRPr>
      </a:lvl1pPr>
    </p:titleStyle>
    <p:bodyStyle>
      <a:lvl1pPr marL="0">
        <a:defRPr>
          <a:latin typeface="+mn-lt"/>
          <a:ea typeface="+mn-ea"/>
          <a:cs typeface="+mn-cs"/>
        </a:defRPr>
      </a:lvl1pPr>
      <a:lvl2pPr marL="609585">
        <a:defRPr>
          <a:latin typeface="+mn-lt"/>
          <a:ea typeface="+mn-ea"/>
          <a:cs typeface="+mn-cs"/>
        </a:defRPr>
      </a:lvl2pPr>
      <a:lvl3pPr marL="1219170">
        <a:defRPr>
          <a:latin typeface="+mn-lt"/>
          <a:ea typeface="+mn-ea"/>
          <a:cs typeface="+mn-cs"/>
        </a:defRPr>
      </a:lvl3pPr>
      <a:lvl4pPr marL="1828754">
        <a:defRPr>
          <a:latin typeface="+mn-lt"/>
          <a:ea typeface="+mn-ea"/>
          <a:cs typeface="+mn-cs"/>
        </a:defRPr>
      </a:lvl4pPr>
      <a:lvl5pPr marL="2438339">
        <a:defRPr>
          <a:latin typeface="+mn-lt"/>
          <a:ea typeface="+mn-ea"/>
          <a:cs typeface="+mn-cs"/>
        </a:defRPr>
      </a:lvl5pPr>
      <a:lvl6pPr marL="3047924">
        <a:defRPr>
          <a:latin typeface="+mn-lt"/>
          <a:ea typeface="+mn-ea"/>
          <a:cs typeface="+mn-cs"/>
        </a:defRPr>
      </a:lvl6pPr>
      <a:lvl7pPr marL="3657509">
        <a:defRPr>
          <a:latin typeface="+mn-lt"/>
          <a:ea typeface="+mn-ea"/>
          <a:cs typeface="+mn-cs"/>
        </a:defRPr>
      </a:lvl7pPr>
      <a:lvl8pPr marL="4267093">
        <a:defRPr>
          <a:latin typeface="+mn-lt"/>
          <a:ea typeface="+mn-ea"/>
          <a:cs typeface="+mn-cs"/>
        </a:defRPr>
      </a:lvl8pPr>
      <a:lvl9pPr marL="4876678">
        <a:defRPr>
          <a:latin typeface="+mn-lt"/>
          <a:ea typeface="+mn-ea"/>
          <a:cs typeface="+mn-cs"/>
        </a:defRPr>
      </a:lvl9pPr>
    </p:bodyStyle>
    <p:otherStyle>
      <a:lvl1pPr marL="0">
        <a:defRPr>
          <a:latin typeface="+mn-lt"/>
          <a:ea typeface="+mn-ea"/>
          <a:cs typeface="+mn-cs"/>
        </a:defRPr>
      </a:lvl1pPr>
      <a:lvl2pPr marL="609585">
        <a:defRPr>
          <a:latin typeface="+mn-lt"/>
          <a:ea typeface="+mn-ea"/>
          <a:cs typeface="+mn-cs"/>
        </a:defRPr>
      </a:lvl2pPr>
      <a:lvl3pPr marL="1219170">
        <a:defRPr>
          <a:latin typeface="+mn-lt"/>
          <a:ea typeface="+mn-ea"/>
          <a:cs typeface="+mn-cs"/>
        </a:defRPr>
      </a:lvl3pPr>
      <a:lvl4pPr marL="1828754">
        <a:defRPr>
          <a:latin typeface="+mn-lt"/>
          <a:ea typeface="+mn-ea"/>
          <a:cs typeface="+mn-cs"/>
        </a:defRPr>
      </a:lvl4pPr>
      <a:lvl5pPr marL="2438339">
        <a:defRPr>
          <a:latin typeface="+mn-lt"/>
          <a:ea typeface="+mn-ea"/>
          <a:cs typeface="+mn-cs"/>
        </a:defRPr>
      </a:lvl5pPr>
      <a:lvl6pPr marL="3047924">
        <a:defRPr>
          <a:latin typeface="+mn-lt"/>
          <a:ea typeface="+mn-ea"/>
          <a:cs typeface="+mn-cs"/>
        </a:defRPr>
      </a:lvl6pPr>
      <a:lvl7pPr marL="3657509">
        <a:defRPr>
          <a:latin typeface="+mn-lt"/>
          <a:ea typeface="+mn-ea"/>
          <a:cs typeface="+mn-cs"/>
        </a:defRPr>
      </a:lvl7pPr>
      <a:lvl8pPr marL="4267093">
        <a:defRPr>
          <a:latin typeface="+mn-lt"/>
          <a:ea typeface="+mn-ea"/>
          <a:cs typeface="+mn-cs"/>
        </a:defRPr>
      </a:lvl8pPr>
      <a:lvl9pPr marL="4876678">
        <a:defRPr>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914707" y="1402753"/>
            <a:ext cx="10454024" cy="507831"/>
          </a:xfrm>
          <a:prstGeom prst="rect">
            <a:avLst/>
          </a:prstGeom>
        </p:spPr>
        <p:txBody>
          <a:bodyPr wrap="square" lIns="0" tIns="0" rIns="0" bIns="0">
            <a:spAutoFit/>
          </a:bodyPr>
          <a:lstStyle>
            <a:lvl1pPr>
              <a:defRPr sz="3300" b="0" i="0">
                <a:solidFill>
                  <a:srgbClr val="023CA6"/>
                </a:solidFill>
                <a:latin typeface="Arial"/>
                <a:cs typeface="Arial"/>
              </a:defRPr>
            </a:lvl1pPr>
          </a:lstStyle>
          <a:p>
            <a:endParaRPr/>
          </a:p>
        </p:txBody>
      </p:sp>
      <p:sp>
        <p:nvSpPr>
          <p:cNvPr id="3" name="Holder 3"/>
          <p:cNvSpPr>
            <a:spLocks noGrp="1"/>
          </p:cNvSpPr>
          <p:nvPr>
            <p:ph type="body" idx="1"/>
          </p:nvPr>
        </p:nvSpPr>
        <p:spPr>
          <a:xfrm>
            <a:off x="861869" y="2091774"/>
            <a:ext cx="4918363" cy="27699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0"/>
            <a:ext cx="3901440"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4/24/26</a:t>
            </a:fld>
            <a:endParaRPr lang="en-US"/>
          </a:p>
        </p:txBody>
      </p:sp>
      <p:sp>
        <p:nvSpPr>
          <p:cNvPr id="6" name="Holder 6"/>
          <p:cNvSpPr>
            <a:spLocks noGrp="1"/>
          </p:cNvSpPr>
          <p:nvPr>
            <p:ph type="sldNum" sz="quarter" idx="7"/>
          </p:nvPr>
        </p:nvSpPr>
        <p:spPr>
          <a:xfrm>
            <a:off x="8778240" y="6377940"/>
            <a:ext cx="2804160"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840550865"/>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defRPr>
          <a:latin typeface="+mj-lt"/>
          <a:ea typeface="+mj-ea"/>
          <a:cs typeface="+mj-cs"/>
        </a:defRPr>
      </a:lvl1pPr>
    </p:titleStyle>
    <p:bodyStyle>
      <a:lvl1pPr marL="0">
        <a:defRPr>
          <a:latin typeface="+mn-lt"/>
          <a:ea typeface="+mn-ea"/>
          <a:cs typeface="+mn-cs"/>
        </a:defRPr>
      </a:lvl1pPr>
      <a:lvl2pPr marL="554197">
        <a:defRPr>
          <a:latin typeface="+mn-lt"/>
          <a:ea typeface="+mn-ea"/>
          <a:cs typeface="+mn-cs"/>
        </a:defRPr>
      </a:lvl2pPr>
      <a:lvl3pPr marL="1108392">
        <a:defRPr>
          <a:latin typeface="+mn-lt"/>
          <a:ea typeface="+mn-ea"/>
          <a:cs typeface="+mn-cs"/>
        </a:defRPr>
      </a:lvl3pPr>
      <a:lvl4pPr marL="1662589">
        <a:defRPr>
          <a:latin typeface="+mn-lt"/>
          <a:ea typeface="+mn-ea"/>
          <a:cs typeface="+mn-cs"/>
        </a:defRPr>
      </a:lvl4pPr>
      <a:lvl5pPr marL="2216786">
        <a:defRPr>
          <a:latin typeface="+mn-lt"/>
          <a:ea typeface="+mn-ea"/>
          <a:cs typeface="+mn-cs"/>
        </a:defRPr>
      </a:lvl5pPr>
      <a:lvl6pPr marL="2770981">
        <a:defRPr>
          <a:latin typeface="+mn-lt"/>
          <a:ea typeface="+mn-ea"/>
          <a:cs typeface="+mn-cs"/>
        </a:defRPr>
      </a:lvl6pPr>
      <a:lvl7pPr marL="3325178">
        <a:defRPr>
          <a:latin typeface="+mn-lt"/>
          <a:ea typeface="+mn-ea"/>
          <a:cs typeface="+mn-cs"/>
        </a:defRPr>
      </a:lvl7pPr>
      <a:lvl8pPr marL="3879374">
        <a:defRPr>
          <a:latin typeface="+mn-lt"/>
          <a:ea typeface="+mn-ea"/>
          <a:cs typeface="+mn-cs"/>
        </a:defRPr>
      </a:lvl8pPr>
      <a:lvl9pPr marL="4433570">
        <a:defRPr>
          <a:latin typeface="+mn-lt"/>
          <a:ea typeface="+mn-ea"/>
          <a:cs typeface="+mn-cs"/>
        </a:defRPr>
      </a:lvl9pPr>
    </p:bodyStyle>
    <p:otherStyle>
      <a:lvl1pPr marL="0">
        <a:defRPr>
          <a:latin typeface="+mn-lt"/>
          <a:ea typeface="+mn-ea"/>
          <a:cs typeface="+mn-cs"/>
        </a:defRPr>
      </a:lvl1pPr>
      <a:lvl2pPr marL="554197">
        <a:defRPr>
          <a:latin typeface="+mn-lt"/>
          <a:ea typeface="+mn-ea"/>
          <a:cs typeface="+mn-cs"/>
        </a:defRPr>
      </a:lvl2pPr>
      <a:lvl3pPr marL="1108392">
        <a:defRPr>
          <a:latin typeface="+mn-lt"/>
          <a:ea typeface="+mn-ea"/>
          <a:cs typeface="+mn-cs"/>
        </a:defRPr>
      </a:lvl3pPr>
      <a:lvl4pPr marL="1662589">
        <a:defRPr>
          <a:latin typeface="+mn-lt"/>
          <a:ea typeface="+mn-ea"/>
          <a:cs typeface="+mn-cs"/>
        </a:defRPr>
      </a:lvl4pPr>
      <a:lvl5pPr marL="2216786">
        <a:defRPr>
          <a:latin typeface="+mn-lt"/>
          <a:ea typeface="+mn-ea"/>
          <a:cs typeface="+mn-cs"/>
        </a:defRPr>
      </a:lvl5pPr>
      <a:lvl6pPr marL="2770981">
        <a:defRPr>
          <a:latin typeface="+mn-lt"/>
          <a:ea typeface="+mn-ea"/>
          <a:cs typeface="+mn-cs"/>
        </a:defRPr>
      </a:lvl6pPr>
      <a:lvl7pPr marL="3325178">
        <a:defRPr>
          <a:latin typeface="+mn-lt"/>
          <a:ea typeface="+mn-ea"/>
          <a:cs typeface="+mn-cs"/>
        </a:defRPr>
      </a:lvl7pPr>
      <a:lvl8pPr marL="3879374">
        <a:defRPr>
          <a:latin typeface="+mn-lt"/>
          <a:ea typeface="+mn-ea"/>
          <a:cs typeface="+mn-cs"/>
        </a:defRPr>
      </a:lvl8pPr>
      <a:lvl9pPr marL="4433570">
        <a:defRPr>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1863819"/>
            <a:ext cx="3449320" cy="4994275"/>
          </a:xfrm>
          <a:custGeom>
            <a:avLst/>
            <a:gdLst/>
            <a:ahLst/>
            <a:cxnLst/>
            <a:rect l="l" t="t" r="r" b="b"/>
            <a:pathLst>
              <a:path w="3449320" h="4994275">
                <a:moveTo>
                  <a:pt x="0" y="0"/>
                </a:moveTo>
                <a:lnTo>
                  <a:pt x="0" y="4994180"/>
                </a:lnTo>
                <a:lnTo>
                  <a:pt x="3449232" y="4994180"/>
                </a:lnTo>
                <a:lnTo>
                  <a:pt x="0" y="0"/>
                </a:lnTo>
                <a:close/>
              </a:path>
            </a:pathLst>
          </a:custGeom>
          <a:solidFill>
            <a:srgbClr val="F4680D">
              <a:alpha val="10195"/>
            </a:srgbClr>
          </a:solidFill>
        </p:spPr>
        <p:txBody>
          <a:bodyPr wrap="square" lIns="0" tIns="0" rIns="0" bIns="0" rtlCol="0"/>
          <a:lstStyle/>
          <a:p>
            <a:endParaRPr/>
          </a:p>
        </p:txBody>
      </p:sp>
      <p:pic>
        <p:nvPicPr>
          <p:cNvPr id="17" name="bg object 17"/>
          <p:cNvPicPr/>
          <p:nvPr/>
        </p:nvPicPr>
        <p:blipFill>
          <a:blip r:embed="rId7" cstate="print"/>
          <a:stretch>
            <a:fillRect/>
          </a:stretch>
        </p:blipFill>
        <p:spPr>
          <a:xfrm>
            <a:off x="0" y="0"/>
            <a:ext cx="12192000" cy="6858000"/>
          </a:xfrm>
          <a:prstGeom prst="rect">
            <a:avLst/>
          </a:prstGeom>
        </p:spPr>
      </p:pic>
      <p:sp>
        <p:nvSpPr>
          <p:cNvPr id="18" name="bg object 18"/>
          <p:cNvSpPr/>
          <p:nvPr/>
        </p:nvSpPr>
        <p:spPr>
          <a:xfrm>
            <a:off x="9777856" y="0"/>
            <a:ext cx="2414270" cy="3495675"/>
          </a:xfrm>
          <a:custGeom>
            <a:avLst/>
            <a:gdLst/>
            <a:ahLst/>
            <a:cxnLst/>
            <a:rect l="l" t="t" r="r" b="b"/>
            <a:pathLst>
              <a:path w="2414270" h="3495675">
                <a:moveTo>
                  <a:pt x="2414143" y="0"/>
                </a:moveTo>
                <a:lnTo>
                  <a:pt x="0" y="0"/>
                </a:lnTo>
                <a:lnTo>
                  <a:pt x="2414143" y="3495484"/>
                </a:lnTo>
                <a:lnTo>
                  <a:pt x="2414143" y="0"/>
                </a:lnTo>
                <a:close/>
              </a:path>
            </a:pathLst>
          </a:custGeom>
          <a:solidFill>
            <a:srgbClr val="FFFFFF">
              <a:alpha val="60783"/>
            </a:srgbClr>
          </a:solidFill>
        </p:spPr>
        <p:txBody>
          <a:bodyPr wrap="square" lIns="0" tIns="0" rIns="0" bIns="0" rtlCol="0"/>
          <a:lstStyle/>
          <a:p>
            <a:endParaRPr/>
          </a:p>
        </p:txBody>
      </p:sp>
      <p:sp>
        <p:nvSpPr>
          <p:cNvPr id="19" name="bg object 19"/>
          <p:cNvSpPr/>
          <p:nvPr/>
        </p:nvSpPr>
        <p:spPr>
          <a:xfrm>
            <a:off x="0" y="0"/>
            <a:ext cx="1226185" cy="6858000"/>
          </a:xfrm>
          <a:custGeom>
            <a:avLst/>
            <a:gdLst/>
            <a:ahLst/>
            <a:cxnLst/>
            <a:rect l="l" t="t" r="r" b="b"/>
            <a:pathLst>
              <a:path w="1226185" h="6858000">
                <a:moveTo>
                  <a:pt x="0" y="0"/>
                </a:moveTo>
                <a:lnTo>
                  <a:pt x="0" y="6857999"/>
                </a:lnTo>
                <a:lnTo>
                  <a:pt x="1225613" y="6857999"/>
                </a:lnTo>
                <a:lnTo>
                  <a:pt x="0" y="0"/>
                </a:lnTo>
                <a:close/>
              </a:path>
            </a:pathLst>
          </a:custGeom>
          <a:solidFill>
            <a:srgbClr val="009FD5">
              <a:alpha val="19999"/>
            </a:srgbClr>
          </a:solidFill>
        </p:spPr>
        <p:txBody>
          <a:bodyPr wrap="square" lIns="0" tIns="0" rIns="0" bIns="0" rtlCol="0"/>
          <a:lstStyle/>
          <a:p>
            <a:endParaRPr/>
          </a:p>
        </p:txBody>
      </p:sp>
      <p:sp>
        <p:nvSpPr>
          <p:cNvPr id="2" name="Holder 2"/>
          <p:cNvSpPr>
            <a:spLocks noGrp="1"/>
          </p:cNvSpPr>
          <p:nvPr>
            <p:ph type="title"/>
          </p:nvPr>
        </p:nvSpPr>
        <p:spPr>
          <a:xfrm>
            <a:off x="608482" y="322325"/>
            <a:ext cx="10975035" cy="702310"/>
          </a:xfrm>
          <a:prstGeom prst="rect">
            <a:avLst/>
          </a:prstGeom>
        </p:spPr>
        <p:txBody>
          <a:bodyPr wrap="square" lIns="0" tIns="0" rIns="0" bIns="0">
            <a:spAutoFit/>
          </a:bodyPr>
          <a:lstStyle>
            <a:lvl1pPr>
              <a:defRPr sz="2800" b="1" i="0">
                <a:solidFill>
                  <a:srgbClr val="0074AA"/>
                </a:solidFill>
                <a:latin typeface="Arial"/>
                <a:cs typeface="Arial"/>
              </a:defRPr>
            </a:lvl1pPr>
          </a:lstStyle>
          <a:p>
            <a:endParaRPr/>
          </a:p>
        </p:txBody>
      </p:sp>
      <p:sp>
        <p:nvSpPr>
          <p:cNvPr id="3" name="Holder 3"/>
          <p:cNvSpPr>
            <a:spLocks noGrp="1"/>
          </p:cNvSpPr>
          <p:nvPr>
            <p:ph type="body" idx="1"/>
          </p:nvPr>
        </p:nvSpPr>
        <p:spPr>
          <a:xfrm>
            <a:off x="6746620" y="2313051"/>
            <a:ext cx="5177790" cy="2767965"/>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4/24/26</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293342509"/>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355854" y="848105"/>
            <a:ext cx="11459845" cy="0"/>
          </a:xfrm>
          <a:custGeom>
            <a:avLst/>
            <a:gdLst/>
            <a:ahLst/>
            <a:cxnLst/>
            <a:rect l="l" t="t" r="r" b="b"/>
            <a:pathLst>
              <a:path w="11459845">
                <a:moveTo>
                  <a:pt x="0" y="0"/>
                </a:moveTo>
                <a:lnTo>
                  <a:pt x="11459591" y="0"/>
                </a:lnTo>
              </a:path>
            </a:pathLst>
          </a:custGeom>
          <a:ln w="28575">
            <a:solidFill>
              <a:srgbClr val="BD2BBA"/>
            </a:solidFill>
          </a:ln>
        </p:spPr>
        <p:txBody>
          <a:bodyPr wrap="square" lIns="0" tIns="0" rIns="0" bIns="0" rtlCol="0"/>
          <a:lstStyle/>
          <a:p>
            <a:endParaRPr/>
          </a:p>
        </p:txBody>
      </p:sp>
      <p:sp>
        <p:nvSpPr>
          <p:cNvPr id="2" name="Holder 2"/>
          <p:cNvSpPr>
            <a:spLocks noGrp="1"/>
          </p:cNvSpPr>
          <p:nvPr>
            <p:ph type="title"/>
          </p:nvPr>
        </p:nvSpPr>
        <p:spPr>
          <a:xfrm>
            <a:off x="386181" y="75438"/>
            <a:ext cx="11351260" cy="721106"/>
          </a:xfrm>
          <a:prstGeom prst="rect">
            <a:avLst/>
          </a:prstGeom>
        </p:spPr>
        <p:txBody>
          <a:bodyPr wrap="square" lIns="0" tIns="0" rIns="0" bIns="0">
            <a:spAutoFit/>
          </a:bodyPr>
          <a:lstStyle>
            <a:lvl1pPr>
              <a:defRPr sz="2400" b="1" i="0">
                <a:solidFill>
                  <a:srgbClr val="585353"/>
                </a:solidFill>
                <a:latin typeface="Trebuchet MS"/>
                <a:cs typeface="Trebuchet MS"/>
              </a:defRPr>
            </a:lvl1pPr>
          </a:lstStyle>
          <a:p>
            <a:endParaRPr/>
          </a:p>
        </p:txBody>
      </p:sp>
      <p:sp>
        <p:nvSpPr>
          <p:cNvPr id="3" name="Holder 3"/>
          <p:cNvSpPr>
            <a:spLocks noGrp="1"/>
          </p:cNvSpPr>
          <p:nvPr>
            <p:ph type="body" idx="1"/>
          </p:nvPr>
        </p:nvSpPr>
        <p:spPr>
          <a:xfrm>
            <a:off x="409041" y="2169921"/>
            <a:ext cx="6327775" cy="2433954"/>
          </a:xfrm>
          <a:prstGeom prst="rect">
            <a:avLst/>
          </a:prstGeom>
        </p:spPr>
        <p:txBody>
          <a:bodyPr wrap="square" lIns="0" tIns="0" rIns="0" bIns="0">
            <a:spAutoFit/>
          </a:bodyPr>
          <a:lstStyle>
            <a:lvl1pPr>
              <a:defRPr sz="1800" b="0" i="0">
                <a:solidFill>
                  <a:srgbClr val="585353"/>
                </a:solidFill>
                <a:latin typeface="Trebuchet MS"/>
                <a:cs typeface="Trebuchet MS"/>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4/24/26</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597480641"/>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6" name="Title Placeholder 15">
            <a:extLst>
              <a:ext uri="{FF2B5EF4-FFF2-40B4-BE49-F238E27FC236}">
                <a16:creationId xmlns:a16="http://schemas.microsoft.com/office/drawing/2014/main" id="{0C7060C7-D55F-F1B1-7C98-6901EAC44D38}"/>
              </a:ext>
            </a:extLst>
          </p:cNvPr>
          <p:cNvSpPr>
            <a:spLocks noGrp="1"/>
          </p:cNvSpPr>
          <p:nvPr>
            <p:ph type="title"/>
          </p:nvPr>
        </p:nvSpPr>
        <p:spPr>
          <a:xfrm>
            <a:off x="421340" y="394634"/>
            <a:ext cx="11344835" cy="704257"/>
          </a:xfrm>
          <a:prstGeom prst="rect">
            <a:avLst/>
          </a:prstGeom>
        </p:spPr>
        <p:txBody>
          <a:bodyPr vert="horz" lIns="91440" tIns="45720" rIns="91440" bIns="45720" rtlCol="0" anchor="t" anchorCtr="0">
            <a:noAutofit/>
          </a:bodyPr>
          <a:lstStyle/>
          <a:p>
            <a:r>
              <a:rPr lang="en-US"/>
              <a:t>Click to edit Master title style</a:t>
            </a:r>
            <a:endParaRPr lang="en-US" dirty="0"/>
          </a:p>
        </p:txBody>
      </p:sp>
      <p:sp>
        <p:nvSpPr>
          <p:cNvPr id="17" name="Text Placeholder 16">
            <a:extLst>
              <a:ext uri="{FF2B5EF4-FFF2-40B4-BE49-F238E27FC236}">
                <a16:creationId xmlns:a16="http://schemas.microsoft.com/office/drawing/2014/main" id="{4AA535E7-42A0-3B4C-C480-9B675B6999BA}"/>
              </a:ext>
            </a:extLst>
          </p:cNvPr>
          <p:cNvSpPr>
            <a:spLocks noGrp="1"/>
          </p:cNvSpPr>
          <p:nvPr>
            <p:ph type="body" idx="1"/>
          </p:nvPr>
        </p:nvSpPr>
        <p:spPr>
          <a:xfrm>
            <a:off x="421340" y="1402567"/>
            <a:ext cx="11344835"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4" name="Graphic 3">
            <a:extLst>
              <a:ext uri="{FF2B5EF4-FFF2-40B4-BE49-F238E27FC236}">
                <a16:creationId xmlns:a16="http://schemas.microsoft.com/office/drawing/2014/main" id="{1D437F76-F06A-22C0-35AA-B11EC961E528}"/>
              </a:ext>
            </a:extLst>
          </p:cNvPr>
          <p:cNvPicPr>
            <a:picLocks noChangeAspect="1"/>
          </p:cNvPicPr>
          <p:nvPr userDrawn="1"/>
        </p:nvPicPr>
        <p:blipFill>
          <a:blip>
            <a:extLst>
              <a:ext uri="{96DAC541-7B7A-43D3-8B79-37D633B846F1}">
                <asvg:svgBlip xmlns:asvg="http://schemas.microsoft.com/office/drawing/2016/SVG/main" r:embed="rId29"/>
              </a:ext>
            </a:extLst>
          </a:blip>
          <a:stretch>
            <a:fillRect/>
          </a:stretch>
        </p:blipFill>
        <p:spPr>
          <a:xfrm>
            <a:off x="464000" y="6296749"/>
            <a:ext cx="1964025" cy="268585"/>
          </a:xfrm>
          <a:prstGeom prst="rect">
            <a:avLst/>
          </a:prstGeom>
        </p:spPr>
      </p:pic>
    </p:spTree>
    <p:extLst>
      <p:ext uri="{BB962C8B-B14F-4D97-AF65-F5344CB8AC3E}">
        <p14:creationId xmlns:p14="http://schemas.microsoft.com/office/powerpoint/2010/main" val="4113074383"/>
      </p:ext>
    </p:extLst>
  </p:cSld>
  <p:clrMap bg1="lt1" tx1="dk1" bg2="lt2" tx2="dk2" accent1="accent1" accent2="accent2" accent3="accent3" accent4="accent4" accent5="accent5" accent6="accent6" hlink="hlink" folHlink="folHlink"/>
  <p:sldLayoutIdLst>
    <p:sldLayoutId id="2147483825" r:id="rId1"/>
    <p:sldLayoutId id="2147483826" r:id="rId2"/>
    <p:sldLayoutId id="2147483827" r:id="rId3"/>
    <p:sldLayoutId id="2147483828" r:id="rId4"/>
    <p:sldLayoutId id="2147483829" r:id="rId5"/>
    <p:sldLayoutId id="2147483830" r:id="rId6"/>
    <p:sldLayoutId id="2147483831" r:id="rId7"/>
    <p:sldLayoutId id="2147483832" r:id="rId8"/>
    <p:sldLayoutId id="2147483833" r:id="rId9"/>
    <p:sldLayoutId id="2147483834" r:id="rId10"/>
    <p:sldLayoutId id="2147483835" r:id="rId11"/>
    <p:sldLayoutId id="2147483836" r:id="rId12"/>
    <p:sldLayoutId id="2147483837" r:id="rId13"/>
    <p:sldLayoutId id="2147483838" r:id="rId14"/>
    <p:sldLayoutId id="2147483839" r:id="rId15"/>
    <p:sldLayoutId id="2147483840" r:id="rId16"/>
    <p:sldLayoutId id="2147483841" r:id="rId17"/>
    <p:sldLayoutId id="2147483842" r:id="rId18"/>
    <p:sldLayoutId id="2147483843" r:id="rId19"/>
    <p:sldLayoutId id="2147483844" r:id="rId20"/>
    <p:sldLayoutId id="2147483845" r:id="rId21"/>
    <p:sldLayoutId id="2147483846" r:id="rId22"/>
    <p:sldLayoutId id="2147483847" r:id="rId23"/>
    <p:sldLayoutId id="2147483848" r:id="rId24"/>
    <p:sldLayoutId id="2147483849" r:id="rId25"/>
    <p:sldLayoutId id="2147483850" r:id="rId26"/>
    <p:sldLayoutId id="2147484217" r:id="rId27"/>
  </p:sldLayoutIdLst>
  <p:hf hdr="0" ftr="0" dt="0"/>
  <p:txStyles>
    <p:title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19">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3480405111"/>
      </p:ext>
    </p:extLst>
  </p:cSld>
  <p:clrMap bg1="lt1" tx1="dk1" bg2="lt2" tx2="dk2" accent1="accent1" accent2="accent2" accent3="accent3" accent4="accent4" accent5="accent5" accent6="accent6" hlink="hlink" folHlink="folHlink"/>
  <p:sldLayoutIdLst>
    <p:sldLayoutId id="2147483852" r:id="rId1"/>
    <p:sldLayoutId id="2147483853" r:id="rId2"/>
    <p:sldLayoutId id="2147483854" r:id="rId3"/>
    <p:sldLayoutId id="2147483855" r:id="rId4"/>
    <p:sldLayoutId id="2147483856" r:id="rId5"/>
    <p:sldLayoutId id="2147483857" r:id="rId6"/>
    <p:sldLayoutId id="2147483858" r:id="rId7"/>
    <p:sldLayoutId id="2147483859" r:id="rId8"/>
    <p:sldLayoutId id="2147483860" r:id="rId9"/>
    <p:sldLayoutId id="2147483861" r:id="rId10"/>
    <p:sldLayoutId id="2147483862" r:id="rId11"/>
    <p:sldLayoutId id="2147483863" r:id="rId12"/>
    <p:sldLayoutId id="2147483864" r:id="rId13"/>
    <p:sldLayoutId id="2147483865" r:id="rId14"/>
    <p:sldLayoutId id="2147483866" r:id="rId15"/>
    <p:sldLayoutId id="2147483867" r:id="rId16"/>
    <p:sldLayoutId id="2147483868" r:id="rId1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A018CAA-B896-AC41-8549-375CB8502F3F}"/>
              </a:ext>
            </a:extLst>
          </p:cNvPr>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1923455-41A7-304E-B8B4-7211BB20643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1D97C5A-433E-6244-B266-E9413B1127ED}"/>
              </a:ext>
            </a:extLst>
          </p:cNvPr>
          <p:cNvSpPr>
            <a:spLocks noGrp="1"/>
          </p:cNvSpPr>
          <p:nvPr>
            <p:ph type="dt" sz="half" idx="2"/>
          </p:nvPr>
        </p:nvSpPr>
        <p:spPr>
          <a:xfrm>
            <a:off x="838200" y="6356356"/>
            <a:ext cx="2743200" cy="365125"/>
          </a:xfrm>
          <a:prstGeom prst="rect">
            <a:avLst/>
          </a:prstGeom>
        </p:spPr>
        <p:txBody>
          <a:bodyPr vert="horz" lIns="91440" tIns="45720" rIns="91440" bIns="45720" rtlCol="0" anchor="ctr"/>
          <a:lstStyle>
            <a:lvl1pPr algn="l">
              <a:defRPr sz="675">
                <a:solidFill>
                  <a:schemeClr val="tx1">
                    <a:tint val="75000"/>
                  </a:schemeClr>
                </a:solidFill>
              </a:defRPr>
            </a:lvl1pPr>
          </a:lstStyle>
          <a:p>
            <a:fld id="{559A4995-99F3-6C48-8980-DDECA35E6552}" type="datetimeFigureOut">
              <a:rPr lang="en-US" smtClean="0"/>
              <a:t>4/24/26</a:t>
            </a:fld>
            <a:endParaRPr lang="en-US"/>
          </a:p>
        </p:txBody>
      </p:sp>
      <p:sp>
        <p:nvSpPr>
          <p:cNvPr id="5" name="Footer Placeholder 4">
            <a:extLst>
              <a:ext uri="{FF2B5EF4-FFF2-40B4-BE49-F238E27FC236}">
                <a16:creationId xmlns:a16="http://schemas.microsoft.com/office/drawing/2014/main" id="{6DFD351B-3769-074F-B96B-7DBE2CFD2CE1}"/>
              </a:ext>
            </a:extLst>
          </p:cNvPr>
          <p:cNvSpPr>
            <a:spLocks noGrp="1"/>
          </p:cNvSpPr>
          <p:nvPr>
            <p:ph type="ftr" sz="quarter" idx="3"/>
          </p:nvPr>
        </p:nvSpPr>
        <p:spPr>
          <a:xfrm>
            <a:off x="4038600" y="6356356"/>
            <a:ext cx="4114800" cy="365125"/>
          </a:xfrm>
          <a:prstGeom prst="rect">
            <a:avLst/>
          </a:prstGeom>
        </p:spPr>
        <p:txBody>
          <a:bodyPr vert="horz" lIns="91440" tIns="45720" rIns="91440" bIns="45720" rtlCol="0" anchor="ctr"/>
          <a:lstStyle>
            <a:lvl1pPr algn="ctr">
              <a:defRPr sz="675">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3DC201C-08DD-5D4F-91D2-6E0FB841170E}"/>
              </a:ext>
            </a:extLst>
          </p:cNvPr>
          <p:cNvSpPr>
            <a:spLocks noGrp="1"/>
          </p:cNvSpPr>
          <p:nvPr>
            <p:ph type="sldNum" sz="quarter" idx="4"/>
          </p:nvPr>
        </p:nvSpPr>
        <p:spPr>
          <a:xfrm>
            <a:off x="8610600" y="6356356"/>
            <a:ext cx="2743200" cy="365125"/>
          </a:xfrm>
          <a:prstGeom prst="rect">
            <a:avLst/>
          </a:prstGeom>
        </p:spPr>
        <p:txBody>
          <a:bodyPr vert="horz" lIns="91440" tIns="45720" rIns="91440" bIns="45720" rtlCol="0" anchor="ctr"/>
          <a:lstStyle>
            <a:lvl1pPr algn="r">
              <a:defRPr sz="675">
                <a:solidFill>
                  <a:schemeClr val="tx1">
                    <a:tint val="75000"/>
                  </a:schemeClr>
                </a:solidFill>
              </a:defRPr>
            </a:lvl1pPr>
          </a:lstStyle>
          <a:p>
            <a:fld id="{1FFE3454-E3CA-2442-AE8B-56036A740230}" type="slidenum">
              <a:rPr lang="en-US" smtClean="0"/>
              <a:t>‹#›</a:t>
            </a:fld>
            <a:endParaRPr lang="en-US"/>
          </a:p>
        </p:txBody>
      </p:sp>
    </p:spTree>
    <p:extLst>
      <p:ext uri="{BB962C8B-B14F-4D97-AF65-F5344CB8AC3E}">
        <p14:creationId xmlns:p14="http://schemas.microsoft.com/office/powerpoint/2010/main" val="4002062497"/>
      </p:ext>
    </p:extLst>
  </p:cSld>
  <p:clrMap bg1="lt1" tx1="dk1" bg2="lt2" tx2="dk2" accent1="accent1" accent2="accent2" accent3="accent3" accent4="accent4" accent5="accent5" accent6="accent6" hlink="hlink" folHlink="folHlink"/>
  <p:sldLayoutIdLst>
    <p:sldLayoutId id="2147483870" r:id="rId1"/>
    <p:sldLayoutId id="2147483871" r:id="rId2"/>
    <p:sldLayoutId id="2147483872" r:id="rId3"/>
    <p:sldLayoutId id="2147483873" r:id="rId4"/>
    <p:sldLayoutId id="2147483874" r:id="rId5"/>
    <p:sldLayoutId id="2147483875" r:id="rId6"/>
    <p:sldLayoutId id="2147483876" r:id="rId7"/>
    <p:sldLayoutId id="2147483877" r:id="rId8"/>
    <p:sldLayoutId id="2147483878" r:id="rId9"/>
    <p:sldLayoutId id="2147483879" r:id="rId10"/>
    <p:sldLayoutId id="2147483880" r:id="rId11"/>
    <p:sldLayoutId id="2147483881" r:id="rId12"/>
    <p:sldLayoutId id="2147483882" r:id="rId13"/>
    <p:sldLayoutId id="2147483883" r:id="rId14"/>
  </p:sldLayoutIdLst>
  <p:txStyles>
    <p:titleStyle>
      <a:lvl1pPr algn="l" defTabSz="514337" rtl="0" eaLnBrk="1" latinLnBrk="0" hangingPunct="1">
        <a:lnSpc>
          <a:spcPct val="90000"/>
        </a:lnSpc>
        <a:spcBef>
          <a:spcPct val="0"/>
        </a:spcBef>
        <a:buNone/>
        <a:defRPr sz="2475" kern="1200">
          <a:solidFill>
            <a:schemeClr val="tx1"/>
          </a:solidFill>
          <a:latin typeface="+mj-lt"/>
          <a:ea typeface="+mj-ea"/>
          <a:cs typeface="+mj-cs"/>
        </a:defRPr>
      </a:lvl1pPr>
    </p:titleStyle>
    <p:bodyStyle>
      <a:lvl1pPr marL="128585" indent="-128585" algn="l" defTabSz="514337"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54" indent="-128585" algn="l" defTabSz="514337"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22" indent="-128585" algn="l" defTabSz="514337"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091"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59"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428"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96"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65"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34"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37" rtl="0" eaLnBrk="1" latinLnBrk="0" hangingPunct="1">
        <a:defRPr sz="1013" kern="1200">
          <a:solidFill>
            <a:schemeClr val="tx1"/>
          </a:solidFill>
          <a:latin typeface="+mn-lt"/>
          <a:ea typeface="+mn-ea"/>
          <a:cs typeface="+mn-cs"/>
        </a:defRPr>
      </a:lvl1pPr>
      <a:lvl2pPr marL="257168" algn="l" defTabSz="514337" rtl="0" eaLnBrk="1" latinLnBrk="0" hangingPunct="1">
        <a:defRPr sz="1013" kern="1200">
          <a:solidFill>
            <a:schemeClr val="tx1"/>
          </a:solidFill>
          <a:latin typeface="+mn-lt"/>
          <a:ea typeface="+mn-ea"/>
          <a:cs typeface="+mn-cs"/>
        </a:defRPr>
      </a:lvl2pPr>
      <a:lvl3pPr marL="514337" algn="l" defTabSz="514337" rtl="0" eaLnBrk="1" latinLnBrk="0" hangingPunct="1">
        <a:defRPr sz="1013" kern="1200">
          <a:solidFill>
            <a:schemeClr val="tx1"/>
          </a:solidFill>
          <a:latin typeface="+mn-lt"/>
          <a:ea typeface="+mn-ea"/>
          <a:cs typeface="+mn-cs"/>
        </a:defRPr>
      </a:lvl3pPr>
      <a:lvl4pPr marL="771506" algn="l" defTabSz="514337" rtl="0" eaLnBrk="1" latinLnBrk="0" hangingPunct="1">
        <a:defRPr sz="1013" kern="1200">
          <a:solidFill>
            <a:schemeClr val="tx1"/>
          </a:solidFill>
          <a:latin typeface="+mn-lt"/>
          <a:ea typeface="+mn-ea"/>
          <a:cs typeface="+mn-cs"/>
        </a:defRPr>
      </a:lvl4pPr>
      <a:lvl5pPr marL="1028675" algn="l" defTabSz="514337" rtl="0" eaLnBrk="1" latinLnBrk="0" hangingPunct="1">
        <a:defRPr sz="1013" kern="1200">
          <a:solidFill>
            <a:schemeClr val="tx1"/>
          </a:solidFill>
          <a:latin typeface="+mn-lt"/>
          <a:ea typeface="+mn-ea"/>
          <a:cs typeface="+mn-cs"/>
        </a:defRPr>
      </a:lvl5pPr>
      <a:lvl6pPr marL="1285843" algn="l" defTabSz="514337" rtl="0" eaLnBrk="1" latinLnBrk="0" hangingPunct="1">
        <a:defRPr sz="1013" kern="1200">
          <a:solidFill>
            <a:schemeClr val="tx1"/>
          </a:solidFill>
          <a:latin typeface="+mn-lt"/>
          <a:ea typeface="+mn-ea"/>
          <a:cs typeface="+mn-cs"/>
        </a:defRPr>
      </a:lvl6pPr>
      <a:lvl7pPr marL="1543012" algn="l" defTabSz="514337" rtl="0" eaLnBrk="1" latinLnBrk="0" hangingPunct="1">
        <a:defRPr sz="1013" kern="1200">
          <a:solidFill>
            <a:schemeClr val="tx1"/>
          </a:solidFill>
          <a:latin typeface="+mn-lt"/>
          <a:ea typeface="+mn-ea"/>
          <a:cs typeface="+mn-cs"/>
        </a:defRPr>
      </a:lvl7pPr>
      <a:lvl8pPr marL="1800180" algn="l" defTabSz="514337" rtl="0" eaLnBrk="1" latinLnBrk="0" hangingPunct="1">
        <a:defRPr sz="1013" kern="1200">
          <a:solidFill>
            <a:schemeClr val="tx1"/>
          </a:solidFill>
          <a:latin typeface="+mn-lt"/>
          <a:ea typeface="+mn-ea"/>
          <a:cs typeface="+mn-cs"/>
        </a:defRPr>
      </a:lvl8pPr>
      <a:lvl9pPr marL="2057348" algn="l" defTabSz="514337" rtl="0" eaLnBrk="1" latinLnBrk="0" hangingPunct="1">
        <a:defRPr sz="1013"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838200" y="6206126"/>
            <a:ext cx="10515600" cy="365125"/>
          </a:xfrm>
          <a:prstGeom prst="rect">
            <a:avLst/>
          </a:prstGeom>
        </p:spPr>
        <p:txBody>
          <a:bodyPr vert="horz" lIns="91440" tIns="45720" rIns="91440" bIns="45720" rtlCol="0" anchor="b" anchorCtr="0"/>
          <a:lstStyle>
            <a:lvl1pPr algn="l">
              <a:defRPr sz="600">
                <a:solidFill>
                  <a:schemeClr val="tx1"/>
                </a:solidFill>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2815546482"/>
      </p:ext>
    </p:extLst>
  </p:cSld>
  <p:clrMap bg1="lt1" tx1="dk1" bg2="lt2" tx2="dk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 id="2147483889" r:id="rId5"/>
    <p:sldLayoutId id="2147483890" r:id="rId6"/>
    <p:sldLayoutId id="2147483891" r:id="rId7"/>
    <p:sldLayoutId id="2147483892" r:id="rId8"/>
    <p:sldLayoutId id="2147483893" r:id="rId9"/>
    <p:sldLayoutId id="2147483894" r:id="rId10"/>
    <p:sldLayoutId id="2147483895" r:id="rId11"/>
    <p:sldLayoutId id="2147483896" r:id="rId12"/>
    <p:sldLayoutId id="2147483897" r:id="rId13"/>
  </p:sldLayoutIdLst>
  <p:hf sldNum="0" hd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A018CAA-B896-AC41-8549-375CB8502F3F}"/>
              </a:ext>
            </a:extLst>
          </p:cNvPr>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1923455-41A7-304E-B8B4-7211BB20643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1D97C5A-433E-6244-B266-E9413B1127ED}"/>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559A4995-99F3-6C48-8980-DDECA35E6552}" type="datetimeFigureOut">
              <a:rPr lang="en-US" smtClean="0"/>
              <a:t>4/24/26</a:t>
            </a:fld>
            <a:endParaRPr lang="en-US"/>
          </a:p>
        </p:txBody>
      </p:sp>
      <p:sp>
        <p:nvSpPr>
          <p:cNvPr id="5" name="Footer Placeholder 4">
            <a:extLst>
              <a:ext uri="{FF2B5EF4-FFF2-40B4-BE49-F238E27FC236}">
                <a16:creationId xmlns:a16="http://schemas.microsoft.com/office/drawing/2014/main" id="{6DFD351B-3769-074F-B96B-7DBE2CFD2CE1}"/>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3DC201C-08DD-5D4F-91D2-6E0FB841170E}"/>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1FFE3454-E3CA-2442-AE8B-56036A740230}" type="slidenum">
              <a:rPr lang="en-US" smtClean="0"/>
              <a:t>‹#›</a:t>
            </a:fld>
            <a:endParaRPr lang="en-US"/>
          </a:p>
        </p:txBody>
      </p:sp>
    </p:spTree>
    <p:extLst>
      <p:ext uri="{BB962C8B-B14F-4D97-AF65-F5344CB8AC3E}">
        <p14:creationId xmlns:p14="http://schemas.microsoft.com/office/powerpoint/2010/main" val="3535893523"/>
      </p:ext>
    </p:extLst>
  </p:cSld>
  <p:clrMap bg1="lt1" tx1="dk1" bg2="lt2" tx2="dk2" accent1="accent1" accent2="accent2" accent3="accent3" accent4="accent4" accent5="accent5" accent6="accent6" hlink="hlink" folHlink="folHlink"/>
  <p:sldLayoutIdLst>
    <p:sldLayoutId id="2147483899" r:id="rId1"/>
    <p:sldLayoutId id="2147483900" r:id="rId2"/>
    <p:sldLayoutId id="2147483901" r:id="rId3"/>
    <p:sldLayoutId id="2147483902" r:id="rId4"/>
    <p:sldLayoutId id="2147483903" r:id="rId5"/>
    <p:sldLayoutId id="2147483904" r:id="rId6"/>
    <p:sldLayoutId id="2147483905" r:id="rId7"/>
    <p:sldLayoutId id="2147483906" r:id="rId8"/>
    <p:sldLayoutId id="2147483907" r:id="rId9"/>
    <p:sldLayoutId id="2147483908" r:id="rId10"/>
    <p:sldLayoutId id="2147483909" r:id="rId11"/>
    <p:sldLayoutId id="2147483910" r:id="rId12"/>
    <p:sldLayoutId id="2147483911" r:id="rId13"/>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Pr>
        <a:blipFill dpi="0" rotWithShape="1">
          <a:blip r:embed="rId7"/>
          <a:srcRect/>
          <a:stretch>
            <a:fillRect/>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7315200" y="6492877"/>
            <a:ext cx="3318933"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Calibri" charset="0"/>
              </a:defRPr>
            </a:lvl1pPr>
          </a:lstStyle>
          <a:p>
            <a:fld id="{96090422-FAC2-1B47-B696-15B7C4FF0E2E}" type="datetime1">
              <a:rPr lang="en-US" smtClean="0"/>
              <a:pPr/>
              <a:t>4/24/26</a:t>
            </a:fld>
            <a:endParaRPr lang="en-US"/>
          </a:p>
        </p:txBody>
      </p:sp>
      <p:sp>
        <p:nvSpPr>
          <p:cNvPr id="6" name="Slide Number Placeholder 5"/>
          <p:cNvSpPr>
            <a:spLocks noGrp="1"/>
          </p:cNvSpPr>
          <p:nvPr>
            <p:ph type="sldNum" sz="quarter" idx="4"/>
          </p:nvPr>
        </p:nvSpPr>
        <p:spPr>
          <a:xfrm>
            <a:off x="8737600" y="6492877"/>
            <a:ext cx="28448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Calibri" charset="0"/>
              </a:defRPr>
            </a:lvl1pPr>
          </a:lstStyle>
          <a:p>
            <a:fld id="{B0ABAB64-726D-C943-9B15-2E81C6025A8E}" type="slidenum">
              <a:rPr lang="en-US"/>
              <a:pPr/>
              <a:t>‹#›</a:t>
            </a:fld>
            <a:endParaRPr lang="en-US"/>
          </a:p>
        </p:txBody>
      </p:sp>
    </p:spTree>
    <p:extLst>
      <p:ext uri="{BB962C8B-B14F-4D97-AF65-F5344CB8AC3E}">
        <p14:creationId xmlns:p14="http://schemas.microsoft.com/office/powerpoint/2010/main" val="994825042"/>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Lst>
  <p:txStyles>
    <p:titleStyle>
      <a:lvl1pPr algn="l" defTabSz="457200" rtl="0" eaLnBrk="0" fontAlgn="base" hangingPunct="0">
        <a:spcBef>
          <a:spcPct val="0"/>
        </a:spcBef>
        <a:spcAft>
          <a:spcPct val="0"/>
        </a:spcAft>
        <a:defRPr sz="3200" kern="1200">
          <a:solidFill>
            <a:srgbClr val="CD113B"/>
          </a:solidFill>
          <a:latin typeface="Arial"/>
          <a:ea typeface="Geneva" pitchFamily="37" charset="-128"/>
          <a:cs typeface="Arial"/>
        </a:defRPr>
      </a:lvl1pPr>
      <a:lvl2pPr algn="l" defTabSz="457200" rtl="0" eaLnBrk="0" fontAlgn="base" hangingPunct="0">
        <a:spcBef>
          <a:spcPct val="0"/>
        </a:spcBef>
        <a:spcAft>
          <a:spcPct val="0"/>
        </a:spcAft>
        <a:defRPr sz="3200">
          <a:solidFill>
            <a:srgbClr val="800000"/>
          </a:solidFill>
          <a:latin typeface="Times New Roman" pitchFamily="37" charset="0"/>
          <a:ea typeface="Geneva" pitchFamily="37" charset="-128"/>
          <a:cs typeface="Times New Roman" pitchFamily="18" charset="0"/>
        </a:defRPr>
      </a:lvl2pPr>
      <a:lvl3pPr algn="l" defTabSz="457200" rtl="0" eaLnBrk="0" fontAlgn="base" hangingPunct="0">
        <a:spcBef>
          <a:spcPct val="0"/>
        </a:spcBef>
        <a:spcAft>
          <a:spcPct val="0"/>
        </a:spcAft>
        <a:defRPr sz="3200">
          <a:solidFill>
            <a:srgbClr val="800000"/>
          </a:solidFill>
          <a:latin typeface="Times New Roman" pitchFamily="37" charset="0"/>
          <a:ea typeface="Geneva" pitchFamily="37" charset="-128"/>
          <a:cs typeface="Times New Roman" pitchFamily="18" charset="0"/>
        </a:defRPr>
      </a:lvl3pPr>
      <a:lvl4pPr algn="l" defTabSz="457200" rtl="0" eaLnBrk="0" fontAlgn="base" hangingPunct="0">
        <a:spcBef>
          <a:spcPct val="0"/>
        </a:spcBef>
        <a:spcAft>
          <a:spcPct val="0"/>
        </a:spcAft>
        <a:defRPr sz="3200">
          <a:solidFill>
            <a:srgbClr val="800000"/>
          </a:solidFill>
          <a:latin typeface="Times New Roman" pitchFamily="37" charset="0"/>
          <a:ea typeface="Geneva" pitchFamily="37" charset="-128"/>
          <a:cs typeface="Times New Roman" pitchFamily="18" charset="0"/>
        </a:defRPr>
      </a:lvl4pPr>
      <a:lvl5pPr algn="l" defTabSz="457200" rtl="0" eaLnBrk="0" fontAlgn="base" hangingPunct="0">
        <a:spcBef>
          <a:spcPct val="0"/>
        </a:spcBef>
        <a:spcAft>
          <a:spcPct val="0"/>
        </a:spcAft>
        <a:defRPr sz="3200">
          <a:solidFill>
            <a:srgbClr val="800000"/>
          </a:solidFill>
          <a:latin typeface="Times New Roman" pitchFamily="37" charset="0"/>
          <a:ea typeface="Geneva" pitchFamily="37" charset="-128"/>
          <a:cs typeface="Times New Roman" pitchFamily="18" charset="0"/>
        </a:defRPr>
      </a:lvl5pPr>
      <a:lvl6pPr marL="457200" algn="l" defTabSz="457200" rtl="0" fontAlgn="base">
        <a:spcBef>
          <a:spcPct val="0"/>
        </a:spcBef>
        <a:spcAft>
          <a:spcPct val="0"/>
        </a:spcAft>
        <a:defRPr sz="3200">
          <a:solidFill>
            <a:srgbClr val="800000"/>
          </a:solidFill>
          <a:latin typeface="Times New Roman" pitchFamily="37" charset="0"/>
          <a:ea typeface="Geneva" pitchFamily="37" charset="-128"/>
        </a:defRPr>
      </a:lvl6pPr>
      <a:lvl7pPr marL="914400" algn="l" defTabSz="457200" rtl="0" fontAlgn="base">
        <a:spcBef>
          <a:spcPct val="0"/>
        </a:spcBef>
        <a:spcAft>
          <a:spcPct val="0"/>
        </a:spcAft>
        <a:defRPr sz="3200">
          <a:solidFill>
            <a:srgbClr val="800000"/>
          </a:solidFill>
          <a:latin typeface="Times New Roman" pitchFamily="37" charset="0"/>
          <a:ea typeface="Geneva" pitchFamily="37" charset="-128"/>
        </a:defRPr>
      </a:lvl7pPr>
      <a:lvl8pPr marL="1371600" algn="l" defTabSz="457200" rtl="0" fontAlgn="base">
        <a:spcBef>
          <a:spcPct val="0"/>
        </a:spcBef>
        <a:spcAft>
          <a:spcPct val="0"/>
        </a:spcAft>
        <a:defRPr sz="3200">
          <a:solidFill>
            <a:srgbClr val="800000"/>
          </a:solidFill>
          <a:latin typeface="Times New Roman" pitchFamily="37" charset="0"/>
          <a:ea typeface="Geneva" pitchFamily="37" charset="-128"/>
        </a:defRPr>
      </a:lvl8pPr>
      <a:lvl9pPr marL="1828800" algn="l" defTabSz="457200" rtl="0" fontAlgn="base">
        <a:spcBef>
          <a:spcPct val="0"/>
        </a:spcBef>
        <a:spcAft>
          <a:spcPct val="0"/>
        </a:spcAft>
        <a:defRPr sz="3200">
          <a:solidFill>
            <a:srgbClr val="800000"/>
          </a:solidFill>
          <a:latin typeface="Times New Roman" pitchFamily="37" charset="0"/>
          <a:ea typeface="Geneva" pitchFamily="37" charset="-128"/>
        </a:defRPr>
      </a:lvl9pPr>
    </p:titleStyle>
    <p:bodyStyle>
      <a:lvl1pPr marL="342900" indent="-342900" algn="l" defTabSz="457200" rtl="0" eaLnBrk="0" fontAlgn="base" hangingPunct="0">
        <a:spcBef>
          <a:spcPct val="20000"/>
        </a:spcBef>
        <a:spcAft>
          <a:spcPct val="0"/>
        </a:spcAft>
        <a:buFont typeface="Arial" charset="0"/>
        <a:buChar char="•"/>
        <a:defRPr sz="2400" kern="1200">
          <a:solidFill>
            <a:schemeClr val="tx1"/>
          </a:solidFill>
          <a:latin typeface="+mn-lt"/>
          <a:ea typeface="Geneva" pitchFamily="37" charset="-128"/>
          <a:cs typeface="Geneva" pitchFamily="37" charset="-128"/>
        </a:defRPr>
      </a:lvl1pPr>
      <a:lvl2pPr marL="742950" indent="-285750" algn="l" defTabSz="457200" rtl="0" eaLnBrk="0" fontAlgn="base" hangingPunct="0">
        <a:spcBef>
          <a:spcPct val="20000"/>
        </a:spcBef>
        <a:spcAft>
          <a:spcPct val="0"/>
        </a:spcAft>
        <a:buFont typeface="Arial" charset="0"/>
        <a:buChar char="–"/>
        <a:defRPr sz="2000" kern="1200">
          <a:solidFill>
            <a:schemeClr val="tx1"/>
          </a:solidFill>
          <a:latin typeface="+mn-lt"/>
          <a:ea typeface="Geneva" pitchFamily="37" charset="-128"/>
          <a:cs typeface="+mn-cs"/>
        </a:defRPr>
      </a:lvl2pPr>
      <a:lvl3pPr marL="1143000" indent="-228600" algn="l" defTabSz="457200" rtl="0" eaLnBrk="0" fontAlgn="base" hangingPunct="0">
        <a:spcBef>
          <a:spcPct val="20000"/>
        </a:spcBef>
        <a:spcAft>
          <a:spcPct val="0"/>
        </a:spcAft>
        <a:buFont typeface="Arial" charset="0"/>
        <a:buChar char="•"/>
        <a:defRPr kern="1200">
          <a:solidFill>
            <a:schemeClr val="tx1"/>
          </a:solidFill>
          <a:latin typeface="+mn-lt"/>
          <a:ea typeface="Geneva" pitchFamily="37" charset="-128"/>
          <a:cs typeface="+mn-cs"/>
        </a:defRPr>
      </a:lvl3pPr>
      <a:lvl4pPr marL="1600200" indent="-228600" algn="l" defTabSz="457200" rtl="0" eaLnBrk="0" fontAlgn="base" hangingPunct="0">
        <a:spcBef>
          <a:spcPct val="20000"/>
        </a:spcBef>
        <a:spcAft>
          <a:spcPct val="0"/>
        </a:spcAft>
        <a:buFont typeface="Arial" charset="0"/>
        <a:buChar char="–"/>
        <a:defRPr sz="1600" kern="1200">
          <a:solidFill>
            <a:schemeClr val="tx1"/>
          </a:solidFill>
          <a:latin typeface="+mn-lt"/>
          <a:ea typeface="Geneva" pitchFamily="37" charset="-128"/>
          <a:cs typeface="+mn-cs"/>
        </a:defRPr>
      </a:lvl4pPr>
      <a:lvl5pPr marL="2057400" indent="-228600" algn="l" defTabSz="457200" rtl="0" eaLnBrk="0" fontAlgn="base" hangingPunct="0">
        <a:spcBef>
          <a:spcPct val="20000"/>
        </a:spcBef>
        <a:spcAft>
          <a:spcPct val="0"/>
        </a:spcAft>
        <a:buFont typeface="Arial" charset="0"/>
        <a:buChar char="»"/>
        <a:defRPr sz="1600" kern="1200">
          <a:solidFill>
            <a:schemeClr val="tx1"/>
          </a:solidFill>
          <a:latin typeface="+mn-lt"/>
          <a:ea typeface="Geneva" pitchFamily="37"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0" y="0"/>
            <a:ext cx="12188952" cy="6856286"/>
          </a:xfrm>
          <a:prstGeom prst="rect">
            <a:avLst/>
          </a:prstGeom>
        </p:spPr>
      </p:pic>
      <p:sp>
        <p:nvSpPr>
          <p:cNvPr id="2" name="Title Placeholder 1"/>
          <p:cNvSpPr>
            <a:spLocks noGrp="1"/>
          </p:cNvSpPr>
          <p:nvPr>
            <p:ph type="title"/>
          </p:nvPr>
        </p:nvSpPr>
        <p:spPr>
          <a:xfrm>
            <a:off x="838200" y="1"/>
            <a:ext cx="10515600" cy="1144588"/>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383737"/>
            <a:ext cx="10515600" cy="4800600"/>
          </a:xfrm>
          <a:prstGeom prst="rect">
            <a:avLst/>
          </a:prstGeom>
        </p:spPr>
        <p:txBody>
          <a:bodyPr vert="horz" lIns="91440" tIns="45720" rIns="91440" bIns="45720" rtlCol="0">
            <a:normAutofit/>
          </a:body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charset="0"/>
                <a:ea typeface="Arial" charset="0"/>
                <a:cs typeface="Arial" charset="0"/>
              </a:defRPr>
            </a:lvl1pPr>
          </a:lstStyle>
          <a:p>
            <a:fld id="{5916FF65-E16B-BA4F-9591-6B4416106527}" type="datetimeFigureOut">
              <a:rPr lang="en-US" smtClean="0"/>
              <a:pPr/>
              <a:t>4/24/2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charset="0"/>
                <a:ea typeface="Arial" charset="0"/>
                <a:cs typeface="Arial" charset="0"/>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charset="0"/>
                <a:ea typeface="Arial" charset="0"/>
                <a:cs typeface="Arial" charset="0"/>
              </a:defRPr>
            </a:lvl1pPr>
          </a:lstStyle>
          <a:p>
            <a:fld id="{BB442168-F8B8-B34D-83CF-DF309AC8169E}" type="slidenum">
              <a:rPr lang="en-US" smtClean="0"/>
              <a:pPr/>
              <a:t>‹#›</a:t>
            </a:fld>
            <a:endParaRPr lang="en-US"/>
          </a:p>
        </p:txBody>
      </p:sp>
    </p:spTree>
    <p:extLst>
      <p:ext uri="{BB962C8B-B14F-4D97-AF65-F5344CB8AC3E}">
        <p14:creationId xmlns:p14="http://schemas.microsoft.com/office/powerpoint/2010/main" val="474893881"/>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914400" rtl="0" eaLnBrk="1" latinLnBrk="0" hangingPunct="1">
        <a:lnSpc>
          <a:spcPct val="90000"/>
        </a:lnSpc>
        <a:spcBef>
          <a:spcPct val="0"/>
        </a:spcBef>
        <a:buNone/>
        <a:defRPr sz="3600" b="1" kern="1200">
          <a:solidFill>
            <a:srgbClr val="002656"/>
          </a:solidFill>
          <a:latin typeface="Arial" charset="0"/>
          <a:ea typeface="Arial" charset="0"/>
          <a:cs typeface="Arial" charset="0"/>
        </a:defRPr>
      </a:lvl1pPr>
    </p:titleStyle>
    <p:bodyStyle>
      <a:lvl1pPr marL="228600" indent="-228600" algn="l" defTabSz="914400" rtl="0" eaLnBrk="1" latinLnBrk="0" hangingPunct="1">
        <a:lnSpc>
          <a:spcPct val="90000"/>
        </a:lnSpc>
        <a:spcBef>
          <a:spcPts val="1000"/>
        </a:spcBef>
        <a:buFont typeface="Arial"/>
        <a:buChar char="•"/>
        <a:defRPr sz="2800" kern="1200">
          <a:solidFill>
            <a:srgbClr val="505153"/>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a:buChar char="•"/>
        <a:defRPr sz="2400" kern="1200">
          <a:solidFill>
            <a:srgbClr val="505153"/>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Arial"/>
        <a:buChar char="•"/>
        <a:defRPr sz="2000" kern="1200">
          <a:solidFill>
            <a:srgbClr val="505153"/>
          </a:solidFill>
          <a:latin typeface="Arial" charset="0"/>
          <a:ea typeface="Arial" charset="0"/>
          <a:cs typeface="Arial" charset="0"/>
        </a:defRPr>
      </a:lvl3pPr>
      <a:lvl4pPr marL="1600200" indent="-228600" algn="l" defTabSz="914400" rtl="0" eaLnBrk="1" latinLnBrk="0" hangingPunct="1">
        <a:lnSpc>
          <a:spcPct val="90000"/>
        </a:lnSpc>
        <a:spcBef>
          <a:spcPts val="500"/>
        </a:spcBef>
        <a:buFont typeface="Arial"/>
        <a:buChar char="•"/>
        <a:defRPr sz="1800" kern="1200">
          <a:solidFill>
            <a:srgbClr val="505153"/>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a:buChar char="•"/>
        <a:defRPr sz="1800" kern="1200">
          <a:solidFill>
            <a:srgbClr val="505153"/>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044931"/>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538243"/>
            <a:ext cx="10515600" cy="463872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838200" y="6245335"/>
            <a:ext cx="105156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bk object 16">
            <a:extLst>
              <a:ext uri="{FF2B5EF4-FFF2-40B4-BE49-F238E27FC236}">
                <a16:creationId xmlns:a16="http://schemas.microsoft.com/office/drawing/2014/main" id="{92FBF96C-A19F-24A2-B5E7-8E268C959816}"/>
              </a:ext>
            </a:extLst>
          </p:cNvPr>
          <p:cNvSpPr/>
          <p:nvPr userDrawn="1"/>
        </p:nvSpPr>
        <p:spPr>
          <a:xfrm>
            <a:off x="334327" y="6516692"/>
            <a:ext cx="1404827" cy="341308"/>
          </a:xfrm>
          <a:prstGeom prst="rect">
            <a:avLst/>
          </a:prstGeom>
          <a:blipFill>
            <a:blip r:embed="rId20" cstate="print"/>
            <a:stretch>
              <a:fillRect/>
            </a:stretch>
          </a:blipFill>
        </p:spPr>
        <p:txBody>
          <a:bodyPr wrap="square" lIns="0" tIns="0" rIns="0" bIns="0" rtlCol="0"/>
          <a:lstStyle/>
          <a:p>
            <a:endParaRPr sz="1800"/>
          </a:p>
        </p:txBody>
      </p:sp>
    </p:spTree>
    <p:extLst>
      <p:ext uri="{BB962C8B-B14F-4D97-AF65-F5344CB8AC3E}">
        <p14:creationId xmlns:p14="http://schemas.microsoft.com/office/powerpoint/2010/main" val="361714055"/>
      </p:ext>
    </p:extLst>
  </p:cSld>
  <p:clrMap bg1="lt1" tx1="dk1" bg2="lt2" tx2="dk2" accent1="accent1" accent2="accent2" accent3="accent3" accent4="accent4" accent5="accent5" accent6="accent6" hlink="hlink" folHlink="folHlink"/>
  <p:sldLayoutIdLst>
    <p:sldLayoutId id="2147483919" r:id="rId1"/>
    <p:sldLayoutId id="2147483920" r:id="rId2"/>
    <p:sldLayoutId id="2147483921" r:id="rId3"/>
    <p:sldLayoutId id="2147483922" r:id="rId4"/>
    <p:sldLayoutId id="2147483923" r:id="rId5"/>
    <p:sldLayoutId id="2147483924" r:id="rId6"/>
    <p:sldLayoutId id="2147483925" r:id="rId7"/>
    <p:sldLayoutId id="2147483926" r:id="rId8"/>
    <p:sldLayoutId id="2147483927" r:id="rId9"/>
    <p:sldLayoutId id="2147483928" r:id="rId10"/>
    <p:sldLayoutId id="2147483929" r:id="rId11"/>
    <p:sldLayoutId id="2147483930" r:id="rId12"/>
    <p:sldLayoutId id="2147483931" r:id="rId13"/>
    <p:sldLayoutId id="2147483932" r:id="rId14"/>
    <p:sldLayoutId id="2147483933" r:id="rId15"/>
    <p:sldLayoutId id="2147483934" r:id="rId16"/>
    <p:sldLayoutId id="2147483935" r:id="rId17"/>
    <p:sldLayoutId id="2147483936" r:id="rId18"/>
  </p:sldLayoutIdLst>
  <p:txStyles>
    <p:titleStyle>
      <a:lvl1pPr algn="l" defTabSz="685783"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044931"/>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538243"/>
            <a:ext cx="10515600" cy="463872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838200" y="6245337"/>
            <a:ext cx="10515600" cy="365125"/>
          </a:xfrm>
          <a:prstGeom prst="rect">
            <a:avLst/>
          </a:prstGeom>
        </p:spPr>
        <p:txBody>
          <a:bodyPr vert="horz" lIns="91440" tIns="45720" rIns="91440" bIns="45720" rtlCol="0" anchor="ctr"/>
          <a:lstStyle>
            <a:lvl1pPr algn="ctr">
              <a:defRPr sz="675">
                <a:solidFill>
                  <a:schemeClr val="tx1">
                    <a:tint val="75000"/>
                  </a:schemeClr>
                </a:solidFill>
              </a:defRPr>
            </a:lvl1pPr>
          </a:lstStyle>
          <a:p>
            <a:endParaRPr lang="en-US"/>
          </a:p>
        </p:txBody>
      </p:sp>
      <p:sp>
        <p:nvSpPr>
          <p:cNvPr id="6" name="bk object 16">
            <a:extLst>
              <a:ext uri="{FF2B5EF4-FFF2-40B4-BE49-F238E27FC236}">
                <a16:creationId xmlns:a16="http://schemas.microsoft.com/office/drawing/2014/main" id="{92FBF96C-A19F-24A2-B5E7-8E268C959816}"/>
              </a:ext>
            </a:extLst>
          </p:cNvPr>
          <p:cNvSpPr/>
          <p:nvPr userDrawn="1"/>
        </p:nvSpPr>
        <p:spPr>
          <a:xfrm>
            <a:off x="334328" y="6516692"/>
            <a:ext cx="1404827" cy="341308"/>
          </a:xfrm>
          <a:prstGeom prst="rect">
            <a:avLst/>
          </a:prstGeom>
          <a:blipFill>
            <a:blip r:embed="rId19" cstate="print"/>
            <a:stretch>
              <a:fillRect/>
            </a:stretch>
          </a:blipFill>
        </p:spPr>
        <p:txBody>
          <a:bodyPr wrap="square" lIns="0" tIns="0" rIns="0" bIns="0" rtlCol="0"/>
          <a:lstStyle/>
          <a:p>
            <a:endParaRPr sz="1350"/>
          </a:p>
        </p:txBody>
      </p:sp>
    </p:spTree>
    <p:extLst>
      <p:ext uri="{BB962C8B-B14F-4D97-AF65-F5344CB8AC3E}">
        <p14:creationId xmlns:p14="http://schemas.microsoft.com/office/powerpoint/2010/main" val="3986954141"/>
      </p:ext>
    </p:extLst>
  </p:cSld>
  <p:clrMap bg1="lt1" tx1="dk1" bg2="lt2" tx2="dk2" accent1="accent1" accent2="accent2" accent3="accent3" accent4="accent4" accent5="accent5" accent6="accent6" hlink="hlink" folHlink="folHlink"/>
  <p:sldLayoutIdLst>
    <p:sldLayoutId id="2147483938" r:id="rId1"/>
    <p:sldLayoutId id="2147483939" r:id="rId2"/>
    <p:sldLayoutId id="2147483940" r:id="rId3"/>
    <p:sldLayoutId id="2147483941" r:id="rId4"/>
    <p:sldLayoutId id="2147483942" r:id="rId5"/>
    <p:sldLayoutId id="2147483943" r:id="rId6"/>
    <p:sldLayoutId id="2147483944" r:id="rId7"/>
    <p:sldLayoutId id="2147483945" r:id="rId8"/>
    <p:sldLayoutId id="2147483946" r:id="rId9"/>
    <p:sldLayoutId id="2147483947" r:id="rId10"/>
    <p:sldLayoutId id="2147483948" r:id="rId11"/>
    <p:sldLayoutId id="2147483949" r:id="rId12"/>
    <p:sldLayoutId id="2147483950" r:id="rId13"/>
    <p:sldLayoutId id="2147483951" r:id="rId14"/>
    <p:sldLayoutId id="2147483952" r:id="rId15"/>
    <p:sldLayoutId id="2147483953" r:id="rId16"/>
    <p:sldLayoutId id="2147483954" r:id="rId17"/>
  </p:sldLayoutIdLst>
  <p:txStyles>
    <p:titleStyle>
      <a:lvl1pPr algn="l" defTabSz="514337" rtl="0" eaLnBrk="1" latinLnBrk="0" hangingPunct="1">
        <a:lnSpc>
          <a:spcPct val="90000"/>
        </a:lnSpc>
        <a:spcBef>
          <a:spcPct val="0"/>
        </a:spcBef>
        <a:buNone/>
        <a:defRPr sz="2475" kern="1200">
          <a:solidFill>
            <a:schemeClr val="tx1"/>
          </a:solidFill>
          <a:latin typeface="+mj-lt"/>
          <a:ea typeface="+mj-ea"/>
          <a:cs typeface="+mj-cs"/>
        </a:defRPr>
      </a:lvl1pPr>
    </p:titleStyle>
    <p:bodyStyle>
      <a:lvl1pPr marL="128585" indent="-128585" algn="l" defTabSz="514337"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53" indent="-128585" algn="l" defTabSz="514337"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21" indent="-128585" algn="l" defTabSz="514337"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090"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59"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427"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96"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65"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33"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37" rtl="0" eaLnBrk="1" latinLnBrk="0" hangingPunct="1">
        <a:defRPr sz="1013" kern="1200">
          <a:solidFill>
            <a:schemeClr val="tx1"/>
          </a:solidFill>
          <a:latin typeface="+mn-lt"/>
          <a:ea typeface="+mn-ea"/>
          <a:cs typeface="+mn-cs"/>
        </a:defRPr>
      </a:lvl1pPr>
      <a:lvl2pPr marL="257169" algn="l" defTabSz="514337" rtl="0" eaLnBrk="1" latinLnBrk="0" hangingPunct="1">
        <a:defRPr sz="1013" kern="1200">
          <a:solidFill>
            <a:schemeClr val="tx1"/>
          </a:solidFill>
          <a:latin typeface="+mn-lt"/>
          <a:ea typeface="+mn-ea"/>
          <a:cs typeface="+mn-cs"/>
        </a:defRPr>
      </a:lvl2pPr>
      <a:lvl3pPr marL="514337" algn="l" defTabSz="514337" rtl="0" eaLnBrk="1" latinLnBrk="0" hangingPunct="1">
        <a:defRPr sz="1013" kern="1200">
          <a:solidFill>
            <a:schemeClr val="tx1"/>
          </a:solidFill>
          <a:latin typeface="+mn-lt"/>
          <a:ea typeface="+mn-ea"/>
          <a:cs typeface="+mn-cs"/>
        </a:defRPr>
      </a:lvl3pPr>
      <a:lvl4pPr marL="771506" algn="l" defTabSz="514337" rtl="0" eaLnBrk="1" latinLnBrk="0" hangingPunct="1">
        <a:defRPr sz="1013" kern="1200">
          <a:solidFill>
            <a:schemeClr val="tx1"/>
          </a:solidFill>
          <a:latin typeface="+mn-lt"/>
          <a:ea typeface="+mn-ea"/>
          <a:cs typeface="+mn-cs"/>
        </a:defRPr>
      </a:lvl4pPr>
      <a:lvl5pPr marL="1028675" algn="l" defTabSz="514337" rtl="0" eaLnBrk="1" latinLnBrk="0" hangingPunct="1">
        <a:defRPr sz="1013" kern="1200">
          <a:solidFill>
            <a:schemeClr val="tx1"/>
          </a:solidFill>
          <a:latin typeface="+mn-lt"/>
          <a:ea typeface="+mn-ea"/>
          <a:cs typeface="+mn-cs"/>
        </a:defRPr>
      </a:lvl5pPr>
      <a:lvl6pPr marL="1285843" algn="l" defTabSz="514337" rtl="0" eaLnBrk="1" latinLnBrk="0" hangingPunct="1">
        <a:defRPr sz="1013" kern="1200">
          <a:solidFill>
            <a:schemeClr val="tx1"/>
          </a:solidFill>
          <a:latin typeface="+mn-lt"/>
          <a:ea typeface="+mn-ea"/>
          <a:cs typeface="+mn-cs"/>
        </a:defRPr>
      </a:lvl6pPr>
      <a:lvl7pPr marL="1543011" algn="l" defTabSz="514337" rtl="0" eaLnBrk="1" latinLnBrk="0" hangingPunct="1">
        <a:defRPr sz="1013" kern="1200">
          <a:solidFill>
            <a:schemeClr val="tx1"/>
          </a:solidFill>
          <a:latin typeface="+mn-lt"/>
          <a:ea typeface="+mn-ea"/>
          <a:cs typeface="+mn-cs"/>
        </a:defRPr>
      </a:lvl7pPr>
      <a:lvl8pPr marL="1800180" algn="l" defTabSz="514337" rtl="0" eaLnBrk="1" latinLnBrk="0" hangingPunct="1">
        <a:defRPr sz="1013" kern="1200">
          <a:solidFill>
            <a:schemeClr val="tx1"/>
          </a:solidFill>
          <a:latin typeface="+mn-lt"/>
          <a:ea typeface="+mn-ea"/>
          <a:cs typeface="+mn-cs"/>
        </a:defRPr>
      </a:lvl8pPr>
      <a:lvl9pPr marL="2057349" algn="l" defTabSz="514337" rtl="0" eaLnBrk="1" latinLnBrk="0" hangingPunct="1">
        <a:defRPr sz="1013"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838200" y="6206124"/>
            <a:ext cx="10515600" cy="365125"/>
          </a:xfrm>
          <a:prstGeom prst="rect">
            <a:avLst/>
          </a:prstGeom>
        </p:spPr>
        <p:txBody>
          <a:bodyPr vert="horz" lIns="91440" tIns="45720" rIns="91440" bIns="45720" rtlCol="0" anchor="b" anchorCtr="0"/>
          <a:lstStyle>
            <a:lvl1pPr algn="l">
              <a:defRPr sz="800">
                <a:solidFill>
                  <a:schemeClr val="tx1"/>
                </a:solidFill>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3418797950"/>
      </p:ext>
    </p:extLst>
  </p:cSld>
  <p:clrMap bg1="lt1" tx1="dk1" bg2="lt2" tx2="dk2" accent1="accent1" accent2="accent2" accent3="accent3" accent4="accent4" accent5="accent5" accent6="accent6" hlink="hlink" folHlink="folHlink"/>
  <p:sldLayoutIdLst>
    <p:sldLayoutId id="2147483956" r:id="rId1"/>
    <p:sldLayoutId id="2147483957" r:id="rId2"/>
    <p:sldLayoutId id="2147483958" r:id="rId3"/>
    <p:sldLayoutId id="2147483959" r:id="rId4"/>
    <p:sldLayoutId id="2147483960" r:id="rId5"/>
    <p:sldLayoutId id="2147483961" r:id="rId6"/>
    <p:sldLayoutId id="2147483962" r:id="rId7"/>
    <p:sldLayoutId id="2147483963" r:id="rId8"/>
    <p:sldLayoutId id="2147483964" r:id="rId9"/>
    <p:sldLayoutId id="2147483965" r:id="rId10"/>
    <p:sldLayoutId id="2147483966" r:id="rId11"/>
    <p:sldLayoutId id="2147483967" r:id="rId12"/>
    <p:sldLayoutId id="2147483968" r:id="rId13"/>
    <p:sldLayoutId id="2147483969" r:id="rId14"/>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445769" y="6054092"/>
            <a:ext cx="2613659" cy="476249"/>
          </a:xfrm>
          <a:prstGeom prst="rect">
            <a:avLst/>
          </a:prstGeom>
          <a:blipFill>
            <a:blip r:embed="rId12" cstate="print"/>
            <a:stretch>
              <a:fillRect/>
            </a:stretch>
          </a:blipFill>
        </p:spPr>
        <p:txBody>
          <a:bodyPr wrap="square" lIns="0" tIns="0" rIns="0" bIns="0" rtlCol="0"/>
          <a:lstStyle/>
          <a:p>
            <a:endParaRPr/>
          </a:p>
        </p:txBody>
      </p:sp>
      <p:sp>
        <p:nvSpPr>
          <p:cNvPr id="17" name="bk object 17"/>
          <p:cNvSpPr/>
          <p:nvPr/>
        </p:nvSpPr>
        <p:spPr>
          <a:xfrm>
            <a:off x="10325100" y="6266688"/>
            <a:ext cx="1483360" cy="0"/>
          </a:xfrm>
          <a:custGeom>
            <a:avLst/>
            <a:gdLst/>
            <a:ahLst/>
            <a:cxnLst/>
            <a:rect l="l" t="t" r="r" b="b"/>
            <a:pathLst>
              <a:path w="1483359">
                <a:moveTo>
                  <a:pt x="0" y="0"/>
                </a:moveTo>
                <a:lnTo>
                  <a:pt x="1483360" y="0"/>
                </a:lnTo>
              </a:path>
            </a:pathLst>
          </a:custGeom>
          <a:ln w="6096">
            <a:solidFill>
              <a:srgbClr val="808080"/>
            </a:solidFill>
          </a:ln>
        </p:spPr>
        <p:txBody>
          <a:bodyPr wrap="square" lIns="0" tIns="0" rIns="0" bIns="0" rtlCol="0"/>
          <a:lstStyle/>
          <a:p>
            <a:endParaRPr/>
          </a:p>
        </p:txBody>
      </p:sp>
      <p:sp>
        <p:nvSpPr>
          <p:cNvPr id="18" name="bk object 18"/>
          <p:cNvSpPr/>
          <p:nvPr/>
        </p:nvSpPr>
        <p:spPr>
          <a:xfrm>
            <a:off x="1" y="0"/>
            <a:ext cx="142875" cy="6858000"/>
          </a:xfrm>
          <a:custGeom>
            <a:avLst/>
            <a:gdLst/>
            <a:ahLst/>
            <a:cxnLst/>
            <a:rect l="l" t="t" r="r" b="b"/>
            <a:pathLst>
              <a:path w="142875" h="6858000">
                <a:moveTo>
                  <a:pt x="0" y="6858000"/>
                </a:moveTo>
                <a:lnTo>
                  <a:pt x="142494" y="6858000"/>
                </a:lnTo>
                <a:lnTo>
                  <a:pt x="142494" y="0"/>
                </a:lnTo>
                <a:lnTo>
                  <a:pt x="0" y="0"/>
                </a:lnTo>
                <a:lnTo>
                  <a:pt x="0" y="6858000"/>
                </a:lnTo>
                <a:close/>
              </a:path>
            </a:pathLst>
          </a:custGeom>
          <a:solidFill>
            <a:srgbClr val="CBB379"/>
          </a:solidFill>
        </p:spPr>
        <p:txBody>
          <a:bodyPr wrap="square" lIns="0" tIns="0" rIns="0" bIns="0" rtlCol="0"/>
          <a:lstStyle/>
          <a:p>
            <a:endParaRPr/>
          </a:p>
        </p:txBody>
      </p:sp>
      <p:sp>
        <p:nvSpPr>
          <p:cNvPr id="2" name="Holder 2"/>
          <p:cNvSpPr>
            <a:spLocks noGrp="1"/>
          </p:cNvSpPr>
          <p:nvPr>
            <p:ph type="title"/>
          </p:nvPr>
        </p:nvSpPr>
        <p:spPr>
          <a:xfrm>
            <a:off x="609600" y="274321"/>
            <a:ext cx="10972800" cy="276999"/>
          </a:xfrm>
          <a:prstGeom prst="rect">
            <a:avLst/>
          </a:prstGeom>
        </p:spPr>
        <p:txBody>
          <a:bodyPr wrap="square" lIns="0" tIns="0" rIns="0" bIns="0">
            <a:spAutoFit/>
          </a:bodyPr>
          <a:lstStyle>
            <a:lvl1pPr>
              <a:defRPr/>
            </a:lvl1pPr>
          </a:lstStyle>
          <a:p>
            <a:endParaRPr/>
          </a:p>
        </p:txBody>
      </p:sp>
      <p:sp>
        <p:nvSpPr>
          <p:cNvPr id="3" name="Holder 3"/>
          <p:cNvSpPr>
            <a:spLocks noGrp="1"/>
          </p:cNvSpPr>
          <p:nvPr>
            <p:ph type="body" idx="1"/>
          </p:nvPr>
        </p:nvSpPr>
        <p:spPr>
          <a:xfrm>
            <a:off x="609600" y="1577340"/>
            <a:ext cx="1097280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4145280" y="6377941"/>
            <a:ext cx="3901440"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1"/>
            <a:ext cx="280416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4/24/26</a:t>
            </a:fld>
            <a:endParaRPr lang="en-US"/>
          </a:p>
        </p:txBody>
      </p:sp>
      <p:sp>
        <p:nvSpPr>
          <p:cNvPr id="6" name="Holder 6"/>
          <p:cNvSpPr>
            <a:spLocks noGrp="1"/>
          </p:cNvSpPr>
          <p:nvPr>
            <p:ph type="sldNum" sz="quarter" idx="7"/>
          </p:nvPr>
        </p:nvSpPr>
        <p:spPr>
          <a:xfrm>
            <a:off x="8778240" y="6377941"/>
            <a:ext cx="2804160"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132814767"/>
      </p:ext>
    </p:extLst>
  </p:cSld>
  <p:clrMap bg1="lt1" tx1="dk1" bg2="lt2" tx2="dk2" accent1="accent1" accent2="accent2" accent3="accent3" accent4="accent4" accent5="accent5" accent6="accent6" hlink="hlink" folHlink="folHlink"/>
  <p:sldLayoutIdLst>
    <p:sldLayoutId id="2147483971" r:id="rId1"/>
    <p:sldLayoutId id="2147483972" r:id="rId2"/>
    <p:sldLayoutId id="2147483973" r:id="rId3"/>
    <p:sldLayoutId id="2147483974" r:id="rId4"/>
    <p:sldLayoutId id="2147483975" r:id="rId5"/>
    <p:sldLayoutId id="2147483976" r:id="rId6"/>
    <p:sldLayoutId id="2147483977" r:id="rId7"/>
    <p:sldLayoutId id="2147483978" r:id="rId8"/>
    <p:sldLayoutId id="2147483979" r:id="rId9"/>
    <p:sldLayoutId id="2147483980" r:id="rId10"/>
  </p:sldLayoutIdLst>
  <p:txStyles>
    <p:titleStyle>
      <a:lvl1pPr>
        <a:defRPr>
          <a:latin typeface="+mj-lt"/>
          <a:ea typeface="+mj-ea"/>
          <a:cs typeface="+mj-cs"/>
        </a:defRPr>
      </a:lvl1pPr>
    </p:titleStyle>
    <p:bodyStyle>
      <a:lvl1pPr marL="0">
        <a:defRPr>
          <a:latin typeface="+mn-lt"/>
          <a:ea typeface="+mn-ea"/>
          <a:cs typeface="+mn-cs"/>
        </a:defRPr>
      </a:lvl1pPr>
      <a:lvl2pPr marL="342900">
        <a:defRPr>
          <a:latin typeface="+mn-lt"/>
          <a:ea typeface="+mn-ea"/>
          <a:cs typeface="+mn-cs"/>
        </a:defRPr>
      </a:lvl2pPr>
      <a:lvl3pPr marL="685800">
        <a:defRPr>
          <a:latin typeface="+mn-lt"/>
          <a:ea typeface="+mn-ea"/>
          <a:cs typeface="+mn-cs"/>
        </a:defRPr>
      </a:lvl3pPr>
      <a:lvl4pPr marL="1028700">
        <a:defRPr>
          <a:latin typeface="+mn-lt"/>
          <a:ea typeface="+mn-ea"/>
          <a:cs typeface="+mn-cs"/>
        </a:defRPr>
      </a:lvl4pPr>
      <a:lvl5pPr marL="1371600">
        <a:defRPr>
          <a:latin typeface="+mn-lt"/>
          <a:ea typeface="+mn-ea"/>
          <a:cs typeface="+mn-cs"/>
        </a:defRPr>
      </a:lvl5pPr>
      <a:lvl6pPr marL="1714500">
        <a:defRPr>
          <a:latin typeface="+mn-lt"/>
          <a:ea typeface="+mn-ea"/>
          <a:cs typeface="+mn-cs"/>
        </a:defRPr>
      </a:lvl6pPr>
      <a:lvl7pPr marL="2057400">
        <a:defRPr>
          <a:latin typeface="+mn-lt"/>
          <a:ea typeface="+mn-ea"/>
          <a:cs typeface="+mn-cs"/>
        </a:defRPr>
      </a:lvl7pPr>
      <a:lvl8pPr marL="2400300">
        <a:defRPr>
          <a:latin typeface="+mn-lt"/>
          <a:ea typeface="+mn-ea"/>
          <a:cs typeface="+mn-cs"/>
        </a:defRPr>
      </a:lvl8pPr>
      <a:lvl9pPr marL="2743200">
        <a:defRPr>
          <a:latin typeface="+mn-lt"/>
          <a:ea typeface="+mn-ea"/>
          <a:cs typeface="+mn-cs"/>
        </a:defRPr>
      </a:lvl9pPr>
    </p:bodyStyle>
    <p:otherStyle>
      <a:lvl1pPr marL="0">
        <a:defRPr>
          <a:latin typeface="+mn-lt"/>
          <a:ea typeface="+mn-ea"/>
          <a:cs typeface="+mn-cs"/>
        </a:defRPr>
      </a:lvl1pPr>
      <a:lvl2pPr marL="342900">
        <a:defRPr>
          <a:latin typeface="+mn-lt"/>
          <a:ea typeface="+mn-ea"/>
          <a:cs typeface="+mn-cs"/>
        </a:defRPr>
      </a:lvl2pPr>
      <a:lvl3pPr marL="685800">
        <a:defRPr>
          <a:latin typeface="+mn-lt"/>
          <a:ea typeface="+mn-ea"/>
          <a:cs typeface="+mn-cs"/>
        </a:defRPr>
      </a:lvl3pPr>
      <a:lvl4pPr marL="1028700">
        <a:defRPr>
          <a:latin typeface="+mn-lt"/>
          <a:ea typeface="+mn-ea"/>
          <a:cs typeface="+mn-cs"/>
        </a:defRPr>
      </a:lvl4pPr>
      <a:lvl5pPr marL="1371600">
        <a:defRPr>
          <a:latin typeface="+mn-lt"/>
          <a:ea typeface="+mn-ea"/>
          <a:cs typeface="+mn-cs"/>
        </a:defRPr>
      </a:lvl5pPr>
      <a:lvl6pPr marL="1714500">
        <a:defRPr>
          <a:latin typeface="+mn-lt"/>
          <a:ea typeface="+mn-ea"/>
          <a:cs typeface="+mn-cs"/>
        </a:defRPr>
      </a:lvl6pPr>
      <a:lvl7pPr marL="2057400">
        <a:defRPr>
          <a:latin typeface="+mn-lt"/>
          <a:ea typeface="+mn-ea"/>
          <a:cs typeface="+mn-cs"/>
        </a:defRPr>
      </a:lvl7pPr>
      <a:lvl8pPr marL="2400300">
        <a:defRPr>
          <a:latin typeface="+mn-lt"/>
          <a:ea typeface="+mn-ea"/>
          <a:cs typeface="+mn-cs"/>
        </a:defRPr>
      </a:lvl8pPr>
      <a:lvl9pPr marL="2743200">
        <a:defRPr>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A6C4852-4602-4F29-A72E-CB34B0CBEFD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BB2A460-5C85-40D9-BE72-63A49FB07D61}"/>
              </a:ext>
            </a:extLst>
          </p:cNvPr>
          <p:cNvSpPr>
            <a:spLocks noGrp="1"/>
          </p:cNvSpPr>
          <p:nvPr>
            <p:ph type="body" idx="1"/>
          </p:nvPr>
        </p:nvSpPr>
        <p:spPr>
          <a:xfrm>
            <a:off x="838200" y="1825624"/>
            <a:ext cx="105156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270E91B-C2A8-4850-B0B3-A422CB5F2488}"/>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905134D-5728-465C-A2C6-4FA45C65ED91}" type="datetimeFigureOut">
              <a:rPr lang="en-US" smtClean="0"/>
              <a:t>4/24/26</a:t>
            </a:fld>
            <a:endParaRPr lang="en-US"/>
          </a:p>
        </p:txBody>
      </p:sp>
      <p:sp>
        <p:nvSpPr>
          <p:cNvPr id="5" name="Footer Placeholder 4">
            <a:extLst>
              <a:ext uri="{FF2B5EF4-FFF2-40B4-BE49-F238E27FC236}">
                <a16:creationId xmlns:a16="http://schemas.microsoft.com/office/drawing/2014/main" id="{7353D433-59A9-48B8-9319-533F1C4328FC}"/>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2121E4E-38B8-497F-B94C-E9FF0DE6F2AA}"/>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7B82C50-5F30-42E9-B41A-1E3E5C33148E}" type="slidenum">
              <a:rPr lang="en-US" smtClean="0"/>
              <a:t>‹#›</a:t>
            </a:fld>
            <a:endParaRPr lang="en-US"/>
          </a:p>
        </p:txBody>
      </p:sp>
    </p:spTree>
    <p:extLst>
      <p:ext uri="{BB962C8B-B14F-4D97-AF65-F5344CB8AC3E}">
        <p14:creationId xmlns:p14="http://schemas.microsoft.com/office/powerpoint/2010/main" val="2523596927"/>
      </p:ext>
    </p:extLst>
  </p:cSld>
  <p:clrMap bg1="lt1" tx1="dk1" bg2="lt2" tx2="dk2" accent1="accent1" accent2="accent2" accent3="accent3" accent4="accent4" accent5="accent5" accent6="accent6" hlink="hlink" folHlink="folHlink"/>
  <p:sldLayoutIdLst>
    <p:sldLayoutId id="2147483982" r:id="rId1"/>
    <p:sldLayoutId id="2147483983" r:id="rId2"/>
    <p:sldLayoutId id="2147483984" r:id="rId3"/>
    <p:sldLayoutId id="2147483985" r:id="rId4"/>
    <p:sldLayoutId id="2147483986" r:id="rId5"/>
    <p:sldLayoutId id="2147483987" r:id="rId6"/>
    <p:sldLayoutId id="2147483988" r:id="rId7"/>
    <p:sldLayoutId id="2147483989" r:id="rId8"/>
    <p:sldLayoutId id="2147483990" r:id="rId9"/>
    <p:sldLayoutId id="2147483991" r:id="rId10"/>
    <p:sldLayoutId id="2147483992" r:id="rId11"/>
    <p:sldLayoutId id="2147483993" r:id="rId12"/>
    <p:sldLayoutId id="2147483994" r:id="rId13"/>
    <p:sldLayoutId id="2147483995" r:id="rId14"/>
    <p:sldLayoutId id="2147483996" r:id="rId15"/>
    <p:sldLayoutId id="2147483997" r:id="rId16"/>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5"/>
            </p:custDataLst>
            <p:extLst>
              <p:ext uri="{D42A27DB-BD31-4B8C-83A1-F6EECF244321}">
                <p14:modId xmlns:p14="http://schemas.microsoft.com/office/powerpoint/2010/main" val="342403565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17" imgW="416" imgH="416" progId="TCLayout.ActiveDocument.1">
                  <p:embed/>
                </p:oleObj>
              </mc:Choice>
              <mc:Fallback>
                <p:oleObj name="think-cell Slide" r:id="rId17" imgW="416" imgH="416" progId="TCLayout.ActiveDocument.1">
                  <p:embed/>
                  <p:pic>
                    <p:nvPicPr>
                      <p:cNvPr id="8" name="Object 7" hidden="1"/>
                      <p:cNvPicPr/>
                      <p:nvPr/>
                    </p:nvPicPr>
                    <p:blipFill>
                      <a:blip r:embed="rId18"/>
                      <a:stretch>
                        <a:fillRect/>
                      </a:stretch>
                    </p:blipFill>
                    <p:spPr>
                      <a:xfrm>
                        <a:off x="1589" y="1589"/>
                        <a:ext cx="1588" cy="1588"/>
                      </a:xfrm>
                      <a:prstGeom prst="rect">
                        <a:avLst/>
                      </a:prstGeom>
                    </p:spPr>
                  </p:pic>
                </p:oleObj>
              </mc:Fallback>
            </mc:AlternateContent>
          </a:graphicData>
        </a:graphic>
      </p:graphicFrame>
      <p:sp>
        <p:nvSpPr>
          <p:cNvPr id="4" name="Rectangle 3" hidden="1"/>
          <p:cNvSpPr/>
          <p:nvPr userDrawn="1">
            <p:custDataLst>
              <p:tags r:id="rId16"/>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a:extLst>
              <a:ext uri="{FF2B5EF4-FFF2-40B4-BE49-F238E27FC236}">
                <a16:creationId xmlns:a16="http://schemas.microsoft.com/office/drawing/2014/main" id="{461A3FB2-D35D-4C71-B4D2-51328DA98FE5}"/>
              </a:ext>
            </a:extLst>
          </p:cNvPr>
          <p:cNvSpPr>
            <a:spLocks noGrp="1"/>
          </p:cNvSpPr>
          <p:nvPr>
            <p:ph type="title"/>
          </p:nvPr>
        </p:nvSpPr>
        <p:spPr>
          <a:xfrm>
            <a:off x="459509" y="699584"/>
            <a:ext cx="8806412" cy="94030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F73FD38-71FA-490A-9CDC-3CF2BD415779}"/>
              </a:ext>
            </a:extLst>
          </p:cNvPr>
          <p:cNvSpPr>
            <a:spLocks noGrp="1"/>
          </p:cNvSpPr>
          <p:nvPr>
            <p:ph type="body" idx="1"/>
          </p:nvPr>
        </p:nvSpPr>
        <p:spPr>
          <a:xfrm>
            <a:off x="459507" y="1697544"/>
            <a:ext cx="10515600" cy="422029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5779F43-BBCB-4A93-9B92-EBFF1746BBBC}"/>
              </a:ext>
            </a:extLst>
          </p:cNvPr>
          <p:cNvSpPr>
            <a:spLocks noGrp="1"/>
          </p:cNvSpPr>
          <p:nvPr>
            <p:ph type="ftr" sz="quarter" idx="3"/>
          </p:nvPr>
        </p:nvSpPr>
        <p:spPr>
          <a:xfrm>
            <a:off x="459509" y="6279133"/>
            <a:ext cx="10515599" cy="313604"/>
          </a:xfrm>
          <a:prstGeom prst="rect">
            <a:avLst/>
          </a:prstGeom>
        </p:spPr>
        <p:txBody>
          <a:bodyPr vert="horz" lIns="91440" tIns="45720" rIns="91440" bIns="45720" rtlCol="0" anchor="b"/>
          <a:lstStyle>
            <a:lvl1pPr algn="l">
              <a:defRPr sz="1000">
                <a:solidFill>
                  <a:schemeClr val="tx2"/>
                </a:solidFill>
                <a:latin typeface="Arial" panose="020B0604020202020204" pitchFamily="34" charset="0"/>
                <a:cs typeface="Arial" panose="020B0604020202020204" pitchFamily="34" charset="0"/>
              </a:defRPr>
            </a:lvl1pPr>
          </a:lstStyle>
          <a:p>
            <a:r>
              <a:rPr lang="en-US" dirty="0"/>
              <a:t>References</a:t>
            </a:r>
          </a:p>
        </p:txBody>
      </p:sp>
      <p:sp>
        <p:nvSpPr>
          <p:cNvPr id="6" name="Slide Number Placeholder 5">
            <a:extLst>
              <a:ext uri="{FF2B5EF4-FFF2-40B4-BE49-F238E27FC236}">
                <a16:creationId xmlns:a16="http://schemas.microsoft.com/office/drawing/2014/main" id="{BDA63D05-AB00-441B-B74A-08BC64DBA7A2}"/>
              </a:ext>
            </a:extLst>
          </p:cNvPr>
          <p:cNvSpPr>
            <a:spLocks noGrp="1"/>
          </p:cNvSpPr>
          <p:nvPr>
            <p:ph type="sldNum" sz="quarter" idx="4"/>
          </p:nvPr>
        </p:nvSpPr>
        <p:spPr>
          <a:xfrm>
            <a:off x="11536219" y="6348846"/>
            <a:ext cx="482600" cy="372631"/>
          </a:xfrm>
          <a:prstGeom prst="rect">
            <a:avLst/>
          </a:prstGeom>
        </p:spPr>
        <p:txBody>
          <a:bodyPr vert="horz" lIns="91440" tIns="45720" rIns="91440" bIns="45720" rtlCol="0" anchor="ctr"/>
          <a:lstStyle>
            <a:lvl1pPr algn="ctr">
              <a:defRPr sz="1000">
                <a:solidFill>
                  <a:schemeClr val="accent1"/>
                </a:solidFill>
                <a:latin typeface="Arial" panose="020B0604020202020204" pitchFamily="34" charset="0"/>
                <a:cs typeface="Arial" panose="020B0604020202020204" pitchFamily="34" charset="0"/>
              </a:defRPr>
            </a:lvl1pPr>
          </a:lstStyle>
          <a:p>
            <a:fld id="{DA69A137-6BDB-47B4-8B9B-30BE2E63C07B}" type="slidenum">
              <a:rPr lang="en-US" smtClean="0"/>
              <a:pPr/>
              <a:t>‹#›</a:t>
            </a:fld>
            <a:endParaRPr lang="en-US" dirty="0"/>
          </a:p>
        </p:txBody>
      </p:sp>
      <p:sp>
        <p:nvSpPr>
          <p:cNvPr id="7" name="Rectangle 6">
            <a:extLst>
              <a:ext uri="{FF2B5EF4-FFF2-40B4-BE49-F238E27FC236}">
                <a16:creationId xmlns:a16="http://schemas.microsoft.com/office/drawing/2014/main" id="{7B3C8EC2-95B8-496C-A51C-8FB18E5DB658}"/>
              </a:ext>
            </a:extLst>
          </p:cNvPr>
          <p:cNvSpPr/>
          <p:nvPr userDrawn="1"/>
        </p:nvSpPr>
        <p:spPr>
          <a:xfrm>
            <a:off x="0" y="2"/>
            <a:ext cx="12192000" cy="489527"/>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Tree>
    <p:extLst>
      <p:ext uri="{BB962C8B-B14F-4D97-AF65-F5344CB8AC3E}">
        <p14:creationId xmlns:p14="http://schemas.microsoft.com/office/powerpoint/2010/main" val="2965068074"/>
      </p:ext>
    </p:extLst>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 id="2147484010" r:id="rId12"/>
    <p:sldLayoutId id="2147484011" r:id="rId13"/>
  </p:sldLayoutIdLst>
  <p:hf hdr="0" ftr="0" dt="0"/>
  <p:txStyles>
    <p:titleStyle>
      <a:lvl1pPr algn="l" defTabSz="914377" rtl="0" eaLnBrk="1" latinLnBrk="0" hangingPunct="1">
        <a:lnSpc>
          <a:spcPct val="90000"/>
        </a:lnSpc>
        <a:spcBef>
          <a:spcPct val="0"/>
        </a:spcBef>
        <a:buNone/>
        <a:defRPr sz="3600" b="1" kern="1200">
          <a:solidFill>
            <a:srgbClr val="007DA0"/>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100000"/>
        </a:lnSpc>
        <a:spcBef>
          <a:spcPts val="1200"/>
        </a:spcBef>
        <a:buClr>
          <a:schemeClr val="accent4"/>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100000"/>
        </a:lnSpc>
        <a:spcBef>
          <a:spcPts val="1200"/>
        </a:spcBef>
        <a:buClr>
          <a:schemeClr val="accent4"/>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100000"/>
        </a:lnSpc>
        <a:spcBef>
          <a:spcPts val="1200"/>
        </a:spcBef>
        <a:buClr>
          <a:schemeClr val="accent4"/>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100000"/>
        </a:lnSpc>
        <a:spcBef>
          <a:spcPts val="1200"/>
        </a:spcBef>
        <a:buClr>
          <a:schemeClr val="accent4"/>
        </a:buClr>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100000"/>
        </a:lnSpc>
        <a:spcBef>
          <a:spcPts val="1200"/>
        </a:spcBef>
        <a:buClr>
          <a:schemeClr val="accent4"/>
        </a:buClr>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8951" y="349250"/>
            <a:ext cx="11216216" cy="1022350"/>
          </a:xfrm>
          <a:prstGeom prst="rect">
            <a:avLst/>
          </a:prstGeom>
        </p:spPr>
        <p:txBody>
          <a:bodyPr vert="horz" lIns="0" tIns="0" rIns="0" bIns="22860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488951" y="1600200"/>
            <a:ext cx="11216216" cy="4762500"/>
          </a:xfrm>
          <a:prstGeom prst="rect">
            <a:avLst/>
          </a:prstGeom>
        </p:spPr>
        <p:txBody>
          <a:bodyPr vert="horz" lIns="0" tIns="0" rIns="0" bIns="0" rtlCol="0">
            <a:noAutofit/>
          </a:bodyPr>
          <a:lstStyle/>
          <a:p>
            <a:pPr lvl="0"/>
            <a:r>
              <a:rPr lang="en-US" dirty="0"/>
              <a:t>Edit Master text styles </a:t>
            </a:r>
          </a:p>
          <a:p>
            <a:pPr lvl="1"/>
            <a:r>
              <a:rPr lang="en-US" dirty="0"/>
              <a:t>Second level</a:t>
            </a:r>
          </a:p>
          <a:p>
            <a:pPr lvl="2"/>
            <a:r>
              <a:rPr lang="en-US" dirty="0"/>
              <a:t>Third level</a:t>
            </a:r>
          </a:p>
          <a:p>
            <a:pPr lvl="3"/>
            <a:r>
              <a:rPr lang="en-US" dirty="0"/>
              <a:t>Fourth level</a:t>
            </a:r>
          </a:p>
          <a:p>
            <a:pPr lvl="4"/>
            <a:r>
              <a:rPr lang="en-US" dirty="0"/>
              <a:t>Fifth level</a:t>
            </a:r>
          </a:p>
          <a:p>
            <a:pPr lvl="4"/>
            <a:endParaRPr lang="en-US" dirty="0"/>
          </a:p>
        </p:txBody>
      </p:sp>
      <p:sp>
        <p:nvSpPr>
          <p:cNvPr id="4" name="Date Placeholder 3"/>
          <p:cNvSpPr>
            <a:spLocks noGrp="1"/>
          </p:cNvSpPr>
          <p:nvPr>
            <p:ph type="dt" sz="half" idx="2"/>
          </p:nvPr>
        </p:nvSpPr>
        <p:spPr>
          <a:xfrm>
            <a:off x="10269462" y="6492767"/>
            <a:ext cx="1011313" cy="208758"/>
          </a:xfrm>
          <a:prstGeom prst="rect">
            <a:avLst/>
          </a:prstGeom>
        </p:spPr>
        <p:txBody>
          <a:bodyPr vert="horz" lIns="0" tIns="0" rIns="0" bIns="0" rtlCol="0" anchor="b" anchorCtr="0"/>
          <a:lstStyle>
            <a:lvl1pPr algn="r">
              <a:defRPr sz="800" b="0" i="0">
                <a:solidFill>
                  <a:schemeClr val="bg1"/>
                </a:solidFill>
                <a:latin typeface="+mn-lt"/>
                <a:ea typeface="Corbel" charset="0"/>
                <a:cs typeface="Corbel" charset="0"/>
              </a:defRPr>
            </a:lvl1pPr>
            <a:lvl2pPr marL="0" algn="r">
              <a:defRPr sz="800">
                <a:solidFill>
                  <a:schemeClr val="bg1"/>
                </a:solidFill>
                <a:latin typeface="+mn-lt"/>
                <a:ea typeface="Corbel" charset="0"/>
                <a:cs typeface="Corbel" charset="0"/>
              </a:defRPr>
            </a:lvl2pPr>
            <a:lvl3pPr marL="0" algn="r">
              <a:defRPr sz="800">
                <a:solidFill>
                  <a:schemeClr val="bg1"/>
                </a:solidFill>
                <a:latin typeface="+mn-lt"/>
                <a:ea typeface="Corbel" charset="0"/>
                <a:cs typeface="Corbel" charset="0"/>
              </a:defRPr>
            </a:lvl3pPr>
            <a:lvl4pPr marL="0" algn="r">
              <a:defRPr sz="800">
                <a:solidFill>
                  <a:schemeClr val="bg1"/>
                </a:solidFill>
                <a:latin typeface="+mn-lt"/>
                <a:ea typeface="Corbel" charset="0"/>
                <a:cs typeface="Corbel" charset="0"/>
              </a:defRPr>
            </a:lvl4pPr>
            <a:lvl5pPr marL="0" algn="r">
              <a:defRPr sz="800">
                <a:solidFill>
                  <a:schemeClr val="bg1"/>
                </a:solidFill>
                <a:latin typeface="+mn-lt"/>
                <a:ea typeface="Corbel" charset="0"/>
                <a:cs typeface="Corbel" charset="0"/>
              </a:defRPr>
            </a:lvl5pPr>
            <a:lvl6pPr marL="0" algn="r">
              <a:defRPr sz="800">
                <a:solidFill>
                  <a:schemeClr val="bg1"/>
                </a:solidFill>
                <a:latin typeface="+mn-lt"/>
                <a:ea typeface="Corbel" charset="0"/>
                <a:cs typeface="Corbel" charset="0"/>
              </a:defRPr>
            </a:lvl6pPr>
            <a:lvl7pPr marL="0" algn="r">
              <a:defRPr sz="800">
                <a:solidFill>
                  <a:schemeClr val="bg1"/>
                </a:solidFill>
                <a:latin typeface="+mn-lt"/>
                <a:ea typeface="Corbel" charset="0"/>
                <a:cs typeface="Corbel" charset="0"/>
              </a:defRPr>
            </a:lvl7pPr>
            <a:lvl8pPr marL="0" algn="r">
              <a:defRPr sz="800">
                <a:solidFill>
                  <a:schemeClr val="bg1"/>
                </a:solidFill>
                <a:latin typeface="+mn-lt"/>
                <a:ea typeface="Corbel" charset="0"/>
                <a:cs typeface="Corbel" charset="0"/>
              </a:defRPr>
            </a:lvl8pPr>
            <a:lvl9pPr marL="0" algn="r">
              <a:defRPr sz="800">
                <a:solidFill>
                  <a:schemeClr val="bg1"/>
                </a:solidFill>
                <a:latin typeface="+mn-lt"/>
                <a:ea typeface="Corbel" charset="0"/>
                <a:cs typeface="Corbel" charset="0"/>
              </a:defRPr>
            </a:lvl9pPr>
          </a:lstStyle>
          <a:p>
            <a:r>
              <a:rPr lang="en-US"/>
              <a:t>February 5, 2026</a:t>
            </a:r>
            <a:endParaRPr lang="en-US" dirty="0"/>
          </a:p>
        </p:txBody>
      </p:sp>
      <p:sp>
        <p:nvSpPr>
          <p:cNvPr id="5" name="Footer Placeholder 4"/>
          <p:cNvSpPr>
            <a:spLocks noGrp="1"/>
          </p:cNvSpPr>
          <p:nvPr>
            <p:ph type="ftr" sz="quarter" idx="3"/>
          </p:nvPr>
        </p:nvSpPr>
        <p:spPr>
          <a:xfrm>
            <a:off x="491068" y="6496842"/>
            <a:ext cx="4815417" cy="208758"/>
          </a:xfrm>
          <a:prstGeom prst="rect">
            <a:avLst/>
          </a:prstGeom>
        </p:spPr>
        <p:txBody>
          <a:bodyPr vert="horz" lIns="0" tIns="0" rIns="0" bIns="0" rtlCol="0" anchor="b" anchorCtr="0"/>
          <a:lstStyle>
            <a:lvl1pPr marL="0" indent="9525" algn="l">
              <a:tabLst/>
              <a:defRPr sz="800" b="0" i="0">
                <a:solidFill>
                  <a:schemeClr val="bg1"/>
                </a:solidFill>
                <a:latin typeface="+mn-lt"/>
                <a:ea typeface="Corbel" charset="0"/>
                <a:cs typeface="Corbel" charset="0"/>
              </a:defRPr>
            </a:lvl1pPr>
            <a:lvl2pPr marL="0" indent="9525" algn="l">
              <a:tabLst/>
              <a:defRPr sz="800">
                <a:solidFill>
                  <a:schemeClr val="bg1"/>
                </a:solidFill>
                <a:latin typeface="+mn-lt"/>
                <a:ea typeface="Corbel" charset="0"/>
                <a:cs typeface="Corbel" charset="0"/>
              </a:defRPr>
            </a:lvl2pPr>
            <a:lvl3pPr marL="0" indent="9525" algn="l">
              <a:tabLst/>
              <a:defRPr sz="800">
                <a:solidFill>
                  <a:schemeClr val="bg1"/>
                </a:solidFill>
                <a:latin typeface="+mn-lt"/>
                <a:ea typeface="Corbel" charset="0"/>
                <a:cs typeface="Corbel" charset="0"/>
              </a:defRPr>
            </a:lvl3pPr>
            <a:lvl4pPr marL="0" indent="9525" algn="l">
              <a:tabLst/>
              <a:defRPr sz="800">
                <a:solidFill>
                  <a:schemeClr val="bg1"/>
                </a:solidFill>
                <a:latin typeface="+mn-lt"/>
                <a:ea typeface="Corbel" charset="0"/>
                <a:cs typeface="Corbel" charset="0"/>
              </a:defRPr>
            </a:lvl4pPr>
            <a:lvl5pPr marL="0" indent="9525" algn="l">
              <a:tabLst/>
              <a:defRPr sz="800">
                <a:solidFill>
                  <a:schemeClr val="bg1"/>
                </a:solidFill>
                <a:latin typeface="+mn-lt"/>
                <a:ea typeface="Corbel" charset="0"/>
                <a:cs typeface="Corbel" charset="0"/>
              </a:defRPr>
            </a:lvl5pPr>
            <a:lvl6pPr marL="0" indent="9525" algn="l">
              <a:tabLst/>
              <a:defRPr sz="800">
                <a:solidFill>
                  <a:schemeClr val="bg1"/>
                </a:solidFill>
                <a:latin typeface="+mn-lt"/>
                <a:ea typeface="Corbel" charset="0"/>
                <a:cs typeface="Corbel" charset="0"/>
              </a:defRPr>
            </a:lvl6pPr>
            <a:lvl7pPr marL="0" indent="9525" algn="l">
              <a:tabLst/>
              <a:defRPr sz="800">
                <a:solidFill>
                  <a:schemeClr val="bg1"/>
                </a:solidFill>
                <a:latin typeface="+mn-lt"/>
                <a:ea typeface="Corbel" charset="0"/>
                <a:cs typeface="Corbel" charset="0"/>
              </a:defRPr>
            </a:lvl7pPr>
            <a:lvl8pPr marL="0" indent="9525" algn="l">
              <a:tabLst/>
              <a:defRPr sz="800">
                <a:solidFill>
                  <a:schemeClr val="bg1"/>
                </a:solidFill>
                <a:latin typeface="+mn-lt"/>
                <a:ea typeface="Corbel" charset="0"/>
                <a:cs typeface="Corbel" charset="0"/>
              </a:defRPr>
            </a:lvl8pPr>
            <a:lvl9pPr marL="0" indent="9525" algn="l">
              <a:tabLst/>
              <a:defRPr sz="800">
                <a:solidFill>
                  <a:schemeClr val="bg1"/>
                </a:solidFill>
                <a:latin typeface="+mn-lt"/>
                <a:ea typeface="Corbel" charset="0"/>
                <a:cs typeface="Corbel" charset="0"/>
              </a:defRPr>
            </a:lvl9pPr>
          </a:lstStyle>
          <a:p>
            <a:r>
              <a:rPr lang="en-US"/>
              <a:t>CAR T in BCL</a:t>
            </a:r>
            <a:endParaRPr lang="en-US" dirty="0"/>
          </a:p>
        </p:txBody>
      </p:sp>
      <p:sp>
        <p:nvSpPr>
          <p:cNvPr id="6" name="Slide Number Placeholder 5"/>
          <p:cNvSpPr>
            <a:spLocks noGrp="1"/>
          </p:cNvSpPr>
          <p:nvPr>
            <p:ph type="sldNum" sz="quarter" idx="4"/>
          </p:nvPr>
        </p:nvSpPr>
        <p:spPr>
          <a:xfrm>
            <a:off x="11280775" y="6492767"/>
            <a:ext cx="424392" cy="208758"/>
          </a:xfrm>
          <a:prstGeom prst="rect">
            <a:avLst/>
          </a:prstGeom>
        </p:spPr>
        <p:txBody>
          <a:bodyPr vert="horz" lIns="0" tIns="0" rIns="0" bIns="0" rtlCol="0" anchor="b" anchorCtr="0"/>
          <a:lstStyle>
            <a:lvl1pPr algn="r">
              <a:defRPr sz="800" b="0">
                <a:solidFill>
                  <a:schemeClr val="bg1"/>
                </a:solidFill>
                <a:latin typeface="+mn-lt"/>
                <a:ea typeface="Corbel" charset="0"/>
                <a:cs typeface="Corbel" charset="0"/>
              </a:defRPr>
            </a:lvl1pPr>
            <a:lvl2pPr marL="0" algn="r">
              <a:defRPr sz="800" b="0">
                <a:solidFill>
                  <a:schemeClr val="bg1"/>
                </a:solidFill>
                <a:latin typeface="+mn-lt"/>
                <a:ea typeface="Corbel" charset="0"/>
                <a:cs typeface="Corbel" charset="0"/>
              </a:defRPr>
            </a:lvl2pPr>
            <a:lvl3pPr marL="0" algn="r">
              <a:defRPr sz="800" b="0">
                <a:solidFill>
                  <a:schemeClr val="bg1"/>
                </a:solidFill>
                <a:latin typeface="+mn-lt"/>
                <a:ea typeface="Corbel" charset="0"/>
                <a:cs typeface="Corbel" charset="0"/>
              </a:defRPr>
            </a:lvl3pPr>
            <a:lvl4pPr marL="0" algn="r">
              <a:defRPr sz="800" b="0">
                <a:solidFill>
                  <a:schemeClr val="bg1"/>
                </a:solidFill>
                <a:latin typeface="+mn-lt"/>
                <a:ea typeface="Corbel" charset="0"/>
                <a:cs typeface="Corbel" charset="0"/>
              </a:defRPr>
            </a:lvl4pPr>
            <a:lvl5pPr marL="0" algn="r">
              <a:defRPr sz="800" b="0">
                <a:solidFill>
                  <a:schemeClr val="bg1"/>
                </a:solidFill>
                <a:latin typeface="+mn-lt"/>
                <a:ea typeface="Corbel" charset="0"/>
                <a:cs typeface="Corbel" charset="0"/>
              </a:defRPr>
            </a:lvl5pPr>
            <a:lvl6pPr marL="0" algn="r">
              <a:defRPr sz="800" b="0">
                <a:solidFill>
                  <a:schemeClr val="bg1"/>
                </a:solidFill>
                <a:latin typeface="+mn-lt"/>
                <a:ea typeface="Corbel" charset="0"/>
                <a:cs typeface="Corbel" charset="0"/>
              </a:defRPr>
            </a:lvl6pPr>
            <a:lvl7pPr marL="0" algn="r">
              <a:defRPr sz="800" b="0">
                <a:solidFill>
                  <a:schemeClr val="bg1"/>
                </a:solidFill>
                <a:latin typeface="+mn-lt"/>
                <a:ea typeface="Corbel" charset="0"/>
                <a:cs typeface="Corbel" charset="0"/>
              </a:defRPr>
            </a:lvl7pPr>
            <a:lvl8pPr marL="0" algn="r">
              <a:defRPr sz="800" b="0">
                <a:solidFill>
                  <a:schemeClr val="bg1"/>
                </a:solidFill>
                <a:latin typeface="+mn-lt"/>
                <a:ea typeface="Corbel" charset="0"/>
                <a:cs typeface="Corbel" charset="0"/>
              </a:defRPr>
            </a:lvl8pPr>
            <a:lvl9pPr marL="0" algn="r">
              <a:defRPr sz="800" b="0" i="0">
                <a:solidFill>
                  <a:schemeClr val="bg1"/>
                </a:solidFill>
                <a:latin typeface="+mn-lt"/>
                <a:ea typeface="Corbel" charset="0"/>
                <a:cs typeface="Corbel" charset="0"/>
              </a:defRPr>
            </a:lvl9pPr>
          </a:lstStyle>
          <a:p>
            <a:pPr lvl="8"/>
            <a:fld id="{63DCA5C9-2E11-4C67-86EB-AE1DE127DC64}" type="slidenum">
              <a:rPr lang="en-US" smtClean="0"/>
              <a:pPr lvl="8"/>
              <a:t>‹#›</a:t>
            </a:fld>
            <a:endParaRPr lang="en-US" dirty="0"/>
          </a:p>
        </p:txBody>
      </p:sp>
    </p:spTree>
    <p:extLst>
      <p:ext uri="{BB962C8B-B14F-4D97-AF65-F5344CB8AC3E}">
        <p14:creationId xmlns:p14="http://schemas.microsoft.com/office/powerpoint/2010/main" val="822213773"/>
      </p:ext>
    </p:extLst>
  </p:cSld>
  <p:clrMap bg1="lt1" tx1="dk1" bg2="lt2" tx2="dk2" accent1="accent1" accent2="accent2" accent3="accent3" accent4="accent4" accent5="accent5" accent6="accent6" hlink="hlink" folHlink="folHlink"/>
  <p:sldLayoutIdLst>
    <p:sldLayoutId id="2147484013" r:id="rId1"/>
    <p:sldLayoutId id="2147484014" r:id="rId2"/>
    <p:sldLayoutId id="2147484015" r:id="rId3"/>
    <p:sldLayoutId id="2147484016" r:id="rId4"/>
    <p:sldLayoutId id="2147484017" r:id="rId5"/>
    <p:sldLayoutId id="2147484018" r:id="rId6"/>
    <p:sldLayoutId id="2147484019" r:id="rId7"/>
    <p:sldLayoutId id="2147484020" r:id="rId8"/>
    <p:sldLayoutId id="2147484021" r:id="rId9"/>
    <p:sldLayoutId id="2147484022" r:id="rId10"/>
    <p:sldLayoutId id="2147484023" r:id="rId11"/>
    <p:sldLayoutId id="2147484024" r:id="rId12"/>
    <p:sldLayoutId id="2147484025" r:id="rId13"/>
    <p:sldLayoutId id="2147484026" r:id="rId14"/>
    <p:sldLayoutId id="2147484027" r:id="rId15"/>
    <p:sldLayoutId id="2147484028" r:id="rId16"/>
    <p:sldLayoutId id="2147484029" r:id="rId17"/>
    <p:sldLayoutId id="2147484030" r:id="rId18"/>
    <p:sldLayoutId id="2147484031" r:id="rId19"/>
    <p:sldLayoutId id="2147484032" r:id="rId20"/>
    <p:sldLayoutId id="2147484033" r:id="rId21"/>
    <p:sldLayoutId id="2147484034" r:id="rId22"/>
    <p:sldLayoutId id="2147484035" r:id="rId23"/>
    <p:sldLayoutId id="2147484036" r:id="rId24"/>
    <p:sldLayoutId id="2147484037" r:id="rId25"/>
    <p:sldLayoutId id="2147484038" r:id="rId26"/>
    <p:sldLayoutId id="2147484039" r:id="rId27"/>
    <p:sldLayoutId id="2147484040" r:id="rId28"/>
    <p:sldLayoutId id="2147484041" r:id="rId29"/>
    <p:sldLayoutId id="2147484042" r:id="rId30"/>
    <p:sldLayoutId id="2147484043" r:id="rId31"/>
    <p:sldLayoutId id="2147484044" r:id="rId32"/>
    <p:sldLayoutId id="2147484045" r:id="rId33"/>
    <p:sldLayoutId id="2147484046" r:id="rId34"/>
    <p:sldLayoutId id="2147484047" r:id="rId35"/>
  </p:sldLayoutIdLst>
  <p:hf hdr="0"/>
  <p:txStyles>
    <p:titleStyle>
      <a:lvl1pPr algn="l" defTabSz="914400" rtl="0" eaLnBrk="1" latinLnBrk="0" hangingPunct="1">
        <a:lnSpc>
          <a:spcPct val="90000"/>
        </a:lnSpc>
        <a:spcBef>
          <a:spcPct val="0"/>
        </a:spcBef>
        <a:buNone/>
        <a:defRPr sz="2800" b="0" i="0" kern="1200">
          <a:solidFill>
            <a:srgbClr val="007CBA"/>
          </a:solidFill>
          <a:latin typeface="+mj-lt"/>
          <a:ea typeface="Georgia" charset="0"/>
          <a:cs typeface="Georgia" charset="0"/>
        </a:defRPr>
      </a:lvl1pPr>
    </p:titleStyle>
    <p:bodyStyle>
      <a:lvl1pPr marL="0" indent="0" algn="l" defTabSz="914400" rtl="0" eaLnBrk="1" latinLnBrk="0" hangingPunct="1">
        <a:lnSpc>
          <a:spcPts val="2100"/>
        </a:lnSpc>
        <a:spcBef>
          <a:spcPts val="0"/>
        </a:spcBef>
        <a:spcAft>
          <a:spcPts val="600"/>
        </a:spcAft>
        <a:buFont typeface="Arial" panose="020B0604020202020204" pitchFamily="34" charset="0"/>
        <a:buNone/>
        <a:defRPr sz="1800" b="0" i="0" kern="1200">
          <a:solidFill>
            <a:srgbClr val="333333"/>
          </a:solidFill>
          <a:latin typeface="+mn-lt"/>
          <a:ea typeface="Arial" charset="0"/>
          <a:cs typeface="Arial" charset="0"/>
        </a:defRPr>
      </a:lvl1pPr>
      <a:lvl2pPr marL="740664" indent="-282575" algn="l" defTabSz="914400" rtl="0" eaLnBrk="1" latinLnBrk="0" hangingPunct="1">
        <a:lnSpc>
          <a:spcPts val="2100"/>
        </a:lnSpc>
        <a:spcBef>
          <a:spcPts val="0"/>
        </a:spcBef>
        <a:spcAft>
          <a:spcPts val="900"/>
        </a:spcAft>
        <a:buFont typeface="Arial" panose="020B0604020202020204" pitchFamily="34" charset="0"/>
        <a:buChar char="•"/>
        <a:tabLst/>
        <a:defRPr sz="1800" b="0" i="0" kern="1200">
          <a:solidFill>
            <a:srgbClr val="333333"/>
          </a:solidFill>
          <a:latin typeface="+mn-lt"/>
          <a:ea typeface="Corbel" charset="0"/>
          <a:cs typeface="Corbel" charset="0"/>
        </a:defRPr>
      </a:lvl2pPr>
      <a:lvl3pPr marL="1197864" indent="-283464" algn="l" defTabSz="914400" rtl="0" eaLnBrk="1" latinLnBrk="0" hangingPunct="1">
        <a:lnSpc>
          <a:spcPts val="2100"/>
        </a:lnSpc>
        <a:spcBef>
          <a:spcPts val="0"/>
        </a:spcBef>
        <a:spcAft>
          <a:spcPts val="600"/>
        </a:spcAft>
        <a:buFont typeface="Arial" panose="020B0604020202020204" pitchFamily="34" charset="0"/>
        <a:buChar char="•"/>
        <a:tabLst/>
        <a:defRPr sz="1800" b="0" i="0" kern="1200">
          <a:solidFill>
            <a:srgbClr val="333333"/>
          </a:solidFill>
          <a:latin typeface="+mn-lt"/>
          <a:ea typeface="Corbel" charset="0"/>
          <a:cs typeface="Corbel" charset="0"/>
        </a:defRPr>
      </a:lvl3pPr>
      <a:lvl4pPr marL="1197864" indent="-283464" algn="l" defTabSz="914400" rtl="0" eaLnBrk="1" latinLnBrk="0" hangingPunct="1">
        <a:lnSpc>
          <a:spcPts val="2100"/>
        </a:lnSpc>
        <a:spcBef>
          <a:spcPts val="0"/>
        </a:spcBef>
        <a:spcAft>
          <a:spcPts val="600"/>
        </a:spcAft>
        <a:buFont typeface="Arial" charset="0"/>
        <a:buChar char="•"/>
        <a:tabLst/>
        <a:defRPr sz="1800" b="0" i="0" kern="1200">
          <a:solidFill>
            <a:srgbClr val="333333"/>
          </a:solidFill>
          <a:latin typeface="+mn-lt"/>
          <a:ea typeface="Corbel" charset="0"/>
          <a:cs typeface="Corbel" charset="0"/>
        </a:defRPr>
      </a:lvl4pPr>
      <a:lvl5pPr marL="1197864" indent="-283464" algn="l" defTabSz="914400" rtl="0" eaLnBrk="1" latinLnBrk="0" hangingPunct="1">
        <a:lnSpc>
          <a:spcPts val="2100"/>
        </a:lnSpc>
        <a:spcBef>
          <a:spcPts val="0"/>
        </a:spcBef>
        <a:spcAft>
          <a:spcPts val="600"/>
        </a:spcAft>
        <a:buFont typeface="Arial" charset="0"/>
        <a:buChar char="•"/>
        <a:tabLst/>
        <a:defRPr sz="1800" b="0" kern="1200">
          <a:solidFill>
            <a:srgbClr val="333333"/>
          </a:solidFill>
          <a:latin typeface="+mn-lt"/>
          <a:ea typeface="Corbel" charset="0"/>
          <a:cs typeface="Corbel" charset="0"/>
        </a:defRPr>
      </a:lvl5pPr>
      <a:lvl6pPr marL="1197864" indent="-283464" algn="l" defTabSz="914400" rtl="0" eaLnBrk="1" latinLnBrk="0" hangingPunct="1">
        <a:lnSpc>
          <a:spcPts val="2100"/>
        </a:lnSpc>
        <a:spcBef>
          <a:spcPts val="0"/>
        </a:spcBef>
        <a:spcAft>
          <a:spcPts val="600"/>
        </a:spcAft>
        <a:buFont typeface="Arial" charset="0"/>
        <a:buChar char="•"/>
        <a:tabLst/>
        <a:defRPr sz="1800" b="0" i="0" kern="1200">
          <a:solidFill>
            <a:srgbClr val="333333"/>
          </a:solidFill>
          <a:latin typeface="+mn-lt"/>
          <a:ea typeface="Corbel" charset="0"/>
          <a:cs typeface="Corbel" charset="0"/>
        </a:defRPr>
      </a:lvl6pPr>
      <a:lvl7pPr marL="1197864" indent="-283464" algn="l" defTabSz="914400" rtl="0" eaLnBrk="1" latinLnBrk="0" hangingPunct="1">
        <a:lnSpc>
          <a:spcPts val="2100"/>
        </a:lnSpc>
        <a:spcBef>
          <a:spcPts val="0"/>
        </a:spcBef>
        <a:spcAft>
          <a:spcPts val="600"/>
        </a:spcAft>
        <a:buFont typeface="Arial" charset="0"/>
        <a:buChar char="•"/>
        <a:tabLst/>
        <a:defRPr sz="1800" b="0" i="0" kern="1200">
          <a:solidFill>
            <a:srgbClr val="333333"/>
          </a:solidFill>
          <a:latin typeface="+mn-lt"/>
          <a:ea typeface="Corbel" charset="0"/>
          <a:cs typeface="Corbel" charset="0"/>
        </a:defRPr>
      </a:lvl7pPr>
      <a:lvl8pPr marL="1197864" indent="-283464" algn="l" defTabSz="914400" rtl="0" eaLnBrk="1" latinLnBrk="0" hangingPunct="1">
        <a:lnSpc>
          <a:spcPts val="2100"/>
        </a:lnSpc>
        <a:spcBef>
          <a:spcPts val="0"/>
        </a:spcBef>
        <a:spcAft>
          <a:spcPts val="600"/>
        </a:spcAft>
        <a:buFont typeface="Arial" charset="0"/>
        <a:buChar char="•"/>
        <a:tabLst/>
        <a:defRPr sz="1800" b="0" i="0" kern="1200">
          <a:solidFill>
            <a:srgbClr val="333333"/>
          </a:solidFill>
          <a:latin typeface="+mn-lt"/>
          <a:ea typeface="Corbel" charset="0"/>
          <a:cs typeface="Corbel" charset="0"/>
        </a:defRPr>
      </a:lvl8pPr>
      <a:lvl9pPr marL="1197864" indent="-283464" algn="l" defTabSz="914400" rtl="0" eaLnBrk="1" latinLnBrk="0" hangingPunct="1">
        <a:lnSpc>
          <a:spcPts val="2100"/>
        </a:lnSpc>
        <a:spcBef>
          <a:spcPts val="0"/>
        </a:spcBef>
        <a:spcAft>
          <a:spcPts val="600"/>
        </a:spcAft>
        <a:buFont typeface="Arial" charset="0"/>
        <a:buChar char="•"/>
        <a:tabLst/>
        <a:defRPr sz="1800" b="0" i="0" kern="1200">
          <a:solidFill>
            <a:srgbClr val="333333"/>
          </a:solidFill>
          <a:latin typeface="+mn-lt"/>
          <a:ea typeface="Corbel" charset="0"/>
          <a:cs typeface="Corbel"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728">
          <p15:clr>
            <a:srgbClr val="F26B43"/>
          </p15:clr>
        </p15:guide>
        <p15:guide id="3" pos="309">
          <p15:clr>
            <a:srgbClr val="F26B43"/>
          </p15:clr>
        </p15:guide>
        <p15:guide id="8" pos="2531">
          <p15:clr>
            <a:srgbClr val="F26B43"/>
          </p15:clr>
        </p15:guide>
        <p15:guide id="12" pos="3840">
          <p15:clr>
            <a:srgbClr val="F26B43"/>
          </p15:clr>
        </p15:guide>
        <p15:guide id="13" pos="7373">
          <p15:clr>
            <a:srgbClr val="F26B43"/>
          </p15:clr>
        </p15:guide>
        <p15:guide id="15" pos="4955">
          <p15:clr>
            <a:srgbClr val="F26B43"/>
          </p15:clr>
        </p15:guide>
        <p15:guide id="16" pos="5147">
          <p15:clr>
            <a:srgbClr val="F26B43"/>
          </p15:clr>
        </p15:guide>
        <p15:guide id="23" orient="horz" pos="4224">
          <p15:clr>
            <a:srgbClr val="F26B43"/>
          </p15:clr>
        </p15:guide>
        <p15:guide id="24" orient="horz" pos="4008">
          <p15:clr>
            <a:srgbClr val="F26B43"/>
          </p15:clr>
        </p15:guide>
        <p15:guide id="25" orient="horz" pos="220">
          <p15:clr>
            <a:srgbClr val="F26B43"/>
          </p15:clr>
        </p15:guide>
        <p15:guide id="26" orient="horz" pos="1008">
          <p15:clr>
            <a:srgbClr val="F26B43"/>
          </p15:clr>
        </p15:guide>
        <p15:guide id="27" orient="horz" pos="864">
          <p15:clr>
            <a:srgbClr val="F26B43"/>
          </p15:clr>
        </p15:guide>
        <p15:guide id="28" orient="horz" pos="3864">
          <p15:clr>
            <a:srgbClr val="F26B43"/>
          </p15:clr>
        </p15:guide>
        <p15:guide id="29" pos="3936">
          <p15:clr>
            <a:srgbClr val="F26B43"/>
          </p15:clr>
        </p15:guide>
        <p15:guide id="30" pos="3744">
          <p15:clr>
            <a:srgbClr val="F26B43"/>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5" name="Picture 4" descr="A picture containing text&#10;&#10;Description automatically generated">
            <a:extLst>
              <a:ext uri="{FF2B5EF4-FFF2-40B4-BE49-F238E27FC236}">
                <a16:creationId xmlns:a16="http://schemas.microsoft.com/office/drawing/2014/main" id="{B3E8E984-4069-404C-B143-81BE5A42DE86}"/>
              </a:ext>
            </a:extLst>
          </p:cNvPr>
          <p:cNvPicPr>
            <a:picLocks noChangeAspect="1"/>
          </p:cNvPicPr>
          <p:nvPr userDrawn="1"/>
        </p:nvPicPr>
        <p:blipFill>
          <a:blip r:embed="rId12"/>
          <a:stretch>
            <a:fillRect/>
          </a:stretch>
        </p:blipFill>
        <p:spPr>
          <a:xfrm>
            <a:off x="0" y="-7"/>
            <a:ext cx="12192000" cy="6858000"/>
          </a:xfrm>
          <a:prstGeom prst="rect">
            <a:avLst/>
          </a:prstGeom>
        </p:spPr>
      </p:pic>
      <p:sp>
        <p:nvSpPr>
          <p:cNvPr id="2" name="Title Placeholder 1">
            <a:extLst>
              <a:ext uri="{FF2B5EF4-FFF2-40B4-BE49-F238E27FC236}">
                <a16:creationId xmlns:a16="http://schemas.microsoft.com/office/drawing/2014/main" id="{60B972F6-3EDA-CB42-B992-5C68B1C85499}"/>
              </a:ext>
            </a:extLst>
          </p:cNvPr>
          <p:cNvSpPr>
            <a:spLocks noGrp="1"/>
          </p:cNvSpPr>
          <p:nvPr>
            <p:ph type="title"/>
          </p:nvPr>
        </p:nvSpPr>
        <p:spPr>
          <a:xfrm>
            <a:off x="457201" y="457200"/>
            <a:ext cx="11271380" cy="1020619"/>
          </a:xfrm>
          <a:prstGeom prst="rect">
            <a:avLst/>
          </a:prstGeom>
        </p:spPr>
        <p:txBody>
          <a:bodyPr vert="horz" lIns="0" tIns="0" rIns="0" bIns="0" rtlCol="0" anchor="b">
            <a:noAutofit/>
          </a:bodyPr>
          <a:lstStyle/>
          <a:p>
            <a:r>
              <a:rPr lang="en-US" dirty="0"/>
              <a:t>Click to edit Master title style</a:t>
            </a:r>
          </a:p>
        </p:txBody>
      </p:sp>
      <p:sp>
        <p:nvSpPr>
          <p:cNvPr id="3" name="Text Placeholder 2">
            <a:extLst>
              <a:ext uri="{FF2B5EF4-FFF2-40B4-BE49-F238E27FC236}">
                <a16:creationId xmlns:a16="http://schemas.microsoft.com/office/drawing/2014/main" id="{A02F2B17-9B46-FE46-BCD5-4C7D0A6A7934}"/>
              </a:ext>
            </a:extLst>
          </p:cNvPr>
          <p:cNvSpPr>
            <a:spLocks noGrp="1"/>
          </p:cNvSpPr>
          <p:nvPr>
            <p:ph type="body" idx="1"/>
          </p:nvPr>
        </p:nvSpPr>
        <p:spPr>
          <a:xfrm>
            <a:off x="457200" y="1588655"/>
            <a:ext cx="11271379" cy="426350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endParaRPr lang="en-US" dirty="0"/>
          </a:p>
        </p:txBody>
      </p:sp>
      <p:sp>
        <p:nvSpPr>
          <p:cNvPr id="4" name="Slide Number Placeholder 3">
            <a:extLst>
              <a:ext uri="{FF2B5EF4-FFF2-40B4-BE49-F238E27FC236}">
                <a16:creationId xmlns:a16="http://schemas.microsoft.com/office/drawing/2014/main" id="{C8A862B3-963B-E041-A45F-7F45105691CC}"/>
              </a:ext>
            </a:extLst>
          </p:cNvPr>
          <p:cNvSpPr>
            <a:spLocks noGrp="1"/>
          </p:cNvSpPr>
          <p:nvPr>
            <p:ph type="sldNum" sz="quarter" idx="4"/>
          </p:nvPr>
        </p:nvSpPr>
        <p:spPr>
          <a:xfrm>
            <a:off x="9448800" y="6492876"/>
            <a:ext cx="2743200" cy="365125"/>
          </a:xfrm>
          <a:prstGeom prst="rect">
            <a:avLst/>
          </a:prstGeom>
        </p:spPr>
        <p:txBody>
          <a:bodyPr vert="horz" lIns="91440" tIns="45720" rIns="91440" bIns="45720" rtlCol="0" anchor="ctr"/>
          <a:lstStyle>
            <a:lvl1pPr algn="r">
              <a:defRPr sz="1200">
                <a:solidFill>
                  <a:schemeClr val="accent6"/>
                </a:solidFill>
              </a:defRPr>
            </a:lvl1pPr>
          </a:lstStyle>
          <a:p>
            <a:fld id="{89699DCE-0938-FA42-88C1-4B89CF8D84DF}" type="slidenum">
              <a:rPr lang="en-US" smtClean="0"/>
              <a:pPr/>
              <a:t>‹#›</a:t>
            </a:fld>
            <a:endParaRPr lang="en-US" dirty="0"/>
          </a:p>
        </p:txBody>
      </p:sp>
    </p:spTree>
    <p:extLst>
      <p:ext uri="{BB962C8B-B14F-4D97-AF65-F5344CB8AC3E}">
        <p14:creationId xmlns:p14="http://schemas.microsoft.com/office/powerpoint/2010/main" val="2735462422"/>
      </p:ext>
    </p:extLst>
  </p:cSld>
  <p:clrMap bg1="lt1" tx1="dk1" bg2="lt2" tx2="dk2" accent1="accent1" accent2="accent2" accent3="accent3" accent4="accent4" accent5="accent5" accent6="accent6" hlink="hlink" folHlink="folHlink"/>
  <p:sldLayoutIdLst>
    <p:sldLayoutId id="2147484049" r:id="rId1"/>
    <p:sldLayoutId id="2147484050" r:id="rId2"/>
    <p:sldLayoutId id="2147484051" r:id="rId3"/>
    <p:sldLayoutId id="2147484052" r:id="rId4"/>
    <p:sldLayoutId id="2147484053" r:id="rId5"/>
    <p:sldLayoutId id="2147484054" r:id="rId6"/>
    <p:sldLayoutId id="2147484055" r:id="rId7"/>
    <p:sldLayoutId id="2147484056" r:id="rId8"/>
    <p:sldLayoutId id="2147484057" r:id="rId9"/>
    <p:sldLayoutId id="2147484058" r:id="rId10"/>
  </p:sldLayoutIdLst>
  <p:hf hdr="0" ftr="0" dt="0"/>
  <p:txStyles>
    <p:titleStyle>
      <a:lvl1pPr algn="l" defTabSz="914377" rtl="0" eaLnBrk="1" latinLnBrk="0" hangingPunct="1">
        <a:lnSpc>
          <a:spcPct val="90000"/>
        </a:lnSpc>
        <a:spcBef>
          <a:spcPct val="0"/>
        </a:spcBef>
        <a:buNone/>
        <a:defRPr sz="2600" kern="1200">
          <a:solidFill>
            <a:schemeClr val="tx1"/>
          </a:solidFill>
          <a:latin typeface="+mj-lt"/>
          <a:ea typeface="+mj-ea"/>
          <a:cs typeface="+mj-cs"/>
        </a:defRPr>
      </a:lvl1pPr>
    </p:titleStyle>
    <p:bodyStyle>
      <a:lvl1pPr marL="320032" indent="-320032" algn="l" defTabSz="914377" rtl="0" eaLnBrk="1" latinLnBrk="0" hangingPunct="1">
        <a:lnSpc>
          <a:spcPct val="100000"/>
        </a:lnSpc>
        <a:spcBef>
          <a:spcPts val="0"/>
        </a:spcBef>
        <a:spcAft>
          <a:spcPts val="600"/>
        </a:spcAft>
        <a:buClr>
          <a:schemeClr val="accent6"/>
        </a:buClr>
        <a:buSzPct val="85000"/>
        <a:buFont typeface="Wingdings" pitchFamily="2" charset="2"/>
        <a:buChar char="§"/>
        <a:defRPr sz="2000" kern="1200">
          <a:solidFill>
            <a:schemeClr val="tx1"/>
          </a:solidFill>
          <a:latin typeface="+mn-lt"/>
          <a:ea typeface="+mn-ea"/>
          <a:cs typeface="+mn-cs"/>
        </a:defRPr>
      </a:lvl1pPr>
      <a:lvl2pPr marL="685783" indent="-320032" algn="l" defTabSz="914377" rtl="0" eaLnBrk="1" latinLnBrk="0" hangingPunct="1">
        <a:lnSpc>
          <a:spcPct val="100000"/>
        </a:lnSpc>
        <a:spcBef>
          <a:spcPts val="0"/>
        </a:spcBef>
        <a:spcAft>
          <a:spcPts val="600"/>
        </a:spcAft>
        <a:buClr>
          <a:schemeClr val="accent6"/>
        </a:buClr>
        <a:buFont typeface="System Font Regular"/>
        <a:buChar char="–"/>
        <a:defRPr sz="1800" kern="1200">
          <a:solidFill>
            <a:schemeClr val="tx1"/>
          </a:solidFill>
          <a:latin typeface="+mn-lt"/>
          <a:ea typeface="+mn-ea"/>
          <a:cs typeface="+mn-cs"/>
        </a:defRPr>
      </a:lvl2pPr>
      <a:lvl3pPr marL="1142971" indent="-320032" algn="l" defTabSz="914377" rtl="0" eaLnBrk="1" latinLnBrk="0" hangingPunct="1">
        <a:lnSpc>
          <a:spcPct val="100000"/>
        </a:lnSpc>
        <a:spcBef>
          <a:spcPts val="0"/>
        </a:spcBef>
        <a:spcAft>
          <a:spcPts val="600"/>
        </a:spcAft>
        <a:buClr>
          <a:schemeClr val="accent6"/>
        </a:buClr>
        <a:buFont typeface="Arial" panose="020B0604020202020204" pitchFamily="34" charset="0"/>
        <a:buChar char="•"/>
        <a:defRPr sz="1600" kern="1200">
          <a:solidFill>
            <a:schemeClr val="tx1"/>
          </a:solidFill>
          <a:latin typeface="+mn-lt"/>
          <a:ea typeface="+mn-ea"/>
          <a:cs typeface="+mn-cs"/>
        </a:defRPr>
      </a:lvl3pPr>
      <a:lvl4pPr marL="1280128" indent="0" algn="l" defTabSz="914377" rtl="0" eaLnBrk="1" latinLnBrk="0" hangingPunct="1">
        <a:lnSpc>
          <a:spcPct val="100000"/>
        </a:lnSpc>
        <a:spcBef>
          <a:spcPts val="0"/>
        </a:spcBef>
        <a:spcAft>
          <a:spcPts val="600"/>
        </a:spcAft>
        <a:buClr>
          <a:schemeClr val="accent6"/>
        </a:buClr>
        <a:buFont typeface="Wingdings" pitchFamily="2" charset="2"/>
        <a:buNone/>
        <a:defRPr sz="1400" kern="1200">
          <a:solidFill>
            <a:schemeClr val="tx1"/>
          </a:solidFill>
          <a:latin typeface="+mn-lt"/>
          <a:ea typeface="+mn-ea"/>
          <a:cs typeface="+mn-cs"/>
        </a:defRPr>
      </a:lvl4pPr>
      <a:lvl5pPr marL="2057349" indent="-320032" algn="l" defTabSz="914377" rtl="0" eaLnBrk="1" latinLnBrk="0" hangingPunct="1">
        <a:lnSpc>
          <a:spcPct val="100000"/>
        </a:lnSpc>
        <a:spcBef>
          <a:spcPts val="300"/>
        </a:spcBef>
        <a:buClr>
          <a:schemeClr val="accent6"/>
        </a:buClr>
        <a:buFont typeface="Monaco" pitchFamily="2" charset="77"/>
        <a:buChar char="⎼"/>
        <a:defRPr sz="16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5808">
          <p15:clr>
            <a:srgbClr val="F26B43"/>
          </p15:clr>
        </p15:guide>
        <p15:guide id="4" pos="7512">
          <p15:clr>
            <a:srgbClr val="F26B43"/>
          </p15:clr>
        </p15:guide>
        <p15:guide id="5" orient="horz" pos="3864">
          <p15:clr>
            <a:srgbClr val="F26B43"/>
          </p15:clr>
        </p15:guide>
        <p15:guide id="6" pos="5160">
          <p15:clr>
            <a:srgbClr val="F26B43"/>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8462" y="1397000"/>
            <a:ext cx="11435077" cy="4622800"/>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378462" y="160868"/>
            <a:ext cx="11435077" cy="677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6038" rIns="45720" bIns="46038" numCol="1" anchor="b" anchorCtr="0" compatLnSpc="1">
            <a:prstTxWarp prst="textNoShape">
              <a:avLst/>
            </a:prstTxWarp>
          </a:bodyPr>
          <a:lstStyle/>
          <a:p>
            <a:pPr lvl="0" fontAlgn="base">
              <a:spcAft>
                <a:spcPct val="0"/>
              </a:spcAft>
            </a:pPr>
            <a:r>
              <a:rPr lang="en-US"/>
              <a:t>Click to edit Master title style</a:t>
            </a:r>
          </a:p>
        </p:txBody>
      </p:sp>
      <p:sp>
        <p:nvSpPr>
          <p:cNvPr id="5" name="Slide Number Placeholder 5"/>
          <p:cNvSpPr>
            <a:spLocks noGrp="1"/>
          </p:cNvSpPr>
          <p:nvPr>
            <p:ph type="sldNum" sz="quarter" idx="4"/>
          </p:nvPr>
        </p:nvSpPr>
        <p:spPr>
          <a:xfrm>
            <a:off x="11152176" y="6332095"/>
            <a:ext cx="662940" cy="365125"/>
          </a:xfrm>
          <a:prstGeom prst="rect">
            <a:avLst/>
          </a:prstGeom>
        </p:spPr>
        <p:txBody>
          <a:bodyPr vert="horz" lIns="91440" tIns="0" rIns="0" bIns="0" rtlCol="0" anchor="b" anchorCtr="0"/>
          <a:lstStyle>
            <a:lvl1pPr algn="r">
              <a:defRPr lang="en-US" sz="1200" smtClean="0">
                <a:solidFill>
                  <a:schemeClr val="tx2"/>
                </a:solidFill>
              </a:defRPr>
            </a:lvl1pPr>
          </a:lstStyle>
          <a:p>
            <a:fld id="{AF1AFCDA-ABCC-4704-AB71-48FDE4F2FA4C}" type="slidenum">
              <a:rPr lang="en-GB" smtClean="0"/>
              <a:pPr/>
              <a:t>‹#›</a:t>
            </a:fld>
            <a:endParaRPr lang="en-GB" dirty="0"/>
          </a:p>
        </p:txBody>
      </p:sp>
      <p:cxnSp>
        <p:nvCxnSpPr>
          <p:cNvPr id="6" name="Straight Connector 5">
            <a:extLst>
              <a:ext uri="{FF2B5EF4-FFF2-40B4-BE49-F238E27FC236}">
                <a16:creationId xmlns:a16="http://schemas.microsoft.com/office/drawing/2014/main" id="{DFE3E71B-E4E4-41CF-A614-6050F92BAF2C}"/>
              </a:ext>
            </a:extLst>
          </p:cNvPr>
          <p:cNvCxnSpPr>
            <a:cxnSpLocks/>
          </p:cNvCxnSpPr>
          <p:nvPr userDrawn="1"/>
        </p:nvCxnSpPr>
        <p:spPr>
          <a:xfrm>
            <a:off x="355601" y="846799"/>
            <a:ext cx="11459633"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CE2D6AFE-3081-4645-96E7-B2E4051B1181}"/>
              </a:ext>
            </a:extLst>
          </p:cNvPr>
          <p:cNvSpPr>
            <a:spLocks noGrp="1"/>
          </p:cNvSpPr>
          <p:nvPr>
            <p:ph type="ftr" sz="quarter" idx="3"/>
          </p:nvPr>
        </p:nvSpPr>
        <p:spPr>
          <a:xfrm>
            <a:off x="369420" y="6333200"/>
            <a:ext cx="10765425" cy="365125"/>
          </a:xfrm>
          <a:prstGeom prst="rect">
            <a:avLst/>
          </a:prstGeom>
        </p:spPr>
        <p:txBody>
          <a:bodyPr vert="horz" lIns="0" tIns="0" rIns="0" bIns="0" rtlCol="0" anchor="b" anchorCtr="0"/>
          <a:lstStyle>
            <a:lvl1pPr algn="l">
              <a:defRPr sz="1200">
                <a:solidFill>
                  <a:schemeClr val="tx1">
                    <a:tint val="75000"/>
                  </a:schemeClr>
                </a:solidFill>
              </a:defRPr>
            </a:lvl1pPr>
          </a:lstStyle>
          <a:p>
            <a:endParaRPr lang="en-US" dirty="0"/>
          </a:p>
        </p:txBody>
      </p:sp>
    </p:spTree>
    <p:custDataLst>
      <p:tags r:id="rId10"/>
    </p:custDataLst>
    <p:extLst>
      <p:ext uri="{BB962C8B-B14F-4D97-AF65-F5344CB8AC3E}">
        <p14:creationId xmlns:p14="http://schemas.microsoft.com/office/powerpoint/2010/main" val="179145422"/>
      </p:ext>
    </p:extLst>
  </p:cSld>
  <p:clrMap bg1="lt1" tx1="dk1" bg2="lt2" tx2="dk2" accent1="accent1" accent2="accent2" accent3="accent3" accent4="accent4" accent5="accent5" accent6="accent6" hlink="hlink" folHlink="folHlink"/>
  <p:sldLayoutIdLst>
    <p:sldLayoutId id="2147484070" r:id="rId1"/>
    <p:sldLayoutId id="2147484071" r:id="rId2"/>
    <p:sldLayoutId id="2147484072" r:id="rId3"/>
    <p:sldLayoutId id="2147484073" r:id="rId4"/>
    <p:sldLayoutId id="2147484074" r:id="rId5"/>
    <p:sldLayoutId id="2147484075" r:id="rId6"/>
    <p:sldLayoutId id="2147484076" r:id="rId7"/>
    <p:sldLayoutId id="2147484077" r:id="rId8"/>
  </p:sldLayoutIdLst>
  <p:hf hdr="0" dt="0"/>
  <p:txStyles>
    <p:titleStyle>
      <a:lvl1pPr algn="l" defTabSz="1219170" rtl="0" eaLnBrk="1" latinLnBrk="0" hangingPunct="1">
        <a:lnSpc>
          <a:spcPct val="90000"/>
        </a:lnSpc>
        <a:spcBef>
          <a:spcPct val="0"/>
        </a:spcBef>
        <a:buNone/>
        <a:defRPr lang="en-US" sz="3200" b="0" kern="1200">
          <a:solidFill>
            <a:schemeClr val="tx1"/>
          </a:solidFill>
          <a:latin typeface="+mj-lt"/>
          <a:ea typeface="+mj-ea"/>
          <a:cs typeface="+mj-cs"/>
        </a:defRPr>
      </a:lvl1pPr>
    </p:titleStyle>
    <p:bodyStyle>
      <a:lvl1pPr marL="0" indent="0" algn="l" defTabSz="1219170" rtl="0" eaLnBrk="1" latinLnBrk="0" hangingPunct="1">
        <a:lnSpc>
          <a:spcPct val="90000"/>
        </a:lnSpc>
        <a:spcBef>
          <a:spcPts val="800"/>
        </a:spcBef>
        <a:spcAft>
          <a:spcPts val="400"/>
        </a:spcAft>
        <a:buClr>
          <a:schemeClr val="tx2"/>
        </a:buClr>
        <a:buFont typeface="Arial" panose="020B0604020202020204" pitchFamily="34" charset="0"/>
        <a:buNone/>
        <a:defRPr sz="2400" b="0" kern="1200">
          <a:solidFill>
            <a:schemeClr val="tx1"/>
          </a:solidFill>
          <a:latin typeface="+mn-lt"/>
          <a:ea typeface="+mn-ea"/>
          <a:cs typeface="+mn-cs"/>
        </a:defRPr>
      </a:lvl1pPr>
      <a:lvl2pPr marL="256026" indent="-256026" algn="l" defTabSz="1219170" rtl="0" eaLnBrk="1" latinLnBrk="0" hangingPunct="1">
        <a:lnSpc>
          <a:spcPct val="90000"/>
        </a:lnSpc>
        <a:spcBef>
          <a:spcPts val="0"/>
        </a:spcBef>
        <a:spcAft>
          <a:spcPts val="800"/>
        </a:spcAft>
        <a:buClr>
          <a:schemeClr val="tx2"/>
        </a:buClr>
        <a:buFont typeface="Arial" panose="020B0604020202020204" pitchFamily="34" charset="0"/>
        <a:buChar char="•"/>
        <a:defRPr sz="2133" kern="1200">
          <a:solidFill>
            <a:schemeClr val="tx1"/>
          </a:solidFill>
          <a:latin typeface="+mn-lt"/>
          <a:ea typeface="+mn-ea"/>
          <a:cs typeface="+mn-cs"/>
        </a:defRPr>
      </a:lvl2pPr>
      <a:lvl3pPr marL="755885" indent="-341367" algn="l" defTabSz="1219170" rtl="0" eaLnBrk="1" latinLnBrk="0" hangingPunct="1">
        <a:lnSpc>
          <a:spcPct val="90000"/>
        </a:lnSpc>
        <a:spcBef>
          <a:spcPts val="0"/>
        </a:spcBef>
        <a:spcAft>
          <a:spcPts val="800"/>
        </a:spcAft>
        <a:buClr>
          <a:schemeClr val="tx2"/>
        </a:buClr>
        <a:buFont typeface="Arial" panose="020B0604020202020204" pitchFamily="34" charset="0"/>
        <a:buChar char="–"/>
        <a:defRPr sz="1867" kern="1200">
          <a:solidFill>
            <a:schemeClr val="tx1"/>
          </a:solidFill>
          <a:latin typeface="+mn-lt"/>
          <a:ea typeface="+mn-ea"/>
          <a:cs typeface="+mn-cs"/>
        </a:defRPr>
      </a:lvl3pPr>
      <a:lvl4pPr marL="1182594" indent="-268217" algn="l" defTabSz="1219170" rtl="0" eaLnBrk="1" latinLnBrk="0" hangingPunct="1">
        <a:lnSpc>
          <a:spcPct val="90000"/>
        </a:lnSpc>
        <a:spcBef>
          <a:spcPts val="0"/>
        </a:spcBef>
        <a:spcAft>
          <a:spcPts val="800"/>
        </a:spcAft>
        <a:buClr>
          <a:schemeClr val="tx2"/>
        </a:buClr>
        <a:buFont typeface="Arial" panose="020B0604020202020204" pitchFamily="34" charset="0"/>
        <a:buChar char="•"/>
        <a:defRPr sz="1600" kern="1200">
          <a:solidFill>
            <a:schemeClr val="tx1"/>
          </a:solidFill>
          <a:latin typeface="+mn-lt"/>
          <a:ea typeface="+mn-ea"/>
          <a:cs typeface="+mn-cs"/>
        </a:defRPr>
      </a:lvl4pPr>
      <a:lvl5pPr marL="1609304" indent="-304792" algn="l" defTabSz="1219170" rtl="0" eaLnBrk="1" latinLnBrk="0" hangingPunct="1">
        <a:lnSpc>
          <a:spcPct val="90000"/>
        </a:lnSpc>
        <a:spcBef>
          <a:spcPts val="0"/>
        </a:spcBef>
        <a:spcAft>
          <a:spcPts val="800"/>
        </a:spcAft>
        <a:buClr>
          <a:schemeClr val="tx2"/>
        </a:buClr>
        <a:buFont typeface="Arial" panose="020B0604020202020204" pitchFamily="34" charset="0"/>
        <a:buChar char="–"/>
        <a:tabLst/>
        <a:defRPr sz="1600"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60">
          <p15:clr>
            <a:srgbClr val="F26B43"/>
          </p15:clr>
        </p15:guide>
        <p15:guide id="2" pos="224">
          <p15:clr>
            <a:srgbClr val="F26B43"/>
          </p15:clr>
        </p15:guide>
        <p15:guide id="3" pos="7443">
          <p15:clr>
            <a:srgbClr val="F26B43"/>
          </p15:clr>
        </p15:guide>
        <p15:guide id="4" pos="3840">
          <p15:clr>
            <a:srgbClr val="F26B43"/>
          </p15:clr>
        </p15:guide>
        <p15:guide id="5" orient="horz" pos="2160">
          <p15:clr>
            <a:srgbClr val="F26B43"/>
          </p15:clr>
        </p15:guide>
        <p15:guide id="6" orient="horz" pos="4224">
          <p15:clr>
            <a:srgbClr val="F26B43"/>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Rectangle 11"/>
          <p:cNvSpPr/>
          <p:nvPr userDrawn="1"/>
        </p:nvSpPr>
        <p:spPr>
          <a:xfrm>
            <a:off x="0" y="0"/>
            <a:ext cx="12192000" cy="1085088"/>
          </a:xfrm>
          <a:prstGeom prst="rect">
            <a:avLst/>
          </a:prstGeom>
          <a:solidFill>
            <a:srgbClr val="E8E8E8">
              <a:alpha val="9764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14" name="Text Placeholder 2"/>
          <p:cNvSpPr>
            <a:spLocks noGrp="1"/>
          </p:cNvSpPr>
          <p:nvPr>
            <p:ph type="body" idx="1"/>
          </p:nvPr>
        </p:nvSpPr>
        <p:spPr>
          <a:xfrm>
            <a:off x="524256" y="1341440"/>
            <a:ext cx="11161776" cy="4716461"/>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0449026"/>
      </p:ext>
    </p:extLst>
  </p:cSld>
  <p:clrMap bg1="lt1" tx1="dk1" bg2="lt2" tx2="dk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 id="2147484089" r:id="rId11"/>
    <p:sldLayoutId id="2147484090" r:id="rId12"/>
    <p:sldLayoutId id="2147484091" r:id="rId13"/>
    <p:sldLayoutId id="2147484092" r:id="rId14"/>
    <p:sldLayoutId id="2147484093" r:id="rId15"/>
    <p:sldLayoutId id="2147484094" r:id="rId16"/>
    <p:sldLayoutId id="2147484095" r:id="rId17"/>
    <p:sldLayoutId id="2147484096" r:id="rId18"/>
    <p:sldLayoutId id="2147484097" r:id="rId19"/>
    <p:sldLayoutId id="2147484098" r:id="rId20"/>
    <p:sldLayoutId id="2147484099" r:id="rId21"/>
    <p:sldLayoutId id="2147484100" r:id="rId22"/>
    <p:sldLayoutId id="2147484101" r:id="rId23"/>
    <p:sldLayoutId id="2147484102" r:id="rId24"/>
    <p:sldLayoutId id="2147484103" r:id="rId25"/>
    <p:sldLayoutId id="2147484104" r:id="rId26"/>
    <p:sldLayoutId id="2147484105" r:id="rId27"/>
    <p:sldLayoutId id="2147484106" r:id="rId28"/>
    <p:sldLayoutId id="2147484107" r:id="rId29"/>
    <p:sldLayoutId id="2147484108" r:id="rId30"/>
    <p:sldLayoutId id="2147484109" r:id="rId31"/>
    <p:sldLayoutId id="2147484110" r:id="rId32"/>
    <p:sldLayoutId id="2147484111" r:id="rId33"/>
    <p:sldLayoutId id="2147484112" r:id="rId34"/>
    <p:sldLayoutId id="2147484113" r:id="rId35"/>
    <p:sldLayoutId id="2147484114" r:id="rId36"/>
    <p:sldLayoutId id="2147484115" r:id="rId37"/>
    <p:sldLayoutId id="2147484116" r:id="rId38"/>
    <p:sldLayoutId id="2147484117" r:id="rId39"/>
    <p:sldLayoutId id="2147484118" r:id="rId40"/>
    <p:sldLayoutId id="2147484119" r:id="rId41"/>
    <p:sldLayoutId id="2147484120" r:id="rId42"/>
    <p:sldLayoutId id="2147484121" r:id="rId43"/>
    <p:sldLayoutId id="2147484122" r:id="rId44"/>
  </p:sldLayoutIdLst>
  <p:txStyles>
    <p:titleStyle>
      <a:lvl1pPr algn="l" defTabSz="914400" rtl="0" eaLnBrk="1" latinLnBrk="0" hangingPunct="1">
        <a:lnSpc>
          <a:spcPct val="100000"/>
        </a:lnSpc>
        <a:spcBef>
          <a:spcPct val="0"/>
        </a:spcBef>
        <a:buNone/>
        <a:defRPr sz="3600" kern="1200" cap="none" baseline="0">
          <a:solidFill>
            <a:schemeClr val="bg1"/>
          </a:solidFill>
          <a:latin typeface="+mj-lt"/>
          <a:ea typeface="+mj-ea"/>
          <a:cs typeface="+mj-cs"/>
        </a:defRPr>
      </a:lvl1pPr>
    </p:titleStyle>
    <p:bodyStyle>
      <a:lvl1pPr marL="0" indent="0" algn="l" defTabSz="914400" rtl="0" eaLnBrk="1" latinLnBrk="0" hangingPunct="1">
        <a:lnSpc>
          <a:spcPct val="120000"/>
        </a:lnSpc>
        <a:spcBef>
          <a:spcPts val="0"/>
        </a:spcBef>
        <a:spcAft>
          <a:spcPts val="1800"/>
        </a:spcAft>
        <a:buFontTx/>
        <a:buNone/>
        <a:defRPr sz="2000" b="1" kern="1200">
          <a:solidFill>
            <a:schemeClr val="tx1"/>
          </a:solidFill>
          <a:latin typeface="Arial" panose="020B0604020202020204" pitchFamily="34" charset="0"/>
          <a:ea typeface="+mn-ea"/>
          <a:cs typeface="Arial" panose="020B0604020202020204" pitchFamily="34" charset="0"/>
        </a:defRPr>
      </a:lvl1pPr>
      <a:lvl2pPr marL="360000" indent="-180000" algn="l" defTabSz="914400" rtl="0" eaLnBrk="1" latinLnBrk="0" hangingPunct="1">
        <a:lnSpc>
          <a:spcPct val="120000"/>
        </a:lnSpc>
        <a:spcBef>
          <a:spcPts val="0"/>
        </a:spcBef>
        <a:spcAft>
          <a:spcPts val="600"/>
        </a:spcAft>
        <a:buClr>
          <a:schemeClr val="accent2"/>
        </a:buClr>
        <a:buFont typeface="Wingdings" panose="05000000000000000000" pitchFamily="2" charset="2"/>
        <a:buChar char="§"/>
        <a:defRPr sz="2000" kern="1200">
          <a:solidFill>
            <a:schemeClr val="tx1"/>
          </a:solidFill>
          <a:latin typeface="Arial" panose="020B0604020202020204" pitchFamily="34" charset="0"/>
          <a:ea typeface="+mn-ea"/>
          <a:cs typeface="Arial" panose="020B0604020202020204" pitchFamily="34" charset="0"/>
        </a:defRPr>
      </a:lvl2pPr>
      <a:lvl3pPr marL="540000" indent="-180000" algn="l" defTabSz="914400" rtl="0" eaLnBrk="1" latinLnBrk="0" hangingPunct="1">
        <a:lnSpc>
          <a:spcPct val="120000"/>
        </a:lnSpc>
        <a:spcBef>
          <a:spcPts val="0"/>
        </a:spcBef>
        <a:spcAft>
          <a:spcPts val="600"/>
        </a:spcAft>
        <a:buClr>
          <a:schemeClr val="accent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720000" indent="-180000" algn="l" defTabSz="914400" rtl="0" eaLnBrk="1" latinLnBrk="0" hangingPunct="1">
        <a:lnSpc>
          <a:spcPct val="120000"/>
        </a:lnSpc>
        <a:spcBef>
          <a:spcPts val="0"/>
        </a:spcBef>
        <a:spcAft>
          <a:spcPts val="600"/>
        </a:spcAft>
        <a:buClr>
          <a:schemeClr val="accent2"/>
        </a:buClr>
        <a:buFont typeface="Arial" panose="02000506030000020004" pitchFamily="50" charset="0"/>
        <a:buChar char="-"/>
        <a:defRPr sz="1600" kern="1200">
          <a:solidFill>
            <a:schemeClr val="tx1"/>
          </a:solidFill>
          <a:latin typeface="Arial" panose="020B0604020202020204" pitchFamily="34" charset="0"/>
          <a:ea typeface="+mn-ea"/>
          <a:cs typeface="Arial" panose="020B0604020202020204" pitchFamily="34" charset="0"/>
        </a:defRPr>
      </a:lvl4pPr>
      <a:lvl5pPr marL="900000" indent="-180000" algn="l" defTabSz="914400" rtl="0" eaLnBrk="1" latinLnBrk="0" hangingPunct="1">
        <a:lnSpc>
          <a:spcPct val="120000"/>
        </a:lnSpc>
        <a:spcBef>
          <a:spcPts val="0"/>
        </a:spcBef>
        <a:spcAft>
          <a:spcPts val="600"/>
        </a:spcAft>
        <a:buClr>
          <a:schemeClr val="accent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53">
          <p15:clr>
            <a:srgbClr val="F26B43"/>
          </p15:clr>
        </p15:guide>
        <p15:guide id="2" orient="horz" pos="663">
          <p15:clr>
            <a:srgbClr val="F26B43"/>
          </p15:clr>
        </p15:guide>
        <p15:guide id="3" pos="7227">
          <p15:clr>
            <a:srgbClr val="F26B43"/>
          </p15:clr>
        </p15:guide>
        <p15:guide id="4" orient="horz" pos="3816">
          <p15:clr>
            <a:srgbClr val="F26B43"/>
          </p15:clr>
        </p15:guide>
        <p15:guide id="5" orient="horz" pos="845">
          <p15:clr>
            <a:srgbClr val="F26B43"/>
          </p15:clr>
        </p15:guide>
        <p15:guide id="6" orient="horz" pos="595">
          <p15:clr>
            <a:srgbClr val="F26B43"/>
          </p15:clr>
        </p15:guide>
        <p15:guide id="7" orient="horz" pos="73">
          <p15:clr>
            <a:srgbClr val="F26B43"/>
          </p15:clr>
        </p15:guide>
        <p15:guide id="8" orient="horz" pos="113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4">
            <a:extLst>
              <a:ext uri="{28A0092B-C50C-407E-A947-70E740481C1C}">
                <a14:useLocalDpi xmlns:a14="http://schemas.microsoft.com/office/drawing/2010/main"/>
              </a:ext>
            </a:extLst>
          </a:blip>
          <a:stretch>
            <a:fillRect/>
          </a:stretch>
        </p:blipFill>
        <p:spPr>
          <a:xfrm>
            <a:off x="0" y="0"/>
            <a:ext cx="12188952" cy="6856286"/>
          </a:xfrm>
          <a:prstGeom prst="rect">
            <a:avLst/>
          </a:prstGeom>
        </p:spPr>
      </p:pic>
      <p:sp>
        <p:nvSpPr>
          <p:cNvPr id="2" name="Title Placeholder 1"/>
          <p:cNvSpPr>
            <a:spLocks noGrp="1"/>
          </p:cNvSpPr>
          <p:nvPr>
            <p:ph type="title"/>
          </p:nvPr>
        </p:nvSpPr>
        <p:spPr>
          <a:xfrm>
            <a:off x="838200" y="1"/>
            <a:ext cx="10515600" cy="1144588"/>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383737"/>
            <a:ext cx="10515600" cy="4800600"/>
          </a:xfrm>
          <a:prstGeom prst="rect">
            <a:avLst/>
          </a:prstGeom>
        </p:spPr>
        <p:txBody>
          <a:bodyPr vert="horz" lIns="91440" tIns="45720" rIns="91440" bIns="45720" rtlCol="0">
            <a:normAutofit/>
          </a:body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charset="0"/>
                <a:ea typeface="Arial" charset="0"/>
                <a:cs typeface="Arial" charset="0"/>
              </a:defRPr>
            </a:lvl1pPr>
          </a:lstStyle>
          <a:p>
            <a:fld id="{5916FF65-E16B-BA4F-9591-6B4416106527}" type="datetimeFigureOut">
              <a:rPr lang="en-US" smtClean="0"/>
              <a:pPr/>
              <a:t>4/24/2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charset="0"/>
                <a:ea typeface="Arial" charset="0"/>
                <a:cs typeface="Arial" charset="0"/>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charset="0"/>
                <a:ea typeface="Arial" charset="0"/>
                <a:cs typeface="Arial" charset="0"/>
              </a:defRPr>
            </a:lvl1pPr>
          </a:lstStyle>
          <a:p>
            <a:fld id="{BB442168-F8B8-B34D-83CF-DF309AC8169E}" type="slidenum">
              <a:rPr lang="en-US" smtClean="0"/>
              <a:pPr/>
              <a:t>‹#›</a:t>
            </a:fld>
            <a:endParaRPr lang="en-US"/>
          </a:p>
        </p:txBody>
      </p:sp>
    </p:spTree>
    <p:extLst>
      <p:ext uri="{BB962C8B-B14F-4D97-AF65-F5344CB8AC3E}">
        <p14:creationId xmlns:p14="http://schemas.microsoft.com/office/powerpoint/2010/main" val="4047470890"/>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914400" rtl="0" eaLnBrk="1" latinLnBrk="0" hangingPunct="1">
        <a:lnSpc>
          <a:spcPct val="90000"/>
        </a:lnSpc>
        <a:spcBef>
          <a:spcPct val="0"/>
        </a:spcBef>
        <a:buNone/>
        <a:defRPr sz="3600" b="1" kern="1200">
          <a:solidFill>
            <a:srgbClr val="002656"/>
          </a:solidFill>
          <a:latin typeface="Arial" charset="0"/>
          <a:ea typeface="Arial" charset="0"/>
          <a:cs typeface="Arial" charset="0"/>
        </a:defRPr>
      </a:lvl1pPr>
    </p:titleStyle>
    <p:bodyStyle>
      <a:lvl1pPr marL="228600" indent="-228600" algn="l" defTabSz="914400" rtl="0" eaLnBrk="1" latinLnBrk="0" hangingPunct="1">
        <a:lnSpc>
          <a:spcPct val="90000"/>
        </a:lnSpc>
        <a:spcBef>
          <a:spcPts val="1000"/>
        </a:spcBef>
        <a:buFont typeface="Arial"/>
        <a:buChar char="•"/>
        <a:defRPr sz="2800" kern="1200">
          <a:solidFill>
            <a:srgbClr val="505153"/>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a:buChar char="•"/>
        <a:defRPr sz="2400" kern="1200">
          <a:solidFill>
            <a:srgbClr val="505153"/>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Arial"/>
        <a:buChar char="•"/>
        <a:defRPr sz="2000" kern="1200">
          <a:solidFill>
            <a:srgbClr val="505153"/>
          </a:solidFill>
          <a:latin typeface="Arial" charset="0"/>
          <a:ea typeface="Arial" charset="0"/>
          <a:cs typeface="Arial" charset="0"/>
        </a:defRPr>
      </a:lvl3pPr>
      <a:lvl4pPr marL="1600200" indent="-228600" algn="l" defTabSz="914400" rtl="0" eaLnBrk="1" latinLnBrk="0" hangingPunct="1">
        <a:lnSpc>
          <a:spcPct val="90000"/>
        </a:lnSpc>
        <a:spcBef>
          <a:spcPts val="500"/>
        </a:spcBef>
        <a:buFont typeface="Arial"/>
        <a:buChar char="•"/>
        <a:defRPr sz="1800" kern="1200">
          <a:solidFill>
            <a:srgbClr val="505153"/>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a:buChar char="•"/>
        <a:defRPr sz="1800" kern="1200">
          <a:solidFill>
            <a:srgbClr val="505153"/>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8951" y="349250"/>
            <a:ext cx="11216216" cy="1022351"/>
          </a:xfrm>
          <a:prstGeom prst="rect">
            <a:avLst/>
          </a:prstGeom>
        </p:spPr>
        <p:txBody>
          <a:bodyPr vert="horz" lIns="0" tIns="0" rIns="0" bIns="22860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488951" y="1600201"/>
            <a:ext cx="11216216" cy="4762500"/>
          </a:xfrm>
          <a:prstGeom prst="rect">
            <a:avLst/>
          </a:prstGeom>
        </p:spPr>
        <p:txBody>
          <a:bodyPr vert="horz" lIns="0" tIns="0" rIns="0" bIns="0" rtlCol="0">
            <a:noAutofit/>
          </a:bodyPr>
          <a:lstStyle/>
          <a:p>
            <a:pPr lvl="0"/>
            <a:r>
              <a:rPr lang="en-US" dirty="0"/>
              <a:t>Edit Master text styles </a:t>
            </a:r>
          </a:p>
          <a:p>
            <a:pPr lvl="1"/>
            <a:r>
              <a:rPr lang="en-US" dirty="0"/>
              <a:t>Second level</a:t>
            </a:r>
          </a:p>
          <a:p>
            <a:pPr lvl="2"/>
            <a:r>
              <a:rPr lang="en-US" dirty="0"/>
              <a:t>Third level</a:t>
            </a:r>
          </a:p>
          <a:p>
            <a:pPr lvl="3"/>
            <a:r>
              <a:rPr lang="en-US" dirty="0"/>
              <a:t>Fourth level</a:t>
            </a:r>
          </a:p>
          <a:p>
            <a:pPr lvl="4"/>
            <a:r>
              <a:rPr lang="en-US" dirty="0"/>
              <a:t>Fifth level</a:t>
            </a:r>
          </a:p>
          <a:p>
            <a:pPr lvl="4"/>
            <a:endParaRPr lang="en-US" dirty="0"/>
          </a:p>
        </p:txBody>
      </p:sp>
      <p:sp>
        <p:nvSpPr>
          <p:cNvPr id="4" name="Date Placeholder 3"/>
          <p:cNvSpPr>
            <a:spLocks noGrp="1"/>
          </p:cNvSpPr>
          <p:nvPr>
            <p:ph type="dt" sz="half" idx="2"/>
          </p:nvPr>
        </p:nvSpPr>
        <p:spPr>
          <a:xfrm>
            <a:off x="10269464" y="6492767"/>
            <a:ext cx="1011313" cy="208759"/>
          </a:xfrm>
          <a:prstGeom prst="rect">
            <a:avLst/>
          </a:prstGeom>
        </p:spPr>
        <p:txBody>
          <a:bodyPr vert="horz" lIns="0" tIns="0" rIns="0" bIns="0" rtlCol="0" anchor="b" anchorCtr="0"/>
          <a:lstStyle>
            <a:lvl1pPr algn="r">
              <a:defRPr sz="800" b="0" i="0">
                <a:solidFill>
                  <a:schemeClr val="bg1"/>
                </a:solidFill>
                <a:latin typeface="+mn-lt"/>
                <a:ea typeface="Corbel" charset="0"/>
                <a:cs typeface="Corbel" charset="0"/>
              </a:defRPr>
            </a:lvl1pPr>
            <a:lvl2pPr marL="0" algn="r">
              <a:defRPr sz="800">
                <a:solidFill>
                  <a:schemeClr val="bg1"/>
                </a:solidFill>
                <a:latin typeface="+mn-lt"/>
                <a:ea typeface="Corbel" charset="0"/>
                <a:cs typeface="Corbel" charset="0"/>
              </a:defRPr>
            </a:lvl2pPr>
            <a:lvl3pPr marL="0" algn="r">
              <a:defRPr sz="800">
                <a:solidFill>
                  <a:schemeClr val="bg1"/>
                </a:solidFill>
                <a:latin typeface="+mn-lt"/>
                <a:ea typeface="Corbel" charset="0"/>
                <a:cs typeface="Corbel" charset="0"/>
              </a:defRPr>
            </a:lvl3pPr>
            <a:lvl4pPr marL="0" algn="r">
              <a:defRPr sz="800">
                <a:solidFill>
                  <a:schemeClr val="bg1"/>
                </a:solidFill>
                <a:latin typeface="+mn-lt"/>
                <a:ea typeface="Corbel" charset="0"/>
                <a:cs typeface="Corbel" charset="0"/>
              </a:defRPr>
            </a:lvl4pPr>
            <a:lvl5pPr marL="0" algn="r">
              <a:defRPr sz="800">
                <a:solidFill>
                  <a:schemeClr val="bg1"/>
                </a:solidFill>
                <a:latin typeface="+mn-lt"/>
                <a:ea typeface="Corbel" charset="0"/>
                <a:cs typeface="Corbel" charset="0"/>
              </a:defRPr>
            </a:lvl5pPr>
            <a:lvl6pPr marL="0" algn="r">
              <a:defRPr sz="800">
                <a:solidFill>
                  <a:schemeClr val="bg1"/>
                </a:solidFill>
                <a:latin typeface="+mn-lt"/>
                <a:ea typeface="Corbel" charset="0"/>
                <a:cs typeface="Corbel" charset="0"/>
              </a:defRPr>
            </a:lvl6pPr>
            <a:lvl7pPr marL="0" algn="r">
              <a:defRPr sz="800">
                <a:solidFill>
                  <a:schemeClr val="bg1"/>
                </a:solidFill>
                <a:latin typeface="+mn-lt"/>
                <a:ea typeface="Corbel" charset="0"/>
                <a:cs typeface="Corbel" charset="0"/>
              </a:defRPr>
            </a:lvl7pPr>
            <a:lvl8pPr marL="0" algn="r">
              <a:defRPr sz="800">
                <a:solidFill>
                  <a:schemeClr val="bg1"/>
                </a:solidFill>
                <a:latin typeface="+mn-lt"/>
                <a:ea typeface="Corbel" charset="0"/>
                <a:cs typeface="Corbel" charset="0"/>
              </a:defRPr>
            </a:lvl8pPr>
            <a:lvl9pPr marL="0" algn="r">
              <a:defRPr sz="800">
                <a:solidFill>
                  <a:schemeClr val="bg1"/>
                </a:solidFill>
                <a:latin typeface="+mn-lt"/>
                <a:ea typeface="Corbel" charset="0"/>
                <a:cs typeface="Corbel" charset="0"/>
              </a:defRPr>
            </a:lvl9pPr>
          </a:lstStyle>
          <a:p>
            <a:r>
              <a:rPr lang="en-US"/>
              <a:t>February 5, 2026</a:t>
            </a:r>
            <a:endParaRPr lang="en-US" dirty="0"/>
          </a:p>
        </p:txBody>
      </p:sp>
      <p:sp>
        <p:nvSpPr>
          <p:cNvPr id="5" name="Footer Placeholder 4"/>
          <p:cNvSpPr>
            <a:spLocks noGrp="1"/>
          </p:cNvSpPr>
          <p:nvPr>
            <p:ph type="ftr" sz="quarter" idx="3"/>
          </p:nvPr>
        </p:nvSpPr>
        <p:spPr>
          <a:xfrm>
            <a:off x="491069" y="6496842"/>
            <a:ext cx="4815417" cy="208759"/>
          </a:xfrm>
          <a:prstGeom prst="rect">
            <a:avLst/>
          </a:prstGeom>
        </p:spPr>
        <p:txBody>
          <a:bodyPr vert="horz" lIns="0" tIns="0" rIns="0" bIns="0" rtlCol="0" anchor="b" anchorCtr="0"/>
          <a:lstStyle>
            <a:lvl1pPr marL="0" indent="9525" algn="l">
              <a:tabLst/>
              <a:defRPr sz="800" b="0" i="0">
                <a:solidFill>
                  <a:schemeClr val="bg1"/>
                </a:solidFill>
                <a:latin typeface="+mn-lt"/>
                <a:ea typeface="Corbel" charset="0"/>
                <a:cs typeface="Corbel" charset="0"/>
              </a:defRPr>
            </a:lvl1pPr>
            <a:lvl2pPr marL="0" indent="9525" algn="l">
              <a:tabLst/>
              <a:defRPr sz="800">
                <a:solidFill>
                  <a:schemeClr val="bg1"/>
                </a:solidFill>
                <a:latin typeface="+mn-lt"/>
                <a:ea typeface="Corbel" charset="0"/>
                <a:cs typeface="Corbel" charset="0"/>
              </a:defRPr>
            </a:lvl2pPr>
            <a:lvl3pPr marL="0" indent="9525" algn="l">
              <a:tabLst/>
              <a:defRPr sz="800">
                <a:solidFill>
                  <a:schemeClr val="bg1"/>
                </a:solidFill>
                <a:latin typeface="+mn-lt"/>
                <a:ea typeface="Corbel" charset="0"/>
                <a:cs typeface="Corbel" charset="0"/>
              </a:defRPr>
            </a:lvl3pPr>
            <a:lvl4pPr marL="0" indent="9525" algn="l">
              <a:tabLst/>
              <a:defRPr sz="800">
                <a:solidFill>
                  <a:schemeClr val="bg1"/>
                </a:solidFill>
                <a:latin typeface="+mn-lt"/>
                <a:ea typeface="Corbel" charset="0"/>
                <a:cs typeface="Corbel" charset="0"/>
              </a:defRPr>
            </a:lvl4pPr>
            <a:lvl5pPr marL="0" indent="9525" algn="l">
              <a:tabLst/>
              <a:defRPr sz="800">
                <a:solidFill>
                  <a:schemeClr val="bg1"/>
                </a:solidFill>
                <a:latin typeface="+mn-lt"/>
                <a:ea typeface="Corbel" charset="0"/>
                <a:cs typeface="Corbel" charset="0"/>
              </a:defRPr>
            </a:lvl5pPr>
            <a:lvl6pPr marL="0" indent="9525" algn="l">
              <a:tabLst/>
              <a:defRPr sz="800">
                <a:solidFill>
                  <a:schemeClr val="bg1"/>
                </a:solidFill>
                <a:latin typeface="+mn-lt"/>
                <a:ea typeface="Corbel" charset="0"/>
                <a:cs typeface="Corbel" charset="0"/>
              </a:defRPr>
            </a:lvl6pPr>
            <a:lvl7pPr marL="0" indent="9525" algn="l">
              <a:tabLst/>
              <a:defRPr sz="800">
                <a:solidFill>
                  <a:schemeClr val="bg1"/>
                </a:solidFill>
                <a:latin typeface="+mn-lt"/>
                <a:ea typeface="Corbel" charset="0"/>
                <a:cs typeface="Corbel" charset="0"/>
              </a:defRPr>
            </a:lvl7pPr>
            <a:lvl8pPr marL="0" indent="9525" algn="l">
              <a:tabLst/>
              <a:defRPr sz="800">
                <a:solidFill>
                  <a:schemeClr val="bg1"/>
                </a:solidFill>
                <a:latin typeface="+mn-lt"/>
                <a:ea typeface="Corbel" charset="0"/>
                <a:cs typeface="Corbel" charset="0"/>
              </a:defRPr>
            </a:lvl8pPr>
            <a:lvl9pPr marL="0" indent="9525" algn="l">
              <a:tabLst/>
              <a:defRPr sz="800">
                <a:solidFill>
                  <a:schemeClr val="bg1"/>
                </a:solidFill>
                <a:latin typeface="+mn-lt"/>
                <a:ea typeface="Corbel" charset="0"/>
                <a:cs typeface="Corbel" charset="0"/>
              </a:defRPr>
            </a:lvl9pPr>
          </a:lstStyle>
          <a:p>
            <a:r>
              <a:rPr lang="en-US"/>
              <a:t>CAR T in BCL</a:t>
            </a:r>
            <a:endParaRPr lang="en-US" dirty="0"/>
          </a:p>
        </p:txBody>
      </p:sp>
      <p:sp>
        <p:nvSpPr>
          <p:cNvPr id="6" name="Slide Number Placeholder 5"/>
          <p:cNvSpPr>
            <a:spLocks noGrp="1"/>
          </p:cNvSpPr>
          <p:nvPr>
            <p:ph type="sldNum" sz="quarter" idx="4"/>
          </p:nvPr>
        </p:nvSpPr>
        <p:spPr>
          <a:xfrm>
            <a:off x="11280775" y="6492767"/>
            <a:ext cx="424392" cy="208759"/>
          </a:xfrm>
          <a:prstGeom prst="rect">
            <a:avLst/>
          </a:prstGeom>
        </p:spPr>
        <p:txBody>
          <a:bodyPr vert="horz" lIns="0" tIns="0" rIns="0" bIns="0" rtlCol="0" anchor="b" anchorCtr="0"/>
          <a:lstStyle>
            <a:lvl1pPr algn="r">
              <a:defRPr sz="800" b="0">
                <a:solidFill>
                  <a:schemeClr val="bg1"/>
                </a:solidFill>
                <a:latin typeface="+mn-lt"/>
                <a:ea typeface="Corbel" charset="0"/>
                <a:cs typeface="Corbel" charset="0"/>
              </a:defRPr>
            </a:lvl1pPr>
            <a:lvl2pPr marL="0" algn="r">
              <a:defRPr sz="800" b="0">
                <a:solidFill>
                  <a:schemeClr val="bg1"/>
                </a:solidFill>
                <a:latin typeface="+mn-lt"/>
                <a:ea typeface="Corbel" charset="0"/>
                <a:cs typeface="Corbel" charset="0"/>
              </a:defRPr>
            </a:lvl2pPr>
            <a:lvl3pPr marL="0" algn="r">
              <a:defRPr sz="800" b="0">
                <a:solidFill>
                  <a:schemeClr val="bg1"/>
                </a:solidFill>
                <a:latin typeface="+mn-lt"/>
                <a:ea typeface="Corbel" charset="0"/>
                <a:cs typeface="Corbel" charset="0"/>
              </a:defRPr>
            </a:lvl3pPr>
            <a:lvl4pPr marL="0" algn="r">
              <a:defRPr sz="800" b="0">
                <a:solidFill>
                  <a:schemeClr val="bg1"/>
                </a:solidFill>
                <a:latin typeface="+mn-lt"/>
                <a:ea typeface="Corbel" charset="0"/>
                <a:cs typeface="Corbel" charset="0"/>
              </a:defRPr>
            </a:lvl4pPr>
            <a:lvl5pPr marL="0" algn="r">
              <a:defRPr sz="800" b="0">
                <a:solidFill>
                  <a:schemeClr val="bg1"/>
                </a:solidFill>
                <a:latin typeface="+mn-lt"/>
                <a:ea typeface="Corbel" charset="0"/>
                <a:cs typeface="Corbel" charset="0"/>
              </a:defRPr>
            </a:lvl5pPr>
            <a:lvl6pPr marL="0" algn="r">
              <a:defRPr sz="800" b="0">
                <a:solidFill>
                  <a:schemeClr val="bg1"/>
                </a:solidFill>
                <a:latin typeface="+mn-lt"/>
                <a:ea typeface="Corbel" charset="0"/>
                <a:cs typeface="Corbel" charset="0"/>
              </a:defRPr>
            </a:lvl6pPr>
            <a:lvl7pPr marL="0" algn="r">
              <a:defRPr sz="800" b="0">
                <a:solidFill>
                  <a:schemeClr val="bg1"/>
                </a:solidFill>
                <a:latin typeface="+mn-lt"/>
                <a:ea typeface="Corbel" charset="0"/>
                <a:cs typeface="Corbel" charset="0"/>
              </a:defRPr>
            </a:lvl7pPr>
            <a:lvl8pPr marL="0" algn="r">
              <a:defRPr sz="800" b="0">
                <a:solidFill>
                  <a:schemeClr val="bg1"/>
                </a:solidFill>
                <a:latin typeface="+mn-lt"/>
                <a:ea typeface="Corbel" charset="0"/>
                <a:cs typeface="Corbel" charset="0"/>
              </a:defRPr>
            </a:lvl8pPr>
            <a:lvl9pPr marL="0" algn="r">
              <a:defRPr sz="800" b="0" i="0">
                <a:solidFill>
                  <a:schemeClr val="bg1"/>
                </a:solidFill>
                <a:latin typeface="+mn-lt"/>
                <a:ea typeface="Corbel" charset="0"/>
                <a:cs typeface="Corbel" charset="0"/>
              </a:defRPr>
            </a:lvl9pPr>
          </a:lstStyle>
          <a:p>
            <a:pPr lvl="8"/>
            <a:fld id="{63DCA5C9-2E11-4C67-86EB-AE1DE127DC64}" type="slidenum">
              <a:rPr lang="en-US" smtClean="0"/>
              <a:pPr lvl="8"/>
              <a:t>‹#›</a:t>
            </a:fld>
            <a:endParaRPr lang="en-US" dirty="0"/>
          </a:p>
        </p:txBody>
      </p:sp>
    </p:spTree>
    <p:extLst>
      <p:ext uri="{BB962C8B-B14F-4D97-AF65-F5344CB8AC3E}">
        <p14:creationId xmlns:p14="http://schemas.microsoft.com/office/powerpoint/2010/main" val="679739404"/>
      </p:ext>
    </p:extLst>
  </p:cSld>
  <p:clrMap bg1="lt1" tx1="dk1" bg2="lt2" tx2="dk2" accent1="accent1" accent2="accent2" accent3="accent3" accent4="accent4" accent5="accent5" accent6="accent6" hlink="hlink" folHlink="folHlink"/>
  <p:sldLayoutIdLst>
    <p:sldLayoutId id="2147484124" r:id="rId1"/>
    <p:sldLayoutId id="2147484125" r:id="rId2"/>
    <p:sldLayoutId id="2147484126" r:id="rId3"/>
    <p:sldLayoutId id="2147484127" r:id="rId4"/>
    <p:sldLayoutId id="2147484128" r:id="rId5"/>
    <p:sldLayoutId id="2147484129" r:id="rId6"/>
    <p:sldLayoutId id="2147484130" r:id="rId7"/>
    <p:sldLayoutId id="2147484131" r:id="rId8"/>
    <p:sldLayoutId id="2147484132" r:id="rId9"/>
    <p:sldLayoutId id="2147484133" r:id="rId10"/>
    <p:sldLayoutId id="2147484134" r:id="rId11"/>
    <p:sldLayoutId id="2147484135" r:id="rId12"/>
    <p:sldLayoutId id="2147484136" r:id="rId13"/>
    <p:sldLayoutId id="2147484137" r:id="rId14"/>
    <p:sldLayoutId id="2147484138" r:id="rId15"/>
    <p:sldLayoutId id="2147484139" r:id="rId16"/>
    <p:sldLayoutId id="2147484140" r:id="rId17"/>
    <p:sldLayoutId id="2147484141" r:id="rId18"/>
    <p:sldLayoutId id="2147484142" r:id="rId19"/>
    <p:sldLayoutId id="2147484143" r:id="rId20"/>
    <p:sldLayoutId id="2147484144" r:id="rId21"/>
    <p:sldLayoutId id="2147484145" r:id="rId22"/>
    <p:sldLayoutId id="2147484146" r:id="rId23"/>
    <p:sldLayoutId id="2147484147" r:id="rId24"/>
    <p:sldLayoutId id="2147484148" r:id="rId25"/>
    <p:sldLayoutId id="2147484149" r:id="rId26"/>
    <p:sldLayoutId id="2147484150" r:id="rId27"/>
    <p:sldLayoutId id="2147484151" r:id="rId28"/>
    <p:sldLayoutId id="2147484152" r:id="rId29"/>
    <p:sldLayoutId id="2147484153" r:id="rId30"/>
    <p:sldLayoutId id="2147484154" r:id="rId31"/>
    <p:sldLayoutId id="2147484155" r:id="rId32"/>
    <p:sldLayoutId id="2147484156" r:id="rId33"/>
    <p:sldLayoutId id="2147484157" r:id="rId34"/>
    <p:sldLayoutId id="2147484158" r:id="rId35"/>
    <p:sldLayoutId id="2147484194" r:id="rId36"/>
  </p:sldLayoutIdLst>
  <p:hf hdr="0"/>
  <p:txStyles>
    <p:titleStyle>
      <a:lvl1pPr algn="l" defTabSz="914377" rtl="0" eaLnBrk="1" latinLnBrk="0" hangingPunct="1">
        <a:lnSpc>
          <a:spcPct val="90000"/>
        </a:lnSpc>
        <a:spcBef>
          <a:spcPct val="0"/>
        </a:spcBef>
        <a:buNone/>
        <a:defRPr sz="2800" b="0" i="0" kern="1200">
          <a:solidFill>
            <a:srgbClr val="007CBA"/>
          </a:solidFill>
          <a:latin typeface="+mj-lt"/>
          <a:ea typeface="Georgia" charset="0"/>
          <a:cs typeface="Georgia" charset="0"/>
        </a:defRPr>
      </a:lvl1pPr>
    </p:titleStyle>
    <p:bodyStyle>
      <a:lvl1pPr marL="0" indent="0" algn="l" defTabSz="914377" rtl="0" eaLnBrk="1" latinLnBrk="0" hangingPunct="1">
        <a:lnSpc>
          <a:spcPts val="2100"/>
        </a:lnSpc>
        <a:spcBef>
          <a:spcPts val="0"/>
        </a:spcBef>
        <a:spcAft>
          <a:spcPts val="600"/>
        </a:spcAft>
        <a:buFont typeface="Arial" panose="020B0604020202020204" pitchFamily="34" charset="0"/>
        <a:buNone/>
        <a:defRPr sz="1800" b="0" i="0" kern="1200">
          <a:solidFill>
            <a:srgbClr val="333333"/>
          </a:solidFill>
          <a:latin typeface="+mn-lt"/>
          <a:ea typeface="Arial" charset="0"/>
          <a:cs typeface="Arial" charset="0"/>
        </a:defRPr>
      </a:lvl1pPr>
      <a:lvl2pPr marL="740645" indent="-282568" algn="l" defTabSz="914377" rtl="0" eaLnBrk="1" latinLnBrk="0" hangingPunct="1">
        <a:lnSpc>
          <a:spcPts val="2100"/>
        </a:lnSpc>
        <a:spcBef>
          <a:spcPts val="0"/>
        </a:spcBef>
        <a:spcAft>
          <a:spcPts val="900"/>
        </a:spcAft>
        <a:buFont typeface="Arial" panose="020B0604020202020204" pitchFamily="34" charset="0"/>
        <a:buChar char="•"/>
        <a:tabLst/>
        <a:defRPr sz="1800" b="0" i="0" kern="1200">
          <a:solidFill>
            <a:srgbClr val="333333"/>
          </a:solidFill>
          <a:latin typeface="+mn-lt"/>
          <a:ea typeface="Corbel" charset="0"/>
          <a:cs typeface="Corbel" charset="0"/>
        </a:defRPr>
      </a:lvl2pPr>
      <a:lvl3pPr marL="1197834" indent="-283457" algn="l" defTabSz="914377" rtl="0" eaLnBrk="1" latinLnBrk="0" hangingPunct="1">
        <a:lnSpc>
          <a:spcPts val="2100"/>
        </a:lnSpc>
        <a:spcBef>
          <a:spcPts val="0"/>
        </a:spcBef>
        <a:spcAft>
          <a:spcPts val="600"/>
        </a:spcAft>
        <a:buFont typeface="Arial" panose="020B0604020202020204" pitchFamily="34" charset="0"/>
        <a:buChar char="•"/>
        <a:tabLst/>
        <a:defRPr sz="1800" b="0" i="0" kern="1200">
          <a:solidFill>
            <a:srgbClr val="333333"/>
          </a:solidFill>
          <a:latin typeface="+mn-lt"/>
          <a:ea typeface="Corbel" charset="0"/>
          <a:cs typeface="Corbel" charset="0"/>
        </a:defRPr>
      </a:lvl3pPr>
      <a:lvl4pPr marL="1197834" indent="-283457" algn="l" defTabSz="914377" rtl="0" eaLnBrk="1" latinLnBrk="0" hangingPunct="1">
        <a:lnSpc>
          <a:spcPts val="2100"/>
        </a:lnSpc>
        <a:spcBef>
          <a:spcPts val="0"/>
        </a:spcBef>
        <a:spcAft>
          <a:spcPts val="600"/>
        </a:spcAft>
        <a:buFont typeface="Arial" charset="0"/>
        <a:buChar char="•"/>
        <a:tabLst/>
        <a:defRPr sz="1800" b="0" i="0" kern="1200">
          <a:solidFill>
            <a:srgbClr val="333333"/>
          </a:solidFill>
          <a:latin typeface="+mn-lt"/>
          <a:ea typeface="Corbel" charset="0"/>
          <a:cs typeface="Corbel" charset="0"/>
        </a:defRPr>
      </a:lvl4pPr>
      <a:lvl5pPr marL="1197834" indent="-283457" algn="l" defTabSz="914377" rtl="0" eaLnBrk="1" latinLnBrk="0" hangingPunct="1">
        <a:lnSpc>
          <a:spcPts val="2100"/>
        </a:lnSpc>
        <a:spcBef>
          <a:spcPts val="0"/>
        </a:spcBef>
        <a:spcAft>
          <a:spcPts val="600"/>
        </a:spcAft>
        <a:buFont typeface="Arial" charset="0"/>
        <a:buChar char="•"/>
        <a:tabLst/>
        <a:defRPr sz="1800" b="0" kern="1200">
          <a:solidFill>
            <a:srgbClr val="333333"/>
          </a:solidFill>
          <a:latin typeface="+mn-lt"/>
          <a:ea typeface="Corbel" charset="0"/>
          <a:cs typeface="Corbel" charset="0"/>
        </a:defRPr>
      </a:lvl5pPr>
      <a:lvl6pPr marL="1197834" indent="-283457" algn="l" defTabSz="914377" rtl="0" eaLnBrk="1" latinLnBrk="0" hangingPunct="1">
        <a:lnSpc>
          <a:spcPts val="2100"/>
        </a:lnSpc>
        <a:spcBef>
          <a:spcPts val="0"/>
        </a:spcBef>
        <a:spcAft>
          <a:spcPts val="600"/>
        </a:spcAft>
        <a:buFont typeface="Arial" charset="0"/>
        <a:buChar char="•"/>
        <a:tabLst/>
        <a:defRPr sz="1800" b="0" i="0" kern="1200">
          <a:solidFill>
            <a:srgbClr val="333333"/>
          </a:solidFill>
          <a:latin typeface="+mn-lt"/>
          <a:ea typeface="Corbel" charset="0"/>
          <a:cs typeface="Corbel" charset="0"/>
        </a:defRPr>
      </a:lvl6pPr>
      <a:lvl7pPr marL="1197834" indent="-283457" algn="l" defTabSz="914377" rtl="0" eaLnBrk="1" latinLnBrk="0" hangingPunct="1">
        <a:lnSpc>
          <a:spcPts val="2100"/>
        </a:lnSpc>
        <a:spcBef>
          <a:spcPts val="0"/>
        </a:spcBef>
        <a:spcAft>
          <a:spcPts val="600"/>
        </a:spcAft>
        <a:buFont typeface="Arial" charset="0"/>
        <a:buChar char="•"/>
        <a:tabLst/>
        <a:defRPr sz="1800" b="0" i="0" kern="1200">
          <a:solidFill>
            <a:srgbClr val="333333"/>
          </a:solidFill>
          <a:latin typeface="+mn-lt"/>
          <a:ea typeface="Corbel" charset="0"/>
          <a:cs typeface="Corbel" charset="0"/>
        </a:defRPr>
      </a:lvl7pPr>
      <a:lvl8pPr marL="1197834" indent="-283457" algn="l" defTabSz="914377" rtl="0" eaLnBrk="1" latinLnBrk="0" hangingPunct="1">
        <a:lnSpc>
          <a:spcPts val="2100"/>
        </a:lnSpc>
        <a:spcBef>
          <a:spcPts val="0"/>
        </a:spcBef>
        <a:spcAft>
          <a:spcPts val="600"/>
        </a:spcAft>
        <a:buFont typeface="Arial" charset="0"/>
        <a:buChar char="•"/>
        <a:tabLst/>
        <a:defRPr sz="1800" b="0" i="0" kern="1200">
          <a:solidFill>
            <a:srgbClr val="333333"/>
          </a:solidFill>
          <a:latin typeface="+mn-lt"/>
          <a:ea typeface="Corbel" charset="0"/>
          <a:cs typeface="Corbel" charset="0"/>
        </a:defRPr>
      </a:lvl8pPr>
      <a:lvl9pPr marL="1197834" indent="-283457" algn="l" defTabSz="914377" rtl="0" eaLnBrk="1" latinLnBrk="0" hangingPunct="1">
        <a:lnSpc>
          <a:spcPts val="2100"/>
        </a:lnSpc>
        <a:spcBef>
          <a:spcPts val="0"/>
        </a:spcBef>
        <a:spcAft>
          <a:spcPts val="600"/>
        </a:spcAft>
        <a:buFont typeface="Arial" charset="0"/>
        <a:buChar char="•"/>
        <a:tabLst/>
        <a:defRPr sz="1800" b="0" i="0" kern="1200">
          <a:solidFill>
            <a:srgbClr val="333333"/>
          </a:solidFill>
          <a:latin typeface="+mn-lt"/>
          <a:ea typeface="Corbel" charset="0"/>
          <a:cs typeface="Corbel" charset="0"/>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728">
          <p15:clr>
            <a:srgbClr val="F26B43"/>
          </p15:clr>
        </p15:guide>
        <p15:guide id="3" pos="309">
          <p15:clr>
            <a:srgbClr val="F26B43"/>
          </p15:clr>
        </p15:guide>
        <p15:guide id="8" pos="2531">
          <p15:clr>
            <a:srgbClr val="F26B43"/>
          </p15:clr>
        </p15:guide>
        <p15:guide id="12" pos="3840">
          <p15:clr>
            <a:srgbClr val="F26B43"/>
          </p15:clr>
        </p15:guide>
        <p15:guide id="13" pos="7373">
          <p15:clr>
            <a:srgbClr val="F26B43"/>
          </p15:clr>
        </p15:guide>
        <p15:guide id="15" pos="4955">
          <p15:clr>
            <a:srgbClr val="F26B43"/>
          </p15:clr>
        </p15:guide>
        <p15:guide id="16" pos="5147">
          <p15:clr>
            <a:srgbClr val="F26B43"/>
          </p15:clr>
        </p15:guide>
        <p15:guide id="23" orient="horz" pos="4224">
          <p15:clr>
            <a:srgbClr val="F26B43"/>
          </p15:clr>
        </p15:guide>
        <p15:guide id="24" orient="horz" pos="4008">
          <p15:clr>
            <a:srgbClr val="F26B43"/>
          </p15:clr>
        </p15:guide>
        <p15:guide id="25" orient="horz" pos="220">
          <p15:clr>
            <a:srgbClr val="F26B43"/>
          </p15:clr>
        </p15:guide>
        <p15:guide id="26" orient="horz" pos="1008">
          <p15:clr>
            <a:srgbClr val="F26B43"/>
          </p15:clr>
        </p15:guide>
        <p15:guide id="27" orient="horz" pos="864">
          <p15:clr>
            <a:srgbClr val="F26B43"/>
          </p15:clr>
        </p15:guide>
        <p15:guide id="28" orient="horz" pos="3864">
          <p15:clr>
            <a:srgbClr val="F26B43"/>
          </p15:clr>
        </p15:guide>
        <p15:guide id="29" pos="3936">
          <p15:clr>
            <a:srgbClr val="F26B43"/>
          </p15:clr>
        </p15:guide>
        <p15:guide id="30" pos="3744">
          <p15:clr>
            <a:srgbClr val="F26B43"/>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bwMode="auto">
          <a:xfrm>
            <a:off x="914400" y="279400"/>
            <a:ext cx="10566400"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150" tIns="45583" rIns="91150" bIns="45583" numCol="1" anchor="ctr" anchorCtr="0" compatLnSpc="1">
            <a:prstTxWarp prst="textNoShape">
              <a:avLst/>
            </a:prstTxWarp>
          </a:bodyPr>
          <a:lstStyle/>
          <a:p>
            <a:pPr lvl="0"/>
            <a:r>
              <a:rPr lang="en-US" altLang="fr-FR"/>
              <a:t>Click to edit Master title style</a:t>
            </a:r>
          </a:p>
        </p:txBody>
      </p:sp>
      <p:sp>
        <p:nvSpPr>
          <p:cNvPr id="5123" name="Rectangle 3"/>
          <p:cNvSpPr>
            <a:spLocks noGrp="1" noChangeArrowheads="1"/>
          </p:cNvSpPr>
          <p:nvPr>
            <p:ph type="body" idx="1"/>
          </p:nvPr>
        </p:nvSpPr>
        <p:spPr bwMode="auto">
          <a:xfrm>
            <a:off x="1007533" y="1676400"/>
            <a:ext cx="10270067" cy="441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150" tIns="45583" rIns="91150" bIns="45583" numCol="1" anchor="t" anchorCtr="0" compatLnSpc="1">
            <a:prstTxWarp prst="textNoShape">
              <a:avLst/>
            </a:prstTxWarp>
          </a:bodyPr>
          <a:lstStyle/>
          <a:p>
            <a:pPr lvl="0"/>
            <a:r>
              <a:rPr lang="en-US" altLang="fr-FR"/>
              <a:t>Click to edit Master text styles</a:t>
            </a:r>
          </a:p>
          <a:p>
            <a:pPr lvl="1"/>
            <a:r>
              <a:rPr lang="en-US" altLang="fr-FR"/>
              <a:t>Second level</a:t>
            </a:r>
          </a:p>
          <a:p>
            <a:pPr lvl="2"/>
            <a:r>
              <a:rPr lang="en-US" altLang="fr-FR"/>
              <a:t>Third level</a:t>
            </a:r>
          </a:p>
          <a:p>
            <a:pPr lvl="3"/>
            <a:r>
              <a:rPr lang="en-US" altLang="fr-FR"/>
              <a:t>Fourth level</a:t>
            </a:r>
          </a:p>
        </p:txBody>
      </p:sp>
      <p:sp>
        <p:nvSpPr>
          <p:cNvPr id="5124" name="Line 4"/>
          <p:cNvSpPr>
            <a:spLocks noChangeShapeType="1"/>
          </p:cNvSpPr>
          <p:nvPr/>
        </p:nvSpPr>
        <p:spPr bwMode="auto">
          <a:xfrm>
            <a:off x="914400" y="1066800"/>
            <a:ext cx="10566400" cy="0"/>
          </a:xfrm>
          <a:prstGeom prst="line">
            <a:avLst/>
          </a:prstGeom>
          <a:noFill/>
          <a:ln w="53975">
            <a:solidFill>
              <a:srgbClr val="969696"/>
            </a:solidFill>
            <a:round/>
            <a:headEnd/>
            <a:tailEnd/>
          </a:ln>
          <a:extLst>
            <a:ext uri="{909E8E84-426E-40DD-AFC4-6F175D3DCCD1}">
              <a14:hiddenFill xmlns:a14="http://schemas.microsoft.com/office/drawing/2010/main">
                <a:noFill/>
              </a14:hiddenFill>
            </a:ext>
          </a:extLst>
        </p:spPr>
        <p:txBody>
          <a:bodyPr wrap="none" lIns="121533" tIns="60777" rIns="121533" bIns="60777" anchor="ctr"/>
          <a:lstStyle/>
          <a:p>
            <a:pPr algn="ctr" eaLnBrk="0" fontAlgn="base" hangingPunct="0">
              <a:spcBef>
                <a:spcPct val="0"/>
              </a:spcBef>
              <a:spcAft>
                <a:spcPct val="0"/>
              </a:spcAft>
            </a:pPr>
            <a:endParaRPr lang="fr-FR" sz="1600" b="1">
              <a:solidFill>
                <a:srgbClr val="000000"/>
              </a:solidFill>
              <a:cs typeface="Arial" pitchFamily="34" charset="0"/>
            </a:endParaRPr>
          </a:p>
        </p:txBody>
      </p:sp>
      <p:sp>
        <p:nvSpPr>
          <p:cNvPr id="5125" name="Line 25"/>
          <p:cNvSpPr>
            <a:spLocks noChangeShapeType="1"/>
          </p:cNvSpPr>
          <p:nvPr userDrawn="1"/>
        </p:nvSpPr>
        <p:spPr bwMode="auto">
          <a:xfrm>
            <a:off x="914400" y="1143000"/>
            <a:ext cx="10566400" cy="0"/>
          </a:xfrm>
          <a:prstGeom prst="line">
            <a:avLst/>
          </a:prstGeom>
          <a:noFill/>
          <a:ln w="53975">
            <a:solidFill>
              <a:srgbClr val="A50021"/>
            </a:solidFill>
            <a:round/>
            <a:headEnd/>
            <a:tailEnd/>
          </a:ln>
          <a:extLst>
            <a:ext uri="{909E8E84-426E-40DD-AFC4-6F175D3DCCD1}">
              <a14:hiddenFill xmlns:a14="http://schemas.microsoft.com/office/drawing/2010/main">
                <a:noFill/>
              </a14:hiddenFill>
            </a:ext>
          </a:extLst>
        </p:spPr>
        <p:txBody>
          <a:bodyPr wrap="none" lIns="121533" tIns="60777" rIns="121533" bIns="60777" anchor="ctr"/>
          <a:lstStyle/>
          <a:p>
            <a:pPr algn="ctr" eaLnBrk="0" fontAlgn="base" hangingPunct="0">
              <a:spcBef>
                <a:spcPct val="0"/>
              </a:spcBef>
              <a:spcAft>
                <a:spcPct val="0"/>
              </a:spcAft>
            </a:pPr>
            <a:endParaRPr lang="fr-FR" sz="1600" b="1">
              <a:solidFill>
                <a:srgbClr val="000000"/>
              </a:solidFill>
              <a:cs typeface="Arial" pitchFamily="34" charset="0"/>
            </a:endParaRPr>
          </a:p>
        </p:txBody>
      </p:sp>
      <p:sp>
        <p:nvSpPr>
          <p:cNvPr id="1031" name="Footer Placeholder 4"/>
          <p:cNvSpPr txBox="1">
            <a:spLocks noGrp="1"/>
          </p:cNvSpPr>
          <p:nvPr userDrawn="1"/>
        </p:nvSpPr>
        <p:spPr bwMode="auto">
          <a:xfrm>
            <a:off x="7747000" y="6572551"/>
            <a:ext cx="4445000" cy="285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533" tIns="60777" rIns="121533" bIns="60777" anchor="ctr"/>
          <a:lstStyle>
            <a:lvl1pPr eaLnBrk="0" hangingPunct="0">
              <a:defRPr sz="2400" baseline="-25000">
                <a:solidFill>
                  <a:schemeClr val="tx1"/>
                </a:solidFill>
                <a:latin typeface="Arial" pitchFamily="34" charset="0"/>
                <a:ea typeface="MS PGothic" pitchFamily="34" charset="-128"/>
              </a:defRPr>
            </a:lvl1pPr>
            <a:lvl2pPr marL="742950" indent="-285750" eaLnBrk="0" hangingPunct="0">
              <a:defRPr sz="2400" baseline="-25000">
                <a:solidFill>
                  <a:schemeClr val="tx1"/>
                </a:solidFill>
                <a:latin typeface="Arial" pitchFamily="34" charset="0"/>
                <a:ea typeface="MS PGothic" pitchFamily="34" charset="-128"/>
              </a:defRPr>
            </a:lvl2pPr>
            <a:lvl3pPr marL="1143000" indent="-228600" eaLnBrk="0" hangingPunct="0">
              <a:defRPr sz="2400" baseline="-25000">
                <a:solidFill>
                  <a:schemeClr val="tx1"/>
                </a:solidFill>
                <a:latin typeface="Arial" pitchFamily="34" charset="0"/>
                <a:ea typeface="MS PGothic" pitchFamily="34" charset="-128"/>
              </a:defRPr>
            </a:lvl3pPr>
            <a:lvl4pPr marL="1600200" indent="-228600" eaLnBrk="0" hangingPunct="0">
              <a:defRPr sz="2400" baseline="-25000">
                <a:solidFill>
                  <a:schemeClr val="tx1"/>
                </a:solidFill>
                <a:latin typeface="Arial" pitchFamily="34" charset="0"/>
                <a:ea typeface="MS PGothic" pitchFamily="34" charset="-128"/>
              </a:defRPr>
            </a:lvl4pPr>
            <a:lvl5pPr marL="2057400" indent="-228600" eaLnBrk="0" hangingPunct="0">
              <a:defRPr sz="2400" baseline="-25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baseline="-25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baseline="-25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baseline="-25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baseline="-25000">
                <a:solidFill>
                  <a:schemeClr val="tx1"/>
                </a:solidFill>
                <a:latin typeface="Arial" pitchFamily="34" charset="0"/>
                <a:ea typeface="MS PGothic" pitchFamily="34" charset="-128"/>
              </a:defRPr>
            </a:lvl9pPr>
          </a:lstStyle>
          <a:p>
            <a:pPr algn="r" fontAlgn="base">
              <a:spcBef>
                <a:spcPct val="0"/>
              </a:spcBef>
              <a:spcAft>
                <a:spcPct val="0"/>
              </a:spcAft>
              <a:defRPr/>
            </a:pPr>
            <a:r>
              <a:rPr lang="en-US" sz="1600" baseline="0">
                <a:solidFill>
                  <a:srgbClr val="000000"/>
                </a:solidFill>
                <a:cs typeface="Arial" pitchFamily="34" charset="0"/>
              </a:rPr>
              <a:t>Slide </a:t>
            </a:r>
            <a:fld id="{CA0D8132-2822-4216-A48A-BF50499178FC}" type="slidenum">
              <a:rPr lang="en-US" sz="1600" baseline="0">
                <a:solidFill>
                  <a:srgbClr val="000000"/>
                </a:solidFill>
                <a:cs typeface="Arial" pitchFamily="34" charset="0"/>
              </a:rPr>
              <a:pPr algn="r" fontAlgn="base">
                <a:spcBef>
                  <a:spcPct val="0"/>
                </a:spcBef>
                <a:spcAft>
                  <a:spcPct val="0"/>
                </a:spcAft>
                <a:defRPr/>
              </a:pPr>
              <a:t>‹#›</a:t>
            </a:fld>
            <a:endParaRPr lang="en-US" sz="1600" baseline="0">
              <a:solidFill>
                <a:srgbClr val="000000"/>
              </a:solidFill>
              <a:cs typeface="Arial" pitchFamily="34" charset="0"/>
            </a:endParaRPr>
          </a:p>
        </p:txBody>
      </p:sp>
    </p:spTree>
    <p:extLst>
      <p:ext uri="{BB962C8B-B14F-4D97-AF65-F5344CB8AC3E}">
        <p14:creationId xmlns:p14="http://schemas.microsoft.com/office/powerpoint/2010/main" val="705038176"/>
      </p:ext>
    </p:extLst>
  </p:cSld>
  <p:clrMap bg1="lt1" tx1="dk1" bg2="lt2" tx2="dk2" accent1="accent1" accent2="accent2" accent3="accent3" accent4="accent4" accent5="accent5" accent6="accent6" hlink="hlink" folHlink="folHlink"/>
  <p:sldLayoutIdLst>
    <p:sldLayoutId id="2147484196" r:id="rId1"/>
    <p:sldLayoutId id="2147484197" r:id="rId2"/>
    <p:sldLayoutId id="2147484198" r:id="rId3"/>
    <p:sldLayoutId id="2147484199" r:id="rId4"/>
    <p:sldLayoutId id="2147484200" r:id="rId5"/>
    <p:sldLayoutId id="2147484201" r:id="rId6"/>
    <p:sldLayoutId id="2147484202" r:id="rId7"/>
    <p:sldLayoutId id="2147484203" r:id="rId8"/>
  </p:sldLayoutIdLst>
  <p:transition advClick="0"/>
  <p:hf hdr="0" dt="0"/>
  <p:txStyles>
    <p:titleStyle>
      <a:lvl1pPr algn="l" rtl="0" eaLnBrk="0" fontAlgn="base" hangingPunct="0">
        <a:spcBef>
          <a:spcPct val="0"/>
        </a:spcBef>
        <a:spcAft>
          <a:spcPct val="0"/>
        </a:spcAft>
        <a:defRPr sz="3200" b="1">
          <a:solidFill>
            <a:schemeClr val="tx1"/>
          </a:solidFill>
          <a:latin typeface="+mj-lt"/>
          <a:ea typeface="MS PGothic" pitchFamily="34" charset="-128"/>
          <a:cs typeface="ＭＳ Ｐゴシック"/>
        </a:defRPr>
      </a:lvl1pPr>
      <a:lvl2pPr algn="l" rtl="0" eaLnBrk="0" fontAlgn="base" hangingPunct="0">
        <a:spcBef>
          <a:spcPct val="0"/>
        </a:spcBef>
        <a:spcAft>
          <a:spcPct val="0"/>
        </a:spcAft>
        <a:defRPr sz="3200" b="1">
          <a:solidFill>
            <a:schemeClr val="tx1"/>
          </a:solidFill>
          <a:latin typeface="Arial" charset="0"/>
          <a:ea typeface="MS PGothic" pitchFamily="34" charset="-128"/>
          <a:cs typeface="ＭＳ Ｐゴシック"/>
        </a:defRPr>
      </a:lvl2pPr>
      <a:lvl3pPr algn="l" rtl="0" eaLnBrk="0" fontAlgn="base" hangingPunct="0">
        <a:spcBef>
          <a:spcPct val="0"/>
        </a:spcBef>
        <a:spcAft>
          <a:spcPct val="0"/>
        </a:spcAft>
        <a:defRPr sz="3200" b="1">
          <a:solidFill>
            <a:schemeClr val="tx1"/>
          </a:solidFill>
          <a:latin typeface="Arial" charset="0"/>
          <a:ea typeface="MS PGothic" pitchFamily="34" charset="-128"/>
          <a:cs typeface="ＭＳ Ｐゴシック"/>
        </a:defRPr>
      </a:lvl3pPr>
      <a:lvl4pPr algn="l" rtl="0" eaLnBrk="0" fontAlgn="base" hangingPunct="0">
        <a:spcBef>
          <a:spcPct val="0"/>
        </a:spcBef>
        <a:spcAft>
          <a:spcPct val="0"/>
        </a:spcAft>
        <a:defRPr sz="3200" b="1">
          <a:solidFill>
            <a:schemeClr val="tx1"/>
          </a:solidFill>
          <a:latin typeface="Arial" charset="0"/>
          <a:ea typeface="MS PGothic" pitchFamily="34" charset="-128"/>
          <a:cs typeface="ＭＳ Ｐゴシック"/>
        </a:defRPr>
      </a:lvl4pPr>
      <a:lvl5pPr algn="l" rtl="0" eaLnBrk="0" fontAlgn="base" hangingPunct="0">
        <a:spcBef>
          <a:spcPct val="0"/>
        </a:spcBef>
        <a:spcAft>
          <a:spcPct val="0"/>
        </a:spcAft>
        <a:defRPr sz="3200" b="1">
          <a:solidFill>
            <a:schemeClr val="tx1"/>
          </a:solidFill>
          <a:latin typeface="Arial" charset="0"/>
          <a:ea typeface="MS PGothic" pitchFamily="34" charset="-128"/>
          <a:cs typeface="ＭＳ Ｐゴシック"/>
        </a:defRPr>
      </a:lvl5pPr>
      <a:lvl6pPr marL="607547" algn="l" rtl="0" fontAlgn="base">
        <a:spcBef>
          <a:spcPct val="0"/>
        </a:spcBef>
        <a:spcAft>
          <a:spcPct val="0"/>
        </a:spcAft>
        <a:defRPr sz="4267" b="1">
          <a:solidFill>
            <a:schemeClr val="tx1"/>
          </a:solidFill>
          <a:latin typeface="Arial" charset="0"/>
        </a:defRPr>
      </a:lvl6pPr>
      <a:lvl7pPr marL="1215168" algn="l" rtl="0" fontAlgn="base">
        <a:spcBef>
          <a:spcPct val="0"/>
        </a:spcBef>
        <a:spcAft>
          <a:spcPct val="0"/>
        </a:spcAft>
        <a:defRPr sz="4267" b="1">
          <a:solidFill>
            <a:schemeClr val="tx1"/>
          </a:solidFill>
          <a:latin typeface="Arial" charset="0"/>
        </a:defRPr>
      </a:lvl7pPr>
      <a:lvl8pPr marL="1822733" algn="l" rtl="0" fontAlgn="base">
        <a:spcBef>
          <a:spcPct val="0"/>
        </a:spcBef>
        <a:spcAft>
          <a:spcPct val="0"/>
        </a:spcAft>
        <a:defRPr sz="4267" b="1">
          <a:solidFill>
            <a:schemeClr val="tx1"/>
          </a:solidFill>
          <a:latin typeface="Arial" charset="0"/>
        </a:defRPr>
      </a:lvl8pPr>
      <a:lvl9pPr marL="2430326" algn="l" rtl="0" fontAlgn="base">
        <a:spcBef>
          <a:spcPct val="0"/>
        </a:spcBef>
        <a:spcAft>
          <a:spcPct val="0"/>
        </a:spcAft>
        <a:defRPr sz="4267" b="1">
          <a:solidFill>
            <a:schemeClr val="tx1"/>
          </a:solidFill>
          <a:latin typeface="Arial" charset="0"/>
        </a:defRPr>
      </a:lvl9pPr>
    </p:titleStyle>
    <p:bodyStyle>
      <a:lvl1pPr marL="455663" indent="-455663" algn="l" rtl="0" eaLnBrk="0" fontAlgn="base" hangingPunct="0">
        <a:spcBef>
          <a:spcPct val="20000"/>
        </a:spcBef>
        <a:spcAft>
          <a:spcPct val="0"/>
        </a:spcAft>
        <a:buClr>
          <a:srgbClr val="990000"/>
        </a:buClr>
        <a:buFont typeface="Symbol" pitchFamily="18" charset="2"/>
        <a:buChar char="¨"/>
        <a:defRPr sz="2667">
          <a:solidFill>
            <a:schemeClr val="tx1"/>
          </a:solidFill>
          <a:latin typeface="+mn-lt"/>
          <a:ea typeface="MS PGothic" pitchFamily="34" charset="-128"/>
          <a:cs typeface="ＭＳ Ｐゴシック"/>
        </a:defRPr>
      </a:lvl1pPr>
      <a:lvl2pPr marL="987330" indent="-379740" algn="l" rtl="0" eaLnBrk="0" fontAlgn="base" hangingPunct="0">
        <a:spcBef>
          <a:spcPct val="20000"/>
        </a:spcBef>
        <a:spcAft>
          <a:spcPct val="0"/>
        </a:spcAft>
        <a:buChar char="–"/>
        <a:defRPr>
          <a:solidFill>
            <a:schemeClr val="tx1"/>
          </a:solidFill>
          <a:latin typeface="+mn-lt"/>
          <a:ea typeface="MS PGothic" pitchFamily="34" charset="-128"/>
          <a:cs typeface="ＭＳ Ｐゴシック"/>
        </a:defRPr>
      </a:lvl2pPr>
      <a:lvl3pPr marL="1518937" indent="-303768" algn="l" rtl="0" eaLnBrk="0" fontAlgn="base" hangingPunct="0">
        <a:spcBef>
          <a:spcPct val="20000"/>
        </a:spcBef>
        <a:spcAft>
          <a:spcPct val="0"/>
        </a:spcAft>
        <a:buChar char="•"/>
        <a:defRPr sz="2133">
          <a:solidFill>
            <a:schemeClr val="tx1"/>
          </a:solidFill>
          <a:latin typeface="+mn-lt"/>
          <a:ea typeface="MS PGothic" pitchFamily="34" charset="-128"/>
          <a:cs typeface="ＭＳ Ｐゴシック"/>
        </a:defRPr>
      </a:lvl3pPr>
      <a:lvl4pPr marL="2126510" indent="-303768" algn="l" rtl="0" eaLnBrk="0" fontAlgn="base" hangingPunct="0">
        <a:spcBef>
          <a:spcPct val="20000"/>
        </a:spcBef>
        <a:spcAft>
          <a:spcPct val="0"/>
        </a:spcAft>
        <a:buChar char="–"/>
        <a:defRPr sz="1867">
          <a:solidFill>
            <a:schemeClr val="tx1"/>
          </a:solidFill>
          <a:latin typeface="+mn-lt"/>
          <a:ea typeface="MS PGothic" pitchFamily="34" charset="-128"/>
          <a:cs typeface="ＭＳ Ｐゴシック"/>
        </a:defRPr>
      </a:lvl4pPr>
      <a:lvl5pPr marL="2734102" indent="-303768" algn="l" rtl="0" eaLnBrk="0" fontAlgn="base" hangingPunct="0">
        <a:spcBef>
          <a:spcPct val="20000"/>
        </a:spcBef>
        <a:spcAft>
          <a:spcPct val="0"/>
        </a:spcAft>
        <a:buChar char="»"/>
        <a:defRPr sz="2133">
          <a:solidFill>
            <a:schemeClr val="tx1"/>
          </a:solidFill>
          <a:latin typeface="+mn-lt"/>
          <a:ea typeface="MS PGothic" pitchFamily="34" charset="-128"/>
          <a:cs typeface="ＭＳ Ｐゴシック"/>
        </a:defRPr>
      </a:lvl5pPr>
      <a:lvl6pPr marL="3341648" indent="-303768" algn="l" rtl="0" fontAlgn="base">
        <a:spcBef>
          <a:spcPct val="20000"/>
        </a:spcBef>
        <a:spcAft>
          <a:spcPct val="0"/>
        </a:spcAft>
        <a:buChar char="»"/>
        <a:defRPr sz="2133">
          <a:solidFill>
            <a:schemeClr val="tx1"/>
          </a:solidFill>
          <a:latin typeface="+mn-lt"/>
        </a:defRPr>
      </a:lvl6pPr>
      <a:lvl7pPr marL="3949241" indent="-303768" algn="l" rtl="0" fontAlgn="base">
        <a:spcBef>
          <a:spcPct val="20000"/>
        </a:spcBef>
        <a:spcAft>
          <a:spcPct val="0"/>
        </a:spcAft>
        <a:buChar char="»"/>
        <a:defRPr sz="2133">
          <a:solidFill>
            <a:schemeClr val="tx1"/>
          </a:solidFill>
          <a:latin typeface="+mn-lt"/>
        </a:defRPr>
      </a:lvl7pPr>
      <a:lvl8pPr marL="4556807" indent="-303768" algn="l" rtl="0" fontAlgn="base">
        <a:spcBef>
          <a:spcPct val="20000"/>
        </a:spcBef>
        <a:spcAft>
          <a:spcPct val="0"/>
        </a:spcAft>
        <a:buChar char="»"/>
        <a:defRPr sz="2133">
          <a:solidFill>
            <a:schemeClr val="tx1"/>
          </a:solidFill>
          <a:latin typeface="+mn-lt"/>
        </a:defRPr>
      </a:lvl8pPr>
      <a:lvl9pPr marL="5164402" indent="-303768" algn="l" rtl="0" fontAlgn="base">
        <a:spcBef>
          <a:spcPct val="20000"/>
        </a:spcBef>
        <a:spcAft>
          <a:spcPct val="0"/>
        </a:spcAft>
        <a:buChar char="»"/>
        <a:defRPr sz="2133">
          <a:solidFill>
            <a:schemeClr val="tx1"/>
          </a:solidFill>
          <a:latin typeface="+mn-lt"/>
        </a:defRPr>
      </a:lvl9pPr>
    </p:bodyStyle>
    <p:otherStyle>
      <a:defPPr>
        <a:defRPr lang="en-US"/>
      </a:defPPr>
      <a:lvl1pPr marL="0" algn="l" defTabSz="1215168" rtl="0" eaLnBrk="1" latinLnBrk="0" hangingPunct="1">
        <a:defRPr sz="2400" kern="1200">
          <a:solidFill>
            <a:schemeClr val="tx1"/>
          </a:solidFill>
          <a:latin typeface="+mn-lt"/>
          <a:ea typeface="+mn-ea"/>
          <a:cs typeface="+mn-cs"/>
        </a:defRPr>
      </a:lvl1pPr>
      <a:lvl2pPr marL="607547" algn="l" defTabSz="1215168" rtl="0" eaLnBrk="1" latinLnBrk="0" hangingPunct="1">
        <a:defRPr sz="2400" kern="1200">
          <a:solidFill>
            <a:schemeClr val="tx1"/>
          </a:solidFill>
          <a:latin typeface="+mn-lt"/>
          <a:ea typeface="+mn-ea"/>
          <a:cs typeface="+mn-cs"/>
        </a:defRPr>
      </a:lvl2pPr>
      <a:lvl3pPr marL="1215168" algn="l" defTabSz="1215168" rtl="0" eaLnBrk="1" latinLnBrk="0" hangingPunct="1">
        <a:defRPr sz="2400" kern="1200">
          <a:solidFill>
            <a:schemeClr val="tx1"/>
          </a:solidFill>
          <a:latin typeface="+mn-lt"/>
          <a:ea typeface="+mn-ea"/>
          <a:cs typeface="+mn-cs"/>
        </a:defRPr>
      </a:lvl3pPr>
      <a:lvl4pPr marL="1822733" algn="l" defTabSz="1215168" rtl="0" eaLnBrk="1" latinLnBrk="0" hangingPunct="1">
        <a:defRPr sz="2400" kern="1200">
          <a:solidFill>
            <a:schemeClr val="tx1"/>
          </a:solidFill>
          <a:latin typeface="+mn-lt"/>
          <a:ea typeface="+mn-ea"/>
          <a:cs typeface="+mn-cs"/>
        </a:defRPr>
      </a:lvl4pPr>
      <a:lvl5pPr marL="2430326" algn="l" defTabSz="1215168" rtl="0" eaLnBrk="1" latinLnBrk="0" hangingPunct="1">
        <a:defRPr sz="2400" kern="1200">
          <a:solidFill>
            <a:schemeClr val="tx1"/>
          </a:solidFill>
          <a:latin typeface="+mn-lt"/>
          <a:ea typeface="+mn-ea"/>
          <a:cs typeface="+mn-cs"/>
        </a:defRPr>
      </a:lvl5pPr>
      <a:lvl6pPr marL="3037875" algn="l" defTabSz="1215168" rtl="0" eaLnBrk="1" latinLnBrk="0" hangingPunct="1">
        <a:defRPr sz="2400" kern="1200">
          <a:solidFill>
            <a:schemeClr val="tx1"/>
          </a:solidFill>
          <a:latin typeface="+mn-lt"/>
          <a:ea typeface="+mn-ea"/>
          <a:cs typeface="+mn-cs"/>
        </a:defRPr>
      </a:lvl6pPr>
      <a:lvl7pPr marL="3645436" algn="l" defTabSz="1215168" rtl="0" eaLnBrk="1" latinLnBrk="0" hangingPunct="1">
        <a:defRPr sz="2400" kern="1200">
          <a:solidFill>
            <a:schemeClr val="tx1"/>
          </a:solidFill>
          <a:latin typeface="+mn-lt"/>
          <a:ea typeface="+mn-ea"/>
          <a:cs typeface="+mn-cs"/>
        </a:defRPr>
      </a:lvl7pPr>
      <a:lvl8pPr marL="4253034" algn="l" defTabSz="1215168" rtl="0" eaLnBrk="1" latinLnBrk="0" hangingPunct="1">
        <a:defRPr sz="2400" kern="1200">
          <a:solidFill>
            <a:schemeClr val="tx1"/>
          </a:solidFill>
          <a:latin typeface="+mn-lt"/>
          <a:ea typeface="+mn-ea"/>
          <a:cs typeface="+mn-cs"/>
        </a:defRPr>
      </a:lvl8pPr>
      <a:lvl9pPr marL="4860601" algn="l" defTabSz="1215168" rtl="0" eaLnBrk="1" latinLnBrk="0" hangingPunct="1">
        <a:defRPr sz="24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1340434"/>
            <a:ext cx="342900" cy="5518150"/>
          </a:xfrm>
          <a:custGeom>
            <a:avLst/>
            <a:gdLst/>
            <a:ahLst/>
            <a:cxnLst/>
            <a:rect l="l" t="t" r="r" b="b"/>
            <a:pathLst>
              <a:path w="342900" h="5518150">
                <a:moveTo>
                  <a:pt x="342900" y="0"/>
                </a:moveTo>
                <a:lnTo>
                  <a:pt x="0" y="0"/>
                </a:lnTo>
                <a:lnTo>
                  <a:pt x="0" y="5517565"/>
                </a:lnTo>
                <a:lnTo>
                  <a:pt x="342900" y="5517565"/>
                </a:lnTo>
                <a:lnTo>
                  <a:pt x="342900" y="0"/>
                </a:lnTo>
                <a:close/>
              </a:path>
            </a:pathLst>
          </a:custGeom>
          <a:solidFill>
            <a:srgbClr val="A6ACB9"/>
          </a:solidFill>
        </p:spPr>
        <p:txBody>
          <a:bodyPr wrap="square" lIns="0" tIns="0" rIns="0" bIns="0" rtlCol="0"/>
          <a:lstStyle/>
          <a:p>
            <a:endParaRPr/>
          </a:p>
        </p:txBody>
      </p:sp>
      <p:sp>
        <p:nvSpPr>
          <p:cNvPr id="17" name="bg object 17"/>
          <p:cNvSpPr/>
          <p:nvPr/>
        </p:nvSpPr>
        <p:spPr>
          <a:xfrm>
            <a:off x="0" y="0"/>
            <a:ext cx="342900" cy="1474470"/>
          </a:xfrm>
          <a:custGeom>
            <a:avLst/>
            <a:gdLst/>
            <a:ahLst/>
            <a:cxnLst/>
            <a:rect l="l" t="t" r="r" b="b"/>
            <a:pathLst>
              <a:path w="342900" h="1474470">
                <a:moveTo>
                  <a:pt x="342900" y="0"/>
                </a:moveTo>
                <a:lnTo>
                  <a:pt x="0" y="0"/>
                </a:lnTo>
                <a:lnTo>
                  <a:pt x="0" y="1474190"/>
                </a:lnTo>
                <a:lnTo>
                  <a:pt x="342900" y="1365897"/>
                </a:lnTo>
                <a:lnTo>
                  <a:pt x="342900" y="0"/>
                </a:lnTo>
                <a:close/>
              </a:path>
            </a:pathLst>
          </a:custGeom>
          <a:solidFill>
            <a:srgbClr val="6381AA"/>
          </a:solidFill>
        </p:spPr>
        <p:txBody>
          <a:bodyPr wrap="square" lIns="0" tIns="0" rIns="0" bIns="0" rtlCol="0"/>
          <a:lstStyle/>
          <a:p>
            <a:endParaRPr/>
          </a:p>
        </p:txBody>
      </p:sp>
      <p:pic>
        <p:nvPicPr>
          <p:cNvPr id="18" name="bg object 18"/>
          <p:cNvPicPr/>
          <p:nvPr/>
        </p:nvPicPr>
        <p:blipFill>
          <a:blip r:embed="rId7" cstate="print"/>
          <a:stretch>
            <a:fillRect/>
          </a:stretch>
        </p:blipFill>
        <p:spPr>
          <a:xfrm>
            <a:off x="10426918" y="6232235"/>
            <a:ext cx="1455514" cy="435208"/>
          </a:xfrm>
          <a:prstGeom prst="rect">
            <a:avLst/>
          </a:prstGeom>
        </p:spPr>
      </p:pic>
      <p:sp>
        <p:nvSpPr>
          <p:cNvPr id="2" name="Holder 2"/>
          <p:cNvSpPr>
            <a:spLocks noGrp="1"/>
          </p:cNvSpPr>
          <p:nvPr>
            <p:ph type="title"/>
          </p:nvPr>
        </p:nvSpPr>
        <p:spPr>
          <a:xfrm>
            <a:off x="764374" y="320045"/>
            <a:ext cx="9528810" cy="836294"/>
          </a:xfrm>
          <a:prstGeom prst="rect">
            <a:avLst/>
          </a:prstGeom>
        </p:spPr>
        <p:txBody>
          <a:bodyPr wrap="square" lIns="0" tIns="0" rIns="0" bIns="0">
            <a:spAutoFit/>
          </a:bodyPr>
          <a:lstStyle>
            <a:lvl1pPr>
              <a:defRPr sz="2800" b="0" i="0">
                <a:solidFill>
                  <a:schemeClr val="tx1"/>
                </a:solidFill>
                <a:latin typeface="Arial"/>
                <a:cs typeface="Arial"/>
              </a:defRPr>
            </a:lvl1pPr>
          </a:lstStyle>
          <a:p>
            <a:endParaRPr/>
          </a:p>
        </p:txBody>
      </p:sp>
      <p:sp>
        <p:nvSpPr>
          <p:cNvPr id="3" name="Holder 3"/>
          <p:cNvSpPr>
            <a:spLocks noGrp="1"/>
          </p:cNvSpPr>
          <p:nvPr>
            <p:ph type="body" idx="1"/>
          </p:nvPr>
        </p:nvSpPr>
        <p:spPr>
          <a:xfrm>
            <a:off x="647534" y="1665249"/>
            <a:ext cx="5258435" cy="3332479"/>
          </a:xfrm>
          <a:prstGeom prst="rect">
            <a:avLst/>
          </a:prstGeom>
        </p:spPr>
        <p:txBody>
          <a:bodyPr wrap="square" lIns="0" tIns="0" rIns="0" bIns="0">
            <a:spAutoFit/>
          </a:bodyPr>
          <a:lstStyle>
            <a:lvl1pPr>
              <a:defRPr sz="1600" b="0" i="0">
                <a:solidFill>
                  <a:srgbClr val="344451"/>
                </a:solidFill>
                <a:latin typeface="Arial"/>
                <a:cs typeface="Arial"/>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4/24/26</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261020500"/>
      </p:ext>
    </p:extLst>
  </p:cSld>
  <p:clrMap bg1="lt1" tx1="dk1" bg2="lt2" tx2="dk2" accent1="accent1" accent2="accent2" accent3="accent3" accent4="accent4" accent5="accent5" accent6="accent6" hlink="hlink" folHlink="folHlink"/>
  <p:sldLayoutIdLst>
    <p:sldLayoutId id="2147484212" r:id="rId1"/>
    <p:sldLayoutId id="2147484213" r:id="rId2"/>
    <p:sldLayoutId id="2147484214" r:id="rId3"/>
    <p:sldLayoutId id="2147484215" r:id="rId4"/>
    <p:sldLayoutId id="2147484216"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0" y="0"/>
            <a:ext cx="12188952" cy="6856286"/>
          </a:xfrm>
          <a:prstGeom prst="rect">
            <a:avLst/>
          </a:prstGeom>
        </p:spPr>
      </p:pic>
      <p:sp>
        <p:nvSpPr>
          <p:cNvPr id="2" name="Title Placeholder 1"/>
          <p:cNvSpPr>
            <a:spLocks noGrp="1"/>
          </p:cNvSpPr>
          <p:nvPr>
            <p:ph type="title"/>
          </p:nvPr>
        </p:nvSpPr>
        <p:spPr>
          <a:xfrm>
            <a:off x="838200" y="1"/>
            <a:ext cx="10515600" cy="1144588"/>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383737"/>
            <a:ext cx="10515600" cy="4800600"/>
          </a:xfrm>
          <a:prstGeom prst="rect">
            <a:avLst/>
          </a:prstGeom>
        </p:spPr>
        <p:txBody>
          <a:bodyPr vert="horz" lIns="91440" tIns="45720" rIns="91440" bIns="45720" rtlCol="0">
            <a:normAutofit/>
          </a:body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charset="0"/>
                <a:ea typeface="Arial" charset="0"/>
                <a:cs typeface="Arial" charset="0"/>
              </a:defRPr>
            </a:lvl1pPr>
          </a:lstStyle>
          <a:p>
            <a:fld id="{5916FF65-E16B-BA4F-9591-6B4416106527}" type="datetimeFigureOut">
              <a:rPr lang="en-US" smtClean="0"/>
              <a:pPr/>
              <a:t>4/24/2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charset="0"/>
                <a:ea typeface="Arial" charset="0"/>
                <a:cs typeface="Arial" charset="0"/>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charset="0"/>
                <a:ea typeface="Arial" charset="0"/>
                <a:cs typeface="Arial" charset="0"/>
              </a:defRPr>
            </a:lvl1pPr>
          </a:lstStyle>
          <a:p>
            <a:fld id="{BB442168-F8B8-B34D-83CF-DF309AC8169E}" type="slidenum">
              <a:rPr lang="en-US" smtClean="0"/>
              <a:pPr/>
              <a:t>‹#›</a:t>
            </a:fld>
            <a:endParaRPr lang="en-US"/>
          </a:p>
        </p:txBody>
      </p:sp>
    </p:spTree>
    <p:extLst>
      <p:ext uri="{BB962C8B-B14F-4D97-AF65-F5344CB8AC3E}">
        <p14:creationId xmlns:p14="http://schemas.microsoft.com/office/powerpoint/2010/main" val="1410475308"/>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914400" rtl="0" eaLnBrk="1" latinLnBrk="0" hangingPunct="1">
        <a:lnSpc>
          <a:spcPct val="90000"/>
        </a:lnSpc>
        <a:spcBef>
          <a:spcPct val="0"/>
        </a:spcBef>
        <a:buNone/>
        <a:defRPr sz="3600" b="1" kern="1200">
          <a:solidFill>
            <a:srgbClr val="002656"/>
          </a:solidFill>
          <a:latin typeface="Arial" charset="0"/>
          <a:ea typeface="Arial" charset="0"/>
          <a:cs typeface="Arial" charset="0"/>
        </a:defRPr>
      </a:lvl1pPr>
    </p:titleStyle>
    <p:bodyStyle>
      <a:lvl1pPr marL="228600" indent="-228600" algn="l" defTabSz="914400" rtl="0" eaLnBrk="1" latinLnBrk="0" hangingPunct="1">
        <a:lnSpc>
          <a:spcPct val="90000"/>
        </a:lnSpc>
        <a:spcBef>
          <a:spcPts val="1000"/>
        </a:spcBef>
        <a:buFont typeface="Arial"/>
        <a:buChar char="•"/>
        <a:defRPr sz="2800" kern="1200">
          <a:solidFill>
            <a:srgbClr val="505153"/>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a:buChar char="•"/>
        <a:defRPr sz="2400" kern="1200">
          <a:solidFill>
            <a:srgbClr val="505153"/>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Arial"/>
        <a:buChar char="•"/>
        <a:defRPr sz="2000" kern="1200">
          <a:solidFill>
            <a:srgbClr val="505153"/>
          </a:solidFill>
          <a:latin typeface="Arial" charset="0"/>
          <a:ea typeface="Arial" charset="0"/>
          <a:cs typeface="Arial" charset="0"/>
        </a:defRPr>
      </a:lvl3pPr>
      <a:lvl4pPr marL="1600200" indent="-228600" algn="l" defTabSz="914400" rtl="0" eaLnBrk="1" latinLnBrk="0" hangingPunct="1">
        <a:lnSpc>
          <a:spcPct val="90000"/>
        </a:lnSpc>
        <a:spcBef>
          <a:spcPts val="500"/>
        </a:spcBef>
        <a:buFont typeface="Arial"/>
        <a:buChar char="•"/>
        <a:defRPr sz="1800" kern="1200">
          <a:solidFill>
            <a:srgbClr val="505153"/>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a:buChar char="•"/>
        <a:defRPr sz="1800" kern="1200">
          <a:solidFill>
            <a:srgbClr val="505153"/>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9C7992E-E72F-F294-E0AD-7DCCE9603D5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178AEBE-5339-9D68-B613-22F26ADA5AE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679D5A-E1CB-8552-9437-2364D6AAA61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60D0D249-0A93-1146-95E4-9C10624C1793}" type="datetimeFigureOut">
              <a:rPr lang="en-US" smtClean="0"/>
              <a:t>4/24/26</a:t>
            </a:fld>
            <a:endParaRPr lang="en-US"/>
          </a:p>
        </p:txBody>
      </p:sp>
      <p:sp>
        <p:nvSpPr>
          <p:cNvPr id="5" name="Footer Placeholder 4">
            <a:extLst>
              <a:ext uri="{FF2B5EF4-FFF2-40B4-BE49-F238E27FC236}">
                <a16:creationId xmlns:a16="http://schemas.microsoft.com/office/drawing/2014/main" id="{364EAE2F-F0DF-9A2B-6EA9-25C2D9BC203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C1106DC9-B806-3FE6-F13D-FB77DE9AE61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468DE67D-C88F-BA48-97C7-38554DCCA25F}" type="slidenum">
              <a:rPr lang="en-US" smtClean="0"/>
              <a:t>‹#›</a:t>
            </a:fld>
            <a:endParaRPr lang="en-US"/>
          </a:p>
        </p:txBody>
      </p:sp>
    </p:spTree>
    <p:extLst>
      <p:ext uri="{BB962C8B-B14F-4D97-AF65-F5344CB8AC3E}">
        <p14:creationId xmlns:p14="http://schemas.microsoft.com/office/powerpoint/2010/main" val="1129236510"/>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074" name="Title Placeholder 1"/>
          <p:cNvSpPr>
            <a:spLocks noGrp="1"/>
          </p:cNvSpPr>
          <p:nvPr>
            <p:ph type="title"/>
          </p:nvPr>
        </p:nvSpPr>
        <p:spPr bwMode="auto">
          <a:xfrm>
            <a:off x="527047" y="241925"/>
            <a:ext cx="8247651" cy="907252"/>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dirty="0"/>
              <a:t>Click to edit Master title style</a:t>
            </a:r>
            <a:endParaRPr lang="fr-BE" dirty="0"/>
          </a:p>
        </p:txBody>
      </p:sp>
    </p:spTree>
    <p:extLst>
      <p:ext uri="{BB962C8B-B14F-4D97-AF65-F5344CB8AC3E}">
        <p14:creationId xmlns:p14="http://schemas.microsoft.com/office/powerpoint/2010/main" val="2060855804"/>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rtl="0" eaLnBrk="1" fontAlgn="base" hangingPunct="1">
        <a:lnSpc>
          <a:spcPts val="3839"/>
        </a:lnSpc>
        <a:spcBef>
          <a:spcPct val="0"/>
        </a:spcBef>
        <a:spcAft>
          <a:spcPct val="0"/>
        </a:spcAft>
        <a:defRPr sz="3732" b="1" kern="1200">
          <a:solidFill>
            <a:schemeClr val="tx2"/>
          </a:solidFill>
          <a:latin typeface="+mj-lt"/>
          <a:ea typeface="+mj-ea"/>
          <a:cs typeface="Arial" pitchFamily="34" charset="0"/>
        </a:defRPr>
      </a:lvl1pPr>
      <a:lvl2pPr algn="l" rtl="0" eaLnBrk="1" fontAlgn="base" hangingPunct="1">
        <a:spcBef>
          <a:spcPct val="0"/>
        </a:spcBef>
        <a:spcAft>
          <a:spcPct val="0"/>
        </a:spcAft>
        <a:defRPr sz="3599" b="1">
          <a:solidFill>
            <a:srgbClr val="00B0F0"/>
          </a:solidFill>
          <a:latin typeface="Arial" charset="0"/>
          <a:cs typeface="Arial" charset="0"/>
        </a:defRPr>
      </a:lvl2pPr>
      <a:lvl3pPr algn="l" rtl="0" eaLnBrk="1" fontAlgn="base" hangingPunct="1">
        <a:spcBef>
          <a:spcPct val="0"/>
        </a:spcBef>
        <a:spcAft>
          <a:spcPct val="0"/>
        </a:spcAft>
        <a:defRPr sz="3599" b="1">
          <a:solidFill>
            <a:srgbClr val="00B0F0"/>
          </a:solidFill>
          <a:latin typeface="Arial" charset="0"/>
          <a:cs typeface="Arial" charset="0"/>
        </a:defRPr>
      </a:lvl3pPr>
      <a:lvl4pPr algn="l" rtl="0" eaLnBrk="1" fontAlgn="base" hangingPunct="1">
        <a:spcBef>
          <a:spcPct val="0"/>
        </a:spcBef>
        <a:spcAft>
          <a:spcPct val="0"/>
        </a:spcAft>
        <a:defRPr sz="3599" b="1">
          <a:solidFill>
            <a:srgbClr val="00B0F0"/>
          </a:solidFill>
          <a:latin typeface="Arial" charset="0"/>
          <a:cs typeface="Arial" charset="0"/>
        </a:defRPr>
      </a:lvl4pPr>
      <a:lvl5pPr algn="l" rtl="0" eaLnBrk="1" fontAlgn="base" hangingPunct="1">
        <a:spcBef>
          <a:spcPct val="0"/>
        </a:spcBef>
        <a:spcAft>
          <a:spcPct val="0"/>
        </a:spcAft>
        <a:defRPr sz="3599" b="1">
          <a:solidFill>
            <a:srgbClr val="00B0F0"/>
          </a:solidFill>
          <a:latin typeface="Arial" charset="0"/>
          <a:cs typeface="Arial" charset="0"/>
        </a:defRPr>
      </a:lvl5pPr>
      <a:lvl6pPr marL="456226" algn="l" rtl="0" eaLnBrk="1" fontAlgn="base" hangingPunct="1">
        <a:spcBef>
          <a:spcPct val="0"/>
        </a:spcBef>
        <a:spcAft>
          <a:spcPct val="0"/>
        </a:spcAft>
        <a:defRPr sz="3599" b="1">
          <a:solidFill>
            <a:srgbClr val="00B0F0"/>
          </a:solidFill>
          <a:latin typeface="Arial" charset="0"/>
          <a:cs typeface="Arial" charset="0"/>
        </a:defRPr>
      </a:lvl6pPr>
      <a:lvl7pPr marL="912450" algn="l" rtl="0" eaLnBrk="1" fontAlgn="base" hangingPunct="1">
        <a:spcBef>
          <a:spcPct val="0"/>
        </a:spcBef>
        <a:spcAft>
          <a:spcPct val="0"/>
        </a:spcAft>
        <a:defRPr sz="3599" b="1">
          <a:solidFill>
            <a:srgbClr val="00B0F0"/>
          </a:solidFill>
          <a:latin typeface="Arial" charset="0"/>
          <a:cs typeface="Arial" charset="0"/>
        </a:defRPr>
      </a:lvl7pPr>
      <a:lvl8pPr marL="1368676" algn="l" rtl="0" eaLnBrk="1" fontAlgn="base" hangingPunct="1">
        <a:spcBef>
          <a:spcPct val="0"/>
        </a:spcBef>
        <a:spcAft>
          <a:spcPct val="0"/>
        </a:spcAft>
        <a:defRPr sz="3599" b="1">
          <a:solidFill>
            <a:srgbClr val="00B0F0"/>
          </a:solidFill>
          <a:latin typeface="Arial" charset="0"/>
          <a:cs typeface="Arial" charset="0"/>
        </a:defRPr>
      </a:lvl8pPr>
      <a:lvl9pPr marL="1824901" algn="l" rtl="0" eaLnBrk="1" fontAlgn="base" hangingPunct="1">
        <a:spcBef>
          <a:spcPct val="0"/>
        </a:spcBef>
        <a:spcAft>
          <a:spcPct val="0"/>
        </a:spcAft>
        <a:defRPr sz="3599" b="1">
          <a:solidFill>
            <a:srgbClr val="00B0F0"/>
          </a:solidFill>
          <a:latin typeface="Arial" charset="0"/>
          <a:cs typeface="Arial" charset="0"/>
        </a:defRPr>
      </a:lvl9pPr>
    </p:titleStyle>
    <p:bodyStyle>
      <a:lvl1pPr marL="212274" indent="-212274" algn="l" rtl="0" eaLnBrk="1" fontAlgn="base" hangingPunct="1">
        <a:spcBef>
          <a:spcPts val="0"/>
        </a:spcBef>
        <a:spcAft>
          <a:spcPts val="300"/>
        </a:spcAft>
        <a:buClr>
          <a:schemeClr val="accent6">
            <a:lumMod val="40000"/>
            <a:lumOff val="60000"/>
          </a:schemeClr>
        </a:buClr>
        <a:buFont typeface="Arial" pitchFamily="34" charset="0"/>
        <a:buChar char="•"/>
        <a:tabLst>
          <a:tab pos="205938" algn="l"/>
        </a:tabLst>
        <a:defRPr sz="2399" kern="1200">
          <a:solidFill>
            <a:schemeClr val="tx2">
              <a:lumMod val="50000"/>
            </a:schemeClr>
          </a:solidFill>
          <a:latin typeface="Arial Narrow" panose="020B0606020202030204" pitchFamily="34" charset="0"/>
          <a:ea typeface="+mn-ea"/>
          <a:cs typeface="Arial" pitchFamily="34" charset="0"/>
        </a:defRPr>
      </a:lvl1pPr>
      <a:lvl2pPr marL="506915" indent="-277221" algn="l" rtl="0" eaLnBrk="1" fontAlgn="base" hangingPunct="1">
        <a:spcBef>
          <a:spcPts val="0"/>
        </a:spcBef>
        <a:spcAft>
          <a:spcPts val="300"/>
        </a:spcAft>
        <a:buClr>
          <a:schemeClr val="accent6">
            <a:lumMod val="40000"/>
            <a:lumOff val="60000"/>
          </a:schemeClr>
        </a:buClr>
        <a:buFont typeface="Arial" pitchFamily="34" charset="0"/>
        <a:buChar char="–"/>
        <a:defRPr sz="1999" kern="1200">
          <a:solidFill>
            <a:schemeClr val="tx2">
              <a:lumMod val="50000"/>
            </a:schemeClr>
          </a:solidFill>
          <a:latin typeface="Arial Narrow" panose="020B0606020202030204" pitchFamily="34" charset="0"/>
          <a:ea typeface="+mn-ea"/>
          <a:cs typeface="Arial" pitchFamily="34" charset="0"/>
        </a:defRPr>
      </a:lvl2pPr>
      <a:lvl3pPr marL="730276" indent="-218605" algn="l" rtl="0" eaLnBrk="1" fontAlgn="base" hangingPunct="1">
        <a:spcBef>
          <a:spcPts val="0"/>
        </a:spcBef>
        <a:spcAft>
          <a:spcPts val="300"/>
        </a:spcAft>
        <a:buClr>
          <a:schemeClr val="accent6">
            <a:lumMod val="40000"/>
            <a:lumOff val="60000"/>
          </a:schemeClr>
        </a:buClr>
        <a:buFont typeface="Arial" pitchFamily="34" charset="0"/>
        <a:buChar char="•"/>
        <a:defRPr sz="1999" kern="1200">
          <a:solidFill>
            <a:schemeClr val="tx2">
              <a:lumMod val="50000"/>
            </a:schemeClr>
          </a:solidFill>
          <a:latin typeface="Arial Narrow" panose="020B0606020202030204" pitchFamily="34" charset="0"/>
          <a:ea typeface="+mn-ea"/>
          <a:cs typeface="Arial" pitchFamily="34" charset="0"/>
        </a:defRPr>
      </a:lvl3pPr>
      <a:lvl4pPr marL="947301" indent="-210690" algn="l" rtl="0" eaLnBrk="1" fontAlgn="base" hangingPunct="1">
        <a:spcBef>
          <a:spcPts val="0"/>
        </a:spcBef>
        <a:spcAft>
          <a:spcPts val="300"/>
        </a:spcAft>
        <a:buClr>
          <a:schemeClr val="accent6">
            <a:lumMod val="40000"/>
            <a:lumOff val="60000"/>
          </a:schemeClr>
        </a:buClr>
        <a:buFont typeface="Arial" pitchFamily="34" charset="0"/>
        <a:buChar char="•"/>
        <a:defRPr sz="1999" kern="1200">
          <a:solidFill>
            <a:schemeClr val="tx2">
              <a:lumMod val="50000"/>
            </a:schemeClr>
          </a:solidFill>
          <a:latin typeface="Arial Narrow" panose="020B0606020202030204" pitchFamily="34" charset="0"/>
          <a:ea typeface="+mn-ea"/>
          <a:cs typeface="Arial" pitchFamily="34" charset="0"/>
        </a:defRPr>
      </a:lvl4pPr>
      <a:lvl5pPr marL="2053014" indent="-228113" algn="l" rtl="0" eaLnBrk="1" fontAlgn="base" hangingPunct="1">
        <a:spcBef>
          <a:spcPct val="20000"/>
        </a:spcBef>
        <a:spcAft>
          <a:spcPct val="0"/>
        </a:spcAft>
        <a:buFont typeface="Arial" charset="0"/>
        <a:buChar char="»"/>
        <a:defRPr sz="1999" kern="1200">
          <a:solidFill>
            <a:schemeClr val="tx1"/>
          </a:solidFill>
          <a:latin typeface="Arial" pitchFamily="34" charset="0"/>
          <a:ea typeface="+mn-ea"/>
          <a:cs typeface="Arial" pitchFamily="34" charset="0"/>
        </a:defRPr>
      </a:lvl5pPr>
      <a:lvl6pPr marL="2509238" indent="-228113" algn="l" defTabSz="912450"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65464" indent="-228113" algn="l" defTabSz="912450"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1690" indent="-228113" algn="l" defTabSz="912450"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77914" indent="-228113" algn="l" defTabSz="912450"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fr-FR"/>
      </a:defPPr>
      <a:lvl1pPr marL="0" algn="l" defTabSz="912450" rtl="0" eaLnBrk="1" latinLnBrk="0" hangingPunct="1">
        <a:defRPr sz="1799" kern="1200">
          <a:solidFill>
            <a:schemeClr val="tx1"/>
          </a:solidFill>
          <a:latin typeface="+mn-lt"/>
          <a:ea typeface="+mn-ea"/>
          <a:cs typeface="+mn-cs"/>
        </a:defRPr>
      </a:lvl1pPr>
      <a:lvl2pPr marL="456226" algn="l" defTabSz="912450" rtl="0" eaLnBrk="1" latinLnBrk="0" hangingPunct="1">
        <a:defRPr sz="1799" kern="1200">
          <a:solidFill>
            <a:schemeClr val="tx1"/>
          </a:solidFill>
          <a:latin typeface="+mn-lt"/>
          <a:ea typeface="+mn-ea"/>
          <a:cs typeface="+mn-cs"/>
        </a:defRPr>
      </a:lvl2pPr>
      <a:lvl3pPr marL="912450" algn="l" defTabSz="912450" rtl="0" eaLnBrk="1" latinLnBrk="0" hangingPunct="1">
        <a:defRPr sz="1799" kern="1200">
          <a:solidFill>
            <a:schemeClr val="tx1"/>
          </a:solidFill>
          <a:latin typeface="+mn-lt"/>
          <a:ea typeface="+mn-ea"/>
          <a:cs typeface="+mn-cs"/>
        </a:defRPr>
      </a:lvl3pPr>
      <a:lvl4pPr marL="1368676" algn="l" defTabSz="912450" rtl="0" eaLnBrk="1" latinLnBrk="0" hangingPunct="1">
        <a:defRPr sz="1799" kern="1200">
          <a:solidFill>
            <a:schemeClr val="tx1"/>
          </a:solidFill>
          <a:latin typeface="+mn-lt"/>
          <a:ea typeface="+mn-ea"/>
          <a:cs typeface="+mn-cs"/>
        </a:defRPr>
      </a:lvl4pPr>
      <a:lvl5pPr marL="1824901" algn="l" defTabSz="912450" rtl="0" eaLnBrk="1" latinLnBrk="0" hangingPunct="1">
        <a:defRPr sz="1799" kern="1200">
          <a:solidFill>
            <a:schemeClr val="tx1"/>
          </a:solidFill>
          <a:latin typeface="+mn-lt"/>
          <a:ea typeface="+mn-ea"/>
          <a:cs typeface="+mn-cs"/>
        </a:defRPr>
      </a:lvl5pPr>
      <a:lvl6pPr marL="2281125" algn="l" defTabSz="912450" rtl="0" eaLnBrk="1" latinLnBrk="0" hangingPunct="1">
        <a:defRPr sz="1799" kern="1200">
          <a:solidFill>
            <a:schemeClr val="tx1"/>
          </a:solidFill>
          <a:latin typeface="+mn-lt"/>
          <a:ea typeface="+mn-ea"/>
          <a:cs typeface="+mn-cs"/>
        </a:defRPr>
      </a:lvl6pPr>
      <a:lvl7pPr marL="2737353" algn="l" defTabSz="912450" rtl="0" eaLnBrk="1" latinLnBrk="0" hangingPunct="1">
        <a:defRPr sz="1799" kern="1200">
          <a:solidFill>
            <a:schemeClr val="tx1"/>
          </a:solidFill>
          <a:latin typeface="+mn-lt"/>
          <a:ea typeface="+mn-ea"/>
          <a:cs typeface="+mn-cs"/>
        </a:defRPr>
      </a:lvl7pPr>
      <a:lvl8pPr marL="3193576" algn="l" defTabSz="912450" rtl="0" eaLnBrk="1" latinLnBrk="0" hangingPunct="1">
        <a:defRPr sz="1799" kern="1200">
          <a:solidFill>
            <a:schemeClr val="tx1"/>
          </a:solidFill>
          <a:latin typeface="+mn-lt"/>
          <a:ea typeface="+mn-ea"/>
          <a:cs typeface="+mn-cs"/>
        </a:defRPr>
      </a:lvl8pPr>
      <a:lvl9pPr marL="3649797" algn="l" defTabSz="912450"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9">
          <p15:clr>
            <a:srgbClr val="F26B43"/>
          </p15:clr>
        </p15:guide>
        <p15:guide id="2" pos="6128">
          <p15:clr>
            <a:srgbClr val="F26B43"/>
          </p15:clr>
        </p15:guide>
        <p15:guide id="3" orient="horz" pos="3117">
          <p15:clr>
            <a:srgbClr val="F26B43"/>
          </p15:clr>
        </p15:guide>
        <p15:guide id="4" orient="horz" pos="781">
          <p15:clr>
            <a:srgbClr val="F26B43"/>
          </p15:clr>
        </p15:guide>
        <p15:guide id="5" orient="horz" pos="347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F75230C-6C27-2040-8319-F1B97ED05F1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267BB9A-0395-E74A-A7A8-614E9415EA4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C059D1C-5D14-1548-BA16-E6E9A3F2892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ABBCEEC-2E89-1C4F-B7A7-16E4850DCB52}" type="datetimeFigureOut">
              <a:rPr lang="en-US" smtClean="0"/>
              <a:t>4/24/26</a:t>
            </a:fld>
            <a:endParaRPr lang="en-US"/>
          </a:p>
        </p:txBody>
      </p:sp>
      <p:sp>
        <p:nvSpPr>
          <p:cNvPr id="5" name="Footer Placeholder 4">
            <a:extLst>
              <a:ext uri="{FF2B5EF4-FFF2-40B4-BE49-F238E27FC236}">
                <a16:creationId xmlns:a16="http://schemas.microsoft.com/office/drawing/2014/main" id="{D687C006-5CBF-914C-92CE-828998A4E26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03A89E8-572A-5742-9A78-FB093E66D43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67BE9-8433-B14C-ACE4-D400E65CA777}" type="slidenum">
              <a:rPr lang="en-US" smtClean="0"/>
              <a:t>‹#›</a:t>
            </a:fld>
            <a:endParaRPr lang="en-US"/>
          </a:p>
        </p:txBody>
      </p:sp>
    </p:spTree>
    <p:extLst>
      <p:ext uri="{BB962C8B-B14F-4D97-AF65-F5344CB8AC3E}">
        <p14:creationId xmlns:p14="http://schemas.microsoft.com/office/powerpoint/2010/main" val="81697059"/>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 id="2147483767" r:id="rId14"/>
    <p:sldLayoutId id="2147483768" r:id="rId1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65A2BBA-2247-0056-DDBE-8036CDC138E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E2B8A93-2FEC-7399-C801-5599E6E12CF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3485A57-8F75-498C-DDCA-A2B4AA77D2A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F00264B-6436-41C1-8070-7B4904EB773E}" type="datetimeFigureOut">
              <a:rPr lang="en-US" smtClean="0"/>
              <a:t>4/24/26</a:t>
            </a:fld>
            <a:endParaRPr lang="en-US"/>
          </a:p>
        </p:txBody>
      </p:sp>
      <p:sp>
        <p:nvSpPr>
          <p:cNvPr id="5" name="Footer Placeholder 4">
            <a:extLst>
              <a:ext uri="{FF2B5EF4-FFF2-40B4-BE49-F238E27FC236}">
                <a16:creationId xmlns:a16="http://schemas.microsoft.com/office/drawing/2014/main" id="{C55D5A5B-9A13-ED2C-A83C-52E4EC4D7DD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A579775F-C3BD-0FE1-7ABC-A65996B5F8E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6C7046F-7E11-4EF8-BCCF-10010BAD6D11}" type="slidenum">
              <a:rPr lang="en-US" smtClean="0"/>
              <a:t>‹#›</a:t>
            </a:fld>
            <a:endParaRPr lang="en-US"/>
          </a:p>
        </p:txBody>
      </p:sp>
    </p:spTree>
    <p:extLst>
      <p:ext uri="{BB962C8B-B14F-4D97-AF65-F5344CB8AC3E}">
        <p14:creationId xmlns:p14="http://schemas.microsoft.com/office/powerpoint/2010/main" val="535013127"/>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 id="2147483781" r:id="rId12"/>
    <p:sldLayoutId id="2147483782" r:id="rId13"/>
    <p:sldLayoutId id="2147483783" r:id="rId14"/>
    <p:sldLayoutId id="2147483784" r:id="rId1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bwMode="auto">
          <a:xfrm>
            <a:off x="609600" y="274639"/>
            <a:ext cx="10972800" cy="1143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01275" tIns="50685" rIns="101275" bIns="50685" numCol="1" anchor="ctr" anchorCtr="0" compatLnSpc="1">
            <a:prstTxWarp prst="textNoShape">
              <a:avLst/>
            </a:prstTxWarp>
          </a:bodyPr>
          <a:lstStyle/>
          <a:p>
            <a:pPr lvl="0"/>
            <a:r>
              <a:rPr lang="it-IT"/>
              <a:t>Fare clic per modificare lo stile del titolo</a:t>
            </a:r>
          </a:p>
        </p:txBody>
      </p:sp>
      <p:sp>
        <p:nvSpPr>
          <p:cNvPr id="22531" name="Rectangle 3"/>
          <p:cNvSpPr>
            <a:spLocks noGrp="1" noChangeArrowheads="1"/>
          </p:cNvSpPr>
          <p:nvPr>
            <p:ph type="body" idx="1"/>
          </p:nvPr>
        </p:nvSpPr>
        <p:spPr bwMode="auto">
          <a:xfrm>
            <a:off x="609600" y="1600201"/>
            <a:ext cx="10972800" cy="45259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01275" tIns="50685" rIns="101275" bIns="50685" numCol="1" anchor="t" anchorCtr="0" compatLnSpc="1">
            <a:prstTxWarp prst="textNoShape">
              <a:avLst/>
            </a:prstTxWarp>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1028" name="Rectangle 4"/>
          <p:cNvSpPr>
            <a:spLocks noGrp="1" noChangeArrowheads="1"/>
          </p:cNvSpPr>
          <p:nvPr>
            <p:ph type="dt" sz="half" idx="2"/>
          </p:nvPr>
        </p:nvSpPr>
        <p:spPr bwMode="auto">
          <a:xfrm>
            <a:off x="609603" y="6245226"/>
            <a:ext cx="2844800" cy="476251"/>
          </a:xfrm>
          <a:prstGeom prst="rect">
            <a:avLst/>
          </a:prstGeom>
          <a:noFill/>
          <a:ln w="9525">
            <a:noFill/>
            <a:miter lim="800000"/>
            <a:headEnd/>
            <a:tailEnd/>
          </a:ln>
          <a:effectLst/>
        </p:spPr>
        <p:txBody>
          <a:bodyPr vert="horz" wrap="square" lIns="101275" tIns="50685" rIns="101275" bIns="50685" numCol="1" anchor="t" anchorCtr="0" compatLnSpc="1">
            <a:prstTxWarp prst="textNoShape">
              <a:avLst/>
            </a:prstTxWarp>
          </a:bodyPr>
          <a:lstStyle>
            <a:lvl1pPr eaLnBrk="1" hangingPunct="1">
              <a:defRPr sz="2040">
                <a:solidFill>
                  <a:srgbClr val="000000"/>
                </a:solidFill>
                <a:latin typeface="Arial"/>
                <a:ea typeface="+mn-ea"/>
                <a:cs typeface="+mn-cs"/>
              </a:defRPr>
            </a:lvl1pPr>
          </a:lstStyle>
          <a:p>
            <a:pPr>
              <a:defRPr/>
            </a:pPr>
            <a:endParaRPr lang="it-IT"/>
          </a:p>
        </p:txBody>
      </p:sp>
      <p:sp>
        <p:nvSpPr>
          <p:cNvPr id="1029" name="Rectangle 5"/>
          <p:cNvSpPr>
            <a:spLocks noGrp="1" noChangeArrowheads="1"/>
          </p:cNvSpPr>
          <p:nvPr>
            <p:ph type="ftr" sz="quarter" idx="3"/>
          </p:nvPr>
        </p:nvSpPr>
        <p:spPr bwMode="auto">
          <a:xfrm>
            <a:off x="4165607" y="6245226"/>
            <a:ext cx="3860800" cy="476251"/>
          </a:xfrm>
          <a:prstGeom prst="rect">
            <a:avLst/>
          </a:prstGeom>
          <a:noFill/>
          <a:ln w="9525">
            <a:noFill/>
            <a:miter lim="800000"/>
            <a:headEnd/>
            <a:tailEnd/>
          </a:ln>
          <a:effectLst/>
        </p:spPr>
        <p:txBody>
          <a:bodyPr vert="horz" wrap="square" lIns="101275" tIns="50685" rIns="101275" bIns="50685" numCol="1" anchor="t" anchorCtr="0" compatLnSpc="1">
            <a:prstTxWarp prst="textNoShape">
              <a:avLst/>
            </a:prstTxWarp>
          </a:bodyPr>
          <a:lstStyle>
            <a:lvl1pPr algn="ctr" eaLnBrk="1" hangingPunct="1">
              <a:defRPr sz="2040">
                <a:solidFill>
                  <a:srgbClr val="000000"/>
                </a:solidFill>
                <a:latin typeface="Arial"/>
                <a:ea typeface="+mn-ea"/>
                <a:cs typeface="+mn-cs"/>
              </a:defRPr>
            </a:lvl1pPr>
          </a:lstStyle>
          <a:p>
            <a:pPr>
              <a:defRPr/>
            </a:pPr>
            <a:endParaRPr lang="it-IT"/>
          </a:p>
        </p:txBody>
      </p:sp>
      <p:sp>
        <p:nvSpPr>
          <p:cNvPr id="1030" name="Rectangle 6"/>
          <p:cNvSpPr>
            <a:spLocks noGrp="1" noChangeArrowheads="1"/>
          </p:cNvSpPr>
          <p:nvPr>
            <p:ph type="sldNum" sz="quarter" idx="4"/>
          </p:nvPr>
        </p:nvSpPr>
        <p:spPr bwMode="auto">
          <a:xfrm>
            <a:off x="8737600" y="6245226"/>
            <a:ext cx="2844800" cy="476251"/>
          </a:xfrm>
          <a:prstGeom prst="rect">
            <a:avLst/>
          </a:prstGeom>
          <a:noFill/>
          <a:ln w="9525">
            <a:noFill/>
            <a:miter lim="800000"/>
            <a:headEnd/>
            <a:tailEnd/>
          </a:ln>
          <a:effectLst/>
        </p:spPr>
        <p:txBody>
          <a:bodyPr vert="horz" wrap="square" lIns="101275" tIns="50685" rIns="101275" bIns="50685" numCol="1" anchor="t" anchorCtr="0" compatLnSpc="1">
            <a:prstTxWarp prst="textNoShape">
              <a:avLst/>
            </a:prstTxWarp>
          </a:bodyPr>
          <a:lstStyle>
            <a:lvl1pPr algn="r" eaLnBrk="1" hangingPunct="1">
              <a:defRPr sz="2040">
                <a:solidFill>
                  <a:srgbClr val="000000"/>
                </a:solidFill>
              </a:defRPr>
            </a:lvl1pPr>
          </a:lstStyle>
          <a:p>
            <a:pPr>
              <a:defRPr/>
            </a:pPr>
            <a:fld id="{D49D4DEB-4E33-8D4B-AFD0-7C97869B2C77}" type="slidenum">
              <a:rPr lang="it-IT">
                <a:ea typeface="ＭＳ Ｐゴシック" charset="0"/>
                <a:cs typeface="ＭＳ Ｐゴシック" charset="0"/>
              </a:rPr>
              <a:pPr>
                <a:defRPr/>
              </a:pPr>
              <a:t>‹#›</a:t>
            </a:fld>
            <a:endParaRPr lang="it-IT">
              <a:ea typeface="ＭＳ Ｐゴシック" charset="0"/>
              <a:cs typeface="ＭＳ Ｐゴシック" charset="0"/>
            </a:endParaRPr>
          </a:p>
        </p:txBody>
      </p:sp>
    </p:spTree>
    <p:extLst>
      <p:ext uri="{BB962C8B-B14F-4D97-AF65-F5344CB8AC3E}">
        <p14:creationId xmlns:p14="http://schemas.microsoft.com/office/powerpoint/2010/main" val="1025413877"/>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6" r:id="rId11"/>
    <p:sldLayoutId id="2147483797" r:id="rId12"/>
    <p:sldLayoutId id="2147483798" r:id="rId13"/>
    <p:sldLayoutId id="2147483799" r:id="rId1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rtl="0" eaLnBrk="0" fontAlgn="base" hangingPunct="0">
        <a:spcBef>
          <a:spcPct val="0"/>
        </a:spcBef>
        <a:spcAft>
          <a:spcPct val="0"/>
        </a:spcAft>
        <a:defRPr sz="5880">
          <a:solidFill>
            <a:schemeClr val="tx2"/>
          </a:solidFill>
          <a:latin typeface="+mj-lt"/>
          <a:ea typeface="ＭＳ Ｐゴシック" charset="0"/>
          <a:cs typeface="ＭＳ Ｐゴシック" charset="0"/>
        </a:defRPr>
      </a:lvl1pPr>
      <a:lvl2pPr algn="ctr" rtl="0" eaLnBrk="0" fontAlgn="base" hangingPunct="0">
        <a:spcBef>
          <a:spcPct val="0"/>
        </a:spcBef>
        <a:spcAft>
          <a:spcPct val="0"/>
        </a:spcAft>
        <a:defRPr sz="5880">
          <a:solidFill>
            <a:schemeClr val="tx2"/>
          </a:solidFill>
          <a:latin typeface="Arial" charset="0"/>
          <a:ea typeface="ＭＳ Ｐゴシック" charset="0"/>
          <a:cs typeface="ＭＳ Ｐゴシック" charset="0"/>
        </a:defRPr>
      </a:lvl2pPr>
      <a:lvl3pPr algn="ctr" rtl="0" eaLnBrk="0" fontAlgn="base" hangingPunct="0">
        <a:spcBef>
          <a:spcPct val="0"/>
        </a:spcBef>
        <a:spcAft>
          <a:spcPct val="0"/>
        </a:spcAft>
        <a:defRPr sz="5880">
          <a:solidFill>
            <a:schemeClr val="tx2"/>
          </a:solidFill>
          <a:latin typeface="Arial" charset="0"/>
          <a:ea typeface="ＭＳ Ｐゴシック" charset="0"/>
          <a:cs typeface="ＭＳ Ｐゴシック" charset="0"/>
        </a:defRPr>
      </a:lvl3pPr>
      <a:lvl4pPr algn="ctr" rtl="0" eaLnBrk="0" fontAlgn="base" hangingPunct="0">
        <a:spcBef>
          <a:spcPct val="0"/>
        </a:spcBef>
        <a:spcAft>
          <a:spcPct val="0"/>
        </a:spcAft>
        <a:defRPr sz="5880">
          <a:solidFill>
            <a:schemeClr val="tx2"/>
          </a:solidFill>
          <a:latin typeface="Arial" charset="0"/>
          <a:ea typeface="ＭＳ Ｐゴシック" charset="0"/>
          <a:cs typeface="ＭＳ Ｐゴシック" charset="0"/>
        </a:defRPr>
      </a:lvl4pPr>
      <a:lvl5pPr algn="ctr" rtl="0" eaLnBrk="0" fontAlgn="base" hangingPunct="0">
        <a:spcBef>
          <a:spcPct val="0"/>
        </a:spcBef>
        <a:spcAft>
          <a:spcPct val="0"/>
        </a:spcAft>
        <a:defRPr sz="5880">
          <a:solidFill>
            <a:schemeClr val="tx2"/>
          </a:solidFill>
          <a:latin typeface="Arial" charset="0"/>
          <a:ea typeface="ＭＳ Ｐゴシック" charset="0"/>
          <a:cs typeface="ＭＳ Ｐゴシック" charset="0"/>
        </a:defRPr>
      </a:lvl5pPr>
      <a:lvl6pPr marL="605779" algn="ctr" rtl="0" fontAlgn="base">
        <a:spcBef>
          <a:spcPct val="0"/>
        </a:spcBef>
        <a:spcAft>
          <a:spcPct val="0"/>
        </a:spcAft>
        <a:defRPr sz="5880">
          <a:solidFill>
            <a:schemeClr val="tx2"/>
          </a:solidFill>
          <a:latin typeface="Arial" charset="0"/>
        </a:defRPr>
      </a:lvl6pPr>
      <a:lvl7pPr marL="1211622" algn="ctr" rtl="0" fontAlgn="base">
        <a:spcBef>
          <a:spcPct val="0"/>
        </a:spcBef>
        <a:spcAft>
          <a:spcPct val="0"/>
        </a:spcAft>
        <a:defRPr sz="5880">
          <a:solidFill>
            <a:schemeClr val="tx2"/>
          </a:solidFill>
          <a:latin typeface="Arial" charset="0"/>
        </a:defRPr>
      </a:lvl7pPr>
      <a:lvl8pPr marL="1817435" algn="ctr" rtl="0" fontAlgn="base">
        <a:spcBef>
          <a:spcPct val="0"/>
        </a:spcBef>
        <a:spcAft>
          <a:spcPct val="0"/>
        </a:spcAft>
        <a:defRPr sz="5880">
          <a:solidFill>
            <a:schemeClr val="tx2"/>
          </a:solidFill>
          <a:latin typeface="Arial" charset="0"/>
        </a:defRPr>
      </a:lvl8pPr>
      <a:lvl9pPr marL="2423248" algn="ctr" rtl="0" fontAlgn="base">
        <a:spcBef>
          <a:spcPct val="0"/>
        </a:spcBef>
        <a:spcAft>
          <a:spcPct val="0"/>
        </a:spcAft>
        <a:defRPr sz="5880">
          <a:solidFill>
            <a:schemeClr val="tx2"/>
          </a:solidFill>
          <a:latin typeface="Arial" charset="0"/>
        </a:defRPr>
      </a:lvl9pPr>
    </p:titleStyle>
    <p:bodyStyle>
      <a:lvl1pPr marL="446380" indent="-446380" algn="l" rtl="0" eaLnBrk="0" fontAlgn="base" hangingPunct="0">
        <a:spcBef>
          <a:spcPct val="20000"/>
        </a:spcBef>
        <a:spcAft>
          <a:spcPct val="0"/>
        </a:spcAft>
        <a:buChar char="•"/>
        <a:defRPr sz="4320">
          <a:solidFill>
            <a:schemeClr val="tx1"/>
          </a:solidFill>
          <a:latin typeface="+mn-lt"/>
          <a:ea typeface="ＭＳ Ｐゴシック" charset="0"/>
          <a:cs typeface="ＭＳ Ｐゴシック" charset="0"/>
        </a:defRPr>
      </a:lvl1pPr>
      <a:lvl2pPr marL="977044" indent="-370502" algn="l" rtl="0" eaLnBrk="0" fontAlgn="base" hangingPunct="0">
        <a:spcBef>
          <a:spcPct val="20000"/>
        </a:spcBef>
        <a:spcAft>
          <a:spcPct val="0"/>
        </a:spcAft>
        <a:buChar char="–"/>
        <a:defRPr sz="3720">
          <a:solidFill>
            <a:schemeClr val="tx1"/>
          </a:solidFill>
          <a:latin typeface="+mn-lt"/>
          <a:ea typeface="ＭＳ Ｐゴシック" charset="0"/>
        </a:defRPr>
      </a:lvl2pPr>
      <a:lvl3pPr marL="1507663" indent="-294772" algn="l" rtl="0" eaLnBrk="0" fontAlgn="base" hangingPunct="0">
        <a:spcBef>
          <a:spcPct val="20000"/>
        </a:spcBef>
        <a:spcAft>
          <a:spcPct val="0"/>
        </a:spcAft>
        <a:buChar char="•"/>
        <a:defRPr sz="3240">
          <a:solidFill>
            <a:schemeClr val="tx1"/>
          </a:solidFill>
          <a:latin typeface="+mn-lt"/>
          <a:ea typeface="ＭＳ Ｐゴシック" charset="0"/>
        </a:defRPr>
      </a:lvl3pPr>
      <a:lvl4pPr marL="2114104" indent="-294772" algn="l" rtl="0" eaLnBrk="0" fontAlgn="base" hangingPunct="0">
        <a:spcBef>
          <a:spcPct val="20000"/>
        </a:spcBef>
        <a:spcAft>
          <a:spcPct val="0"/>
        </a:spcAft>
        <a:buChar char="–"/>
        <a:defRPr sz="2640">
          <a:solidFill>
            <a:schemeClr val="tx1"/>
          </a:solidFill>
          <a:latin typeface="+mn-lt"/>
          <a:ea typeface="ＭＳ Ｐゴシック" charset="0"/>
        </a:defRPr>
      </a:lvl4pPr>
      <a:lvl5pPr marL="2720554" indent="-294772" algn="l" rtl="0" eaLnBrk="0" fontAlgn="base" hangingPunct="0">
        <a:spcBef>
          <a:spcPct val="20000"/>
        </a:spcBef>
        <a:spcAft>
          <a:spcPct val="0"/>
        </a:spcAft>
        <a:buChar char="»"/>
        <a:defRPr sz="2640">
          <a:solidFill>
            <a:schemeClr val="tx1"/>
          </a:solidFill>
          <a:latin typeface="+mn-lt"/>
          <a:ea typeface="ＭＳ Ｐゴシック" charset="0"/>
        </a:defRPr>
      </a:lvl5pPr>
      <a:lvl6pPr marL="3331832" indent="-302927" algn="l" rtl="0" fontAlgn="base">
        <a:spcBef>
          <a:spcPct val="20000"/>
        </a:spcBef>
        <a:spcAft>
          <a:spcPct val="0"/>
        </a:spcAft>
        <a:buChar char="»"/>
        <a:defRPr sz="2640">
          <a:solidFill>
            <a:schemeClr val="tx1"/>
          </a:solidFill>
          <a:latin typeface="+mn-lt"/>
        </a:defRPr>
      </a:lvl6pPr>
      <a:lvl7pPr marL="3937612" indent="-302927" algn="l" rtl="0" fontAlgn="base">
        <a:spcBef>
          <a:spcPct val="20000"/>
        </a:spcBef>
        <a:spcAft>
          <a:spcPct val="0"/>
        </a:spcAft>
        <a:buChar char="»"/>
        <a:defRPr sz="2640">
          <a:solidFill>
            <a:schemeClr val="tx1"/>
          </a:solidFill>
          <a:latin typeface="+mn-lt"/>
        </a:defRPr>
      </a:lvl7pPr>
      <a:lvl8pPr marL="4543409" indent="-302927" algn="l" rtl="0" fontAlgn="base">
        <a:spcBef>
          <a:spcPct val="20000"/>
        </a:spcBef>
        <a:spcAft>
          <a:spcPct val="0"/>
        </a:spcAft>
        <a:buChar char="»"/>
        <a:defRPr sz="2640">
          <a:solidFill>
            <a:schemeClr val="tx1"/>
          </a:solidFill>
          <a:latin typeface="+mn-lt"/>
        </a:defRPr>
      </a:lvl8pPr>
      <a:lvl9pPr marL="5149252" indent="-302927" algn="l" rtl="0" fontAlgn="base">
        <a:spcBef>
          <a:spcPct val="20000"/>
        </a:spcBef>
        <a:spcAft>
          <a:spcPct val="0"/>
        </a:spcAft>
        <a:buChar char="»"/>
        <a:defRPr sz="2640">
          <a:solidFill>
            <a:schemeClr val="tx1"/>
          </a:solidFill>
          <a:latin typeface="+mn-lt"/>
        </a:defRPr>
      </a:lvl9pPr>
    </p:bodyStyle>
    <p:otherStyle>
      <a:defPPr>
        <a:defRPr lang="es-ES"/>
      </a:defPPr>
      <a:lvl1pPr marL="0" algn="l" defTabSz="1211622" rtl="0" eaLnBrk="1" latinLnBrk="0" hangingPunct="1">
        <a:defRPr sz="2520" kern="1200">
          <a:solidFill>
            <a:schemeClr val="tx1"/>
          </a:solidFill>
          <a:latin typeface="+mn-lt"/>
          <a:ea typeface="+mn-ea"/>
          <a:cs typeface="+mn-cs"/>
        </a:defRPr>
      </a:lvl1pPr>
      <a:lvl2pPr marL="605779" algn="l" defTabSz="1211622" rtl="0" eaLnBrk="1" latinLnBrk="0" hangingPunct="1">
        <a:defRPr sz="2520" kern="1200">
          <a:solidFill>
            <a:schemeClr val="tx1"/>
          </a:solidFill>
          <a:latin typeface="+mn-lt"/>
          <a:ea typeface="+mn-ea"/>
          <a:cs typeface="+mn-cs"/>
        </a:defRPr>
      </a:lvl2pPr>
      <a:lvl3pPr marL="1211622" algn="l" defTabSz="1211622" rtl="0" eaLnBrk="1" latinLnBrk="0" hangingPunct="1">
        <a:defRPr sz="2520" kern="1200">
          <a:solidFill>
            <a:schemeClr val="tx1"/>
          </a:solidFill>
          <a:latin typeface="+mn-lt"/>
          <a:ea typeface="+mn-ea"/>
          <a:cs typeface="+mn-cs"/>
        </a:defRPr>
      </a:lvl3pPr>
      <a:lvl4pPr marL="1817435" algn="l" defTabSz="1211622" rtl="0" eaLnBrk="1" latinLnBrk="0" hangingPunct="1">
        <a:defRPr sz="2520" kern="1200">
          <a:solidFill>
            <a:schemeClr val="tx1"/>
          </a:solidFill>
          <a:latin typeface="+mn-lt"/>
          <a:ea typeface="+mn-ea"/>
          <a:cs typeface="+mn-cs"/>
        </a:defRPr>
      </a:lvl4pPr>
      <a:lvl5pPr marL="2423248" algn="l" defTabSz="1211622" rtl="0" eaLnBrk="1" latinLnBrk="0" hangingPunct="1">
        <a:defRPr sz="2520" kern="1200">
          <a:solidFill>
            <a:schemeClr val="tx1"/>
          </a:solidFill>
          <a:latin typeface="+mn-lt"/>
          <a:ea typeface="+mn-ea"/>
          <a:cs typeface="+mn-cs"/>
        </a:defRPr>
      </a:lvl5pPr>
      <a:lvl6pPr marL="3029081" algn="l" defTabSz="1211622" rtl="0" eaLnBrk="1" latinLnBrk="0" hangingPunct="1">
        <a:defRPr sz="2520" kern="1200">
          <a:solidFill>
            <a:schemeClr val="tx1"/>
          </a:solidFill>
          <a:latin typeface="+mn-lt"/>
          <a:ea typeface="+mn-ea"/>
          <a:cs typeface="+mn-cs"/>
        </a:defRPr>
      </a:lvl6pPr>
      <a:lvl7pPr marL="3634852" algn="l" defTabSz="1211622" rtl="0" eaLnBrk="1" latinLnBrk="0" hangingPunct="1">
        <a:defRPr sz="2520" kern="1200">
          <a:solidFill>
            <a:schemeClr val="tx1"/>
          </a:solidFill>
          <a:latin typeface="+mn-lt"/>
          <a:ea typeface="+mn-ea"/>
          <a:cs typeface="+mn-cs"/>
        </a:defRPr>
      </a:lvl7pPr>
      <a:lvl8pPr marL="4240627" algn="l" defTabSz="1211622" rtl="0" eaLnBrk="1" latinLnBrk="0" hangingPunct="1">
        <a:defRPr sz="2520" kern="1200">
          <a:solidFill>
            <a:schemeClr val="tx1"/>
          </a:solidFill>
          <a:latin typeface="+mn-lt"/>
          <a:ea typeface="+mn-ea"/>
          <a:cs typeface="+mn-cs"/>
        </a:defRPr>
      </a:lvl8pPr>
      <a:lvl9pPr marL="4846399" algn="l" defTabSz="1211622" rtl="0" eaLnBrk="1" latinLnBrk="0" hangingPunct="1">
        <a:defRPr sz="252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100.xml.rels><?xml version="1.0" encoding="UTF-8" standalone="yes"?>
<Relationships xmlns="http://schemas.openxmlformats.org/package/2006/relationships"><Relationship Id="rId3" Type="http://schemas.openxmlformats.org/officeDocument/2006/relationships/image" Target="../media/image239.png"/><Relationship Id="rId2" Type="http://schemas.openxmlformats.org/officeDocument/2006/relationships/notesSlide" Target="../notesSlides/notesSlide53.xml"/><Relationship Id="rId1" Type="http://schemas.openxmlformats.org/officeDocument/2006/relationships/slideLayout" Target="../slideLayouts/slideLayout298.xml"/><Relationship Id="rId6" Type="http://schemas.microsoft.com/office/2007/relationships/hdphoto" Target="../media/hdphoto19.wdp"/><Relationship Id="rId5" Type="http://schemas.openxmlformats.org/officeDocument/2006/relationships/image" Target="../media/image240.png"/><Relationship Id="rId4" Type="http://schemas.microsoft.com/office/2007/relationships/hdphoto" Target="../media/hdphoto18.wdp"/></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311.xml"/></Relationships>
</file>

<file path=ppt/slides/_rels/slide102.xml.rels><?xml version="1.0" encoding="UTF-8" standalone="yes"?>
<Relationships xmlns="http://schemas.openxmlformats.org/package/2006/relationships"><Relationship Id="rId3" Type="http://schemas.openxmlformats.org/officeDocument/2006/relationships/image" Target="../media/image241.svg"/><Relationship Id="rId2" Type="http://schemas.openxmlformats.org/officeDocument/2006/relationships/notesSlide" Target="../notesSlides/notesSlide55.xml"/><Relationship Id="rId1" Type="http://schemas.openxmlformats.org/officeDocument/2006/relationships/slideLayout" Target="../slideLayouts/slideLayout310.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301.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20.xml"/></Relationships>
</file>

<file path=ppt/slides/_rels/slide105.xml.rels><?xml version="1.0" encoding="UTF-8" standalone="yes"?>
<Relationships xmlns="http://schemas.openxmlformats.org/package/2006/relationships"><Relationship Id="rId3" Type="http://schemas.openxmlformats.org/officeDocument/2006/relationships/image" Target="../media/image242.png"/><Relationship Id="rId2" Type="http://schemas.openxmlformats.org/officeDocument/2006/relationships/notesSlide" Target="../notesSlides/notesSlide58.xml"/><Relationship Id="rId1" Type="http://schemas.openxmlformats.org/officeDocument/2006/relationships/slideLayout" Target="../slideLayouts/slideLayout320.xml"/><Relationship Id="rId4" Type="http://schemas.microsoft.com/office/2007/relationships/hdphoto" Target="../media/hdphoto20.wdp"/></Relationships>
</file>

<file path=ppt/slides/_rels/slide106.xml.rels><?xml version="1.0" encoding="UTF-8" standalone="yes"?>
<Relationships xmlns="http://schemas.openxmlformats.org/package/2006/relationships"><Relationship Id="rId3" Type="http://schemas.openxmlformats.org/officeDocument/2006/relationships/image" Target="../media/image243.png"/><Relationship Id="rId2" Type="http://schemas.openxmlformats.org/officeDocument/2006/relationships/notesSlide" Target="../notesSlides/notesSlide59.xml"/><Relationship Id="rId1" Type="http://schemas.openxmlformats.org/officeDocument/2006/relationships/slideLayout" Target="../slideLayouts/slideLayout320.xml"/><Relationship Id="rId6" Type="http://schemas.microsoft.com/office/2007/relationships/hdphoto" Target="../media/hdphoto22.wdp"/><Relationship Id="rId5" Type="http://schemas.openxmlformats.org/officeDocument/2006/relationships/image" Target="../media/image244.png"/><Relationship Id="rId4" Type="http://schemas.microsoft.com/office/2007/relationships/hdphoto" Target="../media/hdphoto21.wdp"/></Relationships>
</file>

<file path=ppt/slides/_rels/slide107.xml.rels><?xml version="1.0" encoding="UTF-8" standalone="yes"?>
<Relationships xmlns="http://schemas.openxmlformats.org/package/2006/relationships"><Relationship Id="rId3" Type="http://schemas.openxmlformats.org/officeDocument/2006/relationships/image" Target="../media/image245.png"/><Relationship Id="rId2" Type="http://schemas.openxmlformats.org/officeDocument/2006/relationships/notesSlide" Target="../notesSlides/notesSlide60.xml"/><Relationship Id="rId1" Type="http://schemas.openxmlformats.org/officeDocument/2006/relationships/slideLayout" Target="../slideLayouts/slideLayout353.xml"/><Relationship Id="rId5" Type="http://schemas.openxmlformats.org/officeDocument/2006/relationships/image" Target="../media/image246.png"/><Relationship Id="rId4" Type="http://schemas.microsoft.com/office/2007/relationships/hdphoto" Target="../media/hdphoto23.wdp"/></Relationships>
</file>

<file path=ppt/slides/_rels/slide108.xml.rels><?xml version="1.0" encoding="UTF-8" standalone="yes"?>
<Relationships xmlns="http://schemas.openxmlformats.org/package/2006/relationships"><Relationship Id="rId3" Type="http://schemas.openxmlformats.org/officeDocument/2006/relationships/image" Target="../media/image247.png"/><Relationship Id="rId2" Type="http://schemas.openxmlformats.org/officeDocument/2006/relationships/notesSlide" Target="../notesSlides/notesSlide61.xml"/><Relationship Id="rId1" Type="http://schemas.openxmlformats.org/officeDocument/2006/relationships/slideLayout" Target="../slideLayouts/slideLayout353.xml"/><Relationship Id="rId4" Type="http://schemas.microsoft.com/office/2007/relationships/hdphoto" Target="../media/hdphoto24.wdp"/></Relationships>
</file>

<file path=ppt/slides/_rels/slide109.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362.xml"/><Relationship Id="rId1" Type="http://schemas.openxmlformats.org/officeDocument/2006/relationships/tags" Target="../tags/tag23.xml"/><Relationship Id="rId6" Type="http://schemas.openxmlformats.org/officeDocument/2006/relationships/chart" Target="../charts/chart10.xml"/><Relationship Id="rId5" Type="http://schemas.openxmlformats.org/officeDocument/2006/relationships/chart" Target="../charts/chart9.xml"/><Relationship Id="rId4" Type="http://schemas.openxmlformats.org/officeDocument/2006/relationships/chart" Target="../charts/chart8.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99.png"/><Relationship Id="rId2" Type="http://schemas.openxmlformats.org/officeDocument/2006/relationships/slideLayout" Target="../slideLayouts/slideLayout20.xml"/><Relationship Id="rId1" Type="http://schemas.openxmlformats.org/officeDocument/2006/relationships/tags" Target="../tags/tag22.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364.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364.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364.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370.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417.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448.xml"/></Relationships>
</file>

<file path=ppt/slides/_rels/slide116.xml.rels><?xml version="1.0" encoding="UTF-8" standalone="yes"?>
<Relationships xmlns="http://schemas.openxmlformats.org/package/2006/relationships"><Relationship Id="rId3" Type="http://schemas.openxmlformats.org/officeDocument/2006/relationships/image" Target="../media/image248.png"/><Relationship Id="rId2" Type="http://schemas.openxmlformats.org/officeDocument/2006/relationships/notesSlide" Target="../notesSlides/notesSlide69.xml"/><Relationship Id="rId1" Type="http://schemas.openxmlformats.org/officeDocument/2006/relationships/slideLayout" Target="../slideLayouts/slideLayout454.xml"/><Relationship Id="rId5" Type="http://schemas.openxmlformats.org/officeDocument/2006/relationships/image" Target="../media/image250.png"/><Relationship Id="rId4" Type="http://schemas.openxmlformats.org/officeDocument/2006/relationships/image" Target="../media/image249.png"/></Relationships>
</file>

<file path=ppt/slides/_rels/slide117.xml.rels><?xml version="1.0" encoding="UTF-8" standalone="yes"?>
<Relationships xmlns="http://schemas.openxmlformats.org/package/2006/relationships"><Relationship Id="rId3" Type="http://schemas.openxmlformats.org/officeDocument/2006/relationships/image" Target="../media/image251.png"/><Relationship Id="rId2" Type="http://schemas.openxmlformats.org/officeDocument/2006/relationships/notesSlide" Target="../notesSlides/notesSlide70.xml"/><Relationship Id="rId1" Type="http://schemas.openxmlformats.org/officeDocument/2006/relationships/slideLayout" Target="../slideLayouts/slideLayout454.xml"/><Relationship Id="rId4" Type="http://schemas.openxmlformats.org/officeDocument/2006/relationships/image" Target="../media/image252.png"/></Relationships>
</file>

<file path=ppt/slides/_rels/slide118.xml.rels><?xml version="1.0" encoding="UTF-8" standalone="yes"?>
<Relationships xmlns="http://schemas.openxmlformats.org/package/2006/relationships"><Relationship Id="rId3" Type="http://schemas.openxmlformats.org/officeDocument/2006/relationships/image" Target="../media/image253.png"/><Relationship Id="rId2" Type="http://schemas.openxmlformats.org/officeDocument/2006/relationships/notesSlide" Target="../notesSlides/notesSlide71.xml"/><Relationship Id="rId1" Type="http://schemas.openxmlformats.org/officeDocument/2006/relationships/slideLayout" Target="../slideLayouts/slideLayout58.xml"/><Relationship Id="rId4" Type="http://schemas.microsoft.com/office/2007/relationships/hdphoto" Target="../media/hdphoto25.wdp"/></Relationships>
</file>

<file path=ppt/slides/_rels/slide119.xml.rels><?xml version="1.0" encoding="UTF-8" standalone="yes"?>
<Relationships xmlns="http://schemas.openxmlformats.org/package/2006/relationships"><Relationship Id="rId3" Type="http://schemas.openxmlformats.org/officeDocument/2006/relationships/image" Target="../media/image254.png"/><Relationship Id="rId2" Type="http://schemas.openxmlformats.org/officeDocument/2006/relationships/notesSlide" Target="../notesSlides/notesSlide72.xml"/><Relationship Id="rId1" Type="http://schemas.openxmlformats.org/officeDocument/2006/relationships/slideLayout" Target="../slideLayouts/slideLayout58.xml"/><Relationship Id="rId6" Type="http://schemas.microsoft.com/office/2007/relationships/hdphoto" Target="../media/hdphoto27.wdp"/><Relationship Id="rId5" Type="http://schemas.openxmlformats.org/officeDocument/2006/relationships/image" Target="../media/image255.png"/><Relationship Id="rId4" Type="http://schemas.microsoft.com/office/2007/relationships/hdphoto" Target="../media/hdphoto26.wdp"/></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0.xml"/></Relationships>
</file>

<file path=ppt/slides/_rels/slide120.xml.rels><?xml version="1.0" encoding="UTF-8" standalone="yes"?>
<Relationships xmlns="http://schemas.openxmlformats.org/package/2006/relationships"><Relationship Id="rId3" Type="http://schemas.openxmlformats.org/officeDocument/2006/relationships/image" Target="../media/image256.png"/><Relationship Id="rId2" Type="http://schemas.openxmlformats.org/officeDocument/2006/relationships/notesSlide" Target="../notesSlides/notesSlide73.xml"/><Relationship Id="rId1" Type="http://schemas.openxmlformats.org/officeDocument/2006/relationships/slideLayout" Target="../slideLayouts/slideLayout320.xml"/><Relationship Id="rId6" Type="http://schemas.openxmlformats.org/officeDocument/2006/relationships/image" Target="../media/image258.png"/><Relationship Id="rId5" Type="http://schemas.microsoft.com/office/2007/relationships/hdphoto" Target="../media/hdphoto28.wdp"/><Relationship Id="rId4" Type="http://schemas.openxmlformats.org/officeDocument/2006/relationships/image" Target="../media/image257.png"/></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40.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135.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160.xml"/></Relationships>
</file>

<file path=ppt/slides/_rels/slide124.xml.rels><?xml version="1.0" encoding="UTF-8" standalone="yes"?>
<Relationships xmlns="http://schemas.openxmlformats.org/package/2006/relationships"><Relationship Id="rId2" Type="http://schemas.openxmlformats.org/officeDocument/2006/relationships/image" Target="../media/image259.jpeg"/><Relationship Id="rId1" Type="http://schemas.openxmlformats.org/officeDocument/2006/relationships/slideLayout" Target="../slideLayouts/slideLayout139.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156.xml"/></Relationships>
</file>

<file path=ppt/slides/_rels/slide126.xml.rels><?xml version="1.0" encoding="UTF-8" standalone="yes"?>
<Relationships xmlns="http://schemas.openxmlformats.org/package/2006/relationships"><Relationship Id="rId2" Type="http://schemas.openxmlformats.org/officeDocument/2006/relationships/image" Target="../media/image260.png"/><Relationship Id="rId1" Type="http://schemas.openxmlformats.org/officeDocument/2006/relationships/slideLayout" Target="../slideLayouts/slideLayout139.xml"/></Relationships>
</file>

<file path=ppt/slides/_rels/slide127.xml.rels><?xml version="1.0" encoding="UTF-8" standalone="yes"?>
<Relationships xmlns="http://schemas.openxmlformats.org/package/2006/relationships"><Relationship Id="rId2" Type="http://schemas.openxmlformats.org/officeDocument/2006/relationships/image" Target="../media/image261.png"/><Relationship Id="rId1" Type="http://schemas.openxmlformats.org/officeDocument/2006/relationships/slideLayout" Target="../slideLayouts/slideLayout139.xml"/></Relationships>
</file>

<file path=ppt/slides/_rels/slide128.xml.rels><?xml version="1.0" encoding="UTF-8" standalone="yes"?>
<Relationships xmlns="http://schemas.openxmlformats.org/package/2006/relationships"><Relationship Id="rId3" Type="http://schemas.openxmlformats.org/officeDocument/2006/relationships/image" Target="../media/image263.png"/><Relationship Id="rId2" Type="http://schemas.openxmlformats.org/officeDocument/2006/relationships/image" Target="../media/image262.png"/><Relationship Id="rId1" Type="http://schemas.openxmlformats.org/officeDocument/2006/relationships/slideLayout" Target="../slideLayouts/slideLayout139.xml"/></Relationships>
</file>

<file path=ppt/slides/_rels/slide129.xml.rels><?xml version="1.0" encoding="UTF-8" standalone="yes"?>
<Relationships xmlns="http://schemas.openxmlformats.org/package/2006/relationships"><Relationship Id="rId2" Type="http://schemas.openxmlformats.org/officeDocument/2006/relationships/image" Target="../media/image264.png"/><Relationship Id="rId1" Type="http://schemas.openxmlformats.org/officeDocument/2006/relationships/slideLayout" Target="../slideLayouts/slideLayout13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0.xml"/></Relationships>
</file>

<file path=ppt/slides/_rels/slide130.xml.rels><?xml version="1.0" encoding="UTF-8" standalone="yes"?>
<Relationships xmlns="http://schemas.openxmlformats.org/package/2006/relationships"><Relationship Id="rId2" Type="http://schemas.openxmlformats.org/officeDocument/2006/relationships/image" Target="../media/image265.png"/><Relationship Id="rId1" Type="http://schemas.openxmlformats.org/officeDocument/2006/relationships/slideLayout" Target="../slideLayouts/slideLayout139.xml"/></Relationships>
</file>

<file path=ppt/slides/_rels/slide131.xml.rels><?xml version="1.0" encoding="UTF-8" standalone="yes"?>
<Relationships xmlns="http://schemas.openxmlformats.org/package/2006/relationships"><Relationship Id="rId2" Type="http://schemas.openxmlformats.org/officeDocument/2006/relationships/image" Target="../media/image266.png"/><Relationship Id="rId1" Type="http://schemas.openxmlformats.org/officeDocument/2006/relationships/slideLayout" Target="../slideLayouts/slideLayout139.xml"/></Relationships>
</file>

<file path=ppt/slides/_rels/slide132.xml.rels><?xml version="1.0" encoding="UTF-8" standalone="yes"?>
<Relationships xmlns="http://schemas.openxmlformats.org/package/2006/relationships"><Relationship Id="rId2" Type="http://schemas.openxmlformats.org/officeDocument/2006/relationships/image" Target="../media/image267.png"/><Relationship Id="rId1" Type="http://schemas.openxmlformats.org/officeDocument/2006/relationships/slideLayout" Target="../slideLayouts/slideLayout160.xml"/></Relationships>
</file>

<file path=ppt/slides/_rels/slide133.xml.rels><?xml version="1.0" encoding="UTF-8" standalone="yes"?>
<Relationships xmlns="http://schemas.openxmlformats.org/package/2006/relationships"><Relationship Id="rId2" Type="http://schemas.openxmlformats.org/officeDocument/2006/relationships/image" Target="../media/image268.png"/><Relationship Id="rId1" Type="http://schemas.openxmlformats.org/officeDocument/2006/relationships/slideLayout" Target="../slideLayouts/slideLayout161.xml"/></Relationships>
</file>

<file path=ppt/slides/_rels/slide134.xml.rels><?xml version="1.0" encoding="UTF-8" standalone="yes"?>
<Relationships xmlns="http://schemas.openxmlformats.org/package/2006/relationships"><Relationship Id="rId2" Type="http://schemas.openxmlformats.org/officeDocument/2006/relationships/image" Target="../media/image269.png"/><Relationship Id="rId1" Type="http://schemas.openxmlformats.org/officeDocument/2006/relationships/slideLayout" Target="../slideLayouts/slideLayout161.xml"/></Relationships>
</file>

<file path=ppt/slides/_rels/slide135.xml.rels><?xml version="1.0" encoding="UTF-8" standalone="yes"?>
<Relationships xmlns="http://schemas.openxmlformats.org/package/2006/relationships"><Relationship Id="rId2" Type="http://schemas.openxmlformats.org/officeDocument/2006/relationships/image" Target="../media/image270.png"/><Relationship Id="rId1" Type="http://schemas.openxmlformats.org/officeDocument/2006/relationships/slideLayout" Target="../slideLayouts/slideLayout161.xml"/></Relationships>
</file>

<file path=ppt/slides/_rels/slide136.xml.rels><?xml version="1.0" encoding="UTF-8" standalone="yes"?>
<Relationships xmlns="http://schemas.openxmlformats.org/package/2006/relationships"><Relationship Id="rId3" Type="http://schemas.openxmlformats.org/officeDocument/2006/relationships/image" Target="../media/image272.png"/><Relationship Id="rId2" Type="http://schemas.openxmlformats.org/officeDocument/2006/relationships/image" Target="../media/image271.png"/><Relationship Id="rId1" Type="http://schemas.openxmlformats.org/officeDocument/2006/relationships/slideLayout" Target="../slideLayouts/slideLayout161.xml"/></Relationships>
</file>

<file path=ppt/slides/_rels/slide137.xml.rels><?xml version="1.0" encoding="UTF-8" standalone="yes"?>
<Relationships xmlns="http://schemas.openxmlformats.org/package/2006/relationships"><Relationship Id="rId2" Type="http://schemas.openxmlformats.org/officeDocument/2006/relationships/image" Target="../media/image273.png"/><Relationship Id="rId1" Type="http://schemas.openxmlformats.org/officeDocument/2006/relationships/slideLayout" Target="../slideLayouts/slideLayout161.xml"/></Relationships>
</file>

<file path=ppt/slides/_rels/slide138.xml.rels><?xml version="1.0" encoding="UTF-8" standalone="yes"?>
<Relationships xmlns="http://schemas.openxmlformats.org/package/2006/relationships"><Relationship Id="rId3" Type="http://schemas.openxmlformats.org/officeDocument/2006/relationships/image" Target="../media/image275.png"/><Relationship Id="rId2" Type="http://schemas.openxmlformats.org/officeDocument/2006/relationships/image" Target="../media/image274.png"/><Relationship Id="rId1" Type="http://schemas.openxmlformats.org/officeDocument/2006/relationships/slideLayout" Target="../slideLayouts/slideLayout161.xml"/></Relationships>
</file>

<file path=ppt/slides/_rels/slide139.xml.rels><?xml version="1.0" encoding="UTF-8" standalone="yes"?>
<Relationships xmlns="http://schemas.openxmlformats.org/package/2006/relationships"><Relationship Id="rId3" Type="http://schemas.openxmlformats.org/officeDocument/2006/relationships/image" Target="../media/image277.png"/><Relationship Id="rId2" Type="http://schemas.openxmlformats.org/officeDocument/2006/relationships/image" Target="../media/image276.png"/><Relationship Id="rId1" Type="http://schemas.openxmlformats.org/officeDocument/2006/relationships/slideLayout" Target="../slideLayouts/slideLayout16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156.xml"/></Relationships>
</file>

<file path=ppt/slides/_rels/slide141.xml.rels><?xml version="1.0" encoding="UTF-8" standalone="yes"?>
<Relationships xmlns="http://schemas.openxmlformats.org/package/2006/relationships"><Relationship Id="rId2" Type="http://schemas.openxmlformats.org/officeDocument/2006/relationships/image" Target="../media/image278.png"/><Relationship Id="rId1" Type="http://schemas.openxmlformats.org/officeDocument/2006/relationships/slideLayout" Target="../slideLayouts/slideLayout156.xml"/></Relationships>
</file>

<file path=ppt/slides/_rels/slide142.xml.rels><?xml version="1.0" encoding="UTF-8" standalone="yes"?>
<Relationships xmlns="http://schemas.openxmlformats.org/package/2006/relationships"><Relationship Id="rId2" Type="http://schemas.openxmlformats.org/officeDocument/2006/relationships/image" Target="../media/image279.png"/><Relationship Id="rId1" Type="http://schemas.openxmlformats.org/officeDocument/2006/relationships/slideLayout" Target="../slideLayouts/slideLayout156.xml"/></Relationships>
</file>

<file path=ppt/slides/_rels/slide143.xml.rels><?xml version="1.0" encoding="UTF-8" standalone="yes"?>
<Relationships xmlns="http://schemas.openxmlformats.org/package/2006/relationships"><Relationship Id="rId2" Type="http://schemas.openxmlformats.org/officeDocument/2006/relationships/image" Target="../media/image280.png"/><Relationship Id="rId1" Type="http://schemas.openxmlformats.org/officeDocument/2006/relationships/slideLayout" Target="../slideLayouts/slideLayout156.xml"/></Relationships>
</file>

<file path=ppt/slides/_rels/slide144.xml.rels><?xml version="1.0" encoding="UTF-8" standalone="yes"?>
<Relationships xmlns="http://schemas.openxmlformats.org/package/2006/relationships"><Relationship Id="rId3" Type="http://schemas.microsoft.com/office/2007/relationships/hdphoto" Target="../media/hdphoto29.wdp"/><Relationship Id="rId2" Type="http://schemas.openxmlformats.org/officeDocument/2006/relationships/image" Target="../media/image281.png"/><Relationship Id="rId1" Type="http://schemas.openxmlformats.org/officeDocument/2006/relationships/slideLayout" Target="../slideLayouts/slideLayout167.xml"/></Relationships>
</file>

<file path=ppt/slides/_rels/slide145.xml.rels><?xml version="1.0" encoding="UTF-8" standalone="yes"?>
<Relationships xmlns="http://schemas.openxmlformats.org/package/2006/relationships"><Relationship Id="rId2" Type="http://schemas.openxmlformats.org/officeDocument/2006/relationships/image" Target="../media/image282.png"/><Relationship Id="rId1" Type="http://schemas.openxmlformats.org/officeDocument/2006/relationships/slideLayout" Target="../slideLayouts/slideLayout167.xml"/></Relationships>
</file>

<file path=ppt/slides/_rels/slide146.xml.rels><?xml version="1.0" encoding="UTF-8" standalone="yes"?>
<Relationships xmlns="http://schemas.openxmlformats.org/package/2006/relationships"><Relationship Id="rId3" Type="http://schemas.microsoft.com/office/2007/relationships/hdphoto" Target="../media/hdphoto30.wdp"/><Relationship Id="rId2" Type="http://schemas.openxmlformats.org/officeDocument/2006/relationships/image" Target="../media/image283.png"/><Relationship Id="rId1" Type="http://schemas.openxmlformats.org/officeDocument/2006/relationships/slideLayout" Target="../slideLayouts/slideLayout167.xml"/></Relationships>
</file>

<file path=ppt/slides/_rels/slide147.xml.rels><?xml version="1.0" encoding="UTF-8" standalone="yes"?>
<Relationships xmlns="http://schemas.openxmlformats.org/package/2006/relationships"><Relationship Id="rId3" Type="http://schemas.openxmlformats.org/officeDocument/2006/relationships/hyperlink" Target="https://www.pharmacytimes.com/view/eha-2025-golcadomide-shows-deep-responses-in-high-risk-follicular-lymphoma" TargetMode="External"/><Relationship Id="rId2" Type="http://schemas.openxmlformats.org/officeDocument/2006/relationships/hyperlink" Target="https://www.postersessiononline.eu/173580348_eu/congresos/ASH2024/aula/-MON_4422_2a_ASH2024.pdf" TargetMode="External"/><Relationship Id="rId1" Type="http://schemas.openxmlformats.org/officeDocument/2006/relationships/slideLayout" Target="../slideLayouts/slideLayout156.xml"/></Relationships>
</file>

<file path=ppt/slides/_rels/slide148.xml.rels><?xml version="1.0" encoding="UTF-8" standalone="yes"?>
<Relationships xmlns="http://schemas.openxmlformats.org/package/2006/relationships"><Relationship Id="rId3" Type="http://schemas.microsoft.com/office/2007/relationships/hdphoto" Target="../media/hdphoto31.wdp"/><Relationship Id="rId2" Type="http://schemas.openxmlformats.org/officeDocument/2006/relationships/image" Target="../media/image284.png"/><Relationship Id="rId1" Type="http://schemas.openxmlformats.org/officeDocument/2006/relationships/slideLayout" Target="../slideLayouts/slideLayout167.xml"/><Relationship Id="rId5" Type="http://schemas.microsoft.com/office/2007/relationships/hdphoto" Target="../media/hdphoto32.wdp"/><Relationship Id="rId4" Type="http://schemas.openxmlformats.org/officeDocument/2006/relationships/image" Target="../media/image285.png"/></Relationships>
</file>

<file path=ppt/slides/_rels/slide149.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0.xml"/></Relationships>
</file>

<file path=ppt/slides/_rels/slide150.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40.xml"/></Relationships>
</file>

<file path=ppt/slides/_rels/slide151.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77.xml"/><Relationship Id="rId1" Type="http://schemas.openxmlformats.org/officeDocument/2006/relationships/slideLayout" Target="../slideLayouts/slideLayout259.xml"/></Relationships>
</file>

<file path=ppt/slides/_rels/slide152.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260.xml"/></Relationships>
</file>

<file path=ppt/slides/_rels/slide153.xml.rels><?xml version="1.0" encoding="UTF-8" standalone="yes"?>
<Relationships xmlns="http://schemas.openxmlformats.org/package/2006/relationships"><Relationship Id="rId3" Type="http://schemas.openxmlformats.org/officeDocument/2006/relationships/image" Target="../media/image286.png"/><Relationship Id="rId2" Type="http://schemas.openxmlformats.org/officeDocument/2006/relationships/notesSlide" Target="../notesSlides/notesSlide79.xml"/><Relationship Id="rId1" Type="http://schemas.openxmlformats.org/officeDocument/2006/relationships/slideLayout" Target="../slideLayouts/slideLayout274.xml"/><Relationship Id="rId4" Type="http://schemas.openxmlformats.org/officeDocument/2006/relationships/image" Target="../media/image287.png"/></Relationships>
</file>

<file path=ppt/slides/_rels/slide154.xml.rels><?xml version="1.0" encoding="UTF-8" standalone="yes"?>
<Relationships xmlns="http://schemas.openxmlformats.org/package/2006/relationships"><Relationship Id="rId3" Type="http://schemas.openxmlformats.org/officeDocument/2006/relationships/image" Target="../media/image288.png"/><Relationship Id="rId2" Type="http://schemas.openxmlformats.org/officeDocument/2006/relationships/notesSlide" Target="../notesSlides/notesSlide80.xml"/><Relationship Id="rId1" Type="http://schemas.openxmlformats.org/officeDocument/2006/relationships/slideLayout" Target="../slideLayouts/slideLayout260.xml"/></Relationships>
</file>

<file path=ppt/slides/_rels/slide155.xml.rels><?xml version="1.0" encoding="UTF-8" standalone="yes"?>
<Relationships xmlns="http://schemas.openxmlformats.org/package/2006/relationships"><Relationship Id="rId3" Type="http://schemas.openxmlformats.org/officeDocument/2006/relationships/image" Target="../media/image289.png"/><Relationship Id="rId2" Type="http://schemas.openxmlformats.org/officeDocument/2006/relationships/notesSlide" Target="../notesSlides/notesSlide81.xml"/><Relationship Id="rId1" Type="http://schemas.openxmlformats.org/officeDocument/2006/relationships/slideLayout" Target="../slideLayouts/slideLayout260.xml"/></Relationships>
</file>

<file path=ppt/slides/_rels/slide156.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271.xml"/><Relationship Id="rId1" Type="http://schemas.openxmlformats.org/officeDocument/2006/relationships/tags" Target="../tags/tag24.xml"/></Relationships>
</file>

<file path=ppt/slides/_rels/slide157.xml.rels><?xml version="1.0" encoding="UTF-8" standalone="yes"?>
<Relationships xmlns="http://schemas.openxmlformats.org/package/2006/relationships"><Relationship Id="rId3" Type="http://schemas.openxmlformats.org/officeDocument/2006/relationships/image" Target="../media/image290.png"/><Relationship Id="rId2" Type="http://schemas.openxmlformats.org/officeDocument/2006/relationships/notesSlide" Target="../notesSlides/notesSlide83.xml"/><Relationship Id="rId1" Type="http://schemas.openxmlformats.org/officeDocument/2006/relationships/slideLayout" Target="../slideLayouts/slideLayout259.xml"/></Relationships>
</file>

<file path=ppt/slides/_rels/slide158.xml.rels><?xml version="1.0" encoding="UTF-8" standalone="yes"?>
<Relationships xmlns="http://schemas.openxmlformats.org/package/2006/relationships"><Relationship Id="rId3" Type="http://schemas.openxmlformats.org/officeDocument/2006/relationships/image" Target="../media/image290.png"/><Relationship Id="rId2" Type="http://schemas.openxmlformats.org/officeDocument/2006/relationships/notesSlide" Target="../notesSlides/notesSlide84.xml"/><Relationship Id="rId1" Type="http://schemas.openxmlformats.org/officeDocument/2006/relationships/slideLayout" Target="../slideLayouts/slideLayout259.xml"/></Relationships>
</file>

<file path=ppt/slides/_rels/slide159.xml.rels><?xml version="1.0" encoding="UTF-8" standalone="yes"?>
<Relationships xmlns="http://schemas.openxmlformats.org/package/2006/relationships"><Relationship Id="rId3" Type="http://schemas.openxmlformats.org/officeDocument/2006/relationships/image" Target="../media/image290.png"/><Relationship Id="rId2" Type="http://schemas.openxmlformats.org/officeDocument/2006/relationships/notesSlide" Target="../notesSlides/notesSlide85.xml"/><Relationship Id="rId1" Type="http://schemas.openxmlformats.org/officeDocument/2006/relationships/slideLayout" Target="../slideLayouts/slideLayout259.xml"/><Relationship Id="rId5" Type="http://schemas.openxmlformats.org/officeDocument/2006/relationships/image" Target="../media/image292.png"/><Relationship Id="rId4" Type="http://schemas.openxmlformats.org/officeDocument/2006/relationships/image" Target="../media/image291.png"/></Relationships>
</file>

<file path=ppt/slides/_rels/slide16.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63.xml"/></Relationships>
</file>

<file path=ppt/slides/_rels/slide160.xml.rels><?xml version="1.0" encoding="UTF-8" standalone="yes"?>
<Relationships xmlns="http://schemas.openxmlformats.org/package/2006/relationships"><Relationship Id="rId3" Type="http://schemas.openxmlformats.org/officeDocument/2006/relationships/image" Target="../media/image290.png"/><Relationship Id="rId2" Type="http://schemas.openxmlformats.org/officeDocument/2006/relationships/notesSlide" Target="../notesSlides/notesSlide86.xml"/><Relationship Id="rId1" Type="http://schemas.openxmlformats.org/officeDocument/2006/relationships/slideLayout" Target="../slideLayouts/slideLayout259.xml"/><Relationship Id="rId5" Type="http://schemas.openxmlformats.org/officeDocument/2006/relationships/image" Target="../media/image293.emf"/><Relationship Id="rId4" Type="http://schemas.openxmlformats.org/officeDocument/2006/relationships/oleObject" Target="../embeddings/oleObject7.bin"/></Relationships>
</file>

<file path=ppt/slides/_rels/slide161.xml.rels><?xml version="1.0" encoding="UTF-8" standalone="yes"?>
<Relationships xmlns="http://schemas.openxmlformats.org/package/2006/relationships"><Relationship Id="rId3" Type="http://schemas.openxmlformats.org/officeDocument/2006/relationships/image" Target="../media/image290.png"/><Relationship Id="rId7" Type="http://schemas.openxmlformats.org/officeDocument/2006/relationships/image" Target="../media/image291.png"/><Relationship Id="rId2" Type="http://schemas.openxmlformats.org/officeDocument/2006/relationships/notesSlide" Target="../notesSlides/notesSlide87.xml"/><Relationship Id="rId1" Type="http://schemas.openxmlformats.org/officeDocument/2006/relationships/slideLayout" Target="../slideLayouts/slideLayout259.xml"/><Relationship Id="rId6" Type="http://schemas.openxmlformats.org/officeDocument/2006/relationships/image" Target="../media/image296.png"/><Relationship Id="rId5" Type="http://schemas.openxmlformats.org/officeDocument/2006/relationships/image" Target="../media/image295.png"/><Relationship Id="rId4" Type="http://schemas.openxmlformats.org/officeDocument/2006/relationships/image" Target="../media/image294.png"/></Relationships>
</file>

<file path=ppt/slides/_rels/slide162.xml.rels><?xml version="1.0" encoding="UTF-8" standalone="yes"?>
<Relationships xmlns="http://schemas.openxmlformats.org/package/2006/relationships"><Relationship Id="rId3" Type="http://schemas.openxmlformats.org/officeDocument/2006/relationships/image" Target="../media/image290.png"/><Relationship Id="rId2" Type="http://schemas.openxmlformats.org/officeDocument/2006/relationships/notesSlide" Target="../notesSlides/notesSlide88.xml"/><Relationship Id="rId1" Type="http://schemas.openxmlformats.org/officeDocument/2006/relationships/slideLayout" Target="../slideLayouts/slideLayout259.xml"/><Relationship Id="rId4" Type="http://schemas.openxmlformats.org/officeDocument/2006/relationships/image" Target="../media/image297.png"/></Relationships>
</file>

<file path=ppt/slides/_rels/slide163.xml.rels><?xml version="1.0" encoding="UTF-8" standalone="yes"?>
<Relationships xmlns="http://schemas.openxmlformats.org/package/2006/relationships"><Relationship Id="rId3" Type="http://schemas.openxmlformats.org/officeDocument/2006/relationships/image" Target="../media/image298.png"/><Relationship Id="rId2" Type="http://schemas.openxmlformats.org/officeDocument/2006/relationships/notesSlide" Target="../notesSlides/notesSlide89.xml"/><Relationship Id="rId1" Type="http://schemas.openxmlformats.org/officeDocument/2006/relationships/slideLayout" Target="../slideLayouts/slideLayout260.xml"/><Relationship Id="rId5" Type="http://schemas.openxmlformats.org/officeDocument/2006/relationships/image" Target="../media/image300.png"/><Relationship Id="rId4" Type="http://schemas.openxmlformats.org/officeDocument/2006/relationships/image" Target="../media/image299.png"/></Relationships>
</file>

<file path=ppt/slides/_rels/slide164.xml.rels><?xml version="1.0" encoding="UTF-8" standalone="yes"?>
<Relationships xmlns="http://schemas.openxmlformats.org/package/2006/relationships"><Relationship Id="rId3" Type="http://schemas.openxmlformats.org/officeDocument/2006/relationships/image" Target="../media/image301.png"/><Relationship Id="rId2" Type="http://schemas.openxmlformats.org/officeDocument/2006/relationships/notesSlide" Target="../notesSlides/notesSlide90.xml"/><Relationship Id="rId1" Type="http://schemas.openxmlformats.org/officeDocument/2006/relationships/slideLayout" Target="../slideLayouts/slideLayout260.xml"/><Relationship Id="rId6" Type="http://schemas.microsoft.com/office/2007/relationships/hdphoto" Target="../media/hdphoto34.wdp"/><Relationship Id="rId5" Type="http://schemas.openxmlformats.org/officeDocument/2006/relationships/image" Target="../media/image302.png"/><Relationship Id="rId4" Type="http://schemas.microsoft.com/office/2007/relationships/hdphoto" Target="../media/hdphoto33.wdp"/></Relationships>
</file>

<file path=ppt/slides/_rels/slide165.xml.rels><?xml version="1.0" encoding="UTF-8" standalone="yes"?>
<Relationships xmlns="http://schemas.openxmlformats.org/package/2006/relationships"><Relationship Id="rId3" Type="http://schemas.openxmlformats.org/officeDocument/2006/relationships/image" Target="../media/image303.png"/><Relationship Id="rId2" Type="http://schemas.openxmlformats.org/officeDocument/2006/relationships/notesSlide" Target="../notesSlides/notesSlide91.xml"/><Relationship Id="rId1" Type="http://schemas.openxmlformats.org/officeDocument/2006/relationships/slideLayout" Target="../slideLayouts/slideLayout272.xml"/></Relationships>
</file>

<file path=ppt/slides/_rels/slide166.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272.xml"/></Relationships>
</file>

<file path=ppt/slides/_rels/slide167.xml.rels><?xml version="1.0" encoding="UTF-8" standalone="yes"?>
<Relationships xmlns="http://schemas.openxmlformats.org/package/2006/relationships"><Relationship Id="rId3" Type="http://schemas.openxmlformats.org/officeDocument/2006/relationships/image" Target="../media/image304.png"/><Relationship Id="rId2" Type="http://schemas.openxmlformats.org/officeDocument/2006/relationships/notesSlide" Target="../notesSlides/notesSlide93.xml"/><Relationship Id="rId1" Type="http://schemas.openxmlformats.org/officeDocument/2006/relationships/slideLayout" Target="../slideLayouts/slideLayout272.xml"/><Relationship Id="rId4" Type="http://schemas.openxmlformats.org/officeDocument/2006/relationships/image" Target="../media/image305.png"/></Relationships>
</file>

<file path=ppt/slides/_rels/slide168.xml.rels><?xml version="1.0" encoding="UTF-8" standalone="yes"?>
<Relationships xmlns="http://schemas.openxmlformats.org/package/2006/relationships"><Relationship Id="rId3" Type="http://schemas.openxmlformats.org/officeDocument/2006/relationships/image" Target="../media/image306.png"/><Relationship Id="rId2" Type="http://schemas.openxmlformats.org/officeDocument/2006/relationships/notesSlide" Target="../notesSlides/notesSlide94.xml"/><Relationship Id="rId1" Type="http://schemas.openxmlformats.org/officeDocument/2006/relationships/slideLayout" Target="../slideLayouts/slideLayout272.xml"/><Relationship Id="rId4" Type="http://schemas.openxmlformats.org/officeDocument/2006/relationships/image" Target="../media/image307.png"/></Relationships>
</file>

<file path=ppt/slides/_rels/slide169.xml.rels><?xml version="1.0" encoding="UTF-8" standalone="yes"?>
<Relationships xmlns="http://schemas.openxmlformats.org/package/2006/relationships"><Relationship Id="rId3" Type="http://schemas.openxmlformats.org/officeDocument/2006/relationships/image" Target="../media/image308.png"/><Relationship Id="rId2" Type="http://schemas.openxmlformats.org/officeDocument/2006/relationships/notesSlide" Target="../notesSlides/notesSlide95.xml"/><Relationship Id="rId1" Type="http://schemas.openxmlformats.org/officeDocument/2006/relationships/slideLayout" Target="../slideLayouts/slideLayout26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170.xml.rels><?xml version="1.0" encoding="UTF-8" standalone="yes"?>
<Relationships xmlns="http://schemas.openxmlformats.org/package/2006/relationships"><Relationship Id="rId3" Type="http://schemas.openxmlformats.org/officeDocument/2006/relationships/image" Target="../media/image309.png"/><Relationship Id="rId2" Type="http://schemas.openxmlformats.org/officeDocument/2006/relationships/notesSlide" Target="../notesSlides/notesSlide96.xml"/><Relationship Id="rId1" Type="http://schemas.openxmlformats.org/officeDocument/2006/relationships/slideLayout" Target="../slideLayouts/slideLayout260.xml"/></Relationships>
</file>

<file path=ppt/slides/_rels/slide171.xml.rels><?xml version="1.0" encoding="UTF-8" standalone="yes"?>
<Relationships xmlns="http://schemas.openxmlformats.org/package/2006/relationships"><Relationship Id="rId3" Type="http://schemas.openxmlformats.org/officeDocument/2006/relationships/image" Target="../media/image310.png"/><Relationship Id="rId2" Type="http://schemas.openxmlformats.org/officeDocument/2006/relationships/notesSlide" Target="../notesSlides/notesSlide97.xml"/><Relationship Id="rId1" Type="http://schemas.openxmlformats.org/officeDocument/2006/relationships/slideLayout" Target="../slideLayouts/slideLayout260.xml"/><Relationship Id="rId4" Type="http://schemas.microsoft.com/office/2007/relationships/hdphoto" Target="../media/hdphoto35.wdp"/></Relationships>
</file>

<file path=ppt/slides/_rels/slide172.xml.rels><?xml version="1.0" encoding="UTF-8" standalone="yes"?>
<Relationships xmlns="http://schemas.openxmlformats.org/package/2006/relationships"><Relationship Id="rId3" Type="http://schemas.openxmlformats.org/officeDocument/2006/relationships/image" Target="../media/image311.png"/><Relationship Id="rId7" Type="http://schemas.openxmlformats.org/officeDocument/2006/relationships/image" Target="../media/image313.png"/><Relationship Id="rId2" Type="http://schemas.openxmlformats.org/officeDocument/2006/relationships/notesSlide" Target="../notesSlides/notesSlide98.xml"/><Relationship Id="rId1" Type="http://schemas.openxmlformats.org/officeDocument/2006/relationships/slideLayout" Target="../slideLayouts/slideLayout260.xml"/><Relationship Id="rId6" Type="http://schemas.microsoft.com/office/2007/relationships/hdphoto" Target="../media/hdphoto37.wdp"/><Relationship Id="rId5" Type="http://schemas.openxmlformats.org/officeDocument/2006/relationships/image" Target="../media/image312.png"/><Relationship Id="rId4" Type="http://schemas.microsoft.com/office/2007/relationships/hdphoto" Target="../media/hdphoto36.wdp"/></Relationships>
</file>

<file path=ppt/slides/_rels/slide173.xml.rels><?xml version="1.0" encoding="UTF-8" standalone="yes"?>
<Relationships xmlns="http://schemas.openxmlformats.org/package/2006/relationships"><Relationship Id="rId3" Type="http://schemas.openxmlformats.org/officeDocument/2006/relationships/image" Target="../media/image314.png"/><Relationship Id="rId2" Type="http://schemas.openxmlformats.org/officeDocument/2006/relationships/notesSlide" Target="../notesSlides/notesSlide99.xml"/><Relationship Id="rId1" Type="http://schemas.openxmlformats.org/officeDocument/2006/relationships/slideLayout" Target="../slideLayouts/slideLayout260.xml"/><Relationship Id="rId6" Type="http://schemas.microsoft.com/office/2007/relationships/hdphoto" Target="../media/hdphoto39.wdp"/><Relationship Id="rId5" Type="http://schemas.openxmlformats.org/officeDocument/2006/relationships/image" Target="../media/image315.png"/><Relationship Id="rId4" Type="http://schemas.microsoft.com/office/2007/relationships/hdphoto" Target="../media/hdphoto38.wdp"/></Relationships>
</file>

<file path=ppt/slides/_rels/slide174.xml.rels><?xml version="1.0" encoding="UTF-8" standalone="yes"?>
<Relationships xmlns="http://schemas.openxmlformats.org/package/2006/relationships"><Relationship Id="rId3" Type="http://schemas.openxmlformats.org/officeDocument/2006/relationships/image" Target="../media/image316.png"/><Relationship Id="rId2" Type="http://schemas.openxmlformats.org/officeDocument/2006/relationships/notesSlide" Target="../notesSlides/notesSlide100.xml"/><Relationship Id="rId1" Type="http://schemas.openxmlformats.org/officeDocument/2006/relationships/slideLayout" Target="../slideLayouts/slideLayout260.xml"/><Relationship Id="rId4" Type="http://schemas.microsoft.com/office/2007/relationships/hdphoto" Target="../media/hdphoto40.wdp"/></Relationships>
</file>

<file path=ppt/slides/_rels/slide175.xml.rels><?xml version="1.0" encoding="UTF-8" standalone="yes"?>
<Relationships xmlns="http://schemas.openxmlformats.org/package/2006/relationships"><Relationship Id="rId3" Type="http://schemas.openxmlformats.org/officeDocument/2006/relationships/image" Target="../media/image317.png"/><Relationship Id="rId2" Type="http://schemas.openxmlformats.org/officeDocument/2006/relationships/notesSlide" Target="../notesSlides/notesSlide101.xml"/><Relationship Id="rId1" Type="http://schemas.openxmlformats.org/officeDocument/2006/relationships/slideLayout" Target="../slideLayouts/slideLayout260.xml"/><Relationship Id="rId4" Type="http://schemas.openxmlformats.org/officeDocument/2006/relationships/image" Target="../media/image318.png"/></Relationships>
</file>

<file path=ppt/slides/_rels/slide176.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16.xml"/></Relationships>
</file>

<file path=ppt/slides/_rels/slide177.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101.jpeg"/><Relationship Id="rId1" Type="http://schemas.openxmlformats.org/officeDocument/2006/relationships/slideLayout" Target="../slideLayouts/slideLayout58.xml"/></Relationships>
</file>

<file path=ppt/slides/_rels/slide19.xml.rels><?xml version="1.0" encoding="UTF-8" standalone="yes"?>
<Relationships xmlns="http://schemas.openxmlformats.org/package/2006/relationships"><Relationship Id="rId2" Type="http://schemas.openxmlformats.org/officeDocument/2006/relationships/image" Target="../media/image102.jpeg"/><Relationship Id="rId1" Type="http://schemas.openxmlformats.org/officeDocument/2006/relationships/slideLayout" Target="../slideLayouts/slideLayout58.xml"/></Relationships>
</file>

<file path=ppt/slides/_rels/slide2.xml.rels><?xml version="1.0" encoding="UTF-8" standalone="yes"?>
<Relationships xmlns="http://schemas.openxmlformats.org/package/2006/relationships"><Relationship Id="rId13" Type="http://schemas.openxmlformats.org/officeDocument/2006/relationships/image" Target="../media/image65.jpg"/><Relationship Id="rId18" Type="http://schemas.openxmlformats.org/officeDocument/2006/relationships/image" Target="../media/image70.jpg"/><Relationship Id="rId26" Type="http://schemas.openxmlformats.org/officeDocument/2006/relationships/image" Target="../media/image78.jpg"/><Relationship Id="rId21" Type="http://schemas.openxmlformats.org/officeDocument/2006/relationships/image" Target="../media/image73.jpg"/><Relationship Id="rId34" Type="http://schemas.openxmlformats.org/officeDocument/2006/relationships/image" Target="../media/image86.jpg"/><Relationship Id="rId7" Type="http://schemas.openxmlformats.org/officeDocument/2006/relationships/image" Target="../media/image59.jpg"/><Relationship Id="rId12" Type="http://schemas.openxmlformats.org/officeDocument/2006/relationships/image" Target="../media/image64.jpg"/><Relationship Id="rId17" Type="http://schemas.openxmlformats.org/officeDocument/2006/relationships/image" Target="../media/image69.jpg"/><Relationship Id="rId25" Type="http://schemas.openxmlformats.org/officeDocument/2006/relationships/image" Target="../media/image77.jpg"/><Relationship Id="rId33" Type="http://schemas.openxmlformats.org/officeDocument/2006/relationships/image" Target="../media/image85.jpg"/><Relationship Id="rId2" Type="http://schemas.openxmlformats.org/officeDocument/2006/relationships/image" Target="../media/image54.jpg"/><Relationship Id="rId16" Type="http://schemas.openxmlformats.org/officeDocument/2006/relationships/image" Target="../media/image68.jpg"/><Relationship Id="rId20" Type="http://schemas.openxmlformats.org/officeDocument/2006/relationships/image" Target="../media/image72.jpg"/><Relationship Id="rId29" Type="http://schemas.openxmlformats.org/officeDocument/2006/relationships/image" Target="../media/image81.jpg"/><Relationship Id="rId1" Type="http://schemas.openxmlformats.org/officeDocument/2006/relationships/slideLayout" Target="../slideLayouts/slideLayout32.xml"/><Relationship Id="rId6" Type="http://schemas.openxmlformats.org/officeDocument/2006/relationships/image" Target="../media/image58.jpg"/><Relationship Id="rId11" Type="http://schemas.openxmlformats.org/officeDocument/2006/relationships/image" Target="../media/image63.jpg"/><Relationship Id="rId24" Type="http://schemas.openxmlformats.org/officeDocument/2006/relationships/image" Target="../media/image76.jpg"/><Relationship Id="rId32" Type="http://schemas.openxmlformats.org/officeDocument/2006/relationships/image" Target="../media/image84.jpg"/><Relationship Id="rId37" Type="http://schemas.openxmlformats.org/officeDocument/2006/relationships/image" Target="../media/image89.jpg"/><Relationship Id="rId5" Type="http://schemas.openxmlformats.org/officeDocument/2006/relationships/image" Target="../media/image57.jpg"/><Relationship Id="rId15" Type="http://schemas.openxmlformats.org/officeDocument/2006/relationships/image" Target="../media/image67.jpg"/><Relationship Id="rId23" Type="http://schemas.openxmlformats.org/officeDocument/2006/relationships/image" Target="../media/image75.jpg"/><Relationship Id="rId28" Type="http://schemas.openxmlformats.org/officeDocument/2006/relationships/image" Target="../media/image80.jpg"/><Relationship Id="rId36" Type="http://schemas.openxmlformats.org/officeDocument/2006/relationships/image" Target="../media/image88.jpg"/><Relationship Id="rId10" Type="http://schemas.openxmlformats.org/officeDocument/2006/relationships/image" Target="../media/image62.jpg"/><Relationship Id="rId19" Type="http://schemas.openxmlformats.org/officeDocument/2006/relationships/image" Target="../media/image71.jpg"/><Relationship Id="rId31" Type="http://schemas.openxmlformats.org/officeDocument/2006/relationships/image" Target="../media/image83.jpg"/><Relationship Id="rId4" Type="http://schemas.openxmlformats.org/officeDocument/2006/relationships/image" Target="../media/image56.jpg"/><Relationship Id="rId9" Type="http://schemas.openxmlformats.org/officeDocument/2006/relationships/image" Target="../media/image61.jpg"/><Relationship Id="rId14" Type="http://schemas.openxmlformats.org/officeDocument/2006/relationships/image" Target="../media/image66.jpg"/><Relationship Id="rId22" Type="http://schemas.openxmlformats.org/officeDocument/2006/relationships/image" Target="../media/image74.jpg"/><Relationship Id="rId27" Type="http://schemas.openxmlformats.org/officeDocument/2006/relationships/image" Target="../media/image79.jpg"/><Relationship Id="rId30" Type="http://schemas.openxmlformats.org/officeDocument/2006/relationships/image" Target="../media/image82.jpg"/><Relationship Id="rId35" Type="http://schemas.openxmlformats.org/officeDocument/2006/relationships/image" Target="../media/image87.jpg"/><Relationship Id="rId8" Type="http://schemas.openxmlformats.org/officeDocument/2006/relationships/image" Target="../media/image60.jpg"/><Relationship Id="rId3" Type="http://schemas.openxmlformats.org/officeDocument/2006/relationships/image" Target="../media/image55.jpg"/></Relationships>
</file>

<file path=ppt/slides/_rels/slide2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68.xml"/></Relationships>
</file>

<file path=ppt/slides/_rels/slide21.xml.rels><?xml version="1.0" encoding="UTF-8" standalone="yes"?>
<Relationships xmlns="http://schemas.openxmlformats.org/package/2006/relationships"><Relationship Id="rId2" Type="http://schemas.openxmlformats.org/officeDocument/2006/relationships/image" Target="../media/image103.jpeg"/><Relationship Id="rId1" Type="http://schemas.openxmlformats.org/officeDocument/2006/relationships/slideLayout" Target="../slideLayouts/slideLayout58.xml"/></Relationships>
</file>

<file path=ppt/slides/_rels/slide22.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83.xml"/></Relationships>
</file>

<file path=ppt/slides/_rels/slide23.xml.rels><?xml version="1.0" encoding="UTF-8" standalone="yes"?>
<Relationships xmlns="http://schemas.openxmlformats.org/package/2006/relationships"><Relationship Id="rId2" Type="http://schemas.openxmlformats.org/officeDocument/2006/relationships/image" Target="../media/image104.jpeg"/><Relationship Id="rId1" Type="http://schemas.openxmlformats.org/officeDocument/2006/relationships/slideLayout" Target="../slideLayouts/slideLayout87.xml"/></Relationships>
</file>

<file path=ppt/slides/_rels/slide24.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14.xml"/><Relationship Id="rId1" Type="http://schemas.openxmlformats.org/officeDocument/2006/relationships/slideLayout" Target="../slideLayouts/slideLayout87.xml"/><Relationship Id="rId4" Type="http://schemas.microsoft.com/office/2007/relationships/hdphoto" Target="../media/hdphoto1.wdp"/></Relationships>
</file>

<file path=ppt/slides/_rels/slide25.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15.xml"/><Relationship Id="rId1" Type="http://schemas.openxmlformats.org/officeDocument/2006/relationships/slideLayout" Target="../slideLayouts/slideLayout114.xml"/><Relationship Id="rId4" Type="http://schemas.microsoft.com/office/2007/relationships/hdphoto" Target="../media/hdphoto2.wdp"/></Relationships>
</file>

<file path=ppt/slides/_rels/slide26.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11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28.xml.rels><?xml version="1.0" encoding="UTF-8" standalone="yes"?>
<Relationships xmlns="http://schemas.openxmlformats.org/package/2006/relationships"><Relationship Id="rId3" Type="http://schemas.openxmlformats.org/officeDocument/2006/relationships/image" Target="../media/image109.emf"/><Relationship Id="rId2" Type="http://schemas.openxmlformats.org/officeDocument/2006/relationships/image" Target="../media/image108.emf"/><Relationship Id="rId1" Type="http://schemas.openxmlformats.org/officeDocument/2006/relationships/slideLayout" Target="../slideLayouts/slideLayout58.xml"/></Relationships>
</file>

<file path=ppt/slides/_rels/slide29.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11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12.emf"/><Relationship Id="rId2" Type="http://schemas.openxmlformats.org/officeDocument/2006/relationships/image" Target="../media/image111.emf"/><Relationship Id="rId1" Type="http://schemas.openxmlformats.org/officeDocument/2006/relationships/slideLayout" Target="../slideLayouts/slideLayout5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21.xml"/></Relationships>
</file>

<file path=ppt/slides/_rels/slide32.xml.rels><?xml version="1.0" encoding="UTF-8" standalone="yes"?>
<Relationships xmlns="http://schemas.openxmlformats.org/package/2006/relationships"><Relationship Id="rId2" Type="http://schemas.openxmlformats.org/officeDocument/2006/relationships/image" Target="../media/image113.jpg"/><Relationship Id="rId1" Type="http://schemas.openxmlformats.org/officeDocument/2006/relationships/slideLayout" Target="../slideLayouts/slideLayout121.xml"/></Relationships>
</file>

<file path=ppt/slides/_rels/slide33.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14.png"/><Relationship Id="rId1" Type="http://schemas.openxmlformats.org/officeDocument/2006/relationships/slideLayout" Target="../slideLayouts/slideLayout12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21.xml"/></Relationships>
</file>

<file path=ppt/slides/_rels/slide3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15.png"/><Relationship Id="rId1" Type="http://schemas.openxmlformats.org/officeDocument/2006/relationships/slideLayout" Target="../slideLayouts/slideLayout58.xml"/></Relationships>
</file>

<file path=ppt/slides/_rels/slide36.xml.rels><?xml version="1.0" encoding="UTF-8" standalone="yes"?>
<Relationships xmlns="http://schemas.openxmlformats.org/package/2006/relationships"><Relationship Id="rId3" Type="http://schemas.openxmlformats.org/officeDocument/2006/relationships/image" Target="../media/image117.png"/><Relationship Id="rId7" Type="http://schemas.openxmlformats.org/officeDocument/2006/relationships/image" Target="../media/image120.png"/><Relationship Id="rId2" Type="http://schemas.openxmlformats.org/officeDocument/2006/relationships/image" Target="../media/image116.png"/><Relationship Id="rId1" Type="http://schemas.openxmlformats.org/officeDocument/2006/relationships/slideLayout" Target="../slideLayouts/slideLayout126.xml"/><Relationship Id="rId6" Type="http://schemas.openxmlformats.org/officeDocument/2006/relationships/image" Target="../media/image119.png"/><Relationship Id="rId5" Type="http://schemas.microsoft.com/office/2007/relationships/hdphoto" Target="../media/hdphoto5.wdp"/><Relationship Id="rId4" Type="http://schemas.openxmlformats.org/officeDocument/2006/relationships/image" Target="../media/image118.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39.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Layout" Target="../slideLayouts/slideLayout12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8" Type="http://schemas.openxmlformats.org/officeDocument/2006/relationships/image" Target="../media/image128.jpg"/><Relationship Id="rId13" Type="http://schemas.openxmlformats.org/officeDocument/2006/relationships/image" Target="../media/image133.jpg"/><Relationship Id="rId18" Type="http://schemas.openxmlformats.org/officeDocument/2006/relationships/image" Target="../media/image138.png"/><Relationship Id="rId26" Type="http://schemas.openxmlformats.org/officeDocument/2006/relationships/image" Target="../media/image146.png"/><Relationship Id="rId3" Type="http://schemas.openxmlformats.org/officeDocument/2006/relationships/image" Target="../media/image123.jpg"/><Relationship Id="rId21" Type="http://schemas.openxmlformats.org/officeDocument/2006/relationships/image" Target="../media/image141.jpg"/><Relationship Id="rId7" Type="http://schemas.openxmlformats.org/officeDocument/2006/relationships/image" Target="../media/image127.jpg"/><Relationship Id="rId12" Type="http://schemas.openxmlformats.org/officeDocument/2006/relationships/image" Target="../media/image132.jpg"/><Relationship Id="rId17" Type="http://schemas.openxmlformats.org/officeDocument/2006/relationships/image" Target="../media/image137.png"/><Relationship Id="rId25" Type="http://schemas.openxmlformats.org/officeDocument/2006/relationships/image" Target="../media/image145.png"/><Relationship Id="rId2" Type="http://schemas.openxmlformats.org/officeDocument/2006/relationships/image" Target="../media/image122.jpg"/><Relationship Id="rId16" Type="http://schemas.openxmlformats.org/officeDocument/2006/relationships/image" Target="../media/image136.png"/><Relationship Id="rId20" Type="http://schemas.openxmlformats.org/officeDocument/2006/relationships/image" Target="../media/image140.png"/><Relationship Id="rId29" Type="http://schemas.openxmlformats.org/officeDocument/2006/relationships/image" Target="../media/image149.png"/><Relationship Id="rId1" Type="http://schemas.openxmlformats.org/officeDocument/2006/relationships/slideLayout" Target="../slideLayouts/slideLayout131.xml"/><Relationship Id="rId6" Type="http://schemas.openxmlformats.org/officeDocument/2006/relationships/image" Target="../media/image126.png"/><Relationship Id="rId11" Type="http://schemas.openxmlformats.org/officeDocument/2006/relationships/image" Target="../media/image131.jpg"/><Relationship Id="rId24" Type="http://schemas.openxmlformats.org/officeDocument/2006/relationships/image" Target="../media/image144.png"/><Relationship Id="rId32" Type="http://schemas.openxmlformats.org/officeDocument/2006/relationships/image" Target="../media/image152.png"/><Relationship Id="rId5" Type="http://schemas.openxmlformats.org/officeDocument/2006/relationships/image" Target="../media/image125.png"/><Relationship Id="rId15" Type="http://schemas.openxmlformats.org/officeDocument/2006/relationships/image" Target="../media/image135.png"/><Relationship Id="rId23" Type="http://schemas.openxmlformats.org/officeDocument/2006/relationships/image" Target="../media/image143.jpg"/><Relationship Id="rId28" Type="http://schemas.openxmlformats.org/officeDocument/2006/relationships/image" Target="../media/image148.png"/><Relationship Id="rId10" Type="http://schemas.openxmlformats.org/officeDocument/2006/relationships/image" Target="../media/image130.jpg"/><Relationship Id="rId19" Type="http://schemas.openxmlformats.org/officeDocument/2006/relationships/image" Target="../media/image139.png"/><Relationship Id="rId31" Type="http://schemas.openxmlformats.org/officeDocument/2006/relationships/image" Target="../media/image151.png"/><Relationship Id="rId4" Type="http://schemas.openxmlformats.org/officeDocument/2006/relationships/image" Target="../media/image124.png"/><Relationship Id="rId9" Type="http://schemas.openxmlformats.org/officeDocument/2006/relationships/image" Target="../media/image129.jpg"/><Relationship Id="rId14" Type="http://schemas.openxmlformats.org/officeDocument/2006/relationships/image" Target="../media/image134.png"/><Relationship Id="rId22" Type="http://schemas.openxmlformats.org/officeDocument/2006/relationships/image" Target="../media/image142.jpg"/><Relationship Id="rId27" Type="http://schemas.openxmlformats.org/officeDocument/2006/relationships/image" Target="../media/image147.png"/><Relationship Id="rId30" Type="http://schemas.openxmlformats.org/officeDocument/2006/relationships/image" Target="../media/image150.png"/></Relationships>
</file>

<file path=ppt/slides/_rels/slide41.xml.rels><?xml version="1.0" encoding="UTF-8" standalone="yes"?>
<Relationships xmlns="http://schemas.openxmlformats.org/package/2006/relationships"><Relationship Id="rId8" Type="http://schemas.openxmlformats.org/officeDocument/2006/relationships/image" Target="../media/image159.png"/><Relationship Id="rId13" Type="http://schemas.openxmlformats.org/officeDocument/2006/relationships/image" Target="../media/image164.png"/><Relationship Id="rId3" Type="http://schemas.openxmlformats.org/officeDocument/2006/relationships/image" Target="../media/image154.png"/><Relationship Id="rId7" Type="http://schemas.openxmlformats.org/officeDocument/2006/relationships/image" Target="../media/image158.png"/><Relationship Id="rId12" Type="http://schemas.openxmlformats.org/officeDocument/2006/relationships/image" Target="../media/image163.png"/><Relationship Id="rId17" Type="http://schemas.openxmlformats.org/officeDocument/2006/relationships/image" Target="../media/image168.png"/><Relationship Id="rId2" Type="http://schemas.openxmlformats.org/officeDocument/2006/relationships/image" Target="../media/image153.png"/><Relationship Id="rId16" Type="http://schemas.openxmlformats.org/officeDocument/2006/relationships/image" Target="../media/image167.png"/><Relationship Id="rId1" Type="http://schemas.openxmlformats.org/officeDocument/2006/relationships/slideLayout" Target="../slideLayouts/slideLayout131.xml"/><Relationship Id="rId6" Type="http://schemas.openxmlformats.org/officeDocument/2006/relationships/image" Target="../media/image157.png"/><Relationship Id="rId11" Type="http://schemas.openxmlformats.org/officeDocument/2006/relationships/image" Target="../media/image162.png"/><Relationship Id="rId5" Type="http://schemas.openxmlformats.org/officeDocument/2006/relationships/image" Target="../media/image156.png"/><Relationship Id="rId15" Type="http://schemas.openxmlformats.org/officeDocument/2006/relationships/image" Target="../media/image166.png"/><Relationship Id="rId10" Type="http://schemas.openxmlformats.org/officeDocument/2006/relationships/image" Target="../media/image161.png"/><Relationship Id="rId4" Type="http://schemas.openxmlformats.org/officeDocument/2006/relationships/image" Target="../media/image155.png"/><Relationship Id="rId9" Type="http://schemas.openxmlformats.org/officeDocument/2006/relationships/image" Target="../media/image160.png"/><Relationship Id="rId14" Type="http://schemas.openxmlformats.org/officeDocument/2006/relationships/image" Target="../media/image165.png"/></Relationships>
</file>

<file path=ppt/slides/_rels/slide42.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image" Target="../media/image169.png"/><Relationship Id="rId1" Type="http://schemas.openxmlformats.org/officeDocument/2006/relationships/slideLayout" Target="../slideLayouts/slideLayout131.xml"/><Relationship Id="rId6" Type="http://schemas.openxmlformats.org/officeDocument/2006/relationships/image" Target="../media/image173.png"/><Relationship Id="rId5" Type="http://schemas.openxmlformats.org/officeDocument/2006/relationships/image" Target="../media/image172.png"/><Relationship Id="rId4" Type="http://schemas.openxmlformats.org/officeDocument/2006/relationships/image" Target="../media/image171.pn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0.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35.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60.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5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58.xml"/></Relationships>
</file>

<file path=ppt/slides/_rels/slide48.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hyperlink" Target="https://haematologica.org/article/view/11929" TargetMode="External"/><Relationship Id="rId1" Type="http://schemas.openxmlformats.org/officeDocument/2006/relationships/slideLayout" Target="../slideLayouts/slideLayout156.xml"/></Relationships>
</file>

<file path=ppt/slides/_rels/slide49.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image" Target="../media/image174.png"/><Relationship Id="rId1" Type="http://schemas.openxmlformats.org/officeDocument/2006/relationships/slideLayout" Target="../slideLayouts/slideLayout156.xml"/><Relationship Id="rId4" Type="http://schemas.openxmlformats.org/officeDocument/2006/relationships/image" Target="../media/image176.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hyperlink" Target="https://www.thelancet.com/journals/lancet/article/PIIS0140-6736%2824%2901774-4/fulltext" TargetMode="External"/><Relationship Id="rId1" Type="http://schemas.openxmlformats.org/officeDocument/2006/relationships/slideLayout" Target="../slideLayouts/slideLayout156.xml"/></Relationships>
</file>

<file path=ppt/slides/_rels/slide51.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hyperlink" Target="https://ascopubs.org/doi/pdfdirect/10.1200/JCO-25-01957" TargetMode="External"/><Relationship Id="rId1" Type="http://schemas.openxmlformats.org/officeDocument/2006/relationships/slideLayout" Target="../slideLayouts/slideLayout156.xml"/></Relationships>
</file>

<file path=ppt/slides/_rels/slide52.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hyperlink" Target="https://www.roche.com/media/releases/med-cor-2025-06-20" TargetMode="External"/><Relationship Id="rId1" Type="http://schemas.openxmlformats.org/officeDocument/2006/relationships/slideLayout" Target="../slideLayouts/slideLayout156.xml"/></Relationships>
</file>

<file path=ppt/slides/_rels/slide53.xml.rels><?xml version="1.0" encoding="UTF-8" standalone="yes"?>
<Relationships xmlns="http://schemas.openxmlformats.org/package/2006/relationships"><Relationship Id="rId2" Type="http://schemas.openxmlformats.org/officeDocument/2006/relationships/hyperlink" Target="https://ascopubs.org/doi/pdfdirect/10.1200/JCO-25-01957" TargetMode="External"/><Relationship Id="rId1" Type="http://schemas.openxmlformats.org/officeDocument/2006/relationships/slideLayout" Target="../slideLayouts/slideLayout156.xml"/></Relationships>
</file>

<file path=ppt/slides/_rels/slide54.xml.rels><?xml version="1.0" encoding="UTF-8" standalone="yes"?>
<Relationships xmlns="http://schemas.openxmlformats.org/package/2006/relationships"><Relationship Id="rId2" Type="http://schemas.openxmlformats.org/officeDocument/2006/relationships/hyperlink" Target="https://ascopost.com/issues/february-25-2026/first-results-of-phase-iii-olympia-3-odronextamab-plus-chop-in-untreated-dlbcl/" TargetMode="External"/><Relationship Id="rId1" Type="http://schemas.openxmlformats.org/officeDocument/2006/relationships/slideLayout" Target="../slideLayouts/slideLayout156.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56.xml"/></Relationships>
</file>

<file path=ppt/slides/_rels/slide56.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image" Target="../media/image180.png"/><Relationship Id="rId1" Type="http://schemas.openxmlformats.org/officeDocument/2006/relationships/slideLayout" Target="../slideLayouts/slideLayout153.xml"/></Relationships>
</file>

<file path=ppt/slides/_rels/slide57.xml.rels><?xml version="1.0" encoding="UTF-8" standalone="yes"?>
<Relationships xmlns="http://schemas.openxmlformats.org/package/2006/relationships"><Relationship Id="rId2" Type="http://schemas.openxmlformats.org/officeDocument/2006/relationships/image" Target="../media/image182.png"/><Relationship Id="rId1" Type="http://schemas.openxmlformats.org/officeDocument/2006/relationships/slideLayout" Target="../slideLayouts/slideLayout167.xml"/></Relationships>
</file>

<file path=ppt/slides/_rels/slide58.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image" Target="../media/image183.png"/><Relationship Id="rId1" Type="http://schemas.openxmlformats.org/officeDocument/2006/relationships/slideLayout" Target="../slideLayouts/slideLayout167.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67.xml"/></Relationships>
</file>

<file path=ppt/slides/_rels/slide6.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4.xml"/><Relationship Id="rId1" Type="http://schemas.openxmlformats.org/officeDocument/2006/relationships/slideLayout" Target="../slideLayouts/slideLayout7.xml"/><Relationship Id="rId5" Type="http://schemas.openxmlformats.org/officeDocument/2006/relationships/image" Target="../media/image92.png"/><Relationship Id="rId4" Type="http://schemas.openxmlformats.org/officeDocument/2006/relationships/image" Target="../media/image91.png"/></Relationships>
</file>

<file path=ppt/slides/_rels/slide60.xml.rels><?xml version="1.0" encoding="UTF-8" standalone="yes"?>
<Relationships xmlns="http://schemas.openxmlformats.org/package/2006/relationships"><Relationship Id="rId3" Type="http://schemas.openxmlformats.org/officeDocument/2006/relationships/image" Target="../media/image185.jpeg"/><Relationship Id="rId2" Type="http://schemas.openxmlformats.org/officeDocument/2006/relationships/notesSlide" Target="../notesSlides/notesSlide18.xml"/><Relationship Id="rId1" Type="http://schemas.openxmlformats.org/officeDocument/2006/relationships/slideLayout" Target="../slideLayouts/slideLayout159.xml"/></Relationships>
</file>

<file path=ppt/slides/_rels/slide61.xml.rels><?xml version="1.0" encoding="UTF-8" standalone="yes"?>
<Relationships xmlns="http://schemas.openxmlformats.org/package/2006/relationships"><Relationship Id="rId2" Type="http://schemas.openxmlformats.org/officeDocument/2006/relationships/image" Target="../media/image186.jpeg"/><Relationship Id="rId1" Type="http://schemas.openxmlformats.org/officeDocument/2006/relationships/slideLayout" Target="../slideLayouts/slideLayout156.xml"/></Relationships>
</file>

<file path=ppt/slides/_rels/slide62.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hyperlink" Target="https://www.targetedonc.com/view/tafasitamab-plus-r-chop-improves-pfs-in-first-line-dlbcl-phase-3-results" TargetMode="External"/><Relationship Id="rId1" Type="http://schemas.openxmlformats.org/officeDocument/2006/relationships/slideLayout" Target="../slideLayouts/slideLayout156.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56.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56.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0.xml"/></Relationships>
</file>

<file path=ppt/slides/_rels/slide66.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20.xml"/><Relationship Id="rId1" Type="http://schemas.openxmlformats.org/officeDocument/2006/relationships/slideLayout" Target="../slideLayouts/slideLayout179.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80.xml"/></Relationships>
</file>

<file path=ppt/slides/_rels/slide68.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22.xml"/><Relationship Id="rId1" Type="http://schemas.openxmlformats.org/officeDocument/2006/relationships/slideLayout" Target="../slideLayouts/slideLayout205.xml"/><Relationship Id="rId4" Type="http://schemas.microsoft.com/office/2007/relationships/hdphoto" Target="../media/hdphoto6.wdp"/></Relationships>
</file>

<file path=ppt/slides/_rels/slide69.xml.rels><?xml version="1.0" encoding="UTF-8" standalone="yes"?>
<Relationships xmlns="http://schemas.openxmlformats.org/package/2006/relationships"><Relationship Id="rId3" Type="http://schemas.openxmlformats.org/officeDocument/2006/relationships/image" Target="../media/image190.jpeg"/><Relationship Id="rId2" Type="http://schemas.openxmlformats.org/officeDocument/2006/relationships/notesSlide" Target="../notesSlides/notesSlide23.xml"/><Relationship Id="rId1" Type="http://schemas.openxmlformats.org/officeDocument/2006/relationships/slideLayout" Target="../slideLayouts/slideLayout207.xml"/><Relationship Id="rId4" Type="http://schemas.openxmlformats.org/officeDocument/2006/relationships/image" Target="../media/image191.png"/></Relationships>
</file>

<file path=ppt/slides/_rels/slide7.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07.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07.xml"/></Relationships>
</file>

<file path=ppt/slides/_rels/slide72.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26.xml"/><Relationship Id="rId1" Type="http://schemas.openxmlformats.org/officeDocument/2006/relationships/slideLayout" Target="../slideLayouts/slideLayout218.xml"/><Relationship Id="rId5" Type="http://schemas.openxmlformats.org/officeDocument/2006/relationships/image" Target="../media/image194.jpeg"/><Relationship Id="rId4" Type="http://schemas.openxmlformats.org/officeDocument/2006/relationships/image" Target="../media/image193.png"/></Relationships>
</file>

<file path=ppt/slides/_rels/slide73.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27.xml"/><Relationship Id="rId1" Type="http://schemas.openxmlformats.org/officeDocument/2006/relationships/slideLayout" Target="../slideLayouts/slideLayout220.xml"/><Relationship Id="rId6" Type="http://schemas.openxmlformats.org/officeDocument/2006/relationships/image" Target="../media/image197.png"/><Relationship Id="rId5" Type="http://schemas.microsoft.com/office/2007/relationships/hdphoto" Target="../media/hdphoto7.wdp"/><Relationship Id="rId4" Type="http://schemas.openxmlformats.org/officeDocument/2006/relationships/image" Target="../media/image196.png"/></Relationships>
</file>

<file path=ppt/slides/_rels/slide74.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28.xml"/><Relationship Id="rId1" Type="http://schemas.openxmlformats.org/officeDocument/2006/relationships/slideLayout" Target="../slideLayouts/slideLayout207.xml"/></Relationships>
</file>

<file path=ppt/slides/_rels/slide75.xml.rels><?xml version="1.0" encoding="UTF-8" standalone="yes"?>
<Relationships xmlns="http://schemas.openxmlformats.org/package/2006/relationships"><Relationship Id="rId3" Type="http://schemas.openxmlformats.org/officeDocument/2006/relationships/image" Target="../media/image199.svg"/><Relationship Id="rId2" Type="http://schemas.openxmlformats.org/officeDocument/2006/relationships/notesSlide" Target="../notesSlides/notesSlide29.xml"/><Relationship Id="rId1" Type="http://schemas.openxmlformats.org/officeDocument/2006/relationships/slideLayout" Target="../slideLayouts/slideLayout236.xml"/><Relationship Id="rId5" Type="http://schemas.openxmlformats.org/officeDocument/2006/relationships/image" Target="../media/image201.svg"/><Relationship Id="rId4" Type="http://schemas.openxmlformats.org/officeDocument/2006/relationships/image" Target="../media/image200.svg"/></Relationships>
</file>

<file path=ppt/slides/_rels/slide76.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30.xml"/><Relationship Id="rId1" Type="http://schemas.openxmlformats.org/officeDocument/2006/relationships/slideLayout" Target="../slideLayouts/slideLayout236.xml"/><Relationship Id="rId4" Type="http://schemas.microsoft.com/office/2007/relationships/hdphoto" Target="../media/hdphoto8.wdp"/></Relationships>
</file>

<file path=ppt/slides/_rels/slide77.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31.xml"/><Relationship Id="rId1" Type="http://schemas.openxmlformats.org/officeDocument/2006/relationships/slideLayout" Target="../slideLayouts/slideLayout229.xml"/><Relationship Id="rId4" Type="http://schemas.openxmlformats.org/officeDocument/2006/relationships/chart" Target="../charts/chart6.xml"/></Relationships>
</file>

<file path=ppt/slides/_rels/slide78.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32.xml"/><Relationship Id="rId1" Type="http://schemas.openxmlformats.org/officeDocument/2006/relationships/slideLayout" Target="../slideLayouts/slideLayout236.xml"/><Relationship Id="rId4" Type="http://schemas.openxmlformats.org/officeDocument/2006/relationships/image" Target="../media/image204.png"/></Relationships>
</file>

<file path=ppt/slides/_rels/slide79.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notesSlide" Target="../notesSlides/notesSlide33.xml"/><Relationship Id="rId1" Type="http://schemas.openxmlformats.org/officeDocument/2006/relationships/slideLayout" Target="../slideLayouts/slideLayout240.xml"/></Relationships>
</file>

<file path=ppt/slides/_rels/slide8.xml.rels><?xml version="1.0" encoding="UTF-8" standalone="yes"?>
<Relationships xmlns="http://schemas.openxmlformats.org/package/2006/relationships"><Relationship Id="rId3" Type="http://schemas.openxmlformats.org/officeDocument/2006/relationships/image" Target="../media/image94.jp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36.xml"/></Relationships>
</file>

<file path=ppt/slides/_rels/slide81.xml.rels><?xml version="1.0" encoding="UTF-8" standalone="yes"?>
<Relationships xmlns="http://schemas.openxmlformats.org/package/2006/relationships"><Relationship Id="rId3" Type="http://schemas.openxmlformats.org/officeDocument/2006/relationships/image" Target="../media/image206.svg"/><Relationship Id="rId2" Type="http://schemas.openxmlformats.org/officeDocument/2006/relationships/notesSlide" Target="../notesSlides/notesSlide35.xml"/><Relationship Id="rId1" Type="http://schemas.openxmlformats.org/officeDocument/2006/relationships/slideLayout" Target="../slideLayouts/slideLayout236.xml"/><Relationship Id="rId5" Type="http://schemas.openxmlformats.org/officeDocument/2006/relationships/image" Target="../media/image208.png"/><Relationship Id="rId4" Type="http://schemas.openxmlformats.org/officeDocument/2006/relationships/image" Target="../media/image207.svg"/></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25.xml"/></Relationships>
</file>

<file path=ppt/slides/_rels/slide83.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37.xml"/><Relationship Id="rId1" Type="http://schemas.openxmlformats.org/officeDocument/2006/relationships/slideLayout" Target="../slideLayouts/slideLayout225.xml"/><Relationship Id="rId6" Type="http://schemas.microsoft.com/office/2007/relationships/hdphoto" Target="../media/hdphoto10.wdp"/><Relationship Id="rId5" Type="http://schemas.openxmlformats.org/officeDocument/2006/relationships/image" Target="../media/image210.png"/><Relationship Id="rId4" Type="http://schemas.microsoft.com/office/2007/relationships/hdphoto" Target="../media/hdphoto9.wdp"/></Relationships>
</file>

<file path=ppt/slides/_rels/slide84.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38.xml"/><Relationship Id="rId1" Type="http://schemas.openxmlformats.org/officeDocument/2006/relationships/slideLayout" Target="../slideLayouts/slideLayout241.xml"/><Relationship Id="rId4" Type="http://schemas.openxmlformats.org/officeDocument/2006/relationships/image" Target="../media/image212.png"/></Relationships>
</file>

<file path=ppt/slides/_rels/slide85.xml.rels><?xml version="1.0" encoding="UTF-8" standalone="yes"?>
<Relationships xmlns="http://schemas.openxmlformats.org/package/2006/relationships"><Relationship Id="rId3" Type="http://schemas.openxmlformats.org/officeDocument/2006/relationships/image" Target="../media/image213.png"/><Relationship Id="rId2" Type="http://schemas.openxmlformats.org/officeDocument/2006/relationships/notesSlide" Target="../notesSlides/notesSlide39.xml"/><Relationship Id="rId1" Type="http://schemas.openxmlformats.org/officeDocument/2006/relationships/slideLayout" Target="../slideLayouts/slideLayout225.xml"/><Relationship Id="rId5" Type="http://schemas.openxmlformats.org/officeDocument/2006/relationships/image" Target="../media/image215.png"/><Relationship Id="rId4" Type="http://schemas.openxmlformats.org/officeDocument/2006/relationships/image" Target="../media/image214.png"/></Relationships>
</file>

<file path=ppt/slides/_rels/slide86.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40.xml"/><Relationship Id="rId1" Type="http://schemas.openxmlformats.org/officeDocument/2006/relationships/slideLayout" Target="../slideLayouts/slideLayout225.xml"/><Relationship Id="rId4" Type="http://schemas.openxmlformats.org/officeDocument/2006/relationships/image" Target="../media/image217.png"/></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07.xml"/></Relationships>
</file>

<file path=ppt/slides/_rels/slide88.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notesSlide" Target="../notesSlides/notesSlide42.xml"/><Relationship Id="rId1" Type="http://schemas.openxmlformats.org/officeDocument/2006/relationships/slideLayout" Target="../slideLayouts/slideLayout207.xml"/><Relationship Id="rId6" Type="http://schemas.openxmlformats.org/officeDocument/2006/relationships/image" Target="../media/image220.png"/><Relationship Id="rId5" Type="http://schemas.openxmlformats.org/officeDocument/2006/relationships/image" Target="../media/image219.png"/><Relationship Id="rId4" Type="http://schemas.microsoft.com/office/2007/relationships/hdphoto" Target="../media/hdphoto11.wdp"/></Relationships>
</file>

<file path=ppt/slides/_rels/slide89.xml.rels><?xml version="1.0" encoding="UTF-8" standalone="yes"?>
<Relationships xmlns="http://schemas.openxmlformats.org/package/2006/relationships"><Relationship Id="rId3" Type="http://schemas.openxmlformats.org/officeDocument/2006/relationships/image" Target="../media/image221.png"/><Relationship Id="rId7" Type="http://schemas.openxmlformats.org/officeDocument/2006/relationships/image" Target="../media/image225.png"/><Relationship Id="rId2" Type="http://schemas.openxmlformats.org/officeDocument/2006/relationships/notesSlide" Target="../notesSlides/notesSlide43.xml"/><Relationship Id="rId1" Type="http://schemas.openxmlformats.org/officeDocument/2006/relationships/slideLayout" Target="../slideLayouts/slideLayout207.xml"/><Relationship Id="rId6" Type="http://schemas.openxmlformats.org/officeDocument/2006/relationships/image" Target="../media/image224.png"/><Relationship Id="rId5" Type="http://schemas.openxmlformats.org/officeDocument/2006/relationships/image" Target="../media/image223.png"/><Relationship Id="rId4" Type="http://schemas.openxmlformats.org/officeDocument/2006/relationships/image" Target="../media/image222.png"/></Relationships>
</file>

<file path=ppt/slides/_rels/slide9.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90.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44.xml"/><Relationship Id="rId1" Type="http://schemas.openxmlformats.org/officeDocument/2006/relationships/slideLayout" Target="../slideLayouts/slideLayout218.xml"/></Relationships>
</file>

<file path=ppt/slides/_rels/slide91.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notesSlide" Target="../notesSlides/notesSlide45.xml"/><Relationship Id="rId1" Type="http://schemas.openxmlformats.org/officeDocument/2006/relationships/slideLayout" Target="../slideLayouts/slideLayout212.xml"/><Relationship Id="rId4" Type="http://schemas.openxmlformats.org/officeDocument/2006/relationships/image" Target="../media/image227.png"/></Relationships>
</file>

<file path=ppt/slides/_rels/slide92.xml.rels><?xml version="1.0" encoding="UTF-8" standalone="yes"?>
<Relationships xmlns="http://schemas.openxmlformats.org/package/2006/relationships"><Relationship Id="rId8" Type="http://schemas.microsoft.com/office/2007/relationships/hdphoto" Target="../media/hdphoto14.wdp"/><Relationship Id="rId3" Type="http://schemas.openxmlformats.org/officeDocument/2006/relationships/image" Target="../media/image228.png"/><Relationship Id="rId7" Type="http://schemas.openxmlformats.org/officeDocument/2006/relationships/image" Target="../media/image230.png"/><Relationship Id="rId2" Type="http://schemas.openxmlformats.org/officeDocument/2006/relationships/notesSlide" Target="../notesSlides/notesSlide46.xml"/><Relationship Id="rId1" Type="http://schemas.openxmlformats.org/officeDocument/2006/relationships/slideLayout" Target="../slideLayouts/slideLayout247.xml"/><Relationship Id="rId6" Type="http://schemas.microsoft.com/office/2007/relationships/hdphoto" Target="../media/hdphoto13.wdp"/><Relationship Id="rId5" Type="http://schemas.openxmlformats.org/officeDocument/2006/relationships/image" Target="../media/image229.png"/><Relationship Id="rId4" Type="http://schemas.microsoft.com/office/2007/relationships/hdphoto" Target="../media/hdphoto12.wdp"/></Relationships>
</file>

<file path=ppt/slides/_rels/slide93.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notesSlide" Target="../notesSlides/notesSlide47.xml"/><Relationship Id="rId1" Type="http://schemas.openxmlformats.org/officeDocument/2006/relationships/slideLayout" Target="../slideLayouts/slideLayout243.xml"/><Relationship Id="rId4" Type="http://schemas.microsoft.com/office/2007/relationships/hdphoto" Target="../media/hdphoto15.wdp"/></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43.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40.xml"/></Relationships>
</file>

<file path=ppt/slides/_rels/slide96.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50.xml"/><Relationship Id="rId1" Type="http://schemas.openxmlformats.org/officeDocument/2006/relationships/slideLayout" Target="../slideLayouts/slideLayout63.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98.xml.rels><?xml version="1.0" encoding="UTF-8" standalone="yes"?>
<Relationships xmlns="http://schemas.openxmlformats.org/package/2006/relationships"><Relationship Id="rId3" Type="http://schemas.openxmlformats.org/officeDocument/2006/relationships/image" Target="../media/image232.png"/><Relationship Id="rId2" Type="http://schemas.openxmlformats.org/officeDocument/2006/relationships/notesSlide" Target="../notesSlides/notesSlide51.xml"/><Relationship Id="rId1" Type="http://schemas.openxmlformats.org/officeDocument/2006/relationships/slideLayout" Target="../slideLayouts/slideLayout52.xml"/><Relationship Id="rId6" Type="http://schemas.openxmlformats.org/officeDocument/2006/relationships/image" Target="../media/image235.png"/><Relationship Id="rId5" Type="http://schemas.openxmlformats.org/officeDocument/2006/relationships/image" Target="../media/image234.png"/><Relationship Id="rId4" Type="http://schemas.openxmlformats.org/officeDocument/2006/relationships/image" Target="../media/image233.png"/></Relationships>
</file>

<file path=ppt/slides/_rels/slide99.xml.rels><?xml version="1.0" encoding="UTF-8" standalone="yes"?>
<Relationships xmlns="http://schemas.openxmlformats.org/package/2006/relationships"><Relationship Id="rId3" Type="http://schemas.openxmlformats.org/officeDocument/2006/relationships/image" Target="../media/image236.png"/><Relationship Id="rId7" Type="http://schemas.microsoft.com/office/2007/relationships/hdphoto" Target="../media/hdphoto17.wdp"/><Relationship Id="rId2" Type="http://schemas.openxmlformats.org/officeDocument/2006/relationships/notesSlide" Target="../notesSlides/notesSlide52.xml"/><Relationship Id="rId1" Type="http://schemas.openxmlformats.org/officeDocument/2006/relationships/slideLayout" Target="../slideLayouts/slideLayout297.xml"/><Relationship Id="rId6" Type="http://schemas.openxmlformats.org/officeDocument/2006/relationships/image" Target="../media/image238.png"/><Relationship Id="rId5" Type="http://schemas.openxmlformats.org/officeDocument/2006/relationships/image" Target="../media/image237.png"/><Relationship Id="rId4" Type="http://schemas.microsoft.com/office/2007/relationships/hdphoto" Target="../media/hdphoto16.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F6D719E2-E113-7925-0194-A162D1C351BC}"/>
              </a:ext>
            </a:extLst>
          </p:cNvPr>
          <p:cNvSpPr txBox="1"/>
          <p:nvPr/>
        </p:nvSpPr>
        <p:spPr>
          <a:xfrm>
            <a:off x="445008" y="1771319"/>
            <a:ext cx="11301984" cy="1421896"/>
          </a:xfrm>
          <a:prstGeom prst="rect">
            <a:avLst/>
          </a:prstGeom>
          <a:solidFill>
            <a:srgbClr val="6390BD">
              <a:alpha val="20000"/>
            </a:srgbClr>
          </a:solidFill>
        </p:spPr>
        <p:txBody>
          <a:bodyPr wrap="square" rtlCol="0" anchor="ctr">
            <a:noAutofit/>
          </a:bodyPr>
          <a:lstStyle/>
          <a:p>
            <a:pPr marL="0" marR="0" lvl="0" indent="0" algn="ctr" defTabSz="914400" rtl="0" eaLnBrk="1" fontAlgn="auto" latinLnBrk="0" hangingPunct="1">
              <a:lnSpc>
                <a:spcPts val="3000"/>
              </a:lnSpc>
              <a:spcBef>
                <a:spcPts val="0"/>
              </a:spcBef>
              <a:spcAft>
                <a:spcPts val="0"/>
              </a:spcAft>
              <a:buClrTx/>
              <a:buSzTx/>
              <a:buFontTx/>
              <a:buNone/>
              <a:tabLst/>
              <a:defRPr/>
            </a:pPr>
            <a:r>
              <a:rPr kumimoji="0" lang="en-US" sz="2800" b="1" i="1" u="none" strike="noStrike" kern="1200" cap="none" spc="0" normalizeH="0" baseline="0" noProof="0" dirty="0">
                <a:ln>
                  <a:noFill/>
                </a:ln>
                <a:solidFill>
                  <a:srgbClr val="3A558A"/>
                </a:solidFill>
                <a:effectLst/>
                <a:uLnTx/>
                <a:uFillTx/>
                <a:latin typeface="Arial" panose="020B0604020202020204"/>
                <a:ea typeface="ＭＳ Ｐゴシック" charset="0"/>
                <a:cs typeface="+mn-cs"/>
              </a:rPr>
              <a:t>A </a:t>
            </a:r>
            <a:r>
              <a:rPr kumimoji="0" lang="en-US" sz="2800" b="1" i="1" u="none" strike="noStrike" kern="1200" cap="none" spc="0" normalizeH="0" baseline="0" noProof="0" dirty="0" err="1">
                <a:ln>
                  <a:noFill/>
                </a:ln>
                <a:solidFill>
                  <a:srgbClr val="3A558A"/>
                </a:solidFill>
                <a:effectLst/>
                <a:uLnTx/>
                <a:uFillTx/>
                <a:latin typeface="Arial" panose="020B0604020202020204"/>
                <a:ea typeface="ＭＳ Ｐゴシック" charset="0"/>
                <a:cs typeface="+mn-cs"/>
              </a:rPr>
              <a:t>Multitumor</a:t>
            </a:r>
            <a:r>
              <a:rPr kumimoji="0" lang="en-US" sz="2800" b="1" i="1" u="none" strike="noStrike" kern="1200" cap="none" spc="0" normalizeH="0" baseline="0" noProof="0" dirty="0">
                <a:ln>
                  <a:noFill/>
                </a:ln>
                <a:solidFill>
                  <a:srgbClr val="3A558A"/>
                </a:solidFill>
                <a:effectLst/>
                <a:uLnTx/>
                <a:uFillTx/>
                <a:latin typeface="Arial" panose="020B0604020202020204"/>
                <a:ea typeface="ＭＳ Ｐゴシック" charset="0"/>
                <a:cs typeface="+mn-cs"/>
              </a:rPr>
              <a:t> CME/MOC-, NCPD- and ACPE-Accredited Educational Conference Developed in Partnership with </a:t>
            </a:r>
            <a:br>
              <a:rPr kumimoji="0" lang="en-US" sz="2800" b="1" i="1" u="none" strike="noStrike" kern="1200" cap="none" spc="0" normalizeH="0" baseline="0" noProof="0" dirty="0">
                <a:ln>
                  <a:noFill/>
                </a:ln>
                <a:solidFill>
                  <a:srgbClr val="3A558A"/>
                </a:solidFill>
                <a:effectLst/>
                <a:uLnTx/>
                <a:uFillTx/>
                <a:latin typeface="Arial" panose="020B0604020202020204"/>
                <a:ea typeface="ＭＳ Ｐゴシック" charset="0"/>
                <a:cs typeface="+mn-cs"/>
              </a:rPr>
            </a:br>
            <a:r>
              <a:rPr kumimoji="0" lang="en-US" sz="2800" b="1" i="1" u="none" strike="noStrike" kern="1200" cap="none" spc="0" normalizeH="0" baseline="0" noProof="0" dirty="0">
                <a:ln>
                  <a:noFill/>
                </a:ln>
                <a:effectLst/>
                <a:uLnTx/>
                <a:uFillTx/>
                <a:latin typeface="Arial" panose="020B0604020202020204"/>
                <a:ea typeface="ＭＳ Ｐゴシック" charset="0"/>
                <a:cs typeface="+mn-cs"/>
              </a:rPr>
              <a:t>Florida Cancer Specialists &amp; Research Institute</a:t>
            </a:r>
          </a:p>
        </p:txBody>
      </p:sp>
      <p:sp>
        <p:nvSpPr>
          <p:cNvPr id="4" name="Rectangle 8">
            <a:extLst>
              <a:ext uri="{FF2B5EF4-FFF2-40B4-BE49-F238E27FC236}">
                <a16:creationId xmlns:a16="http://schemas.microsoft.com/office/drawing/2014/main" id="{24A33DA9-23B1-3B09-987D-083092A05D5D}"/>
              </a:ext>
            </a:extLst>
          </p:cNvPr>
          <p:cNvSpPr>
            <a:spLocks noChangeArrowheads="1"/>
          </p:cNvSpPr>
          <p:nvPr/>
        </p:nvSpPr>
        <p:spPr bwMode="auto">
          <a:xfrm>
            <a:off x="445008" y="3158576"/>
            <a:ext cx="11301984" cy="6400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p>
            <a:pPr algn="ctr">
              <a:defRPr/>
            </a:pPr>
            <a:r>
              <a:rPr lang="en-US" sz="3000" b="1" kern="0" dirty="0">
                <a:solidFill>
                  <a:srgbClr val="FF9300"/>
                </a:solidFill>
                <a:cs typeface="ＭＳ Ｐゴシック"/>
              </a:rPr>
              <a:t>Friday, April 24, 2026</a:t>
            </a:r>
            <a:endParaRPr lang="en-US" sz="3000" b="1" kern="0" dirty="0">
              <a:solidFill>
                <a:srgbClr val="FF9300"/>
              </a:solidFill>
              <a:latin typeface="Arial"/>
              <a:cs typeface="ＭＳ Ｐゴシック"/>
            </a:endParaRPr>
          </a:p>
        </p:txBody>
      </p:sp>
      <p:sp>
        <p:nvSpPr>
          <p:cNvPr id="6" name="Text Box 7">
            <a:extLst>
              <a:ext uri="{FF2B5EF4-FFF2-40B4-BE49-F238E27FC236}">
                <a16:creationId xmlns:a16="http://schemas.microsoft.com/office/drawing/2014/main" id="{9EE94DB0-FC35-C703-0F57-D3A7196BF0A9}"/>
              </a:ext>
            </a:extLst>
          </p:cNvPr>
          <p:cNvSpPr txBox="1">
            <a:spLocks noChangeArrowheads="1"/>
          </p:cNvSpPr>
          <p:nvPr/>
        </p:nvSpPr>
        <p:spPr bwMode="auto">
          <a:xfrm>
            <a:off x="445008" y="3815895"/>
            <a:ext cx="11301984" cy="7078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type="none" w="sm" len="sm"/>
                <a:tailEnd type="none" w="sm" len="sm"/>
              </a14:hiddenLine>
            </a:ext>
          </a:extLst>
        </p:spPr>
        <p:txBody>
          <a:bodyPr wrap="square">
            <a:spAutoFit/>
          </a:bodyPr>
          <a:lstStyle>
            <a:lvl1pPr eaLnBrk="0" hangingPunct="0">
              <a:defRPr sz="2000" i="1">
                <a:solidFill>
                  <a:schemeClr val="tx1"/>
                </a:solidFill>
                <a:latin typeface="Arial" charset="0"/>
                <a:ea typeface="ＭＳ Ｐゴシック" charset="0"/>
                <a:cs typeface="ＭＳ Ｐゴシック" charset="0"/>
              </a:defRPr>
            </a:lvl1pPr>
            <a:lvl2pPr marL="742950" indent="-285750" eaLnBrk="0" hangingPunct="0">
              <a:defRPr sz="2000" i="1">
                <a:solidFill>
                  <a:schemeClr val="tx1"/>
                </a:solidFill>
                <a:latin typeface="Arial" charset="0"/>
                <a:ea typeface="ＭＳ Ｐゴシック" charset="0"/>
              </a:defRPr>
            </a:lvl2pPr>
            <a:lvl3pPr marL="1143000" indent="-228600" eaLnBrk="0" hangingPunct="0">
              <a:defRPr sz="2000" i="1">
                <a:solidFill>
                  <a:schemeClr val="tx1"/>
                </a:solidFill>
                <a:latin typeface="Arial" charset="0"/>
                <a:ea typeface="ＭＳ Ｐゴシック" charset="0"/>
              </a:defRPr>
            </a:lvl3pPr>
            <a:lvl4pPr marL="1600200" indent="-228600" eaLnBrk="0" hangingPunct="0">
              <a:defRPr sz="2000" i="1">
                <a:solidFill>
                  <a:schemeClr val="tx1"/>
                </a:solidFill>
                <a:latin typeface="Arial" charset="0"/>
                <a:ea typeface="ＭＳ Ｐゴシック" charset="0"/>
              </a:defRPr>
            </a:lvl4pPr>
            <a:lvl5pPr marL="2057400" indent="-228600" eaLnBrk="0" hangingPunct="0">
              <a:defRPr sz="2000" i="1">
                <a:solidFill>
                  <a:schemeClr val="tx1"/>
                </a:solidFill>
                <a:latin typeface="Arial" charset="0"/>
                <a:ea typeface="ＭＳ Ｐゴシック" charset="0"/>
              </a:defRPr>
            </a:lvl5pPr>
            <a:lvl6pPr marL="2514600" indent="-228600" eaLnBrk="0" fontAlgn="base" hangingPunct="0">
              <a:spcBef>
                <a:spcPct val="0"/>
              </a:spcBef>
              <a:spcAft>
                <a:spcPct val="0"/>
              </a:spcAft>
              <a:defRPr sz="2000" i="1">
                <a:solidFill>
                  <a:schemeClr val="tx1"/>
                </a:solidFill>
                <a:latin typeface="Arial" charset="0"/>
                <a:ea typeface="ＭＳ Ｐゴシック" charset="0"/>
              </a:defRPr>
            </a:lvl6pPr>
            <a:lvl7pPr marL="2971800" indent="-228600" eaLnBrk="0" fontAlgn="base" hangingPunct="0">
              <a:spcBef>
                <a:spcPct val="0"/>
              </a:spcBef>
              <a:spcAft>
                <a:spcPct val="0"/>
              </a:spcAft>
              <a:defRPr sz="2000" i="1">
                <a:solidFill>
                  <a:schemeClr val="tx1"/>
                </a:solidFill>
                <a:latin typeface="Arial" charset="0"/>
                <a:ea typeface="ＭＳ Ｐゴシック" charset="0"/>
              </a:defRPr>
            </a:lvl7pPr>
            <a:lvl8pPr marL="3429000" indent="-228600" eaLnBrk="0" fontAlgn="base" hangingPunct="0">
              <a:spcBef>
                <a:spcPct val="0"/>
              </a:spcBef>
              <a:spcAft>
                <a:spcPct val="0"/>
              </a:spcAft>
              <a:defRPr sz="2000" i="1">
                <a:solidFill>
                  <a:schemeClr val="tx1"/>
                </a:solidFill>
                <a:latin typeface="Arial" charset="0"/>
                <a:ea typeface="ＭＳ Ｐゴシック" charset="0"/>
              </a:defRPr>
            </a:lvl8pPr>
            <a:lvl9pPr marL="3886200" indent="-228600" eaLnBrk="0" fontAlgn="base" hangingPunct="0">
              <a:spcBef>
                <a:spcPct val="0"/>
              </a:spcBef>
              <a:spcAft>
                <a:spcPct val="0"/>
              </a:spcAft>
              <a:defRPr sz="2000" i="1">
                <a:solidFill>
                  <a:schemeClr val="tx1"/>
                </a:solidFill>
                <a:latin typeface="Arial" charset="0"/>
                <a:ea typeface="ＭＳ Ｐゴシック" charset="0"/>
              </a:defRPr>
            </a:lvl9pPr>
          </a:lstStyle>
          <a:p>
            <a:pPr algn="ctr"/>
            <a:r>
              <a:rPr lang="en-US" b="1" i="0" dirty="0">
                <a:solidFill>
                  <a:srgbClr val="002656"/>
                </a:solidFill>
              </a:rPr>
              <a:t>Moderator</a:t>
            </a:r>
          </a:p>
          <a:p>
            <a:pPr algn="ctr"/>
            <a:r>
              <a:rPr lang="en-US" b="1" i="0" dirty="0">
                <a:solidFill>
                  <a:srgbClr val="505153"/>
                </a:solidFill>
              </a:rPr>
              <a:t>Neil Love, MD</a:t>
            </a:r>
          </a:p>
        </p:txBody>
      </p:sp>
      <p:sp>
        <p:nvSpPr>
          <p:cNvPr id="8" name="Text Box 7">
            <a:extLst>
              <a:ext uri="{FF2B5EF4-FFF2-40B4-BE49-F238E27FC236}">
                <a16:creationId xmlns:a16="http://schemas.microsoft.com/office/drawing/2014/main" id="{231B04D2-39B1-8B2B-2B7D-2B8787583248}"/>
              </a:ext>
            </a:extLst>
          </p:cNvPr>
          <p:cNvSpPr txBox="1">
            <a:spLocks noChangeArrowheads="1"/>
          </p:cNvSpPr>
          <p:nvPr/>
        </p:nvSpPr>
        <p:spPr bwMode="auto">
          <a:xfrm>
            <a:off x="445008" y="4541317"/>
            <a:ext cx="11301984" cy="132343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type="none" w="sm" len="sm"/>
                <a:tailEnd type="none" w="sm" len="sm"/>
              </a14:hiddenLine>
            </a:ext>
          </a:extLst>
        </p:spPr>
        <p:txBody>
          <a:bodyPr wrap="square">
            <a:spAutoFit/>
          </a:bodyPr>
          <a:lstStyle>
            <a:lvl1pPr eaLnBrk="0" hangingPunct="0">
              <a:defRPr sz="2000" i="1">
                <a:solidFill>
                  <a:schemeClr val="tx1"/>
                </a:solidFill>
                <a:latin typeface="Arial" charset="0"/>
                <a:ea typeface="ＭＳ Ｐゴシック" charset="0"/>
                <a:cs typeface="ＭＳ Ｐゴシック" charset="0"/>
              </a:defRPr>
            </a:lvl1pPr>
            <a:lvl2pPr marL="742950" indent="-285750" eaLnBrk="0" hangingPunct="0">
              <a:defRPr sz="2000" i="1">
                <a:solidFill>
                  <a:schemeClr val="tx1"/>
                </a:solidFill>
                <a:latin typeface="Arial" charset="0"/>
                <a:ea typeface="ＭＳ Ｐゴシック" charset="0"/>
              </a:defRPr>
            </a:lvl2pPr>
            <a:lvl3pPr marL="1143000" indent="-228600" eaLnBrk="0" hangingPunct="0">
              <a:defRPr sz="2000" i="1">
                <a:solidFill>
                  <a:schemeClr val="tx1"/>
                </a:solidFill>
                <a:latin typeface="Arial" charset="0"/>
                <a:ea typeface="ＭＳ Ｐゴシック" charset="0"/>
              </a:defRPr>
            </a:lvl3pPr>
            <a:lvl4pPr marL="1600200" indent="-228600" eaLnBrk="0" hangingPunct="0">
              <a:defRPr sz="2000" i="1">
                <a:solidFill>
                  <a:schemeClr val="tx1"/>
                </a:solidFill>
                <a:latin typeface="Arial" charset="0"/>
                <a:ea typeface="ＭＳ Ｐゴシック" charset="0"/>
              </a:defRPr>
            </a:lvl4pPr>
            <a:lvl5pPr marL="2057400" indent="-228600" eaLnBrk="0" hangingPunct="0">
              <a:defRPr sz="2000" i="1">
                <a:solidFill>
                  <a:schemeClr val="tx1"/>
                </a:solidFill>
                <a:latin typeface="Arial" charset="0"/>
                <a:ea typeface="ＭＳ Ｐゴシック" charset="0"/>
              </a:defRPr>
            </a:lvl5pPr>
            <a:lvl6pPr marL="2514600" indent="-228600" eaLnBrk="0" fontAlgn="base" hangingPunct="0">
              <a:spcBef>
                <a:spcPct val="0"/>
              </a:spcBef>
              <a:spcAft>
                <a:spcPct val="0"/>
              </a:spcAft>
              <a:defRPr sz="2000" i="1">
                <a:solidFill>
                  <a:schemeClr val="tx1"/>
                </a:solidFill>
                <a:latin typeface="Arial" charset="0"/>
                <a:ea typeface="ＭＳ Ｐゴシック" charset="0"/>
              </a:defRPr>
            </a:lvl6pPr>
            <a:lvl7pPr marL="2971800" indent="-228600" eaLnBrk="0" fontAlgn="base" hangingPunct="0">
              <a:spcBef>
                <a:spcPct val="0"/>
              </a:spcBef>
              <a:spcAft>
                <a:spcPct val="0"/>
              </a:spcAft>
              <a:defRPr sz="2000" i="1">
                <a:solidFill>
                  <a:schemeClr val="tx1"/>
                </a:solidFill>
                <a:latin typeface="Arial" charset="0"/>
                <a:ea typeface="ＭＳ Ｐゴシック" charset="0"/>
              </a:defRPr>
            </a:lvl7pPr>
            <a:lvl8pPr marL="3429000" indent="-228600" eaLnBrk="0" fontAlgn="base" hangingPunct="0">
              <a:spcBef>
                <a:spcPct val="0"/>
              </a:spcBef>
              <a:spcAft>
                <a:spcPct val="0"/>
              </a:spcAft>
              <a:defRPr sz="2000" i="1">
                <a:solidFill>
                  <a:schemeClr val="tx1"/>
                </a:solidFill>
                <a:latin typeface="Arial" charset="0"/>
                <a:ea typeface="ＭＳ Ｐゴシック" charset="0"/>
              </a:defRPr>
            </a:lvl8pPr>
            <a:lvl9pPr marL="3886200" indent="-228600" eaLnBrk="0" fontAlgn="base" hangingPunct="0">
              <a:spcBef>
                <a:spcPct val="0"/>
              </a:spcBef>
              <a:spcAft>
                <a:spcPct val="0"/>
              </a:spcAft>
              <a:defRPr sz="2000" i="1">
                <a:solidFill>
                  <a:schemeClr val="tx1"/>
                </a:solidFill>
                <a:latin typeface="Arial" charset="0"/>
                <a:ea typeface="ＭＳ Ｐゴシック" charset="0"/>
              </a:defRPr>
            </a:lvl9pPr>
          </a:lstStyle>
          <a:p>
            <a:pPr algn="ctr"/>
            <a:r>
              <a:rPr lang="en-US" b="1" i="0" dirty="0">
                <a:solidFill>
                  <a:srgbClr val="002656"/>
                </a:solidFill>
                <a:ea typeface="ヒラギノ角ゴ Pro W3" charset="0"/>
                <a:cs typeface="ヒラギノ角ゴ Pro W3" charset="0"/>
              </a:rPr>
              <a:t>Faculty</a:t>
            </a:r>
          </a:p>
          <a:p>
            <a:pPr algn="ctr"/>
            <a:r>
              <a:rPr lang="en-US" b="1" i="0" dirty="0">
                <a:solidFill>
                  <a:srgbClr val="505153"/>
                </a:solidFill>
              </a:rPr>
              <a:t>Manali Kamdar, MD, MBBS</a:t>
            </a:r>
          </a:p>
          <a:p>
            <a:pPr algn="ctr"/>
            <a:r>
              <a:rPr lang="en-US" b="1" i="0" dirty="0">
                <a:solidFill>
                  <a:srgbClr val="505153"/>
                </a:solidFill>
              </a:rPr>
              <a:t>Krish Patel, MD</a:t>
            </a:r>
          </a:p>
          <a:p>
            <a:pPr algn="ctr"/>
            <a:r>
              <a:rPr lang="en-US" b="1" i="0" dirty="0">
                <a:solidFill>
                  <a:srgbClr val="505153"/>
                </a:solidFill>
              </a:rPr>
              <a:t>Gilles Salles, MD, PhD </a:t>
            </a:r>
          </a:p>
        </p:txBody>
      </p:sp>
    </p:spTree>
    <p:extLst>
      <p:ext uri="{BB962C8B-B14F-4D97-AF65-F5344CB8AC3E}">
        <p14:creationId xmlns:p14="http://schemas.microsoft.com/office/powerpoint/2010/main" val="20648349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C524C9-5456-5907-0558-091EB3354AE0}"/>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96FBDBD2-CC73-6CFD-9692-8463DBE1C893}"/>
              </a:ext>
            </a:extLst>
          </p:cNvPr>
          <p:cNvSpPr txBox="1"/>
          <p:nvPr/>
        </p:nvSpPr>
        <p:spPr>
          <a:xfrm>
            <a:off x="445008" y="1771319"/>
            <a:ext cx="11301984" cy="1421896"/>
          </a:xfrm>
          <a:prstGeom prst="rect">
            <a:avLst/>
          </a:prstGeom>
          <a:solidFill>
            <a:srgbClr val="6390BD">
              <a:alpha val="20000"/>
            </a:srgbClr>
          </a:solidFill>
        </p:spPr>
        <p:txBody>
          <a:bodyPr wrap="square" rtlCol="0" anchor="ctr">
            <a:noAutofit/>
          </a:bodyPr>
          <a:lstStyle/>
          <a:p>
            <a:pPr marL="0" marR="0" lvl="0" indent="0" algn="ctr" defTabSz="914400" rtl="0" eaLnBrk="1" fontAlgn="auto" latinLnBrk="0" hangingPunct="1">
              <a:lnSpc>
                <a:spcPts val="3000"/>
              </a:lnSpc>
              <a:spcBef>
                <a:spcPts val="0"/>
              </a:spcBef>
              <a:spcAft>
                <a:spcPts val="0"/>
              </a:spcAft>
              <a:buClrTx/>
              <a:buSzTx/>
              <a:buFontTx/>
              <a:buNone/>
              <a:tabLst/>
              <a:defRPr/>
            </a:pPr>
            <a:r>
              <a:rPr lang="en-US" sz="3000" b="1" dirty="0">
                <a:solidFill>
                  <a:srgbClr val="002656"/>
                </a:solidFill>
              </a:rPr>
              <a:t>Keynote Session: </a:t>
            </a:r>
            <a:br>
              <a:rPr lang="en-US" sz="3000" b="1" dirty="0">
                <a:solidFill>
                  <a:srgbClr val="002656"/>
                </a:solidFill>
              </a:rPr>
            </a:br>
            <a:r>
              <a:rPr lang="en-US" sz="3000" b="1" dirty="0">
                <a:solidFill>
                  <a:srgbClr val="002656"/>
                </a:solidFill>
              </a:rPr>
              <a:t>Diffuse Large B-Cell Lymphoma and Follicular Lymphoma</a:t>
            </a:r>
            <a:endParaRPr kumimoji="0" lang="en-US" sz="3000" b="1" i="1" u="none" strike="noStrike" kern="1200" cap="none" spc="0" normalizeH="0" baseline="0" noProof="0" dirty="0">
              <a:ln>
                <a:noFill/>
              </a:ln>
              <a:solidFill>
                <a:srgbClr val="002656"/>
              </a:solidFill>
              <a:effectLst/>
              <a:uLnTx/>
              <a:uFillTx/>
              <a:latin typeface="Arial" panose="020B0604020202020204"/>
              <a:ea typeface="ＭＳ Ｐゴシック" charset="0"/>
              <a:cs typeface="+mn-cs"/>
            </a:endParaRPr>
          </a:p>
        </p:txBody>
      </p:sp>
      <p:sp>
        <p:nvSpPr>
          <p:cNvPr id="4" name="Rectangle 8">
            <a:extLst>
              <a:ext uri="{FF2B5EF4-FFF2-40B4-BE49-F238E27FC236}">
                <a16:creationId xmlns:a16="http://schemas.microsoft.com/office/drawing/2014/main" id="{DC226735-DD9E-276D-0524-DA2243988A50}"/>
              </a:ext>
            </a:extLst>
          </p:cNvPr>
          <p:cNvSpPr>
            <a:spLocks noChangeArrowheads="1"/>
          </p:cNvSpPr>
          <p:nvPr/>
        </p:nvSpPr>
        <p:spPr bwMode="auto">
          <a:xfrm>
            <a:off x="445008" y="3158576"/>
            <a:ext cx="11301984" cy="6400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p>
            <a:pPr algn="ctr">
              <a:defRPr/>
            </a:pPr>
            <a:r>
              <a:rPr lang="en-US" sz="3000" b="1" kern="0" dirty="0">
                <a:solidFill>
                  <a:srgbClr val="FF9300"/>
                </a:solidFill>
                <a:cs typeface="ＭＳ Ｐゴシック"/>
              </a:rPr>
              <a:t>Friday, April 24, 2026</a:t>
            </a:r>
            <a:endParaRPr lang="en-US" sz="3000" b="1" kern="0" dirty="0">
              <a:solidFill>
                <a:srgbClr val="FF9300"/>
              </a:solidFill>
              <a:latin typeface="Arial"/>
              <a:cs typeface="ＭＳ Ｐゴシック"/>
            </a:endParaRPr>
          </a:p>
        </p:txBody>
      </p:sp>
      <p:sp>
        <p:nvSpPr>
          <p:cNvPr id="6" name="Text Box 7">
            <a:extLst>
              <a:ext uri="{FF2B5EF4-FFF2-40B4-BE49-F238E27FC236}">
                <a16:creationId xmlns:a16="http://schemas.microsoft.com/office/drawing/2014/main" id="{620A015E-6D96-3E7D-28B1-3F0E326075F1}"/>
              </a:ext>
            </a:extLst>
          </p:cNvPr>
          <p:cNvSpPr txBox="1">
            <a:spLocks noChangeArrowheads="1"/>
          </p:cNvSpPr>
          <p:nvPr/>
        </p:nvSpPr>
        <p:spPr bwMode="auto">
          <a:xfrm>
            <a:off x="445008" y="3815895"/>
            <a:ext cx="11301984" cy="70788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type="none" w="sm" len="sm"/>
                <a:tailEnd type="none" w="sm" len="sm"/>
              </a14:hiddenLine>
            </a:ext>
          </a:extLst>
        </p:spPr>
        <p:txBody>
          <a:bodyPr wrap="square">
            <a:spAutoFit/>
          </a:bodyPr>
          <a:lstStyle>
            <a:lvl1pPr eaLnBrk="0" hangingPunct="0">
              <a:defRPr sz="2000" i="1">
                <a:solidFill>
                  <a:schemeClr val="tx1"/>
                </a:solidFill>
                <a:latin typeface="Arial" charset="0"/>
                <a:ea typeface="ＭＳ Ｐゴシック" charset="0"/>
                <a:cs typeface="ＭＳ Ｐゴシック" charset="0"/>
              </a:defRPr>
            </a:lvl1pPr>
            <a:lvl2pPr marL="742950" indent="-285750" eaLnBrk="0" hangingPunct="0">
              <a:defRPr sz="2000" i="1">
                <a:solidFill>
                  <a:schemeClr val="tx1"/>
                </a:solidFill>
                <a:latin typeface="Arial" charset="0"/>
                <a:ea typeface="ＭＳ Ｐゴシック" charset="0"/>
              </a:defRPr>
            </a:lvl2pPr>
            <a:lvl3pPr marL="1143000" indent="-228600" eaLnBrk="0" hangingPunct="0">
              <a:defRPr sz="2000" i="1">
                <a:solidFill>
                  <a:schemeClr val="tx1"/>
                </a:solidFill>
                <a:latin typeface="Arial" charset="0"/>
                <a:ea typeface="ＭＳ Ｐゴシック" charset="0"/>
              </a:defRPr>
            </a:lvl3pPr>
            <a:lvl4pPr marL="1600200" indent="-228600" eaLnBrk="0" hangingPunct="0">
              <a:defRPr sz="2000" i="1">
                <a:solidFill>
                  <a:schemeClr val="tx1"/>
                </a:solidFill>
                <a:latin typeface="Arial" charset="0"/>
                <a:ea typeface="ＭＳ Ｐゴシック" charset="0"/>
              </a:defRPr>
            </a:lvl4pPr>
            <a:lvl5pPr marL="2057400" indent="-228600" eaLnBrk="0" hangingPunct="0">
              <a:defRPr sz="2000" i="1">
                <a:solidFill>
                  <a:schemeClr val="tx1"/>
                </a:solidFill>
                <a:latin typeface="Arial" charset="0"/>
                <a:ea typeface="ＭＳ Ｐゴシック" charset="0"/>
              </a:defRPr>
            </a:lvl5pPr>
            <a:lvl6pPr marL="2514600" indent="-228600" eaLnBrk="0" fontAlgn="base" hangingPunct="0">
              <a:spcBef>
                <a:spcPct val="0"/>
              </a:spcBef>
              <a:spcAft>
                <a:spcPct val="0"/>
              </a:spcAft>
              <a:defRPr sz="2000" i="1">
                <a:solidFill>
                  <a:schemeClr val="tx1"/>
                </a:solidFill>
                <a:latin typeface="Arial" charset="0"/>
                <a:ea typeface="ＭＳ Ｐゴシック" charset="0"/>
              </a:defRPr>
            </a:lvl6pPr>
            <a:lvl7pPr marL="2971800" indent="-228600" eaLnBrk="0" fontAlgn="base" hangingPunct="0">
              <a:spcBef>
                <a:spcPct val="0"/>
              </a:spcBef>
              <a:spcAft>
                <a:spcPct val="0"/>
              </a:spcAft>
              <a:defRPr sz="2000" i="1">
                <a:solidFill>
                  <a:schemeClr val="tx1"/>
                </a:solidFill>
                <a:latin typeface="Arial" charset="0"/>
                <a:ea typeface="ＭＳ Ｐゴシック" charset="0"/>
              </a:defRPr>
            </a:lvl7pPr>
            <a:lvl8pPr marL="3429000" indent="-228600" eaLnBrk="0" fontAlgn="base" hangingPunct="0">
              <a:spcBef>
                <a:spcPct val="0"/>
              </a:spcBef>
              <a:spcAft>
                <a:spcPct val="0"/>
              </a:spcAft>
              <a:defRPr sz="2000" i="1">
                <a:solidFill>
                  <a:schemeClr val="tx1"/>
                </a:solidFill>
                <a:latin typeface="Arial" charset="0"/>
                <a:ea typeface="ＭＳ Ｐゴシック" charset="0"/>
              </a:defRPr>
            </a:lvl8pPr>
            <a:lvl9pPr marL="3886200" indent="-228600" eaLnBrk="0" fontAlgn="base" hangingPunct="0">
              <a:spcBef>
                <a:spcPct val="0"/>
              </a:spcBef>
              <a:spcAft>
                <a:spcPct val="0"/>
              </a:spcAft>
              <a:defRPr sz="2000" i="1">
                <a:solidFill>
                  <a:schemeClr val="tx1"/>
                </a:solidFill>
                <a:latin typeface="Arial" charset="0"/>
                <a:ea typeface="ＭＳ Ｐゴシック" charset="0"/>
              </a:defRPr>
            </a:lvl9pPr>
          </a:lstStyle>
          <a:p>
            <a:pPr algn="ctr"/>
            <a:r>
              <a:rPr lang="en-US" b="1" i="0" dirty="0">
                <a:solidFill>
                  <a:srgbClr val="002656"/>
                </a:solidFill>
              </a:rPr>
              <a:t>Moderator</a:t>
            </a:r>
          </a:p>
          <a:p>
            <a:pPr algn="ctr"/>
            <a:r>
              <a:rPr lang="en-US" b="1" i="0" dirty="0">
                <a:solidFill>
                  <a:srgbClr val="505153"/>
                </a:solidFill>
              </a:rPr>
              <a:t>Neil Love, MD</a:t>
            </a:r>
          </a:p>
        </p:txBody>
      </p:sp>
      <p:sp>
        <p:nvSpPr>
          <p:cNvPr id="8" name="Text Box 7">
            <a:extLst>
              <a:ext uri="{FF2B5EF4-FFF2-40B4-BE49-F238E27FC236}">
                <a16:creationId xmlns:a16="http://schemas.microsoft.com/office/drawing/2014/main" id="{C999720A-6004-8B1D-B6C9-10B33F4970FE}"/>
              </a:ext>
            </a:extLst>
          </p:cNvPr>
          <p:cNvSpPr txBox="1">
            <a:spLocks noChangeArrowheads="1"/>
          </p:cNvSpPr>
          <p:nvPr/>
        </p:nvSpPr>
        <p:spPr bwMode="auto">
          <a:xfrm>
            <a:off x="445008" y="4541317"/>
            <a:ext cx="11301984" cy="13234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type="none" w="sm" len="sm"/>
                <a:tailEnd type="none" w="sm" len="sm"/>
              </a14:hiddenLine>
            </a:ext>
          </a:extLst>
        </p:spPr>
        <p:txBody>
          <a:bodyPr wrap="square">
            <a:spAutoFit/>
          </a:bodyPr>
          <a:lstStyle>
            <a:lvl1pPr eaLnBrk="0" hangingPunct="0">
              <a:defRPr sz="2000" i="1">
                <a:solidFill>
                  <a:schemeClr val="tx1"/>
                </a:solidFill>
                <a:latin typeface="Arial" charset="0"/>
                <a:ea typeface="ＭＳ Ｐゴシック" charset="0"/>
                <a:cs typeface="ＭＳ Ｐゴシック" charset="0"/>
              </a:defRPr>
            </a:lvl1pPr>
            <a:lvl2pPr marL="742950" indent="-285750" eaLnBrk="0" hangingPunct="0">
              <a:defRPr sz="2000" i="1">
                <a:solidFill>
                  <a:schemeClr val="tx1"/>
                </a:solidFill>
                <a:latin typeface="Arial" charset="0"/>
                <a:ea typeface="ＭＳ Ｐゴシック" charset="0"/>
              </a:defRPr>
            </a:lvl2pPr>
            <a:lvl3pPr marL="1143000" indent="-228600" eaLnBrk="0" hangingPunct="0">
              <a:defRPr sz="2000" i="1">
                <a:solidFill>
                  <a:schemeClr val="tx1"/>
                </a:solidFill>
                <a:latin typeface="Arial" charset="0"/>
                <a:ea typeface="ＭＳ Ｐゴシック" charset="0"/>
              </a:defRPr>
            </a:lvl3pPr>
            <a:lvl4pPr marL="1600200" indent="-228600" eaLnBrk="0" hangingPunct="0">
              <a:defRPr sz="2000" i="1">
                <a:solidFill>
                  <a:schemeClr val="tx1"/>
                </a:solidFill>
                <a:latin typeface="Arial" charset="0"/>
                <a:ea typeface="ＭＳ Ｐゴシック" charset="0"/>
              </a:defRPr>
            </a:lvl4pPr>
            <a:lvl5pPr marL="2057400" indent="-228600" eaLnBrk="0" hangingPunct="0">
              <a:defRPr sz="2000" i="1">
                <a:solidFill>
                  <a:schemeClr val="tx1"/>
                </a:solidFill>
                <a:latin typeface="Arial" charset="0"/>
                <a:ea typeface="ＭＳ Ｐゴシック" charset="0"/>
              </a:defRPr>
            </a:lvl5pPr>
            <a:lvl6pPr marL="2514600" indent="-228600" eaLnBrk="0" fontAlgn="base" hangingPunct="0">
              <a:spcBef>
                <a:spcPct val="0"/>
              </a:spcBef>
              <a:spcAft>
                <a:spcPct val="0"/>
              </a:spcAft>
              <a:defRPr sz="2000" i="1">
                <a:solidFill>
                  <a:schemeClr val="tx1"/>
                </a:solidFill>
                <a:latin typeface="Arial" charset="0"/>
                <a:ea typeface="ＭＳ Ｐゴシック" charset="0"/>
              </a:defRPr>
            </a:lvl6pPr>
            <a:lvl7pPr marL="2971800" indent="-228600" eaLnBrk="0" fontAlgn="base" hangingPunct="0">
              <a:spcBef>
                <a:spcPct val="0"/>
              </a:spcBef>
              <a:spcAft>
                <a:spcPct val="0"/>
              </a:spcAft>
              <a:defRPr sz="2000" i="1">
                <a:solidFill>
                  <a:schemeClr val="tx1"/>
                </a:solidFill>
                <a:latin typeface="Arial" charset="0"/>
                <a:ea typeface="ＭＳ Ｐゴシック" charset="0"/>
              </a:defRPr>
            </a:lvl7pPr>
            <a:lvl8pPr marL="3429000" indent="-228600" eaLnBrk="0" fontAlgn="base" hangingPunct="0">
              <a:spcBef>
                <a:spcPct val="0"/>
              </a:spcBef>
              <a:spcAft>
                <a:spcPct val="0"/>
              </a:spcAft>
              <a:defRPr sz="2000" i="1">
                <a:solidFill>
                  <a:schemeClr val="tx1"/>
                </a:solidFill>
                <a:latin typeface="Arial" charset="0"/>
                <a:ea typeface="ＭＳ Ｐゴシック" charset="0"/>
              </a:defRPr>
            </a:lvl8pPr>
            <a:lvl9pPr marL="3886200" indent="-228600" eaLnBrk="0" fontAlgn="base" hangingPunct="0">
              <a:spcBef>
                <a:spcPct val="0"/>
              </a:spcBef>
              <a:spcAft>
                <a:spcPct val="0"/>
              </a:spcAft>
              <a:defRPr sz="2000" i="1">
                <a:solidFill>
                  <a:schemeClr val="tx1"/>
                </a:solidFill>
                <a:latin typeface="Arial" charset="0"/>
                <a:ea typeface="ＭＳ Ｐゴシック" charset="0"/>
              </a:defRPr>
            </a:lvl9pPr>
          </a:lstStyle>
          <a:p>
            <a:pPr algn="ctr"/>
            <a:r>
              <a:rPr lang="en-US" b="1" i="0" dirty="0">
                <a:solidFill>
                  <a:srgbClr val="002656"/>
                </a:solidFill>
                <a:ea typeface="ヒラギノ角ゴ Pro W3" charset="0"/>
                <a:cs typeface="ヒラギノ角ゴ Pro W3" charset="0"/>
              </a:rPr>
              <a:t>Faculty</a:t>
            </a:r>
          </a:p>
          <a:p>
            <a:pPr algn="ctr"/>
            <a:r>
              <a:rPr lang="en-US" b="1" i="0" dirty="0">
                <a:solidFill>
                  <a:srgbClr val="505153"/>
                </a:solidFill>
              </a:rPr>
              <a:t>Manali Kamdar, MD, MBBS</a:t>
            </a:r>
          </a:p>
          <a:p>
            <a:pPr algn="ctr"/>
            <a:r>
              <a:rPr lang="en-US" b="1" i="0" dirty="0">
                <a:solidFill>
                  <a:srgbClr val="505153"/>
                </a:solidFill>
              </a:rPr>
              <a:t>Krish Patel, MD</a:t>
            </a:r>
          </a:p>
          <a:p>
            <a:pPr algn="ctr"/>
            <a:r>
              <a:rPr lang="en-US" b="1" i="0" dirty="0">
                <a:solidFill>
                  <a:srgbClr val="505153"/>
                </a:solidFill>
              </a:rPr>
              <a:t>Gilles Salles, MD, PhD </a:t>
            </a:r>
          </a:p>
        </p:txBody>
      </p:sp>
    </p:spTree>
    <p:extLst>
      <p:ext uri="{BB962C8B-B14F-4D97-AF65-F5344CB8AC3E}">
        <p14:creationId xmlns:p14="http://schemas.microsoft.com/office/powerpoint/2010/main" val="26680931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D785ED-6295-F9A1-DF69-719C784A7D8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210CC46-9195-4767-1ABA-F5AB5BDEB3DB}"/>
              </a:ext>
            </a:extLst>
          </p:cNvPr>
          <p:cNvSpPr>
            <a:spLocks noGrp="1"/>
          </p:cNvSpPr>
          <p:nvPr>
            <p:ph type="title"/>
          </p:nvPr>
        </p:nvSpPr>
        <p:spPr/>
        <p:txBody>
          <a:bodyPr>
            <a:normAutofit/>
          </a:bodyPr>
          <a:lstStyle/>
          <a:p>
            <a:r>
              <a:rPr lang="en-US" sz="3200" b="1" dirty="0">
                <a:solidFill>
                  <a:srgbClr val="002060"/>
                </a:solidFill>
                <a:latin typeface="+mn-lt"/>
              </a:rPr>
              <a:t>ZUMA-5 (</a:t>
            </a:r>
            <a:r>
              <a:rPr lang="en-US" sz="3200" b="1" dirty="0" err="1">
                <a:solidFill>
                  <a:srgbClr val="002060"/>
                </a:solidFill>
                <a:latin typeface="+mn-lt"/>
              </a:rPr>
              <a:t>axi</a:t>
            </a:r>
            <a:r>
              <a:rPr lang="en-US" sz="3200" b="1" dirty="0">
                <a:solidFill>
                  <a:srgbClr val="002060"/>
                </a:solidFill>
                <a:latin typeface="+mn-lt"/>
              </a:rPr>
              <a:t>-cel): 5-year follow-up indicates possible cure in FL</a:t>
            </a:r>
          </a:p>
        </p:txBody>
      </p:sp>
      <p:sp>
        <p:nvSpPr>
          <p:cNvPr id="6" name="Footer Placeholder 5">
            <a:extLst>
              <a:ext uri="{FF2B5EF4-FFF2-40B4-BE49-F238E27FC236}">
                <a16:creationId xmlns:a16="http://schemas.microsoft.com/office/drawing/2014/main" id="{D55BD5DA-533A-CBDB-197F-F9B038B53AA6}"/>
              </a:ext>
            </a:extLst>
          </p:cNvPr>
          <p:cNvSpPr>
            <a:spLocks noGrp="1"/>
          </p:cNvSpPr>
          <p:nvPr>
            <p:ph type="ftr" sz="quarter" idx="11"/>
          </p:nvPr>
        </p:nvSpPr>
        <p:spPr/>
        <p:txBody>
          <a:bodyPr/>
          <a:lstStyle/>
          <a:p>
            <a:pPr marL="0" marR="0" lvl="0" indent="-2743131" algn="ctr" defTabSz="457189"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CAR T in BCL</a:t>
            </a:r>
          </a:p>
        </p:txBody>
      </p:sp>
      <p:pic>
        <p:nvPicPr>
          <p:cNvPr id="10" name="Picture 9" descr="A graph of a number of patients&#10;&#10;AI-generated content may be incorrect.">
            <a:extLst>
              <a:ext uri="{FF2B5EF4-FFF2-40B4-BE49-F238E27FC236}">
                <a16:creationId xmlns:a16="http://schemas.microsoft.com/office/drawing/2014/main" id="{6F864480-6398-A741-62E3-EA37D182D661}"/>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tretch>
            <a:fillRect/>
          </a:stretch>
        </p:blipFill>
        <p:spPr>
          <a:xfrm>
            <a:off x="6176234" y="2317929"/>
            <a:ext cx="5898894" cy="3157454"/>
          </a:xfrm>
          <a:prstGeom prst="rect">
            <a:avLst/>
          </a:prstGeom>
        </p:spPr>
      </p:pic>
      <p:sp>
        <p:nvSpPr>
          <p:cNvPr id="12" name="TextBox 11">
            <a:extLst>
              <a:ext uri="{FF2B5EF4-FFF2-40B4-BE49-F238E27FC236}">
                <a16:creationId xmlns:a16="http://schemas.microsoft.com/office/drawing/2014/main" id="{AB4325B5-69B2-37A4-9794-AB3CF2CDD1D3}"/>
              </a:ext>
            </a:extLst>
          </p:cNvPr>
          <p:cNvSpPr txBox="1"/>
          <p:nvPr/>
        </p:nvSpPr>
        <p:spPr>
          <a:xfrm>
            <a:off x="7642301" y="1636074"/>
            <a:ext cx="3603551" cy="276999"/>
          </a:xfrm>
          <a:prstGeom prst="rect">
            <a:avLst/>
          </a:prstGeom>
        </p:spPr>
        <p:txBody>
          <a:bodyPr vert="horz" wrap="none" lIns="0" tIns="0" rIns="0" bIns="0"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a:ea typeface="+mn-ea"/>
                <a:cs typeface="+mn-cs"/>
              </a:rPr>
              <a:t>Cumulative Incidence of Relapse</a:t>
            </a:r>
          </a:p>
        </p:txBody>
      </p:sp>
      <p:sp>
        <p:nvSpPr>
          <p:cNvPr id="13" name="TextBox 12">
            <a:extLst>
              <a:ext uri="{FF2B5EF4-FFF2-40B4-BE49-F238E27FC236}">
                <a16:creationId xmlns:a16="http://schemas.microsoft.com/office/drawing/2014/main" id="{27A35EC2-A343-82DE-70CF-A56F8A98B6FA}"/>
              </a:ext>
            </a:extLst>
          </p:cNvPr>
          <p:cNvSpPr txBox="1"/>
          <p:nvPr/>
        </p:nvSpPr>
        <p:spPr>
          <a:xfrm>
            <a:off x="10963088" y="6183893"/>
            <a:ext cx="1160574" cy="123111"/>
          </a:xfrm>
          <a:prstGeom prst="rect">
            <a:avLst/>
          </a:prstGeom>
        </p:spPr>
        <p:txBody>
          <a:bodyPr vert="horz" wrap="none" lIns="0" tIns="0" rIns="0" bIns="0"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err="1">
                <a:ln>
                  <a:noFill/>
                </a:ln>
                <a:solidFill>
                  <a:srgbClr val="000000"/>
                </a:solidFill>
                <a:effectLst/>
                <a:uLnTx/>
                <a:uFillTx/>
                <a:latin typeface="Arial" panose="020B0604020202020204"/>
                <a:ea typeface="+mn-ea"/>
                <a:cs typeface="+mn-cs"/>
              </a:rPr>
              <a:t>Neelapu</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 et al. JCO 2025 </a:t>
            </a:r>
          </a:p>
        </p:txBody>
      </p:sp>
      <p:pic>
        <p:nvPicPr>
          <p:cNvPr id="9" name="Picture 8">
            <a:extLst>
              <a:ext uri="{FF2B5EF4-FFF2-40B4-BE49-F238E27FC236}">
                <a16:creationId xmlns:a16="http://schemas.microsoft.com/office/drawing/2014/main" id="{C70921E8-B7F0-FAFB-3AB0-C81E21F7065E}"/>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Lst>
          </a:blip>
          <a:srcRect/>
          <a:stretch/>
        </p:blipFill>
        <p:spPr>
          <a:xfrm>
            <a:off x="223509" y="2397851"/>
            <a:ext cx="6017870" cy="3352953"/>
          </a:xfrm>
          <a:prstGeom prst="rect">
            <a:avLst/>
          </a:prstGeom>
        </p:spPr>
      </p:pic>
      <p:sp>
        <p:nvSpPr>
          <p:cNvPr id="14" name="TextBox 13">
            <a:extLst>
              <a:ext uri="{FF2B5EF4-FFF2-40B4-BE49-F238E27FC236}">
                <a16:creationId xmlns:a16="http://schemas.microsoft.com/office/drawing/2014/main" id="{EE5396AF-D159-D259-E6F0-96392F1CAE8E}"/>
              </a:ext>
            </a:extLst>
          </p:cNvPr>
          <p:cNvSpPr txBox="1"/>
          <p:nvPr/>
        </p:nvSpPr>
        <p:spPr>
          <a:xfrm>
            <a:off x="1425730" y="1636074"/>
            <a:ext cx="3543791" cy="400110"/>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Arial" charset="0"/>
              </a:rPr>
              <a:t>Prolonged duration of response</a:t>
            </a:r>
          </a:p>
        </p:txBody>
      </p:sp>
    </p:spTree>
    <p:extLst>
      <p:ext uri="{BB962C8B-B14F-4D97-AF65-F5344CB8AC3E}">
        <p14:creationId xmlns:p14="http://schemas.microsoft.com/office/powerpoint/2010/main" val="187011827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908D42-DB37-A17C-C8C4-E05045E5145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3B3D013-46DF-EA5F-7D06-F8C3B7FA6D48}"/>
              </a:ext>
            </a:extLst>
          </p:cNvPr>
          <p:cNvSpPr>
            <a:spLocks noGrp="1"/>
          </p:cNvSpPr>
          <p:nvPr>
            <p:ph type="title"/>
          </p:nvPr>
        </p:nvSpPr>
        <p:spPr>
          <a:xfrm>
            <a:off x="389631" y="626241"/>
            <a:ext cx="11076711" cy="940305"/>
          </a:xfrm>
        </p:spPr>
        <p:txBody>
          <a:bodyPr>
            <a:noAutofit/>
          </a:bodyPr>
          <a:lstStyle/>
          <a:p>
            <a:r>
              <a:rPr lang="en-US" sz="3200" dirty="0">
                <a:solidFill>
                  <a:srgbClr val="002060"/>
                </a:solidFill>
                <a:latin typeface="+mn-lt"/>
              </a:rPr>
              <a:t>ELARA (</a:t>
            </a:r>
            <a:r>
              <a:rPr lang="en-US" sz="3200" dirty="0" err="1">
                <a:solidFill>
                  <a:srgbClr val="002060"/>
                </a:solidFill>
                <a:latin typeface="+mn-lt"/>
              </a:rPr>
              <a:t>t</a:t>
            </a:r>
            <a:r>
              <a:rPr lang="en-US" sz="3200" dirty="0" err="1">
                <a:solidFill>
                  <a:srgbClr val="002060"/>
                </a:solidFill>
              </a:rPr>
              <a:t>isa</a:t>
            </a:r>
            <a:r>
              <a:rPr lang="en-US" sz="3200" dirty="0">
                <a:solidFill>
                  <a:srgbClr val="002060"/>
                </a:solidFill>
              </a:rPr>
              <a:t>-cel)</a:t>
            </a:r>
            <a:r>
              <a:rPr lang="en-US" sz="3200" dirty="0">
                <a:solidFill>
                  <a:srgbClr val="002060"/>
                </a:solidFill>
                <a:latin typeface="+mn-lt"/>
              </a:rPr>
              <a:t>: Consistent Response Rate Was Reported in All Patients and High-risk Subgroups </a:t>
            </a:r>
          </a:p>
        </p:txBody>
      </p:sp>
      <p:sp>
        <p:nvSpPr>
          <p:cNvPr id="6" name="TextBox 5">
            <a:extLst>
              <a:ext uri="{FF2B5EF4-FFF2-40B4-BE49-F238E27FC236}">
                <a16:creationId xmlns:a16="http://schemas.microsoft.com/office/drawing/2014/main" id="{6AB44B61-55E0-EF56-BDBF-4BEDFBE98449}"/>
              </a:ext>
            </a:extLst>
          </p:cNvPr>
          <p:cNvSpPr txBox="1"/>
          <p:nvPr/>
        </p:nvSpPr>
        <p:spPr>
          <a:xfrm>
            <a:off x="389631" y="6263014"/>
            <a:ext cx="11146589" cy="452240"/>
          </a:xfrm>
          <a:prstGeom prst="rect">
            <a:avLst/>
          </a:prstGeom>
          <a:noFill/>
        </p:spPr>
        <p:txBody>
          <a:bodyPr wrap="square" lIns="60960" rIns="60960" bIns="60960" rtlCol="0" anchor="b" anchorCtr="0">
            <a:spAutoFit/>
          </a:bodyPr>
          <a:lstStyle/>
          <a:p>
            <a:pPr marL="0" marR="0" lvl="0" indent="0" algn="l" defTabSz="609585" rtl="0" eaLnBrk="1" fontAlgn="base" latinLnBrk="0" hangingPunct="1">
              <a:lnSpc>
                <a:spcPct val="80000"/>
              </a:lnSpc>
              <a:spcBef>
                <a:spcPct val="0"/>
              </a:spcBef>
              <a:spcAft>
                <a:spcPct val="0"/>
              </a:spcAft>
              <a:buClrTx/>
              <a:buSzTx/>
              <a:buFontTx/>
              <a:buNone/>
              <a:tabLst/>
              <a:defRPr/>
            </a:pPr>
            <a:r>
              <a:rPr kumimoji="0" lang="en-US" sz="933" b="0" i="0" u="none" strike="noStrike" kern="1200" cap="none" spc="0" normalizeH="0" baseline="0" noProof="0" dirty="0">
                <a:ln>
                  <a:noFill/>
                </a:ln>
                <a:solidFill>
                  <a:srgbClr val="44546A"/>
                </a:solidFill>
                <a:effectLst/>
                <a:uLnTx/>
                <a:uFillTx/>
                <a:latin typeface="Arial" panose="020B0604020202020204" pitchFamily="34" charset="0"/>
                <a:ea typeface="Geneva" charset="0"/>
                <a:cs typeface="Arial" panose="020B0604020202020204" pitchFamily="34" charset="0"/>
              </a:rPr>
              <a:t>CRR, complete response rate; FLIPI, Follicular Lymphoma International Prognostic Index; ORR, objective response rate; POD24, progression of disease within 2 years of frontline systemic therapy. </a:t>
            </a:r>
          </a:p>
          <a:p>
            <a:pPr marL="0" marR="0" lvl="0" indent="0" algn="l" defTabSz="609585" rtl="0" eaLnBrk="1" fontAlgn="base" latinLnBrk="0" hangingPunct="1">
              <a:lnSpc>
                <a:spcPct val="80000"/>
              </a:lnSpc>
              <a:spcBef>
                <a:spcPct val="0"/>
              </a:spcBef>
              <a:spcAft>
                <a:spcPct val="0"/>
              </a:spcAft>
              <a:buClrTx/>
              <a:buSzTx/>
              <a:buFontTx/>
              <a:buNone/>
              <a:tabLst/>
              <a:defRPr/>
            </a:pPr>
            <a:r>
              <a:rPr kumimoji="0" lang="en-US" sz="933" b="0" i="0" u="none" strike="noStrike" kern="1200" cap="none" spc="0" normalizeH="0" baseline="30000" noProof="0" dirty="0" err="1">
                <a:ln>
                  <a:noFill/>
                </a:ln>
                <a:solidFill>
                  <a:srgbClr val="44546A"/>
                </a:solidFill>
                <a:effectLst/>
                <a:uLnTx/>
                <a:uFillTx/>
                <a:latin typeface="Arial" panose="020B0604020202020204" pitchFamily="34" charset="0"/>
                <a:ea typeface="Geneva" charset="0"/>
                <a:cs typeface="Arial" panose="020B0604020202020204" pitchFamily="34" charset="0"/>
              </a:rPr>
              <a:t>a</a:t>
            </a:r>
            <a:r>
              <a:rPr kumimoji="0" lang="en-US" sz="933" b="0" i="0" u="none" strike="noStrike" kern="1200" cap="none" spc="0" normalizeH="0" baseline="0" noProof="0" dirty="0" err="1">
                <a:ln>
                  <a:noFill/>
                </a:ln>
                <a:solidFill>
                  <a:srgbClr val="44546A"/>
                </a:solidFill>
                <a:effectLst/>
                <a:uLnTx/>
                <a:uFillTx/>
                <a:latin typeface="Arial" panose="020B0604020202020204" pitchFamily="34" charset="0"/>
                <a:ea typeface="Geneva" charset="0"/>
                <a:cs typeface="Arial" panose="020B0604020202020204" pitchFamily="34" charset="0"/>
              </a:rPr>
              <a:t>Efficacy</a:t>
            </a:r>
            <a:r>
              <a:rPr kumimoji="0" lang="en-US" sz="933" b="0" i="0" u="none" strike="noStrike" kern="1200" cap="none" spc="0" normalizeH="0" baseline="0" noProof="0" dirty="0">
                <a:ln>
                  <a:noFill/>
                </a:ln>
                <a:solidFill>
                  <a:srgbClr val="44546A"/>
                </a:solidFill>
                <a:effectLst/>
                <a:uLnTx/>
                <a:uFillTx/>
                <a:latin typeface="Arial" panose="020B0604020202020204" pitchFamily="34" charset="0"/>
                <a:ea typeface="Geneva" charset="0"/>
                <a:cs typeface="Arial" panose="020B0604020202020204" pitchFamily="34" charset="0"/>
              </a:rPr>
              <a:t> analysis set includes all patients who have received tisagenlecleucel and had measurable disease at baseline per IRC. </a:t>
            </a:r>
            <a:r>
              <a:rPr kumimoji="0" lang="en-US" sz="933" b="0" i="0" u="none" strike="noStrike" kern="1200" cap="none" spc="0" normalizeH="0" baseline="30000" noProof="0" dirty="0">
                <a:ln>
                  <a:noFill/>
                </a:ln>
                <a:solidFill>
                  <a:srgbClr val="44546A"/>
                </a:solidFill>
                <a:effectLst/>
                <a:uLnTx/>
                <a:uFillTx/>
                <a:latin typeface="Arial" panose="020B0604020202020204" pitchFamily="34" charset="0"/>
                <a:ea typeface="Geneva" charset="0"/>
                <a:cs typeface="Arial" panose="020B0604020202020204" pitchFamily="34" charset="0"/>
              </a:rPr>
              <a:t>b</a:t>
            </a:r>
            <a:r>
              <a:rPr kumimoji="0" lang="en-US" sz="933" b="0" i="0" u="none" strike="noStrike" kern="1200" cap="none" spc="0" normalizeH="0" baseline="0" noProof="0" dirty="0">
                <a:ln>
                  <a:noFill/>
                </a:ln>
                <a:solidFill>
                  <a:srgbClr val="44546A"/>
                </a:solidFill>
                <a:effectLst/>
                <a:uLnTx/>
                <a:uFillTx/>
                <a:latin typeface="Arial" panose="020B0604020202020204" pitchFamily="34" charset="0"/>
                <a:ea typeface="Geneva" charset="0"/>
                <a:cs typeface="Arial" panose="020B0604020202020204" pitchFamily="34" charset="0"/>
              </a:rPr>
              <a:t>POD24 from first anti-CD20 </a:t>
            </a:r>
            <a:r>
              <a:rPr kumimoji="0" lang="en-US" sz="933" b="0" i="0" u="none" strike="noStrike" kern="1200" cap="none" spc="0" normalizeH="0" baseline="0" noProof="0" dirty="0" err="1">
                <a:ln>
                  <a:noFill/>
                </a:ln>
                <a:solidFill>
                  <a:srgbClr val="44546A"/>
                </a:solidFill>
                <a:effectLst/>
                <a:uLnTx/>
                <a:uFillTx/>
                <a:latin typeface="Arial" panose="020B0604020202020204" pitchFamily="34" charset="0"/>
                <a:ea typeface="Geneva" charset="0"/>
                <a:cs typeface="Arial" panose="020B0604020202020204" pitchFamily="34" charset="0"/>
              </a:rPr>
              <a:t>mAb</a:t>
            </a:r>
            <a:r>
              <a:rPr kumimoji="0" lang="en-US" sz="933" b="0" i="0" u="none" strike="noStrike" kern="1200" cap="none" spc="0" normalizeH="0" baseline="0" noProof="0" dirty="0">
                <a:ln>
                  <a:noFill/>
                </a:ln>
                <a:solidFill>
                  <a:srgbClr val="44546A"/>
                </a:solidFill>
                <a:effectLst/>
                <a:uLnTx/>
                <a:uFillTx/>
                <a:latin typeface="Arial" panose="020B0604020202020204" pitchFamily="34" charset="0"/>
                <a:ea typeface="Geneva" charset="0"/>
                <a:cs typeface="Arial" panose="020B0604020202020204" pitchFamily="34" charset="0"/>
              </a:rPr>
              <a:t>-containing therapy or rituximab monotherapy. </a:t>
            </a:r>
            <a:r>
              <a:rPr kumimoji="0" lang="en-US" sz="933" b="0" i="0" u="none" strike="noStrike" kern="1200" cap="none" spc="0" normalizeH="0" baseline="30000" noProof="0" dirty="0" err="1">
                <a:ln>
                  <a:noFill/>
                </a:ln>
                <a:solidFill>
                  <a:srgbClr val="44546A"/>
                </a:solidFill>
                <a:effectLst/>
                <a:uLnTx/>
                <a:uFillTx/>
                <a:latin typeface="Arial" panose="020B0604020202020204" pitchFamily="34" charset="0"/>
                <a:ea typeface="Geneva" charset="0"/>
                <a:cs typeface="Arial" panose="020B0604020202020204" pitchFamily="34" charset="0"/>
              </a:rPr>
              <a:t>c</a:t>
            </a:r>
            <a:r>
              <a:rPr kumimoji="0" lang="en-US" sz="933" b="0" i="0" u="none" strike="noStrike" kern="1200" cap="none" spc="0" normalizeH="0" baseline="0" noProof="0" dirty="0" err="1">
                <a:ln>
                  <a:noFill/>
                </a:ln>
                <a:solidFill>
                  <a:srgbClr val="44546A"/>
                </a:solidFill>
                <a:effectLst/>
                <a:uLnTx/>
                <a:uFillTx/>
                <a:latin typeface="Arial" panose="020B0604020202020204" pitchFamily="34" charset="0"/>
                <a:ea typeface="Geneva" charset="0"/>
                <a:cs typeface="Arial" panose="020B0604020202020204" pitchFamily="34" charset="0"/>
              </a:rPr>
              <a:t>Bulky</a:t>
            </a:r>
            <a:r>
              <a:rPr kumimoji="0" lang="en-US" sz="933" b="0" i="0" u="none" strike="noStrike" kern="1200" cap="none" spc="0" normalizeH="0" baseline="0" noProof="0" dirty="0">
                <a:ln>
                  <a:noFill/>
                </a:ln>
                <a:solidFill>
                  <a:srgbClr val="44546A"/>
                </a:solidFill>
                <a:effectLst/>
                <a:uLnTx/>
                <a:uFillTx/>
                <a:latin typeface="Arial" panose="020B0604020202020204" pitchFamily="34" charset="0"/>
                <a:ea typeface="Geneva" charset="0"/>
                <a:cs typeface="Arial" panose="020B0604020202020204" pitchFamily="34" charset="0"/>
              </a:rPr>
              <a:t> disease defined as 1 lesion &gt;7 cm or at least 3 lesions &gt;3 cm. </a:t>
            </a:r>
          </a:p>
        </p:txBody>
      </p:sp>
      <p:graphicFrame>
        <p:nvGraphicFramePr>
          <p:cNvPr id="4" name="Content Placeholder 4">
            <a:extLst>
              <a:ext uri="{FF2B5EF4-FFF2-40B4-BE49-F238E27FC236}">
                <a16:creationId xmlns:a16="http://schemas.microsoft.com/office/drawing/2014/main" id="{5EA39F89-B7C6-3A06-909C-D4710FA52866}"/>
              </a:ext>
            </a:extLst>
          </p:cNvPr>
          <p:cNvGraphicFramePr>
            <a:graphicFrameLocks/>
          </p:cNvGraphicFramePr>
          <p:nvPr/>
        </p:nvGraphicFramePr>
        <p:xfrm>
          <a:off x="1451939" y="1957663"/>
          <a:ext cx="8952090" cy="3146444"/>
        </p:xfrm>
        <a:graphic>
          <a:graphicData uri="http://schemas.openxmlformats.org/drawingml/2006/table">
            <a:tbl>
              <a:tblPr firstRow="1" bandRow="1">
                <a:tableStyleId>{5C22544A-7EE6-4342-B048-85BDC9FD1C3A}</a:tableStyleId>
              </a:tblPr>
              <a:tblGrid>
                <a:gridCol w="4994017">
                  <a:extLst>
                    <a:ext uri="{9D8B030D-6E8A-4147-A177-3AD203B41FA5}">
                      <a16:colId xmlns:a16="http://schemas.microsoft.com/office/drawing/2014/main" val="3993598923"/>
                    </a:ext>
                  </a:extLst>
                </a:gridCol>
                <a:gridCol w="2009421">
                  <a:extLst>
                    <a:ext uri="{9D8B030D-6E8A-4147-A177-3AD203B41FA5}">
                      <a16:colId xmlns:a16="http://schemas.microsoft.com/office/drawing/2014/main" val="383540572"/>
                    </a:ext>
                  </a:extLst>
                </a:gridCol>
                <a:gridCol w="1948652">
                  <a:extLst>
                    <a:ext uri="{9D8B030D-6E8A-4147-A177-3AD203B41FA5}">
                      <a16:colId xmlns:a16="http://schemas.microsoft.com/office/drawing/2014/main" val="2900353434"/>
                    </a:ext>
                  </a:extLst>
                </a:gridCol>
              </a:tblGrid>
              <a:tr h="449492">
                <a:tc>
                  <a:txBody>
                    <a:bodyPr/>
                    <a:lstStyle/>
                    <a:p>
                      <a:pPr marL="36000" marR="0" algn="l">
                        <a:lnSpc>
                          <a:spcPct val="100000"/>
                        </a:lnSpc>
                        <a:spcBef>
                          <a:spcPts val="0"/>
                        </a:spcBef>
                        <a:spcAft>
                          <a:spcPts val="0"/>
                        </a:spcAft>
                      </a:pPr>
                      <a:r>
                        <a:rPr lang="en-US" sz="1500" b="1" cap="none" spc="0" baseline="0" dirty="0">
                          <a:solidFill>
                            <a:schemeClr val="bg1"/>
                          </a:solidFill>
                          <a:effectLst/>
                          <a:latin typeface="Arial" panose="020B0604020202020204" pitchFamily="34" charset="0"/>
                          <a:cs typeface="Arial" panose="020B0604020202020204" pitchFamily="34" charset="0"/>
                        </a:rPr>
                        <a:t>Response rate, all patients and high-risk subgroups </a:t>
                      </a:r>
                    </a:p>
                  </a:txBody>
                  <a:tcPr marL="0" marR="0" marT="0" marB="0" anchor="ctr">
                    <a:lnL w="19050" cap="flat" cmpd="sng" algn="ctr">
                      <a:solidFill>
                        <a:schemeClr val="bg2"/>
                      </a:solid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DA0"/>
                    </a:solidFill>
                  </a:tcPr>
                </a:tc>
                <a:tc>
                  <a:txBody>
                    <a:bodyPr/>
                    <a:lstStyle/>
                    <a:p>
                      <a:pPr marL="36000" marR="0" algn="ctr">
                        <a:lnSpc>
                          <a:spcPct val="100000"/>
                        </a:lnSpc>
                        <a:spcBef>
                          <a:spcPts val="0"/>
                        </a:spcBef>
                        <a:spcAft>
                          <a:spcPts val="0"/>
                        </a:spcAft>
                      </a:pPr>
                      <a:r>
                        <a:rPr lang="en-US" sz="1500" b="1" cap="none" spc="0" baseline="0" dirty="0">
                          <a:solidFill>
                            <a:schemeClr val="bg1"/>
                          </a:solidFill>
                          <a:effectLst/>
                          <a:latin typeface="Arial" panose="020B0604020202020204" pitchFamily="34" charset="0"/>
                          <a:cs typeface="Arial" panose="020B0604020202020204" pitchFamily="34" charset="0"/>
                        </a:rPr>
                        <a:t>ORR, % (n/N)</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DA0"/>
                    </a:solidFill>
                  </a:tcPr>
                </a:tc>
                <a:tc>
                  <a:txBody>
                    <a:bodyPr/>
                    <a:lstStyle/>
                    <a:p>
                      <a:pPr marL="36000" marR="0" algn="ctr">
                        <a:lnSpc>
                          <a:spcPct val="100000"/>
                        </a:lnSpc>
                        <a:spcBef>
                          <a:spcPts val="0"/>
                        </a:spcBef>
                        <a:spcAft>
                          <a:spcPts val="0"/>
                        </a:spcAft>
                      </a:pPr>
                      <a:r>
                        <a:rPr lang="en-US" sz="1500" b="1" cap="none" spc="0" baseline="0" dirty="0">
                          <a:solidFill>
                            <a:schemeClr val="bg1"/>
                          </a:solidFill>
                          <a:effectLst/>
                          <a:latin typeface="Arial" panose="020B0604020202020204" pitchFamily="34" charset="0"/>
                          <a:cs typeface="Arial" panose="020B0604020202020204" pitchFamily="34" charset="0"/>
                        </a:rPr>
                        <a:t>CRR, % (n/N)</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DA0"/>
                    </a:solidFill>
                  </a:tcPr>
                </a:tc>
                <a:extLst>
                  <a:ext uri="{0D108BD9-81ED-4DB2-BD59-A6C34878D82A}">
                    <a16:rowId xmlns:a16="http://schemas.microsoft.com/office/drawing/2014/main" val="712482936"/>
                  </a:ext>
                </a:extLst>
              </a:tr>
              <a:tr h="449492">
                <a:tc>
                  <a:txBody>
                    <a:bodyPr/>
                    <a:lstStyle/>
                    <a:p>
                      <a:pPr marL="0" algn="l" rtl="0">
                        <a:spcBef>
                          <a:spcPts val="300"/>
                        </a:spcBef>
                        <a:spcAft>
                          <a:spcPts val="0"/>
                        </a:spcAft>
                      </a:pPr>
                      <a:r>
                        <a:rPr lang="en-US" sz="1500" b="1" i="0" u="none" strike="noStrike" baseline="0" dirty="0">
                          <a:solidFill>
                            <a:srgbClr val="000000"/>
                          </a:solidFill>
                          <a:latin typeface="Arial" panose="020B0604020202020204" pitchFamily="34" charset="0"/>
                          <a:cs typeface="Arial" panose="020B0604020202020204" pitchFamily="34" charset="0"/>
                        </a:rPr>
                        <a:t>All patients (efficacy analysis set</a:t>
                      </a:r>
                      <a:r>
                        <a:rPr lang="en-US" sz="1500" b="1" i="0" u="none" strike="noStrike" baseline="30000" dirty="0">
                          <a:solidFill>
                            <a:srgbClr val="000000"/>
                          </a:solidFill>
                          <a:latin typeface="Arial" panose="020B0604020202020204" pitchFamily="34" charset="0"/>
                          <a:cs typeface="Arial" panose="020B0604020202020204" pitchFamily="34" charset="0"/>
                        </a:rPr>
                        <a:t>a</a:t>
                      </a:r>
                      <a:r>
                        <a:rPr lang="en-US" sz="1500" b="1" i="0" u="none" strike="noStrike" baseline="0" dirty="0">
                          <a:solidFill>
                            <a:srgbClr val="000000"/>
                          </a:solidFill>
                          <a:latin typeface="Arial" panose="020B0604020202020204" pitchFamily="34" charset="0"/>
                          <a:cs typeface="Arial" panose="020B0604020202020204" pitchFamily="34" charset="0"/>
                        </a:rPr>
                        <a:t>)</a:t>
                      </a:r>
                    </a:p>
                  </a:txBody>
                  <a:tcPr marL="43163" marR="0" marT="0" marB="0" anchor="ctr">
                    <a:lnL w="19050" cap="flat" cmpd="sng" algn="ctr">
                      <a:solidFill>
                        <a:schemeClr val="bg2"/>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rtl="0">
                        <a:spcBef>
                          <a:spcPts val="300"/>
                        </a:spcBef>
                        <a:spcAft>
                          <a:spcPts val="0"/>
                        </a:spcAft>
                      </a:pPr>
                      <a:r>
                        <a:rPr lang="en-US" sz="1500" b="0" i="0" u="none" strike="noStrike" baseline="0" dirty="0">
                          <a:solidFill>
                            <a:srgbClr val="000000"/>
                          </a:solidFill>
                          <a:latin typeface="Arial" panose="020B0604020202020204" pitchFamily="34" charset="0"/>
                          <a:cs typeface="Arial" panose="020B0604020202020204" pitchFamily="34" charset="0"/>
                        </a:rPr>
                        <a:t>86.2 (81/94)</a:t>
                      </a:r>
                    </a:p>
                  </a:txBody>
                  <a:tcPr marL="43163"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000" marR="0" lvl="0" indent="0" algn="ctr" defTabSz="685800" rtl="0" eaLnBrk="1" fontAlgn="auto" latinLnBrk="0" hangingPunct="1">
                        <a:lnSpc>
                          <a:spcPct val="100000"/>
                        </a:lnSpc>
                        <a:spcBef>
                          <a:spcPts val="300"/>
                        </a:spcBef>
                        <a:spcAft>
                          <a:spcPts val="0"/>
                        </a:spcAft>
                        <a:buClrTx/>
                        <a:buSzTx/>
                        <a:buFontTx/>
                        <a:buNone/>
                        <a:tabLst/>
                        <a:defRPr/>
                      </a:pPr>
                      <a:r>
                        <a:rPr lang="en-US" sz="1500" b="0" baseline="0">
                          <a:solidFill>
                            <a:schemeClr val="tx1"/>
                          </a:solidFill>
                          <a:latin typeface="Arial" panose="020B0604020202020204" pitchFamily="34" charset="0"/>
                          <a:cs typeface="Arial" panose="020B0604020202020204" pitchFamily="34" charset="0"/>
                        </a:rPr>
                        <a:t>68.1 (64/94)</a:t>
                      </a:r>
                      <a:endParaRPr lang="en-US" sz="1500" b="0" baseline="0" dirty="0">
                        <a:solidFill>
                          <a:schemeClr val="tx1"/>
                        </a:solidFill>
                        <a:latin typeface="Arial" panose="020B0604020202020204" pitchFamily="34" charset="0"/>
                        <a:cs typeface="Arial" panose="020B0604020202020204" pitchFamily="34" charset="0"/>
                      </a:endParaRPr>
                    </a:p>
                  </a:txBody>
                  <a:tcPr marL="43163"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652544"/>
                  </a:ext>
                </a:extLst>
              </a:tr>
              <a:tr h="449492">
                <a:tc>
                  <a:txBody>
                    <a:bodyPr/>
                    <a:lstStyle/>
                    <a:p>
                      <a:pPr marL="0" algn="l" rtl="0">
                        <a:spcBef>
                          <a:spcPts val="300"/>
                        </a:spcBef>
                        <a:spcAft>
                          <a:spcPts val="0"/>
                        </a:spcAft>
                      </a:pPr>
                      <a:r>
                        <a:rPr lang="en-US" sz="1500" b="1" i="0" u="none" strike="noStrike" baseline="0" dirty="0">
                          <a:solidFill>
                            <a:srgbClr val="000000"/>
                          </a:solidFill>
                          <a:latin typeface="Arial" panose="020B0604020202020204" pitchFamily="34" charset="0"/>
                          <a:cs typeface="Arial" panose="020B0604020202020204" pitchFamily="34" charset="0"/>
                        </a:rPr>
                        <a:t>Patients with high-risk characteristics</a:t>
                      </a:r>
                    </a:p>
                  </a:txBody>
                  <a:tcPr marL="43163" marR="0" marT="0" marB="0" anchor="ctr">
                    <a:lnL w="19050" cap="flat" cmpd="sng" algn="ctr">
                      <a:solidFill>
                        <a:schemeClr val="bg2"/>
                      </a:solid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300"/>
                        </a:spcBef>
                        <a:spcAft>
                          <a:spcPts val="0"/>
                        </a:spcAft>
                        <a:buClrTx/>
                        <a:buSzTx/>
                        <a:buFontTx/>
                        <a:buNone/>
                        <a:tabLst/>
                        <a:defRPr/>
                      </a:pPr>
                      <a:endParaRPr lang="en-US" sz="1500" b="0" i="0" u="none" strike="noStrike" baseline="0" dirty="0">
                        <a:solidFill>
                          <a:srgbClr val="000000"/>
                        </a:solidFill>
                        <a:latin typeface="Arial" panose="020B0604020202020204" pitchFamily="34" charset="0"/>
                        <a:cs typeface="Arial" panose="020B0604020202020204" pitchFamily="34" charset="0"/>
                      </a:endParaRPr>
                    </a:p>
                  </a:txBody>
                  <a:tcPr marL="43163"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300"/>
                        </a:spcBef>
                        <a:spcAft>
                          <a:spcPts val="0"/>
                        </a:spcAft>
                        <a:buClrTx/>
                        <a:buSzTx/>
                        <a:buFontTx/>
                        <a:buNone/>
                        <a:tabLst/>
                        <a:defRPr/>
                      </a:pPr>
                      <a:endParaRPr lang="en-US" sz="1500" b="0" i="0" u="none" strike="noStrike" baseline="0" dirty="0">
                        <a:solidFill>
                          <a:srgbClr val="000000"/>
                        </a:solidFill>
                        <a:latin typeface="Arial" panose="020B0604020202020204" pitchFamily="34" charset="0"/>
                        <a:cs typeface="Arial" panose="020B0604020202020204" pitchFamily="34" charset="0"/>
                      </a:endParaRPr>
                    </a:p>
                  </a:txBody>
                  <a:tcPr marL="43163"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575874"/>
                  </a:ext>
                </a:extLst>
              </a:tr>
              <a:tr h="449492">
                <a:tc>
                  <a:txBody>
                    <a:bodyPr/>
                    <a:lstStyle/>
                    <a:p>
                      <a:pPr marL="72000" algn="l" rtl="0">
                        <a:spcBef>
                          <a:spcPts val="300"/>
                        </a:spcBef>
                        <a:spcAft>
                          <a:spcPts val="0"/>
                        </a:spcAft>
                      </a:pPr>
                      <a:r>
                        <a:rPr lang="en-US" sz="1500" b="0" i="0" u="none" strike="noStrike" baseline="0" dirty="0">
                          <a:solidFill>
                            <a:srgbClr val="000000"/>
                          </a:solidFill>
                          <a:latin typeface="Arial" panose="020B0604020202020204" pitchFamily="34" charset="0"/>
                          <a:cs typeface="Arial" panose="020B0604020202020204" pitchFamily="34" charset="0"/>
                        </a:rPr>
                        <a:t>High FLIPI (3-5 risk factors)</a:t>
                      </a:r>
                    </a:p>
                  </a:txBody>
                  <a:tcPr marL="43163" marR="0" marT="0" marB="0" anchor="ctr">
                    <a:lnL w="19050" cap="flat" cmpd="sng" algn="ctr">
                      <a:solidFill>
                        <a:schemeClr val="bg2"/>
                      </a:solid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300"/>
                        </a:spcBef>
                        <a:spcAft>
                          <a:spcPts val="0"/>
                        </a:spcAft>
                        <a:buClrTx/>
                        <a:buSzTx/>
                        <a:buFontTx/>
                        <a:buNone/>
                        <a:tabLst/>
                        <a:defRPr/>
                      </a:pPr>
                      <a:r>
                        <a:rPr lang="en-US" sz="1500" b="0" i="0" u="none" strike="noStrike" baseline="0" dirty="0">
                          <a:solidFill>
                            <a:srgbClr val="000000"/>
                          </a:solidFill>
                          <a:latin typeface="Arial" panose="020B0604020202020204" pitchFamily="34" charset="0"/>
                          <a:cs typeface="Arial" panose="020B0604020202020204" pitchFamily="34" charset="0"/>
                        </a:rPr>
                        <a:t>80.7 (46/57)</a:t>
                      </a:r>
                    </a:p>
                  </a:txBody>
                  <a:tcPr marL="43163"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300"/>
                        </a:spcBef>
                        <a:spcAft>
                          <a:spcPts val="0"/>
                        </a:spcAft>
                        <a:buClrTx/>
                        <a:buSzTx/>
                        <a:buFontTx/>
                        <a:buNone/>
                        <a:tabLst/>
                        <a:defRPr/>
                      </a:pPr>
                      <a:r>
                        <a:rPr lang="en-US" sz="1500" b="0" baseline="0">
                          <a:solidFill>
                            <a:schemeClr val="tx1"/>
                          </a:solidFill>
                          <a:latin typeface="Arial" panose="020B0604020202020204" pitchFamily="34" charset="0"/>
                          <a:cs typeface="Arial" panose="020B0604020202020204" pitchFamily="34" charset="0"/>
                        </a:rPr>
                        <a:t>61.4 (35/57)</a:t>
                      </a:r>
                      <a:endParaRPr lang="en-US" sz="1500" b="0" baseline="0" dirty="0">
                        <a:solidFill>
                          <a:schemeClr val="tx1"/>
                        </a:solidFill>
                        <a:latin typeface="Arial" panose="020B0604020202020204" pitchFamily="34" charset="0"/>
                        <a:cs typeface="Arial" panose="020B0604020202020204" pitchFamily="34" charset="0"/>
                      </a:endParaRPr>
                    </a:p>
                  </a:txBody>
                  <a:tcPr marL="43163"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8101679"/>
                  </a:ext>
                </a:extLst>
              </a:tr>
              <a:tr h="449492">
                <a:tc>
                  <a:txBody>
                    <a:bodyPr/>
                    <a:lstStyle/>
                    <a:p>
                      <a:pPr marL="72000" algn="l" rtl="0">
                        <a:spcBef>
                          <a:spcPts val="300"/>
                        </a:spcBef>
                        <a:spcAft>
                          <a:spcPts val="0"/>
                        </a:spcAft>
                      </a:pPr>
                      <a:r>
                        <a:rPr lang="en-US" sz="1500" b="0" i="0" u="none" strike="noStrike" baseline="0" dirty="0">
                          <a:solidFill>
                            <a:srgbClr val="000000"/>
                          </a:solidFill>
                          <a:latin typeface="Arial" panose="020B0604020202020204" pitchFamily="34" charset="0"/>
                          <a:cs typeface="Arial" panose="020B0604020202020204" pitchFamily="34" charset="0"/>
                        </a:rPr>
                        <a:t>POD24</a:t>
                      </a:r>
                      <a:r>
                        <a:rPr lang="en-US" sz="1500" b="0" i="0" u="none" strike="noStrike" baseline="30000" dirty="0">
                          <a:solidFill>
                            <a:srgbClr val="000000"/>
                          </a:solidFill>
                          <a:latin typeface="Arial" panose="020B0604020202020204" pitchFamily="34" charset="0"/>
                          <a:cs typeface="Arial" panose="020B0604020202020204" pitchFamily="34" charset="0"/>
                        </a:rPr>
                        <a:t>b</a:t>
                      </a:r>
                    </a:p>
                  </a:txBody>
                  <a:tcPr marL="43163" marR="0" marT="0" marB="0" anchor="ctr">
                    <a:lnL w="19050" cap="flat" cmpd="sng" algn="ctr">
                      <a:solidFill>
                        <a:schemeClr val="bg2"/>
                      </a:solid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300"/>
                        </a:spcBef>
                        <a:spcAft>
                          <a:spcPts val="0"/>
                        </a:spcAft>
                        <a:buClrTx/>
                        <a:buSzTx/>
                        <a:buFontTx/>
                        <a:buNone/>
                        <a:tabLst/>
                        <a:defRPr/>
                      </a:pPr>
                      <a:r>
                        <a:rPr lang="en-US" sz="1500" b="0" i="0" u="none" strike="noStrike" baseline="0" dirty="0">
                          <a:solidFill>
                            <a:srgbClr val="000000"/>
                          </a:solidFill>
                          <a:latin typeface="Arial" panose="020B0604020202020204" pitchFamily="34" charset="0"/>
                          <a:cs typeface="Arial" panose="020B0604020202020204" pitchFamily="34" charset="0"/>
                        </a:rPr>
                        <a:t>82.0 (50/61)</a:t>
                      </a:r>
                    </a:p>
                  </a:txBody>
                  <a:tcPr marL="43163"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300"/>
                        </a:spcBef>
                        <a:spcAft>
                          <a:spcPts val="0"/>
                        </a:spcAft>
                        <a:buClrTx/>
                        <a:buSzTx/>
                        <a:buFontTx/>
                        <a:buNone/>
                        <a:tabLst/>
                        <a:defRPr/>
                      </a:pPr>
                      <a:r>
                        <a:rPr lang="en-US" sz="1500" baseline="0">
                          <a:solidFill>
                            <a:schemeClr val="tx1"/>
                          </a:solidFill>
                          <a:latin typeface="Arial" panose="020B0604020202020204" pitchFamily="34" charset="0"/>
                          <a:cs typeface="Arial" panose="020B0604020202020204" pitchFamily="34" charset="0"/>
                        </a:rPr>
                        <a:t>59.0 (36/61)</a:t>
                      </a:r>
                      <a:endParaRPr lang="en-US" sz="1500" baseline="0" dirty="0">
                        <a:solidFill>
                          <a:schemeClr val="tx1"/>
                        </a:solidFill>
                        <a:latin typeface="Arial" panose="020B0604020202020204" pitchFamily="34" charset="0"/>
                        <a:cs typeface="Arial" panose="020B0604020202020204" pitchFamily="34" charset="0"/>
                      </a:endParaRPr>
                    </a:p>
                  </a:txBody>
                  <a:tcPr marL="43163"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52673270"/>
                  </a:ext>
                </a:extLst>
              </a:tr>
              <a:tr h="449492">
                <a:tc>
                  <a:txBody>
                    <a:bodyPr/>
                    <a:lstStyle/>
                    <a:p>
                      <a:pPr marL="72000" algn="l" rtl="0">
                        <a:spcBef>
                          <a:spcPts val="300"/>
                        </a:spcBef>
                        <a:spcAft>
                          <a:spcPts val="0"/>
                        </a:spcAft>
                      </a:pPr>
                      <a:r>
                        <a:rPr lang="en-US" sz="1500" b="0" i="0" u="none" strike="noStrike" baseline="0" dirty="0">
                          <a:solidFill>
                            <a:srgbClr val="000000"/>
                          </a:solidFill>
                          <a:latin typeface="Arial" panose="020B0604020202020204" pitchFamily="34" charset="0"/>
                          <a:cs typeface="Arial" panose="020B0604020202020204" pitchFamily="34" charset="0"/>
                        </a:rPr>
                        <a:t>Bulky </a:t>
                      </a:r>
                      <a:r>
                        <a:rPr lang="en-US" sz="1500" b="0" i="0" u="none" strike="noStrike" baseline="0" dirty="0" err="1">
                          <a:solidFill>
                            <a:srgbClr val="000000"/>
                          </a:solidFill>
                          <a:latin typeface="Arial" panose="020B0604020202020204" pitchFamily="34" charset="0"/>
                          <a:cs typeface="Arial" panose="020B0604020202020204" pitchFamily="34" charset="0"/>
                        </a:rPr>
                        <a:t>disease</a:t>
                      </a:r>
                      <a:r>
                        <a:rPr lang="en-US" sz="1500" b="0" i="0" u="none" strike="noStrike" baseline="30000" dirty="0" err="1">
                          <a:solidFill>
                            <a:srgbClr val="000000"/>
                          </a:solidFill>
                          <a:latin typeface="Arial" panose="020B0604020202020204" pitchFamily="34" charset="0"/>
                          <a:cs typeface="Arial" panose="020B0604020202020204" pitchFamily="34" charset="0"/>
                        </a:rPr>
                        <a:t>c</a:t>
                      </a:r>
                      <a:endParaRPr lang="en-US" sz="1500" b="0" i="0" u="none" strike="noStrike" baseline="30000" dirty="0">
                        <a:solidFill>
                          <a:srgbClr val="000000"/>
                        </a:solidFill>
                        <a:latin typeface="Arial" panose="020B0604020202020204" pitchFamily="34" charset="0"/>
                        <a:cs typeface="Arial" panose="020B0604020202020204" pitchFamily="34" charset="0"/>
                      </a:endParaRPr>
                    </a:p>
                  </a:txBody>
                  <a:tcPr marL="43163" marR="0" marT="0" marB="0" anchor="ctr">
                    <a:lnL w="19050" cap="flat" cmpd="sng" algn="ctr">
                      <a:solidFill>
                        <a:schemeClr val="bg2"/>
                      </a:solid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300"/>
                        </a:spcBef>
                        <a:spcAft>
                          <a:spcPts val="0"/>
                        </a:spcAft>
                        <a:buClrTx/>
                        <a:buSzTx/>
                        <a:buFontTx/>
                        <a:buNone/>
                        <a:tabLst/>
                        <a:defRPr/>
                      </a:pPr>
                      <a:r>
                        <a:rPr lang="en-US" sz="1500" b="0" baseline="0">
                          <a:solidFill>
                            <a:schemeClr val="tx1"/>
                          </a:solidFill>
                          <a:latin typeface="Arial" panose="020B0604020202020204" pitchFamily="34" charset="0"/>
                          <a:cs typeface="Arial" panose="020B0604020202020204" pitchFamily="34" charset="0"/>
                        </a:rPr>
                        <a:t>85.5 (53/62)</a:t>
                      </a:r>
                      <a:endParaRPr lang="en-US" sz="1500" b="0" baseline="0" dirty="0">
                        <a:solidFill>
                          <a:schemeClr val="tx1"/>
                        </a:solidFill>
                        <a:latin typeface="Arial" panose="020B0604020202020204" pitchFamily="34" charset="0"/>
                        <a:cs typeface="Arial" panose="020B0604020202020204" pitchFamily="34" charset="0"/>
                      </a:endParaRPr>
                    </a:p>
                  </a:txBody>
                  <a:tcPr marL="43163"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300"/>
                        </a:spcBef>
                        <a:spcAft>
                          <a:spcPts val="0"/>
                        </a:spcAft>
                        <a:buClrTx/>
                        <a:buSzTx/>
                        <a:buFontTx/>
                        <a:buNone/>
                        <a:tabLst/>
                        <a:defRPr/>
                      </a:pPr>
                      <a:r>
                        <a:rPr lang="en-US" sz="1500" baseline="0">
                          <a:solidFill>
                            <a:schemeClr val="tx1"/>
                          </a:solidFill>
                          <a:latin typeface="Arial" panose="020B0604020202020204" pitchFamily="34" charset="0"/>
                          <a:cs typeface="Arial" panose="020B0604020202020204" pitchFamily="34" charset="0"/>
                        </a:rPr>
                        <a:t>64.5 (40/62)</a:t>
                      </a:r>
                      <a:endParaRPr lang="en-US" sz="1500" baseline="0" dirty="0">
                        <a:solidFill>
                          <a:schemeClr val="tx1"/>
                        </a:solidFill>
                        <a:latin typeface="Arial" panose="020B0604020202020204" pitchFamily="34" charset="0"/>
                        <a:cs typeface="Arial" panose="020B0604020202020204" pitchFamily="34" charset="0"/>
                      </a:endParaRPr>
                    </a:p>
                  </a:txBody>
                  <a:tcPr marL="43163"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30208459"/>
                  </a:ext>
                </a:extLst>
              </a:tr>
              <a:tr h="449492">
                <a:tc>
                  <a:txBody>
                    <a:bodyPr/>
                    <a:lstStyle/>
                    <a:p>
                      <a:pPr marL="72000" algn="l" rtl="0">
                        <a:spcBef>
                          <a:spcPts val="300"/>
                        </a:spcBef>
                        <a:spcAft>
                          <a:spcPts val="0"/>
                        </a:spcAft>
                      </a:pPr>
                      <a:r>
                        <a:rPr lang="en-US" sz="1500" b="0" i="0" u="none" strike="noStrike" baseline="0" dirty="0">
                          <a:solidFill>
                            <a:srgbClr val="000000"/>
                          </a:solidFill>
                          <a:latin typeface="Arial" panose="020B0604020202020204" pitchFamily="34" charset="0"/>
                          <a:cs typeface="Arial" panose="020B0604020202020204" pitchFamily="34" charset="0"/>
                        </a:rPr>
                        <a:t>Double refractory</a:t>
                      </a:r>
                    </a:p>
                  </a:txBody>
                  <a:tcPr marL="43163" marR="0" marT="0" marB="0" anchor="ctr">
                    <a:lnL w="19050" cap="flat" cmpd="sng" algn="ctr">
                      <a:solidFill>
                        <a:schemeClr val="bg2"/>
                      </a:solid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300"/>
                        </a:spcBef>
                        <a:spcAft>
                          <a:spcPts val="0"/>
                        </a:spcAft>
                        <a:buClrTx/>
                        <a:buSzTx/>
                        <a:buFontTx/>
                        <a:buNone/>
                        <a:tabLst/>
                        <a:defRPr/>
                      </a:pPr>
                      <a:r>
                        <a:rPr lang="en-US" sz="1500" b="0" baseline="0">
                          <a:solidFill>
                            <a:schemeClr val="tx1"/>
                          </a:solidFill>
                          <a:latin typeface="Arial" panose="020B0604020202020204" pitchFamily="34" charset="0"/>
                          <a:cs typeface="Arial" panose="020B0604020202020204" pitchFamily="34" charset="0"/>
                        </a:rPr>
                        <a:t>84.6 (55/65)</a:t>
                      </a:r>
                      <a:endParaRPr lang="en-US" sz="1500" b="0" baseline="0" dirty="0">
                        <a:solidFill>
                          <a:schemeClr val="tx1"/>
                        </a:solidFill>
                        <a:latin typeface="Arial" panose="020B0604020202020204" pitchFamily="34" charset="0"/>
                        <a:cs typeface="Arial" panose="020B0604020202020204" pitchFamily="34" charset="0"/>
                      </a:endParaRPr>
                    </a:p>
                  </a:txBody>
                  <a:tcPr marL="43163"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300"/>
                        </a:spcBef>
                        <a:spcAft>
                          <a:spcPts val="0"/>
                        </a:spcAft>
                        <a:buClrTx/>
                        <a:buSzTx/>
                        <a:buFontTx/>
                        <a:buNone/>
                        <a:tabLst/>
                        <a:defRPr/>
                      </a:pPr>
                      <a:r>
                        <a:rPr lang="en-US" sz="1500" baseline="0">
                          <a:solidFill>
                            <a:schemeClr val="tx1"/>
                          </a:solidFill>
                          <a:latin typeface="Arial" panose="020B0604020202020204" pitchFamily="34" charset="0"/>
                          <a:cs typeface="Arial" panose="020B0604020202020204" pitchFamily="34" charset="0"/>
                        </a:rPr>
                        <a:t>66.2 (43/65)</a:t>
                      </a:r>
                      <a:endParaRPr lang="en-US" sz="1500" baseline="0" dirty="0">
                        <a:solidFill>
                          <a:schemeClr val="tx1"/>
                        </a:solidFill>
                        <a:latin typeface="Arial" panose="020B0604020202020204" pitchFamily="34" charset="0"/>
                        <a:cs typeface="Arial" panose="020B0604020202020204" pitchFamily="34" charset="0"/>
                      </a:endParaRPr>
                    </a:p>
                  </a:txBody>
                  <a:tcPr marL="43163"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428548"/>
                  </a:ext>
                </a:extLst>
              </a:tr>
            </a:tbl>
          </a:graphicData>
        </a:graphic>
      </p:graphicFrame>
      <p:sp>
        <p:nvSpPr>
          <p:cNvPr id="5" name="TextBox 4">
            <a:extLst>
              <a:ext uri="{FF2B5EF4-FFF2-40B4-BE49-F238E27FC236}">
                <a16:creationId xmlns:a16="http://schemas.microsoft.com/office/drawing/2014/main" id="{AD8FA993-DC27-58DF-39B2-FF808FBE8297}"/>
              </a:ext>
            </a:extLst>
          </p:cNvPr>
          <p:cNvSpPr txBox="1"/>
          <p:nvPr/>
        </p:nvSpPr>
        <p:spPr>
          <a:xfrm>
            <a:off x="9133923" y="6597353"/>
            <a:ext cx="2179571" cy="307777"/>
          </a:xfrm>
          <a:prstGeom prst="rect">
            <a:avLst/>
          </a:prstGeom>
          <a:noFill/>
        </p:spPr>
        <p:txBody>
          <a:bodyPr wrap="none" rtlCol="0">
            <a:spAutoFit/>
          </a:bodyPr>
          <a:lstStyle/>
          <a:p>
            <a:pPr marL="0" marR="0" lvl="0" indent="0" algn="l" defTabSz="121917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itchFamily="34" charset="0"/>
                <a:ea typeface="+mn-ea"/>
                <a:cs typeface="Arial" charset="0"/>
              </a:rPr>
              <a:t>Schuster SJ. et al, ASH2025 </a:t>
            </a:r>
          </a:p>
        </p:txBody>
      </p:sp>
    </p:spTree>
    <p:extLst>
      <p:ext uri="{BB962C8B-B14F-4D97-AF65-F5344CB8AC3E}">
        <p14:creationId xmlns:p14="http://schemas.microsoft.com/office/powerpoint/2010/main" val="107869636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F04735-2C53-CF7B-F937-5A5930D7868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FCCD737-98B6-C149-E096-508A596D4F30}"/>
              </a:ext>
            </a:extLst>
          </p:cNvPr>
          <p:cNvSpPr>
            <a:spLocks noGrp="1"/>
          </p:cNvSpPr>
          <p:nvPr>
            <p:ph type="title"/>
          </p:nvPr>
        </p:nvSpPr>
        <p:spPr>
          <a:xfrm>
            <a:off x="459508" y="526686"/>
            <a:ext cx="11272984" cy="754509"/>
          </a:xfrm>
        </p:spPr>
        <p:txBody>
          <a:bodyPr>
            <a:noAutofit/>
          </a:bodyPr>
          <a:lstStyle/>
          <a:p>
            <a:r>
              <a:rPr lang="en-US" sz="3200" dirty="0">
                <a:solidFill>
                  <a:srgbClr val="002060"/>
                </a:solidFill>
                <a:latin typeface="+mn-lt"/>
              </a:rPr>
              <a:t>ELARA (</a:t>
            </a:r>
            <a:r>
              <a:rPr lang="en-US" sz="3200" dirty="0" err="1">
                <a:solidFill>
                  <a:srgbClr val="002060"/>
                </a:solidFill>
                <a:latin typeface="+mn-lt"/>
              </a:rPr>
              <a:t>tisa</a:t>
            </a:r>
            <a:r>
              <a:rPr lang="en-US" sz="3200" dirty="0">
                <a:solidFill>
                  <a:srgbClr val="002060"/>
                </a:solidFill>
                <a:latin typeface="+mn-lt"/>
              </a:rPr>
              <a:t>-cel): Median PFS Was 53.2 Months</a:t>
            </a:r>
          </a:p>
        </p:txBody>
      </p:sp>
      <p:sp>
        <p:nvSpPr>
          <p:cNvPr id="17" name="TextBox 16">
            <a:extLst>
              <a:ext uri="{FF2B5EF4-FFF2-40B4-BE49-F238E27FC236}">
                <a16:creationId xmlns:a16="http://schemas.microsoft.com/office/drawing/2014/main" id="{7A9B90D5-F58B-6B7B-0715-B9FC12E63D7C}"/>
              </a:ext>
            </a:extLst>
          </p:cNvPr>
          <p:cNvSpPr txBox="1"/>
          <p:nvPr/>
        </p:nvSpPr>
        <p:spPr>
          <a:xfrm>
            <a:off x="359600" y="6430343"/>
            <a:ext cx="11417069" cy="379463"/>
          </a:xfrm>
          <a:prstGeom prst="rect">
            <a:avLst/>
          </a:prstGeom>
          <a:noFill/>
        </p:spPr>
        <p:txBody>
          <a:bodyPr wrap="square" rtlCol="0" anchor="b" anchorCtr="0">
            <a:spAutoFit/>
          </a:bodyPr>
          <a:lstStyle/>
          <a:p>
            <a:pPr marL="0" marR="0" lvl="0" indent="0" algn="just" defTabSz="795477" rtl="0" eaLnBrk="1" fontAlgn="base" latinLnBrk="0" hangingPunct="1">
              <a:lnSpc>
                <a:spcPct val="100000"/>
              </a:lnSpc>
              <a:spcBef>
                <a:spcPct val="0"/>
              </a:spcBef>
              <a:spcAft>
                <a:spcPct val="0"/>
              </a:spcAft>
              <a:buClrTx/>
              <a:buSzTx/>
              <a:buFontTx/>
              <a:buNone/>
              <a:tabLst/>
              <a:defRPr/>
            </a:pPr>
            <a:r>
              <a:rPr kumimoji="0" lang="en-US" sz="933" b="0" i="0" u="none" strike="noStrike" kern="1200" cap="none" spc="0" normalizeH="0" baseline="0" noProof="0" dirty="0">
                <a:ln>
                  <a:noFill/>
                </a:ln>
                <a:solidFill>
                  <a:srgbClr val="44546A"/>
                </a:solidFill>
                <a:effectLst/>
                <a:uLnTx/>
                <a:uFillTx/>
                <a:latin typeface="Arial" panose="020B0604020202020204" pitchFamily="34" charset="0"/>
                <a:ea typeface="Geneva" charset="0"/>
                <a:cs typeface="Arial" panose="020B0604020202020204" pitchFamily="34" charset="0"/>
              </a:rPr>
              <a:t>CI, confidence interval</a:t>
            </a:r>
            <a:r>
              <a:rPr kumimoji="0" lang="en-US" sz="933" b="0" i="0" u="none" strike="noStrike" kern="1200" cap="none" spc="0" normalizeH="0" baseline="0" noProof="0">
                <a:ln>
                  <a:noFill/>
                </a:ln>
                <a:solidFill>
                  <a:srgbClr val="44546A"/>
                </a:solidFill>
                <a:effectLst/>
                <a:uLnTx/>
                <a:uFillTx/>
                <a:latin typeface="Arial" panose="020B0604020202020204" pitchFamily="34" charset="0"/>
                <a:ea typeface="Geneva" charset="0"/>
                <a:cs typeface="Arial" panose="020B0604020202020204" pitchFamily="34" charset="0"/>
              </a:rPr>
              <a:t>; CR, complete response</a:t>
            </a:r>
            <a:r>
              <a:rPr kumimoji="0" lang="en-US" sz="933" b="0" i="0" u="none" strike="noStrike" kern="1200" cap="none" spc="0" normalizeH="0" baseline="0" noProof="0" dirty="0">
                <a:ln>
                  <a:noFill/>
                </a:ln>
                <a:solidFill>
                  <a:srgbClr val="44546A"/>
                </a:solidFill>
                <a:effectLst/>
                <a:uLnTx/>
                <a:uFillTx/>
                <a:latin typeface="Arial" panose="020B0604020202020204" pitchFamily="34" charset="0"/>
                <a:ea typeface="Geneva" charset="0"/>
                <a:cs typeface="Arial" panose="020B0604020202020204" pitchFamily="34" charset="0"/>
              </a:rPr>
              <a:t>;</a:t>
            </a:r>
            <a:r>
              <a:rPr kumimoji="0" lang="en-US" sz="933" b="0" i="0" u="none" strike="noStrike" kern="1200" cap="none" spc="0" normalizeH="0" baseline="0" noProof="0">
                <a:ln>
                  <a:noFill/>
                </a:ln>
                <a:solidFill>
                  <a:srgbClr val="44546A"/>
                </a:solidFill>
                <a:effectLst/>
                <a:uLnTx/>
                <a:uFillTx/>
                <a:latin typeface="Arial" charset="0"/>
                <a:ea typeface="Geneva" charset="0"/>
                <a:cs typeface="Arial" charset="0"/>
              </a:rPr>
              <a:t> </a:t>
            </a:r>
            <a:r>
              <a:rPr kumimoji="0" lang="en-US" sz="933" b="0" i="0" u="none" strike="noStrike" kern="1200" cap="none" spc="0" normalizeH="0" baseline="0" noProof="0" dirty="0">
                <a:ln>
                  <a:noFill/>
                </a:ln>
                <a:solidFill>
                  <a:srgbClr val="44546A"/>
                </a:solidFill>
                <a:effectLst/>
                <a:uLnTx/>
                <a:uFillTx/>
                <a:latin typeface="Arial" charset="0"/>
                <a:ea typeface="Geneva" charset="0"/>
                <a:cs typeface="Arial" charset="0"/>
              </a:rPr>
              <a:t>mFU, median follow-up; mo, month; </a:t>
            </a:r>
            <a:r>
              <a:rPr kumimoji="0" lang="en-US" sz="933" b="0" i="0" u="none" strike="noStrike" kern="1200" cap="none" spc="0" normalizeH="0" baseline="0" noProof="0" dirty="0">
                <a:ln>
                  <a:noFill/>
                </a:ln>
                <a:solidFill>
                  <a:srgbClr val="44546A"/>
                </a:solidFill>
                <a:effectLst/>
                <a:uLnTx/>
                <a:uFillTx/>
                <a:latin typeface="Arial" panose="020B0604020202020204" pitchFamily="34" charset="0"/>
                <a:ea typeface="Geneva" charset="0"/>
                <a:cs typeface="Arial" panose="020B0604020202020204" pitchFamily="34" charset="0"/>
              </a:rPr>
              <a:t>NE, not estimable; </a:t>
            </a:r>
            <a:r>
              <a:rPr kumimoji="0" lang="en-US" sz="933" b="0" i="0" u="none" strike="noStrike" kern="1200" cap="none" spc="0" normalizeH="0" baseline="0" noProof="0" dirty="0">
                <a:ln>
                  <a:noFill/>
                </a:ln>
                <a:solidFill>
                  <a:srgbClr val="44546A"/>
                </a:solidFill>
                <a:effectLst/>
                <a:uLnTx/>
                <a:uFillTx/>
                <a:latin typeface="Arial" charset="0"/>
                <a:ea typeface="Geneva" charset="0"/>
                <a:cs typeface="Arial" charset="0"/>
              </a:rPr>
              <a:t>PFS, progression-free survival</a:t>
            </a:r>
            <a:r>
              <a:rPr kumimoji="0" lang="en-US" sz="933" b="0" i="0" u="none" strike="noStrike" kern="1200" cap="none" spc="0" normalizeH="0" baseline="0" noProof="0" dirty="0">
                <a:ln>
                  <a:noFill/>
                </a:ln>
                <a:solidFill>
                  <a:srgbClr val="44546A"/>
                </a:solidFill>
                <a:effectLst/>
                <a:uLnTx/>
                <a:uFillTx/>
                <a:latin typeface="Arial" panose="020B0604020202020204" pitchFamily="34" charset="0"/>
                <a:ea typeface="Geneva" charset="0"/>
                <a:cs typeface="Arial" panose="020B0604020202020204" pitchFamily="34" charset="0"/>
              </a:rPr>
              <a:t>.</a:t>
            </a:r>
          </a:p>
          <a:p>
            <a:pPr marL="0" marR="0" lvl="0" indent="0" algn="just" defTabSz="795477" rtl="0" eaLnBrk="1" fontAlgn="base" latinLnBrk="0" hangingPunct="1">
              <a:lnSpc>
                <a:spcPct val="100000"/>
              </a:lnSpc>
              <a:spcBef>
                <a:spcPct val="0"/>
              </a:spcBef>
              <a:spcAft>
                <a:spcPct val="0"/>
              </a:spcAft>
              <a:buClrTx/>
              <a:buSzTx/>
              <a:buFontTx/>
              <a:buNone/>
              <a:tabLst/>
              <a:defRPr/>
            </a:pPr>
            <a:r>
              <a:rPr kumimoji="0" lang="en-US" sz="933" b="1" i="0" u="none" strike="noStrike" kern="1200" cap="none" spc="0" normalizeH="0" baseline="0" noProof="0" dirty="0">
                <a:ln>
                  <a:noFill/>
                </a:ln>
                <a:solidFill>
                  <a:srgbClr val="44546A"/>
                </a:solidFill>
                <a:effectLst/>
                <a:uLnTx/>
                <a:uFillTx/>
                <a:latin typeface="Arial" charset="0"/>
                <a:ea typeface="Geneva" charset="0"/>
                <a:cs typeface="Arial" charset="0"/>
              </a:rPr>
              <a:t>Reference: 1</a:t>
            </a:r>
            <a:r>
              <a:rPr kumimoji="0" lang="en-US" sz="933" b="1" i="0" u="none" strike="noStrike" kern="1200" cap="none" spc="0" normalizeH="0" baseline="0" noProof="0">
                <a:ln>
                  <a:noFill/>
                </a:ln>
                <a:solidFill>
                  <a:srgbClr val="44546A"/>
                </a:solidFill>
                <a:effectLst/>
                <a:uLnTx/>
                <a:uFillTx/>
                <a:latin typeface="Arial" charset="0"/>
                <a:ea typeface="Geneva" charset="0"/>
                <a:cs typeface="Arial" charset="0"/>
              </a:rPr>
              <a:t>. </a:t>
            </a:r>
            <a:r>
              <a:rPr kumimoji="0" lang="en-US" sz="933" b="0" i="0" u="none" strike="noStrike" kern="1200" cap="none" spc="0" normalizeH="0" baseline="0" noProof="0" dirty="0" err="1">
                <a:ln>
                  <a:noFill/>
                </a:ln>
                <a:solidFill>
                  <a:srgbClr val="44546A"/>
                </a:solidFill>
                <a:effectLst/>
                <a:uLnTx/>
                <a:uFillTx/>
                <a:latin typeface="Arial" charset="0"/>
                <a:ea typeface="Geneva" charset="0"/>
                <a:cs typeface="Arial" charset="0"/>
              </a:rPr>
              <a:t>Thieblemont</a:t>
            </a:r>
            <a:r>
              <a:rPr kumimoji="0" lang="en-US" sz="933" b="0" i="0" u="none" strike="noStrike" kern="1200" cap="none" spc="0" normalizeH="0" baseline="0" noProof="0">
                <a:ln>
                  <a:noFill/>
                </a:ln>
                <a:solidFill>
                  <a:srgbClr val="44546A"/>
                </a:solidFill>
                <a:effectLst/>
                <a:uLnTx/>
                <a:uFillTx/>
                <a:latin typeface="Arial" charset="0"/>
                <a:ea typeface="Geneva" charset="0"/>
                <a:cs typeface="Arial" charset="0"/>
              </a:rPr>
              <a:t> C et al. Blood. 2024;144(suppl 1):3034</a:t>
            </a:r>
            <a:r>
              <a:rPr kumimoji="0" lang="en-US" sz="933" b="0" i="0" u="none" strike="noStrike" kern="1200" cap="none" spc="0" normalizeH="0" baseline="0" noProof="0">
                <a:ln>
                  <a:noFill/>
                </a:ln>
                <a:solidFill>
                  <a:srgbClr val="44546A"/>
                </a:solidFill>
                <a:effectLst/>
                <a:uLnTx/>
                <a:uFillTx/>
                <a:latin typeface="Arial" panose="020B0604020202020204" pitchFamily="34" charset="0"/>
                <a:ea typeface="Geneva" charset="0"/>
                <a:cs typeface="Arial" panose="020B0604020202020204" pitchFamily="34" charset="0"/>
              </a:rPr>
              <a:t> </a:t>
            </a:r>
            <a:endParaRPr kumimoji="0" lang="en-US" sz="933" b="0" i="0" u="none" strike="noStrike" kern="1200" cap="none" spc="0" normalizeH="0" baseline="0" noProof="0" dirty="0">
              <a:ln>
                <a:noFill/>
              </a:ln>
              <a:solidFill>
                <a:srgbClr val="44546A"/>
              </a:solidFill>
              <a:effectLst/>
              <a:uLnTx/>
              <a:uFillTx/>
              <a:latin typeface="Arial" panose="020B0604020202020204" pitchFamily="34" charset="0"/>
              <a:ea typeface="Geneva" charset="0"/>
              <a:cs typeface="Arial" panose="020B0604020202020204" pitchFamily="34" charset="0"/>
            </a:endParaRPr>
          </a:p>
        </p:txBody>
      </p:sp>
      <p:sp>
        <p:nvSpPr>
          <p:cNvPr id="4" name="TextBox 3">
            <a:extLst>
              <a:ext uri="{FF2B5EF4-FFF2-40B4-BE49-F238E27FC236}">
                <a16:creationId xmlns:a16="http://schemas.microsoft.com/office/drawing/2014/main" id="{C4FC0C3D-7505-F251-AF28-3FD525153378}"/>
              </a:ext>
            </a:extLst>
          </p:cNvPr>
          <p:cNvSpPr txBox="1"/>
          <p:nvPr/>
        </p:nvSpPr>
        <p:spPr>
          <a:xfrm>
            <a:off x="460968" y="5476889"/>
            <a:ext cx="10336341" cy="313932"/>
          </a:xfrm>
          <a:prstGeom prst="rect">
            <a:avLst/>
          </a:prstGeom>
          <a:noFill/>
        </p:spPr>
        <p:txBody>
          <a:bodyPr wrap="square" rtlCol="0">
            <a:spAutoFit/>
          </a:bodyPr>
          <a:lstStyle/>
          <a:p>
            <a:pPr marL="224361" marR="0" lvl="1" indent="-224361" algn="l" defTabSz="914377" rtl="0" eaLnBrk="1" fontAlgn="auto" latinLnBrk="0" hangingPunct="1">
              <a:lnSpc>
                <a:spcPct val="90000"/>
              </a:lnSpc>
              <a:spcBef>
                <a:spcPts val="800"/>
              </a:spcBef>
              <a:spcAft>
                <a:spcPts val="0"/>
              </a:spcAft>
              <a:buClr>
                <a:srgbClr val="007DA0"/>
              </a:buClr>
              <a:buSzPct val="100000"/>
              <a:buFont typeface="Arial" panose="020B0604020202020204" pitchFamily="34" charset="0"/>
              <a:buChar char="•"/>
              <a:tabLst>
                <a:tab pos="5331751" algn="r"/>
                <a:tab pos="10972526" algn="r"/>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Geneva" charset="0"/>
                <a:cs typeface="Arial" panose="020B0604020202020204" pitchFamily="34" charset="0"/>
              </a:rPr>
              <a:t> </a:t>
            </a:r>
            <a:r>
              <a:rPr kumimoji="0" lang="en-US" sz="1600" b="1" i="0" u="none" strike="noStrike" kern="1200" cap="none" spc="0" normalizeH="0" baseline="0" noProof="0" dirty="0">
                <a:ln>
                  <a:noFill/>
                </a:ln>
                <a:solidFill>
                  <a:srgbClr val="FF0000"/>
                </a:solidFill>
                <a:effectLst/>
                <a:uLnTx/>
                <a:uFillTx/>
                <a:latin typeface="Arial" panose="020B0604020202020204" pitchFamily="34" charset="0"/>
                <a:ea typeface="Geneva" charset="0"/>
                <a:cs typeface="Arial" panose="020B0604020202020204" pitchFamily="34" charset="0"/>
              </a:rPr>
              <a:t>The 60-month PFS rate was 46% in all patients, and 59.8% in patients who experienced CR</a:t>
            </a:r>
            <a:r>
              <a:rPr kumimoji="0" lang="en-US" sz="1600" b="1" i="0" u="none" strike="noStrike" kern="1200" cap="none" spc="0" normalizeH="0" baseline="30000" noProof="0" dirty="0">
                <a:ln>
                  <a:noFill/>
                </a:ln>
                <a:solidFill>
                  <a:srgbClr val="FF0000"/>
                </a:solidFill>
                <a:effectLst/>
                <a:uLnTx/>
                <a:uFillTx/>
                <a:latin typeface="Arial" panose="020B0604020202020204" pitchFamily="34" charset="0"/>
                <a:ea typeface="Geneva" charset="0"/>
                <a:cs typeface="Arial" panose="020B0604020202020204" pitchFamily="34" charset="0"/>
              </a:rPr>
              <a:t>1</a:t>
            </a:r>
          </a:p>
        </p:txBody>
      </p:sp>
      <p:pic>
        <p:nvPicPr>
          <p:cNvPr id="6" name="Graphic 5">
            <a:extLst>
              <a:ext uri="{FF2B5EF4-FFF2-40B4-BE49-F238E27FC236}">
                <a16:creationId xmlns:a16="http://schemas.microsoft.com/office/drawing/2014/main" id="{1188270A-43DB-6A0B-5BFB-52A1E59243FE}"/>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2388306" y="1511518"/>
            <a:ext cx="7930444" cy="2494812"/>
          </a:xfrm>
          <a:prstGeom prst="rect">
            <a:avLst/>
          </a:prstGeom>
        </p:spPr>
      </p:pic>
      <p:grpSp>
        <p:nvGrpSpPr>
          <p:cNvPr id="7" name="Group 6">
            <a:extLst>
              <a:ext uri="{FF2B5EF4-FFF2-40B4-BE49-F238E27FC236}">
                <a16:creationId xmlns:a16="http://schemas.microsoft.com/office/drawing/2014/main" id="{2594EF91-6B55-8659-2E2F-5A1A090D95FF}"/>
              </a:ext>
            </a:extLst>
          </p:cNvPr>
          <p:cNvGrpSpPr/>
          <p:nvPr/>
        </p:nvGrpSpPr>
        <p:grpSpPr>
          <a:xfrm>
            <a:off x="2807633" y="4003915"/>
            <a:ext cx="7688406" cy="281232"/>
            <a:chOff x="2105724" y="2777530"/>
            <a:chExt cx="5766305" cy="210924"/>
          </a:xfrm>
        </p:grpSpPr>
        <p:sp>
          <p:nvSpPr>
            <p:cNvPr id="8" name="TextBox 7">
              <a:extLst>
                <a:ext uri="{FF2B5EF4-FFF2-40B4-BE49-F238E27FC236}">
                  <a16:creationId xmlns:a16="http://schemas.microsoft.com/office/drawing/2014/main" id="{C053ACCE-2C50-AFD0-821F-01EB1F6E8377}"/>
                </a:ext>
              </a:extLst>
            </p:cNvPr>
            <p:cNvSpPr txBox="1"/>
            <p:nvPr/>
          </p:nvSpPr>
          <p:spPr>
            <a:xfrm>
              <a:off x="2105724" y="2780705"/>
              <a:ext cx="202219" cy="207749"/>
            </a:xfrm>
            <a:prstGeom prst="rect">
              <a:avLst/>
            </a:prstGeom>
            <a:noFill/>
          </p:spPr>
          <p:txBody>
            <a:bodyPr wrap="none"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charset="0"/>
                  <a:ea typeface="Geneva" charset="0"/>
                  <a:cs typeface="Arial" charset="0"/>
                </a:rPr>
                <a:t>0</a:t>
              </a:r>
              <a:endParaRPr kumimoji="0" lang="en-US" sz="1200" b="0" i="0" u="none" strike="noStrike" kern="1200" cap="none" spc="0" normalizeH="0" baseline="0" noProof="0" dirty="0">
                <a:ln>
                  <a:noFill/>
                </a:ln>
                <a:solidFill>
                  <a:prstClr val="black"/>
                </a:solidFill>
                <a:effectLst/>
                <a:uLnTx/>
                <a:uFillTx/>
                <a:latin typeface="Arial" charset="0"/>
                <a:ea typeface="Geneva" charset="0"/>
                <a:cs typeface="Arial" charset="0"/>
              </a:endParaRPr>
            </a:p>
          </p:txBody>
        </p:sp>
        <p:sp>
          <p:nvSpPr>
            <p:cNvPr id="9" name="TextBox 8">
              <a:extLst>
                <a:ext uri="{FF2B5EF4-FFF2-40B4-BE49-F238E27FC236}">
                  <a16:creationId xmlns:a16="http://schemas.microsoft.com/office/drawing/2014/main" id="{2362A7E4-0B64-A921-1122-1D75BC681C46}"/>
                </a:ext>
              </a:extLst>
            </p:cNvPr>
            <p:cNvSpPr txBox="1"/>
            <p:nvPr/>
          </p:nvSpPr>
          <p:spPr>
            <a:xfrm>
              <a:off x="2450369" y="2777530"/>
              <a:ext cx="202219" cy="207749"/>
            </a:xfrm>
            <a:prstGeom prst="rect">
              <a:avLst/>
            </a:prstGeom>
            <a:noFill/>
          </p:spPr>
          <p:txBody>
            <a:bodyPr wrap="none"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charset="0"/>
                  <a:ea typeface="Geneva" charset="0"/>
                  <a:cs typeface="Arial" charset="0"/>
                </a:rPr>
                <a:t>4</a:t>
              </a:r>
              <a:endParaRPr kumimoji="0" lang="en-US" sz="1200" b="0" i="0" u="none" strike="noStrike" kern="1200" cap="none" spc="0" normalizeH="0" baseline="0" noProof="0" dirty="0">
                <a:ln>
                  <a:noFill/>
                </a:ln>
                <a:solidFill>
                  <a:prstClr val="black"/>
                </a:solidFill>
                <a:effectLst/>
                <a:uLnTx/>
                <a:uFillTx/>
                <a:latin typeface="Arial" charset="0"/>
                <a:ea typeface="Geneva" charset="0"/>
                <a:cs typeface="Arial" charset="0"/>
              </a:endParaRPr>
            </a:p>
          </p:txBody>
        </p:sp>
        <p:sp>
          <p:nvSpPr>
            <p:cNvPr id="10" name="TextBox 9">
              <a:extLst>
                <a:ext uri="{FF2B5EF4-FFF2-40B4-BE49-F238E27FC236}">
                  <a16:creationId xmlns:a16="http://schemas.microsoft.com/office/drawing/2014/main" id="{4EB91D8C-62CE-B7EF-6BC6-19E2623F89D0}"/>
                </a:ext>
              </a:extLst>
            </p:cNvPr>
            <p:cNvSpPr txBox="1"/>
            <p:nvPr/>
          </p:nvSpPr>
          <p:spPr>
            <a:xfrm>
              <a:off x="2799776" y="2777530"/>
              <a:ext cx="202219" cy="207749"/>
            </a:xfrm>
            <a:prstGeom prst="rect">
              <a:avLst/>
            </a:prstGeom>
            <a:noFill/>
          </p:spPr>
          <p:txBody>
            <a:bodyPr wrap="none"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charset="0"/>
                  <a:ea typeface="Geneva" charset="0"/>
                  <a:cs typeface="Arial" charset="0"/>
                </a:rPr>
                <a:t>8</a:t>
              </a:r>
              <a:endParaRPr kumimoji="0" lang="en-US" sz="1200" b="0" i="0" u="none" strike="noStrike" kern="1200" cap="none" spc="0" normalizeH="0" baseline="0" noProof="0" dirty="0">
                <a:ln>
                  <a:noFill/>
                </a:ln>
                <a:solidFill>
                  <a:prstClr val="black"/>
                </a:solidFill>
                <a:effectLst/>
                <a:uLnTx/>
                <a:uFillTx/>
                <a:latin typeface="Arial" charset="0"/>
                <a:ea typeface="Geneva" charset="0"/>
                <a:cs typeface="Arial" charset="0"/>
              </a:endParaRPr>
            </a:p>
          </p:txBody>
        </p:sp>
        <p:sp>
          <p:nvSpPr>
            <p:cNvPr id="11" name="TextBox 10">
              <a:extLst>
                <a:ext uri="{FF2B5EF4-FFF2-40B4-BE49-F238E27FC236}">
                  <a16:creationId xmlns:a16="http://schemas.microsoft.com/office/drawing/2014/main" id="{1500D966-EF40-3F99-7B52-D11127A681B6}"/>
                </a:ext>
              </a:extLst>
            </p:cNvPr>
            <p:cNvSpPr txBox="1"/>
            <p:nvPr/>
          </p:nvSpPr>
          <p:spPr>
            <a:xfrm>
              <a:off x="3111283" y="2777530"/>
              <a:ext cx="265938" cy="207749"/>
            </a:xfrm>
            <a:prstGeom prst="rect">
              <a:avLst/>
            </a:prstGeom>
            <a:noFill/>
          </p:spPr>
          <p:txBody>
            <a:bodyPr wrap="none"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charset="0"/>
                  <a:ea typeface="Geneva" charset="0"/>
                  <a:cs typeface="Arial" charset="0"/>
                </a:rPr>
                <a:t>12</a:t>
              </a:r>
              <a:endParaRPr kumimoji="0" lang="en-US" sz="1200" b="0" i="0" u="none" strike="noStrike" kern="1200" cap="none" spc="0" normalizeH="0" baseline="0" noProof="0" dirty="0">
                <a:ln>
                  <a:noFill/>
                </a:ln>
                <a:solidFill>
                  <a:prstClr val="black"/>
                </a:solidFill>
                <a:effectLst/>
                <a:uLnTx/>
                <a:uFillTx/>
                <a:latin typeface="Arial" charset="0"/>
                <a:ea typeface="Geneva" charset="0"/>
                <a:cs typeface="Arial" charset="0"/>
              </a:endParaRPr>
            </a:p>
          </p:txBody>
        </p:sp>
        <p:sp>
          <p:nvSpPr>
            <p:cNvPr id="12" name="TextBox 11">
              <a:extLst>
                <a:ext uri="{FF2B5EF4-FFF2-40B4-BE49-F238E27FC236}">
                  <a16:creationId xmlns:a16="http://schemas.microsoft.com/office/drawing/2014/main" id="{8CB9EF59-AB4C-DB13-5BD3-D5395D434936}"/>
                </a:ext>
              </a:extLst>
            </p:cNvPr>
            <p:cNvSpPr txBox="1"/>
            <p:nvPr/>
          </p:nvSpPr>
          <p:spPr>
            <a:xfrm>
              <a:off x="3458137" y="2777530"/>
              <a:ext cx="265938" cy="207749"/>
            </a:xfrm>
            <a:prstGeom prst="rect">
              <a:avLst/>
            </a:prstGeom>
            <a:noFill/>
          </p:spPr>
          <p:txBody>
            <a:bodyPr wrap="none"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charset="0"/>
                  <a:ea typeface="Geneva" charset="0"/>
                  <a:cs typeface="Arial" charset="0"/>
                </a:rPr>
                <a:t>16</a:t>
              </a:r>
              <a:endParaRPr kumimoji="0" lang="en-US" sz="1200" b="0" i="0" u="none" strike="noStrike" kern="1200" cap="none" spc="0" normalizeH="0" baseline="0" noProof="0" dirty="0">
                <a:ln>
                  <a:noFill/>
                </a:ln>
                <a:solidFill>
                  <a:prstClr val="black"/>
                </a:solidFill>
                <a:effectLst/>
                <a:uLnTx/>
                <a:uFillTx/>
                <a:latin typeface="Arial" charset="0"/>
                <a:ea typeface="Geneva" charset="0"/>
                <a:cs typeface="Arial" charset="0"/>
              </a:endParaRPr>
            </a:p>
          </p:txBody>
        </p:sp>
        <p:sp>
          <p:nvSpPr>
            <p:cNvPr id="13" name="TextBox 12">
              <a:extLst>
                <a:ext uri="{FF2B5EF4-FFF2-40B4-BE49-F238E27FC236}">
                  <a16:creationId xmlns:a16="http://schemas.microsoft.com/office/drawing/2014/main" id="{408F0E47-0EE1-8C58-FCA5-BDDF34E3EECF}"/>
                </a:ext>
              </a:extLst>
            </p:cNvPr>
            <p:cNvSpPr txBox="1"/>
            <p:nvPr/>
          </p:nvSpPr>
          <p:spPr>
            <a:xfrm>
              <a:off x="3809752" y="2777530"/>
              <a:ext cx="265938" cy="207749"/>
            </a:xfrm>
            <a:prstGeom prst="rect">
              <a:avLst/>
            </a:prstGeom>
            <a:noFill/>
          </p:spPr>
          <p:txBody>
            <a:bodyPr wrap="none"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charset="0"/>
                  <a:ea typeface="Geneva" charset="0"/>
                  <a:cs typeface="Arial" charset="0"/>
                </a:rPr>
                <a:t>20</a:t>
              </a:r>
              <a:endParaRPr kumimoji="0" lang="en-US" sz="1200" b="0" i="0" u="none" strike="noStrike" kern="1200" cap="none" spc="0" normalizeH="0" baseline="0" noProof="0" dirty="0">
                <a:ln>
                  <a:noFill/>
                </a:ln>
                <a:solidFill>
                  <a:prstClr val="black"/>
                </a:solidFill>
                <a:effectLst/>
                <a:uLnTx/>
                <a:uFillTx/>
                <a:latin typeface="Arial" charset="0"/>
                <a:ea typeface="Geneva" charset="0"/>
                <a:cs typeface="Arial" charset="0"/>
              </a:endParaRPr>
            </a:p>
          </p:txBody>
        </p:sp>
        <p:sp>
          <p:nvSpPr>
            <p:cNvPr id="14" name="TextBox 13">
              <a:extLst>
                <a:ext uri="{FF2B5EF4-FFF2-40B4-BE49-F238E27FC236}">
                  <a16:creationId xmlns:a16="http://schemas.microsoft.com/office/drawing/2014/main" id="{961405D2-8968-A4F7-04C9-3FA4E5970D4B}"/>
                </a:ext>
              </a:extLst>
            </p:cNvPr>
            <p:cNvSpPr txBox="1"/>
            <p:nvPr/>
          </p:nvSpPr>
          <p:spPr>
            <a:xfrm>
              <a:off x="4147080" y="2777530"/>
              <a:ext cx="265938" cy="207749"/>
            </a:xfrm>
            <a:prstGeom prst="rect">
              <a:avLst/>
            </a:prstGeom>
            <a:noFill/>
          </p:spPr>
          <p:txBody>
            <a:bodyPr wrap="none"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charset="0"/>
                  <a:ea typeface="Geneva" charset="0"/>
                  <a:cs typeface="Arial" charset="0"/>
                </a:rPr>
                <a:t>24</a:t>
              </a:r>
              <a:endParaRPr kumimoji="0" lang="en-US" sz="1200" b="0" i="0" u="none" strike="noStrike" kern="1200" cap="none" spc="0" normalizeH="0" baseline="0" noProof="0" dirty="0">
                <a:ln>
                  <a:noFill/>
                </a:ln>
                <a:solidFill>
                  <a:prstClr val="black"/>
                </a:solidFill>
                <a:effectLst/>
                <a:uLnTx/>
                <a:uFillTx/>
                <a:latin typeface="Arial" charset="0"/>
                <a:ea typeface="Geneva" charset="0"/>
                <a:cs typeface="Arial" charset="0"/>
              </a:endParaRPr>
            </a:p>
          </p:txBody>
        </p:sp>
        <p:sp>
          <p:nvSpPr>
            <p:cNvPr id="15" name="TextBox 14">
              <a:extLst>
                <a:ext uri="{FF2B5EF4-FFF2-40B4-BE49-F238E27FC236}">
                  <a16:creationId xmlns:a16="http://schemas.microsoft.com/office/drawing/2014/main" id="{24890CE6-2FA9-2C71-B9D0-458CE067790F}"/>
                </a:ext>
              </a:extLst>
            </p:cNvPr>
            <p:cNvSpPr txBox="1"/>
            <p:nvPr/>
          </p:nvSpPr>
          <p:spPr>
            <a:xfrm>
              <a:off x="4491551" y="2777530"/>
              <a:ext cx="265938" cy="207749"/>
            </a:xfrm>
            <a:prstGeom prst="rect">
              <a:avLst/>
            </a:prstGeom>
            <a:noFill/>
          </p:spPr>
          <p:txBody>
            <a:bodyPr wrap="none"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charset="0"/>
                  <a:ea typeface="Geneva" charset="0"/>
                  <a:cs typeface="Arial" charset="0"/>
                </a:rPr>
                <a:t>28</a:t>
              </a:r>
              <a:endParaRPr kumimoji="0" lang="en-US" sz="1200" b="0" i="0" u="none" strike="noStrike" kern="1200" cap="none" spc="0" normalizeH="0" baseline="0" noProof="0" dirty="0">
                <a:ln>
                  <a:noFill/>
                </a:ln>
                <a:solidFill>
                  <a:prstClr val="black"/>
                </a:solidFill>
                <a:effectLst/>
                <a:uLnTx/>
                <a:uFillTx/>
                <a:latin typeface="Arial" charset="0"/>
                <a:ea typeface="Geneva" charset="0"/>
                <a:cs typeface="Arial" charset="0"/>
              </a:endParaRPr>
            </a:p>
          </p:txBody>
        </p:sp>
        <p:sp>
          <p:nvSpPr>
            <p:cNvPr id="16" name="TextBox 15">
              <a:extLst>
                <a:ext uri="{FF2B5EF4-FFF2-40B4-BE49-F238E27FC236}">
                  <a16:creationId xmlns:a16="http://schemas.microsoft.com/office/drawing/2014/main" id="{414BAFEA-651B-C2D1-8979-15E4F0898719}"/>
                </a:ext>
              </a:extLst>
            </p:cNvPr>
            <p:cNvSpPr txBox="1"/>
            <p:nvPr/>
          </p:nvSpPr>
          <p:spPr>
            <a:xfrm>
              <a:off x="4845548" y="2777530"/>
              <a:ext cx="265938" cy="207749"/>
            </a:xfrm>
            <a:prstGeom prst="rect">
              <a:avLst/>
            </a:prstGeom>
            <a:noFill/>
          </p:spPr>
          <p:txBody>
            <a:bodyPr wrap="none"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charset="0"/>
                  <a:ea typeface="Geneva" charset="0"/>
                  <a:cs typeface="Arial" charset="0"/>
                </a:rPr>
                <a:t>32</a:t>
              </a:r>
              <a:endParaRPr kumimoji="0" lang="en-US" sz="1200" b="0" i="0" u="none" strike="noStrike" kern="1200" cap="none" spc="0" normalizeH="0" baseline="0" noProof="0" dirty="0">
                <a:ln>
                  <a:noFill/>
                </a:ln>
                <a:solidFill>
                  <a:prstClr val="black"/>
                </a:solidFill>
                <a:effectLst/>
                <a:uLnTx/>
                <a:uFillTx/>
                <a:latin typeface="Arial" charset="0"/>
                <a:ea typeface="Geneva" charset="0"/>
                <a:cs typeface="Arial" charset="0"/>
              </a:endParaRPr>
            </a:p>
          </p:txBody>
        </p:sp>
        <p:sp>
          <p:nvSpPr>
            <p:cNvPr id="18" name="TextBox 17">
              <a:extLst>
                <a:ext uri="{FF2B5EF4-FFF2-40B4-BE49-F238E27FC236}">
                  <a16:creationId xmlns:a16="http://schemas.microsoft.com/office/drawing/2014/main" id="{0ED3C3C2-125B-3D67-E433-0F87124D384B}"/>
                </a:ext>
              </a:extLst>
            </p:cNvPr>
            <p:cNvSpPr txBox="1"/>
            <p:nvPr/>
          </p:nvSpPr>
          <p:spPr>
            <a:xfrm>
              <a:off x="5187638" y="2777530"/>
              <a:ext cx="265938" cy="207749"/>
            </a:xfrm>
            <a:prstGeom prst="rect">
              <a:avLst/>
            </a:prstGeom>
            <a:noFill/>
          </p:spPr>
          <p:txBody>
            <a:bodyPr wrap="none"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charset="0"/>
                  <a:ea typeface="Geneva" charset="0"/>
                  <a:cs typeface="Arial" charset="0"/>
                </a:rPr>
                <a:t>36</a:t>
              </a:r>
              <a:endParaRPr kumimoji="0" lang="en-US" sz="1200" b="0" i="0" u="none" strike="noStrike" kern="1200" cap="none" spc="0" normalizeH="0" baseline="0" noProof="0" dirty="0">
                <a:ln>
                  <a:noFill/>
                </a:ln>
                <a:solidFill>
                  <a:prstClr val="black"/>
                </a:solidFill>
                <a:effectLst/>
                <a:uLnTx/>
                <a:uFillTx/>
                <a:latin typeface="Arial" charset="0"/>
                <a:ea typeface="Geneva" charset="0"/>
                <a:cs typeface="Arial" charset="0"/>
              </a:endParaRPr>
            </a:p>
          </p:txBody>
        </p:sp>
        <p:sp>
          <p:nvSpPr>
            <p:cNvPr id="19" name="TextBox 18">
              <a:extLst>
                <a:ext uri="{FF2B5EF4-FFF2-40B4-BE49-F238E27FC236}">
                  <a16:creationId xmlns:a16="http://schemas.microsoft.com/office/drawing/2014/main" id="{94ED0330-C211-8540-E71A-EE220BE66174}"/>
                </a:ext>
              </a:extLst>
            </p:cNvPr>
            <p:cNvSpPr txBox="1"/>
            <p:nvPr/>
          </p:nvSpPr>
          <p:spPr>
            <a:xfrm>
              <a:off x="5527349" y="2777530"/>
              <a:ext cx="265938" cy="207749"/>
            </a:xfrm>
            <a:prstGeom prst="rect">
              <a:avLst/>
            </a:prstGeom>
            <a:noFill/>
          </p:spPr>
          <p:txBody>
            <a:bodyPr wrap="none"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charset="0"/>
                  <a:ea typeface="Geneva" charset="0"/>
                  <a:cs typeface="Arial" charset="0"/>
                </a:rPr>
                <a:t>40</a:t>
              </a:r>
              <a:endParaRPr kumimoji="0" lang="en-US" sz="1200" b="0" i="0" u="none" strike="noStrike" kern="1200" cap="none" spc="0" normalizeH="0" baseline="0" noProof="0" dirty="0">
                <a:ln>
                  <a:noFill/>
                </a:ln>
                <a:solidFill>
                  <a:prstClr val="black"/>
                </a:solidFill>
                <a:effectLst/>
                <a:uLnTx/>
                <a:uFillTx/>
                <a:latin typeface="Arial" charset="0"/>
                <a:ea typeface="Geneva" charset="0"/>
                <a:cs typeface="Arial" charset="0"/>
              </a:endParaRPr>
            </a:p>
          </p:txBody>
        </p:sp>
        <p:sp>
          <p:nvSpPr>
            <p:cNvPr id="20" name="TextBox 19">
              <a:extLst>
                <a:ext uri="{FF2B5EF4-FFF2-40B4-BE49-F238E27FC236}">
                  <a16:creationId xmlns:a16="http://schemas.microsoft.com/office/drawing/2014/main" id="{B205EC3C-42F7-6E10-288B-FA6CFFB5E8C1}"/>
                </a:ext>
              </a:extLst>
            </p:cNvPr>
            <p:cNvSpPr txBox="1"/>
            <p:nvPr/>
          </p:nvSpPr>
          <p:spPr>
            <a:xfrm>
              <a:off x="5874202" y="2777530"/>
              <a:ext cx="265938" cy="207749"/>
            </a:xfrm>
            <a:prstGeom prst="rect">
              <a:avLst/>
            </a:prstGeom>
            <a:noFill/>
          </p:spPr>
          <p:txBody>
            <a:bodyPr wrap="none"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charset="0"/>
                  <a:ea typeface="Geneva" charset="0"/>
                  <a:cs typeface="Arial" charset="0"/>
                </a:rPr>
                <a:t>44</a:t>
              </a:r>
              <a:endParaRPr kumimoji="0" lang="en-US" sz="1200" b="0" i="0" u="none" strike="noStrike" kern="1200" cap="none" spc="0" normalizeH="0" baseline="0" noProof="0" dirty="0">
                <a:ln>
                  <a:noFill/>
                </a:ln>
                <a:solidFill>
                  <a:prstClr val="black"/>
                </a:solidFill>
                <a:effectLst/>
                <a:uLnTx/>
                <a:uFillTx/>
                <a:latin typeface="Arial" charset="0"/>
                <a:ea typeface="Geneva" charset="0"/>
                <a:cs typeface="Arial" charset="0"/>
              </a:endParaRPr>
            </a:p>
          </p:txBody>
        </p:sp>
        <p:sp>
          <p:nvSpPr>
            <p:cNvPr id="21" name="TextBox 20">
              <a:extLst>
                <a:ext uri="{FF2B5EF4-FFF2-40B4-BE49-F238E27FC236}">
                  <a16:creationId xmlns:a16="http://schemas.microsoft.com/office/drawing/2014/main" id="{8661C35B-A566-8D51-EF27-F426276F734B}"/>
                </a:ext>
              </a:extLst>
            </p:cNvPr>
            <p:cNvSpPr txBox="1"/>
            <p:nvPr/>
          </p:nvSpPr>
          <p:spPr>
            <a:xfrm>
              <a:off x="6223436" y="2777530"/>
              <a:ext cx="265938" cy="207749"/>
            </a:xfrm>
            <a:prstGeom prst="rect">
              <a:avLst/>
            </a:prstGeom>
            <a:noFill/>
          </p:spPr>
          <p:txBody>
            <a:bodyPr wrap="none"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charset="0"/>
                  <a:ea typeface="Geneva" charset="0"/>
                  <a:cs typeface="Arial" charset="0"/>
                </a:rPr>
                <a:t>48</a:t>
              </a:r>
              <a:endParaRPr kumimoji="0" lang="en-US" sz="1200" b="0" i="0" u="none" strike="noStrike" kern="1200" cap="none" spc="0" normalizeH="0" baseline="0" noProof="0" dirty="0">
                <a:ln>
                  <a:noFill/>
                </a:ln>
                <a:solidFill>
                  <a:prstClr val="black"/>
                </a:solidFill>
                <a:effectLst/>
                <a:uLnTx/>
                <a:uFillTx/>
                <a:latin typeface="Arial" charset="0"/>
                <a:ea typeface="Geneva" charset="0"/>
                <a:cs typeface="Arial" charset="0"/>
              </a:endParaRPr>
            </a:p>
          </p:txBody>
        </p:sp>
        <p:sp>
          <p:nvSpPr>
            <p:cNvPr id="22" name="TextBox 21">
              <a:extLst>
                <a:ext uri="{FF2B5EF4-FFF2-40B4-BE49-F238E27FC236}">
                  <a16:creationId xmlns:a16="http://schemas.microsoft.com/office/drawing/2014/main" id="{968137EB-5D37-4CB8-28F1-D4C253AB1FA4}"/>
                </a:ext>
              </a:extLst>
            </p:cNvPr>
            <p:cNvSpPr txBox="1"/>
            <p:nvPr/>
          </p:nvSpPr>
          <p:spPr>
            <a:xfrm>
              <a:off x="6572669" y="2777530"/>
              <a:ext cx="265938" cy="207749"/>
            </a:xfrm>
            <a:prstGeom prst="rect">
              <a:avLst/>
            </a:prstGeom>
            <a:noFill/>
          </p:spPr>
          <p:txBody>
            <a:bodyPr wrap="none"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charset="0"/>
                  <a:ea typeface="Geneva" charset="0"/>
                  <a:cs typeface="Arial" charset="0"/>
                </a:rPr>
                <a:t>52</a:t>
              </a:r>
              <a:endParaRPr kumimoji="0" lang="en-US" sz="1200" b="0" i="0" u="none" strike="noStrike" kern="1200" cap="none" spc="0" normalizeH="0" baseline="0" noProof="0" dirty="0">
                <a:ln>
                  <a:noFill/>
                </a:ln>
                <a:solidFill>
                  <a:prstClr val="black"/>
                </a:solidFill>
                <a:effectLst/>
                <a:uLnTx/>
                <a:uFillTx/>
                <a:latin typeface="Arial" charset="0"/>
                <a:ea typeface="Geneva" charset="0"/>
                <a:cs typeface="Arial" charset="0"/>
              </a:endParaRPr>
            </a:p>
          </p:txBody>
        </p:sp>
        <p:sp>
          <p:nvSpPr>
            <p:cNvPr id="23" name="TextBox 22">
              <a:extLst>
                <a:ext uri="{FF2B5EF4-FFF2-40B4-BE49-F238E27FC236}">
                  <a16:creationId xmlns:a16="http://schemas.microsoft.com/office/drawing/2014/main" id="{2A8D8506-C9D5-343F-DF5C-0C5F0B016F17}"/>
                </a:ext>
              </a:extLst>
            </p:cNvPr>
            <p:cNvSpPr txBox="1"/>
            <p:nvPr/>
          </p:nvSpPr>
          <p:spPr>
            <a:xfrm>
              <a:off x="6914759" y="2777530"/>
              <a:ext cx="265938" cy="207749"/>
            </a:xfrm>
            <a:prstGeom prst="rect">
              <a:avLst/>
            </a:prstGeom>
            <a:noFill/>
          </p:spPr>
          <p:txBody>
            <a:bodyPr wrap="none"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charset="0"/>
                  <a:ea typeface="Geneva" charset="0"/>
                  <a:cs typeface="Arial" charset="0"/>
                </a:rPr>
                <a:t>56</a:t>
              </a:r>
              <a:endParaRPr kumimoji="0" lang="en-US" sz="1200" b="0" i="0" u="none" strike="noStrike" kern="1200" cap="none" spc="0" normalizeH="0" baseline="0" noProof="0" dirty="0">
                <a:ln>
                  <a:noFill/>
                </a:ln>
                <a:solidFill>
                  <a:prstClr val="black"/>
                </a:solidFill>
                <a:effectLst/>
                <a:uLnTx/>
                <a:uFillTx/>
                <a:latin typeface="Arial" charset="0"/>
                <a:ea typeface="Geneva" charset="0"/>
                <a:cs typeface="Arial" charset="0"/>
              </a:endParaRPr>
            </a:p>
          </p:txBody>
        </p:sp>
        <p:sp>
          <p:nvSpPr>
            <p:cNvPr id="24" name="TextBox 23">
              <a:extLst>
                <a:ext uri="{FF2B5EF4-FFF2-40B4-BE49-F238E27FC236}">
                  <a16:creationId xmlns:a16="http://schemas.microsoft.com/office/drawing/2014/main" id="{A74B5038-8C91-70F7-CBF4-EBF200E2BC7B}"/>
                </a:ext>
              </a:extLst>
            </p:cNvPr>
            <p:cNvSpPr txBox="1"/>
            <p:nvPr/>
          </p:nvSpPr>
          <p:spPr>
            <a:xfrm>
              <a:off x="7259231" y="2777530"/>
              <a:ext cx="265938" cy="207749"/>
            </a:xfrm>
            <a:prstGeom prst="rect">
              <a:avLst/>
            </a:prstGeom>
            <a:noFill/>
          </p:spPr>
          <p:txBody>
            <a:bodyPr wrap="none"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charset="0"/>
                  <a:ea typeface="Geneva" charset="0"/>
                  <a:cs typeface="Arial" charset="0"/>
                </a:rPr>
                <a:t>60</a:t>
              </a:r>
              <a:endParaRPr kumimoji="0" lang="en-US" sz="1200" b="0" i="0" u="none" strike="noStrike" kern="1200" cap="none" spc="0" normalizeH="0" baseline="0" noProof="0" dirty="0">
                <a:ln>
                  <a:noFill/>
                </a:ln>
                <a:solidFill>
                  <a:prstClr val="black"/>
                </a:solidFill>
                <a:effectLst/>
                <a:uLnTx/>
                <a:uFillTx/>
                <a:latin typeface="Arial" charset="0"/>
                <a:ea typeface="Geneva" charset="0"/>
                <a:cs typeface="Arial" charset="0"/>
              </a:endParaRPr>
            </a:p>
          </p:txBody>
        </p:sp>
        <p:sp>
          <p:nvSpPr>
            <p:cNvPr id="25" name="TextBox 24">
              <a:extLst>
                <a:ext uri="{FF2B5EF4-FFF2-40B4-BE49-F238E27FC236}">
                  <a16:creationId xmlns:a16="http://schemas.microsoft.com/office/drawing/2014/main" id="{353736B3-9EE1-7233-1B02-B092CCCF927F}"/>
                </a:ext>
              </a:extLst>
            </p:cNvPr>
            <p:cNvSpPr txBox="1"/>
            <p:nvPr/>
          </p:nvSpPr>
          <p:spPr>
            <a:xfrm>
              <a:off x="7606091" y="2777530"/>
              <a:ext cx="265938" cy="207749"/>
            </a:xfrm>
            <a:prstGeom prst="rect">
              <a:avLst/>
            </a:prstGeom>
            <a:noFill/>
          </p:spPr>
          <p:txBody>
            <a:bodyPr wrap="none"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charset="0"/>
                  <a:ea typeface="Geneva" charset="0"/>
                  <a:cs typeface="Arial" charset="0"/>
                </a:rPr>
                <a:t>64</a:t>
              </a:r>
              <a:endParaRPr kumimoji="0" lang="en-US" sz="1200" b="0" i="0" u="none" strike="noStrike" kern="1200" cap="none" spc="0" normalizeH="0" baseline="0" noProof="0" dirty="0">
                <a:ln>
                  <a:noFill/>
                </a:ln>
                <a:solidFill>
                  <a:prstClr val="black"/>
                </a:solidFill>
                <a:effectLst/>
                <a:uLnTx/>
                <a:uFillTx/>
                <a:latin typeface="Arial" charset="0"/>
                <a:ea typeface="Geneva" charset="0"/>
                <a:cs typeface="Arial" charset="0"/>
              </a:endParaRPr>
            </a:p>
          </p:txBody>
        </p:sp>
      </p:grpSp>
      <p:sp>
        <p:nvSpPr>
          <p:cNvPr id="26" name="TextBox 25">
            <a:extLst>
              <a:ext uri="{FF2B5EF4-FFF2-40B4-BE49-F238E27FC236}">
                <a16:creationId xmlns:a16="http://schemas.microsoft.com/office/drawing/2014/main" id="{D2961DFB-4A47-BE21-ECA9-34E5E38F7ECC}"/>
              </a:ext>
            </a:extLst>
          </p:cNvPr>
          <p:cNvSpPr txBox="1"/>
          <p:nvPr/>
        </p:nvSpPr>
        <p:spPr>
          <a:xfrm>
            <a:off x="5993700" y="4224957"/>
            <a:ext cx="1243097" cy="276999"/>
          </a:xfrm>
          <a:prstGeom prst="rect">
            <a:avLst/>
          </a:prstGeom>
          <a:noFill/>
        </p:spPr>
        <p:txBody>
          <a:bodyPr wrap="none"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charset="0"/>
                <a:ea typeface="Geneva" charset="0"/>
                <a:cs typeface="Arial" charset="0"/>
              </a:rPr>
              <a:t>Time (</a:t>
            </a:r>
            <a:r>
              <a:rPr kumimoji="0" lang="en-US" sz="1200" b="1" i="0" u="none" strike="noStrike" kern="1200" cap="none" spc="0" normalizeH="0" baseline="0" noProof="0">
                <a:ln>
                  <a:noFill/>
                </a:ln>
                <a:solidFill>
                  <a:prstClr val="black"/>
                </a:solidFill>
                <a:effectLst/>
                <a:uLnTx/>
                <a:uFillTx/>
                <a:latin typeface="Arial" charset="0"/>
                <a:ea typeface="Geneva" charset="0"/>
                <a:cs typeface="Arial" charset="0"/>
              </a:rPr>
              <a:t>months)</a:t>
            </a:r>
            <a:endParaRPr kumimoji="0" lang="en-US" sz="1200" b="1" i="0" u="none" strike="noStrike" kern="1200" cap="none" spc="0" normalizeH="0" baseline="0" noProof="0" dirty="0">
              <a:ln>
                <a:noFill/>
              </a:ln>
              <a:solidFill>
                <a:prstClr val="black"/>
              </a:solidFill>
              <a:effectLst/>
              <a:uLnTx/>
              <a:uFillTx/>
              <a:latin typeface="Arial" charset="0"/>
              <a:ea typeface="Geneva" charset="0"/>
              <a:cs typeface="Arial" charset="0"/>
            </a:endParaRPr>
          </a:p>
        </p:txBody>
      </p:sp>
      <p:grpSp>
        <p:nvGrpSpPr>
          <p:cNvPr id="27" name="Group 26">
            <a:extLst>
              <a:ext uri="{FF2B5EF4-FFF2-40B4-BE49-F238E27FC236}">
                <a16:creationId xmlns:a16="http://schemas.microsoft.com/office/drawing/2014/main" id="{CBD48E40-8F95-15A6-F1EE-2D2D3925262C}"/>
              </a:ext>
            </a:extLst>
          </p:cNvPr>
          <p:cNvGrpSpPr/>
          <p:nvPr/>
        </p:nvGrpSpPr>
        <p:grpSpPr>
          <a:xfrm>
            <a:off x="1705850" y="4487901"/>
            <a:ext cx="8633604" cy="287131"/>
            <a:chOff x="1279387" y="3286568"/>
            <a:chExt cx="6475203" cy="215348"/>
          </a:xfrm>
        </p:grpSpPr>
        <p:sp>
          <p:nvSpPr>
            <p:cNvPr id="28" name="TextBox 27">
              <a:extLst>
                <a:ext uri="{FF2B5EF4-FFF2-40B4-BE49-F238E27FC236}">
                  <a16:creationId xmlns:a16="http://schemas.microsoft.com/office/drawing/2014/main" id="{D7D9FF60-1490-6B63-2A4D-EA054894D089}"/>
                </a:ext>
              </a:extLst>
            </p:cNvPr>
            <p:cNvSpPr txBox="1"/>
            <p:nvPr/>
          </p:nvSpPr>
          <p:spPr>
            <a:xfrm>
              <a:off x="1279387" y="3286568"/>
              <a:ext cx="1297231" cy="215348"/>
            </a:xfrm>
            <a:prstGeom prst="rect">
              <a:avLst/>
            </a:prstGeom>
            <a:noFill/>
          </p:spPr>
          <p:txBody>
            <a:bodyPr wrap="none" lIns="0" tIns="0" rIns="0" bIns="0" rtlCol="0" anchor="t">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1" i="0" u="none" strike="noStrike" kern="1200" cap="none" spc="0" normalizeH="0" baseline="0" noProof="0" dirty="0">
                  <a:ln>
                    <a:noFill/>
                  </a:ln>
                  <a:solidFill>
                    <a:prstClr val="black"/>
                  </a:solidFill>
                  <a:effectLst/>
                  <a:uLnTx/>
                  <a:uFillTx/>
                  <a:latin typeface="Arial" charset="0"/>
                  <a:ea typeface="Geneva" charset="0"/>
                  <a:cs typeface="Arial" charset="0"/>
                </a:rPr>
                <a:t>Number of patients still at risk</a:t>
              </a:r>
            </a:p>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1200" cap="none" spc="0" normalizeH="0" baseline="0" noProof="0">
                  <a:ln>
                    <a:noFill/>
                  </a:ln>
                  <a:solidFill>
                    <a:prstClr val="black"/>
                  </a:solidFill>
                  <a:effectLst/>
                  <a:uLnTx/>
                  <a:uFillTx/>
                  <a:latin typeface="Arial" charset="0"/>
                  <a:ea typeface="Geneva" charset="0"/>
                  <a:cs typeface="Arial" charset="0"/>
                </a:rPr>
                <a:t>All subjects</a:t>
              </a:r>
              <a:endParaRPr kumimoji="0" lang="en-US" sz="933" b="0" i="0" u="none" strike="noStrike" kern="1200" cap="none" spc="0" normalizeH="0" baseline="0" noProof="0" dirty="0">
                <a:ln>
                  <a:noFill/>
                </a:ln>
                <a:solidFill>
                  <a:prstClr val="black"/>
                </a:solidFill>
                <a:effectLst/>
                <a:uLnTx/>
                <a:uFillTx/>
                <a:latin typeface="Arial" charset="0"/>
                <a:ea typeface="Geneva" charset="0"/>
                <a:cs typeface="Arial" charset="0"/>
              </a:endParaRPr>
            </a:p>
          </p:txBody>
        </p:sp>
        <p:sp>
          <p:nvSpPr>
            <p:cNvPr id="29" name="TextBox 28">
              <a:extLst>
                <a:ext uri="{FF2B5EF4-FFF2-40B4-BE49-F238E27FC236}">
                  <a16:creationId xmlns:a16="http://schemas.microsoft.com/office/drawing/2014/main" id="{1267DD10-2908-98B1-01CC-6E545C9564F3}"/>
                </a:ext>
              </a:extLst>
            </p:cNvPr>
            <p:cNvSpPr txBox="1"/>
            <p:nvPr/>
          </p:nvSpPr>
          <p:spPr>
            <a:xfrm>
              <a:off x="2156339" y="3286568"/>
              <a:ext cx="100989" cy="215348"/>
            </a:xfrm>
            <a:prstGeom prst="rect">
              <a:avLst/>
            </a:prstGeom>
            <a:noFill/>
          </p:spPr>
          <p:txBody>
            <a:bodyPr wrap="none" lIns="0" tIns="0" rIns="0" bIns="0" rtlCol="0" anchor="t">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prstClr val="black"/>
                </a:solidFill>
                <a:effectLst/>
                <a:uLnTx/>
                <a:uFillTx/>
                <a:latin typeface="Arial" charset="0"/>
                <a:ea typeface="Geneva" charset="0"/>
                <a:cs typeface="Arial" charset="0"/>
              </a:endParaRP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1200" cap="none" spc="0" normalizeH="0" baseline="0" noProof="0" dirty="0">
                  <a:ln>
                    <a:noFill/>
                  </a:ln>
                  <a:solidFill>
                    <a:srgbClr val="F15922"/>
                  </a:solidFill>
                  <a:effectLst/>
                  <a:uLnTx/>
                  <a:uFillTx/>
                  <a:latin typeface="Arial" charset="0"/>
                  <a:ea typeface="Geneva" charset="0"/>
                  <a:cs typeface="Arial" charset="0"/>
                </a:rPr>
                <a:t>94</a:t>
              </a:r>
            </a:p>
          </p:txBody>
        </p:sp>
        <p:sp>
          <p:nvSpPr>
            <p:cNvPr id="30" name="TextBox 29">
              <a:extLst>
                <a:ext uri="{FF2B5EF4-FFF2-40B4-BE49-F238E27FC236}">
                  <a16:creationId xmlns:a16="http://schemas.microsoft.com/office/drawing/2014/main" id="{573AE86E-4346-702D-C5F7-AEF56F138CB4}"/>
                </a:ext>
              </a:extLst>
            </p:cNvPr>
            <p:cNvSpPr txBox="1"/>
            <p:nvPr/>
          </p:nvSpPr>
          <p:spPr>
            <a:xfrm>
              <a:off x="2503299" y="3286568"/>
              <a:ext cx="100989" cy="215348"/>
            </a:xfrm>
            <a:prstGeom prst="rect">
              <a:avLst/>
            </a:prstGeom>
            <a:noFill/>
          </p:spPr>
          <p:txBody>
            <a:bodyPr wrap="none" lIns="0" tIns="0" rIns="0" bIns="0" rtlCol="0" anchor="t">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prstClr val="black"/>
                </a:solidFill>
                <a:effectLst/>
                <a:uLnTx/>
                <a:uFillTx/>
                <a:latin typeface="Arial" charset="0"/>
                <a:ea typeface="Geneva" charset="0"/>
                <a:cs typeface="Arial" charset="0"/>
              </a:endParaRP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1200" cap="none" spc="0" normalizeH="0" baseline="0" noProof="0" dirty="0">
                  <a:ln>
                    <a:noFill/>
                  </a:ln>
                  <a:solidFill>
                    <a:prstClr val="black"/>
                  </a:solidFill>
                  <a:effectLst/>
                  <a:uLnTx/>
                  <a:uFillTx/>
                  <a:latin typeface="Arial" charset="0"/>
                  <a:ea typeface="Geneva" charset="0"/>
                  <a:cs typeface="Arial" charset="0"/>
                </a:rPr>
                <a:t>78</a:t>
              </a:r>
            </a:p>
          </p:txBody>
        </p:sp>
        <p:sp>
          <p:nvSpPr>
            <p:cNvPr id="31" name="TextBox 30">
              <a:extLst>
                <a:ext uri="{FF2B5EF4-FFF2-40B4-BE49-F238E27FC236}">
                  <a16:creationId xmlns:a16="http://schemas.microsoft.com/office/drawing/2014/main" id="{407AE1ED-E9E0-F2F0-2775-137295CCD56B}"/>
                </a:ext>
              </a:extLst>
            </p:cNvPr>
            <p:cNvSpPr txBox="1"/>
            <p:nvPr/>
          </p:nvSpPr>
          <p:spPr>
            <a:xfrm>
              <a:off x="2850258" y="3286568"/>
              <a:ext cx="100989" cy="215348"/>
            </a:xfrm>
            <a:prstGeom prst="rect">
              <a:avLst/>
            </a:prstGeom>
            <a:noFill/>
          </p:spPr>
          <p:txBody>
            <a:bodyPr wrap="none" lIns="0" tIns="0" rIns="0" bIns="0" rtlCol="0" anchor="t">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prstClr val="black"/>
                </a:solidFill>
                <a:effectLst/>
                <a:uLnTx/>
                <a:uFillTx/>
                <a:latin typeface="Arial" charset="0"/>
                <a:ea typeface="Geneva" charset="0"/>
                <a:cs typeface="Arial" charset="0"/>
              </a:endParaRP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1200" cap="none" spc="0" normalizeH="0" baseline="0" noProof="0" dirty="0">
                  <a:ln>
                    <a:noFill/>
                  </a:ln>
                  <a:solidFill>
                    <a:prstClr val="black"/>
                  </a:solidFill>
                  <a:effectLst/>
                  <a:uLnTx/>
                  <a:uFillTx/>
                  <a:latin typeface="Arial" charset="0"/>
                  <a:ea typeface="Geneva" charset="0"/>
                  <a:cs typeface="Arial" charset="0"/>
                </a:rPr>
                <a:t>63</a:t>
              </a:r>
            </a:p>
          </p:txBody>
        </p:sp>
        <p:sp>
          <p:nvSpPr>
            <p:cNvPr id="32" name="TextBox 31">
              <a:extLst>
                <a:ext uri="{FF2B5EF4-FFF2-40B4-BE49-F238E27FC236}">
                  <a16:creationId xmlns:a16="http://schemas.microsoft.com/office/drawing/2014/main" id="{16A3611F-C5A8-2193-96DF-A9C502B1D422}"/>
                </a:ext>
              </a:extLst>
            </p:cNvPr>
            <p:cNvSpPr txBox="1"/>
            <p:nvPr/>
          </p:nvSpPr>
          <p:spPr>
            <a:xfrm>
              <a:off x="3197219" y="3286568"/>
              <a:ext cx="100989" cy="215348"/>
            </a:xfrm>
            <a:prstGeom prst="rect">
              <a:avLst/>
            </a:prstGeom>
            <a:noFill/>
          </p:spPr>
          <p:txBody>
            <a:bodyPr wrap="none" lIns="0" tIns="0" rIns="0" bIns="0" rtlCol="0" anchor="t">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prstClr val="black"/>
                </a:solidFill>
                <a:effectLst/>
                <a:uLnTx/>
                <a:uFillTx/>
                <a:latin typeface="Arial" charset="0"/>
                <a:ea typeface="Geneva" charset="0"/>
                <a:cs typeface="Arial" charset="0"/>
              </a:endParaRP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1200" cap="none" spc="0" normalizeH="0" baseline="0" noProof="0" dirty="0">
                  <a:ln>
                    <a:noFill/>
                  </a:ln>
                  <a:solidFill>
                    <a:prstClr val="black"/>
                  </a:solidFill>
                  <a:effectLst/>
                  <a:uLnTx/>
                  <a:uFillTx/>
                  <a:latin typeface="Arial" charset="0"/>
                  <a:ea typeface="Geneva" charset="0"/>
                  <a:cs typeface="Arial" charset="0"/>
                </a:rPr>
                <a:t>57</a:t>
              </a:r>
            </a:p>
          </p:txBody>
        </p:sp>
        <p:sp>
          <p:nvSpPr>
            <p:cNvPr id="33" name="TextBox 32">
              <a:extLst>
                <a:ext uri="{FF2B5EF4-FFF2-40B4-BE49-F238E27FC236}">
                  <a16:creationId xmlns:a16="http://schemas.microsoft.com/office/drawing/2014/main" id="{342E1C1B-B251-8C34-1449-E13CC67B0B40}"/>
                </a:ext>
              </a:extLst>
            </p:cNvPr>
            <p:cNvSpPr txBox="1"/>
            <p:nvPr/>
          </p:nvSpPr>
          <p:spPr>
            <a:xfrm>
              <a:off x="3544179" y="3286568"/>
              <a:ext cx="100989" cy="215348"/>
            </a:xfrm>
            <a:prstGeom prst="rect">
              <a:avLst/>
            </a:prstGeom>
            <a:noFill/>
          </p:spPr>
          <p:txBody>
            <a:bodyPr wrap="none" lIns="0" tIns="0" rIns="0" bIns="0" rtlCol="0" anchor="t">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prstClr val="black"/>
                </a:solidFill>
                <a:effectLst/>
                <a:uLnTx/>
                <a:uFillTx/>
                <a:latin typeface="Arial" charset="0"/>
                <a:ea typeface="Geneva" charset="0"/>
                <a:cs typeface="Arial" charset="0"/>
              </a:endParaRP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1200" cap="none" spc="0" normalizeH="0" baseline="0" noProof="0" dirty="0">
                  <a:ln>
                    <a:noFill/>
                  </a:ln>
                  <a:solidFill>
                    <a:prstClr val="black"/>
                  </a:solidFill>
                  <a:effectLst/>
                  <a:uLnTx/>
                  <a:uFillTx/>
                  <a:latin typeface="Arial" charset="0"/>
                  <a:ea typeface="Geneva" charset="0"/>
                  <a:cs typeface="Arial" charset="0"/>
                </a:rPr>
                <a:t>54</a:t>
              </a:r>
            </a:p>
          </p:txBody>
        </p:sp>
        <p:sp>
          <p:nvSpPr>
            <p:cNvPr id="34" name="TextBox 33">
              <a:extLst>
                <a:ext uri="{FF2B5EF4-FFF2-40B4-BE49-F238E27FC236}">
                  <a16:creationId xmlns:a16="http://schemas.microsoft.com/office/drawing/2014/main" id="{7220D748-DE45-98EF-F63E-9C6068B7104F}"/>
                </a:ext>
              </a:extLst>
            </p:cNvPr>
            <p:cNvSpPr txBox="1"/>
            <p:nvPr/>
          </p:nvSpPr>
          <p:spPr>
            <a:xfrm>
              <a:off x="3891138" y="3286568"/>
              <a:ext cx="100989" cy="215348"/>
            </a:xfrm>
            <a:prstGeom prst="rect">
              <a:avLst/>
            </a:prstGeom>
            <a:noFill/>
          </p:spPr>
          <p:txBody>
            <a:bodyPr wrap="none" lIns="0" tIns="0" rIns="0" bIns="0" rtlCol="0" anchor="t">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prstClr val="black"/>
                </a:solidFill>
                <a:effectLst/>
                <a:uLnTx/>
                <a:uFillTx/>
                <a:latin typeface="Arial" charset="0"/>
                <a:ea typeface="Geneva" charset="0"/>
                <a:cs typeface="Arial" charset="0"/>
              </a:endParaRP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1200" cap="none" spc="0" normalizeH="0" baseline="0" noProof="0" dirty="0">
                  <a:ln>
                    <a:noFill/>
                  </a:ln>
                  <a:solidFill>
                    <a:prstClr val="black"/>
                  </a:solidFill>
                  <a:effectLst/>
                  <a:uLnTx/>
                  <a:uFillTx/>
                  <a:latin typeface="Arial" charset="0"/>
                  <a:ea typeface="Geneva" charset="0"/>
                  <a:cs typeface="Arial" charset="0"/>
                </a:rPr>
                <a:t>50</a:t>
              </a:r>
            </a:p>
          </p:txBody>
        </p:sp>
        <p:sp>
          <p:nvSpPr>
            <p:cNvPr id="35" name="TextBox 34">
              <a:extLst>
                <a:ext uri="{FF2B5EF4-FFF2-40B4-BE49-F238E27FC236}">
                  <a16:creationId xmlns:a16="http://schemas.microsoft.com/office/drawing/2014/main" id="{93A05A90-454A-9299-8276-BE16D5AFED57}"/>
                </a:ext>
              </a:extLst>
            </p:cNvPr>
            <p:cNvSpPr txBox="1"/>
            <p:nvPr/>
          </p:nvSpPr>
          <p:spPr>
            <a:xfrm>
              <a:off x="4238099" y="3286568"/>
              <a:ext cx="100989" cy="215348"/>
            </a:xfrm>
            <a:prstGeom prst="rect">
              <a:avLst/>
            </a:prstGeom>
            <a:noFill/>
          </p:spPr>
          <p:txBody>
            <a:bodyPr wrap="none" lIns="0" tIns="0" rIns="0" bIns="0" rtlCol="0" anchor="t">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prstClr val="black"/>
                </a:solidFill>
                <a:effectLst/>
                <a:uLnTx/>
                <a:uFillTx/>
                <a:latin typeface="Arial" charset="0"/>
                <a:ea typeface="Geneva" charset="0"/>
                <a:cs typeface="Arial" charset="0"/>
              </a:endParaRP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1200" cap="none" spc="0" normalizeH="0" baseline="0" noProof="0" dirty="0">
                  <a:ln>
                    <a:noFill/>
                  </a:ln>
                  <a:solidFill>
                    <a:prstClr val="black"/>
                  </a:solidFill>
                  <a:effectLst/>
                  <a:uLnTx/>
                  <a:uFillTx/>
                  <a:latin typeface="Arial" charset="0"/>
                  <a:ea typeface="Geneva" charset="0"/>
                  <a:cs typeface="Arial" charset="0"/>
                </a:rPr>
                <a:t>48</a:t>
              </a:r>
            </a:p>
          </p:txBody>
        </p:sp>
        <p:sp>
          <p:nvSpPr>
            <p:cNvPr id="36" name="TextBox 35">
              <a:extLst>
                <a:ext uri="{FF2B5EF4-FFF2-40B4-BE49-F238E27FC236}">
                  <a16:creationId xmlns:a16="http://schemas.microsoft.com/office/drawing/2014/main" id="{04817D5A-983D-1440-0EBA-B5DC4C64C03E}"/>
                </a:ext>
              </a:extLst>
            </p:cNvPr>
            <p:cNvSpPr txBox="1"/>
            <p:nvPr/>
          </p:nvSpPr>
          <p:spPr>
            <a:xfrm>
              <a:off x="4585059" y="3286568"/>
              <a:ext cx="100989" cy="215348"/>
            </a:xfrm>
            <a:prstGeom prst="rect">
              <a:avLst/>
            </a:prstGeom>
            <a:noFill/>
          </p:spPr>
          <p:txBody>
            <a:bodyPr wrap="none" lIns="0" tIns="0" rIns="0" bIns="0" rtlCol="0" anchor="t">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prstClr val="black"/>
                </a:solidFill>
                <a:effectLst/>
                <a:uLnTx/>
                <a:uFillTx/>
                <a:latin typeface="Arial" charset="0"/>
                <a:ea typeface="Geneva" charset="0"/>
                <a:cs typeface="Arial" charset="0"/>
              </a:endParaRP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1200" cap="none" spc="0" normalizeH="0" baseline="0" noProof="0" dirty="0">
                  <a:ln>
                    <a:noFill/>
                  </a:ln>
                  <a:solidFill>
                    <a:prstClr val="black"/>
                  </a:solidFill>
                  <a:effectLst/>
                  <a:uLnTx/>
                  <a:uFillTx/>
                  <a:latin typeface="Arial" charset="0"/>
                  <a:ea typeface="Geneva" charset="0"/>
                  <a:cs typeface="Arial" charset="0"/>
                </a:rPr>
                <a:t>48</a:t>
              </a:r>
            </a:p>
          </p:txBody>
        </p:sp>
        <p:sp>
          <p:nvSpPr>
            <p:cNvPr id="37" name="TextBox 36">
              <a:extLst>
                <a:ext uri="{FF2B5EF4-FFF2-40B4-BE49-F238E27FC236}">
                  <a16:creationId xmlns:a16="http://schemas.microsoft.com/office/drawing/2014/main" id="{33552F38-0971-36EF-38B9-343F8C4E00FF}"/>
                </a:ext>
              </a:extLst>
            </p:cNvPr>
            <p:cNvSpPr txBox="1"/>
            <p:nvPr/>
          </p:nvSpPr>
          <p:spPr>
            <a:xfrm>
              <a:off x="4932018" y="3286568"/>
              <a:ext cx="100989" cy="215348"/>
            </a:xfrm>
            <a:prstGeom prst="rect">
              <a:avLst/>
            </a:prstGeom>
            <a:noFill/>
          </p:spPr>
          <p:txBody>
            <a:bodyPr wrap="none" lIns="0" tIns="0" rIns="0" bIns="0" rtlCol="0" anchor="t">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prstClr val="black"/>
                </a:solidFill>
                <a:effectLst/>
                <a:uLnTx/>
                <a:uFillTx/>
                <a:latin typeface="Arial" charset="0"/>
                <a:ea typeface="Geneva" charset="0"/>
                <a:cs typeface="Arial" charset="0"/>
              </a:endParaRP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1200" cap="none" spc="0" normalizeH="0" baseline="0" noProof="0" dirty="0">
                  <a:ln>
                    <a:noFill/>
                  </a:ln>
                  <a:solidFill>
                    <a:prstClr val="black"/>
                  </a:solidFill>
                  <a:effectLst/>
                  <a:uLnTx/>
                  <a:uFillTx/>
                  <a:latin typeface="Arial" charset="0"/>
                  <a:ea typeface="Geneva" charset="0"/>
                  <a:cs typeface="Arial" charset="0"/>
                </a:rPr>
                <a:t>45</a:t>
              </a:r>
            </a:p>
          </p:txBody>
        </p:sp>
        <p:sp>
          <p:nvSpPr>
            <p:cNvPr id="38" name="TextBox 37">
              <a:extLst>
                <a:ext uri="{FF2B5EF4-FFF2-40B4-BE49-F238E27FC236}">
                  <a16:creationId xmlns:a16="http://schemas.microsoft.com/office/drawing/2014/main" id="{6473BE95-B55F-13D1-1049-98D915936CD9}"/>
                </a:ext>
              </a:extLst>
            </p:cNvPr>
            <p:cNvSpPr txBox="1"/>
            <p:nvPr/>
          </p:nvSpPr>
          <p:spPr>
            <a:xfrm>
              <a:off x="5278978" y="3286568"/>
              <a:ext cx="100989" cy="215348"/>
            </a:xfrm>
            <a:prstGeom prst="rect">
              <a:avLst/>
            </a:prstGeom>
            <a:noFill/>
          </p:spPr>
          <p:txBody>
            <a:bodyPr wrap="none" lIns="0" tIns="0" rIns="0" bIns="0" rtlCol="0" anchor="t">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prstClr val="black"/>
                </a:solidFill>
                <a:effectLst/>
                <a:uLnTx/>
                <a:uFillTx/>
                <a:latin typeface="Arial" charset="0"/>
                <a:ea typeface="Geneva" charset="0"/>
                <a:cs typeface="Arial" charset="0"/>
              </a:endParaRP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1200" cap="none" spc="0" normalizeH="0" baseline="0" noProof="0" dirty="0">
                  <a:ln>
                    <a:noFill/>
                  </a:ln>
                  <a:solidFill>
                    <a:prstClr val="black"/>
                  </a:solidFill>
                  <a:effectLst/>
                  <a:uLnTx/>
                  <a:uFillTx/>
                  <a:latin typeface="Arial" charset="0"/>
                  <a:ea typeface="Geneva" charset="0"/>
                  <a:cs typeface="Arial" charset="0"/>
                </a:rPr>
                <a:t>43</a:t>
              </a:r>
            </a:p>
          </p:txBody>
        </p:sp>
        <p:sp>
          <p:nvSpPr>
            <p:cNvPr id="39" name="TextBox 38">
              <a:extLst>
                <a:ext uri="{FF2B5EF4-FFF2-40B4-BE49-F238E27FC236}">
                  <a16:creationId xmlns:a16="http://schemas.microsoft.com/office/drawing/2014/main" id="{C2796B3C-6B68-6B9D-8864-8A9DB00481DF}"/>
                </a:ext>
              </a:extLst>
            </p:cNvPr>
            <p:cNvSpPr txBox="1"/>
            <p:nvPr/>
          </p:nvSpPr>
          <p:spPr>
            <a:xfrm>
              <a:off x="5625939" y="3286568"/>
              <a:ext cx="100989" cy="215348"/>
            </a:xfrm>
            <a:prstGeom prst="rect">
              <a:avLst/>
            </a:prstGeom>
            <a:noFill/>
          </p:spPr>
          <p:txBody>
            <a:bodyPr wrap="none" lIns="0" tIns="0" rIns="0" bIns="0" rtlCol="0" anchor="t">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prstClr val="black"/>
                </a:solidFill>
                <a:effectLst/>
                <a:uLnTx/>
                <a:uFillTx/>
                <a:latin typeface="Arial" charset="0"/>
                <a:ea typeface="Geneva" charset="0"/>
                <a:cs typeface="Arial" charset="0"/>
              </a:endParaRP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1200" cap="none" spc="0" normalizeH="0" baseline="0" noProof="0" dirty="0">
                  <a:ln>
                    <a:noFill/>
                  </a:ln>
                  <a:solidFill>
                    <a:prstClr val="black"/>
                  </a:solidFill>
                  <a:effectLst/>
                  <a:uLnTx/>
                  <a:uFillTx/>
                  <a:latin typeface="Arial" charset="0"/>
                  <a:ea typeface="Geneva" charset="0"/>
                  <a:cs typeface="Arial" charset="0"/>
                </a:rPr>
                <a:t>40</a:t>
              </a:r>
            </a:p>
          </p:txBody>
        </p:sp>
        <p:sp>
          <p:nvSpPr>
            <p:cNvPr id="40" name="TextBox 39">
              <a:extLst>
                <a:ext uri="{FF2B5EF4-FFF2-40B4-BE49-F238E27FC236}">
                  <a16:creationId xmlns:a16="http://schemas.microsoft.com/office/drawing/2014/main" id="{082DDDEC-E955-B9A5-578B-A3C9E82C43D9}"/>
                </a:ext>
              </a:extLst>
            </p:cNvPr>
            <p:cNvSpPr txBox="1"/>
            <p:nvPr/>
          </p:nvSpPr>
          <p:spPr>
            <a:xfrm>
              <a:off x="5972898" y="3286568"/>
              <a:ext cx="100989" cy="215348"/>
            </a:xfrm>
            <a:prstGeom prst="rect">
              <a:avLst/>
            </a:prstGeom>
            <a:noFill/>
          </p:spPr>
          <p:txBody>
            <a:bodyPr wrap="none" lIns="0" tIns="0" rIns="0" bIns="0" rtlCol="0" anchor="t">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prstClr val="black"/>
                </a:solidFill>
                <a:effectLst/>
                <a:uLnTx/>
                <a:uFillTx/>
                <a:latin typeface="Arial" charset="0"/>
                <a:ea typeface="Geneva" charset="0"/>
                <a:cs typeface="Arial" charset="0"/>
              </a:endParaRP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1200" cap="none" spc="0" normalizeH="0" baseline="0" noProof="0" dirty="0">
                  <a:ln>
                    <a:noFill/>
                  </a:ln>
                  <a:solidFill>
                    <a:prstClr val="black"/>
                  </a:solidFill>
                  <a:effectLst/>
                  <a:uLnTx/>
                  <a:uFillTx/>
                  <a:latin typeface="Arial" charset="0"/>
                  <a:ea typeface="Geneva" charset="0"/>
                  <a:cs typeface="Arial" charset="0"/>
                </a:rPr>
                <a:t>40</a:t>
              </a:r>
            </a:p>
          </p:txBody>
        </p:sp>
        <p:sp>
          <p:nvSpPr>
            <p:cNvPr id="41" name="TextBox 40">
              <a:extLst>
                <a:ext uri="{FF2B5EF4-FFF2-40B4-BE49-F238E27FC236}">
                  <a16:creationId xmlns:a16="http://schemas.microsoft.com/office/drawing/2014/main" id="{F44ADD87-9567-8347-67C2-40871E41389D}"/>
                </a:ext>
              </a:extLst>
            </p:cNvPr>
            <p:cNvSpPr txBox="1"/>
            <p:nvPr/>
          </p:nvSpPr>
          <p:spPr>
            <a:xfrm>
              <a:off x="6319858" y="3286568"/>
              <a:ext cx="100989" cy="215348"/>
            </a:xfrm>
            <a:prstGeom prst="rect">
              <a:avLst/>
            </a:prstGeom>
            <a:noFill/>
          </p:spPr>
          <p:txBody>
            <a:bodyPr wrap="none" lIns="0" tIns="0" rIns="0" bIns="0" rtlCol="0" anchor="t">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prstClr val="black"/>
                </a:solidFill>
                <a:effectLst/>
                <a:uLnTx/>
                <a:uFillTx/>
                <a:latin typeface="Arial" charset="0"/>
                <a:ea typeface="Geneva" charset="0"/>
                <a:cs typeface="Arial" charset="0"/>
              </a:endParaRP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1200" cap="none" spc="0" normalizeH="0" baseline="0" noProof="0" dirty="0">
                  <a:ln>
                    <a:noFill/>
                  </a:ln>
                  <a:solidFill>
                    <a:prstClr val="black"/>
                  </a:solidFill>
                  <a:effectLst/>
                  <a:uLnTx/>
                  <a:uFillTx/>
                  <a:latin typeface="Arial" charset="0"/>
                  <a:ea typeface="Geneva" charset="0"/>
                  <a:cs typeface="Arial" charset="0"/>
                </a:rPr>
                <a:t>39</a:t>
              </a:r>
            </a:p>
          </p:txBody>
        </p:sp>
        <p:sp>
          <p:nvSpPr>
            <p:cNvPr id="42" name="TextBox 41">
              <a:extLst>
                <a:ext uri="{FF2B5EF4-FFF2-40B4-BE49-F238E27FC236}">
                  <a16:creationId xmlns:a16="http://schemas.microsoft.com/office/drawing/2014/main" id="{3D29A308-6DB8-0021-184D-69B81DC998C3}"/>
                </a:ext>
              </a:extLst>
            </p:cNvPr>
            <p:cNvSpPr txBox="1"/>
            <p:nvPr/>
          </p:nvSpPr>
          <p:spPr>
            <a:xfrm>
              <a:off x="6666819" y="3286568"/>
              <a:ext cx="100989" cy="215348"/>
            </a:xfrm>
            <a:prstGeom prst="rect">
              <a:avLst/>
            </a:prstGeom>
            <a:noFill/>
          </p:spPr>
          <p:txBody>
            <a:bodyPr wrap="none" lIns="0" tIns="0" rIns="0" bIns="0" rtlCol="0" anchor="t">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prstClr val="black"/>
                </a:solidFill>
                <a:effectLst/>
                <a:uLnTx/>
                <a:uFillTx/>
                <a:latin typeface="Arial" charset="0"/>
                <a:ea typeface="Geneva" charset="0"/>
                <a:cs typeface="Arial" charset="0"/>
              </a:endParaRP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1200" cap="none" spc="0" normalizeH="0" baseline="0" noProof="0" dirty="0">
                  <a:ln>
                    <a:noFill/>
                  </a:ln>
                  <a:solidFill>
                    <a:prstClr val="black"/>
                  </a:solidFill>
                  <a:effectLst/>
                  <a:uLnTx/>
                  <a:uFillTx/>
                  <a:latin typeface="Arial" charset="0"/>
                  <a:ea typeface="Geneva" charset="0"/>
                  <a:cs typeface="Arial" charset="0"/>
                </a:rPr>
                <a:t>36</a:t>
              </a:r>
            </a:p>
          </p:txBody>
        </p:sp>
        <p:sp>
          <p:nvSpPr>
            <p:cNvPr id="43" name="TextBox 42">
              <a:extLst>
                <a:ext uri="{FF2B5EF4-FFF2-40B4-BE49-F238E27FC236}">
                  <a16:creationId xmlns:a16="http://schemas.microsoft.com/office/drawing/2014/main" id="{5A8D1F06-6FF3-4518-0492-C650E50D710D}"/>
                </a:ext>
              </a:extLst>
            </p:cNvPr>
            <p:cNvSpPr txBox="1"/>
            <p:nvPr/>
          </p:nvSpPr>
          <p:spPr>
            <a:xfrm>
              <a:off x="7013778" y="3286568"/>
              <a:ext cx="100989" cy="215348"/>
            </a:xfrm>
            <a:prstGeom prst="rect">
              <a:avLst/>
            </a:prstGeom>
            <a:noFill/>
          </p:spPr>
          <p:txBody>
            <a:bodyPr wrap="none" lIns="0" tIns="0" rIns="0" bIns="0" rtlCol="0" anchor="t">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prstClr val="black"/>
                </a:solidFill>
                <a:effectLst/>
                <a:uLnTx/>
                <a:uFillTx/>
                <a:latin typeface="Arial" charset="0"/>
                <a:ea typeface="Geneva" charset="0"/>
                <a:cs typeface="Arial" charset="0"/>
              </a:endParaRP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1200" cap="none" spc="0" normalizeH="0" baseline="0" noProof="0" dirty="0">
                  <a:ln>
                    <a:noFill/>
                  </a:ln>
                  <a:solidFill>
                    <a:prstClr val="black"/>
                  </a:solidFill>
                  <a:effectLst/>
                  <a:uLnTx/>
                  <a:uFillTx/>
                  <a:latin typeface="Arial" charset="0"/>
                  <a:ea typeface="Geneva" charset="0"/>
                  <a:cs typeface="Arial" charset="0"/>
                </a:rPr>
                <a:t>34</a:t>
              </a:r>
            </a:p>
          </p:txBody>
        </p:sp>
        <p:sp>
          <p:nvSpPr>
            <p:cNvPr id="44" name="TextBox 43">
              <a:extLst>
                <a:ext uri="{FF2B5EF4-FFF2-40B4-BE49-F238E27FC236}">
                  <a16:creationId xmlns:a16="http://schemas.microsoft.com/office/drawing/2014/main" id="{98BB2A66-AC3A-A881-DF97-2915BB01C89C}"/>
                </a:ext>
              </a:extLst>
            </p:cNvPr>
            <p:cNvSpPr txBox="1"/>
            <p:nvPr/>
          </p:nvSpPr>
          <p:spPr>
            <a:xfrm>
              <a:off x="7360738" y="3286568"/>
              <a:ext cx="100989" cy="215348"/>
            </a:xfrm>
            <a:prstGeom prst="rect">
              <a:avLst/>
            </a:prstGeom>
            <a:noFill/>
          </p:spPr>
          <p:txBody>
            <a:bodyPr wrap="none" lIns="0" tIns="0" rIns="0" bIns="0" rtlCol="0" anchor="t">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prstClr val="black"/>
                </a:solidFill>
                <a:effectLst/>
                <a:uLnTx/>
                <a:uFillTx/>
                <a:latin typeface="Arial" charset="0"/>
                <a:ea typeface="Geneva" charset="0"/>
                <a:cs typeface="Arial" charset="0"/>
              </a:endParaRP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1200" cap="none" spc="0" normalizeH="0" baseline="0" noProof="0" dirty="0">
                  <a:ln>
                    <a:noFill/>
                  </a:ln>
                  <a:solidFill>
                    <a:prstClr val="black"/>
                  </a:solidFill>
                  <a:effectLst/>
                  <a:uLnTx/>
                  <a:uFillTx/>
                  <a:latin typeface="Arial" charset="0"/>
                  <a:ea typeface="Geneva" charset="0"/>
                  <a:cs typeface="Arial" charset="0"/>
                </a:rPr>
                <a:t>16</a:t>
              </a:r>
            </a:p>
          </p:txBody>
        </p:sp>
        <p:sp>
          <p:nvSpPr>
            <p:cNvPr id="45" name="TextBox 44">
              <a:extLst>
                <a:ext uri="{FF2B5EF4-FFF2-40B4-BE49-F238E27FC236}">
                  <a16:creationId xmlns:a16="http://schemas.microsoft.com/office/drawing/2014/main" id="{B34756B3-91F9-DC42-EC08-165C149942B3}"/>
                </a:ext>
              </a:extLst>
            </p:cNvPr>
            <p:cNvSpPr txBox="1"/>
            <p:nvPr/>
          </p:nvSpPr>
          <p:spPr>
            <a:xfrm>
              <a:off x="7704095" y="3286568"/>
              <a:ext cx="50495" cy="215348"/>
            </a:xfrm>
            <a:prstGeom prst="rect">
              <a:avLst/>
            </a:prstGeom>
            <a:noFill/>
          </p:spPr>
          <p:txBody>
            <a:bodyPr wrap="none" lIns="0" tIns="0" rIns="0" bIns="0" rtlCol="0" anchor="t">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prstClr val="black"/>
                </a:solidFill>
                <a:effectLst/>
                <a:uLnTx/>
                <a:uFillTx/>
                <a:latin typeface="Arial" charset="0"/>
                <a:ea typeface="Geneva" charset="0"/>
                <a:cs typeface="Arial" charset="0"/>
              </a:endParaRP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1200" cap="none" spc="0" normalizeH="0" baseline="0" noProof="0" dirty="0">
                  <a:ln>
                    <a:noFill/>
                  </a:ln>
                  <a:solidFill>
                    <a:prstClr val="black"/>
                  </a:solidFill>
                  <a:effectLst/>
                  <a:uLnTx/>
                  <a:uFillTx/>
                  <a:latin typeface="Arial" charset="0"/>
                  <a:ea typeface="Geneva" charset="0"/>
                  <a:cs typeface="Arial" charset="0"/>
                </a:rPr>
                <a:t>0</a:t>
              </a:r>
            </a:p>
          </p:txBody>
        </p:sp>
      </p:grpSp>
      <p:sp>
        <p:nvSpPr>
          <p:cNvPr id="46" name="TextBox 45">
            <a:extLst>
              <a:ext uri="{FF2B5EF4-FFF2-40B4-BE49-F238E27FC236}">
                <a16:creationId xmlns:a16="http://schemas.microsoft.com/office/drawing/2014/main" id="{E12D6FCE-5C19-F9BF-F2D4-1CA86C756770}"/>
              </a:ext>
            </a:extLst>
          </p:cNvPr>
          <p:cNvSpPr txBox="1"/>
          <p:nvPr/>
        </p:nvSpPr>
        <p:spPr>
          <a:xfrm>
            <a:off x="2685613" y="2764637"/>
            <a:ext cx="910506" cy="143565"/>
          </a:xfrm>
          <a:prstGeom prst="rect">
            <a:avLst/>
          </a:prstGeom>
          <a:noFill/>
        </p:spPr>
        <p:txBody>
          <a:bodyPr wrap="none" lIns="0" tIns="0" rIns="0" bIns="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1200" cap="none" spc="0" normalizeH="0" baseline="0" noProof="0">
                <a:ln>
                  <a:noFill/>
                </a:ln>
                <a:solidFill>
                  <a:prstClr val="black"/>
                </a:solidFill>
                <a:effectLst/>
                <a:uLnTx/>
                <a:uFillTx/>
                <a:latin typeface="Arial" charset="0"/>
                <a:ea typeface="Geneva" charset="0"/>
                <a:cs typeface="Arial" charset="0"/>
              </a:rPr>
              <a:t>Censoring Times</a:t>
            </a:r>
            <a:endParaRPr kumimoji="0" lang="en-US" sz="933" b="0" i="0" u="none" strike="noStrike" kern="1200" cap="none" spc="0" normalizeH="0" baseline="0" noProof="0" dirty="0">
              <a:ln>
                <a:noFill/>
              </a:ln>
              <a:solidFill>
                <a:prstClr val="black"/>
              </a:solidFill>
              <a:effectLst/>
              <a:uLnTx/>
              <a:uFillTx/>
              <a:latin typeface="Arial" charset="0"/>
              <a:ea typeface="Geneva" charset="0"/>
              <a:cs typeface="Arial" charset="0"/>
            </a:endParaRPr>
          </a:p>
        </p:txBody>
      </p:sp>
      <p:sp>
        <p:nvSpPr>
          <p:cNvPr id="47" name="TextBox 46">
            <a:extLst>
              <a:ext uri="{FF2B5EF4-FFF2-40B4-BE49-F238E27FC236}">
                <a16:creationId xmlns:a16="http://schemas.microsoft.com/office/drawing/2014/main" id="{ED8FBF78-0914-CC9C-BC05-582DCD485872}"/>
              </a:ext>
            </a:extLst>
          </p:cNvPr>
          <p:cNvSpPr txBox="1"/>
          <p:nvPr/>
        </p:nvSpPr>
        <p:spPr>
          <a:xfrm>
            <a:off x="2685613" y="2915745"/>
            <a:ext cx="2372444" cy="820417"/>
          </a:xfrm>
          <a:prstGeom prst="rect">
            <a:avLst/>
          </a:prstGeom>
          <a:noFill/>
        </p:spPr>
        <p:txBody>
          <a:bodyPr wrap="none" lIns="0" tIns="0" rIns="0" bIns="0" rtlCol="0">
            <a:spAutoFit/>
          </a:bodyPr>
          <a:lstStyle/>
          <a:p>
            <a:pPr marL="0" marR="0" lvl="0" indent="0" algn="l" defTabSz="609585" rtl="0" eaLnBrk="1" fontAlgn="base" latinLnBrk="0" hangingPunct="1">
              <a:lnSpc>
                <a:spcPct val="100000"/>
              </a:lnSpc>
              <a:spcBef>
                <a:spcPct val="0"/>
              </a:spcBef>
              <a:spcAft>
                <a:spcPts val="400"/>
              </a:spcAft>
              <a:buClrTx/>
              <a:buSzTx/>
              <a:buFontTx/>
              <a:buNone/>
              <a:tabLst/>
              <a:defRPr/>
            </a:pPr>
            <a:r>
              <a:rPr kumimoji="0" lang="en-US" sz="933" b="0" i="0" u="none" strike="noStrike" kern="1200" cap="none" spc="0" normalizeH="0" baseline="0" noProof="0" dirty="0">
                <a:ln>
                  <a:noFill/>
                </a:ln>
                <a:solidFill>
                  <a:prstClr val="black"/>
                </a:solidFill>
                <a:effectLst/>
                <a:uLnTx/>
                <a:uFillTx/>
                <a:latin typeface="Arial" charset="0"/>
                <a:ea typeface="Geneva" charset="0"/>
                <a:cs typeface="Arial" charset="0"/>
              </a:rPr>
              <a:t>All subjects (N=94)</a:t>
            </a:r>
          </a:p>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1200" cap="none" spc="0" normalizeH="0" baseline="0" noProof="0" dirty="0">
                <a:ln>
                  <a:noFill/>
                </a:ln>
                <a:solidFill>
                  <a:prstClr val="black"/>
                </a:solidFill>
                <a:effectLst/>
                <a:uLnTx/>
                <a:uFillTx/>
                <a:latin typeface="Arial" charset="0"/>
                <a:ea typeface="Geneva" charset="0"/>
                <a:cs typeface="Arial" charset="0"/>
              </a:rPr>
              <a:t>Number of Events (n)</a:t>
            </a:r>
          </a:p>
          <a:p>
            <a:pPr marL="0" marR="0" lvl="0" indent="0" algn="l" defTabSz="609585" rtl="0" eaLnBrk="1" fontAlgn="base" latinLnBrk="0" hangingPunct="1">
              <a:lnSpc>
                <a:spcPct val="100000"/>
              </a:lnSpc>
              <a:spcBef>
                <a:spcPct val="0"/>
              </a:spcBef>
              <a:spcAft>
                <a:spcPts val="400"/>
              </a:spcAft>
              <a:buClrTx/>
              <a:buSzTx/>
              <a:buFontTx/>
              <a:buNone/>
              <a:tabLst/>
              <a:defRPr/>
            </a:pPr>
            <a:r>
              <a:rPr kumimoji="0" lang="en-US" sz="933" b="0" i="0" u="none" strike="noStrike" kern="1200" cap="none" spc="0" normalizeH="0" baseline="0" noProof="0" dirty="0">
                <a:ln>
                  <a:noFill/>
                </a:ln>
                <a:solidFill>
                  <a:prstClr val="black"/>
                </a:solidFill>
                <a:effectLst/>
                <a:uLnTx/>
                <a:uFillTx/>
                <a:latin typeface="Arial" charset="0"/>
                <a:ea typeface="Geneva" charset="0"/>
                <a:cs typeface="Arial" charset="0"/>
              </a:rPr>
              <a:t>All subjects: 46</a:t>
            </a:r>
          </a:p>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1200" cap="none" spc="0" normalizeH="0" baseline="0" noProof="0" dirty="0">
                <a:ln>
                  <a:noFill/>
                </a:ln>
                <a:solidFill>
                  <a:prstClr val="black"/>
                </a:solidFill>
                <a:effectLst/>
                <a:uLnTx/>
                <a:uFillTx/>
                <a:latin typeface="Arial" charset="0"/>
                <a:ea typeface="Geneva" charset="0"/>
                <a:cs typeface="Arial" charset="0"/>
              </a:rPr>
              <a:t>Kaplan-Meier medians</a:t>
            </a:r>
          </a:p>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1200" cap="none" spc="0" normalizeH="0" baseline="0" noProof="0" dirty="0">
                <a:ln>
                  <a:noFill/>
                </a:ln>
                <a:solidFill>
                  <a:prstClr val="black"/>
                </a:solidFill>
                <a:effectLst/>
                <a:uLnTx/>
                <a:uFillTx/>
                <a:latin typeface="Arial" charset="0"/>
                <a:ea typeface="Geneva" charset="0"/>
                <a:cs typeface="Arial" charset="0"/>
              </a:rPr>
              <a:t>All subjects: 53.2 months, 95% CI [18.2, </a:t>
            </a:r>
            <a:r>
              <a:rPr kumimoji="0" lang="en-US" sz="933" b="0" i="0" u="none" strike="noStrike" kern="1200" cap="none" spc="0" normalizeH="0" baseline="0" noProof="0">
                <a:ln>
                  <a:noFill/>
                </a:ln>
                <a:solidFill>
                  <a:prstClr val="black"/>
                </a:solidFill>
                <a:effectLst/>
                <a:uLnTx/>
                <a:uFillTx/>
                <a:latin typeface="Arial" charset="0"/>
                <a:ea typeface="Geneva" charset="0"/>
                <a:cs typeface="Arial" charset="0"/>
              </a:rPr>
              <a:t>NE]</a:t>
            </a:r>
            <a:endParaRPr kumimoji="0" lang="en-US" sz="933" b="0" i="0" u="none" strike="noStrike" kern="1200" cap="none" spc="0" normalizeH="0" baseline="0" noProof="0" dirty="0">
              <a:ln>
                <a:noFill/>
              </a:ln>
              <a:solidFill>
                <a:prstClr val="black"/>
              </a:solidFill>
              <a:effectLst/>
              <a:uLnTx/>
              <a:uFillTx/>
              <a:latin typeface="Arial" charset="0"/>
              <a:ea typeface="Geneva" charset="0"/>
              <a:cs typeface="Arial" charset="0"/>
            </a:endParaRPr>
          </a:p>
        </p:txBody>
      </p:sp>
      <p:sp>
        <p:nvSpPr>
          <p:cNvPr id="48" name="TextBox 47">
            <a:extLst>
              <a:ext uri="{FF2B5EF4-FFF2-40B4-BE49-F238E27FC236}">
                <a16:creationId xmlns:a16="http://schemas.microsoft.com/office/drawing/2014/main" id="{B7C4576F-2975-7387-3637-C6D02F6E45BC}"/>
              </a:ext>
            </a:extLst>
          </p:cNvPr>
          <p:cNvSpPr txBox="1"/>
          <p:nvPr/>
        </p:nvSpPr>
        <p:spPr>
          <a:xfrm rot="16200000">
            <a:off x="697793" y="2548477"/>
            <a:ext cx="2350915" cy="276999"/>
          </a:xfrm>
          <a:prstGeom prst="rect">
            <a:avLst/>
          </a:prstGeom>
          <a:noFill/>
        </p:spPr>
        <p:txBody>
          <a:bodyPr wrap="square"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charset="0"/>
                <a:ea typeface="Geneva" charset="0"/>
                <a:cs typeface="Arial" charset="0"/>
              </a:rPr>
              <a:t>Probability (%) </a:t>
            </a:r>
            <a:r>
              <a:rPr kumimoji="0" lang="en-US" sz="1200" b="1" i="0" u="none" strike="noStrike" kern="1200" cap="none" spc="0" normalizeH="0" baseline="0" noProof="0">
                <a:ln>
                  <a:noFill/>
                </a:ln>
                <a:solidFill>
                  <a:prstClr val="black"/>
                </a:solidFill>
                <a:effectLst/>
                <a:uLnTx/>
                <a:uFillTx/>
                <a:latin typeface="Arial" charset="0"/>
                <a:ea typeface="Geneva" charset="0"/>
                <a:cs typeface="Arial" charset="0"/>
              </a:rPr>
              <a:t>of event-free</a:t>
            </a:r>
            <a:endParaRPr kumimoji="0" lang="en-US" sz="1200" b="1" i="0" u="none" strike="noStrike" kern="1200" cap="none" spc="0" normalizeH="0" baseline="0" noProof="0" dirty="0">
              <a:ln>
                <a:noFill/>
              </a:ln>
              <a:solidFill>
                <a:prstClr val="black"/>
              </a:solidFill>
              <a:effectLst/>
              <a:uLnTx/>
              <a:uFillTx/>
              <a:latin typeface="Arial" charset="0"/>
              <a:ea typeface="Geneva" charset="0"/>
              <a:cs typeface="Arial" charset="0"/>
            </a:endParaRPr>
          </a:p>
        </p:txBody>
      </p:sp>
      <p:sp>
        <p:nvSpPr>
          <p:cNvPr id="49" name="TextBox 48">
            <a:extLst>
              <a:ext uri="{FF2B5EF4-FFF2-40B4-BE49-F238E27FC236}">
                <a16:creationId xmlns:a16="http://schemas.microsoft.com/office/drawing/2014/main" id="{24C6D02D-CC2F-C7E0-D7B1-2431B7C3D704}"/>
              </a:ext>
            </a:extLst>
          </p:cNvPr>
          <p:cNvSpPr txBox="1"/>
          <p:nvPr/>
        </p:nvSpPr>
        <p:spPr>
          <a:xfrm>
            <a:off x="2017206" y="1549746"/>
            <a:ext cx="439544" cy="276999"/>
          </a:xfrm>
          <a:prstGeom prst="rect">
            <a:avLst/>
          </a:prstGeom>
          <a:noFill/>
        </p:spPr>
        <p:txBody>
          <a:bodyPr wrap="none" rtlCol="0">
            <a:spAutoFit/>
          </a:bodyPr>
          <a:lstStyle/>
          <a:p>
            <a:pPr marL="0" marR="0" lvl="0" indent="0" algn="r" defTabSz="609585"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charset="0"/>
                <a:ea typeface="Geneva" charset="0"/>
                <a:cs typeface="Arial" charset="0"/>
              </a:rPr>
              <a:t>100</a:t>
            </a:r>
            <a:endParaRPr kumimoji="0" lang="en-US" sz="1200" b="0" i="0" u="none" strike="noStrike" kern="1200" cap="none" spc="0" normalizeH="0" baseline="0" noProof="0" dirty="0">
              <a:ln>
                <a:noFill/>
              </a:ln>
              <a:solidFill>
                <a:prstClr val="black"/>
              </a:solidFill>
              <a:effectLst/>
              <a:uLnTx/>
              <a:uFillTx/>
              <a:latin typeface="Arial" charset="0"/>
              <a:ea typeface="Geneva" charset="0"/>
              <a:cs typeface="Arial" charset="0"/>
            </a:endParaRPr>
          </a:p>
        </p:txBody>
      </p:sp>
      <p:sp>
        <p:nvSpPr>
          <p:cNvPr id="50" name="TextBox 49">
            <a:extLst>
              <a:ext uri="{FF2B5EF4-FFF2-40B4-BE49-F238E27FC236}">
                <a16:creationId xmlns:a16="http://schemas.microsoft.com/office/drawing/2014/main" id="{51B83BA7-E95A-C085-5D98-FB944E99C2F1}"/>
              </a:ext>
            </a:extLst>
          </p:cNvPr>
          <p:cNvSpPr txBox="1"/>
          <p:nvPr/>
        </p:nvSpPr>
        <p:spPr>
          <a:xfrm>
            <a:off x="2102166" y="1977313"/>
            <a:ext cx="354584" cy="276999"/>
          </a:xfrm>
          <a:prstGeom prst="rect">
            <a:avLst/>
          </a:prstGeom>
          <a:noFill/>
        </p:spPr>
        <p:txBody>
          <a:bodyPr wrap="none" rtlCol="0">
            <a:spAutoFit/>
          </a:bodyPr>
          <a:lstStyle/>
          <a:p>
            <a:pPr marL="0" marR="0" lvl="0" indent="0" algn="r" defTabSz="609585"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charset="0"/>
                <a:ea typeface="Geneva" charset="0"/>
                <a:cs typeface="Arial" charset="0"/>
              </a:rPr>
              <a:t>80</a:t>
            </a:r>
            <a:endParaRPr kumimoji="0" lang="en-US" sz="1200" b="0" i="0" u="none" strike="noStrike" kern="1200" cap="none" spc="0" normalizeH="0" baseline="0" noProof="0" dirty="0">
              <a:ln>
                <a:noFill/>
              </a:ln>
              <a:solidFill>
                <a:prstClr val="black"/>
              </a:solidFill>
              <a:effectLst/>
              <a:uLnTx/>
              <a:uFillTx/>
              <a:latin typeface="Arial" charset="0"/>
              <a:ea typeface="Geneva" charset="0"/>
              <a:cs typeface="Arial" charset="0"/>
            </a:endParaRPr>
          </a:p>
        </p:txBody>
      </p:sp>
      <p:sp>
        <p:nvSpPr>
          <p:cNvPr id="51" name="TextBox 50">
            <a:extLst>
              <a:ext uri="{FF2B5EF4-FFF2-40B4-BE49-F238E27FC236}">
                <a16:creationId xmlns:a16="http://schemas.microsoft.com/office/drawing/2014/main" id="{28DDBA25-B401-9B7E-25C9-93BD5A502BF9}"/>
              </a:ext>
            </a:extLst>
          </p:cNvPr>
          <p:cNvSpPr txBox="1"/>
          <p:nvPr/>
        </p:nvSpPr>
        <p:spPr>
          <a:xfrm>
            <a:off x="2102166" y="2389581"/>
            <a:ext cx="354584" cy="276999"/>
          </a:xfrm>
          <a:prstGeom prst="rect">
            <a:avLst/>
          </a:prstGeom>
          <a:noFill/>
        </p:spPr>
        <p:txBody>
          <a:bodyPr wrap="none" rtlCol="0">
            <a:spAutoFit/>
          </a:bodyPr>
          <a:lstStyle/>
          <a:p>
            <a:pPr marL="0" marR="0" lvl="0" indent="0" algn="r" defTabSz="609585"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charset="0"/>
                <a:ea typeface="Geneva" charset="0"/>
                <a:cs typeface="Arial" charset="0"/>
              </a:rPr>
              <a:t>60</a:t>
            </a:r>
            <a:endParaRPr kumimoji="0" lang="en-US" sz="1200" b="0" i="0" u="none" strike="noStrike" kern="1200" cap="none" spc="0" normalizeH="0" baseline="0" noProof="0" dirty="0">
              <a:ln>
                <a:noFill/>
              </a:ln>
              <a:solidFill>
                <a:prstClr val="black"/>
              </a:solidFill>
              <a:effectLst/>
              <a:uLnTx/>
              <a:uFillTx/>
              <a:latin typeface="Arial" charset="0"/>
              <a:ea typeface="Geneva" charset="0"/>
              <a:cs typeface="Arial" charset="0"/>
            </a:endParaRPr>
          </a:p>
        </p:txBody>
      </p:sp>
      <p:sp>
        <p:nvSpPr>
          <p:cNvPr id="52" name="TextBox 51">
            <a:extLst>
              <a:ext uri="{FF2B5EF4-FFF2-40B4-BE49-F238E27FC236}">
                <a16:creationId xmlns:a16="http://schemas.microsoft.com/office/drawing/2014/main" id="{36F7E920-53AE-97D2-08F9-96315C1E98A6}"/>
              </a:ext>
            </a:extLst>
          </p:cNvPr>
          <p:cNvSpPr txBox="1"/>
          <p:nvPr/>
        </p:nvSpPr>
        <p:spPr>
          <a:xfrm>
            <a:off x="2102166" y="2816183"/>
            <a:ext cx="354584" cy="276999"/>
          </a:xfrm>
          <a:prstGeom prst="rect">
            <a:avLst/>
          </a:prstGeom>
          <a:noFill/>
        </p:spPr>
        <p:txBody>
          <a:bodyPr wrap="none" rtlCol="0">
            <a:spAutoFit/>
          </a:bodyPr>
          <a:lstStyle/>
          <a:p>
            <a:pPr marL="0" marR="0" lvl="0" indent="0" algn="r" defTabSz="609585"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charset="0"/>
                <a:ea typeface="Geneva" charset="0"/>
                <a:cs typeface="Arial" charset="0"/>
              </a:rPr>
              <a:t>40</a:t>
            </a:r>
            <a:endParaRPr kumimoji="0" lang="en-US" sz="1200" b="0" i="0" u="none" strike="noStrike" kern="1200" cap="none" spc="0" normalizeH="0" baseline="0" noProof="0" dirty="0">
              <a:ln>
                <a:noFill/>
              </a:ln>
              <a:solidFill>
                <a:prstClr val="black"/>
              </a:solidFill>
              <a:effectLst/>
              <a:uLnTx/>
              <a:uFillTx/>
              <a:latin typeface="Arial" charset="0"/>
              <a:ea typeface="Geneva" charset="0"/>
              <a:cs typeface="Arial" charset="0"/>
            </a:endParaRPr>
          </a:p>
        </p:txBody>
      </p:sp>
      <p:sp>
        <p:nvSpPr>
          <p:cNvPr id="53" name="TextBox 52">
            <a:extLst>
              <a:ext uri="{FF2B5EF4-FFF2-40B4-BE49-F238E27FC236}">
                <a16:creationId xmlns:a16="http://schemas.microsoft.com/office/drawing/2014/main" id="{01AE215B-F26A-B1EB-3DC4-E4D2769A8946}"/>
              </a:ext>
            </a:extLst>
          </p:cNvPr>
          <p:cNvSpPr txBox="1"/>
          <p:nvPr/>
        </p:nvSpPr>
        <p:spPr>
          <a:xfrm>
            <a:off x="2102166" y="3230646"/>
            <a:ext cx="354584" cy="276999"/>
          </a:xfrm>
          <a:prstGeom prst="rect">
            <a:avLst/>
          </a:prstGeom>
          <a:noFill/>
        </p:spPr>
        <p:txBody>
          <a:bodyPr wrap="none" rtlCol="0">
            <a:spAutoFit/>
          </a:bodyPr>
          <a:lstStyle/>
          <a:p>
            <a:pPr marL="0" marR="0" lvl="0" indent="0" algn="r" defTabSz="609585"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charset="0"/>
                <a:ea typeface="Geneva" charset="0"/>
                <a:cs typeface="Arial" charset="0"/>
              </a:rPr>
              <a:t>20</a:t>
            </a:r>
            <a:endParaRPr kumimoji="0" lang="en-US" sz="1200" b="0" i="0" u="none" strike="noStrike" kern="1200" cap="none" spc="0" normalizeH="0" baseline="0" noProof="0" dirty="0">
              <a:ln>
                <a:noFill/>
              </a:ln>
              <a:solidFill>
                <a:prstClr val="black"/>
              </a:solidFill>
              <a:effectLst/>
              <a:uLnTx/>
              <a:uFillTx/>
              <a:latin typeface="Arial" charset="0"/>
              <a:ea typeface="Geneva" charset="0"/>
              <a:cs typeface="Arial" charset="0"/>
            </a:endParaRPr>
          </a:p>
        </p:txBody>
      </p:sp>
      <p:sp>
        <p:nvSpPr>
          <p:cNvPr id="54" name="TextBox 53">
            <a:extLst>
              <a:ext uri="{FF2B5EF4-FFF2-40B4-BE49-F238E27FC236}">
                <a16:creationId xmlns:a16="http://schemas.microsoft.com/office/drawing/2014/main" id="{E2B0F50B-5CF7-938C-A9CC-2B83325A5C76}"/>
              </a:ext>
            </a:extLst>
          </p:cNvPr>
          <p:cNvSpPr txBox="1"/>
          <p:nvPr/>
        </p:nvSpPr>
        <p:spPr>
          <a:xfrm>
            <a:off x="2187123" y="3652535"/>
            <a:ext cx="269626" cy="276999"/>
          </a:xfrm>
          <a:prstGeom prst="rect">
            <a:avLst/>
          </a:prstGeom>
          <a:noFill/>
        </p:spPr>
        <p:txBody>
          <a:bodyPr wrap="none" rtlCol="0">
            <a:spAutoFit/>
          </a:bodyPr>
          <a:lstStyle/>
          <a:p>
            <a:pPr marL="0" marR="0" lvl="0" indent="0" algn="r" defTabSz="609585"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charset="0"/>
                <a:ea typeface="Geneva" charset="0"/>
                <a:cs typeface="Arial" charset="0"/>
              </a:rPr>
              <a:t>0</a:t>
            </a:r>
            <a:endParaRPr kumimoji="0" lang="en-US" sz="1200" b="0" i="0" u="none" strike="noStrike" kern="1200" cap="none" spc="0" normalizeH="0" baseline="0" noProof="0" dirty="0">
              <a:ln>
                <a:noFill/>
              </a:ln>
              <a:solidFill>
                <a:prstClr val="black"/>
              </a:solidFill>
              <a:effectLst/>
              <a:uLnTx/>
              <a:uFillTx/>
              <a:latin typeface="Arial" charset="0"/>
              <a:ea typeface="Geneva" charset="0"/>
              <a:cs typeface="Arial" charset="0"/>
            </a:endParaRPr>
          </a:p>
        </p:txBody>
      </p:sp>
      <p:grpSp>
        <p:nvGrpSpPr>
          <p:cNvPr id="55" name="Group 54">
            <a:extLst>
              <a:ext uri="{FF2B5EF4-FFF2-40B4-BE49-F238E27FC236}">
                <a16:creationId xmlns:a16="http://schemas.microsoft.com/office/drawing/2014/main" id="{DED0603D-3327-ACD0-4BB9-168E875A6B34}"/>
              </a:ext>
            </a:extLst>
          </p:cNvPr>
          <p:cNvGrpSpPr/>
          <p:nvPr/>
        </p:nvGrpSpPr>
        <p:grpSpPr>
          <a:xfrm>
            <a:off x="3726496" y="2938464"/>
            <a:ext cx="207433" cy="92997"/>
            <a:chOff x="2563209" y="2067828"/>
            <a:chExt cx="155575" cy="69748"/>
          </a:xfrm>
        </p:grpSpPr>
        <p:sp>
          <p:nvSpPr>
            <p:cNvPr id="56" name="Rectangle 55">
              <a:extLst>
                <a:ext uri="{FF2B5EF4-FFF2-40B4-BE49-F238E27FC236}">
                  <a16:creationId xmlns:a16="http://schemas.microsoft.com/office/drawing/2014/main" id="{9CFFDD02-98FB-362E-7372-80BDED97D034}"/>
                </a:ext>
              </a:extLst>
            </p:cNvPr>
            <p:cNvSpPr/>
            <p:nvPr/>
          </p:nvSpPr>
          <p:spPr>
            <a:xfrm>
              <a:off x="2606123" y="2067828"/>
              <a:ext cx="69748" cy="69748"/>
            </a:xfrm>
            <a:prstGeom prst="rect">
              <a:avLst/>
            </a:prstGeom>
            <a:solidFill>
              <a:srgbClr val="0460A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57" name="Straight Connector 56">
              <a:extLst>
                <a:ext uri="{FF2B5EF4-FFF2-40B4-BE49-F238E27FC236}">
                  <a16:creationId xmlns:a16="http://schemas.microsoft.com/office/drawing/2014/main" id="{C2FA6917-CC39-8A0A-AE0A-E07459BF6AD2}"/>
                </a:ext>
              </a:extLst>
            </p:cNvPr>
            <p:cNvCxnSpPr>
              <a:cxnSpLocks/>
            </p:cNvCxnSpPr>
            <p:nvPr/>
          </p:nvCxnSpPr>
          <p:spPr>
            <a:xfrm>
              <a:off x="2563209" y="2102702"/>
              <a:ext cx="155575" cy="0"/>
            </a:xfrm>
            <a:prstGeom prst="line">
              <a:avLst/>
            </a:prstGeom>
            <a:ln>
              <a:solidFill>
                <a:srgbClr val="0460A9"/>
              </a:solidFill>
            </a:ln>
          </p:spPr>
          <p:style>
            <a:lnRef idx="1">
              <a:schemeClr val="accent1"/>
            </a:lnRef>
            <a:fillRef idx="0">
              <a:schemeClr val="accent1"/>
            </a:fillRef>
            <a:effectRef idx="0">
              <a:schemeClr val="accent1"/>
            </a:effectRef>
            <a:fontRef idx="minor">
              <a:schemeClr val="tx1"/>
            </a:fontRef>
          </p:style>
        </p:cxnSp>
      </p:grpSp>
      <p:sp>
        <p:nvSpPr>
          <p:cNvPr id="59" name="Rectangle 58">
            <a:extLst>
              <a:ext uri="{FF2B5EF4-FFF2-40B4-BE49-F238E27FC236}">
                <a16:creationId xmlns:a16="http://schemas.microsoft.com/office/drawing/2014/main" id="{92D644CA-EA1B-AD46-4E61-A44F6710EBE4}"/>
              </a:ext>
            </a:extLst>
          </p:cNvPr>
          <p:cNvSpPr/>
          <p:nvPr/>
        </p:nvSpPr>
        <p:spPr>
          <a:xfrm>
            <a:off x="3679996" y="2786268"/>
            <a:ext cx="92997" cy="92997"/>
          </a:xfrm>
          <a:prstGeom prst="rect">
            <a:avLst/>
          </a:prstGeom>
          <a:solidFill>
            <a:srgbClr val="0460A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0" name="TextBox 59">
            <a:extLst>
              <a:ext uri="{FF2B5EF4-FFF2-40B4-BE49-F238E27FC236}">
                <a16:creationId xmlns:a16="http://schemas.microsoft.com/office/drawing/2014/main" id="{522F2AA9-1349-A088-65AD-153ED0EC501D}"/>
              </a:ext>
            </a:extLst>
          </p:cNvPr>
          <p:cNvSpPr txBox="1"/>
          <p:nvPr/>
        </p:nvSpPr>
        <p:spPr>
          <a:xfrm>
            <a:off x="9295932" y="3429001"/>
            <a:ext cx="1047082" cy="276999"/>
          </a:xfrm>
          <a:prstGeom prst="rect">
            <a:avLst/>
          </a:prstGeom>
          <a:noFill/>
        </p:spPr>
        <p:txBody>
          <a:bodyPr wrap="none"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err="1">
                <a:ln>
                  <a:noFill/>
                </a:ln>
                <a:solidFill>
                  <a:prstClr val="black"/>
                </a:solidFill>
                <a:effectLst/>
                <a:uLnTx/>
                <a:uFillTx/>
                <a:latin typeface="Arial" charset="0"/>
                <a:ea typeface="Geneva" charset="0"/>
                <a:cs typeface="Arial" charset="0"/>
              </a:rPr>
              <a:t>mFU</a:t>
            </a:r>
            <a:r>
              <a:rPr kumimoji="0" lang="en-US" sz="1200" b="1" i="0" u="none" strike="noStrike" kern="1200" cap="none" spc="0" normalizeH="0" baseline="0" noProof="0" dirty="0">
                <a:ln>
                  <a:noFill/>
                </a:ln>
                <a:solidFill>
                  <a:prstClr val="black"/>
                </a:solidFill>
                <a:effectLst/>
                <a:uLnTx/>
                <a:uFillTx/>
                <a:latin typeface="Arial" charset="0"/>
                <a:ea typeface="Geneva" charset="0"/>
                <a:cs typeface="Arial" charset="0"/>
              </a:rPr>
              <a:t>: </a:t>
            </a:r>
            <a:r>
              <a:rPr kumimoji="0" lang="en-US" sz="1200" b="0" i="0" u="none" strike="noStrike" kern="1200" cap="none" spc="0" normalizeH="0" baseline="0" noProof="0">
                <a:ln>
                  <a:noFill/>
                </a:ln>
                <a:solidFill>
                  <a:prstClr val="black"/>
                </a:solidFill>
                <a:effectLst/>
                <a:uLnTx/>
                <a:uFillTx/>
                <a:latin typeface="Arial" charset="0"/>
                <a:ea typeface="Geneva" charset="0"/>
                <a:cs typeface="Arial" charset="0"/>
              </a:rPr>
              <a:t>61 mo</a:t>
            </a:r>
            <a:endParaRPr kumimoji="0" lang="en-US" sz="1200" b="0" i="0" u="none" strike="noStrike" kern="1200" cap="none" spc="0" normalizeH="0" baseline="0" noProof="0" dirty="0">
              <a:ln>
                <a:noFill/>
              </a:ln>
              <a:solidFill>
                <a:prstClr val="black"/>
              </a:solidFill>
              <a:effectLst/>
              <a:uLnTx/>
              <a:uFillTx/>
              <a:latin typeface="Arial" charset="0"/>
              <a:ea typeface="Geneva" charset="0"/>
              <a:cs typeface="Arial" charset="0"/>
            </a:endParaRPr>
          </a:p>
        </p:txBody>
      </p:sp>
      <p:sp>
        <p:nvSpPr>
          <p:cNvPr id="62" name="TextBox 61">
            <a:extLst>
              <a:ext uri="{FF2B5EF4-FFF2-40B4-BE49-F238E27FC236}">
                <a16:creationId xmlns:a16="http://schemas.microsoft.com/office/drawing/2014/main" id="{1CDDBC7D-07E4-B1EC-8C04-5FF605FDB99C}"/>
              </a:ext>
            </a:extLst>
          </p:cNvPr>
          <p:cNvSpPr txBox="1"/>
          <p:nvPr/>
        </p:nvSpPr>
        <p:spPr>
          <a:xfrm>
            <a:off x="5370125" y="3069429"/>
            <a:ext cx="4060231" cy="318100"/>
          </a:xfrm>
          <a:prstGeom prst="rect">
            <a:avLst/>
          </a:prstGeom>
          <a:noFill/>
        </p:spPr>
        <p:txBody>
          <a:bodyPr wrap="square">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1467" b="1" i="0" u="none" strike="noStrike" kern="1200" cap="none" spc="0" normalizeH="0" baseline="0" noProof="0" dirty="0">
                <a:ln>
                  <a:noFill/>
                </a:ln>
                <a:solidFill>
                  <a:srgbClr val="C00000"/>
                </a:solidFill>
                <a:effectLst/>
                <a:uLnTx/>
                <a:uFillTx/>
                <a:latin typeface="Arial" charset="0"/>
                <a:ea typeface="Geneva" charset="0"/>
                <a:cs typeface="Arial" charset="0"/>
              </a:rPr>
              <a:t>No relapse reported after </a:t>
            </a:r>
            <a:r>
              <a:rPr kumimoji="0" lang="en-US" sz="1467" b="1" i="0" u="none" strike="noStrike" kern="1200" cap="none" spc="0" normalizeH="0" baseline="0" noProof="0">
                <a:ln>
                  <a:noFill/>
                </a:ln>
                <a:solidFill>
                  <a:srgbClr val="C00000"/>
                </a:solidFill>
                <a:effectLst/>
                <a:uLnTx/>
                <a:uFillTx/>
                <a:latin typeface="Arial" charset="0"/>
                <a:ea typeface="Geneva" charset="0"/>
                <a:cs typeface="Arial" charset="0"/>
              </a:rPr>
              <a:t>36 months</a:t>
            </a:r>
            <a:endParaRPr kumimoji="0" lang="en-US" sz="1467" b="1" i="0" u="none" strike="noStrike" kern="1200" cap="none" spc="0" normalizeH="0" baseline="0" noProof="0" dirty="0">
              <a:ln>
                <a:noFill/>
              </a:ln>
              <a:solidFill>
                <a:srgbClr val="C00000"/>
              </a:solidFill>
              <a:effectLst/>
              <a:uLnTx/>
              <a:uFillTx/>
              <a:latin typeface="Arial" charset="0"/>
              <a:ea typeface="Geneva" charset="0"/>
              <a:cs typeface="Arial" charset="0"/>
            </a:endParaRPr>
          </a:p>
        </p:txBody>
      </p:sp>
      <p:cxnSp>
        <p:nvCxnSpPr>
          <p:cNvPr id="3" name="Straight Connector 2">
            <a:extLst>
              <a:ext uri="{FF2B5EF4-FFF2-40B4-BE49-F238E27FC236}">
                <a16:creationId xmlns:a16="http://schemas.microsoft.com/office/drawing/2014/main" id="{95AA9B8A-C1E5-CF07-A297-BFD856959F85}"/>
              </a:ext>
            </a:extLst>
          </p:cNvPr>
          <p:cNvCxnSpPr>
            <a:cxnSpLocks/>
          </p:cNvCxnSpPr>
          <p:nvPr/>
        </p:nvCxnSpPr>
        <p:spPr>
          <a:xfrm>
            <a:off x="2556299" y="2763671"/>
            <a:ext cx="646176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CA9E118E-4052-E8BC-6FF5-8C5217AD1AD3}"/>
              </a:ext>
            </a:extLst>
          </p:cNvPr>
          <p:cNvCxnSpPr>
            <a:cxnSpLocks/>
          </p:cNvCxnSpPr>
          <p:nvPr/>
        </p:nvCxnSpPr>
        <p:spPr>
          <a:xfrm rot="16200000">
            <a:off x="8389303" y="3293155"/>
            <a:ext cx="109728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B75BB7CB-494C-80CC-CCDB-E1BC315C0073}"/>
              </a:ext>
            </a:extLst>
          </p:cNvPr>
          <p:cNvSpPr txBox="1"/>
          <p:nvPr/>
        </p:nvSpPr>
        <p:spPr>
          <a:xfrm>
            <a:off x="9133923" y="6597353"/>
            <a:ext cx="2179571" cy="307777"/>
          </a:xfrm>
          <a:prstGeom prst="rect">
            <a:avLst/>
          </a:prstGeom>
          <a:noFill/>
        </p:spPr>
        <p:txBody>
          <a:bodyPr wrap="none" rtlCol="0">
            <a:spAutoFit/>
          </a:bodyPr>
          <a:lstStyle/>
          <a:p>
            <a:pPr marL="0" marR="0" lvl="0" indent="0" algn="l" defTabSz="121917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itchFamily="34" charset="0"/>
                <a:ea typeface="+mn-ea"/>
                <a:cs typeface="Arial" charset="0"/>
              </a:rPr>
              <a:t>Schuster SJ. et al, ASH2025 </a:t>
            </a:r>
          </a:p>
        </p:txBody>
      </p:sp>
    </p:spTree>
    <p:extLst>
      <p:ext uri="{BB962C8B-B14F-4D97-AF65-F5344CB8AC3E}">
        <p14:creationId xmlns:p14="http://schemas.microsoft.com/office/powerpoint/2010/main" val="321766509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24CC9E-8372-CA3E-D626-FE17F63C54A2}"/>
              </a:ext>
            </a:extLst>
          </p:cNvPr>
          <p:cNvSpPr>
            <a:spLocks noGrp="1"/>
          </p:cNvSpPr>
          <p:nvPr>
            <p:ph type="title"/>
          </p:nvPr>
        </p:nvSpPr>
        <p:spPr>
          <a:xfrm>
            <a:off x="248363" y="500934"/>
            <a:ext cx="11417069" cy="940305"/>
          </a:xfrm>
        </p:spPr>
        <p:txBody>
          <a:bodyPr>
            <a:noAutofit/>
          </a:bodyPr>
          <a:lstStyle/>
          <a:p>
            <a:r>
              <a:rPr lang="en-US" sz="3200" dirty="0">
                <a:solidFill>
                  <a:srgbClr val="002060"/>
                </a:solidFill>
                <a:latin typeface="Calibri" panose="020F0502020204030204" pitchFamily="34" charset="0"/>
                <a:cs typeface="Calibri" panose="020F0502020204030204" pitchFamily="34" charset="0"/>
              </a:rPr>
              <a:t>ELARA (</a:t>
            </a:r>
            <a:r>
              <a:rPr lang="en-US" sz="3200" dirty="0" err="1">
                <a:solidFill>
                  <a:srgbClr val="002060"/>
                </a:solidFill>
                <a:latin typeface="Calibri" panose="020F0502020204030204" pitchFamily="34" charset="0"/>
                <a:cs typeface="Calibri" panose="020F0502020204030204" pitchFamily="34" charset="0"/>
              </a:rPr>
              <a:t>tisa</a:t>
            </a:r>
            <a:r>
              <a:rPr lang="en-US" sz="3200" dirty="0">
                <a:solidFill>
                  <a:srgbClr val="002060"/>
                </a:solidFill>
                <a:latin typeface="Calibri" panose="020F0502020204030204" pitchFamily="34" charset="0"/>
                <a:cs typeface="Calibri" panose="020F0502020204030204" pitchFamily="34" charset="0"/>
              </a:rPr>
              <a:t>-cel): Exploratory Analyses of MRD (</a:t>
            </a:r>
            <a:r>
              <a:rPr lang="en-US" sz="3200" dirty="0" err="1">
                <a:solidFill>
                  <a:srgbClr val="002060"/>
                </a:solidFill>
                <a:latin typeface="Calibri" panose="020F0502020204030204" pitchFamily="34" charset="0"/>
                <a:cs typeface="Calibri" panose="020F0502020204030204" pitchFamily="34" charset="0"/>
              </a:rPr>
              <a:t>clonoSeq</a:t>
            </a:r>
            <a:r>
              <a:rPr lang="en-US" sz="3200" dirty="0">
                <a:solidFill>
                  <a:srgbClr val="002060"/>
                </a:solidFill>
                <a:latin typeface="Calibri" panose="020F0502020204030204" pitchFamily="34" charset="0"/>
                <a:cs typeface="Calibri" panose="020F0502020204030204" pitchFamily="34" charset="0"/>
              </a:rPr>
              <a:t> assay)</a:t>
            </a:r>
          </a:p>
        </p:txBody>
      </p:sp>
      <p:sp>
        <p:nvSpPr>
          <p:cNvPr id="10" name="TextBox 9">
            <a:extLst>
              <a:ext uri="{FF2B5EF4-FFF2-40B4-BE49-F238E27FC236}">
                <a16:creationId xmlns:a16="http://schemas.microsoft.com/office/drawing/2014/main" id="{9119264D-AA26-8F08-9D8F-8E482BA121B5}"/>
              </a:ext>
            </a:extLst>
          </p:cNvPr>
          <p:cNvSpPr txBox="1"/>
          <p:nvPr/>
        </p:nvSpPr>
        <p:spPr>
          <a:xfrm>
            <a:off x="359600" y="6253078"/>
            <a:ext cx="11417069" cy="379463"/>
          </a:xfrm>
          <a:prstGeom prst="rect">
            <a:avLst/>
          </a:prstGeom>
          <a:noFill/>
        </p:spPr>
        <p:txBody>
          <a:bodyPr wrap="square" rtlCol="0" anchor="b" anchorCtr="0">
            <a:spAutoFit/>
          </a:bodyPr>
          <a:lstStyle/>
          <a:p>
            <a:pPr marL="0" marR="0" lvl="0" indent="0" algn="just" defTabSz="795477" rtl="0" eaLnBrk="1" fontAlgn="base" latinLnBrk="0" hangingPunct="1">
              <a:lnSpc>
                <a:spcPct val="100000"/>
              </a:lnSpc>
              <a:spcBef>
                <a:spcPct val="0"/>
              </a:spcBef>
              <a:spcAft>
                <a:spcPct val="0"/>
              </a:spcAft>
              <a:buClrTx/>
              <a:buSzTx/>
              <a:buFontTx/>
              <a:buNone/>
              <a:tabLst/>
              <a:defRPr/>
            </a:pPr>
            <a:r>
              <a:rPr kumimoji="0" lang="en-US" sz="933" b="0" i="0" u="none" strike="noStrike" kern="1200" cap="none" spc="0" normalizeH="0" baseline="30000" noProof="0" dirty="0" err="1">
                <a:ln>
                  <a:noFill/>
                </a:ln>
                <a:solidFill>
                  <a:srgbClr val="44546A"/>
                </a:solidFill>
                <a:effectLst/>
                <a:uLnTx/>
                <a:uFillTx/>
                <a:latin typeface="Arial" panose="020B0604020202020204" pitchFamily="34" charset="0"/>
                <a:ea typeface="Geneva" charset="0"/>
                <a:cs typeface="Arial" panose="020B0604020202020204" pitchFamily="34" charset="0"/>
              </a:rPr>
              <a:t>a</a:t>
            </a:r>
            <a:r>
              <a:rPr kumimoji="0" lang="en-US" sz="933" b="0" i="0" u="none" strike="noStrike" kern="1200" cap="none" spc="0" normalizeH="0" baseline="0" noProof="0" dirty="0" err="1">
                <a:ln>
                  <a:noFill/>
                </a:ln>
                <a:solidFill>
                  <a:srgbClr val="44546A"/>
                </a:solidFill>
                <a:effectLst/>
                <a:uLnTx/>
                <a:uFillTx/>
                <a:latin typeface="Arial" panose="020B0604020202020204" pitchFamily="34" charset="0"/>
                <a:ea typeface="Geneva" charset="0"/>
                <a:cs typeface="Arial" panose="020B0604020202020204" pitchFamily="34" charset="0"/>
              </a:rPr>
              <a:t>Next</a:t>
            </a:r>
            <a:r>
              <a:rPr kumimoji="0" lang="en-US" sz="933" b="0" i="0" u="none" strike="noStrike" kern="1200" cap="none" spc="0" normalizeH="0" baseline="0" noProof="0" dirty="0">
                <a:ln>
                  <a:noFill/>
                </a:ln>
                <a:solidFill>
                  <a:srgbClr val="44546A"/>
                </a:solidFill>
                <a:effectLst/>
                <a:uLnTx/>
                <a:uFillTx/>
                <a:latin typeface="Arial" panose="020B0604020202020204" pitchFamily="34" charset="0"/>
                <a:ea typeface="Geneva" charset="0"/>
                <a:cs typeface="Arial" panose="020B0604020202020204" pitchFamily="34" charset="0"/>
              </a:rPr>
              <a:t> Generation Sequencing (</a:t>
            </a:r>
            <a:r>
              <a:rPr kumimoji="0" lang="en-US" sz="933" b="0" i="0" u="none" strike="noStrike" kern="1200" cap="none" spc="0" normalizeH="0" baseline="0" noProof="0" dirty="0" err="1">
                <a:ln>
                  <a:noFill/>
                </a:ln>
                <a:solidFill>
                  <a:srgbClr val="44546A"/>
                </a:solidFill>
                <a:effectLst/>
                <a:uLnTx/>
                <a:uFillTx/>
                <a:latin typeface="Arial" panose="020B0604020202020204" pitchFamily="34" charset="0"/>
                <a:ea typeface="Geneva" charset="0"/>
                <a:cs typeface="Arial" panose="020B0604020202020204" pitchFamily="34" charset="0"/>
              </a:rPr>
              <a:t>clonoSEQ</a:t>
            </a:r>
            <a:r>
              <a:rPr kumimoji="0" lang="en-US" sz="933" b="0" i="0" u="none" strike="noStrike" kern="1200" cap="none" spc="0" normalizeH="0" baseline="0" noProof="0" dirty="0">
                <a:ln>
                  <a:noFill/>
                </a:ln>
                <a:solidFill>
                  <a:srgbClr val="44546A"/>
                </a:solidFill>
                <a:effectLst/>
                <a:uLnTx/>
                <a:uFillTx/>
                <a:latin typeface="Arial" panose="020B0604020202020204" pitchFamily="34" charset="0"/>
                <a:ea typeface="Geneva" charset="0"/>
                <a:cs typeface="Arial" panose="020B0604020202020204" pitchFamily="34" charset="0"/>
              </a:rPr>
              <a:t> assay - Adaptive Biotechnologies, Seattle, WA) was used for MRD analysis. </a:t>
            </a:r>
            <a:r>
              <a:rPr kumimoji="0" lang="en-US" sz="933" b="0" i="0" u="none" strike="noStrike" kern="1200" cap="none" spc="0" normalizeH="0" baseline="30000" noProof="0" dirty="0" err="1">
                <a:ln>
                  <a:noFill/>
                </a:ln>
                <a:solidFill>
                  <a:srgbClr val="44546A"/>
                </a:solidFill>
                <a:effectLst/>
                <a:uLnTx/>
                <a:uFillTx/>
                <a:latin typeface="Arial" panose="020B0604020202020204" pitchFamily="34" charset="0"/>
                <a:ea typeface="Geneva" charset="0"/>
                <a:cs typeface="Arial" panose="020B0604020202020204" pitchFamily="34" charset="0"/>
              </a:rPr>
              <a:t>b</a:t>
            </a:r>
            <a:r>
              <a:rPr kumimoji="0" lang="en-US" sz="933" b="0" i="0" u="none" strike="noStrike" kern="1200" cap="none" spc="0" normalizeH="0" baseline="0" noProof="0" dirty="0" err="1">
                <a:ln>
                  <a:noFill/>
                </a:ln>
                <a:solidFill>
                  <a:srgbClr val="44546A"/>
                </a:solidFill>
                <a:effectLst/>
                <a:uLnTx/>
                <a:uFillTx/>
                <a:latin typeface="Arial" panose="020B0604020202020204" pitchFamily="34" charset="0"/>
                <a:ea typeface="Geneva" charset="0"/>
                <a:cs typeface="Arial" panose="020B0604020202020204" pitchFamily="34" charset="0"/>
              </a:rPr>
              <a:t>Patients</a:t>
            </a:r>
            <a:r>
              <a:rPr kumimoji="0" lang="en-US" sz="933" b="0" i="0" u="none" strike="noStrike" kern="1200" cap="none" spc="0" normalizeH="0" baseline="0" noProof="0" dirty="0">
                <a:ln>
                  <a:noFill/>
                </a:ln>
                <a:solidFill>
                  <a:srgbClr val="44546A"/>
                </a:solidFill>
                <a:effectLst/>
                <a:uLnTx/>
                <a:uFillTx/>
                <a:latin typeface="Arial" panose="020B0604020202020204" pitchFamily="34" charset="0"/>
                <a:ea typeface="Geneva" charset="0"/>
                <a:cs typeface="Arial" panose="020B0604020202020204" pitchFamily="34" charset="0"/>
              </a:rPr>
              <a:t> evaluated for MRD response.</a:t>
            </a:r>
          </a:p>
          <a:p>
            <a:pPr marL="0" marR="0" lvl="0" indent="0" algn="just" defTabSz="795477" rtl="0" eaLnBrk="1" fontAlgn="base" latinLnBrk="0" hangingPunct="1">
              <a:lnSpc>
                <a:spcPct val="100000"/>
              </a:lnSpc>
              <a:spcBef>
                <a:spcPct val="0"/>
              </a:spcBef>
              <a:spcAft>
                <a:spcPct val="0"/>
              </a:spcAft>
              <a:buClrTx/>
              <a:buSzTx/>
              <a:buFontTx/>
              <a:buNone/>
              <a:tabLst/>
              <a:defRPr/>
            </a:pPr>
            <a:r>
              <a:rPr kumimoji="0" lang="en-US" sz="933" b="0" i="0" u="none" strike="noStrike" kern="1200" cap="none" spc="0" normalizeH="0" baseline="0" noProof="0" dirty="0">
                <a:ln>
                  <a:noFill/>
                </a:ln>
                <a:solidFill>
                  <a:srgbClr val="44546A"/>
                </a:solidFill>
                <a:effectLst/>
                <a:uLnTx/>
                <a:uFillTx/>
                <a:latin typeface="Arial" panose="020B0604020202020204" pitchFamily="34" charset="0"/>
                <a:ea typeface="Geneva" charset="0"/>
                <a:cs typeface="Arial" panose="020B0604020202020204" pitchFamily="34" charset="0"/>
              </a:rPr>
              <a:t>MRD, minimal residual disease</a:t>
            </a:r>
            <a:r>
              <a:rPr kumimoji="0" lang="en-US" sz="933" b="0" i="0" u="none" strike="noStrike" kern="1200" cap="none" spc="0" normalizeH="0" baseline="0" noProof="0" dirty="0">
                <a:ln>
                  <a:noFill/>
                </a:ln>
                <a:solidFill>
                  <a:srgbClr val="44546A"/>
                </a:solidFill>
                <a:effectLst/>
                <a:uLnTx/>
                <a:uFillTx/>
                <a:latin typeface="Arial" charset="0"/>
                <a:ea typeface="Geneva" charset="0"/>
                <a:cs typeface="+mn-cs"/>
              </a:rPr>
              <a:t>; T</a:t>
            </a:r>
            <a:r>
              <a:rPr kumimoji="0" lang="en-US" sz="933" b="0" i="0" u="none" strike="noStrike" kern="1200" cap="none" spc="0" normalizeH="0" baseline="-25000" noProof="0" dirty="0">
                <a:ln>
                  <a:noFill/>
                </a:ln>
                <a:solidFill>
                  <a:srgbClr val="44546A"/>
                </a:solidFill>
                <a:effectLst/>
                <a:uLnTx/>
                <a:uFillTx/>
                <a:latin typeface="Arial" charset="0"/>
                <a:ea typeface="Geneva" charset="0"/>
                <a:cs typeface="+mn-cs"/>
              </a:rPr>
              <a:t>last</a:t>
            </a:r>
            <a:r>
              <a:rPr kumimoji="0" lang="en-US" sz="933" b="0" i="0" u="none" strike="noStrike" kern="1200" cap="none" spc="0" normalizeH="0" baseline="0" noProof="0" dirty="0">
                <a:ln>
                  <a:noFill/>
                </a:ln>
                <a:solidFill>
                  <a:srgbClr val="44546A"/>
                </a:solidFill>
                <a:effectLst/>
                <a:uLnTx/>
                <a:uFillTx/>
                <a:latin typeface="Arial" charset="0"/>
                <a:ea typeface="Geneva" charset="0"/>
                <a:cs typeface="+mn-cs"/>
              </a:rPr>
              <a:t>, time to last measurable concentration</a:t>
            </a:r>
            <a:r>
              <a:rPr kumimoji="0" lang="en-US" sz="933" b="0" i="0" u="none" strike="noStrike" kern="1200" cap="none" spc="0" normalizeH="0" baseline="0" noProof="0" dirty="0">
                <a:ln>
                  <a:noFill/>
                </a:ln>
                <a:solidFill>
                  <a:srgbClr val="44546A"/>
                </a:solidFill>
                <a:effectLst/>
                <a:uLnTx/>
                <a:uFillTx/>
                <a:latin typeface="Arial" panose="020B0604020202020204" pitchFamily="34" charset="0"/>
                <a:ea typeface="Geneva" charset="0"/>
                <a:cs typeface="Arial" panose="020B0604020202020204" pitchFamily="34" charset="0"/>
              </a:rPr>
              <a:t>. </a:t>
            </a:r>
          </a:p>
        </p:txBody>
      </p:sp>
      <p:sp>
        <p:nvSpPr>
          <p:cNvPr id="13" name="TextBox 12">
            <a:extLst>
              <a:ext uri="{FF2B5EF4-FFF2-40B4-BE49-F238E27FC236}">
                <a16:creationId xmlns:a16="http://schemas.microsoft.com/office/drawing/2014/main" id="{8A5F4CEE-A2DD-B64D-0DB2-7D9BF19626DE}"/>
              </a:ext>
            </a:extLst>
          </p:cNvPr>
          <p:cNvSpPr txBox="1"/>
          <p:nvPr/>
        </p:nvSpPr>
        <p:spPr>
          <a:xfrm>
            <a:off x="2149235" y="1587783"/>
            <a:ext cx="7385013" cy="379656"/>
          </a:xfrm>
          <a:prstGeom prst="rect">
            <a:avLst/>
          </a:prstGeom>
          <a:noFill/>
        </p:spPr>
        <p:txBody>
          <a:bodyPr wrap="square">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Arial" panose="020B0604020202020204" pitchFamily="34" charset="0"/>
                <a:ea typeface="Geneva" charset="0"/>
                <a:cs typeface="Arial" panose="020B0604020202020204" pitchFamily="34" charset="0"/>
              </a:rPr>
              <a:t>MRD</a:t>
            </a:r>
            <a:r>
              <a:rPr kumimoji="0" lang="en-US" sz="1867" b="1" i="0" u="none" strike="noStrike" kern="1200" cap="none" spc="0" normalizeH="0" baseline="30000" noProof="0" dirty="0">
                <a:ln>
                  <a:noFill/>
                </a:ln>
                <a:solidFill>
                  <a:prstClr val="black"/>
                </a:solidFill>
                <a:effectLst/>
                <a:uLnTx/>
                <a:uFillTx/>
                <a:latin typeface="Arial" panose="020B0604020202020204" pitchFamily="34" charset="0"/>
                <a:ea typeface="Geneva" charset="0"/>
                <a:cs typeface="Arial" panose="020B0604020202020204" pitchFamily="34" charset="0"/>
              </a:rPr>
              <a:t>a</a:t>
            </a:r>
            <a:r>
              <a:rPr kumimoji="0" lang="en-US" sz="1867" b="1" i="0" u="none" strike="noStrike" kern="1200" cap="none" spc="0" normalizeH="0" baseline="0" noProof="0" dirty="0">
                <a:ln>
                  <a:noFill/>
                </a:ln>
                <a:solidFill>
                  <a:prstClr val="black"/>
                </a:solidFill>
                <a:effectLst/>
                <a:uLnTx/>
                <a:uFillTx/>
                <a:latin typeface="Arial" panose="020B0604020202020204" pitchFamily="34" charset="0"/>
                <a:ea typeface="Geneva" charset="0"/>
                <a:cs typeface="Arial" panose="020B0604020202020204" pitchFamily="34" charset="0"/>
              </a:rPr>
              <a:t>-Negative Rate by Timing After Tisagenlecleucel Infusion </a:t>
            </a:r>
            <a:endParaRPr kumimoji="0" lang="en-US" sz="1867" b="1" i="0" u="none" strike="noStrike" kern="0" cap="none" spc="0" normalizeH="0" baseline="0" noProof="0" dirty="0">
              <a:ln>
                <a:noFill/>
              </a:ln>
              <a:solidFill>
                <a:prstClr val="black"/>
              </a:solidFill>
              <a:effectLst/>
              <a:highlight>
                <a:srgbClr val="FFFF00"/>
              </a:highlight>
              <a:uLnTx/>
              <a:uFillTx/>
              <a:latin typeface="Arial" charset="0"/>
              <a:ea typeface="Geneva" charset="0"/>
              <a:cs typeface="+mn-cs"/>
            </a:endParaRPr>
          </a:p>
        </p:txBody>
      </p:sp>
      <p:graphicFrame>
        <p:nvGraphicFramePr>
          <p:cNvPr id="15" name="Content Placeholder 4">
            <a:extLst>
              <a:ext uri="{FF2B5EF4-FFF2-40B4-BE49-F238E27FC236}">
                <a16:creationId xmlns:a16="http://schemas.microsoft.com/office/drawing/2014/main" id="{A5D43421-E6D0-F3F1-1975-2007E9509C37}"/>
              </a:ext>
            </a:extLst>
          </p:cNvPr>
          <p:cNvGraphicFramePr>
            <a:graphicFrameLocks/>
          </p:cNvGraphicFramePr>
          <p:nvPr/>
        </p:nvGraphicFramePr>
        <p:xfrm>
          <a:off x="2124135" y="2056094"/>
          <a:ext cx="7887996" cy="2409753"/>
        </p:xfrm>
        <a:graphic>
          <a:graphicData uri="http://schemas.openxmlformats.org/drawingml/2006/table">
            <a:tbl>
              <a:tblPr firstRow="1" bandRow="1">
                <a:tableStyleId>{5C22544A-7EE6-4342-B048-85BDC9FD1C3A}</a:tableStyleId>
              </a:tblPr>
              <a:tblGrid>
                <a:gridCol w="2899557">
                  <a:extLst>
                    <a:ext uri="{9D8B030D-6E8A-4147-A177-3AD203B41FA5}">
                      <a16:colId xmlns:a16="http://schemas.microsoft.com/office/drawing/2014/main" val="4294662311"/>
                    </a:ext>
                  </a:extLst>
                </a:gridCol>
                <a:gridCol w="4988439">
                  <a:extLst>
                    <a:ext uri="{9D8B030D-6E8A-4147-A177-3AD203B41FA5}">
                      <a16:colId xmlns:a16="http://schemas.microsoft.com/office/drawing/2014/main" val="2403247877"/>
                    </a:ext>
                  </a:extLst>
                </a:gridCol>
              </a:tblGrid>
              <a:tr h="265213">
                <a:tc>
                  <a:txBody>
                    <a:bodyPr/>
                    <a:lstStyle/>
                    <a:p>
                      <a:pPr marL="0" marR="0">
                        <a:lnSpc>
                          <a:spcPct val="100000"/>
                        </a:lnSpc>
                        <a:spcBef>
                          <a:spcPts val="0"/>
                        </a:spcBef>
                        <a:spcAft>
                          <a:spcPts val="0"/>
                        </a:spcAft>
                      </a:pPr>
                      <a:endParaRPr lang="en-US" sz="1600" b="1" cap="none" spc="0" baseline="0" dirty="0">
                        <a:solidFill>
                          <a:schemeClr val="bg1"/>
                        </a:solidFill>
                        <a:effectLst/>
                        <a:latin typeface="Arial" panose="020B0604020202020204" pitchFamily="34" charset="0"/>
                        <a:cs typeface="Arial" panose="020B0604020202020204" pitchFamily="34" charset="0"/>
                      </a:endParaRPr>
                    </a:p>
                  </a:txBody>
                  <a:tcPr marL="0" marR="0" marT="0" marB="0" anchor="ctr">
                    <a:lnL w="12700" cmpd="sng">
                      <a:noFill/>
                    </a:lnL>
                    <a:lnR w="9525"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7DA0"/>
                    </a:solidFill>
                  </a:tcPr>
                </a:tc>
                <a:tc>
                  <a:txBody>
                    <a:bodyPr/>
                    <a:lstStyle/>
                    <a:p>
                      <a:pPr marL="36000" marR="0" lvl="0" indent="0" algn="ctr" defTabSz="914400" rtl="0" eaLnBrk="1" fontAlgn="auto" latinLnBrk="0" hangingPunct="1">
                        <a:lnSpc>
                          <a:spcPct val="100000"/>
                        </a:lnSpc>
                        <a:spcBef>
                          <a:spcPts val="0"/>
                        </a:spcBef>
                        <a:spcAft>
                          <a:spcPts val="0"/>
                        </a:spcAft>
                        <a:buClrTx/>
                        <a:buSzTx/>
                        <a:buFontTx/>
                        <a:buNone/>
                        <a:tabLst/>
                        <a:defRPr/>
                      </a:pPr>
                      <a:r>
                        <a:rPr lang="en-US" sz="1600" b="1" i="0" u="none" strike="noStrike" baseline="0">
                          <a:solidFill>
                            <a:schemeClr val="bg1"/>
                          </a:solidFill>
                          <a:latin typeface="Arial" panose="020B0604020202020204" pitchFamily="34" charset="0"/>
                          <a:ea typeface="+mn-ea"/>
                          <a:cs typeface="Arial" panose="020B0604020202020204" pitchFamily="34" charset="0"/>
                        </a:rPr>
                        <a:t>N = 31</a:t>
                      </a:r>
                      <a:r>
                        <a:rPr lang="en-US" sz="1600" b="1" i="0" u="none" strike="noStrike" baseline="30000">
                          <a:solidFill>
                            <a:schemeClr val="bg1"/>
                          </a:solidFill>
                          <a:latin typeface="Arial" panose="020B0604020202020204" pitchFamily="34" charset="0"/>
                          <a:ea typeface="+mn-ea"/>
                          <a:cs typeface="Arial" panose="020B0604020202020204" pitchFamily="34" charset="0"/>
                        </a:rPr>
                        <a:t>b</a:t>
                      </a:r>
                      <a:r>
                        <a:rPr lang="en-US" sz="1600" b="1" i="0" u="none" strike="noStrike" baseline="0">
                          <a:solidFill>
                            <a:schemeClr val="bg1"/>
                          </a:solidFill>
                          <a:latin typeface="Arial" panose="020B0604020202020204" pitchFamily="34" charset="0"/>
                          <a:ea typeface="+mn-ea"/>
                          <a:cs typeface="Arial" panose="020B0604020202020204" pitchFamily="34" charset="0"/>
                        </a:rPr>
                        <a:t>, % (n/N)</a:t>
                      </a:r>
                      <a:endParaRPr lang="en-US" sz="1600" b="1" i="0" u="none" strike="noStrike" baseline="0" dirty="0">
                        <a:solidFill>
                          <a:schemeClr val="bg1"/>
                        </a:solidFill>
                        <a:latin typeface="Arial" panose="020B0604020202020204" pitchFamily="34" charset="0"/>
                        <a:ea typeface="+mn-ea"/>
                        <a:cs typeface="Arial" panose="020B0604020202020204" pitchFamily="34" charset="0"/>
                      </a:endParaRP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7DA0"/>
                    </a:solidFill>
                  </a:tcPr>
                </a:tc>
                <a:extLst>
                  <a:ext uri="{0D108BD9-81ED-4DB2-BD59-A6C34878D82A}">
                    <a16:rowId xmlns:a16="http://schemas.microsoft.com/office/drawing/2014/main" val="712482936"/>
                  </a:ext>
                </a:extLst>
              </a:tr>
              <a:tr h="428908">
                <a:tc>
                  <a:txBody>
                    <a:bodyPr/>
                    <a:lstStyle/>
                    <a:p>
                      <a:pPr marL="0" marR="0">
                        <a:lnSpc>
                          <a:spcPct val="107000"/>
                        </a:lnSpc>
                        <a:spcAft>
                          <a:spcPts val="800"/>
                        </a:spcAft>
                      </a:pPr>
                      <a:r>
                        <a:rPr lang="en-US" sz="1600" b="1" kern="100" dirty="0">
                          <a:solidFill>
                            <a:srgbClr val="000000"/>
                          </a:solidFill>
                          <a:effectLst/>
                          <a:latin typeface="Arial" panose="020B0604020202020204" pitchFamily="34" charset="0"/>
                          <a:ea typeface="Aptos" panose="020B0004020202020204" pitchFamily="34" charset="0"/>
                        </a:rPr>
                        <a:t>Day 28</a:t>
                      </a:r>
                      <a:endParaRPr lang="en-US" sz="1600" b="1" kern="100" dirty="0">
                        <a:effectLst/>
                        <a:latin typeface="Arial" panose="020B0604020202020204" pitchFamily="34" charset="0"/>
                        <a:ea typeface="Aptos" panose="020B0004020202020204" pitchFamily="34" charset="0"/>
                      </a:endParaRPr>
                    </a:p>
                  </a:txBody>
                  <a:tcPr marL="120485" marR="120485" marT="76140" marB="76140" anchor="ctr">
                    <a:lnL w="19050" cap="flat" cmpd="sng" algn="ctr">
                      <a:solidFill>
                        <a:schemeClr val="bg2"/>
                      </a:solid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Aft>
                          <a:spcPts val="800"/>
                        </a:spcAft>
                      </a:pPr>
                      <a:r>
                        <a:rPr lang="en-US" sz="1600" kern="100" baseline="0" dirty="0">
                          <a:solidFill>
                            <a:srgbClr val="000000"/>
                          </a:solidFill>
                          <a:effectLst/>
                          <a:latin typeface="Arial" panose="020B0604020202020204" pitchFamily="34" charset="0"/>
                          <a:ea typeface="Aptos" panose="020B0004020202020204" pitchFamily="34" charset="0"/>
                        </a:rPr>
                        <a:t>82.0 (22/27)</a:t>
                      </a:r>
                      <a:endParaRPr lang="en-US" sz="1600" kern="100" baseline="0" dirty="0">
                        <a:effectLst/>
                        <a:latin typeface="Arial" panose="020B0604020202020204" pitchFamily="34" charset="0"/>
                        <a:ea typeface="Aptos" panose="020B0004020202020204" pitchFamily="34" charset="0"/>
                      </a:endParaRPr>
                    </a:p>
                  </a:txBody>
                  <a:tcPr marL="0" marR="0" marT="0" marB="0" anchor="ctr">
                    <a:lnL w="9525" cap="flat" cmpd="sng" algn="ctr">
                      <a:no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652544"/>
                  </a:ext>
                </a:extLst>
              </a:tr>
              <a:tr h="428908">
                <a:tc>
                  <a:txBody>
                    <a:bodyPr/>
                    <a:lstStyle/>
                    <a:p>
                      <a:pPr marL="0" marR="0">
                        <a:lnSpc>
                          <a:spcPct val="107000"/>
                        </a:lnSpc>
                        <a:spcAft>
                          <a:spcPts val="800"/>
                        </a:spcAft>
                      </a:pPr>
                      <a:r>
                        <a:rPr lang="en-US" sz="1600" b="1" kern="100" dirty="0">
                          <a:solidFill>
                            <a:srgbClr val="000000"/>
                          </a:solidFill>
                          <a:effectLst/>
                          <a:latin typeface="Arial" panose="020B0604020202020204" pitchFamily="34" charset="0"/>
                          <a:ea typeface="Aptos" panose="020B0004020202020204" pitchFamily="34" charset="0"/>
                        </a:rPr>
                        <a:t>Month 3</a:t>
                      </a:r>
                      <a:endParaRPr lang="en-US" sz="1600" b="1" kern="100" dirty="0">
                        <a:effectLst/>
                        <a:latin typeface="Arial" panose="020B0604020202020204" pitchFamily="34" charset="0"/>
                        <a:ea typeface="Aptos" panose="020B0004020202020204" pitchFamily="34" charset="0"/>
                      </a:endParaRPr>
                    </a:p>
                  </a:txBody>
                  <a:tcPr marL="120485" marR="120485" marT="76140" marB="76140" anchor="ctr">
                    <a:lnL w="19050" cap="flat" cmpd="sng" algn="ctr">
                      <a:solidFill>
                        <a:schemeClr val="bg2"/>
                      </a:solid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Aft>
                          <a:spcPts val="800"/>
                        </a:spcAft>
                      </a:pPr>
                      <a:r>
                        <a:rPr lang="en-US" sz="1600" kern="100" baseline="0" dirty="0">
                          <a:solidFill>
                            <a:srgbClr val="000000"/>
                          </a:solidFill>
                          <a:effectLst/>
                          <a:latin typeface="Arial" panose="020B0604020202020204" pitchFamily="34" charset="0"/>
                          <a:ea typeface="Aptos" panose="020B0004020202020204" pitchFamily="34" charset="0"/>
                        </a:rPr>
                        <a:t>75.0 (12/16)</a:t>
                      </a:r>
                      <a:endParaRPr lang="en-US" sz="1600" kern="100" baseline="0" dirty="0">
                        <a:effectLst/>
                        <a:latin typeface="Arial" panose="020B0604020202020204" pitchFamily="34" charset="0"/>
                        <a:ea typeface="Aptos" panose="020B0004020202020204" pitchFamily="34" charset="0"/>
                      </a:endParaRPr>
                    </a:p>
                  </a:txBody>
                  <a:tcPr marL="0" marR="0" marT="0" marB="0" anchor="ctr">
                    <a:lnL w="9525" cap="flat" cmpd="sng" algn="ctr">
                      <a:no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575874"/>
                  </a:ext>
                </a:extLst>
              </a:tr>
              <a:tr h="428908">
                <a:tc>
                  <a:txBody>
                    <a:bodyPr/>
                    <a:lstStyle/>
                    <a:p>
                      <a:pPr marL="0" marR="0">
                        <a:lnSpc>
                          <a:spcPct val="107000"/>
                        </a:lnSpc>
                        <a:spcAft>
                          <a:spcPts val="800"/>
                        </a:spcAft>
                      </a:pPr>
                      <a:r>
                        <a:rPr lang="en-US" sz="1600" b="1" kern="100" dirty="0">
                          <a:solidFill>
                            <a:srgbClr val="000000"/>
                          </a:solidFill>
                          <a:effectLst/>
                          <a:latin typeface="Arial" panose="020B0604020202020204" pitchFamily="34" charset="0"/>
                          <a:ea typeface="Aptos" panose="020B0004020202020204" pitchFamily="34" charset="0"/>
                        </a:rPr>
                        <a:t>Month 6</a:t>
                      </a:r>
                      <a:endParaRPr lang="en-US" sz="1600" b="1" kern="100" dirty="0">
                        <a:effectLst/>
                        <a:latin typeface="Arial" panose="020B0604020202020204" pitchFamily="34" charset="0"/>
                        <a:ea typeface="Aptos" panose="020B0004020202020204" pitchFamily="34" charset="0"/>
                      </a:endParaRPr>
                    </a:p>
                  </a:txBody>
                  <a:tcPr marL="120485" marR="120485" marT="76140" marB="76140" anchor="ctr">
                    <a:lnL w="19050" cap="flat" cmpd="sng" algn="ctr">
                      <a:solidFill>
                        <a:schemeClr val="bg2"/>
                      </a:solid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Aft>
                          <a:spcPts val="800"/>
                        </a:spcAft>
                      </a:pPr>
                      <a:r>
                        <a:rPr lang="en-US" sz="1600" kern="100" baseline="0" dirty="0">
                          <a:solidFill>
                            <a:srgbClr val="000000"/>
                          </a:solidFill>
                          <a:effectLst/>
                          <a:latin typeface="Arial" panose="020B0604020202020204" pitchFamily="34" charset="0"/>
                          <a:ea typeface="Aptos" panose="020B0004020202020204" pitchFamily="34" charset="0"/>
                        </a:rPr>
                        <a:t>69.0 (11/16)</a:t>
                      </a:r>
                      <a:endParaRPr lang="en-US" sz="1600" kern="100" baseline="0" dirty="0">
                        <a:effectLst/>
                        <a:latin typeface="Arial" panose="020B0604020202020204" pitchFamily="34" charset="0"/>
                        <a:ea typeface="Aptos" panose="020B0004020202020204" pitchFamily="34" charset="0"/>
                      </a:endParaRPr>
                    </a:p>
                  </a:txBody>
                  <a:tcPr marL="0" marR="0" marT="0" marB="0" anchor="ctr">
                    <a:lnL w="9525" cap="flat" cmpd="sng" algn="ctr">
                      <a:no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51218623"/>
                  </a:ext>
                </a:extLst>
              </a:tr>
              <a:tr h="428908">
                <a:tc>
                  <a:txBody>
                    <a:bodyPr/>
                    <a:lstStyle/>
                    <a:p>
                      <a:pPr marL="0" marR="0">
                        <a:lnSpc>
                          <a:spcPct val="107000"/>
                        </a:lnSpc>
                        <a:spcAft>
                          <a:spcPts val="800"/>
                        </a:spcAft>
                      </a:pPr>
                      <a:r>
                        <a:rPr lang="en-US" sz="1600" b="1" kern="100" dirty="0">
                          <a:solidFill>
                            <a:srgbClr val="000000"/>
                          </a:solidFill>
                          <a:effectLst/>
                          <a:latin typeface="Arial" panose="020B0604020202020204" pitchFamily="34" charset="0"/>
                          <a:ea typeface="Aptos" panose="020B0004020202020204" pitchFamily="34" charset="0"/>
                        </a:rPr>
                        <a:t>Month 12</a:t>
                      </a:r>
                      <a:endParaRPr lang="en-US" sz="1600" b="1" kern="100" dirty="0">
                        <a:effectLst/>
                        <a:latin typeface="Arial" panose="020B0604020202020204" pitchFamily="34" charset="0"/>
                        <a:ea typeface="Aptos" panose="020B0004020202020204" pitchFamily="34" charset="0"/>
                      </a:endParaRPr>
                    </a:p>
                  </a:txBody>
                  <a:tcPr marL="120485" marR="120485" marT="76140" marB="76140" anchor="ctr">
                    <a:lnL w="19050" cap="flat" cmpd="sng" algn="ctr">
                      <a:solidFill>
                        <a:schemeClr val="bg2"/>
                      </a:solid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Aft>
                          <a:spcPts val="800"/>
                        </a:spcAft>
                      </a:pPr>
                      <a:r>
                        <a:rPr lang="en-US" sz="1600" kern="100" baseline="0" dirty="0">
                          <a:solidFill>
                            <a:srgbClr val="000000"/>
                          </a:solidFill>
                          <a:effectLst/>
                          <a:latin typeface="Arial" panose="020B0604020202020204" pitchFamily="34" charset="0"/>
                          <a:ea typeface="Aptos" panose="020B0004020202020204" pitchFamily="34" charset="0"/>
                        </a:rPr>
                        <a:t>76.0 (13/17)</a:t>
                      </a:r>
                      <a:endParaRPr lang="en-US" sz="1600" kern="100" baseline="0" dirty="0">
                        <a:effectLst/>
                        <a:latin typeface="Arial" panose="020B0604020202020204" pitchFamily="34" charset="0"/>
                        <a:ea typeface="Aptos" panose="020B0004020202020204" pitchFamily="34" charset="0"/>
                      </a:endParaRPr>
                    </a:p>
                  </a:txBody>
                  <a:tcPr marL="0" marR="0" marT="0" marB="0" anchor="ctr">
                    <a:lnL w="9525" cap="flat" cmpd="sng" algn="ctr">
                      <a:no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57318151"/>
                  </a:ext>
                </a:extLst>
              </a:tr>
              <a:tr h="428908">
                <a:tc>
                  <a:txBody>
                    <a:bodyPr/>
                    <a:lstStyle/>
                    <a:p>
                      <a:pPr marL="0" marR="0">
                        <a:lnSpc>
                          <a:spcPct val="107000"/>
                        </a:lnSpc>
                        <a:spcAft>
                          <a:spcPts val="800"/>
                        </a:spcAft>
                      </a:pPr>
                      <a:r>
                        <a:rPr lang="en-US" sz="1600" b="1" kern="100" dirty="0">
                          <a:solidFill>
                            <a:srgbClr val="000000"/>
                          </a:solidFill>
                          <a:effectLst/>
                          <a:latin typeface="Arial" panose="020B0604020202020204" pitchFamily="34" charset="0"/>
                          <a:ea typeface="Aptos" panose="020B0004020202020204" pitchFamily="34" charset="0"/>
                        </a:rPr>
                        <a:t>Any time</a:t>
                      </a:r>
                      <a:endParaRPr lang="en-US" sz="1600" b="1" kern="100" dirty="0">
                        <a:effectLst/>
                        <a:latin typeface="Arial" panose="020B0604020202020204" pitchFamily="34" charset="0"/>
                        <a:ea typeface="Aptos" panose="020B0004020202020204" pitchFamily="34" charset="0"/>
                      </a:endParaRPr>
                    </a:p>
                  </a:txBody>
                  <a:tcPr marL="120485" marR="120485" marT="76140" marB="76140" anchor="ctr">
                    <a:lnL w="19050" cap="flat" cmpd="sng" algn="ctr">
                      <a:solidFill>
                        <a:schemeClr val="bg2"/>
                      </a:solid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Aft>
                          <a:spcPts val="800"/>
                        </a:spcAft>
                      </a:pPr>
                      <a:r>
                        <a:rPr lang="en-US" sz="1600" kern="100" baseline="0" dirty="0">
                          <a:solidFill>
                            <a:srgbClr val="000000"/>
                          </a:solidFill>
                          <a:effectLst/>
                          <a:latin typeface="Arial" panose="020B0604020202020204" pitchFamily="34" charset="0"/>
                          <a:ea typeface="Aptos" panose="020B0004020202020204" pitchFamily="34" charset="0"/>
                        </a:rPr>
                        <a:t>90.0 (28/31)</a:t>
                      </a:r>
                      <a:endParaRPr lang="en-US" sz="1600" kern="100" baseline="0" dirty="0">
                        <a:effectLst/>
                        <a:latin typeface="Arial" panose="020B0604020202020204" pitchFamily="34" charset="0"/>
                        <a:ea typeface="Aptos" panose="020B0004020202020204" pitchFamily="34" charset="0"/>
                      </a:endParaRPr>
                    </a:p>
                  </a:txBody>
                  <a:tcPr marL="0" marR="0" marT="0" marB="0" anchor="ctr">
                    <a:lnL w="9525" cap="flat" cmpd="sng" algn="ctr">
                      <a:no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4354856"/>
                  </a:ext>
                </a:extLst>
              </a:tr>
            </a:tbl>
          </a:graphicData>
        </a:graphic>
      </p:graphicFrame>
      <p:sp>
        <p:nvSpPr>
          <p:cNvPr id="16" name="TextBox 15">
            <a:extLst>
              <a:ext uri="{FF2B5EF4-FFF2-40B4-BE49-F238E27FC236}">
                <a16:creationId xmlns:a16="http://schemas.microsoft.com/office/drawing/2014/main" id="{7F34F818-942E-F10E-12B4-CB3795610D88}"/>
              </a:ext>
            </a:extLst>
          </p:cNvPr>
          <p:cNvSpPr txBox="1"/>
          <p:nvPr/>
        </p:nvSpPr>
        <p:spPr>
          <a:xfrm>
            <a:off x="460968" y="4595086"/>
            <a:ext cx="10336341" cy="1610697"/>
          </a:xfrm>
          <a:prstGeom prst="rect">
            <a:avLst/>
          </a:prstGeom>
          <a:noFill/>
        </p:spPr>
        <p:txBody>
          <a:bodyPr wrap="square" rtlCol="0">
            <a:spAutoFit/>
          </a:bodyPr>
          <a:lstStyle/>
          <a:p>
            <a:pPr marL="224361" marR="0" lvl="1" indent="-224361" algn="l" defTabSz="914377" rtl="0" eaLnBrk="1" fontAlgn="auto" latinLnBrk="0" hangingPunct="1">
              <a:lnSpc>
                <a:spcPct val="90000"/>
              </a:lnSpc>
              <a:spcBef>
                <a:spcPts val="800"/>
              </a:spcBef>
              <a:spcAft>
                <a:spcPts val="0"/>
              </a:spcAft>
              <a:buClr>
                <a:srgbClr val="007DA0"/>
              </a:buClr>
              <a:buSzPct val="100000"/>
              <a:buFont typeface="Arial" panose="020B0604020202020204" pitchFamily="34" charset="0"/>
              <a:buChar char="•"/>
              <a:tabLst>
                <a:tab pos="5331751" algn="r"/>
                <a:tab pos="10972526" algn="r"/>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Geneva" charset="0"/>
                <a:cs typeface="Arial" panose="020B0604020202020204" pitchFamily="34" charset="0"/>
              </a:rPr>
              <a:t>MRD data were available for 31 of 94 patients (33.0%)</a:t>
            </a:r>
          </a:p>
          <a:p>
            <a:pPr marL="838179" marR="0" lvl="2" indent="-228594" algn="l" defTabSz="914377" rtl="0" eaLnBrk="1" fontAlgn="auto" latinLnBrk="0" hangingPunct="1">
              <a:lnSpc>
                <a:spcPct val="90000"/>
              </a:lnSpc>
              <a:spcBef>
                <a:spcPts val="800"/>
              </a:spcBef>
              <a:spcAft>
                <a:spcPts val="0"/>
              </a:spcAft>
              <a:buClr>
                <a:srgbClr val="007DA0"/>
              </a:buClr>
              <a:buSzPct val="100000"/>
              <a:buFont typeface="Courier New" panose="02070309020205020404" pitchFamily="49" charset="0"/>
              <a:buChar char="o"/>
              <a:tabLst>
                <a:tab pos="5331751" algn="r"/>
                <a:tab pos="10972526" algn="r"/>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Geneva" charset="0"/>
                <a:cs typeface="Arial" panose="020B0604020202020204" pitchFamily="34" charset="0"/>
              </a:rPr>
              <a:t>90.3% of evaluable patients (28/31) achieved MRD negativity at any time point</a:t>
            </a:r>
          </a:p>
          <a:p>
            <a:pPr marL="838179" marR="0" lvl="2" indent="-228594" algn="l" defTabSz="914377" rtl="0" eaLnBrk="1" fontAlgn="auto" latinLnBrk="0" hangingPunct="1">
              <a:lnSpc>
                <a:spcPct val="90000"/>
              </a:lnSpc>
              <a:spcBef>
                <a:spcPts val="800"/>
              </a:spcBef>
              <a:spcAft>
                <a:spcPts val="0"/>
              </a:spcAft>
              <a:buClr>
                <a:srgbClr val="007DA0"/>
              </a:buClr>
              <a:buSzPct val="100000"/>
              <a:buFont typeface="Courier New" panose="02070309020205020404" pitchFamily="49" charset="0"/>
              <a:buChar char="o"/>
              <a:tabLst>
                <a:tab pos="5331751" algn="r"/>
                <a:tab pos="10972526" algn="r"/>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Geneva" charset="0"/>
                <a:cs typeface="Arial" panose="020B0604020202020204" pitchFamily="34" charset="0"/>
              </a:rPr>
              <a:t>63.6% of patients with MRD-negative status at month 6 (7/11) are ongoing without relapse</a:t>
            </a:r>
          </a:p>
          <a:p>
            <a:pPr marL="838179" marR="0" lvl="2" indent="-228594" algn="l" defTabSz="914377" rtl="0" eaLnBrk="1" fontAlgn="auto" latinLnBrk="0" hangingPunct="1">
              <a:lnSpc>
                <a:spcPct val="90000"/>
              </a:lnSpc>
              <a:spcBef>
                <a:spcPts val="800"/>
              </a:spcBef>
              <a:spcAft>
                <a:spcPts val="0"/>
              </a:spcAft>
              <a:buClr>
                <a:srgbClr val="007DA0"/>
              </a:buClr>
              <a:buSzPct val="100000"/>
              <a:buFont typeface="Courier New" panose="02070309020205020404" pitchFamily="49" charset="0"/>
              <a:buChar char="o"/>
              <a:tabLst>
                <a:tab pos="5331751" algn="r"/>
                <a:tab pos="10972526" algn="r"/>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Geneva" charset="0"/>
                <a:cs typeface="Arial" panose="020B0604020202020204" pitchFamily="34" charset="0"/>
              </a:rPr>
              <a:t>All 5 patients with MRD-positive status at month 6 relapsed</a:t>
            </a:r>
          </a:p>
          <a:p>
            <a:pPr marL="224361" marR="0" lvl="1" indent="-224361" algn="l" defTabSz="914377" rtl="0" eaLnBrk="1" fontAlgn="auto" latinLnBrk="0" hangingPunct="1">
              <a:lnSpc>
                <a:spcPct val="90000"/>
              </a:lnSpc>
              <a:spcBef>
                <a:spcPts val="800"/>
              </a:spcBef>
              <a:spcAft>
                <a:spcPts val="0"/>
              </a:spcAft>
              <a:buClr>
                <a:srgbClr val="007DA0"/>
              </a:buClr>
              <a:buSzPct val="100000"/>
              <a:buFont typeface="Arial" panose="020B0604020202020204" pitchFamily="34" charset="0"/>
              <a:buChar char="•"/>
              <a:tabLst>
                <a:tab pos="5331751" algn="r"/>
                <a:tab pos="10972526" algn="r"/>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Geneva" charset="0"/>
                <a:cs typeface="Arial" panose="020B0604020202020204" pitchFamily="34" charset="0"/>
              </a:rPr>
              <a:t>CAR transgene persistence was observed for up to 1680 days; median T</a:t>
            </a:r>
            <a:r>
              <a:rPr kumimoji="0" lang="en-US" sz="1600" b="0" i="0" u="none" strike="noStrike" kern="1200" cap="none" spc="0" normalizeH="0" baseline="-25000" noProof="0" dirty="0">
                <a:ln>
                  <a:noFill/>
                </a:ln>
                <a:solidFill>
                  <a:prstClr val="black"/>
                </a:solidFill>
                <a:effectLst/>
                <a:uLnTx/>
                <a:uFillTx/>
                <a:latin typeface="Arial" panose="020B0604020202020204" pitchFamily="34" charset="0"/>
                <a:ea typeface="Geneva" charset="0"/>
                <a:cs typeface="Arial" panose="020B0604020202020204" pitchFamily="34" charset="0"/>
              </a:rPr>
              <a:t>last</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Geneva" charset="0"/>
                <a:cs typeface="Arial" panose="020B0604020202020204" pitchFamily="34" charset="0"/>
              </a:rPr>
              <a:t> was 210 days (range: 13-1680)</a:t>
            </a:r>
          </a:p>
        </p:txBody>
      </p:sp>
      <p:sp>
        <p:nvSpPr>
          <p:cNvPr id="3" name="TextBox 2">
            <a:extLst>
              <a:ext uri="{FF2B5EF4-FFF2-40B4-BE49-F238E27FC236}">
                <a16:creationId xmlns:a16="http://schemas.microsoft.com/office/drawing/2014/main" id="{28EAA75F-B0BE-A1C4-A2FA-D3CEACCEF18E}"/>
              </a:ext>
            </a:extLst>
          </p:cNvPr>
          <p:cNvSpPr txBox="1"/>
          <p:nvPr/>
        </p:nvSpPr>
        <p:spPr>
          <a:xfrm>
            <a:off x="9554586" y="6592143"/>
            <a:ext cx="1981633"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prstClr val="black"/>
                </a:solidFill>
                <a:effectLst/>
                <a:uLnTx/>
                <a:uFillTx/>
                <a:latin typeface="Calibri" panose="020F0502020204030204"/>
                <a:ea typeface="+mn-ea"/>
                <a:cs typeface="+mn-cs"/>
              </a:rPr>
              <a:t>Thieblemont</a:t>
            </a: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 C et al, ICML18, 2025</a:t>
            </a:r>
          </a:p>
        </p:txBody>
      </p:sp>
      <p:sp>
        <p:nvSpPr>
          <p:cNvPr id="5" name="TextBox 4">
            <a:extLst>
              <a:ext uri="{FF2B5EF4-FFF2-40B4-BE49-F238E27FC236}">
                <a16:creationId xmlns:a16="http://schemas.microsoft.com/office/drawing/2014/main" id="{1B95FE8F-22EB-9BA6-3C60-4C8133ADFA32}"/>
              </a:ext>
            </a:extLst>
          </p:cNvPr>
          <p:cNvSpPr txBox="1"/>
          <p:nvPr/>
        </p:nvSpPr>
        <p:spPr>
          <a:xfrm>
            <a:off x="4501661" y="39269"/>
            <a:ext cx="2265236"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Tisagenlecleucel</a:t>
            </a:r>
          </a:p>
        </p:txBody>
      </p:sp>
    </p:spTree>
    <p:extLst>
      <p:ext uri="{BB962C8B-B14F-4D97-AF65-F5344CB8AC3E}">
        <p14:creationId xmlns:p14="http://schemas.microsoft.com/office/powerpoint/2010/main" val="3348187806"/>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A8FED2-25D3-9249-06C0-9CDD14E147F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863DB9F-D198-0BB1-6A09-E8DD8D819B34}"/>
              </a:ext>
            </a:extLst>
          </p:cNvPr>
          <p:cNvSpPr>
            <a:spLocks noGrp="1"/>
          </p:cNvSpPr>
          <p:nvPr>
            <p:ph type="title"/>
          </p:nvPr>
        </p:nvSpPr>
        <p:spPr>
          <a:xfrm>
            <a:off x="488951" y="0"/>
            <a:ext cx="11216216" cy="1022350"/>
          </a:xfrm>
        </p:spPr>
        <p:txBody>
          <a:bodyPr/>
          <a:lstStyle/>
          <a:p>
            <a:r>
              <a:rPr lang="en-US" sz="3200" b="1" dirty="0">
                <a:solidFill>
                  <a:srgbClr val="002060"/>
                </a:solidFill>
                <a:latin typeface="Calibri" panose="020F0502020204030204" pitchFamily="34" charset="0"/>
                <a:cs typeface="Calibri" panose="020F0502020204030204" pitchFamily="34" charset="0"/>
              </a:rPr>
              <a:t>TRANSCEND (</a:t>
            </a:r>
            <a:r>
              <a:rPr lang="en-US" sz="3200" b="1" dirty="0" err="1">
                <a:solidFill>
                  <a:srgbClr val="002060"/>
                </a:solidFill>
                <a:latin typeface="Calibri" panose="020F0502020204030204" pitchFamily="34" charset="0"/>
                <a:cs typeface="Calibri" panose="020F0502020204030204" pitchFamily="34" charset="0"/>
              </a:rPr>
              <a:t>liso</a:t>
            </a:r>
            <a:r>
              <a:rPr lang="en-US" sz="3200" b="1" dirty="0">
                <a:solidFill>
                  <a:srgbClr val="002060"/>
                </a:solidFill>
                <a:latin typeface="Calibri" panose="020F0502020204030204" pitchFamily="34" charset="0"/>
                <a:cs typeface="Calibri" panose="020F0502020204030204" pitchFamily="34" charset="0"/>
              </a:rPr>
              <a:t>-cel) FL: Baseline Characteristics</a:t>
            </a:r>
            <a:endParaRPr lang="en-US" sz="3200" dirty="0">
              <a:solidFill>
                <a:srgbClr val="002060"/>
              </a:solidFill>
              <a:latin typeface="Calibri" panose="020F0502020204030204" pitchFamily="34" charset="0"/>
              <a:cs typeface="Calibri" panose="020F0502020204030204" pitchFamily="34" charset="0"/>
            </a:endParaRPr>
          </a:p>
        </p:txBody>
      </p:sp>
      <p:graphicFrame>
        <p:nvGraphicFramePr>
          <p:cNvPr id="10" name="Table 9">
            <a:extLst>
              <a:ext uri="{FF2B5EF4-FFF2-40B4-BE49-F238E27FC236}">
                <a16:creationId xmlns:a16="http://schemas.microsoft.com/office/drawing/2014/main" id="{1F6B7C98-B540-0BD4-C6C4-A5A3ED61BC65}"/>
              </a:ext>
            </a:extLst>
          </p:cNvPr>
          <p:cNvGraphicFramePr>
            <a:graphicFrameLocks noGrp="1"/>
          </p:cNvGraphicFramePr>
          <p:nvPr/>
        </p:nvGraphicFramePr>
        <p:xfrm>
          <a:off x="362809" y="807947"/>
          <a:ext cx="11466381" cy="5428466"/>
        </p:xfrm>
        <a:graphic>
          <a:graphicData uri="http://schemas.openxmlformats.org/drawingml/2006/table">
            <a:tbl>
              <a:tblPr firstRow="1"/>
              <a:tblGrid>
                <a:gridCol w="6187999">
                  <a:extLst>
                    <a:ext uri="{9D8B030D-6E8A-4147-A177-3AD203B41FA5}">
                      <a16:colId xmlns:a16="http://schemas.microsoft.com/office/drawing/2014/main" val="20000"/>
                    </a:ext>
                  </a:extLst>
                </a:gridCol>
                <a:gridCol w="2639191">
                  <a:extLst>
                    <a:ext uri="{9D8B030D-6E8A-4147-A177-3AD203B41FA5}">
                      <a16:colId xmlns:a16="http://schemas.microsoft.com/office/drawing/2014/main" val="538392858"/>
                    </a:ext>
                  </a:extLst>
                </a:gridCol>
                <a:gridCol w="2639191">
                  <a:extLst>
                    <a:ext uri="{9D8B030D-6E8A-4147-A177-3AD203B41FA5}">
                      <a16:colId xmlns:a16="http://schemas.microsoft.com/office/drawing/2014/main" val="1318455487"/>
                    </a:ext>
                  </a:extLst>
                </a:gridCol>
              </a:tblGrid>
              <a:tr h="237284">
                <a:tc>
                  <a:txBody>
                    <a:bodyPr/>
                    <a:lstStyle>
                      <a:lvl1pPr marL="0" algn="l" defTabSz="914400" rtl="0" eaLnBrk="1" latinLnBrk="0" hangingPunct="1">
                        <a:defRPr sz="1800" b="1" kern="1200">
                          <a:solidFill>
                            <a:schemeClr val="lt1"/>
                          </a:solidFill>
                          <a:latin typeface="Trebuchet MS" panose="020B0603020202020204"/>
                        </a:defRPr>
                      </a:lvl1pPr>
                      <a:lvl2pPr marL="457200" algn="l" defTabSz="914400" rtl="0" eaLnBrk="1" latinLnBrk="0" hangingPunct="1">
                        <a:defRPr sz="1800" b="1" kern="1200">
                          <a:solidFill>
                            <a:schemeClr val="lt1"/>
                          </a:solidFill>
                          <a:latin typeface="Trebuchet MS" panose="020B0603020202020204"/>
                        </a:defRPr>
                      </a:lvl2pPr>
                      <a:lvl3pPr marL="914400" algn="l" defTabSz="914400" rtl="0" eaLnBrk="1" latinLnBrk="0" hangingPunct="1">
                        <a:defRPr sz="1800" b="1" kern="1200">
                          <a:solidFill>
                            <a:schemeClr val="lt1"/>
                          </a:solidFill>
                          <a:latin typeface="Trebuchet MS" panose="020B0603020202020204"/>
                        </a:defRPr>
                      </a:lvl3pPr>
                      <a:lvl4pPr marL="1371600" algn="l" defTabSz="914400" rtl="0" eaLnBrk="1" latinLnBrk="0" hangingPunct="1">
                        <a:defRPr sz="1800" b="1" kern="1200">
                          <a:solidFill>
                            <a:schemeClr val="lt1"/>
                          </a:solidFill>
                          <a:latin typeface="Trebuchet MS" panose="020B0603020202020204"/>
                        </a:defRPr>
                      </a:lvl4pPr>
                      <a:lvl5pPr marL="1828800" algn="l" defTabSz="914400" rtl="0" eaLnBrk="1" latinLnBrk="0" hangingPunct="1">
                        <a:defRPr sz="1800" b="1" kern="1200">
                          <a:solidFill>
                            <a:schemeClr val="lt1"/>
                          </a:solidFill>
                          <a:latin typeface="Trebuchet MS" panose="020B0603020202020204"/>
                        </a:defRPr>
                      </a:lvl5pPr>
                      <a:lvl6pPr marL="2286000" algn="l" defTabSz="914400" rtl="0" eaLnBrk="1" latinLnBrk="0" hangingPunct="1">
                        <a:defRPr sz="1800" b="1" kern="1200">
                          <a:solidFill>
                            <a:schemeClr val="lt1"/>
                          </a:solidFill>
                          <a:latin typeface="Trebuchet MS" panose="020B0603020202020204"/>
                        </a:defRPr>
                      </a:lvl6pPr>
                      <a:lvl7pPr marL="2743200" algn="l" defTabSz="914400" rtl="0" eaLnBrk="1" latinLnBrk="0" hangingPunct="1">
                        <a:defRPr sz="1800" b="1" kern="1200">
                          <a:solidFill>
                            <a:schemeClr val="lt1"/>
                          </a:solidFill>
                          <a:latin typeface="Trebuchet MS" panose="020B0603020202020204"/>
                        </a:defRPr>
                      </a:lvl7pPr>
                      <a:lvl8pPr marL="3200400" algn="l" defTabSz="914400" rtl="0" eaLnBrk="1" latinLnBrk="0" hangingPunct="1">
                        <a:defRPr sz="1800" b="1" kern="1200">
                          <a:solidFill>
                            <a:schemeClr val="lt1"/>
                          </a:solidFill>
                          <a:latin typeface="Trebuchet MS" panose="020B0603020202020204"/>
                        </a:defRPr>
                      </a:lvl8pPr>
                      <a:lvl9pPr marL="3657600" algn="l" defTabSz="914400" rtl="0" eaLnBrk="1" latinLnBrk="0" hangingPunct="1">
                        <a:defRPr sz="1800" b="1" kern="1200">
                          <a:solidFill>
                            <a:schemeClr val="lt1"/>
                          </a:solidFill>
                          <a:latin typeface="Trebuchet MS" panose="020B0603020202020204"/>
                        </a:defRPr>
                      </a:lvl9pPr>
                    </a:lstStyle>
                    <a:p>
                      <a:pPr fontAlgn="auto">
                        <a:lnSpc>
                          <a:spcPct val="90000"/>
                        </a:lnSpc>
                        <a:spcBef>
                          <a:spcPts val="0"/>
                        </a:spcBef>
                        <a:spcAft>
                          <a:spcPts val="200"/>
                        </a:spcAft>
                      </a:pPr>
                      <a:endParaRPr lang="en-US" sz="1000" b="1" dirty="0">
                        <a:solidFill>
                          <a:schemeClr val="bg1"/>
                        </a:solidFill>
                        <a:latin typeface="Trebuchet MS" panose="020B0603020202020204" pitchFamily="34" charset="0"/>
                        <a:ea typeface="MS Mincho"/>
                        <a:cs typeface="Times New Roman"/>
                      </a:endParaRPr>
                    </a:p>
                  </a:txBody>
                  <a:tcPr marL="121920" marR="12192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Trebuchet MS" panose="020B0603020202020204"/>
                        </a:defRPr>
                      </a:lvl1pPr>
                      <a:lvl2pPr marL="457200" algn="l" defTabSz="914400" rtl="0" eaLnBrk="1" latinLnBrk="0" hangingPunct="1">
                        <a:defRPr sz="1800" b="1" kern="1200">
                          <a:solidFill>
                            <a:schemeClr val="lt1"/>
                          </a:solidFill>
                          <a:latin typeface="Trebuchet MS" panose="020B0603020202020204"/>
                        </a:defRPr>
                      </a:lvl2pPr>
                      <a:lvl3pPr marL="914400" algn="l" defTabSz="914400" rtl="0" eaLnBrk="1" latinLnBrk="0" hangingPunct="1">
                        <a:defRPr sz="1800" b="1" kern="1200">
                          <a:solidFill>
                            <a:schemeClr val="lt1"/>
                          </a:solidFill>
                          <a:latin typeface="Trebuchet MS" panose="020B0603020202020204"/>
                        </a:defRPr>
                      </a:lvl3pPr>
                      <a:lvl4pPr marL="1371600" algn="l" defTabSz="914400" rtl="0" eaLnBrk="1" latinLnBrk="0" hangingPunct="1">
                        <a:defRPr sz="1800" b="1" kern="1200">
                          <a:solidFill>
                            <a:schemeClr val="lt1"/>
                          </a:solidFill>
                          <a:latin typeface="Trebuchet MS" panose="020B0603020202020204"/>
                        </a:defRPr>
                      </a:lvl4pPr>
                      <a:lvl5pPr marL="1828800" algn="l" defTabSz="914400" rtl="0" eaLnBrk="1" latinLnBrk="0" hangingPunct="1">
                        <a:defRPr sz="1800" b="1" kern="1200">
                          <a:solidFill>
                            <a:schemeClr val="lt1"/>
                          </a:solidFill>
                          <a:latin typeface="Trebuchet MS" panose="020B0603020202020204"/>
                        </a:defRPr>
                      </a:lvl5pPr>
                      <a:lvl6pPr marL="2286000" algn="l" defTabSz="914400" rtl="0" eaLnBrk="1" latinLnBrk="0" hangingPunct="1">
                        <a:defRPr sz="1800" b="1" kern="1200">
                          <a:solidFill>
                            <a:schemeClr val="lt1"/>
                          </a:solidFill>
                          <a:latin typeface="Trebuchet MS" panose="020B0603020202020204"/>
                        </a:defRPr>
                      </a:lvl6pPr>
                      <a:lvl7pPr marL="2743200" algn="l" defTabSz="914400" rtl="0" eaLnBrk="1" latinLnBrk="0" hangingPunct="1">
                        <a:defRPr sz="1800" b="1" kern="1200">
                          <a:solidFill>
                            <a:schemeClr val="lt1"/>
                          </a:solidFill>
                          <a:latin typeface="Trebuchet MS" panose="020B0603020202020204"/>
                        </a:defRPr>
                      </a:lvl7pPr>
                      <a:lvl8pPr marL="3200400" algn="l" defTabSz="914400" rtl="0" eaLnBrk="1" latinLnBrk="0" hangingPunct="1">
                        <a:defRPr sz="1800" b="1" kern="1200">
                          <a:solidFill>
                            <a:schemeClr val="lt1"/>
                          </a:solidFill>
                          <a:latin typeface="Trebuchet MS" panose="020B0603020202020204"/>
                        </a:defRPr>
                      </a:lvl8pPr>
                      <a:lvl9pPr marL="3657600" algn="l" defTabSz="914400" rtl="0" eaLnBrk="1" latinLnBrk="0" hangingPunct="1">
                        <a:defRPr sz="1800" b="1" kern="1200">
                          <a:solidFill>
                            <a:schemeClr val="lt1"/>
                          </a:solidFill>
                          <a:latin typeface="Trebuchet MS" panose="020B0603020202020204"/>
                        </a:defRPr>
                      </a:lvl9pPr>
                    </a:lstStyle>
                    <a:p>
                      <a:pPr marL="0" indent="0" algn="ctr" defTabSz="914400" rtl="0" eaLnBrk="1" latinLnBrk="0" hangingPunct="1">
                        <a:lnSpc>
                          <a:spcPts val="1000"/>
                        </a:lnSpc>
                        <a:spcBef>
                          <a:spcPts val="0"/>
                        </a:spcBef>
                        <a:spcAft>
                          <a:spcPts val="200"/>
                        </a:spcAft>
                        <a:tabLst/>
                      </a:pPr>
                      <a:r>
                        <a:rPr lang="en-US" sz="1200" b="1" kern="1200" dirty="0">
                          <a:solidFill>
                            <a:schemeClr val="bg1"/>
                          </a:solidFill>
                          <a:latin typeface="Trebuchet MS" panose="020B0603020202020204" pitchFamily="34" charset="0"/>
                          <a:ea typeface="MS Mincho"/>
                        </a:rPr>
                        <a:t>2L FL</a:t>
                      </a:r>
                    </a:p>
                    <a:p>
                      <a:pPr marL="0" indent="0" algn="ctr" defTabSz="914400" rtl="0" eaLnBrk="1" latinLnBrk="0" hangingPunct="1">
                        <a:lnSpc>
                          <a:spcPts val="1000"/>
                        </a:lnSpc>
                        <a:spcBef>
                          <a:spcPts val="0"/>
                        </a:spcBef>
                        <a:spcAft>
                          <a:spcPts val="0"/>
                        </a:spcAft>
                        <a:tabLst/>
                      </a:pPr>
                      <a:r>
                        <a:rPr lang="en-US" sz="1200" b="1" kern="1200" dirty="0">
                          <a:solidFill>
                            <a:schemeClr val="bg1"/>
                          </a:solidFill>
                          <a:latin typeface="Trebuchet MS" panose="020B0603020202020204" pitchFamily="34" charset="0"/>
                          <a:ea typeface="MS Mincho"/>
                        </a:rPr>
                        <a:t>(n = 23)</a:t>
                      </a:r>
                    </a:p>
                  </a:txBody>
                  <a:tcPr marL="121920" marR="121920" anchor="ctr">
                    <a:lnL w="63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698D"/>
                    </a:solidFill>
                  </a:tcPr>
                </a:tc>
                <a:tc>
                  <a:txBody>
                    <a:bodyPr/>
                    <a:lstStyle>
                      <a:lvl1pPr marL="0" algn="l" defTabSz="914400" rtl="0" eaLnBrk="1" latinLnBrk="0" hangingPunct="1">
                        <a:defRPr sz="1800" b="1" kern="1200">
                          <a:solidFill>
                            <a:schemeClr val="lt1"/>
                          </a:solidFill>
                          <a:latin typeface="Trebuchet MS" panose="020B0603020202020204"/>
                        </a:defRPr>
                      </a:lvl1pPr>
                      <a:lvl2pPr marL="457200" algn="l" defTabSz="914400" rtl="0" eaLnBrk="1" latinLnBrk="0" hangingPunct="1">
                        <a:defRPr sz="1800" b="1" kern="1200">
                          <a:solidFill>
                            <a:schemeClr val="lt1"/>
                          </a:solidFill>
                          <a:latin typeface="Trebuchet MS" panose="020B0603020202020204"/>
                        </a:defRPr>
                      </a:lvl2pPr>
                      <a:lvl3pPr marL="914400" algn="l" defTabSz="914400" rtl="0" eaLnBrk="1" latinLnBrk="0" hangingPunct="1">
                        <a:defRPr sz="1800" b="1" kern="1200">
                          <a:solidFill>
                            <a:schemeClr val="lt1"/>
                          </a:solidFill>
                          <a:latin typeface="Trebuchet MS" panose="020B0603020202020204"/>
                        </a:defRPr>
                      </a:lvl3pPr>
                      <a:lvl4pPr marL="1371600" algn="l" defTabSz="914400" rtl="0" eaLnBrk="1" latinLnBrk="0" hangingPunct="1">
                        <a:defRPr sz="1800" b="1" kern="1200">
                          <a:solidFill>
                            <a:schemeClr val="lt1"/>
                          </a:solidFill>
                          <a:latin typeface="Trebuchet MS" panose="020B0603020202020204"/>
                        </a:defRPr>
                      </a:lvl4pPr>
                      <a:lvl5pPr marL="1828800" algn="l" defTabSz="914400" rtl="0" eaLnBrk="1" latinLnBrk="0" hangingPunct="1">
                        <a:defRPr sz="1800" b="1" kern="1200">
                          <a:solidFill>
                            <a:schemeClr val="lt1"/>
                          </a:solidFill>
                          <a:latin typeface="Trebuchet MS" panose="020B0603020202020204"/>
                        </a:defRPr>
                      </a:lvl5pPr>
                      <a:lvl6pPr marL="2286000" algn="l" defTabSz="914400" rtl="0" eaLnBrk="1" latinLnBrk="0" hangingPunct="1">
                        <a:defRPr sz="1800" b="1" kern="1200">
                          <a:solidFill>
                            <a:schemeClr val="lt1"/>
                          </a:solidFill>
                          <a:latin typeface="Trebuchet MS" panose="020B0603020202020204"/>
                        </a:defRPr>
                      </a:lvl6pPr>
                      <a:lvl7pPr marL="2743200" algn="l" defTabSz="914400" rtl="0" eaLnBrk="1" latinLnBrk="0" hangingPunct="1">
                        <a:defRPr sz="1800" b="1" kern="1200">
                          <a:solidFill>
                            <a:schemeClr val="lt1"/>
                          </a:solidFill>
                          <a:latin typeface="Trebuchet MS" panose="020B0603020202020204"/>
                        </a:defRPr>
                      </a:lvl7pPr>
                      <a:lvl8pPr marL="3200400" algn="l" defTabSz="914400" rtl="0" eaLnBrk="1" latinLnBrk="0" hangingPunct="1">
                        <a:defRPr sz="1800" b="1" kern="1200">
                          <a:solidFill>
                            <a:schemeClr val="lt1"/>
                          </a:solidFill>
                          <a:latin typeface="Trebuchet MS" panose="020B0603020202020204"/>
                        </a:defRPr>
                      </a:lvl8pPr>
                      <a:lvl9pPr marL="3657600" algn="l" defTabSz="914400" rtl="0" eaLnBrk="1" latinLnBrk="0" hangingPunct="1">
                        <a:defRPr sz="1800" b="1" kern="1200">
                          <a:solidFill>
                            <a:schemeClr val="lt1"/>
                          </a:solidFill>
                          <a:latin typeface="Trebuchet MS" panose="020B0603020202020204"/>
                        </a:defRPr>
                      </a:lvl9pPr>
                    </a:lstStyle>
                    <a:p>
                      <a:pPr marL="0" indent="0" algn="ctr" defTabSz="914400" rtl="0" eaLnBrk="1" latinLnBrk="0" hangingPunct="1">
                        <a:lnSpc>
                          <a:spcPts val="1000"/>
                        </a:lnSpc>
                        <a:spcBef>
                          <a:spcPts val="0"/>
                        </a:spcBef>
                        <a:spcAft>
                          <a:spcPts val="200"/>
                        </a:spcAft>
                        <a:tabLst/>
                      </a:pPr>
                      <a:r>
                        <a:rPr lang="en-US" sz="1200" b="1" kern="1200" dirty="0">
                          <a:solidFill>
                            <a:schemeClr val="tx1"/>
                          </a:solidFill>
                          <a:latin typeface="Trebuchet MS" panose="020B0603020202020204" pitchFamily="34" charset="0"/>
                          <a:ea typeface="MS Mincho"/>
                        </a:rPr>
                        <a:t> 3L+ FL</a:t>
                      </a:r>
                    </a:p>
                    <a:p>
                      <a:pPr marL="0" indent="0" algn="ctr" defTabSz="914400" rtl="0" eaLnBrk="1" latinLnBrk="0" hangingPunct="1">
                        <a:lnSpc>
                          <a:spcPts val="1000"/>
                        </a:lnSpc>
                        <a:spcBef>
                          <a:spcPts val="0"/>
                        </a:spcBef>
                        <a:spcAft>
                          <a:spcPts val="0"/>
                        </a:spcAft>
                        <a:tabLst/>
                      </a:pPr>
                      <a:r>
                        <a:rPr lang="en-US" sz="1200" b="1" kern="1200" dirty="0">
                          <a:solidFill>
                            <a:schemeClr val="tx1"/>
                          </a:solidFill>
                          <a:latin typeface="Trebuchet MS" panose="020B0603020202020204" pitchFamily="34" charset="0"/>
                          <a:ea typeface="MS Mincho"/>
                        </a:rPr>
                        <a:t>(n = 107)</a:t>
                      </a:r>
                    </a:p>
                  </a:txBody>
                  <a:tcPr marL="121920" marR="121920" anchor="ctr">
                    <a:lnL w="63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AC25"/>
                    </a:solidFill>
                  </a:tcPr>
                </a:tc>
                <a:extLst>
                  <a:ext uri="{0D108BD9-81ED-4DB2-BD59-A6C34878D82A}">
                    <a16:rowId xmlns:a16="http://schemas.microsoft.com/office/drawing/2014/main" val="1883265581"/>
                  </a:ext>
                </a:extLst>
              </a:tr>
              <a:tr h="217952">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indent="0">
                        <a:lnSpc>
                          <a:spcPts val="800"/>
                        </a:lnSpc>
                        <a:spcBef>
                          <a:spcPts val="0"/>
                        </a:spcBef>
                        <a:spcAft>
                          <a:spcPts val="200"/>
                        </a:spcAft>
                        <a:tabLst/>
                      </a:pPr>
                      <a:r>
                        <a:rPr lang="en-US" sz="1200" b="1" i="0" dirty="0">
                          <a:solidFill>
                            <a:srgbClr val="595454"/>
                          </a:solidFill>
                          <a:latin typeface="Trebuchet MS" panose="020B0603020202020204" pitchFamily="34" charset="0"/>
                          <a:ea typeface="MS Mincho"/>
                          <a:cs typeface="Times New Roman"/>
                        </a:rPr>
                        <a:t>Median (range) age, y</a:t>
                      </a:r>
                      <a:endParaRPr lang="en-US" sz="1200" b="1" dirty="0">
                        <a:solidFill>
                          <a:srgbClr val="595454"/>
                        </a:solidFill>
                        <a:latin typeface="Trebuchet MS" panose="020B0603020202020204" pitchFamily="34" charset="0"/>
                        <a:ea typeface="MS Mincho"/>
                        <a:cs typeface="Times New Roman"/>
                      </a:endParaRPr>
                    </a:p>
                  </a:txBody>
                  <a:tcPr marL="121920" marR="12192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rgbClr val="595454">
                          <a:lumMod val="20000"/>
                          <a:lumOff val="80000"/>
                        </a:srgb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marR="0" algn="ctr">
                        <a:lnSpc>
                          <a:spcPts val="800"/>
                        </a:lnSpc>
                        <a:spcBef>
                          <a:spcPts val="0"/>
                        </a:spcBef>
                        <a:spcAft>
                          <a:spcPts val="0"/>
                        </a:spcAft>
                      </a:pPr>
                      <a:r>
                        <a:rPr lang="en-US" sz="1200" b="0" dirty="0">
                          <a:solidFill>
                            <a:srgbClr val="595454"/>
                          </a:solidFill>
                          <a:effectLst/>
                          <a:latin typeface="Trebuchet MS" panose="020B0603020202020204" pitchFamily="34" charset="0"/>
                          <a:ea typeface="Times New Roman"/>
                          <a:cs typeface="Palatino Linotype"/>
                        </a:rPr>
                        <a:t>53 (34—69)</a:t>
                      </a:r>
                    </a:p>
                  </a:txBody>
                  <a:tcPr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rgbClr val="595454">
                          <a:lumMod val="20000"/>
                          <a:lumOff val="8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marR="0" algn="ctr">
                        <a:lnSpc>
                          <a:spcPts val="800"/>
                        </a:lnSpc>
                        <a:spcBef>
                          <a:spcPts val="0"/>
                        </a:spcBef>
                        <a:spcAft>
                          <a:spcPts val="0"/>
                        </a:spcAft>
                      </a:pPr>
                      <a:r>
                        <a:rPr lang="en-US" sz="1200" b="0" dirty="0">
                          <a:solidFill>
                            <a:srgbClr val="595454"/>
                          </a:solidFill>
                          <a:effectLst/>
                          <a:latin typeface="Trebuchet MS" panose="020B0603020202020204" pitchFamily="34" charset="0"/>
                          <a:ea typeface="Times New Roman"/>
                          <a:cs typeface="Palatino Linotype"/>
                        </a:rPr>
                        <a:t>62 (23—80)</a:t>
                      </a:r>
                    </a:p>
                  </a:txBody>
                  <a:tcPr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rgbClr val="595454">
                          <a:lumMod val="20000"/>
                          <a:lumOff val="8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75341470"/>
                  </a:ext>
                </a:extLst>
              </a:tr>
              <a:tr h="228562">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indent="0">
                        <a:lnSpc>
                          <a:spcPts val="800"/>
                        </a:lnSpc>
                        <a:spcBef>
                          <a:spcPts val="0"/>
                        </a:spcBef>
                        <a:spcAft>
                          <a:spcPts val="200"/>
                        </a:spcAft>
                        <a:tabLst/>
                      </a:pPr>
                      <a:r>
                        <a:rPr lang="en-US" sz="1200" b="1" dirty="0">
                          <a:solidFill>
                            <a:srgbClr val="595454"/>
                          </a:solidFill>
                          <a:latin typeface="Trebuchet MS" panose="020B0603020202020204" pitchFamily="34" charset="0"/>
                          <a:ea typeface="MS Mincho"/>
                          <a:cs typeface="Times New Roman"/>
                        </a:rPr>
                        <a:t>Male, n (%)</a:t>
                      </a:r>
                    </a:p>
                  </a:txBody>
                  <a:tcPr marL="121920" marR="12192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rgbClr val="595454">
                          <a:lumMod val="20000"/>
                          <a:lumOff val="80000"/>
                        </a:srgbClr>
                      </a:solidFill>
                      <a:prstDash val="solid"/>
                      <a:round/>
                      <a:headEnd type="none" w="med" len="med"/>
                      <a:tailEnd type="none" w="med" len="med"/>
                    </a:lnT>
                    <a:lnB w="63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marR="0" algn="ctr">
                        <a:lnSpc>
                          <a:spcPts val="800"/>
                        </a:lnSpc>
                        <a:spcBef>
                          <a:spcPts val="0"/>
                        </a:spcBef>
                        <a:spcAft>
                          <a:spcPts val="0"/>
                        </a:spcAft>
                      </a:pPr>
                      <a:r>
                        <a:rPr lang="en-US" sz="1200" b="0" dirty="0">
                          <a:solidFill>
                            <a:srgbClr val="595454"/>
                          </a:solidFill>
                          <a:effectLst/>
                          <a:latin typeface="Trebuchet MS" panose="020B0603020202020204" pitchFamily="34" charset="0"/>
                          <a:ea typeface="Times New Roman"/>
                          <a:cs typeface="Palatino Linotype"/>
                        </a:rPr>
                        <a:t>17 (74)</a:t>
                      </a:r>
                    </a:p>
                  </a:txBody>
                  <a:tcPr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595454">
                          <a:lumMod val="20000"/>
                          <a:lumOff val="80000"/>
                        </a:srgbClr>
                      </a:solidFill>
                      <a:prstDash val="solid"/>
                      <a:round/>
                      <a:headEnd type="none" w="med" len="med"/>
                      <a:tailEnd type="none" w="med" len="med"/>
                    </a:lnT>
                    <a:lnB w="63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marR="0" algn="ctr">
                        <a:lnSpc>
                          <a:spcPts val="800"/>
                        </a:lnSpc>
                        <a:spcBef>
                          <a:spcPts val="0"/>
                        </a:spcBef>
                        <a:spcAft>
                          <a:spcPts val="0"/>
                        </a:spcAft>
                      </a:pPr>
                      <a:r>
                        <a:rPr lang="en-US" sz="1200" b="0" dirty="0">
                          <a:solidFill>
                            <a:srgbClr val="595454"/>
                          </a:solidFill>
                          <a:effectLst/>
                          <a:latin typeface="Trebuchet MS" panose="020B0603020202020204" pitchFamily="34" charset="0"/>
                          <a:ea typeface="Times New Roman"/>
                          <a:cs typeface="Palatino Linotype"/>
                        </a:rPr>
                        <a:t>66 (62)</a:t>
                      </a:r>
                    </a:p>
                  </a:txBody>
                  <a:tcPr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595454">
                          <a:lumMod val="20000"/>
                          <a:lumOff val="80000"/>
                        </a:srgbClr>
                      </a:solidFill>
                      <a:prstDash val="solid"/>
                      <a:round/>
                      <a:headEnd type="none" w="med" len="med"/>
                      <a:tailEnd type="none" w="med" len="med"/>
                    </a:lnT>
                    <a:lnB w="63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0543391"/>
                  </a:ext>
                </a:extLst>
              </a:tr>
              <a:tr h="217952">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indent="0">
                        <a:lnSpc>
                          <a:spcPts val="800"/>
                        </a:lnSpc>
                        <a:spcBef>
                          <a:spcPts val="0"/>
                        </a:spcBef>
                        <a:spcAft>
                          <a:spcPts val="0"/>
                        </a:spcAft>
                        <a:tabLst/>
                      </a:pPr>
                      <a:r>
                        <a:rPr lang="en-US" sz="1200" b="1" dirty="0">
                          <a:solidFill>
                            <a:srgbClr val="595454"/>
                          </a:solidFill>
                          <a:latin typeface="Trebuchet MS" panose="020B0603020202020204" pitchFamily="34" charset="0"/>
                          <a:ea typeface="MS Mincho"/>
                          <a:cs typeface="Times New Roman"/>
                        </a:rPr>
                        <a:t>FL grade 1 or 2 / 3a at </a:t>
                      </a:r>
                      <a:r>
                        <a:rPr lang="en-US" sz="1200" b="1" dirty="0" err="1">
                          <a:solidFill>
                            <a:srgbClr val="595454"/>
                          </a:solidFill>
                          <a:latin typeface="Trebuchet MS" panose="020B0603020202020204" pitchFamily="34" charset="0"/>
                          <a:ea typeface="MS Mincho"/>
                          <a:cs typeface="Times New Roman"/>
                        </a:rPr>
                        <a:t>screening,</a:t>
                      </a:r>
                      <a:r>
                        <a:rPr lang="en-US" sz="1200" b="1" baseline="30000" dirty="0" err="1">
                          <a:solidFill>
                            <a:srgbClr val="595454"/>
                          </a:solidFill>
                          <a:latin typeface="Trebuchet MS" panose="020B0603020202020204" pitchFamily="34" charset="0"/>
                          <a:ea typeface="MS Mincho"/>
                          <a:cs typeface="Times New Roman"/>
                        </a:rPr>
                        <a:t>a</a:t>
                      </a:r>
                      <a:r>
                        <a:rPr lang="en-US" sz="1200" b="1" dirty="0">
                          <a:solidFill>
                            <a:srgbClr val="595454"/>
                          </a:solidFill>
                          <a:latin typeface="Trebuchet MS" panose="020B0603020202020204" pitchFamily="34" charset="0"/>
                          <a:ea typeface="MS Mincho"/>
                          <a:cs typeface="Times New Roman"/>
                        </a:rPr>
                        <a:t> n (%) </a:t>
                      </a:r>
                    </a:p>
                  </a:txBody>
                  <a:tcPr marL="121920" marR="12192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marR="0" algn="ctr">
                        <a:lnSpc>
                          <a:spcPts val="800"/>
                        </a:lnSpc>
                        <a:spcBef>
                          <a:spcPts val="0"/>
                        </a:spcBef>
                        <a:spcAft>
                          <a:spcPts val="0"/>
                        </a:spcAft>
                      </a:pPr>
                      <a:r>
                        <a:rPr lang="en-US" sz="1200" b="0" dirty="0">
                          <a:solidFill>
                            <a:srgbClr val="595454"/>
                          </a:solidFill>
                          <a:effectLst/>
                          <a:latin typeface="Trebuchet MS" panose="020B0603020202020204" pitchFamily="34" charset="0"/>
                          <a:ea typeface="Times New Roman"/>
                          <a:cs typeface="Palatino Linotype"/>
                        </a:rPr>
                        <a:t>17 (74) / 6 (26)</a:t>
                      </a:r>
                    </a:p>
                  </a:txBody>
                  <a:tcPr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marR="0" lvl="0" indent="0" algn="ctr" defTabSz="1219170" rtl="0" eaLnBrk="1" fontAlgn="auto" latinLnBrk="0" hangingPunct="1">
                        <a:lnSpc>
                          <a:spcPts val="800"/>
                        </a:lnSpc>
                        <a:spcBef>
                          <a:spcPts val="0"/>
                        </a:spcBef>
                        <a:spcAft>
                          <a:spcPts val="0"/>
                        </a:spcAft>
                        <a:buClrTx/>
                        <a:buSzTx/>
                        <a:buFontTx/>
                        <a:buNone/>
                        <a:tabLst/>
                        <a:defRPr/>
                      </a:pPr>
                      <a:r>
                        <a:rPr lang="en-US" sz="1200" b="0" dirty="0">
                          <a:solidFill>
                            <a:srgbClr val="595454"/>
                          </a:solidFill>
                          <a:effectLst/>
                          <a:latin typeface="Trebuchet MS" panose="020B0603020202020204" pitchFamily="34" charset="0"/>
                          <a:ea typeface="Times New Roman"/>
                          <a:cs typeface="Palatino Linotype"/>
                        </a:rPr>
                        <a:t>81 (76) / 25 (23)</a:t>
                      </a:r>
                    </a:p>
                  </a:txBody>
                  <a:tcPr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411097598"/>
                  </a:ext>
                </a:extLst>
              </a:tr>
              <a:tr h="217952">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indent="0">
                        <a:lnSpc>
                          <a:spcPts val="800"/>
                        </a:lnSpc>
                        <a:spcBef>
                          <a:spcPts val="0"/>
                        </a:spcBef>
                        <a:spcAft>
                          <a:spcPts val="200"/>
                        </a:spcAft>
                        <a:tabLst/>
                      </a:pPr>
                      <a:r>
                        <a:rPr lang="en-US" sz="1200" b="1" i="0" dirty="0">
                          <a:solidFill>
                            <a:srgbClr val="595454"/>
                          </a:solidFill>
                          <a:latin typeface="Trebuchet MS" panose="020B0603020202020204" pitchFamily="34" charset="0"/>
                          <a:ea typeface="MS Mincho"/>
                          <a:cs typeface="ArialMT"/>
                        </a:rPr>
                        <a:t>Ann Arbor stage at screening, n (%)</a:t>
                      </a:r>
                      <a:endParaRPr lang="en-US" sz="1200" b="1" dirty="0">
                        <a:solidFill>
                          <a:srgbClr val="595454"/>
                        </a:solidFill>
                        <a:latin typeface="Trebuchet MS" panose="020B0603020202020204" pitchFamily="34" charset="0"/>
                        <a:ea typeface="MS Mincho"/>
                        <a:cs typeface="ArialMT"/>
                      </a:endParaRPr>
                    </a:p>
                  </a:txBody>
                  <a:tcPr marL="121920" marR="12192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marR="0" algn="ctr">
                        <a:lnSpc>
                          <a:spcPts val="800"/>
                        </a:lnSpc>
                        <a:spcBef>
                          <a:spcPts val="0"/>
                        </a:spcBef>
                        <a:spcAft>
                          <a:spcPts val="0"/>
                        </a:spcAft>
                      </a:pPr>
                      <a:endParaRPr lang="en-US" sz="1200" b="0" dirty="0">
                        <a:solidFill>
                          <a:srgbClr val="595454"/>
                        </a:solidFill>
                        <a:effectLst/>
                        <a:latin typeface="Trebuchet MS" panose="020B0603020202020204" pitchFamily="34" charset="0"/>
                        <a:ea typeface="Times New Roman"/>
                        <a:cs typeface="Palatino Linotype"/>
                      </a:endParaRPr>
                    </a:p>
                  </a:txBody>
                  <a:tcPr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marR="0" algn="ctr">
                        <a:lnSpc>
                          <a:spcPts val="800"/>
                        </a:lnSpc>
                        <a:spcBef>
                          <a:spcPts val="0"/>
                        </a:spcBef>
                        <a:spcAft>
                          <a:spcPts val="0"/>
                        </a:spcAft>
                      </a:pPr>
                      <a:endParaRPr lang="en-US" sz="1200" b="0" dirty="0">
                        <a:solidFill>
                          <a:srgbClr val="595454"/>
                        </a:solidFill>
                        <a:effectLst/>
                        <a:latin typeface="Trebuchet MS" panose="020B0603020202020204" pitchFamily="34" charset="0"/>
                        <a:ea typeface="Times New Roman"/>
                        <a:cs typeface="Palatino Linotype"/>
                      </a:endParaRPr>
                    </a:p>
                  </a:txBody>
                  <a:tcPr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33768973"/>
                  </a:ext>
                </a:extLst>
              </a:tr>
              <a:tr h="158561">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457200" indent="-230188">
                        <a:lnSpc>
                          <a:spcPts val="800"/>
                        </a:lnSpc>
                        <a:spcBef>
                          <a:spcPts val="0"/>
                        </a:spcBef>
                        <a:spcAft>
                          <a:spcPts val="0"/>
                        </a:spcAft>
                        <a:tabLst/>
                      </a:pPr>
                      <a:r>
                        <a:rPr lang="en-US" sz="1200" b="0" dirty="0">
                          <a:solidFill>
                            <a:srgbClr val="595454"/>
                          </a:solidFill>
                          <a:latin typeface="Trebuchet MS" panose="020B0603020202020204" pitchFamily="34" charset="0"/>
                          <a:ea typeface="MS Mincho"/>
                          <a:cs typeface="ArialMT"/>
                        </a:rPr>
                        <a:t>Stage I/II</a:t>
                      </a:r>
                    </a:p>
                  </a:txBody>
                  <a:tcPr marL="121920" marR="12192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marR="0" algn="ctr">
                        <a:lnSpc>
                          <a:spcPts val="800"/>
                        </a:lnSpc>
                        <a:spcBef>
                          <a:spcPts val="0"/>
                        </a:spcBef>
                        <a:spcAft>
                          <a:spcPts val="0"/>
                        </a:spcAft>
                      </a:pPr>
                      <a:r>
                        <a:rPr lang="en-US" sz="1200" dirty="0">
                          <a:solidFill>
                            <a:srgbClr val="595454"/>
                          </a:solidFill>
                          <a:effectLst/>
                          <a:latin typeface="Trebuchet MS" panose="020B0603020202020204" pitchFamily="34" charset="0"/>
                          <a:ea typeface="Times New Roman" panose="02020603050405020304" pitchFamily="18" charset="0"/>
                          <a:cs typeface="Arial" panose="020B0604020202020204" pitchFamily="34" charset="0"/>
                        </a:rPr>
                        <a:t>6 (26) </a:t>
                      </a:r>
                      <a:endParaRPr lang="en-US" sz="1200" dirty="0">
                        <a:solidFill>
                          <a:srgbClr val="595454"/>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marR="0" algn="ctr">
                        <a:lnSpc>
                          <a:spcPts val="800"/>
                        </a:lnSpc>
                        <a:spcBef>
                          <a:spcPts val="0"/>
                        </a:spcBef>
                        <a:spcAft>
                          <a:spcPts val="0"/>
                        </a:spcAft>
                      </a:pPr>
                      <a:r>
                        <a:rPr lang="en-US" sz="1200" dirty="0">
                          <a:solidFill>
                            <a:srgbClr val="595454"/>
                          </a:solidFill>
                          <a:effectLst/>
                          <a:latin typeface="Trebuchet MS" panose="020B0603020202020204" pitchFamily="34" charset="0"/>
                          <a:ea typeface="Calibri" panose="020F0502020204030204" pitchFamily="34" charset="0"/>
                          <a:cs typeface="Times New Roman" panose="02020603050405020304" pitchFamily="18" charset="0"/>
                        </a:rPr>
                        <a:t>12 (11)</a:t>
                      </a:r>
                    </a:p>
                  </a:txBody>
                  <a:tcPr marL="68580" marR="6858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432538347"/>
                  </a:ext>
                </a:extLst>
              </a:tr>
              <a:tr h="158561">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457200" indent="-230188">
                        <a:lnSpc>
                          <a:spcPts val="800"/>
                        </a:lnSpc>
                        <a:spcBef>
                          <a:spcPts val="0"/>
                        </a:spcBef>
                        <a:spcAft>
                          <a:spcPts val="0"/>
                        </a:spcAft>
                        <a:tabLst/>
                      </a:pPr>
                      <a:r>
                        <a:rPr lang="en-US" sz="1200" b="0" dirty="0">
                          <a:solidFill>
                            <a:srgbClr val="595454"/>
                          </a:solidFill>
                          <a:latin typeface="Trebuchet MS" panose="020B0603020202020204" pitchFamily="34" charset="0"/>
                          <a:ea typeface="MS Mincho"/>
                          <a:cs typeface="ArialMT"/>
                        </a:rPr>
                        <a:t>Stage III/IV</a:t>
                      </a:r>
                    </a:p>
                  </a:txBody>
                  <a:tcPr marL="121920" marR="12192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marR="0" algn="ctr">
                        <a:lnSpc>
                          <a:spcPts val="800"/>
                        </a:lnSpc>
                        <a:spcBef>
                          <a:spcPts val="0"/>
                        </a:spcBef>
                        <a:spcAft>
                          <a:spcPts val="0"/>
                        </a:spcAft>
                      </a:pPr>
                      <a:r>
                        <a:rPr lang="en-US" sz="1200" dirty="0">
                          <a:solidFill>
                            <a:srgbClr val="595454"/>
                          </a:solidFill>
                          <a:effectLst/>
                          <a:latin typeface="Trebuchet MS" panose="020B0603020202020204" pitchFamily="34" charset="0"/>
                          <a:ea typeface="Times New Roman" panose="02020603050405020304" pitchFamily="18" charset="0"/>
                          <a:cs typeface="Arial" panose="020B0604020202020204" pitchFamily="34" charset="0"/>
                        </a:rPr>
                        <a:t>17 (74) </a:t>
                      </a:r>
                      <a:endParaRPr lang="en-US" sz="1200" dirty="0">
                        <a:solidFill>
                          <a:srgbClr val="595454"/>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marR="0" algn="ctr">
                        <a:lnSpc>
                          <a:spcPts val="800"/>
                        </a:lnSpc>
                        <a:spcBef>
                          <a:spcPts val="0"/>
                        </a:spcBef>
                        <a:spcAft>
                          <a:spcPts val="0"/>
                        </a:spcAft>
                      </a:pPr>
                      <a:r>
                        <a:rPr lang="en-US" sz="1200" dirty="0">
                          <a:solidFill>
                            <a:srgbClr val="595454"/>
                          </a:solidFill>
                          <a:effectLst/>
                          <a:latin typeface="Trebuchet MS" panose="020B0603020202020204" pitchFamily="34" charset="0"/>
                          <a:ea typeface="Calibri" panose="020F0502020204030204" pitchFamily="34" charset="0"/>
                          <a:cs typeface="Times New Roman" panose="02020603050405020304" pitchFamily="18" charset="0"/>
                        </a:rPr>
                        <a:t>95 (89)</a:t>
                      </a:r>
                    </a:p>
                  </a:txBody>
                  <a:tcPr marL="68580" marR="6858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19894852"/>
                  </a:ext>
                </a:extLst>
              </a:tr>
              <a:tr h="256583">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indent="0">
                        <a:lnSpc>
                          <a:spcPts val="800"/>
                        </a:lnSpc>
                        <a:spcBef>
                          <a:spcPts val="0"/>
                        </a:spcBef>
                        <a:spcAft>
                          <a:spcPts val="200"/>
                        </a:spcAft>
                        <a:tabLst/>
                      </a:pPr>
                      <a:r>
                        <a:rPr lang="en-US" sz="1200" b="1" i="0" strike="noStrike" dirty="0">
                          <a:solidFill>
                            <a:srgbClr val="595454"/>
                          </a:solidFill>
                          <a:latin typeface="Trebuchet MS" panose="020B0603020202020204" pitchFamily="34" charset="0"/>
                          <a:ea typeface="MS Mincho"/>
                          <a:cs typeface="ArialMT"/>
                        </a:rPr>
                        <a:t>FL International Prognostic Index at screening, n (%)</a:t>
                      </a:r>
                      <a:endParaRPr lang="en-US" sz="1200" b="1" strike="noStrike" dirty="0">
                        <a:solidFill>
                          <a:srgbClr val="595454"/>
                        </a:solidFill>
                        <a:latin typeface="Trebuchet MS" panose="020B0603020202020204" pitchFamily="34" charset="0"/>
                        <a:ea typeface="MS Mincho"/>
                        <a:cs typeface="ArialMT"/>
                      </a:endParaRPr>
                    </a:p>
                  </a:txBody>
                  <a:tcPr marL="121920" marR="12192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marR="0" algn="ctr">
                        <a:lnSpc>
                          <a:spcPts val="800"/>
                        </a:lnSpc>
                        <a:spcBef>
                          <a:spcPts val="0"/>
                        </a:spcBef>
                        <a:spcAft>
                          <a:spcPts val="0"/>
                        </a:spcAft>
                      </a:pPr>
                      <a:endParaRPr lang="en-US" sz="1200" b="0" strike="noStrike" dirty="0">
                        <a:solidFill>
                          <a:srgbClr val="595454"/>
                        </a:solidFill>
                        <a:effectLst/>
                        <a:latin typeface="Trebuchet MS" panose="020B0603020202020204" pitchFamily="34" charset="0"/>
                        <a:ea typeface="Times New Roman"/>
                        <a:cs typeface="Palatino Linotype"/>
                      </a:endParaRPr>
                    </a:p>
                  </a:txBody>
                  <a:tcPr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marR="0" algn="ctr">
                        <a:lnSpc>
                          <a:spcPts val="800"/>
                        </a:lnSpc>
                        <a:spcBef>
                          <a:spcPts val="0"/>
                        </a:spcBef>
                        <a:spcAft>
                          <a:spcPts val="0"/>
                        </a:spcAft>
                      </a:pPr>
                      <a:endParaRPr lang="en-US" sz="1200" b="0" strike="noStrike" dirty="0">
                        <a:solidFill>
                          <a:srgbClr val="595454"/>
                        </a:solidFill>
                        <a:effectLst/>
                        <a:latin typeface="Trebuchet MS" panose="020B0603020202020204" pitchFamily="34" charset="0"/>
                        <a:ea typeface="Times New Roman"/>
                        <a:cs typeface="Palatino Linotype"/>
                      </a:endParaRPr>
                    </a:p>
                  </a:txBody>
                  <a:tcPr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26715075"/>
                  </a:ext>
                </a:extLst>
              </a:tr>
              <a:tr h="158561">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457200" marR="0" lvl="0" indent="-230188" algn="l" defTabSz="1219170" rtl="0" eaLnBrk="1" fontAlgn="auto" latinLnBrk="0" hangingPunct="1">
                        <a:lnSpc>
                          <a:spcPts val="800"/>
                        </a:lnSpc>
                        <a:spcBef>
                          <a:spcPts val="0"/>
                        </a:spcBef>
                        <a:spcAft>
                          <a:spcPts val="200"/>
                        </a:spcAft>
                        <a:buClrTx/>
                        <a:buSzTx/>
                        <a:buFontTx/>
                        <a:buNone/>
                        <a:tabLst/>
                        <a:defRPr/>
                      </a:pPr>
                      <a:r>
                        <a:rPr lang="en-US" sz="1200" b="0" strike="noStrike" dirty="0">
                          <a:solidFill>
                            <a:srgbClr val="595454"/>
                          </a:solidFill>
                          <a:latin typeface="Trebuchet MS" panose="020B0603020202020204" pitchFamily="34" charset="0"/>
                          <a:ea typeface="MS Mincho"/>
                          <a:cs typeface="ArialMT"/>
                        </a:rPr>
                        <a:t>Low risk (0</a:t>
                      </a:r>
                      <a:r>
                        <a:rPr lang="en-US" sz="1200" b="0" strike="noStrike" dirty="0">
                          <a:solidFill>
                            <a:srgbClr val="595454"/>
                          </a:solidFill>
                          <a:latin typeface="Trebuchet MS" panose="020B0603020202020204" pitchFamily="34" charset="0"/>
                          <a:ea typeface="MS Mincho"/>
                          <a:cs typeface="Arial" panose="020B0604020202020204" pitchFamily="34" charset="0"/>
                        </a:rPr>
                        <a:t>—</a:t>
                      </a:r>
                      <a:r>
                        <a:rPr lang="en-US" sz="1200" b="0" strike="noStrike" dirty="0">
                          <a:solidFill>
                            <a:srgbClr val="595454"/>
                          </a:solidFill>
                          <a:latin typeface="Trebuchet MS" panose="020B0603020202020204" pitchFamily="34" charset="0"/>
                          <a:ea typeface="MS Mincho"/>
                          <a:cs typeface="ArialMT"/>
                        </a:rPr>
                        <a:t>1) / intermediate risk (2)</a:t>
                      </a:r>
                    </a:p>
                  </a:txBody>
                  <a:tcPr marL="121920" marR="12192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marR="0" lvl="0" indent="0" algn="ctr" defTabSz="1219170" rtl="0" eaLnBrk="1" fontAlgn="auto" latinLnBrk="0" hangingPunct="1">
                        <a:lnSpc>
                          <a:spcPts val="800"/>
                        </a:lnSpc>
                        <a:spcBef>
                          <a:spcPts val="0"/>
                        </a:spcBef>
                        <a:spcAft>
                          <a:spcPts val="0"/>
                        </a:spcAft>
                        <a:buClrTx/>
                        <a:buSzTx/>
                        <a:buFontTx/>
                        <a:buNone/>
                        <a:tabLst/>
                        <a:defRPr/>
                      </a:pPr>
                      <a:r>
                        <a:rPr lang="en-US" sz="1200" strike="noStrike" dirty="0">
                          <a:solidFill>
                            <a:srgbClr val="595454"/>
                          </a:solidFill>
                          <a:effectLst/>
                          <a:latin typeface="Trebuchet MS" panose="020B0603020202020204" pitchFamily="34" charset="0"/>
                          <a:ea typeface="Times New Roman" panose="02020603050405020304" pitchFamily="18" charset="0"/>
                          <a:cs typeface="Arial" panose="020B0604020202020204" pitchFamily="34" charset="0"/>
                        </a:rPr>
                        <a:t>11 (48) / 4 (17)</a:t>
                      </a:r>
                      <a:endParaRPr lang="en-US" sz="1200" strike="noStrike" dirty="0">
                        <a:solidFill>
                          <a:srgbClr val="595454"/>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68580" marR="68580" marT="0" marB="0">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marR="0" lvl="0" indent="0" algn="ctr" defTabSz="1219170" rtl="0" eaLnBrk="1" fontAlgn="auto" latinLnBrk="0" hangingPunct="1">
                        <a:lnSpc>
                          <a:spcPts val="800"/>
                        </a:lnSpc>
                        <a:spcBef>
                          <a:spcPts val="0"/>
                        </a:spcBef>
                        <a:spcAft>
                          <a:spcPts val="0"/>
                        </a:spcAft>
                        <a:buClrTx/>
                        <a:buSzTx/>
                        <a:buFontTx/>
                        <a:buNone/>
                        <a:tabLst/>
                        <a:defRPr/>
                      </a:pPr>
                      <a:r>
                        <a:rPr lang="en-US" sz="1200" strike="noStrike" dirty="0">
                          <a:solidFill>
                            <a:srgbClr val="595454"/>
                          </a:solidFill>
                          <a:effectLst/>
                          <a:latin typeface="Trebuchet MS" panose="020B0603020202020204" pitchFamily="34" charset="0"/>
                          <a:ea typeface="Calibri" panose="020F0502020204030204" pitchFamily="34" charset="0"/>
                          <a:cs typeface="Times New Roman" panose="02020603050405020304" pitchFamily="18" charset="0"/>
                        </a:rPr>
                        <a:t>12 (11) / 34 (32)</a:t>
                      </a:r>
                    </a:p>
                  </a:txBody>
                  <a:tcPr marL="68580" marR="68580" marT="0" marB="0">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46416678"/>
                  </a:ext>
                </a:extLst>
              </a:tr>
              <a:tr h="158561">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457200" indent="-230188">
                        <a:lnSpc>
                          <a:spcPts val="800"/>
                        </a:lnSpc>
                        <a:spcBef>
                          <a:spcPts val="0"/>
                        </a:spcBef>
                        <a:spcAft>
                          <a:spcPts val="200"/>
                        </a:spcAft>
                        <a:tabLst/>
                      </a:pPr>
                      <a:r>
                        <a:rPr lang="en-US" sz="1200" b="0" strike="noStrike" dirty="0">
                          <a:solidFill>
                            <a:srgbClr val="595454"/>
                          </a:solidFill>
                          <a:latin typeface="Trebuchet MS" panose="020B0603020202020204" pitchFamily="34" charset="0"/>
                          <a:ea typeface="MS Mincho"/>
                          <a:cs typeface="ArialMT"/>
                        </a:rPr>
                        <a:t>High risk (3</a:t>
                      </a:r>
                      <a:r>
                        <a:rPr lang="en-US" sz="1200" b="0" strike="noStrike" dirty="0">
                          <a:solidFill>
                            <a:srgbClr val="595454"/>
                          </a:solidFill>
                          <a:latin typeface="Trebuchet MS" panose="020B0603020202020204" pitchFamily="34" charset="0"/>
                          <a:ea typeface="MS Mincho"/>
                          <a:cs typeface="Arial" panose="020B0604020202020204" pitchFamily="34" charset="0"/>
                        </a:rPr>
                        <a:t>—</a:t>
                      </a:r>
                      <a:r>
                        <a:rPr lang="en-US" sz="1200" b="0" strike="noStrike" dirty="0">
                          <a:solidFill>
                            <a:srgbClr val="595454"/>
                          </a:solidFill>
                          <a:latin typeface="Trebuchet MS" panose="020B0603020202020204" pitchFamily="34" charset="0"/>
                          <a:ea typeface="MS Mincho"/>
                          <a:cs typeface="ArialMT"/>
                        </a:rPr>
                        <a:t>5)    </a:t>
                      </a:r>
                    </a:p>
                  </a:txBody>
                  <a:tcPr marL="121920" marR="12192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marR="0" algn="ctr">
                        <a:lnSpc>
                          <a:spcPts val="800"/>
                        </a:lnSpc>
                        <a:spcBef>
                          <a:spcPts val="0"/>
                        </a:spcBef>
                        <a:spcAft>
                          <a:spcPts val="0"/>
                        </a:spcAft>
                      </a:pPr>
                      <a:r>
                        <a:rPr lang="en-US" sz="1200" strike="noStrike" dirty="0">
                          <a:solidFill>
                            <a:srgbClr val="595454"/>
                          </a:solidFill>
                          <a:effectLst/>
                          <a:latin typeface="Trebuchet MS" panose="020B0603020202020204" pitchFamily="34" charset="0"/>
                          <a:ea typeface="Times New Roman" panose="02020603050405020304" pitchFamily="18" charset="0"/>
                          <a:cs typeface="Arial" panose="020B0604020202020204" pitchFamily="34" charset="0"/>
                        </a:rPr>
                        <a:t>8 (35)</a:t>
                      </a:r>
                      <a:endParaRPr lang="en-US" sz="1200" strike="noStrike" dirty="0">
                        <a:solidFill>
                          <a:srgbClr val="595454"/>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68580" marR="68580" marT="0" marB="0">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marR="0" algn="ctr">
                        <a:lnSpc>
                          <a:spcPts val="800"/>
                        </a:lnSpc>
                        <a:spcBef>
                          <a:spcPts val="0"/>
                        </a:spcBef>
                        <a:spcAft>
                          <a:spcPts val="0"/>
                        </a:spcAft>
                      </a:pPr>
                      <a:r>
                        <a:rPr lang="en-US" sz="1200" strike="noStrike" dirty="0">
                          <a:solidFill>
                            <a:srgbClr val="595454"/>
                          </a:solidFill>
                          <a:effectLst/>
                          <a:latin typeface="Trebuchet MS" panose="020B0603020202020204" pitchFamily="34" charset="0"/>
                          <a:ea typeface="Calibri" panose="020F0502020204030204" pitchFamily="34" charset="0"/>
                          <a:cs typeface="Times New Roman" panose="02020603050405020304" pitchFamily="18" charset="0"/>
                        </a:rPr>
                        <a:t>61 (57)</a:t>
                      </a:r>
                    </a:p>
                  </a:txBody>
                  <a:tcPr marL="68580" marR="68580" marT="0" marB="0">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4004962"/>
                  </a:ext>
                </a:extLst>
              </a:tr>
              <a:tr h="217952">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indent="0">
                        <a:lnSpc>
                          <a:spcPts val="800"/>
                        </a:lnSpc>
                        <a:spcBef>
                          <a:spcPts val="0"/>
                        </a:spcBef>
                        <a:spcAft>
                          <a:spcPts val="200"/>
                        </a:spcAft>
                        <a:tabLst/>
                      </a:pPr>
                      <a:r>
                        <a:rPr lang="en-US" sz="1200" b="1" strike="noStrike" dirty="0">
                          <a:solidFill>
                            <a:srgbClr val="595454"/>
                          </a:solidFill>
                          <a:latin typeface="Trebuchet MS" panose="020B0603020202020204" pitchFamily="34" charset="0"/>
                          <a:ea typeface="MS Mincho"/>
                          <a:cs typeface="ArialMT"/>
                        </a:rPr>
                        <a:t>LDH &gt; ULN before lymphodepletion, n (%)</a:t>
                      </a:r>
                    </a:p>
                  </a:txBody>
                  <a:tcPr marL="121920" marR="12192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marR="0" algn="ctr">
                        <a:lnSpc>
                          <a:spcPts val="800"/>
                        </a:lnSpc>
                        <a:spcBef>
                          <a:spcPts val="0"/>
                        </a:spcBef>
                        <a:spcAft>
                          <a:spcPts val="0"/>
                        </a:spcAft>
                      </a:pPr>
                      <a:r>
                        <a:rPr lang="en-US" sz="1200" b="0" dirty="0">
                          <a:solidFill>
                            <a:srgbClr val="595454"/>
                          </a:solidFill>
                          <a:effectLst/>
                          <a:latin typeface="Trebuchet MS" panose="020B0603020202020204" pitchFamily="34" charset="0"/>
                          <a:ea typeface="Times New Roman"/>
                          <a:cs typeface="Palatino Linotype"/>
                        </a:rPr>
                        <a:t>6 (26)</a:t>
                      </a:r>
                    </a:p>
                  </a:txBody>
                  <a:tcPr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marR="0" algn="ctr">
                        <a:lnSpc>
                          <a:spcPts val="800"/>
                        </a:lnSpc>
                        <a:spcBef>
                          <a:spcPts val="0"/>
                        </a:spcBef>
                        <a:spcAft>
                          <a:spcPts val="0"/>
                        </a:spcAft>
                      </a:pPr>
                      <a:r>
                        <a:rPr lang="en-US" sz="1200" b="0" dirty="0">
                          <a:solidFill>
                            <a:srgbClr val="595454"/>
                          </a:solidFill>
                          <a:effectLst/>
                          <a:latin typeface="Trebuchet MS" panose="020B0603020202020204" pitchFamily="34" charset="0"/>
                          <a:ea typeface="Times New Roman"/>
                          <a:cs typeface="Palatino Linotype"/>
                        </a:rPr>
                        <a:t>47 (44)</a:t>
                      </a:r>
                    </a:p>
                  </a:txBody>
                  <a:tcPr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844023136"/>
                  </a:ext>
                </a:extLst>
              </a:tr>
              <a:tr h="217952">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indent="0">
                        <a:lnSpc>
                          <a:spcPts val="800"/>
                        </a:lnSpc>
                        <a:spcBef>
                          <a:spcPts val="0"/>
                        </a:spcBef>
                        <a:spcAft>
                          <a:spcPts val="200"/>
                        </a:spcAft>
                        <a:tabLst/>
                      </a:pPr>
                      <a:r>
                        <a:rPr lang="en-US" sz="1200" b="1" dirty="0">
                          <a:solidFill>
                            <a:srgbClr val="595454"/>
                          </a:solidFill>
                          <a:latin typeface="Trebuchet MS" panose="020B0603020202020204" pitchFamily="34" charset="0"/>
                          <a:ea typeface="MS Mincho"/>
                          <a:cs typeface="ArialMT"/>
                        </a:rPr>
                        <a:t>Met mGELF criteria at most recent relapse, n (%)</a:t>
                      </a:r>
                    </a:p>
                  </a:txBody>
                  <a:tcPr marL="121920" marR="12192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marR="0" algn="ctr">
                        <a:lnSpc>
                          <a:spcPts val="800"/>
                        </a:lnSpc>
                        <a:spcBef>
                          <a:spcPts val="0"/>
                        </a:spcBef>
                        <a:spcAft>
                          <a:spcPts val="0"/>
                        </a:spcAft>
                      </a:pPr>
                      <a:r>
                        <a:rPr lang="en-US" sz="1200" b="0" dirty="0">
                          <a:solidFill>
                            <a:srgbClr val="595454"/>
                          </a:solidFill>
                          <a:effectLst/>
                          <a:latin typeface="Trebuchet MS" panose="020B0603020202020204" pitchFamily="34" charset="0"/>
                          <a:ea typeface="Times New Roman"/>
                          <a:cs typeface="Palatino Linotype"/>
                        </a:rPr>
                        <a:t>16 (70)</a:t>
                      </a:r>
                    </a:p>
                  </a:txBody>
                  <a:tcPr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marR="0" algn="ctr">
                        <a:lnSpc>
                          <a:spcPts val="800"/>
                        </a:lnSpc>
                        <a:spcBef>
                          <a:spcPts val="0"/>
                        </a:spcBef>
                        <a:spcAft>
                          <a:spcPts val="0"/>
                        </a:spcAft>
                      </a:pPr>
                      <a:r>
                        <a:rPr lang="en-US" sz="1200" b="0" dirty="0">
                          <a:solidFill>
                            <a:srgbClr val="595454"/>
                          </a:solidFill>
                          <a:effectLst/>
                          <a:latin typeface="Trebuchet MS" panose="020B0603020202020204" pitchFamily="34" charset="0"/>
                          <a:ea typeface="Times New Roman"/>
                          <a:cs typeface="Palatino Linotype"/>
                        </a:rPr>
                        <a:t>57 (53)</a:t>
                      </a:r>
                    </a:p>
                  </a:txBody>
                  <a:tcPr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43389750"/>
                  </a:ext>
                </a:extLst>
              </a:tr>
              <a:tr h="169458">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457200" indent="-230188">
                        <a:lnSpc>
                          <a:spcPts val="800"/>
                        </a:lnSpc>
                        <a:spcBef>
                          <a:spcPts val="0"/>
                        </a:spcBef>
                        <a:spcAft>
                          <a:spcPts val="200"/>
                        </a:spcAft>
                        <a:tabLst/>
                      </a:pPr>
                      <a:r>
                        <a:rPr lang="en-US" sz="1200" b="0" dirty="0">
                          <a:solidFill>
                            <a:srgbClr val="595454"/>
                          </a:solidFill>
                          <a:latin typeface="Trebuchet MS" panose="020B0603020202020204" pitchFamily="34" charset="0"/>
                          <a:ea typeface="MS Mincho"/>
                          <a:cs typeface="ArialMT"/>
                        </a:rPr>
                        <a:t>Symptoms attributable to FL </a:t>
                      </a:r>
                    </a:p>
                  </a:txBody>
                  <a:tcPr marL="121920" marR="12192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marR="0" algn="ctr">
                        <a:lnSpc>
                          <a:spcPts val="800"/>
                        </a:lnSpc>
                        <a:spcBef>
                          <a:spcPts val="0"/>
                        </a:spcBef>
                        <a:spcAft>
                          <a:spcPts val="0"/>
                        </a:spcAft>
                      </a:pPr>
                      <a:r>
                        <a:rPr lang="en-US" sz="1200" b="0" dirty="0">
                          <a:solidFill>
                            <a:srgbClr val="595454"/>
                          </a:solidFill>
                          <a:effectLst/>
                          <a:latin typeface="Trebuchet MS" panose="020B0603020202020204" pitchFamily="34" charset="0"/>
                          <a:ea typeface="Times New Roman"/>
                          <a:cs typeface="Palatino Linotype"/>
                        </a:rPr>
                        <a:t>6 (26)</a:t>
                      </a:r>
                    </a:p>
                  </a:txBody>
                  <a:tcPr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marR="0" algn="ctr">
                        <a:lnSpc>
                          <a:spcPts val="800"/>
                        </a:lnSpc>
                        <a:spcBef>
                          <a:spcPts val="0"/>
                        </a:spcBef>
                        <a:spcAft>
                          <a:spcPts val="0"/>
                        </a:spcAft>
                      </a:pPr>
                      <a:r>
                        <a:rPr lang="en-US" sz="1200" b="0" dirty="0">
                          <a:solidFill>
                            <a:srgbClr val="595454"/>
                          </a:solidFill>
                          <a:effectLst/>
                          <a:latin typeface="Trebuchet MS" panose="020B0603020202020204" pitchFamily="34" charset="0"/>
                          <a:ea typeface="Times New Roman"/>
                          <a:cs typeface="Palatino Linotype"/>
                        </a:rPr>
                        <a:t>13 (12)</a:t>
                      </a:r>
                    </a:p>
                  </a:txBody>
                  <a:tcPr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85913391"/>
                  </a:ext>
                </a:extLst>
              </a:tr>
              <a:tr h="149902">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230188" marR="0" lvl="0" indent="-3175" algn="l" defTabSz="1219170" rtl="0" eaLnBrk="1" fontAlgn="auto" latinLnBrk="0" hangingPunct="1">
                        <a:lnSpc>
                          <a:spcPts val="800"/>
                        </a:lnSpc>
                        <a:spcBef>
                          <a:spcPts val="0"/>
                        </a:spcBef>
                        <a:spcAft>
                          <a:spcPts val="200"/>
                        </a:spcAft>
                        <a:buClrTx/>
                        <a:buSzTx/>
                        <a:buFontTx/>
                        <a:buNone/>
                        <a:tabLst/>
                        <a:defRPr/>
                      </a:pPr>
                      <a:r>
                        <a:rPr lang="en-US" sz="1200" b="0" baseline="0" dirty="0">
                          <a:solidFill>
                            <a:srgbClr val="595454"/>
                          </a:solidFill>
                          <a:latin typeface="Trebuchet MS" panose="020B0603020202020204" pitchFamily="34" charset="0"/>
                          <a:ea typeface="MS Mincho"/>
                          <a:cs typeface="ArialMT"/>
                        </a:rPr>
                        <a:t>Threatened end-organ function/cytopenia </a:t>
                      </a:r>
                      <a:r>
                        <a:rPr lang="en-US" sz="1200" b="0" baseline="0" dirty="0">
                          <a:solidFill>
                            <a:srgbClr val="595454"/>
                          </a:solidFill>
                          <a:effectLst/>
                          <a:latin typeface="Trebuchet MS" panose="020B0603020202020204" pitchFamily="34" charset="0"/>
                          <a:ea typeface="Times New Roman"/>
                          <a:cs typeface="Palatino Linotype"/>
                        </a:rPr>
                        <a:t>secondary to lymphoma/bulky disease</a:t>
                      </a:r>
                      <a:r>
                        <a:rPr lang="en-US" sz="1200" b="0" baseline="0" dirty="0">
                          <a:solidFill>
                            <a:srgbClr val="595454"/>
                          </a:solidFill>
                          <a:latin typeface="Trebuchet MS" panose="020B0603020202020204" pitchFamily="34" charset="0"/>
                          <a:ea typeface="MS Mincho"/>
                          <a:cs typeface="ArialMT"/>
                        </a:rPr>
                        <a:t> </a:t>
                      </a:r>
                    </a:p>
                  </a:txBody>
                  <a:tcPr marL="121920" marR="12192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marR="0" algn="ctr">
                        <a:lnSpc>
                          <a:spcPts val="800"/>
                        </a:lnSpc>
                        <a:spcBef>
                          <a:spcPts val="0"/>
                        </a:spcBef>
                        <a:spcAft>
                          <a:spcPts val="0"/>
                        </a:spcAft>
                      </a:pPr>
                      <a:r>
                        <a:rPr lang="en-US" sz="1200" b="0" dirty="0">
                          <a:solidFill>
                            <a:srgbClr val="595454"/>
                          </a:solidFill>
                          <a:effectLst/>
                          <a:latin typeface="Trebuchet MS" panose="020B0603020202020204" pitchFamily="34" charset="0"/>
                          <a:ea typeface="Times New Roman"/>
                          <a:cs typeface="Palatino Linotype"/>
                        </a:rPr>
                        <a:t>7 (30)</a:t>
                      </a:r>
                    </a:p>
                  </a:txBody>
                  <a:tcPr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marR="0" algn="ctr">
                        <a:lnSpc>
                          <a:spcPts val="800"/>
                        </a:lnSpc>
                        <a:spcBef>
                          <a:spcPts val="0"/>
                        </a:spcBef>
                        <a:spcAft>
                          <a:spcPts val="0"/>
                        </a:spcAft>
                      </a:pPr>
                      <a:r>
                        <a:rPr lang="en-US" sz="1200" b="0" dirty="0">
                          <a:solidFill>
                            <a:srgbClr val="595454"/>
                          </a:solidFill>
                          <a:effectLst/>
                          <a:latin typeface="Trebuchet MS" panose="020B0603020202020204" pitchFamily="34" charset="0"/>
                          <a:ea typeface="Times New Roman"/>
                          <a:cs typeface="Palatino Linotype"/>
                        </a:rPr>
                        <a:t>24 (22)</a:t>
                      </a:r>
                    </a:p>
                  </a:txBody>
                  <a:tcPr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64990684"/>
                  </a:ext>
                </a:extLst>
              </a:tr>
              <a:tr h="169458">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457200" indent="-230188">
                        <a:lnSpc>
                          <a:spcPts val="800"/>
                        </a:lnSpc>
                        <a:spcBef>
                          <a:spcPts val="0"/>
                        </a:spcBef>
                        <a:spcAft>
                          <a:spcPts val="200"/>
                        </a:spcAft>
                        <a:tabLst/>
                      </a:pPr>
                      <a:r>
                        <a:rPr lang="en-US" sz="1200" b="0" dirty="0">
                          <a:solidFill>
                            <a:srgbClr val="595454"/>
                          </a:solidFill>
                          <a:latin typeface="Trebuchet MS" panose="020B0603020202020204" pitchFamily="34" charset="0"/>
                          <a:ea typeface="MS Mincho"/>
                          <a:cs typeface="ArialMT"/>
                        </a:rPr>
                        <a:t>Splenomegaly</a:t>
                      </a:r>
                    </a:p>
                  </a:txBody>
                  <a:tcPr marL="121920" marR="12192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marR="0" algn="ctr">
                        <a:lnSpc>
                          <a:spcPts val="800"/>
                        </a:lnSpc>
                        <a:spcBef>
                          <a:spcPts val="0"/>
                        </a:spcBef>
                        <a:spcAft>
                          <a:spcPts val="0"/>
                        </a:spcAft>
                      </a:pPr>
                      <a:r>
                        <a:rPr lang="en-US" sz="1200" b="0" dirty="0">
                          <a:solidFill>
                            <a:srgbClr val="595454"/>
                          </a:solidFill>
                          <a:effectLst/>
                          <a:latin typeface="Trebuchet MS" panose="020B0603020202020204" pitchFamily="34" charset="0"/>
                          <a:ea typeface="Times New Roman"/>
                          <a:cs typeface="Palatino Linotype"/>
                        </a:rPr>
                        <a:t>0</a:t>
                      </a:r>
                    </a:p>
                  </a:txBody>
                  <a:tcPr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marR="0" algn="ctr">
                        <a:lnSpc>
                          <a:spcPts val="800"/>
                        </a:lnSpc>
                        <a:spcBef>
                          <a:spcPts val="0"/>
                        </a:spcBef>
                        <a:spcAft>
                          <a:spcPts val="0"/>
                        </a:spcAft>
                      </a:pPr>
                      <a:r>
                        <a:rPr lang="en-US" sz="1200" b="0" dirty="0">
                          <a:solidFill>
                            <a:srgbClr val="595454"/>
                          </a:solidFill>
                          <a:effectLst/>
                          <a:latin typeface="Trebuchet MS" panose="020B0603020202020204" pitchFamily="34" charset="0"/>
                          <a:ea typeface="Times New Roman"/>
                          <a:cs typeface="Palatino Linotype"/>
                        </a:rPr>
                        <a:t>4 (4)</a:t>
                      </a:r>
                    </a:p>
                  </a:txBody>
                  <a:tcPr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01611211"/>
                  </a:ext>
                </a:extLst>
              </a:tr>
              <a:tr h="169458">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457200" indent="-230188">
                        <a:lnSpc>
                          <a:spcPts val="800"/>
                        </a:lnSpc>
                        <a:spcBef>
                          <a:spcPts val="0"/>
                        </a:spcBef>
                        <a:spcAft>
                          <a:spcPts val="200"/>
                        </a:spcAft>
                        <a:tabLst/>
                      </a:pPr>
                      <a:r>
                        <a:rPr lang="en-US" sz="1200" b="0" dirty="0">
                          <a:solidFill>
                            <a:srgbClr val="595454"/>
                          </a:solidFill>
                          <a:latin typeface="Trebuchet MS" panose="020B0603020202020204" pitchFamily="34" charset="0"/>
                          <a:ea typeface="MS Mincho"/>
                          <a:cs typeface="ArialMT"/>
                        </a:rPr>
                        <a:t>Steady progression over at least 6 months</a:t>
                      </a:r>
                    </a:p>
                  </a:txBody>
                  <a:tcPr marL="121920" marR="12192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marR="0" algn="ctr">
                        <a:lnSpc>
                          <a:spcPts val="800"/>
                        </a:lnSpc>
                        <a:spcBef>
                          <a:spcPts val="0"/>
                        </a:spcBef>
                        <a:spcAft>
                          <a:spcPts val="0"/>
                        </a:spcAft>
                      </a:pPr>
                      <a:r>
                        <a:rPr lang="en-US" sz="1200" b="0" dirty="0">
                          <a:solidFill>
                            <a:srgbClr val="595454"/>
                          </a:solidFill>
                          <a:effectLst/>
                          <a:latin typeface="Trebuchet MS" panose="020B0603020202020204" pitchFamily="34" charset="0"/>
                          <a:ea typeface="Times New Roman"/>
                          <a:cs typeface="Palatino Linotype"/>
                        </a:rPr>
                        <a:t>3 (13)</a:t>
                      </a:r>
                    </a:p>
                  </a:txBody>
                  <a:tcPr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marR="0" algn="ctr">
                        <a:lnSpc>
                          <a:spcPts val="800"/>
                        </a:lnSpc>
                        <a:spcBef>
                          <a:spcPts val="0"/>
                        </a:spcBef>
                        <a:spcAft>
                          <a:spcPts val="0"/>
                        </a:spcAft>
                      </a:pPr>
                      <a:r>
                        <a:rPr lang="en-US" sz="1200" b="0" dirty="0">
                          <a:solidFill>
                            <a:srgbClr val="595454"/>
                          </a:solidFill>
                          <a:effectLst/>
                          <a:latin typeface="Trebuchet MS" panose="020B0603020202020204" pitchFamily="34" charset="0"/>
                          <a:ea typeface="Times New Roman"/>
                          <a:cs typeface="Palatino Linotype"/>
                        </a:rPr>
                        <a:t>16 (15)</a:t>
                      </a:r>
                    </a:p>
                  </a:txBody>
                  <a:tcPr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33796115"/>
                  </a:ext>
                </a:extLst>
              </a:tr>
              <a:tr h="217952">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indent="0">
                        <a:lnSpc>
                          <a:spcPts val="800"/>
                        </a:lnSpc>
                        <a:spcBef>
                          <a:spcPts val="0"/>
                        </a:spcBef>
                        <a:spcAft>
                          <a:spcPts val="200"/>
                        </a:spcAft>
                        <a:tabLst/>
                      </a:pPr>
                      <a:r>
                        <a:rPr lang="en-US" sz="1200" b="1" strike="noStrike" dirty="0">
                          <a:solidFill>
                            <a:srgbClr val="595454"/>
                          </a:solidFill>
                          <a:latin typeface="Trebuchet MS" panose="020B0603020202020204" pitchFamily="34" charset="0"/>
                          <a:ea typeface="MS Mincho"/>
                          <a:cs typeface="ArialMT"/>
                        </a:rPr>
                        <a:t>Median (range) prior lines of systemic therapy</a:t>
                      </a:r>
                      <a:endParaRPr lang="en-US" sz="1200" b="1" strike="sngStrike" dirty="0">
                        <a:solidFill>
                          <a:srgbClr val="595454"/>
                        </a:solidFill>
                        <a:latin typeface="Trebuchet MS" panose="020B0603020202020204" pitchFamily="34" charset="0"/>
                        <a:ea typeface="MS Mincho"/>
                        <a:cs typeface="ArialMT"/>
                      </a:endParaRPr>
                    </a:p>
                  </a:txBody>
                  <a:tcPr marL="121920" marR="12192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marR="0" algn="ctr">
                        <a:lnSpc>
                          <a:spcPts val="800"/>
                        </a:lnSpc>
                        <a:spcBef>
                          <a:spcPts val="0"/>
                        </a:spcBef>
                        <a:spcAft>
                          <a:spcPts val="0"/>
                        </a:spcAft>
                      </a:pPr>
                      <a:r>
                        <a:rPr lang="en-US" sz="1200" b="0" dirty="0">
                          <a:solidFill>
                            <a:srgbClr val="595454"/>
                          </a:solidFill>
                          <a:effectLst/>
                          <a:latin typeface="Trebuchet MS" panose="020B0603020202020204" pitchFamily="34" charset="0"/>
                          <a:ea typeface="Times New Roman"/>
                          <a:cs typeface="Palatino Linotype"/>
                        </a:rPr>
                        <a:t>1 (1—1)</a:t>
                      </a:r>
                    </a:p>
                  </a:txBody>
                  <a:tcPr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marR="0" algn="ctr">
                        <a:lnSpc>
                          <a:spcPts val="800"/>
                        </a:lnSpc>
                        <a:spcBef>
                          <a:spcPts val="0"/>
                        </a:spcBef>
                        <a:spcAft>
                          <a:spcPts val="0"/>
                        </a:spcAft>
                      </a:pPr>
                      <a:r>
                        <a:rPr lang="en-US" sz="1200" b="0" dirty="0">
                          <a:solidFill>
                            <a:srgbClr val="595454"/>
                          </a:solidFill>
                          <a:effectLst/>
                          <a:latin typeface="Trebuchet MS" panose="020B0603020202020204" pitchFamily="34" charset="0"/>
                          <a:ea typeface="Times New Roman"/>
                          <a:cs typeface="Palatino Linotype"/>
                        </a:rPr>
                        <a:t>3 (2—10)</a:t>
                      </a:r>
                    </a:p>
                  </a:txBody>
                  <a:tcPr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0255054"/>
                  </a:ext>
                </a:extLst>
              </a:tr>
              <a:tr h="217952">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indent="0">
                        <a:lnSpc>
                          <a:spcPts val="800"/>
                        </a:lnSpc>
                        <a:spcBef>
                          <a:spcPts val="0"/>
                        </a:spcBef>
                        <a:spcAft>
                          <a:spcPts val="200"/>
                        </a:spcAft>
                        <a:tabLst/>
                      </a:pPr>
                      <a:r>
                        <a:rPr lang="en-US" sz="1200" b="1" dirty="0">
                          <a:solidFill>
                            <a:srgbClr val="595454"/>
                          </a:solidFill>
                          <a:latin typeface="Trebuchet MS" panose="020B0603020202020204" pitchFamily="34" charset="0"/>
                          <a:ea typeface="MS Mincho"/>
                          <a:cs typeface="ArialMT"/>
                        </a:rPr>
                        <a:t>Prior HSCT, n (%)</a:t>
                      </a:r>
                    </a:p>
                  </a:txBody>
                  <a:tcPr marL="121920" marR="12192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marR="0" algn="ctr">
                        <a:lnSpc>
                          <a:spcPts val="800"/>
                        </a:lnSpc>
                        <a:spcBef>
                          <a:spcPts val="0"/>
                        </a:spcBef>
                        <a:spcAft>
                          <a:spcPts val="0"/>
                        </a:spcAft>
                      </a:pPr>
                      <a:r>
                        <a:rPr lang="en-US" sz="1200" b="0" dirty="0">
                          <a:solidFill>
                            <a:srgbClr val="595454"/>
                          </a:solidFill>
                          <a:effectLst/>
                          <a:latin typeface="Trebuchet MS" panose="020B0603020202020204" pitchFamily="34" charset="0"/>
                          <a:ea typeface="Times New Roman"/>
                          <a:cs typeface="Palatino Linotype"/>
                        </a:rPr>
                        <a:t>0</a:t>
                      </a:r>
                    </a:p>
                  </a:txBody>
                  <a:tcPr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marR="0" algn="ctr">
                        <a:lnSpc>
                          <a:spcPts val="800"/>
                        </a:lnSpc>
                        <a:spcBef>
                          <a:spcPts val="0"/>
                        </a:spcBef>
                        <a:spcAft>
                          <a:spcPts val="0"/>
                        </a:spcAft>
                      </a:pPr>
                      <a:r>
                        <a:rPr lang="en-US" sz="1200" b="0" dirty="0">
                          <a:solidFill>
                            <a:srgbClr val="595454"/>
                          </a:solidFill>
                          <a:effectLst/>
                          <a:latin typeface="Trebuchet MS" panose="020B0603020202020204" pitchFamily="34" charset="0"/>
                          <a:ea typeface="Times New Roman"/>
                          <a:cs typeface="Palatino Linotype"/>
                        </a:rPr>
                        <a:t>33 (31)</a:t>
                      </a:r>
                    </a:p>
                  </a:txBody>
                  <a:tcPr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84255320"/>
                  </a:ext>
                </a:extLst>
              </a:tr>
              <a:tr h="217952">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indent="0">
                        <a:lnSpc>
                          <a:spcPts val="800"/>
                        </a:lnSpc>
                        <a:spcBef>
                          <a:spcPts val="0"/>
                        </a:spcBef>
                        <a:spcAft>
                          <a:spcPts val="200"/>
                        </a:spcAft>
                        <a:tabLst/>
                      </a:pPr>
                      <a:r>
                        <a:rPr lang="en-US" sz="1200" b="1" dirty="0">
                          <a:solidFill>
                            <a:srgbClr val="595454"/>
                          </a:solidFill>
                          <a:latin typeface="Trebuchet MS" panose="020B0603020202020204" pitchFamily="34" charset="0"/>
                          <a:ea typeface="MS Mincho"/>
                          <a:cs typeface="ArialMT"/>
                        </a:rPr>
                        <a:t>Received prior rituximab and lenalidomide, n (%)</a:t>
                      </a:r>
                    </a:p>
                  </a:txBody>
                  <a:tcPr marL="121920" marR="12192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marR="0" algn="ctr">
                        <a:lnSpc>
                          <a:spcPts val="800"/>
                        </a:lnSpc>
                        <a:spcBef>
                          <a:spcPts val="0"/>
                        </a:spcBef>
                        <a:spcAft>
                          <a:spcPts val="0"/>
                        </a:spcAft>
                      </a:pPr>
                      <a:r>
                        <a:rPr lang="en-US" sz="1200" b="0" dirty="0">
                          <a:solidFill>
                            <a:srgbClr val="595454"/>
                          </a:solidFill>
                          <a:effectLst/>
                          <a:latin typeface="Trebuchet MS" panose="020B0603020202020204" pitchFamily="34" charset="0"/>
                          <a:ea typeface="Times New Roman"/>
                          <a:cs typeface="Palatino Linotype"/>
                        </a:rPr>
                        <a:t>0</a:t>
                      </a:r>
                    </a:p>
                  </a:txBody>
                  <a:tcPr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marR="0" algn="ctr">
                        <a:lnSpc>
                          <a:spcPts val="800"/>
                        </a:lnSpc>
                        <a:spcBef>
                          <a:spcPts val="0"/>
                        </a:spcBef>
                        <a:spcAft>
                          <a:spcPts val="0"/>
                        </a:spcAft>
                      </a:pPr>
                      <a:r>
                        <a:rPr lang="en-US" sz="1200" b="0" dirty="0">
                          <a:solidFill>
                            <a:srgbClr val="595454"/>
                          </a:solidFill>
                          <a:effectLst/>
                          <a:latin typeface="Trebuchet MS" panose="020B0603020202020204" pitchFamily="34" charset="0"/>
                          <a:ea typeface="Times New Roman"/>
                          <a:cs typeface="Palatino Linotype"/>
                        </a:rPr>
                        <a:t>23 (21)</a:t>
                      </a:r>
                    </a:p>
                  </a:txBody>
                  <a:tcPr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70642120"/>
                  </a:ext>
                </a:extLst>
              </a:tr>
              <a:tr h="217952">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indent="0">
                        <a:lnSpc>
                          <a:spcPts val="800"/>
                        </a:lnSpc>
                        <a:spcBef>
                          <a:spcPts val="0"/>
                        </a:spcBef>
                        <a:spcAft>
                          <a:spcPts val="200"/>
                        </a:spcAft>
                        <a:tabLst/>
                      </a:pPr>
                      <a:r>
                        <a:rPr lang="en-US" sz="1200" b="1" dirty="0">
                          <a:solidFill>
                            <a:srgbClr val="595454"/>
                          </a:solidFill>
                          <a:latin typeface="Trebuchet MS" panose="020B0603020202020204" pitchFamily="34" charset="0"/>
                          <a:ea typeface="MS Mincho"/>
                          <a:cs typeface="ArialMT"/>
                        </a:rPr>
                        <a:t>Refractory to last systemic </a:t>
                      </a:r>
                      <a:r>
                        <a:rPr lang="en-US" sz="1200" b="1" dirty="0" err="1">
                          <a:solidFill>
                            <a:srgbClr val="595454"/>
                          </a:solidFill>
                          <a:latin typeface="Trebuchet MS" panose="020B0603020202020204" pitchFamily="34" charset="0"/>
                          <a:ea typeface="MS Mincho"/>
                          <a:cs typeface="ArialMT"/>
                        </a:rPr>
                        <a:t>therapy,</a:t>
                      </a:r>
                      <a:r>
                        <a:rPr lang="en-US" sz="1200" b="1" baseline="30000" dirty="0" err="1">
                          <a:solidFill>
                            <a:srgbClr val="595454"/>
                          </a:solidFill>
                          <a:latin typeface="Trebuchet MS" panose="020B0603020202020204" pitchFamily="34" charset="0"/>
                          <a:ea typeface="MS Mincho"/>
                          <a:cs typeface="ArialMT"/>
                        </a:rPr>
                        <a:t>b</a:t>
                      </a:r>
                      <a:r>
                        <a:rPr lang="en-US" sz="1200" b="1" dirty="0">
                          <a:solidFill>
                            <a:srgbClr val="595454"/>
                          </a:solidFill>
                          <a:latin typeface="Trebuchet MS" panose="020B0603020202020204" pitchFamily="34" charset="0"/>
                          <a:ea typeface="MS Mincho"/>
                          <a:cs typeface="ArialMT"/>
                        </a:rPr>
                        <a:t> n (%)</a:t>
                      </a:r>
                    </a:p>
                  </a:txBody>
                  <a:tcPr marL="121920" marR="12192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D9D9D9"/>
                      </a:solidFill>
                      <a:prstDash val="solid"/>
                      <a:round/>
                      <a:headEnd type="none" w="med" len="med"/>
                      <a:tailEnd type="none" w="med" len="med"/>
                    </a:lnT>
                    <a:lnB w="28575" cap="flat" cmpd="sng" algn="ctr">
                      <a:solidFill>
                        <a:srgbClr val="BE2BBB"/>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marR="0" algn="ctr">
                        <a:lnSpc>
                          <a:spcPts val="800"/>
                        </a:lnSpc>
                        <a:spcBef>
                          <a:spcPts val="0"/>
                        </a:spcBef>
                        <a:spcAft>
                          <a:spcPts val="0"/>
                        </a:spcAft>
                      </a:pPr>
                      <a:r>
                        <a:rPr lang="en-US" sz="1200" b="0" dirty="0">
                          <a:solidFill>
                            <a:srgbClr val="595454"/>
                          </a:solidFill>
                          <a:effectLst/>
                          <a:latin typeface="Trebuchet MS" panose="020B0603020202020204" pitchFamily="34" charset="0"/>
                          <a:ea typeface="Times New Roman"/>
                          <a:cs typeface="Palatino Linotype"/>
                        </a:rPr>
                        <a:t>15 (65)</a:t>
                      </a:r>
                    </a:p>
                  </a:txBody>
                  <a:tcPr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D9D9D9"/>
                      </a:solidFill>
                      <a:prstDash val="solid"/>
                      <a:round/>
                      <a:headEnd type="none" w="med" len="med"/>
                      <a:tailEnd type="none" w="med" len="med"/>
                    </a:lnT>
                    <a:lnB w="28575" cap="flat" cmpd="sng" algn="ctr">
                      <a:solidFill>
                        <a:srgbClr val="BE2BBB"/>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marR="0" algn="ctr">
                        <a:lnSpc>
                          <a:spcPts val="800"/>
                        </a:lnSpc>
                        <a:spcBef>
                          <a:spcPts val="0"/>
                        </a:spcBef>
                        <a:spcAft>
                          <a:spcPts val="0"/>
                        </a:spcAft>
                      </a:pPr>
                      <a:r>
                        <a:rPr lang="en-US" sz="1200" b="0" dirty="0">
                          <a:solidFill>
                            <a:srgbClr val="595454"/>
                          </a:solidFill>
                          <a:effectLst/>
                          <a:latin typeface="Trebuchet MS" panose="020B0603020202020204" pitchFamily="34" charset="0"/>
                          <a:ea typeface="Times New Roman"/>
                          <a:cs typeface="Palatino Linotype"/>
                        </a:rPr>
                        <a:t>72 (67)</a:t>
                      </a:r>
                    </a:p>
                  </a:txBody>
                  <a:tcPr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D9D9D9"/>
                      </a:solidFill>
                      <a:prstDash val="solid"/>
                      <a:round/>
                      <a:headEnd type="none" w="med" len="med"/>
                      <a:tailEnd type="none" w="med" len="med"/>
                    </a:lnT>
                    <a:lnB w="28575" cap="flat" cmpd="sng" algn="ctr">
                      <a:solidFill>
                        <a:srgbClr val="BE2BBB"/>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29162560"/>
                  </a:ext>
                </a:extLst>
              </a:tr>
              <a:tr h="332786">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indent="0">
                        <a:lnSpc>
                          <a:spcPts val="800"/>
                        </a:lnSpc>
                        <a:spcBef>
                          <a:spcPts val="0"/>
                        </a:spcBef>
                        <a:spcAft>
                          <a:spcPts val="200"/>
                        </a:spcAft>
                        <a:tabLst/>
                      </a:pPr>
                      <a:r>
                        <a:rPr lang="en-US" sz="1200" b="1" dirty="0">
                          <a:solidFill>
                            <a:srgbClr val="595454"/>
                          </a:solidFill>
                          <a:latin typeface="Trebuchet MS" panose="020B0603020202020204" pitchFamily="34" charset="0"/>
                          <a:ea typeface="MS Mincho"/>
                          <a:cs typeface="ArialMT"/>
                        </a:rPr>
                        <a:t>Double refractory (anti-CD20 and alkylator),</a:t>
                      </a:r>
                      <a:r>
                        <a:rPr lang="en-US" sz="1200" b="1" baseline="30000" dirty="0">
                          <a:solidFill>
                            <a:srgbClr val="595454"/>
                          </a:solidFill>
                          <a:latin typeface="Trebuchet MS" panose="020B0603020202020204" pitchFamily="34" charset="0"/>
                          <a:ea typeface="MS Mincho"/>
                          <a:cs typeface="ArialMT"/>
                        </a:rPr>
                        <a:t>c</a:t>
                      </a:r>
                      <a:r>
                        <a:rPr lang="en-US" sz="1200" b="1" dirty="0">
                          <a:solidFill>
                            <a:srgbClr val="595454"/>
                          </a:solidFill>
                          <a:latin typeface="Trebuchet MS" panose="020B0603020202020204" pitchFamily="34" charset="0"/>
                          <a:ea typeface="MS Mincho"/>
                          <a:cs typeface="ArialMT"/>
                        </a:rPr>
                        <a:t> n (%)</a:t>
                      </a:r>
                    </a:p>
                  </a:txBody>
                  <a:tcPr marL="121920" marR="121920" anchor="ctr">
                    <a:lnL w="28575" cap="flat" cmpd="sng" algn="ctr">
                      <a:solidFill>
                        <a:srgbClr val="BE2BBB"/>
                      </a:solidFill>
                      <a:prstDash val="solid"/>
                      <a:round/>
                      <a:headEnd type="none" w="med" len="med"/>
                      <a:tailEnd type="none" w="med" len="med"/>
                    </a:lnL>
                    <a:lnR w="6350" cap="flat" cmpd="sng" algn="ctr">
                      <a:noFill/>
                      <a:prstDash val="solid"/>
                      <a:round/>
                      <a:headEnd type="none" w="med" len="med"/>
                      <a:tailEnd type="none" w="med" len="med"/>
                    </a:lnR>
                    <a:lnT w="28575" cap="flat" cmpd="sng" algn="ctr">
                      <a:solidFill>
                        <a:srgbClr val="BE2BBB"/>
                      </a:solidFill>
                      <a:prstDash val="solid"/>
                      <a:round/>
                      <a:headEnd type="none" w="med" len="med"/>
                      <a:tailEnd type="none" w="med" len="med"/>
                    </a:lnT>
                    <a:lnB w="63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marR="0" algn="ctr">
                        <a:lnSpc>
                          <a:spcPts val="800"/>
                        </a:lnSpc>
                        <a:spcBef>
                          <a:spcPts val="0"/>
                        </a:spcBef>
                        <a:spcAft>
                          <a:spcPts val="0"/>
                        </a:spcAft>
                      </a:pPr>
                      <a:r>
                        <a:rPr lang="en-US" sz="1200" b="0" dirty="0">
                          <a:solidFill>
                            <a:srgbClr val="595454"/>
                          </a:solidFill>
                          <a:effectLst/>
                          <a:latin typeface="Trebuchet MS" panose="020B0603020202020204" pitchFamily="34" charset="0"/>
                          <a:ea typeface="Times New Roman"/>
                          <a:cs typeface="Palatino Linotype"/>
                        </a:rPr>
                        <a:t>11 (48)</a:t>
                      </a:r>
                    </a:p>
                  </a:txBody>
                  <a:tcPr marT="0" marB="0" anchor="ctr">
                    <a:lnL w="635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BE2BBB"/>
                      </a:solidFill>
                      <a:prstDash val="solid"/>
                      <a:round/>
                      <a:headEnd type="none" w="med" len="med"/>
                      <a:tailEnd type="none" w="med" len="med"/>
                    </a:lnT>
                    <a:lnB w="63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marR="0" algn="ctr">
                        <a:lnSpc>
                          <a:spcPts val="800"/>
                        </a:lnSpc>
                        <a:spcBef>
                          <a:spcPts val="0"/>
                        </a:spcBef>
                        <a:spcAft>
                          <a:spcPts val="0"/>
                        </a:spcAft>
                      </a:pPr>
                      <a:r>
                        <a:rPr lang="en-US" sz="1200" b="0" dirty="0">
                          <a:solidFill>
                            <a:srgbClr val="595454"/>
                          </a:solidFill>
                          <a:effectLst/>
                          <a:latin typeface="Trebuchet MS" panose="020B0603020202020204" pitchFamily="34" charset="0"/>
                          <a:ea typeface="Times New Roman"/>
                          <a:cs typeface="Palatino Linotype"/>
                        </a:rPr>
                        <a:t>69 (64)</a:t>
                      </a:r>
                    </a:p>
                  </a:txBody>
                  <a:tcPr marT="0" marB="0" anchor="ctr">
                    <a:lnL w="6350" cap="flat" cmpd="sng" algn="ctr">
                      <a:noFill/>
                      <a:prstDash val="solid"/>
                      <a:round/>
                      <a:headEnd type="none" w="med" len="med"/>
                      <a:tailEnd type="none" w="med" len="med"/>
                    </a:lnL>
                    <a:lnR w="28575" cap="flat" cmpd="sng" algn="ctr">
                      <a:solidFill>
                        <a:srgbClr val="BE2BBB"/>
                      </a:solidFill>
                      <a:prstDash val="solid"/>
                      <a:round/>
                      <a:headEnd type="none" w="med" len="med"/>
                      <a:tailEnd type="none" w="med" len="med"/>
                    </a:lnR>
                    <a:lnT w="28575" cap="flat" cmpd="sng" algn="ctr">
                      <a:solidFill>
                        <a:srgbClr val="BE2BBB"/>
                      </a:solidFill>
                      <a:prstDash val="solid"/>
                      <a:round/>
                      <a:headEnd type="none" w="med" len="med"/>
                      <a:tailEnd type="none" w="med" len="med"/>
                    </a:lnT>
                    <a:lnB w="63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62492373"/>
                  </a:ext>
                </a:extLst>
              </a:tr>
              <a:tr h="217952">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indent="0">
                        <a:lnSpc>
                          <a:spcPts val="800"/>
                        </a:lnSpc>
                        <a:spcBef>
                          <a:spcPts val="0"/>
                        </a:spcBef>
                        <a:spcAft>
                          <a:spcPts val="200"/>
                        </a:spcAft>
                        <a:tabLst/>
                      </a:pPr>
                      <a:r>
                        <a:rPr lang="en-US" sz="1200" b="1" dirty="0">
                          <a:solidFill>
                            <a:srgbClr val="595454"/>
                          </a:solidFill>
                          <a:latin typeface="Trebuchet MS" panose="020B0603020202020204" pitchFamily="34" charset="0"/>
                          <a:ea typeface="MS Mincho"/>
                          <a:cs typeface="ArialMT"/>
                        </a:rPr>
                        <a:t>POD24 from initial immunochemotherapy, n (%)</a:t>
                      </a:r>
                    </a:p>
                  </a:txBody>
                  <a:tcPr marL="121920" marR="121920" anchor="ctr">
                    <a:lnL w="28575" cap="flat" cmpd="sng" algn="ctr">
                      <a:solidFill>
                        <a:srgbClr val="BE2BBB"/>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marR="0" algn="ctr">
                        <a:lnSpc>
                          <a:spcPts val="800"/>
                        </a:lnSpc>
                        <a:spcBef>
                          <a:spcPts val="0"/>
                        </a:spcBef>
                        <a:spcAft>
                          <a:spcPts val="0"/>
                        </a:spcAft>
                      </a:pPr>
                      <a:r>
                        <a:rPr lang="en-US" sz="1200" b="0" dirty="0">
                          <a:solidFill>
                            <a:srgbClr val="595454"/>
                          </a:solidFill>
                          <a:effectLst/>
                          <a:latin typeface="Trebuchet MS" panose="020B0603020202020204" pitchFamily="34" charset="0"/>
                          <a:ea typeface="Times New Roman"/>
                          <a:cs typeface="Palatino Linotype"/>
                        </a:rPr>
                        <a:t>15 (65)</a:t>
                      </a:r>
                    </a:p>
                  </a:txBody>
                  <a:tcPr marT="0" marB="0" anchor="ctr">
                    <a:lnL w="635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marR="0" algn="ctr">
                        <a:lnSpc>
                          <a:spcPts val="800"/>
                        </a:lnSpc>
                        <a:spcBef>
                          <a:spcPts val="0"/>
                        </a:spcBef>
                        <a:spcAft>
                          <a:spcPts val="0"/>
                        </a:spcAft>
                      </a:pPr>
                      <a:r>
                        <a:rPr lang="en-US" sz="1200" b="0" dirty="0">
                          <a:solidFill>
                            <a:srgbClr val="595454"/>
                          </a:solidFill>
                          <a:effectLst/>
                          <a:latin typeface="Trebuchet MS" panose="020B0603020202020204" pitchFamily="34" charset="0"/>
                          <a:ea typeface="Times New Roman"/>
                          <a:cs typeface="Palatino Linotype"/>
                        </a:rPr>
                        <a:t>58 (54)</a:t>
                      </a:r>
                    </a:p>
                  </a:txBody>
                  <a:tcPr marT="0" marB="0" anchor="ctr">
                    <a:lnL w="6350" cap="flat" cmpd="sng" algn="ctr">
                      <a:noFill/>
                      <a:prstDash val="solid"/>
                      <a:round/>
                      <a:headEnd type="none" w="med" len="med"/>
                      <a:tailEnd type="none" w="med" len="med"/>
                    </a:lnL>
                    <a:lnR w="28575" cap="flat" cmpd="sng" algn="ctr">
                      <a:solidFill>
                        <a:srgbClr val="BE2BBB"/>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636915221"/>
                  </a:ext>
                </a:extLst>
              </a:tr>
              <a:tr h="217952">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indent="0">
                        <a:lnSpc>
                          <a:spcPts val="800"/>
                        </a:lnSpc>
                        <a:spcBef>
                          <a:spcPts val="0"/>
                        </a:spcBef>
                        <a:spcAft>
                          <a:spcPts val="200"/>
                        </a:spcAft>
                        <a:tabLst/>
                      </a:pPr>
                      <a:r>
                        <a:rPr lang="en-US" sz="1200" b="1" dirty="0">
                          <a:solidFill>
                            <a:srgbClr val="595454"/>
                          </a:solidFill>
                          <a:latin typeface="Trebuchet MS" panose="020B0603020202020204" pitchFamily="34" charset="0"/>
                          <a:ea typeface="MS Mincho"/>
                          <a:cs typeface="ArialMT"/>
                        </a:rPr>
                        <a:t>POD24 from diagnosis,</a:t>
                      </a:r>
                      <a:r>
                        <a:rPr lang="en-US" sz="1200" b="1" strike="noStrike" dirty="0">
                          <a:solidFill>
                            <a:srgbClr val="595454"/>
                          </a:solidFill>
                          <a:latin typeface="Trebuchet MS" panose="020B0603020202020204" pitchFamily="34" charset="0"/>
                          <a:ea typeface="MS Mincho"/>
                          <a:cs typeface="ArialMT"/>
                        </a:rPr>
                        <a:t> n </a:t>
                      </a:r>
                      <a:r>
                        <a:rPr lang="en-US" sz="1200" b="1" dirty="0">
                          <a:solidFill>
                            <a:srgbClr val="595454"/>
                          </a:solidFill>
                          <a:latin typeface="Trebuchet MS" panose="020B0603020202020204" pitchFamily="34" charset="0"/>
                          <a:ea typeface="MS Mincho"/>
                          <a:cs typeface="ArialMT"/>
                        </a:rPr>
                        <a:t>(%)</a:t>
                      </a:r>
                    </a:p>
                  </a:txBody>
                  <a:tcPr marL="121920" marR="121920" anchor="ctr">
                    <a:lnL w="28575" cap="flat" cmpd="sng" algn="ctr">
                      <a:solidFill>
                        <a:srgbClr val="BE2BBB"/>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D9D9D9"/>
                      </a:solidFill>
                      <a:prstDash val="solid"/>
                      <a:round/>
                      <a:headEnd type="none" w="med" len="med"/>
                      <a:tailEnd type="none" w="med" len="med"/>
                    </a:lnT>
                    <a:lnB w="28575" cap="flat" cmpd="sng" algn="ctr">
                      <a:solidFill>
                        <a:srgbClr val="BE2BBB"/>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marR="0" algn="ctr">
                        <a:lnSpc>
                          <a:spcPts val="800"/>
                        </a:lnSpc>
                        <a:spcBef>
                          <a:spcPts val="0"/>
                        </a:spcBef>
                        <a:spcAft>
                          <a:spcPts val="0"/>
                        </a:spcAft>
                      </a:pPr>
                      <a:r>
                        <a:rPr lang="en-US" sz="1200" b="0" dirty="0">
                          <a:solidFill>
                            <a:srgbClr val="595454"/>
                          </a:solidFill>
                          <a:effectLst/>
                          <a:latin typeface="Trebuchet MS" panose="020B0603020202020204" pitchFamily="34" charset="0"/>
                          <a:ea typeface="Times New Roman"/>
                          <a:cs typeface="Palatino Linotype"/>
                        </a:rPr>
                        <a:t>12 (52)</a:t>
                      </a:r>
                    </a:p>
                  </a:txBody>
                  <a:tcPr marT="0" marB="0" anchor="ctr">
                    <a:lnL w="635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D9D9D9"/>
                      </a:solidFill>
                      <a:prstDash val="solid"/>
                      <a:round/>
                      <a:headEnd type="none" w="med" len="med"/>
                      <a:tailEnd type="none" w="med" len="med"/>
                    </a:lnT>
                    <a:lnB w="28575" cap="flat" cmpd="sng" algn="ctr">
                      <a:solidFill>
                        <a:srgbClr val="BE2BBB"/>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marR="0" algn="ctr">
                        <a:lnSpc>
                          <a:spcPts val="800"/>
                        </a:lnSpc>
                        <a:spcBef>
                          <a:spcPts val="0"/>
                        </a:spcBef>
                        <a:spcAft>
                          <a:spcPts val="0"/>
                        </a:spcAft>
                      </a:pPr>
                      <a:r>
                        <a:rPr lang="en-US" sz="1200" b="0" dirty="0">
                          <a:solidFill>
                            <a:srgbClr val="595454"/>
                          </a:solidFill>
                          <a:effectLst/>
                          <a:latin typeface="Trebuchet MS" panose="020B0603020202020204" pitchFamily="34" charset="0"/>
                          <a:ea typeface="Times New Roman"/>
                          <a:cs typeface="Palatino Linotype"/>
                        </a:rPr>
                        <a:t>46 (43)</a:t>
                      </a:r>
                    </a:p>
                  </a:txBody>
                  <a:tcPr marT="0" marB="0" anchor="ctr">
                    <a:lnL w="6350" cap="flat" cmpd="sng" algn="ctr">
                      <a:noFill/>
                      <a:prstDash val="solid"/>
                      <a:round/>
                      <a:headEnd type="none" w="med" len="med"/>
                      <a:tailEnd type="none" w="med" len="med"/>
                    </a:lnL>
                    <a:lnR w="28575" cap="flat" cmpd="sng" algn="ctr">
                      <a:solidFill>
                        <a:srgbClr val="BE2BBB"/>
                      </a:solidFill>
                      <a:prstDash val="solid"/>
                      <a:round/>
                      <a:headEnd type="none" w="med" len="med"/>
                      <a:tailEnd type="none" w="med" len="med"/>
                    </a:lnR>
                    <a:lnT w="6350" cap="flat" cmpd="sng" algn="ctr">
                      <a:solidFill>
                        <a:srgbClr val="D9D9D9"/>
                      </a:solidFill>
                      <a:prstDash val="solid"/>
                      <a:round/>
                      <a:headEnd type="none" w="med" len="med"/>
                      <a:tailEnd type="none" w="med" len="med"/>
                    </a:lnT>
                    <a:lnB w="28575" cap="flat" cmpd="sng" algn="ctr">
                      <a:solidFill>
                        <a:srgbClr val="BE2BBB"/>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930864763"/>
                  </a:ext>
                </a:extLst>
              </a:tr>
              <a:tr h="217952">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indent="0">
                        <a:lnSpc>
                          <a:spcPts val="800"/>
                        </a:lnSpc>
                        <a:spcBef>
                          <a:spcPts val="0"/>
                        </a:spcBef>
                        <a:spcAft>
                          <a:spcPts val="200"/>
                        </a:spcAft>
                        <a:tabLst/>
                      </a:pPr>
                      <a:r>
                        <a:rPr lang="en-US" sz="1200" b="1" dirty="0">
                          <a:solidFill>
                            <a:srgbClr val="595454"/>
                          </a:solidFill>
                          <a:latin typeface="Trebuchet MS" panose="020B0603020202020204" pitchFamily="34" charset="0"/>
                          <a:ea typeface="MS Mincho"/>
                          <a:cs typeface="ArialMT"/>
                        </a:rPr>
                        <a:t>Received bridging therapy, n (%)</a:t>
                      </a:r>
                    </a:p>
                  </a:txBody>
                  <a:tcPr marL="121920" marR="12192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28575" cap="flat" cmpd="sng" algn="ctr">
                      <a:solidFill>
                        <a:srgbClr val="BE2BBB"/>
                      </a:solidFill>
                      <a:prstDash val="solid"/>
                      <a:round/>
                      <a:headEnd type="none" w="med" len="med"/>
                      <a:tailEnd type="none" w="med" len="med"/>
                    </a:lnT>
                    <a:lnB w="63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marR="0" lvl="0" indent="0" algn="ctr" defTabSz="1219170" rtl="0" eaLnBrk="1" fontAlgn="auto" latinLnBrk="0" hangingPunct="1">
                        <a:lnSpc>
                          <a:spcPts val="800"/>
                        </a:lnSpc>
                        <a:spcBef>
                          <a:spcPts val="0"/>
                        </a:spcBef>
                        <a:spcAft>
                          <a:spcPts val="0"/>
                        </a:spcAft>
                        <a:buClrTx/>
                        <a:buSzTx/>
                        <a:buFontTx/>
                        <a:buNone/>
                        <a:tabLst/>
                        <a:defRPr/>
                      </a:pPr>
                      <a:r>
                        <a:rPr lang="en-US" sz="1200" b="0" dirty="0">
                          <a:solidFill>
                            <a:srgbClr val="595454"/>
                          </a:solidFill>
                          <a:effectLst/>
                          <a:latin typeface="Trebuchet MS" panose="020B0603020202020204" pitchFamily="34" charset="0"/>
                          <a:ea typeface="Times New Roman"/>
                          <a:cs typeface="Palatino Linotype"/>
                        </a:rPr>
                        <a:t>5 (22)</a:t>
                      </a:r>
                    </a:p>
                  </a:txBody>
                  <a:tcPr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BE2BBB"/>
                      </a:solidFill>
                      <a:prstDash val="solid"/>
                      <a:round/>
                      <a:headEnd type="none" w="med" len="med"/>
                      <a:tailEnd type="none" w="med" len="med"/>
                    </a:lnT>
                    <a:lnB w="63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Trebuchet MS" panose="020B0603020202020204"/>
                        </a:defRPr>
                      </a:lvl1pPr>
                      <a:lvl2pPr marL="457200" algn="l" defTabSz="914400" rtl="0" eaLnBrk="1" latinLnBrk="0" hangingPunct="1">
                        <a:defRPr sz="1800" kern="1200">
                          <a:solidFill>
                            <a:schemeClr val="dk1"/>
                          </a:solidFill>
                          <a:latin typeface="Trebuchet MS" panose="020B0603020202020204"/>
                        </a:defRPr>
                      </a:lvl2pPr>
                      <a:lvl3pPr marL="914400" algn="l" defTabSz="914400" rtl="0" eaLnBrk="1" latinLnBrk="0" hangingPunct="1">
                        <a:defRPr sz="1800" kern="1200">
                          <a:solidFill>
                            <a:schemeClr val="dk1"/>
                          </a:solidFill>
                          <a:latin typeface="Trebuchet MS" panose="020B0603020202020204"/>
                        </a:defRPr>
                      </a:lvl3pPr>
                      <a:lvl4pPr marL="1371600" algn="l" defTabSz="914400" rtl="0" eaLnBrk="1" latinLnBrk="0" hangingPunct="1">
                        <a:defRPr sz="1800" kern="1200">
                          <a:solidFill>
                            <a:schemeClr val="dk1"/>
                          </a:solidFill>
                          <a:latin typeface="Trebuchet MS" panose="020B0603020202020204"/>
                        </a:defRPr>
                      </a:lvl4pPr>
                      <a:lvl5pPr marL="1828800" algn="l" defTabSz="914400" rtl="0" eaLnBrk="1" latinLnBrk="0" hangingPunct="1">
                        <a:defRPr sz="1800" kern="1200">
                          <a:solidFill>
                            <a:schemeClr val="dk1"/>
                          </a:solidFill>
                          <a:latin typeface="Trebuchet MS" panose="020B0603020202020204"/>
                        </a:defRPr>
                      </a:lvl5pPr>
                      <a:lvl6pPr marL="2286000" algn="l" defTabSz="914400" rtl="0" eaLnBrk="1" latinLnBrk="0" hangingPunct="1">
                        <a:defRPr sz="1800" kern="1200">
                          <a:solidFill>
                            <a:schemeClr val="dk1"/>
                          </a:solidFill>
                          <a:latin typeface="Trebuchet MS" panose="020B0603020202020204"/>
                        </a:defRPr>
                      </a:lvl6pPr>
                      <a:lvl7pPr marL="2743200" algn="l" defTabSz="914400" rtl="0" eaLnBrk="1" latinLnBrk="0" hangingPunct="1">
                        <a:defRPr sz="1800" kern="1200">
                          <a:solidFill>
                            <a:schemeClr val="dk1"/>
                          </a:solidFill>
                          <a:latin typeface="Trebuchet MS" panose="020B0603020202020204"/>
                        </a:defRPr>
                      </a:lvl7pPr>
                      <a:lvl8pPr marL="3200400" algn="l" defTabSz="914400" rtl="0" eaLnBrk="1" latinLnBrk="0" hangingPunct="1">
                        <a:defRPr sz="1800" kern="1200">
                          <a:solidFill>
                            <a:schemeClr val="dk1"/>
                          </a:solidFill>
                          <a:latin typeface="Trebuchet MS" panose="020B0603020202020204"/>
                        </a:defRPr>
                      </a:lvl8pPr>
                      <a:lvl9pPr marL="3657600" algn="l" defTabSz="914400" rtl="0" eaLnBrk="1" latinLnBrk="0" hangingPunct="1">
                        <a:defRPr sz="1800" kern="1200">
                          <a:solidFill>
                            <a:schemeClr val="dk1"/>
                          </a:solidFill>
                          <a:latin typeface="Trebuchet MS" panose="020B0603020202020204"/>
                        </a:defRPr>
                      </a:lvl9pPr>
                    </a:lstStyle>
                    <a:p>
                      <a:pPr marL="0" marR="0" lvl="0" indent="0" algn="ctr" defTabSz="1219170" rtl="0" eaLnBrk="1" fontAlgn="auto" latinLnBrk="0" hangingPunct="1">
                        <a:lnSpc>
                          <a:spcPts val="800"/>
                        </a:lnSpc>
                        <a:spcBef>
                          <a:spcPts val="0"/>
                        </a:spcBef>
                        <a:spcAft>
                          <a:spcPts val="0"/>
                        </a:spcAft>
                        <a:buClrTx/>
                        <a:buSzTx/>
                        <a:buFontTx/>
                        <a:buNone/>
                        <a:tabLst/>
                        <a:defRPr/>
                      </a:pPr>
                      <a:r>
                        <a:rPr lang="en-US" sz="1200" b="0" dirty="0">
                          <a:solidFill>
                            <a:srgbClr val="595454"/>
                          </a:solidFill>
                          <a:effectLst/>
                          <a:latin typeface="Trebuchet MS" panose="020B0603020202020204" pitchFamily="34" charset="0"/>
                          <a:ea typeface="Times New Roman"/>
                          <a:cs typeface="Palatino Linotype"/>
                        </a:rPr>
                        <a:t>44 (41)</a:t>
                      </a:r>
                    </a:p>
                  </a:txBody>
                  <a:tcPr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BE2BBB"/>
                      </a:solidFill>
                      <a:prstDash val="solid"/>
                      <a:round/>
                      <a:headEnd type="none" w="med" len="med"/>
                      <a:tailEnd type="none" w="med" len="med"/>
                    </a:lnT>
                    <a:lnB w="63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075871209"/>
                  </a:ext>
                </a:extLst>
              </a:tr>
            </a:tbl>
          </a:graphicData>
        </a:graphic>
      </p:graphicFrame>
      <p:sp>
        <p:nvSpPr>
          <p:cNvPr id="11" name="TextBox 10">
            <a:extLst>
              <a:ext uri="{FF2B5EF4-FFF2-40B4-BE49-F238E27FC236}">
                <a16:creationId xmlns:a16="http://schemas.microsoft.com/office/drawing/2014/main" id="{B75F70D9-1568-61E1-B592-DF29891CD15F}"/>
              </a:ext>
            </a:extLst>
          </p:cNvPr>
          <p:cNvSpPr txBox="1"/>
          <p:nvPr/>
        </p:nvSpPr>
        <p:spPr>
          <a:xfrm>
            <a:off x="8523268" y="6526110"/>
            <a:ext cx="3562325" cy="246221"/>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Morschhauser F, et al. ASH 2023 [Presentation #602]</a:t>
            </a:r>
          </a:p>
        </p:txBody>
      </p:sp>
    </p:spTree>
    <p:extLst>
      <p:ext uri="{BB962C8B-B14F-4D97-AF65-F5344CB8AC3E}">
        <p14:creationId xmlns:p14="http://schemas.microsoft.com/office/powerpoint/2010/main" val="248797839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666AA7-7AF3-D666-D580-1DDD4012EE86}"/>
              </a:ext>
            </a:extLst>
          </p:cNvPr>
          <p:cNvSpPr>
            <a:spLocks noGrp="1"/>
          </p:cNvSpPr>
          <p:nvPr>
            <p:ph type="title"/>
          </p:nvPr>
        </p:nvSpPr>
        <p:spPr>
          <a:xfrm>
            <a:off x="487892" y="294386"/>
            <a:ext cx="11216216" cy="1022350"/>
          </a:xfrm>
        </p:spPr>
        <p:txBody>
          <a:bodyPr/>
          <a:lstStyle/>
          <a:p>
            <a:r>
              <a:rPr lang="en-US" sz="3200" b="1" dirty="0">
                <a:solidFill>
                  <a:srgbClr val="002060"/>
                </a:solidFill>
                <a:latin typeface="Calibri" panose="020F0502020204030204" pitchFamily="34" charset="0"/>
                <a:cs typeface="Calibri" panose="020F0502020204030204" pitchFamily="34" charset="0"/>
              </a:rPr>
              <a:t>Liso-cel induces very high response rates in follicular lymphoma</a:t>
            </a:r>
          </a:p>
        </p:txBody>
      </p:sp>
      <p:pic>
        <p:nvPicPr>
          <p:cNvPr id="9" name="Content Placeholder 8" descr="A graph of a number of objects&#10;&#10;AI-generated content may be incorrect.">
            <a:extLst>
              <a:ext uri="{FF2B5EF4-FFF2-40B4-BE49-F238E27FC236}">
                <a16:creationId xmlns:a16="http://schemas.microsoft.com/office/drawing/2014/main" id="{2DEA508F-2C74-2726-11FF-ACD1183A32AE}"/>
              </a:ext>
            </a:extLst>
          </p:cNvPr>
          <p:cNvPicPr>
            <a:picLocks noGrp="1" noChangeAspect="1"/>
          </p:cNvPicPr>
          <p:nvPr>
            <p:ph sz="quarter" idx="14"/>
          </p:nvPr>
        </p:nvPicPr>
        <p:blipFill>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tretch>
            <a:fillRect/>
          </a:stretch>
        </p:blipFill>
        <p:spPr>
          <a:xfrm>
            <a:off x="632777" y="1391448"/>
            <a:ext cx="11099885" cy="4447492"/>
          </a:xfrm>
        </p:spPr>
      </p:pic>
      <p:sp>
        <p:nvSpPr>
          <p:cNvPr id="7" name="TextBox 6">
            <a:extLst>
              <a:ext uri="{FF2B5EF4-FFF2-40B4-BE49-F238E27FC236}">
                <a16:creationId xmlns:a16="http://schemas.microsoft.com/office/drawing/2014/main" id="{A284A9CC-85D2-1FD3-2068-2A9D1FD3E944}"/>
              </a:ext>
            </a:extLst>
          </p:cNvPr>
          <p:cNvSpPr txBox="1"/>
          <p:nvPr/>
        </p:nvSpPr>
        <p:spPr>
          <a:xfrm>
            <a:off x="9586732" y="6583514"/>
            <a:ext cx="2531343" cy="153888"/>
          </a:xfrm>
          <a:prstGeom prst="rect">
            <a:avLst/>
          </a:prstGeom>
        </p:spPr>
        <p:txBody>
          <a:bodyPr vert="horz"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panose="020B0604020202020204"/>
                <a:ea typeface="+mn-ea"/>
                <a:cs typeface="+mn-cs"/>
              </a:rPr>
              <a:t>Morschhauser et al Nature Medicine 2024.</a:t>
            </a:r>
          </a:p>
        </p:txBody>
      </p:sp>
    </p:spTree>
    <p:extLst>
      <p:ext uri="{BB962C8B-B14F-4D97-AF65-F5344CB8AC3E}">
        <p14:creationId xmlns:p14="http://schemas.microsoft.com/office/powerpoint/2010/main" val="259919333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C05205-DF9F-9419-3018-82FE7ADC4CA4}"/>
              </a:ext>
            </a:extLst>
          </p:cNvPr>
          <p:cNvSpPr>
            <a:spLocks noGrp="1"/>
          </p:cNvSpPr>
          <p:nvPr>
            <p:ph type="title"/>
          </p:nvPr>
        </p:nvSpPr>
        <p:spPr>
          <a:xfrm>
            <a:off x="488951" y="349250"/>
            <a:ext cx="11216216" cy="869266"/>
          </a:xfrm>
        </p:spPr>
        <p:txBody>
          <a:bodyPr/>
          <a:lstStyle/>
          <a:p>
            <a:r>
              <a:rPr lang="en-US" sz="3200" b="1" dirty="0">
                <a:solidFill>
                  <a:srgbClr val="002060"/>
                </a:solidFill>
                <a:latin typeface="Calibri" panose="020F0502020204030204" pitchFamily="34" charset="0"/>
                <a:cs typeface="Calibri" panose="020F0502020204030204" pitchFamily="34" charset="0"/>
              </a:rPr>
              <a:t>Liso-cel induces durable remissions in follicular lymphoma</a:t>
            </a:r>
            <a:endParaRPr lang="en-US" sz="3200" dirty="0">
              <a:solidFill>
                <a:srgbClr val="002060"/>
              </a:solidFill>
              <a:latin typeface="Calibri" panose="020F0502020204030204" pitchFamily="34" charset="0"/>
              <a:cs typeface="Calibri" panose="020F0502020204030204" pitchFamily="34" charset="0"/>
            </a:endParaRPr>
          </a:p>
        </p:txBody>
      </p:sp>
      <p:pic>
        <p:nvPicPr>
          <p:cNvPr id="8" name="Content Placeholder 7" descr="A graph of a patient's life cycle&#10;&#10;AI-generated content may be incorrect.">
            <a:extLst>
              <a:ext uri="{FF2B5EF4-FFF2-40B4-BE49-F238E27FC236}">
                <a16:creationId xmlns:a16="http://schemas.microsoft.com/office/drawing/2014/main" id="{448ADF64-DD62-898F-6CB3-E78695EFEDFF}"/>
              </a:ext>
            </a:extLst>
          </p:cNvPr>
          <p:cNvPicPr>
            <a:picLocks noGrp="1" noChangeAspect="1"/>
          </p:cNvPicPr>
          <p:nvPr>
            <p:ph sz="quarter" idx="14"/>
          </p:nvPr>
        </p:nvPicPr>
        <p:blipFill>
          <a:blip r:embed="rId3">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val="0"/>
              </a:ext>
            </a:extLst>
          </a:blip>
          <a:stretch>
            <a:fillRect/>
          </a:stretch>
        </p:blipFill>
        <p:spPr>
          <a:xfrm>
            <a:off x="0" y="1689565"/>
            <a:ext cx="5935037" cy="4368335"/>
          </a:xfrm>
        </p:spPr>
      </p:pic>
      <p:pic>
        <p:nvPicPr>
          <p:cNvPr id="10" name="Picture 9" descr="A screen shot of a graph&#10;&#10;AI-generated content may be incorrect.">
            <a:extLst>
              <a:ext uri="{FF2B5EF4-FFF2-40B4-BE49-F238E27FC236}">
                <a16:creationId xmlns:a16="http://schemas.microsoft.com/office/drawing/2014/main" id="{1BEFEBF3-EBF7-B11E-9453-438E5E34936A}"/>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50000"/>
                    </a14:imgEffect>
                  </a14:imgLayer>
                </a14:imgProps>
              </a:ext>
              <a:ext uri="{28A0092B-C50C-407E-A947-70E740481C1C}">
                <a14:useLocalDpi xmlns:a14="http://schemas.microsoft.com/office/drawing/2010/main" val="0"/>
              </a:ext>
            </a:extLst>
          </a:blip>
          <a:stretch>
            <a:fillRect/>
          </a:stretch>
        </p:blipFill>
        <p:spPr>
          <a:xfrm>
            <a:off x="6096000" y="1679465"/>
            <a:ext cx="5999433" cy="4368336"/>
          </a:xfrm>
          <a:prstGeom prst="rect">
            <a:avLst/>
          </a:prstGeom>
        </p:spPr>
      </p:pic>
      <p:sp>
        <p:nvSpPr>
          <p:cNvPr id="11" name="TextBox 10">
            <a:extLst>
              <a:ext uri="{FF2B5EF4-FFF2-40B4-BE49-F238E27FC236}">
                <a16:creationId xmlns:a16="http://schemas.microsoft.com/office/drawing/2014/main" id="{F64D5F80-4588-B0D7-D277-FB0F2F661ECE}"/>
              </a:ext>
            </a:extLst>
          </p:cNvPr>
          <p:cNvSpPr txBox="1"/>
          <p:nvPr/>
        </p:nvSpPr>
        <p:spPr>
          <a:xfrm>
            <a:off x="9564090" y="6508750"/>
            <a:ext cx="2531343" cy="153888"/>
          </a:xfrm>
          <a:prstGeom prst="rect">
            <a:avLst/>
          </a:prstGeom>
        </p:spPr>
        <p:txBody>
          <a:bodyPr vert="horz"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panose="020B0604020202020204"/>
                <a:ea typeface="+mn-ea"/>
                <a:cs typeface="+mn-cs"/>
              </a:rPr>
              <a:t>Morschhauser et al Nature Medicine 2024.</a:t>
            </a:r>
          </a:p>
        </p:txBody>
      </p:sp>
      <p:sp>
        <p:nvSpPr>
          <p:cNvPr id="12" name="TextBox 11">
            <a:extLst>
              <a:ext uri="{FF2B5EF4-FFF2-40B4-BE49-F238E27FC236}">
                <a16:creationId xmlns:a16="http://schemas.microsoft.com/office/drawing/2014/main" id="{009E623F-1F16-E5D2-74B8-53F2737718EC}"/>
              </a:ext>
            </a:extLst>
          </p:cNvPr>
          <p:cNvSpPr txBox="1"/>
          <p:nvPr/>
        </p:nvSpPr>
        <p:spPr>
          <a:xfrm>
            <a:off x="2755900" y="1385664"/>
            <a:ext cx="448841" cy="276999"/>
          </a:xfrm>
          <a:prstGeom prst="rect">
            <a:avLst/>
          </a:prstGeom>
        </p:spPr>
        <p:txBody>
          <a:bodyPr vert="horz"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a:ea typeface="+mn-ea"/>
                <a:cs typeface="+mn-cs"/>
              </a:rPr>
              <a:t>PFS</a:t>
            </a:r>
          </a:p>
        </p:txBody>
      </p:sp>
      <p:sp>
        <p:nvSpPr>
          <p:cNvPr id="13" name="TextBox 12">
            <a:extLst>
              <a:ext uri="{FF2B5EF4-FFF2-40B4-BE49-F238E27FC236}">
                <a16:creationId xmlns:a16="http://schemas.microsoft.com/office/drawing/2014/main" id="{0AA86160-DBCF-6C49-6488-BE0B619D794F}"/>
              </a:ext>
            </a:extLst>
          </p:cNvPr>
          <p:cNvSpPr txBox="1"/>
          <p:nvPr/>
        </p:nvSpPr>
        <p:spPr>
          <a:xfrm>
            <a:off x="8929003" y="1385663"/>
            <a:ext cx="333425" cy="276999"/>
          </a:xfrm>
          <a:prstGeom prst="rect">
            <a:avLst/>
          </a:prstGeom>
        </p:spPr>
        <p:txBody>
          <a:bodyPr vert="horz"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a:ea typeface="+mn-ea"/>
                <a:cs typeface="+mn-cs"/>
              </a:rPr>
              <a:t>OS</a:t>
            </a:r>
          </a:p>
        </p:txBody>
      </p:sp>
    </p:spTree>
    <p:extLst>
      <p:ext uri="{BB962C8B-B14F-4D97-AF65-F5344CB8AC3E}">
        <p14:creationId xmlns:p14="http://schemas.microsoft.com/office/powerpoint/2010/main" val="286931242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E68222BF-F271-9CAF-7B47-C3E10ABFAE1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63BB3CA-EF89-0175-B491-FB25130B41E6}"/>
              </a:ext>
            </a:extLst>
          </p:cNvPr>
          <p:cNvSpPr>
            <a:spLocks noGrp="1"/>
          </p:cNvSpPr>
          <p:nvPr>
            <p:ph type="title"/>
          </p:nvPr>
        </p:nvSpPr>
        <p:spPr>
          <a:xfrm>
            <a:off x="335360" y="325259"/>
            <a:ext cx="11271379" cy="782381"/>
          </a:xfrm>
        </p:spPr>
        <p:txBody>
          <a:bodyPr/>
          <a:lstStyle/>
          <a:p>
            <a:r>
              <a:rPr lang="en-US" sz="3200" b="1" dirty="0">
                <a:solidFill>
                  <a:srgbClr val="002060"/>
                </a:solidFill>
                <a:latin typeface="Calibri" panose="020F0502020204030204" pitchFamily="34" charset="0"/>
                <a:cs typeface="Calibri" panose="020F0502020204030204" pitchFamily="34" charset="0"/>
              </a:rPr>
              <a:t>3-Year Results From the TRANSCEND FL Study of Lisocabtagene Maraleucel in Patients With 3L+ FL: DOR and PFS Across Subgroups </a:t>
            </a:r>
          </a:p>
        </p:txBody>
      </p:sp>
      <p:sp>
        <p:nvSpPr>
          <p:cNvPr id="3" name="Text Placeholder 2">
            <a:extLst>
              <a:ext uri="{FF2B5EF4-FFF2-40B4-BE49-F238E27FC236}">
                <a16:creationId xmlns:a16="http://schemas.microsoft.com/office/drawing/2014/main" id="{3588D549-4208-A91B-9869-41CBF5FEABBE}"/>
              </a:ext>
            </a:extLst>
          </p:cNvPr>
          <p:cNvSpPr>
            <a:spLocks noGrp="1"/>
          </p:cNvSpPr>
          <p:nvPr>
            <p:ph type="body" sz="quarter" idx="10"/>
          </p:nvPr>
        </p:nvSpPr>
        <p:spPr>
          <a:xfrm>
            <a:off x="457200" y="6072578"/>
            <a:ext cx="7011635" cy="693983"/>
          </a:xfrm>
        </p:spPr>
        <p:txBody>
          <a:bodyPr/>
          <a:lstStyle/>
          <a:p>
            <a:r>
              <a:rPr lang="en-US" dirty="0"/>
              <a:t>POD24, progressive disease ≤24 </a:t>
            </a:r>
            <a:r>
              <a:rPr lang="en-US" dirty="0" err="1"/>
              <a:t>mo</a:t>
            </a:r>
            <a:r>
              <a:rPr lang="en-US" dirty="0"/>
              <a:t> from initial immunochemotherapy.</a:t>
            </a:r>
          </a:p>
          <a:p>
            <a:r>
              <a:rPr lang="en-US" dirty="0"/>
              <a:t>Ahmed S, et al. ASH 2025. Abstract 467.</a:t>
            </a:r>
          </a:p>
        </p:txBody>
      </p:sp>
      <p:pic>
        <p:nvPicPr>
          <p:cNvPr id="6" name="Picture 5">
            <a:extLst>
              <a:ext uri="{FF2B5EF4-FFF2-40B4-BE49-F238E27FC236}">
                <a16:creationId xmlns:a16="http://schemas.microsoft.com/office/drawing/2014/main" id="{FB10614C-EF94-4759-74A7-652630A40307}"/>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918334" y="1434060"/>
            <a:ext cx="10349109" cy="4114800"/>
          </a:xfrm>
          <a:prstGeom prst="rect">
            <a:avLst/>
          </a:prstGeom>
        </p:spPr>
      </p:pic>
      <p:sp>
        <p:nvSpPr>
          <p:cNvPr id="8" name="Content Placeholder 644">
            <a:extLst>
              <a:ext uri="{FF2B5EF4-FFF2-40B4-BE49-F238E27FC236}">
                <a16:creationId xmlns:a16="http://schemas.microsoft.com/office/drawing/2014/main" id="{0BD29018-C7C5-154D-4122-D1644005EBA2}"/>
              </a:ext>
            </a:extLst>
          </p:cNvPr>
          <p:cNvSpPr txBox="1">
            <a:spLocks/>
          </p:cNvSpPr>
          <p:nvPr/>
        </p:nvSpPr>
        <p:spPr>
          <a:xfrm>
            <a:off x="918334" y="5646680"/>
            <a:ext cx="7162801" cy="457200"/>
          </a:xfrm>
          <a:prstGeom prst="rect">
            <a:avLst/>
          </a:prstGeom>
          <a:solidFill>
            <a:schemeClr val="bg1">
              <a:lumMod val="95000"/>
            </a:schemeClr>
          </a:solidFill>
        </p:spPr>
        <p:txBody>
          <a:bodyPr vert="horz" lIns="91440" tIns="45720" rIns="91440" bIns="45720" rtlCol="0" anchor="ctr" anchorCtr="0">
            <a:noAutofit/>
          </a:bodyPr>
          <a:lstStyle>
            <a:lvl1pPr marL="320040" indent="-320040" algn="l" defTabSz="914400" rtl="0" eaLnBrk="1" latinLnBrk="0" hangingPunct="1">
              <a:lnSpc>
                <a:spcPct val="100000"/>
              </a:lnSpc>
              <a:spcBef>
                <a:spcPts val="0"/>
              </a:spcBef>
              <a:spcAft>
                <a:spcPts val="300"/>
              </a:spcAft>
              <a:buClr>
                <a:schemeClr val="accent6"/>
              </a:buClr>
              <a:buSzPct val="85000"/>
              <a:buFont typeface="Wingdings" pitchFamily="2" charset="2"/>
              <a:buChar char="§"/>
              <a:defRPr sz="2400" kern="1200">
                <a:solidFill>
                  <a:schemeClr val="tx1"/>
                </a:solidFill>
                <a:latin typeface="+mn-lt"/>
                <a:ea typeface="+mn-ea"/>
                <a:cs typeface="+mn-cs"/>
              </a:defRPr>
            </a:lvl1pPr>
            <a:lvl2pPr marL="685800" indent="-320040" algn="l" defTabSz="914400" rtl="0" eaLnBrk="1" latinLnBrk="0" hangingPunct="1">
              <a:lnSpc>
                <a:spcPct val="100000"/>
              </a:lnSpc>
              <a:spcBef>
                <a:spcPts val="0"/>
              </a:spcBef>
              <a:spcAft>
                <a:spcPts val="300"/>
              </a:spcAft>
              <a:buClr>
                <a:schemeClr val="accent6"/>
              </a:buClr>
              <a:buFont typeface="System Font Regular"/>
              <a:buChar char="–"/>
              <a:defRPr sz="2000" kern="1200">
                <a:solidFill>
                  <a:schemeClr val="tx1"/>
                </a:solidFill>
                <a:latin typeface="+mn-lt"/>
                <a:ea typeface="+mn-ea"/>
                <a:cs typeface="+mn-cs"/>
              </a:defRPr>
            </a:lvl2pPr>
            <a:lvl3pPr marL="1143000" indent="-320040" algn="l" defTabSz="914400" rtl="0" eaLnBrk="1" latinLnBrk="0" hangingPunct="1">
              <a:lnSpc>
                <a:spcPct val="100000"/>
              </a:lnSpc>
              <a:spcBef>
                <a:spcPts val="0"/>
              </a:spcBef>
              <a:spcAft>
                <a:spcPts val="300"/>
              </a:spcAft>
              <a:buClr>
                <a:schemeClr val="accent6"/>
              </a:buClr>
              <a:buFont typeface="Arial" panose="020B0604020202020204" pitchFamily="34" charset="0"/>
              <a:buChar char="•"/>
              <a:defRPr sz="1800" kern="1200">
                <a:solidFill>
                  <a:schemeClr val="tx1"/>
                </a:solidFill>
                <a:latin typeface="+mn-lt"/>
                <a:ea typeface="+mn-ea"/>
                <a:cs typeface="+mn-cs"/>
              </a:defRPr>
            </a:lvl3pPr>
            <a:lvl4pPr marL="1600200" indent="-320040" algn="l" defTabSz="914400" rtl="0" eaLnBrk="1" latinLnBrk="0" hangingPunct="1">
              <a:lnSpc>
                <a:spcPct val="100000"/>
              </a:lnSpc>
              <a:spcBef>
                <a:spcPts val="0"/>
              </a:spcBef>
              <a:spcAft>
                <a:spcPts val="300"/>
              </a:spcAft>
              <a:buClr>
                <a:schemeClr val="accent6"/>
              </a:buClr>
              <a:buFont typeface="Wingdings" pitchFamily="2" charset="2"/>
              <a:buChar char="§"/>
              <a:defRPr sz="1600" kern="1200">
                <a:solidFill>
                  <a:schemeClr val="tx1"/>
                </a:solidFill>
                <a:latin typeface="+mn-lt"/>
                <a:ea typeface="+mn-ea"/>
                <a:cs typeface="+mn-cs"/>
              </a:defRPr>
            </a:lvl4pPr>
            <a:lvl5pPr marL="2057400" indent="-320040" algn="l" defTabSz="914400" rtl="0" eaLnBrk="1" latinLnBrk="0" hangingPunct="1">
              <a:lnSpc>
                <a:spcPct val="100000"/>
              </a:lnSpc>
              <a:spcBef>
                <a:spcPts val="300"/>
              </a:spcBef>
              <a:buClr>
                <a:schemeClr val="accent6"/>
              </a:buClr>
              <a:buFont typeface="Monaco" pitchFamily="2" charset="77"/>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20032" marR="0" lvl="0" indent="-320032" algn="l" defTabSz="914377" rtl="0" eaLnBrk="1" fontAlgn="auto" latinLnBrk="0" hangingPunct="1">
              <a:lnSpc>
                <a:spcPct val="90000"/>
              </a:lnSpc>
              <a:spcBef>
                <a:spcPts val="0"/>
              </a:spcBef>
              <a:spcAft>
                <a:spcPts val="300"/>
              </a:spcAft>
              <a:buClr>
                <a:srgbClr val="0191B6"/>
              </a:buClr>
              <a:buSzPct val="85000"/>
              <a:buFont typeface="Wingdings" pitchFamily="2" charset="2"/>
              <a:buChar char="§"/>
              <a:tabLst/>
              <a:defRPr/>
            </a:pPr>
            <a:r>
              <a:rPr kumimoji="0" lang="en-US" sz="1400" b="0" i="0" u="none" strike="noStrike" kern="1200" cap="none" spc="0" normalizeH="0" baseline="0" noProof="0" dirty="0">
                <a:ln>
                  <a:noFill/>
                </a:ln>
                <a:solidFill>
                  <a:srgbClr val="404040"/>
                </a:solidFill>
                <a:effectLst/>
                <a:uLnTx/>
                <a:uFillTx/>
                <a:latin typeface="Franklin Gothic Book" panose="020B0503020102020204"/>
                <a:ea typeface="+mn-ea"/>
                <a:cs typeface="+mn-cs"/>
              </a:rPr>
              <a:t>Responses were durable with high PFS rates among patients with high-risk disease</a:t>
            </a:r>
          </a:p>
          <a:p>
            <a:pPr marL="320032" marR="0" lvl="0" indent="-320032" algn="l" defTabSz="914377" rtl="0" eaLnBrk="1" fontAlgn="auto" latinLnBrk="0" hangingPunct="1">
              <a:lnSpc>
                <a:spcPct val="90000"/>
              </a:lnSpc>
              <a:spcBef>
                <a:spcPts val="0"/>
              </a:spcBef>
              <a:spcAft>
                <a:spcPts val="300"/>
              </a:spcAft>
              <a:buClr>
                <a:srgbClr val="0191B6"/>
              </a:buClr>
              <a:buSzPct val="85000"/>
              <a:buFont typeface="Wingdings" pitchFamily="2" charset="2"/>
              <a:buChar char="§"/>
              <a:tabLst/>
              <a:defRPr/>
            </a:pPr>
            <a:r>
              <a:rPr kumimoji="0" lang="en-US" sz="1400" b="0" i="0" u="none" strike="noStrike" kern="1200" cap="none" spc="0" normalizeH="0" baseline="0" noProof="0" dirty="0">
                <a:ln>
                  <a:noFill/>
                </a:ln>
                <a:solidFill>
                  <a:srgbClr val="404040"/>
                </a:solidFill>
                <a:effectLst/>
                <a:uLnTx/>
                <a:uFillTx/>
                <a:latin typeface="Franklin Gothic Book" panose="020B0503020102020204"/>
                <a:ea typeface="+mn-ea"/>
                <a:cs typeface="+mn-cs"/>
              </a:rPr>
              <a:t>Of the evaluated subgroups, median DOR was only reached among those with POD24</a:t>
            </a:r>
          </a:p>
        </p:txBody>
      </p:sp>
      <p:pic>
        <p:nvPicPr>
          <p:cNvPr id="11" name="Picture 10">
            <a:extLst>
              <a:ext uri="{FF2B5EF4-FFF2-40B4-BE49-F238E27FC236}">
                <a16:creationId xmlns:a16="http://schemas.microsoft.com/office/drawing/2014/main" id="{2519EA5C-FB69-6C5B-29D4-F98741E5E5B0}"/>
              </a:ext>
            </a:extLst>
          </p:cNvPr>
          <p:cNvPicPr>
            <a:picLocks noChangeAspect="1"/>
          </p:cNvPicPr>
          <p:nvPr/>
        </p:nvPicPr>
        <p:blipFill>
          <a:blip r:embed="rId5"/>
          <a:stretch>
            <a:fillRect/>
          </a:stretch>
        </p:blipFill>
        <p:spPr>
          <a:xfrm>
            <a:off x="404648" y="2403537"/>
            <a:ext cx="682901" cy="325571"/>
          </a:xfrm>
          <a:prstGeom prst="rect">
            <a:avLst/>
          </a:prstGeom>
        </p:spPr>
      </p:pic>
    </p:spTree>
    <p:extLst>
      <p:ext uri="{BB962C8B-B14F-4D97-AF65-F5344CB8AC3E}">
        <p14:creationId xmlns:p14="http://schemas.microsoft.com/office/powerpoint/2010/main" val="121848674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226C5C41-4D50-857E-A6E0-2161A218DEF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ECF9CFF-8EA1-E1A0-83F9-03501D506A6E}"/>
              </a:ext>
            </a:extLst>
          </p:cNvPr>
          <p:cNvSpPr>
            <a:spLocks noGrp="1"/>
          </p:cNvSpPr>
          <p:nvPr>
            <p:ph type="title"/>
          </p:nvPr>
        </p:nvSpPr>
        <p:spPr>
          <a:xfrm>
            <a:off x="457200" y="195486"/>
            <a:ext cx="11271379" cy="1034473"/>
          </a:xfrm>
        </p:spPr>
        <p:txBody>
          <a:bodyPr/>
          <a:lstStyle/>
          <a:p>
            <a:r>
              <a:rPr lang="en-US" sz="3200" b="1" dirty="0">
                <a:solidFill>
                  <a:srgbClr val="002060"/>
                </a:solidFill>
                <a:latin typeface="Calibri" panose="020F0502020204030204" pitchFamily="34" charset="0"/>
                <a:cs typeface="Calibri" panose="020F0502020204030204" pitchFamily="34" charset="0"/>
              </a:rPr>
              <a:t>3-Year Results From the TRANSCEND FL Study of Lisocabtagene Maraleucel in Patients With 3L+ FL: Safety and Summary </a:t>
            </a:r>
          </a:p>
        </p:txBody>
      </p:sp>
      <p:sp>
        <p:nvSpPr>
          <p:cNvPr id="3" name="Text Placeholder 2">
            <a:extLst>
              <a:ext uri="{FF2B5EF4-FFF2-40B4-BE49-F238E27FC236}">
                <a16:creationId xmlns:a16="http://schemas.microsoft.com/office/drawing/2014/main" id="{F70A5D41-D220-FAD4-B87A-0528881B5320}"/>
              </a:ext>
            </a:extLst>
          </p:cNvPr>
          <p:cNvSpPr>
            <a:spLocks noGrp="1"/>
          </p:cNvSpPr>
          <p:nvPr>
            <p:ph type="body" sz="quarter" idx="10"/>
          </p:nvPr>
        </p:nvSpPr>
        <p:spPr>
          <a:xfrm>
            <a:off x="457200" y="6072578"/>
            <a:ext cx="7011635" cy="693983"/>
          </a:xfrm>
        </p:spPr>
        <p:txBody>
          <a:bodyPr/>
          <a:lstStyle/>
          <a:p>
            <a:r>
              <a:rPr lang="en-US" dirty="0"/>
              <a:t>POD24, progressive disease ≤24 </a:t>
            </a:r>
            <a:r>
              <a:rPr lang="en-US" dirty="0" err="1"/>
              <a:t>mo</a:t>
            </a:r>
            <a:r>
              <a:rPr lang="en-US" dirty="0"/>
              <a:t> from initial immunochemotherapy; TE, treatment emergent.</a:t>
            </a:r>
          </a:p>
          <a:p>
            <a:r>
              <a:rPr lang="en-US" dirty="0"/>
              <a:t>Ahmed S, et al. ASH 2025. Abstract 467.</a:t>
            </a:r>
          </a:p>
        </p:txBody>
      </p:sp>
      <p:sp>
        <p:nvSpPr>
          <p:cNvPr id="5" name="TextBox 4">
            <a:extLst>
              <a:ext uri="{FF2B5EF4-FFF2-40B4-BE49-F238E27FC236}">
                <a16:creationId xmlns:a16="http://schemas.microsoft.com/office/drawing/2014/main" id="{F34D9DAA-7303-0817-C03C-9F80A159066F}"/>
              </a:ext>
            </a:extLst>
          </p:cNvPr>
          <p:cNvSpPr txBox="1"/>
          <p:nvPr/>
        </p:nvSpPr>
        <p:spPr>
          <a:xfrm>
            <a:off x="5339256" y="4261612"/>
            <a:ext cx="6389323" cy="1492716"/>
          </a:xfrm>
          <a:prstGeom prst="rect">
            <a:avLst/>
          </a:prstGeom>
          <a:solidFill>
            <a:schemeClr val="bg1"/>
          </a:solidFill>
          <a:ln>
            <a:solidFill>
              <a:schemeClr val="accent6"/>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14377" rtl="0" eaLnBrk="1" fontAlgn="auto" latinLnBrk="0" hangingPunct="1">
              <a:lnSpc>
                <a:spcPct val="100000"/>
              </a:lnSpc>
              <a:spcBef>
                <a:spcPts val="0"/>
              </a:spcBef>
              <a:spcAft>
                <a:spcPts val="200"/>
              </a:spcAft>
              <a:buClrTx/>
              <a:buSzTx/>
              <a:buFontTx/>
              <a:buNone/>
              <a:tabLst/>
              <a:defRPr/>
            </a:pPr>
            <a:r>
              <a:rPr kumimoji="0" lang="en-US" sz="1600" b="1" i="0" u="none" strike="noStrike" kern="1200" cap="none" spc="0" normalizeH="0" baseline="0" noProof="0" dirty="0">
                <a:ln>
                  <a:noFill/>
                </a:ln>
                <a:solidFill>
                  <a:srgbClr val="0191B6"/>
                </a:solidFill>
                <a:effectLst/>
                <a:uLnTx/>
                <a:uFillTx/>
                <a:latin typeface="Franklin Gothic Book" panose="020B0503020102020204"/>
                <a:ea typeface="+mn-ea"/>
                <a:cs typeface="Arial" charset="0"/>
              </a:rPr>
              <a:t>Authors’ Conclusions</a:t>
            </a:r>
          </a:p>
          <a:p>
            <a:pPr marL="285744" marR="0" lvl="0" indent="-285744" algn="l" defTabSz="914377" rtl="0" eaLnBrk="1" fontAlgn="auto" latinLnBrk="0" hangingPunct="1">
              <a:lnSpc>
                <a:spcPct val="100000"/>
              </a:lnSpc>
              <a:spcBef>
                <a:spcPts val="0"/>
              </a:spcBef>
              <a:spcAft>
                <a:spcPts val="200"/>
              </a:spcAft>
              <a:buClr>
                <a:srgbClr val="0191B6"/>
              </a:buClr>
              <a:buSzTx/>
              <a:buFont typeface="Wingdings" pitchFamily="2" charset="2"/>
              <a:buChar char="§"/>
              <a:tabLst/>
              <a:defRPr/>
            </a:pPr>
            <a:r>
              <a:rPr kumimoji="0" lang="en-US" sz="1400" b="0" i="0" u="none" strike="noStrike" kern="1200" cap="none" spc="0" normalizeH="0" baseline="0" noProof="0" dirty="0">
                <a:ln>
                  <a:noFill/>
                </a:ln>
                <a:solidFill>
                  <a:srgbClr val="404040"/>
                </a:solidFill>
                <a:effectLst/>
                <a:uLnTx/>
                <a:uFillTx/>
                <a:latin typeface="Franklin Gothic Book" panose="020B0503020102020204"/>
                <a:ea typeface="+mn-ea"/>
                <a:cs typeface="Arial" charset="0"/>
              </a:rPr>
              <a:t>Liso-cel showed high rates of deep (CR rate, 94%) and durable responses</a:t>
            </a:r>
            <a:br>
              <a:rPr kumimoji="0" lang="en-US" sz="1400" b="0" i="0" u="none" strike="noStrike" kern="1200" cap="none" spc="0" normalizeH="0" baseline="0" noProof="0" dirty="0">
                <a:ln>
                  <a:noFill/>
                </a:ln>
                <a:solidFill>
                  <a:srgbClr val="404040"/>
                </a:solidFill>
                <a:effectLst/>
                <a:uLnTx/>
                <a:uFillTx/>
                <a:latin typeface="Franklin Gothic Book" panose="020B0503020102020204"/>
                <a:ea typeface="+mn-ea"/>
                <a:cs typeface="Arial" charset="0"/>
              </a:rPr>
            </a:br>
            <a:r>
              <a:rPr kumimoji="0" lang="en-US" sz="1400" b="0" i="0" u="none" strike="noStrike" kern="1200" cap="none" spc="0" normalizeH="0" baseline="0" noProof="0" dirty="0">
                <a:ln>
                  <a:noFill/>
                </a:ln>
                <a:solidFill>
                  <a:srgbClr val="404040"/>
                </a:solidFill>
                <a:effectLst/>
                <a:uLnTx/>
                <a:uFillTx/>
                <a:latin typeface="Franklin Gothic Book" panose="020B0503020102020204"/>
                <a:ea typeface="+mn-ea"/>
                <a:cs typeface="Arial" charset="0"/>
              </a:rPr>
              <a:t>(36-mo DOR, 70%) with sustained survival (36-mo OS, 86%) in 3L+ R/R FL</a:t>
            </a:r>
          </a:p>
          <a:p>
            <a:pPr marL="285744" marR="0" lvl="0" indent="-285744" algn="l" defTabSz="914377" rtl="0" eaLnBrk="1" fontAlgn="auto" latinLnBrk="0" hangingPunct="1">
              <a:lnSpc>
                <a:spcPct val="100000"/>
              </a:lnSpc>
              <a:spcBef>
                <a:spcPts val="0"/>
              </a:spcBef>
              <a:spcAft>
                <a:spcPts val="200"/>
              </a:spcAft>
              <a:buClr>
                <a:srgbClr val="0191B6"/>
              </a:buClr>
              <a:buSzTx/>
              <a:buFont typeface="Wingdings" pitchFamily="2" charset="2"/>
              <a:buChar char="§"/>
              <a:tabLst/>
              <a:defRPr/>
            </a:pPr>
            <a:r>
              <a:rPr kumimoji="0" lang="en-US" sz="1400" b="0" i="0" u="none" strike="noStrike" kern="1200" cap="none" spc="0" normalizeH="0" baseline="0" noProof="0" dirty="0">
                <a:ln>
                  <a:noFill/>
                </a:ln>
                <a:solidFill>
                  <a:srgbClr val="404040"/>
                </a:solidFill>
                <a:effectLst/>
                <a:uLnTx/>
                <a:uFillTx/>
                <a:latin typeface="Franklin Gothic Book" panose="020B0503020102020204"/>
                <a:ea typeface="+mn-ea"/>
                <a:cs typeface="Arial" charset="0"/>
              </a:rPr>
              <a:t>Consistently high efficacy was seen across subgroups, even among patients with high-risk characteristics (POD24, bulky disease, double-refractory disease) </a:t>
            </a:r>
          </a:p>
          <a:p>
            <a:pPr marL="285744" marR="0" lvl="0" indent="-285744" algn="l" defTabSz="914377" rtl="0" eaLnBrk="1" fontAlgn="auto" latinLnBrk="0" hangingPunct="1">
              <a:lnSpc>
                <a:spcPct val="100000"/>
              </a:lnSpc>
              <a:spcBef>
                <a:spcPts val="0"/>
              </a:spcBef>
              <a:spcAft>
                <a:spcPts val="200"/>
              </a:spcAft>
              <a:buClr>
                <a:srgbClr val="0191B6"/>
              </a:buClr>
              <a:buSzTx/>
              <a:buFont typeface="Wingdings" pitchFamily="2" charset="2"/>
              <a:buChar char="§"/>
              <a:tabLst/>
              <a:defRPr/>
            </a:pPr>
            <a:r>
              <a:rPr kumimoji="0" lang="en-US" sz="1400" b="0" i="0" u="none" strike="noStrike" kern="1200" cap="none" spc="0" normalizeH="0" baseline="0" noProof="0" dirty="0">
                <a:ln>
                  <a:noFill/>
                </a:ln>
                <a:solidFill>
                  <a:srgbClr val="404040"/>
                </a:solidFill>
                <a:effectLst/>
                <a:uLnTx/>
                <a:uFillTx/>
                <a:latin typeface="Franklin Gothic Book" panose="020B0503020102020204"/>
                <a:ea typeface="+mn-ea"/>
                <a:cs typeface="Arial" charset="0"/>
              </a:rPr>
              <a:t>Longitudinal analyses demonstrated favorable long-term safety</a:t>
            </a:r>
          </a:p>
        </p:txBody>
      </p:sp>
      <p:graphicFrame>
        <p:nvGraphicFramePr>
          <p:cNvPr id="6" name="Content Placeholder 5">
            <a:extLst>
              <a:ext uri="{FF2B5EF4-FFF2-40B4-BE49-F238E27FC236}">
                <a16:creationId xmlns:a16="http://schemas.microsoft.com/office/drawing/2014/main" id="{560C3B8D-9E31-17AC-1D6B-D51327B2CE35}"/>
              </a:ext>
            </a:extLst>
          </p:cNvPr>
          <p:cNvGraphicFramePr>
            <a:graphicFrameLocks/>
          </p:cNvGraphicFramePr>
          <p:nvPr/>
        </p:nvGraphicFramePr>
        <p:xfrm>
          <a:off x="5813521" y="1444361"/>
          <a:ext cx="5440794" cy="2686050"/>
        </p:xfrm>
        <a:graphic>
          <a:graphicData uri="http://schemas.openxmlformats.org/drawingml/2006/table">
            <a:tbl>
              <a:tblPr firstRow="1" bandRow="1">
                <a:tableStyleId>{10A1B5D5-9B99-4C35-A422-299274C87663}</a:tableStyleId>
              </a:tblPr>
              <a:tblGrid>
                <a:gridCol w="4196207">
                  <a:extLst>
                    <a:ext uri="{9D8B030D-6E8A-4147-A177-3AD203B41FA5}">
                      <a16:colId xmlns:a16="http://schemas.microsoft.com/office/drawing/2014/main" val="2797482651"/>
                    </a:ext>
                  </a:extLst>
                </a:gridCol>
                <a:gridCol w="1244587">
                  <a:extLst>
                    <a:ext uri="{9D8B030D-6E8A-4147-A177-3AD203B41FA5}">
                      <a16:colId xmlns:a16="http://schemas.microsoft.com/office/drawing/2014/main" val="514890373"/>
                    </a:ext>
                  </a:extLst>
                </a:gridCol>
              </a:tblGrid>
              <a:tr h="438912">
                <a:tc>
                  <a:txBody>
                    <a:bodyPr/>
                    <a:lstStyle/>
                    <a:p>
                      <a:pPr>
                        <a:lnSpc>
                          <a:spcPct val="85000"/>
                        </a:lnSpc>
                      </a:pPr>
                      <a:endParaRPr lang="en-US" sz="1500" dirty="0"/>
                    </a:p>
                  </a:txBody>
                  <a:tcPr marL="18288" marR="18288" marT="27432" marB="27432" anchor="ctr"/>
                </a:tc>
                <a:tc>
                  <a:txBody>
                    <a:bodyPr/>
                    <a:lstStyle/>
                    <a:p>
                      <a:pPr algn="ctr">
                        <a:lnSpc>
                          <a:spcPct val="85000"/>
                        </a:lnSpc>
                      </a:pPr>
                      <a:r>
                        <a:rPr lang="en-US" sz="1500" dirty="0"/>
                        <a:t>3L+ FL</a:t>
                      </a:r>
                    </a:p>
                    <a:p>
                      <a:pPr algn="ctr">
                        <a:lnSpc>
                          <a:spcPct val="85000"/>
                        </a:lnSpc>
                      </a:pPr>
                      <a:r>
                        <a:rPr lang="en-US" sz="1500" dirty="0"/>
                        <a:t>(n=107)</a:t>
                      </a:r>
                    </a:p>
                  </a:txBody>
                  <a:tcPr marL="18288" marR="18288" marT="27432" marB="27432" anchor="ctr">
                    <a:solidFill>
                      <a:srgbClr val="0191B6"/>
                    </a:solidFill>
                  </a:tcPr>
                </a:tc>
                <a:extLst>
                  <a:ext uri="{0D108BD9-81ED-4DB2-BD59-A6C34878D82A}">
                    <a16:rowId xmlns:a16="http://schemas.microsoft.com/office/drawing/2014/main" val="4175112532"/>
                  </a:ext>
                </a:extLst>
              </a:tr>
              <a:tr h="246888">
                <a:tc>
                  <a:txBody>
                    <a:bodyPr/>
                    <a:lstStyle/>
                    <a:p>
                      <a:pPr marL="18288">
                        <a:lnSpc>
                          <a:spcPct val="85000"/>
                        </a:lnSpc>
                      </a:pPr>
                      <a:r>
                        <a:rPr lang="en-US" sz="1500" b="1" dirty="0"/>
                        <a:t>Grade ≥3 infection, n (%)</a:t>
                      </a:r>
                    </a:p>
                  </a:txBody>
                  <a:tcPr marL="18288" marR="18288" marT="27432" marB="27432" anchor="ctr"/>
                </a:tc>
                <a:tc>
                  <a:txBody>
                    <a:bodyPr/>
                    <a:lstStyle/>
                    <a:p>
                      <a:pPr algn="ctr">
                        <a:lnSpc>
                          <a:spcPct val="85000"/>
                        </a:lnSpc>
                      </a:pPr>
                      <a:r>
                        <a:rPr lang="en-US" sz="1500" b="1" dirty="0"/>
                        <a:t>13 (12)</a:t>
                      </a:r>
                    </a:p>
                  </a:txBody>
                  <a:tcPr marL="18288" marR="18288" marT="27432" marB="27432" anchor="ctr"/>
                </a:tc>
                <a:extLst>
                  <a:ext uri="{0D108BD9-81ED-4DB2-BD59-A6C34878D82A}">
                    <a16:rowId xmlns:a16="http://schemas.microsoft.com/office/drawing/2014/main" val="3731418469"/>
                  </a:ext>
                </a:extLst>
              </a:tr>
              <a:tr h="246888">
                <a:tc>
                  <a:txBody>
                    <a:bodyPr/>
                    <a:lstStyle/>
                    <a:p>
                      <a:pPr marL="274320">
                        <a:lnSpc>
                          <a:spcPct val="85000"/>
                        </a:lnSpc>
                      </a:pPr>
                      <a:r>
                        <a:rPr lang="en-US" sz="1500" b="0" dirty="0"/>
                        <a:t>TE period</a:t>
                      </a:r>
                    </a:p>
                  </a:txBody>
                  <a:tcPr marL="18288" marR="18288" marT="27432" marB="27432" anchor="ctr"/>
                </a:tc>
                <a:tc>
                  <a:txBody>
                    <a:bodyPr/>
                    <a:lstStyle/>
                    <a:p>
                      <a:pPr algn="ctr">
                        <a:lnSpc>
                          <a:spcPct val="85000"/>
                        </a:lnSpc>
                      </a:pPr>
                      <a:r>
                        <a:rPr lang="en-US" sz="1500" dirty="0"/>
                        <a:t>7 (7)</a:t>
                      </a:r>
                    </a:p>
                  </a:txBody>
                  <a:tcPr marL="18288" marR="18288" marT="27432" marB="27432" anchor="ctr"/>
                </a:tc>
                <a:extLst>
                  <a:ext uri="{0D108BD9-81ED-4DB2-BD59-A6C34878D82A}">
                    <a16:rowId xmlns:a16="http://schemas.microsoft.com/office/drawing/2014/main" val="1487299882"/>
                  </a:ext>
                </a:extLst>
              </a:tr>
              <a:tr h="246888">
                <a:tc>
                  <a:txBody>
                    <a:bodyPr/>
                    <a:lstStyle/>
                    <a:p>
                      <a:pPr marL="274320">
                        <a:lnSpc>
                          <a:spcPct val="85000"/>
                        </a:lnSpc>
                      </a:pPr>
                      <a:r>
                        <a:rPr lang="en-US" sz="1500" b="0" dirty="0"/>
                        <a:t>Post-TE period</a:t>
                      </a:r>
                    </a:p>
                  </a:txBody>
                  <a:tcPr marL="18288" marR="18288" marT="27432" marB="27432" anchor="ctr"/>
                </a:tc>
                <a:tc>
                  <a:txBody>
                    <a:bodyPr/>
                    <a:lstStyle/>
                    <a:p>
                      <a:pPr algn="ctr">
                        <a:lnSpc>
                          <a:spcPct val="85000"/>
                        </a:lnSpc>
                      </a:pPr>
                      <a:r>
                        <a:rPr lang="en-US" sz="1500" dirty="0"/>
                        <a:t>8 (7)</a:t>
                      </a:r>
                    </a:p>
                  </a:txBody>
                  <a:tcPr marL="18288" marR="18288" marT="27432" marB="27432" anchor="ctr"/>
                </a:tc>
                <a:extLst>
                  <a:ext uri="{0D108BD9-81ED-4DB2-BD59-A6C34878D82A}">
                    <a16:rowId xmlns:a16="http://schemas.microsoft.com/office/drawing/2014/main" val="4037082222"/>
                  </a:ext>
                </a:extLst>
              </a:tr>
              <a:tr h="246888">
                <a:tc>
                  <a:txBody>
                    <a:bodyPr/>
                    <a:lstStyle/>
                    <a:p>
                      <a:pPr marL="18288">
                        <a:lnSpc>
                          <a:spcPct val="85000"/>
                        </a:lnSpc>
                      </a:pPr>
                      <a:r>
                        <a:rPr lang="en-US" sz="1500" b="1" dirty="0"/>
                        <a:t>Second primary malignancy, n (%)</a:t>
                      </a:r>
                    </a:p>
                  </a:txBody>
                  <a:tcPr marL="18288" marR="18288" marT="27432" marB="27432" anchor="ctr"/>
                </a:tc>
                <a:tc>
                  <a:txBody>
                    <a:bodyPr/>
                    <a:lstStyle/>
                    <a:p>
                      <a:pPr algn="ctr">
                        <a:lnSpc>
                          <a:spcPct val="85000"/>
                        </a:lnSpc>
                      </a:pPr>
                      <a:r>
                        <a:rPr lang="en-US" sz="1500" b="1" dirty="0"/>
                        <a:t>11 (10)</a:t>
                      </a:r>
                    </a:p>
                  </a:txBody>
                  <a:tcPr marL="18288" marR="18288" marT="27432" marB="27432" anchor="ctr"/>
                </a:tc>
                <a:extLst>
                  <a:ext uri="{0D108BD9-81ED-4DB2-BD59-A6C34878D82A}">
                    <a16:rowId xmlns:a16="http://schemas.microsoft.com/office/drawing/2014/main" val="1416406340"/>
                  </a:ext>
                </a:extLst>
              </a:tr>
              <a:tr h="246888">
                <a:tc>
                  <a:txBody>
                    <a:bodyPr/>
                    <a:lstStyle/>
                    <a:p>
                      <a:pPr marL="274320">
                        <a:lnSpc>
                          <a:spcPct val="85000"/>
                        </a:lnSpc>
                      </a:pPr>
                      <a:r>
                        <a:rPr lang="en-US" sz="1500" b="0" dirty="0"/>
                        <a:t>Non-hematologic</a:t>
                      </a:r>
                    </a:p>
                  </a:txBody>
                  <a:tcPr marL="18288" marR="18288" marT="27432" marB="27432" anchor="ctr"/>
                </a:tc>
                <a:tc>
                  <a:txBody>
                    <a:bodyPr/>
                    <a:lstStyle/>
                    <a:p>
                      <a:pPr algn="ctr">
                        <a:lnSpc>
                          <a:spcPct val="85000"/>
                        </a:lnSpc>
                      </a:pPr>
                      <a:r>
                        <a:rPr lang="en-US" sz="1500" b="0" dirty="0"/>
                        <a:t>7 (7)</a:t>
                      </a:r>
                    </a:p>
                  </a:txBody>
                  <a:tcPr marL="18288" marR="18288" marT="27432" marB="27432" anchor="ctr"/>
                </a:tc>
                <a:extLst>
                  <a:ext uri="{0D108BD9-81ED-4DB2-BD59-A6C34878D82A}">
                    <a16:rowId xmlns:a16="http://schemas.microsoft.com/office/drawing/2014/main" val="2067079357"/>
                  </a:ext>
                </a:extLst>
              </a:tr>
              <a:tr h="246888">
                <a:tc>
                  <a:txBody>
                    <a:bodyPr/>
                    <a:lstStyle/>
                    <a:p>
                      <a:pPr marL="274320">
                        <a:lnSpc>
                          <a:spcPct val="85000"/>
                        </a:lnSpc>
                      </a:pPr>
                      <a:r>
                        <a:rPr lang="en-US" sz="1500" b="0" dirty="0"/>
                        <a:t>Hematologic</a:t>
                      </a:r>
                    </a:p>
                  </a:txBody>
                  <a:tcPr marL="18288" marR="18288" marT="27432" marB="27432" anchor="ctr"/>
                </a:tc>
                <a:tc>
                  <a:txBody>
                    <a:bodyPr/>
                    <a:lstStyle/>
                    <a:p>
                      <a:pPr algn="ctr">
                        <a:lnSpc>
                          <a:spcPct val="85000"/>
                        </a:lnSpc>
                      </a:pPr>
                      <a:r>
                        <a:rPr lang="en-US" sz="1500" b="0" dirty="0"/>
                        <a:t>4 (4)</a:t>
                      </a:r>
                    </a:p>
                  </a:txBody>
                  <a:tcPr marL="18288" marR="18288" marT="27432" marB="27432" anchor="ctr"/>
                </a:tc>
                <a:extLst>
                  <a:ext uri="{0D108BD9-81ED-4DB2-BD59-A6C34878D82A}">
                    <a16:rowId xmlns:a16="http://schemas.microsoft.com/office/drawing/2014/main" val="3284035679"/>
                  </a:ext>
                </a:extLst>
              </a:tr>
              <a:tr h="246888">
                <a:tc>
                  <a:txBody>
                    <a:bodyPr/>
                    <a:lstStyle/>
                    <a:p>
                      <a:pPr marL="18288">
                        <a:lnSpc>
                          <a:spcPct val="85000"/>
                        </a:lnSpc>
                      </a:pPr>
                      <a:r>
                        <a:rPr lang="en-US" sz="1500" b="1" dirty="0"/>
                        <a:t>Secondary T-cell malignancy, n (%)</a:t>
                      </a:r>
                    </a:p>
                  </a:txBody>
                  <a:tcPr marL="18288" marR="18288" marT="27432" marB="27432" anchor="ctr"/>
                </a:tc>
                <a:tc>
                  <a:txBody>
                    <a:bodyPr/>
                    <a:lstStyle/>
                    <a:p>
                      <a:pPr algn="ctr">
                        <a:lnSpc>
                          <a:spcPct val="85000"/>
                        </a:lnSpc>
                      </a:pPr>
                      <a:r>
                        <a:rPr lang="en-US" sz="1500" b="0" dirty="0"/>
                        <a:t>0 (0)</a:t>
                      </a:r>
                    </a:p>
                  </a:txBody>
                  <a:tcPr marL="18288" marR="18288" marT="27432" marB="27432" anchor="ctr"/>
                </a:tc>
                <a:extLst>
                  <a:ext uri="{0D108BD9-81ED-4DB2-BD59-A6C34878D82A}">
                    <a16:rowId xmlns:a16="http://schemas.microsoft.com/office/drawing/2014/main" val="781722792"/>
                  </a:ext>
                </a:extLst>
              </a:tr>
              <a:tr h="246888">
                <a:tc>
                  <a:txBody>
                    <a:bodyPr/>
                    <a:lstStyle/>
                    <a:p>
                      <a:pPr marL="18288">
                        <a:lnSpc>
                          <a:spcPct val="85000"/>
                        </a:lnSpc>
                      </a:pPr>
                      <a:r>
                        <a:rPr lang="en-US" sz="1500" b="1" dirty="0"/>
                        <a:t>Grade ≥3 cytopenia at Day 90 visit, n (%)</a:t>
                      </a:r>
                    </a:p>
                  </a:txBody>
                  <a:tcPr marL="18288" marR="18288" marT="27432" marB="27432" anchor="ctr"/>
                </a:tc>
                <a:tc>
                  <a:txBody>
                    <a:bodyPr/>
                    <a:lstStyle/>
                    <a:p>
                      <a:pPr algn="ctr">
                        <a:lnSpc>
                          <a:spcPct val="85000"/>
                        </a:lnSpc>
                      </a:pPr>
                      <a:r>
                        <a:rPr lang="en-US" sz="1500" b="1" dirty="0"/>
                        <a:t>23 (21)</a:t>
                      </a:r>
                    </a:p>
                  </a:txBody>
                  <a:tcPr marL="18288" marR="18288" marT="27432" marB="27432" anchor="ctr"/>
                </a:tc>
                <a:extLst>
                  <a:ext uri="{0D108BD9-81ED-4DB2-BD59-A6C34878D82A}">
                    <a16:rowId xmlns:a16="http://schemas.microsoft.com/office/drawing/2014/main" val="2763971656"/>
                  </a:ext>
                </a:extLst>
              </a:tr>
              <a:tr h="246888">
                <a:tc>
                  <a:txBody>
                    <a:bodyPr/>
                    <a:lstStyle/>
                    <a:p>
                      <a:pPr marL="274320">
                        <a:lnSpc>
                          <a:spcPct val="85000"/>
                        </a:lnSpc>
                      </a:pPr>
                      <a:r>
                        <a:rPr lang="en-US" sz="1500" b="0" dirty="0"/>
                        <a:t>Recovered to Grade ≤2 by Day 365, n/N (%)</a:t>
                      </a:r>
                    </a:p>
                  </a:txBody>
                  <a:tcPr marL="18288" marR="18288" marT="27432" marB="27432" anchor="ctr"/>
                </a:tc>
                <a:tc>
                  <a:txBody>
                    <a:bodyPr/>
                    <a:lstStyle/>
                    <a:p>
                      <a:pPr algn="ctr">
                        <a:lnSpc>
                          <a:spcPct val="85000"/>
                        </a:lnSpc>
                      </a:pPr>
                      <a:r>
                        <a:rPr lang="en-US" sz="1500" dirty="0"/>
                        <a:t>18/19 (95)</a:t>
                      </a:r>
                    </a:p>
                  </a:txBody>
                  <a:tcPr marL="18288" marR="18288" marT="27432" marB="27432" anchor="ctr"/>
                </a:tc>
                <a:extLst>
                  <a:ext uri="{0D108BD9-81ED-4DB2-BD59-A6C34878D82A}">
                    <a16:rowId xmlns:a16="http://schemas.microsoft.com/office/drawing/2014/main" val="2440505279"/>
                  </a:ext>
                </a:extLst>
              </a:tr>
            </a:tbl>
          </a:graphicData>
        </a:graphic>
      </p:graphicFrame>
      <p:pic>
        <p:nvPicPr>
          <p:cNvPr id="8" name="Picture 7">
            <a:extLst>
              <a:ext uri="{FF2B5EF4-FFF2-40B4-BE49-F238E27FC236}">
                <a16:creationId xmlns:a16="http://schemas.microsoft.com/office/drawing/2014/main" id="{637D05AE-FD66-EB59-7107-1EC9B9D97337}"/>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457200" y="1445833"/>
            <a:ext cx="4812453" cy="2651760"/>
          </a:xfrm>
          <a:prstGeom prst="rect">
            <a:avLst/>
          </a:prstGeom>
        </p:spPr>
      </p:pic>
      <p:sp>
        <p:nvSpPr>
          <p:cNvPr id="9" name="Content Placeholder 644">
            <a:extLst>
              <a:ext uri="{FF2B5EF4-FFF2-40B4-BE49-F238E27FC236}">
                <a16:creationId xmlns:a16="http://schemas.microsoft.com/office/drawing/2014/main" id="{2939F607-5F72-4229-C30E-9DF8EEC7A736}"/>
              </a:ext>
            </a:extLst>
          </p:cNvPr>
          <p:cNvSpPr txBox="1">
            <a:spLocks/>
          </p:cNvSpPr>
          <p:nvPr/>
        </p:nvSpPr>
        <p:spPr>
          <a:xfrm>
            <a:off x="457200" y="4242377"/>
            <a:ext cx="4766443" cy="1830201"/>
          </a:xfrm>
          <a:prstGeom prst="rect">
            <a:avLst/>
          </a:prstGeom>
          <a:solidFill>
            <a:schemeClr val="bg1">
              <a:lumMod val="95000"/>
            </a:schemeClr>
          </a:solidFill>
        </p:spPr>
        <p:txBody>
          <a:bodyPr vert="horz" lIns="91440" tIns="45720" rIns="91440" bIns="45720" rtlCol="0">
            <a:noAutofit/>
          </a:bodyPr>
          <a:lstStyle>
            <a:lvl1pPr marL="320040" indent="-320040" algn="l" defTabSz="914400" rtl="0" eaLnBrk="1" latinLnBrk="0" hangingPunct="1">
              <a:lnSpc>
                <a:spcPct val="100000"/>
              </a:lnSpc>
              <a:spcBef>
                <a:spcPts val="0"/>
              </a:spcBef>
              <a:spcAft>
                <a:spcPts val="300"/>
              </a:spcAft>
              <a:buClr>
                <a:schemeClr val="accent6"/>
              </a:buClr>
              <a:buSzPct val="85000"/>
              <a:buFont typeface="Wingdings" pitchFamily="2" charset="2"/>
              <a:buChar char="§"/>
              <a:defRPr sz="2400" kern="1200">
                <a:solidFill>
                  <a:schemeClr val="tx1"/>
                </a:solidFill>
                <a:latin typeface="+mn-lt"/>
                <a:ea typeface="+mn-ea"/>
                <a:cs typeface="+mn-cs"/>
              </a:defRPr>
            </a:lvl1pPr>
            <a:lvl2pPr marL="685800" indent="-320040" algn="l" defTabSz="914400" rtl="0" eaLnBrk="1" latinLnBrk="0" hangingPunct="1">
              <a:lnSpc>
                <a:spcPct val="100000"/>
              </a:lnSpc>
              <a:spcBef>
                <a:spcPts val="0"/>
              </a:spcBef>
              <a:spcAft>
                <a:spcPts val="300"/>
              </a:spcAft>
              <a:buClr>
                <a:schemeClr val="accent6"/>
              </a:buClr>
              <a:buFont typeface="System Font Regular"/>
              <a:buChar char="–"/>
              <a:defRPr sz="2000" kern="1200">
                <a:solidFill>
                  <a:schemeClr val="tx1"/>
                </a:solidFill>
                <a:latin typeface="+mn-lt"/>
                <a:ea typeface="+mn-ea"/>
                <a:cs typeface="+mn-cs"/>
              </a:defRPr>
            </a:lvl2pPr>
            <a:lvl3pPr marL="1143000" indent="-320040" algn="l" defTabSz="914400" rtl="0" eaLnBrk="1" latinLnBrk="0" hangingPunct="1">
              <a:lnSpc>
                <a:spcPct val="100000"/>
              </a:lnSpc>
              <a:spcBef>
                <a:spcPts val="0"/>
              </a:spcBef>
              <a:spcAft>
                <a:spcPts val="300"/>
              </a:spcAft>
              <a:buClr>
                <a:schemeClr val="accent6"/>
              </a:buClr>
              <a:buFont typeface="Arial" panose="020B0604020202020204" pitchFamily="34" charset="0"/>
              <a:buChar char="•"/>
              <a:defRPr sz="1800" kern="1200">
                <a:solidFill>
                  <a:schemeClr val="tx1"/>
                </a:solidFill>
                <a:latin typeface="+mn-lt"/>
                <a:ea typeface="+mn-ea"/>
                <a:cs typeface="+mn-cs"/>
              </a:defRPr>
            </a:lvl3pPr>
            <a:lvl4pPr marL="1600200" indent="-320040" algn="l" defTabSz="914400" rtl="0" eaLnBrk="1" latinLnBrk="0" hangingPunct="1">
              <a:lnSpc>
                <a:spcPct val="100000"/>
              </a:lnSpc>
              <a:spcBef>
                <a:spcPts val="0"/>
              </a:spcBef>
              <a:spcAft>
                <a:spcPts val="300"/>
              </a:spcAft>
              <a:buClr>
                <a:schemeClr val="accent6"/>
              </a:buClr>
              <a:buFont typeface="Wingdings" pitchFamily="2" charset="2"/>
              <a:buChar char="§"/>
              <a:defRPr sz="1600" kern="1200">
                <a:solidFill>
                  <a:schemeClr val="tx1"/>
                </a:solidFill>
                <a:latin typeface="+mn-lt"/>
                <a:ea typeface="+mn-ea"/>
                <a:cs typeface="+mn-cs"/>
              </a:defRPr>
            </a:lvl4pPr>
            <a:lvl5pPr marL="2057400" indent="-320040" algn="l" defTabSz="914400" rtl="0" eaLnBrk="1" latinLnBrk="0" hangingPunct="1">
              <a:lnSpc>
                <a:spcPct val="100000"/>
              </a:lnSpc>
              <a:spcBef>
                <a:spcPts val="300"/>
              </a:spcBef>
              <a:buClr>
                <a:schemeClr val="accent6"/>
              </a:buClr>
              <a:buFont typeface="Monaco" pitchFamily="2" charset="77"/>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20032" marR="0" lvl="0" indent="-320032" algn="l" defTabSz="914377" rtl="0" eaLnBrk="1" fontAlgn="auto" latinLnBrk="0" hangingPunct="1">
              <a:lnSpc>
                <a:spcPct val="90000"/>
              </a:lnSpc>
              <a:spcBef>
                <a:spcPts val="0"/>
              </a:spcBef>
              <a:spcAft>
                <a:spcPts val="300"/>
              </a:spcAft>
              <a:buClr>
                <a:srgbClr val="0191B6"/>
              </a:buClr>
              <a:buSzPct val="85000"/>
              <a:buFont typeface="Wingdings" pitchFamily="2" charset="2"/>
              <a:buChar char="§"/>
              <a:tabLst/>
              <a:defRPr/>
            </a:pPr>
            <a:r>
              <a:rPr kumimoji="0" lang="en-US" sz="1400" b="0" i="0" u="none" strike="noStrike" kern="1200" cap="none" spc="0" normalizeH="0" baseline="0" noProof="0" dirty="0">
                <a:ln>
                  <a:noFill/>
                </a:ln>
                <a:solidFill>
                  <a:srgbClr val="404040"/>
                </a:solidFill>
                <a:effectLst/>
                <a:uLnTx/>
                <a:uFillTx/>
                <a:latin typeface="Franklin Gothic Book" panose="020B0503020102020204"/>
                <a:ea typeface="+mn-ea"/>
                <a:cs typeface="+mn-cs"/>
              </a:rPr>
              <a:t>No new safety signals observed with longer follow-up</a:t>
            </a:r>
          </a:p>
          <a:p>
            <a:pPr marL="320032" marR="0" lvl="0" indent="-320032" algn="l" defTabSz="914377" rtl="0" eaLnBrk="1" fontAlgn="auto" latinLnBrk="0" hangingPunct="1">
              <a:lnSpc>
                <a:spcPct val="90000"/>
              </a:lnSpc>
              <a:spcBef>
                <a:spcPts val="0"/>
              </a:spcBef>
              <a:spcAft>
                <a:spcPts val="300"/>
              </a:spcAft>
              <a:buClr>
                <a:srgbClr val="0191B6"/>
              </a:buClr>
              <a:buSzPct val="85000"/>
              <a:buFont typeface="Wingdings" pitchFamily="2" charset="2"/>
              <a:buChar char="§"/>
              <a:tabLst/>
              <a:defRPr/>
            </a:pPr>
            <a:r>
              <a:rPr kumimoji="0" lang="en-US" sz="1400" b="0" i="0" u="none" strike="noStrike" kern="1200" cap="none" spc="0" normalizeH="0" baseline="0" noProof="0" dirty="0">
                <a:ln>
                  <a:noFill/>
                </a:ln>
                <a:solidFill>
                  <a:srgbClr val="404040"/>
                </a:solidFill>
                <a:effectLst/>
                <a:uLnTx/>
                <a:uFillTx/>
                <a:latin typeface="Franklin Gothic Book" panose="020B0503020102020204"/>
                <a:ea typeface="+mn-ea"/>
                <a:cs typeface="+mn-cs"/>
              </a:rPr>
              <a:t>Most cases of CRS and NEs were Grades 1-2</a:t>
            </a:r>
          </a:p>
          <a:p>
            <a:pPr marL="320032" marR="0" lvl="0" indent="-320032" algn="l" defTabSz="914377" rtl="0" eaLnBrk="1" fontAlgn="auto" latinLnBrk="0" hangingPunct="1">
              <a:lnSpc>
                <a:spcPct val="90000"/>
              </a:lnSpc>
              <a:spcBef>
                <a:spcPts val="0"/>
              </a:spcBef>
              <a:spcAft>
                <a:spcPts val="300"/>
              </a:spcAft>
              <a:buClr>
                <a:srgbClr val="0191B6"/>
              </a:buClr>
              <a:buSzPct val="85000"/>
              <a:buFont typeface="Wingdings" pitchFamily="2" charset="2"/>
              <a:buChar char="§"/>
              <a:tabLst/>
              <a:defRPr/>
            </a:pPr>
            <a:r>
              <a:rPr kumimoji="0" lang="en-US" sz="1400" b="0" i="0" u="none" strike="noStrike" kern="1200" cap="none" spc="0" normalizeH="0" baseline="0" noProof="0" dirty="0">
                <a:ln>
                  <a:noFill/>
                </a:ln>
                <a:solidFill>
                  <a:srgbClr val="404040"/>
                </a:solidFill>
                <a:effectLst/>
                <a:uLnTx/>
                <a:uFillTx/>
                <a:latin typeface="Franklin Gothic Book" panose="020B0503020102020204"/>
                <a:ea typeface="+mn-ea"/>
                <a:cs typeface="+mn-cs"/>
              </a:rPr>
              <a:t>Incidence of Grade ≥3 neutropenia and use of growth factors was consistently low after Month 4</a:t>
            </a:r>
          </a:p>
          <a:p>
            <a:pPr marL="320032" marR="0" lvl="0" indent="-320032" algn="l" defTabSz="914377" rtl="0" eaLnBrk="1" fontAlgn="auto" latinLnBrk="0" hangingPunct="1">
              <a:lnSpc>
                <a:spcPct val="90000"/>
              </a:lnSpc>
              <a:spcBef>
                <a:spcPts val="0"/>
              </a:spcBef>
              <a:spcAft>
                <a:spcPts val="300"/>
              </a:spcAft>
              <a:buClr>
                <a:srgbClr val="0191B6"/>
              </a:buClr>
              <a:buSzPct val="85000"/>
              <a:buFont typeface="Wingdings" pitchFamily="2" charset="2"/>
              <a:buChar char="§"/>
              <a:tabLst/>
              <a:defRPr/>
            </a:pPr>
            <a:r>
              <a:rPr kumimoji="0" lang="en-US" sz="1400" b="0" i="0" u="none" strike="noStrike" kern="1200" cap="none" spc="0" normalizeH="0" baseline="0" noProof="0" dirty="0">
                <a:ln>
                  <a:noFill/>
                </a:ln>
                <a:solidFill>
                  <a:srgbClr val="404040"/>
                </a:solidFill>
                <a:effectLst/>
                <a:uLnTx/>
                <a:uFillTx/>
                <a:latin typeface="Franklin Gothic Book" panose="020B0503020102020204"/>
                <a:ea typeface="+mn-ea"/>
                <a:cs typeface="+mn-cs"/>
              </a:rPr>
              <a:t>&gt;50% of patients had persistent B-cell aplasia or hypogammaglobulinemia at 1-y after infusion; despite this, incidence of infections was consistently low in long‐term follow-up </a:t>
            </a:r>
          </a:p>
        </p:txBody>
      </p:sp>
    </p:spTree>
    <p:extLst>
      <p:ext uri="{BB962C8B-B14F-4D97-AF65-F5344CB8AC3E}">
        <p14:creationId xmlns:p14="http://schemas.microsoft.com/office/powerpoint/2010/main" val="1001007509"/>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E5CA37-A309-FF36-D2CB-04BDC056213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C9958DC3-0668-2ABB-8227-81C77FE37140}"/>
              </a:ext>
            </a:extLst>
          </p:cNvPr>
          <p:cNvSpPr>
            <a:spLocks noGrp="1"/>
          </p:cNvSpPr>
          <p:nvPr>
            <p:ph type="title"/>
          </p:nvPr>
        </p:nvSpPr>
        <p:spPr>
          <a:xfrm>
            <a:off x="378463" y="160868"/>
            <a:ext cx="11435077" cy="677333"/>
          </a:xfrm>
        </p:spPr>
        <p:txBody>
          <a:bodyPr/>
          <a:lstStyle/>
          <a:p>
            <a:r>
              <a:rPr lang="en-US" sz="2800" b="1" dirty="0">
                <a:solidFill>
                  <a:srgbClr val="002060"/>
                </a:solidFill>
                <a:latin typeface="Calibri" panose="020F0502020204030204" pitchFamily="34" charset="0"/>
                <a:cs typeface="Calibri" panose="020F0502020204030204" pitchFamily="34" charset="0"/>
              </a:rPr>
              <a:t>Liso-cel showed favorable long-term safety</a:t>
            </a:r>
          </a:p>
        </p:txBody>
      </p:sp>
      <p:sp>
        <p:nvSpPr>
          <p:cNvPr id="162" name="TextBox 161">
            <a:extLst>
              <a:ext uri="{FF2B5EF4-FFF2-40B4-BE49-F238E27FC236}">
                <a16:creationId xmlns:a16="http://schemas.microsoft.com/office/drawing/2014/main" id="{70B45780-69D9-413C-6307-AD0C2EC6FB31}"/>
              </a:ext>
            </a:extLst>
          </p:cNvPr>
          <p:cNvSpPr txBox="1"/>
          <p:nvPr/>
        </p:nvSpPr>
        <p:spPr>
          <a:xfrm>
            <a:off x="4314838" y="6596391"/>
            <a:ext cx="3562325" cy="261610"/>
          </a:xfrm>
          <a:prstGeom prst="rect">
            <a:avLst/>
          </a:prstGeom>
          <a:noFill/>
        </p:spPr>
        <p:txBody>
          <a:bodyPr wrap="square">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Arial" panose="020B0604020202020204" pitchFamily="34" charset="0"/>
              </a:rPr>
              <a:t>Ahmed S, et al. ASH 2025 [Abstract #467]</a:t>
            </a:r>
          </a:p>
        </p:txBody>
      </p:sp>
      <p:sp>
        <p:nvSpPr>
          <p:cNvPr id="164" name="TextBox 163">
            <a:extLst>
              <a:ext uri="{FF2B5EF4-FFF2-40B4-BE49-F238E27FC236}">
                <a16:creationId xmlns:a16="http://schemas.microsoft.com/office/drawing/2014/main" id="{044D9E26-9AC9-2405-A2FF-593E64887D50}"/>
              </a:ext>
            </a:extLst>
          </p:cNvPr>
          <p:cNvSpPr txBox="1"/>
          <p:nvPr/>
        </p:nvSpPr>
        <p:spPr>
          <a:xfrm>
            <a:off x="11134845" y="85060"/>
            <a:ext cx="1212112" cy="246221"/>
          </a:xfrm>
          <a:prstGeom prst="rect">
            <a:avLst/>
          </a:prstGeom>
          <a:noFill/>
        </p:spPr>
        <p:txBody>
          <a:bodyPr wrap="squar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95454"/>
                </a:solidFill>
                <a:effectLst/>
                <a:uLnTx/>
                <a:uFillTx/>
                <a:latin typeface="Trebuchet MS" panose="020B0603020202020204"/>
                <a:ea typeface="+mn-ea"/>
                <a:cs typeface="Arial" charset="0"/>
              </a:rPr>
              <a:t>TRANSCEND FL</a:t>
            </a:r>
          </a:p>
        </p:txBody>
      </p:sp>
      <p:graphicFrame>
        <p:nvGraphicFramePr>
          <p:cNvPr id="7" name="Chart 6">
            <a:extLst>
              <a:ext uri="{FF2B5EF4-FFF2-40B4-BE49-F238E27FC236}">
                <a16:creationId xmlns:a16="http://schemas.microsoft.com/office/drawing/2014/main" id="{ED480987-C711-127E-1F11-7C474904BBA2}"/>
              </a:ext>
            </a:extLst>
          </p:cNvPr>
          <p:cNvGraphicFramePr/>
          <p:nvPr/>
        </p:nvGraphicFramePr>
        <p:xfrm>
          <a:off x="6137376" y="924815"/>
          <a:ext cx="5749299" cy="2727855"/>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Box 9">
            <a:extLst>
              <a:ext uri="{FF2B5EF4-FFF2-40B4-BE49-F238E27FC236}">
                <a16:creationId xmlns:a16="http://schemas.microsoft.com/office/drawing/2014/main" id="{D85B3A22-B86D-4E3E-01D8-FC666AC012A3}"/>
              </a:ext>
            </a:extLst>
          </p:cNvPr>
          <p:cNvSpPr txBox="1"/>
          <p:nvPr/>
        </p:nvSpPr>
        <p:spPr>
          <a:xfrm>
            <a:off x="7349866" y="4560879"/>
            <a:ext cx="4500599" cy="954107"/>
          </a:xfrm>
          <a:prstGeom prst="rect">
            <a:avLst/>
          </a:prstGeom>
          <a:noFill/>
        </p:spPr>
        <p:txBody>
          <a:bodyPr wrap="square">
            <a:spAutoFit/>
          </a:bodyPr>
          <a:lstStyle/>
          <a:p>
            <a:pPr marL="176209" marR="0" lvl="0" indent="-176209" algn="l" defTabSz="121914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595454"/>
                </a:solidFill>
                <a:effectLst/>
                <a:uLnTx/>
                <a:uFillTx/>
                <a:latin typeface="Trebuchet MS" panose="020B0603020202020204"/>
                <a:ea typeface="+mn-ea"/>
                <a:cs typeface="Arial" charset="0"/>
              </a:rPr>
              <a:t>Incidences of infections were consistently low across all time periods d</a:t>
            </a:r>
            <a:r>
              <a:rPr kumimoji="0" lang="en-US" sz="1400" b="0" i="0" u="none" strike="noStrike" kern="1200" cap="none" spc="0" normalizeH="0" baseline="0" noProof="0" dirty="0" err="1">
                <a:ln>
                  <a:noFill/>
                </a:ln>
                <a:solidFill>
                  <a:srgbClr val="595454"/>
                </a:solidFill>
                <a:effectLst/>
                <a:uLnTx/>
                <a:uFillTx/>
                <a:latin typeface="Trebuchet MS" panose="020B0603020202020204"/>
                <a:ea typeface="+mn-ea"/>
                <a:cs typeface="Arial" charset="0"/>
              </a:rPr>
              <a:t>espite</a:t>
            </a:r>
            <a:r>
              <a:rPr kumimoji="0" lang="en-US" sz="1400" b="0" i="0" u="none" strike="noStrike" kern="1200" cap="none" spc="0" normalizeH="0" baseline="0" noProof="0" dirty="0">
                <a:ln>
                  <a:noFill/>
                </a:ln>
                <a:solidFill>
                  <a:srgbClr val="595454"/>
                </a:solidFill>
                <a:effectLst/>
                <a:uLnTx/>
                <a:uFillTx/>
                <a:latin typeface="Trebuchet MS" panose="020B0603020202020204"/>
                <a:ea typeface="+mn-ea"/>
                <a:cs typeface="Arial" charset="0"/>
              </a:rPr>
              <a:t> persistent B-cell aplasia or hypogammaglobulinemia in &gt; 50% of patients at 1 year after infusion</a:t>
            </a:r>
          </a:p>
        </p:txBody>
      </p:sp>
      <p:sp>
        <p:nvSpPr>
          <p:cNvPr id="11" name="TextBox 10">
            <a:extLst>
              <a:ext uri="{FF2B5EF4-FFF2-40B4-BE49-F238E27FC236}">
                <a16:creationId xmlns:a16="http://schemas.microsoft.com/office/drawing/2014/main" id="{9AA57A1A-5CEF-4F49-2574-5F64ACF30823}"/>
              </a:ext>
            </a:extLst>
          </p:cNvPr>
          <p:cNvSpPr txBox="1"/>
          <p:nvPr/>
        </p:nvSpPr>
        <p:spPr>
          <a:xfrm>
            <a:off x="7372088" y="3774979"/>
            <a:ext cx="4500600" cy="738664"/>
          </a:xfrm>
          <a:prstGeom prst="rect">
            <a:avLst/>
          </a:prstGeom>
          <a:noFill/>
        </p:spPr>
        <p:txBody>
          <a:bodyPr wrap="square">
            <a:spAutoFit/>
          </a:bodyPr>
          <a:lstStyle/>
          <a:p>
            <a:pPr marL="176209" marR="0" lvl="0" indent="-176209" algn="l" defTabSz="121914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595454"/>
                </a:solidFill>
                <a:effectLst/>
                <a:uLnTx/>
                <a:uFillTx/>
                <a:latin typeface="Trebuchet MS" panose="020B0603020202020204"/>
                <a:ea typeface="+mn-ea"/>
                <a:cs typeface="Arial" charset="0"/>
              </a:rPr>
              <a:t>Incidences of grade ≥ 3 neutropenia and use of growth factors remained consistently low from Month 4 onward</a:t>
            </a:r>
            <a:endParaRPr kumimoji="0" lang="en-US" sz="1400" b="0" i="0" u="none" strike="sngStrike" kern="1200" cap="none" spc="0" normalizeH="0" baseline="0" noProof="0" dirty="0">
              <a:ln>
                <a:noFill/>
              </a:ln>
              <a:solidFill>
                <a:srgbClr val="595454"/>
              </a:solidFill>
              <a:effectLst/>
              <a:uLnTx/>
              <a:uFillTx/>
              <a:latin typeface="Trebuchet MS" panose="020B0603020202020204"/>
              <a:ea typeface="+mn-ea"/>
              <a:cs typeface="Arial" charset="0"/>
            </a:endParaRPr>
          </a:p>
        </p:txBody>
      </p:sp>
      <p:grpSp>
        <p:nvGrpSpPr>
          <p:cNvPr id="26" name="Group 25">
            <a:extLst>
              <a:ext uri="{FF2B5EF4-FFF2-40B4-BE49-F238E27FC236}">
                <a16:creationId xmlns:a16="http://schemas.microsoft.com/office/drawing/2014/main" id="{8294D026-80C3-DF4C-0F29-4A94682FF76F}"/>
              </a:ext>
            </a:extLst>
          </p:cNvPr>
          <p:cNvGrpSpPr/>
          <p:nvPr/>
        </p:nvGrpSpPr>
        <p:grpSpPr>
          <a:xfrm>
            <a:off x="119365" y="953046"/>
            <a:ext cx="5752875" cy="2850749"/>
            <a:chOff x="6062888" y="1028196"/>
            <a:chExt cx="5752875" cy="2850749"/>
          </a:xfrm>
        </p:grpSpPr>
        <p:sp>
          <p:nvSpPr>
            <p:cNvPr id="27" name="Rectangle 26">
              <a:extLst>
                <a:ext uri="{FF2B5EF4-FFF2-40B4-BE49-F238E27FC236}">
                  <a16:creationId xmlns:a16="http://schemas.microsoft.com/office/drawing/2014/main" id="{F380D504-DE3A-33EA-D9DC-A85C352FFD01}"/>
                </a:ext>
              </a:extLst>
            </p:cNvPr>
            <p:cNvSpPr/>
            <p:nvPr/>
          </p:nvSpPr>
          <p:spPr>
            <a:xfrm>
              <a:off x="6062888" y="1028196"/>
              <a:ext cx="5752875" cy="26929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graphicFrame>
          <p:nvGraphicFramePr>
            <p:cNvPr id="28" name="Chart 27">
              <a:extLst>
                <a:ext uri="{FF2B5EF4-FFF2-40B4-BE49-F238E27FC236}">
                  <a16:creationId xmlns:a16="http://schemas.microsoft.com/office/drawing/2014/main" id="{7F6010FF-6565-0212-50F7-D9E2BE574272}"/>
                </a:ext>
              </a:extLst>
            </p:cNvPr>
            <p:cNvGraphicFramePr/>
            <p:nvPr/>
          </p:nvGraphicFramePr>
          <p:xfrm>
            <a:off x="6062888" y="1028196"/>
            <a:ext cx="5749299" cy="2850749"/>
          </p:xfrm>
          <a:graphic>
            <a:graphicData uri="http://schemas.openxmlformats.org/drawingml/2006/chart">
              <c:chart xmlns:c="http://schemas.openxmlformats.org/drawingml/2006/chart" xmlns:r="http://schemas.openxmlformats.org/officeDocument/2006/relationships" r:id="rId5"/>
            </a:graphicData>
          </a:graphic>
        </p:graphicFrame>
      </p:grpSp>
      <p:grpSp>
        <p:nvGrpSpPr>
          <p:cNvPr id="32" name="Group 31">
            <a:extLst>
              <a:ext uri="{FF2B5EF4-FFF2-40B4-BE49-F238E27FC236}">
                <a16:creationId xmlns:a16="http://schemas.microsoft.com/office/drawing/2014/main" id="{DFEB5C36-66B5-576A-1685-1776E63F7CEA}"/>
              </a:ext>
            </a:extLst>
          </p:cNvPr>
          <p:cNvGrpSpPr/>
          <p:nvPr/>
        </p:nvGrpSpPr>
        <p:grpSpPr>
          <a:xfrm>
            <a:off x="-44451" y="3645949"/>
            <a:ext cx="7341624" cy="2361136"/>
            <a:chOff x="0" y="3614125"/>
            <a:chExt cx="7341624" cy="2403020"/>
          </a:xfrm>
        </p:grpSpPr>
        <p:sp>
          <p:nvSpPr>
            <p:cNvPr id="33" name="Rectangle 32">
              <a:extLst>
                <a:ext uri="{FF2B5EF4-FFF2-40B4-BE49-F238E27FC236}">
                  <a16:creationId xmlns:a16="http://schemas.microsoft.com/office/drawing/2014/main" id="{33AE9C20-B019-DB82-C660-10FF0EE28645}"/>
                </a:ext>
              </a:extLst>
            </p:cNvPr>
            <p:cNvSpPr/>
            <p:nvPr/>
          </p:nvSpPr>
          <p:spPr>
            <a:xfrm>
              <a:off x="88900" y="3614125"/>
              <a:ext cx="7252724" cy="24030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graphicFrame>
          <p:nvGraphicFramePr>
            <p:cNvPr id="34" name="Chart 33">
              <a:extLst>
                <a:ext uri="{FF2B5EF4-FFF2-40B4-BE49-F238E27FC236}">
                  <a16:creationId xmlns:a16="http://schemas.microsoft.com/office/drawing/2014/main" id="{13652A30-247C-6633-EDD2-D31587399426}"/>
                </a:ext>
              </a:extLst>
            </p:cNvPr>
            <p:cNvGraphicFramePr/>
            <p:nvPr/>
          </p:nvGraphicFramePr>
          <p:xfrm>
            <a:off x="0" y="3614125"/>
            <a:ext cx="7252724" cy="2403020"/>
          </p:xfrm>
          <a:graphic>
            <a:graphicData uri="http://schemas.openxmlformats.org/drawingml/2006/chart">
              <c:chart xmlns:c="http://schemas.openxmlformats.org/drawingml/2006/chart" xmlns:r="http://schemas.openxmlformats.org/officeDocument/2006/relationships" r:id="rId6"/>
            </a:graphicData>
          </a:graphic>
        </p:graphicFrame>
      </p:grpSp>
      <p:sp>
        <p:nvSpPr>
          <p:cNvPr id="2" name="TextBox 1">
            <a:extLst>
              <a:ext uri="{FF2B5EF4-FFF2-40B4-BE49-F238E27FC236}">
                <a16:creationId xmlns:a16="http://schemas.microsoft.com/office/drawing/2014/main" id="{DF44C12D-2F6C-50C5-DB60-12039E9A35A2}"/>
              </a:ext>
            </a:extLst>
          </p:cNvPr>
          <p:cNvSpPr txBox="1"/>
          <p:nvPr>
            <p:custDataLst>
              <p:tags r:id="rId1"/>
            </p:custDataLst>
          </p:nvPr>
        </p:nvSpPr>
        <p:spPr>
          <a:xfrm>
            <a:off x="378463" y="5932535"/>
            <a:ext cx="10950276" cy="692497"/>
          </a:xfrm>
          <a:prstGeom prst="rect">
            <a:avLst/>
          </a:prstGeom>
          <a:noFill/>
        </p:spPr>
        <p:txBody>
          <a:bodyPr vert="horz" wrap="square" lIns="0" tIns="0" rIns="0" bIns="0" rtlCol="0" anchor="b" anchorCtr="0">
            <a:spAutoFit/>
          </a:bodyPr>
          <a:lstStyle/>
          <a:p>
            <a:pPr marL="0" marR="0" lvl="0" indent="0" algn="l" defTabSz="914377" rtl="0" eaLnBrk="1" fontAlgn="auto" latinLnBrk="0" hangingPunct="1">
              <a:lnSpc>
                <a:spcPct val="100000"/>
              </a:lnSpc>
              <a:spcBef>
                <a:spcPts val="0"/>
              </a:spcBef>
              <a:spcAft>
                <a:spcPts val="0"/>
              </a:spcAft>
              <a:buClrTx/>
              <a:buSzPct val="100000"/>
              <a:buFontTx/>
              <a:buNone/>
              <a:tabLst/>
              <a:defRPr/>
            </a:pPr>
            <a:r>
              <a:rPr kumimoji="0" lang="en-US" sz="900" b="0" i="0" u="none" strike="noStrike" kern="1200" cap="none" spc="0" normalizeH="0" baseline="0" noProof="0" dirty="0">
                <a:ln>
                  <a:noFill/>
                </a:ln>
                <a:solidFill>
                  <a:srgbClr val="595454"/>
                </a:solidFill>
                <a:effectLst/>
                <a:uLnTx/>
                <a:uFillTx/>
                <a:latin typeface="Trebuchet MS" panose="020B0603020202020204"/>
                <a:ea typeface="+mn-ea"/>
                <a:cs typeface="Arial" charset="0"/>
              </a:rPr>
              <a:t>Proportions for grade ≥ 3 neutropenia, B-cell aplasia, and hypogammaglobulinemia were calculated using the number of patients evaluated for each laboratory parameter in each time period as the denominator. From M25—M36, &gt; 50% of patients on study had missing values for laboratory parameters. Proportions for infections and growth factor use were calculated using the number of patients on study in each time period: D0—D15, n = 107; D16—D30, n = 106; M2—M3, n = 106; M4—M6, n = 105; M7—M9, n = 100; M10—M12, n = 97; M13—M18, n = 97; M19—M24, n = 94; M25—M30, n = 90; M31—M36, n = 85; M37—EOS, n = 81. Monthly ranges start on the first day of the first month and end on the last day of the last month. Each patient is counted once in each time period but is counted again if having an event in another time period. Results are consistent when patients who started subsequent </a:t>
            </a:r>
            <a:r>
              <a:rPr kumimoji="0" lang="en-US" sz="900" b="0" i="0" u="none" strike="noStrike" kern="1200" cap="none" spc="0" normalizeH="0" baseline="0" noProof="0" dirty="0" err="1">
                <a:ln>
                  <a:noFill/>
                </a:ln>
                <a:solidFill>
                  <a:srgbClr val="595454"/>
                </a:solidFill>
                <a:effectLst/>
                <a:uLnTx/>
                <a:uFillTx/>
                <a:latin typeface="Trebuchet MS" panose="020B0603020202020204"/>
                <a:ea typeface="+mn-ea"/>
                <a:cs typeface="Arial" charset="0"/>
              </a:rPr>
              <a:t>antilymphoma</a:t>
            </a:r>
            <a:r>
              <a:rPr kumimoji="0" lang="en-US" sz="900" b="0" i="0" u="none" strike="noStrike" kern="1200" cap="none" spc="0" normalizeH="0" baseline="0" noProof="0" dirty="0">
                <a:ln>
                  <a:noFill/>
                </a:ln>
                <a:solidFill>
                  <a:srgbClr val="595454"/>
                </a:solidFill>
                <a:effectLst/>
                <a:uLnTx/>
                <a:uFillTx/>
                <a:latin typeface="Trebuchet MS" panose="020B0603020202020204"/>
                <a:ea typeface="+mn-ea"/>
                <a:cs typeface="Arial" charset="0"/>
              </a:rPr>
              <a:t> therapy were excluded at the initiation of subsequent therapy. D, Day; M, Month; IVIG, intravenous immunoglobulin G.</a:t>
            </a:r>
          </a:p>
        </p:txBody>
      </p:sp>
    </p:spTree>
    <p:extLst>
      <p:ext uri="{BB962C8B-B14F-4D97-AF65-F5344CB8AC3E}">
        <p14:creationId xmlns:p14="http://schemas.microsoft.com/office/powerpoint/2010/main" val="6229668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par>
                                <p:cTn id="17" presetID="3" presetClass="emph" presetSubtype="2" decel="5000" fill="hold" grpId="1" nodeType="withEffect">
                                  <p:stCondLst>
                                    <p:cond delay="0"/>
                                  </p:stCondLst>
                                  <p:childTnLst>
                                    <p:animClr clrSpc="rgb" dir="cw">
                                      <p:cBhvr override="childStyle">
                                        <p:cTn id="18" dur="2000" fill="hold"/>
                                        <p:tgtEl>
                                          <p:spTgt spid="11"/>
                                        </p:tgtEl>
                                        <p:attrNameLst>
                                          <p:attrName>style.color</p:attrName>
                                        </p:attrNameLst>
                                      </p:cBhvr>
                                      <p:to>
                                        <a:schemeClr val="bg2"/>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p:bldAsOne/>
      </p:bldGraphic>
      <p:bldP spid="10" grpId="0"/>
      <p:bldP spid="11" grpId="0"/>
      <p:bldP spid="11" grpId="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
            <a:ext cx="10515600" cy="1144588"/>
          </a:xfrm>
        </p:spPr>
        <p:txBody>
          <a:bodyPr>
            <a:normAutofit/>
          </a:bodyPr>
          <a:lstStyle/>
          <a:p>
            <a:r>
              <a:rPr lang="en-US" sz="3000" dirty="0"/>
              <a:t>Faculty</a:t>
            </a:r>
          </a:p>
        </p:txBody>
      </p:sp>
      <p:sp>
        <p:nvSpPr>
          <p:cNvPr id="3" name="Text Box 7">
            <a:extLst>
              <a:ext uri="{FF2B5EF4-FFF2-40B4-BE49-F238E27FC236}">
                <a16:creationId xmlns:a16="http://schemas.microsoft.com/office/drawing/2014/main" id="{68212B66-3867-19C1-A02A-CD2F66D2DB30}"/>
              </a:ext>
            </a:extLst>
          </p:cNvPr>
          <p:cNvSpPr txBox="1">
            <a:spLocks noChangeArrowheads="1"/>
          </p:cNvSpPr>
          <p:nvPr/>
        </p:nvSpPr>
        <p:spPr bwMode="auto">
          <a:xfrm>
            <a:off x="2324486" y="1653363"/>
            <a:ext cx="3840480"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Manali Kamdar, MD, MBBS</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University of Colorado Cancer Cente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urora, Colorado</a:t>
            </a:r>
          </a:p>
        </p:txBody>
      </p:sp>
      <p:pic>
        <p:nvPicPr>
          <p:cNvPr id="5" name="Picture 4">
            <a:extLst>
              <a:ext uri="{FF2B5EF4-FFF2-40B4-BE49-F238E27FC236}">
                <a16:creationId xmlns:a16="http://schemas.microsoft.com/office/drawing/2014/main" id="{417E00C0-B344-9597-E2B6-70E097F1F547}"/>
              </a:ext>
            </a:extLst>
          </p:cNvPr>
          <p:cNvPicPr>
            <a:picLocks noChangeAspect="1"/>
          </p:cNvPicPr>
          <p:nvPr/>
        </p:nvPicPr>
        <p:blipFill>
          <a:blip r:embed="rId4"/>
          <a:srcRect/>
          <a:stretch/>
        </p:blipFill>
        <p:spPr>
          <a:xfrm>
            <a:off x="1002847" y="1653363"/>
            <a:ext cx="1261872" cy="1261872"/>
          </a:xfrm>
          <a:prstGeom prst="rect">
            <a:avLst/>
          </a:prstGeom>
        </p:spPr>
      </p:pic>
      <p:sp>
        <p:nvSpPr>
          <p:cNvPr id="6" name="Text Box 7">
            <a:extLst>
              <a:ext uri="{FF2B5EF4-FFF2-40B4-BE49-F238E27FC236}">
                <a16:creationId xmlns:a16="http://schemas.microsoft.com/office/drawing/2014/main" id="{E33187F1-27DA-AD73-A6C0-EEDB017B3D9E}"/>
              </a:ext>
            </a:extLst>
          </p:cNvPr>
          <p:cNvSpPr txBox="1">
            <a:spLocks noChangeArrowheads="1"/>
          </p:cNvSpPr>
          <p:nvPr/>
        </p:nvSpPr>
        <p:spPr bwMode="auto">
          <a:xfrm>
            <a:off x="2324486" y="4083960"/>
            <a:ext cx="3840480"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Krish Patel, M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Sarah Cannon Research Institut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Nashville, Tennessee</a:t>
            </a:r>
          </a:p>
        </p:txBody>
      </p:sp>
      <p:pic>
        <p:nvPicPr>
          <p:cNvPr id="7" name="Picture 6">
            <a:extLst>
              <a:ext uri="{FF2B5EF4-FFF2-40B4-BE49-F238E27FC236}">
                <a16:creationId xmlns:a16="http://schemas.microsoft.com/office/drawing/2014/main" id="{E0CA0BDF-67BB-0375-3682-02B2E489EB9D}"/>
              </a:ext>
            </a:extLst>
          </p:cNvPr>
          <p:cNvPicPr>
            <a:picLocks noChangeAspect="1"/>
          </p:cNvPicPr>
          <p:nvPr/>
        </p:nvPicPr>
        <p:blipFill>
          <a:blip r:embed="rId5"/>
          <a:srcRect/>
          <a:stretch/>
        </p:blipFill>
        <p:spPr>
          <a:xfrm>
            <a:off x="1002847" y="4083960"/>
            <a:ext cx="1261872" cy="1261872"/>
          </a:xfrm>
          <a:prstGeom prst="rect">
            <a:avLst/>
          </a:prstGeom>
        </p:spPr>
      </p:pic>
      <p:sp>
        <p:nvSpPr>
          <p:cNvPr id="10" name="Text Box 9">
            <a:extLst>
              <a:ext uri="{FF2B5EF4-FFF2-40B4-BE49-F238E27FC236}">
                <a16:creationId xmlns:a16="http://schemas.microsoft.com/office/drawing/2014/main" id="{218C4E00-9474-D984-3CA3-4108A5128A34}"/>
              </a:ext>
            </a:extLst>
          </p:cNvPr>
          <p:cNvSpPr txBox="1">
            <a:spLocks noChangeArrowheads="1"/>
          </p:cNvSpPr>
          <p:nvPr/>
        </p:nvSpPr>
        <p:spPr bwMode="auto">
          <a:xfrm>
            <a:off x="7546372" y="1653363"/>
            <a:ext cx="3840480"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1" i="0" u="none" strike="noStrike" kern="1200" cap="none" spc="0" normalizeH="0" baseline="0" noProof="0" dirty="0">
                <a:ln>
                  <a:noFill/>
                </a:ln>
                <a:solidFill>
                  <a:srgbClr val="000000"/>
                </a:solidFill>
                <a:effectLst/>
                <a:uLnTx/>
                <a:uFillTx/>
                <a:latin typeface="Calibri" pitchFamily="-72" charset="0"/>
                <a:ea typeface="MS PGothic" charset="0"/>
                <a:cs typeface="+mn-cs"/>
              </a:rPr>
              <a:t>Gilles Salles, MD, PhD</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rPr>
              <a:t>Memorial Sloan Kettering Cancer Center</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rPr>
              <a:t>New York, New York</a:t>
            </a:r>
          </a:p>
        </p:txBody>
      </p:sp>
      <p:sp>
        <p:nvSpPr>
          <p:cNvPr id="9" name="Text Box 7">
            <a:extLst>
              <a:ext uri="{FF2B5EF4-FFF2-40B4-BE49-F238E27FC236}">
                <a16:creationId xmlns:a16="http://schemas.microsoft.com/office/drawing/2014/main" id="{A565E22C-B02F-4D21-4F55-695D10D20EA0}"/>
              </a:ext>
            </a:extLst>
          </p:cNvPr>
          <p:cNvSpPr txBox="1">
            <a:spLocks noChangeArrowheads="1"/>
          </p:cNvSpPr>
          <p:nvPr/>
        </p:nvSpPr>
        <p:spPr bwMode="auto">
          <a:xfrm>
            <a:off x="7546372" y="4083960"/>
            <a:ext cx="3840480"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2000" b="1" i="0" u="none" strike="noStrike" kern="1200" cap="none" spc="0" normalizeH="0" baseline="0" noProof="0" dirty="0">
                <a:ln>
                  <a:noFill/>
                </a:ln>
                <a:solidFill>
                  <a:srgbClr val="0432FF"/>
                </a:solidFill>
                <a:effectLst/>
                <a:uLnTx/>
                <a:uFillTx/>
                <a:latin typeface="Calibri" pitchFamily="-72" charset="0"/>
                <a:ea typeface="MS PGothic" charset="0"/>
                <a:cs typeface="+mn-cs"/>
              </a:rPr>
              <a:t>Moderator</a:t>
            </a:r>
            <a:br>
              <a:rPr kumimoji="0" lang="en-US" sz="1700" b="1" i="0" u="none" strike="noStrike" kern="1200" cap="none" spc="0" normalizeH="0" baseline="0" noProof="0" dirty="0">
                <a:ln>
                  <a:noFill/>
                </a:ln>
                <a:solidFill>
                  <a:srgbClr val="000000"/>
                </a:solidFill>
                <a:effectLst/>
                <a:uLnTx/>
                <a:uFillTx/>
                <a:latin typeface="Calibri" pitchFamily="-72" charset="0"/>
                <a:ea typeface="MS PGothic" charset="0"/>
                <a:cs typeface="+mn-cs"/>
              </a:rPr>
            </a:br>
            <a:r>
              <a:rPr kumimoji="0" lang="en-US" sz="1700" b="1" i="0" u="none" strike="noStrike" kern="1200" cap="none" spc="0" normalizeH="0" baseline="0" noProof="0" dirty="0">
                <a:ln>
                  <a:noFill/>
                </a:ln>
                <a:solidFill>
                  <a:srgbClr val="000000"/>
                </a:solidFill>
                <a:effectLst/>
                <a:uLnTx/>
                <a:uFillTx/>
                <a:latin typeface="Calibri" pitchFamily="-72" charset="0"/>
                <a:ea typeface="MS PGothic" charset="0"/>
                <a:cs typeface="+mn-cs"/>
              </a:rPr>
              <a:t>Neil Love, MD</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700" b="0" i="0" u="none" strike="noStrike" kern="1200" cap="none" spc="0" normalizeH="0" baseline="0" noProof="0" dirty="0">
                <a:ln>
                  <a:noFill/>
                </a:ln>
                <a:solidFill>
                  <a:srgbClr val="000000"/>
                </a:solidFill>
                <a:effectLst/>
                <a:uLnTx/>
                <a:uFillTx/>
                <a:latin typeface="Calibri" pitchFamily="-72" charset="0"/>
                <a:ea typeface="MS PGothic" charset="0"/>
                <a:cs typeface="+mn-cs"/>
              </a:rPr>
              <a:t>Research To Practice</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700" b="0" i="0" u="none" strike="noStrike" kern="1200" cap="none" spc="0" normalizeH="0" baseline="0" noProof="0" dirty="0">
                <a:ln>
                  <a:noFill/>
                </a:ln>
                <a:solidFill>
                  <a:srgbClr val="000000"/>
                </a:solidFill>
                <a:effectLst/>
                <a:uLnTx/>
                <a:uFillTx/>
                <a:latin typeface="Calibri" pitchFamily="-72" charset="0"/>
                <a:ea typeface="MS PGothic" charset="0"/>
                <a:cs typeface="+mn-cs"/>
              </a:rPr>
              <a:t>Miami, Florida</a:t>
            </a:r>
          </a:p>
        </p:txBody>
      </p:sp>
      <p:pic>
        <p:nvPicPr>
          <p:cNvPr id="12" name="Picture 11">
            <a:extLst>
              <a:ext uri="{FF2B5EF4-FFF2-40B4-BE49-F238E27FC236}">
                <a16:creationId xmlns:a16="http://schemas.microsoft.com/office/drawing/2014/main" id="{F71EC2E9-400B-34A2-520C-62245BFD3C0C}"/>
              </a:ext>
            </a:extLst>
          </p:cNvPr>
          <p:cNvPicPr>
            <a:picLocks noChangeAspect="1"/>
          </p:cNvPicPr>
          <p:nvPr/>
        </p:nvPicPr>
        <p:blipFill>
          <a:blip r:embed="rId6"/>
          <a:srcRect/>
          <a:stretch/>
        </p:blipFill>
        <p:spPr>
          <a:xfrm>
            <a:off x="6224733" y="1653363"/>
            <a:ext cx="1261872" cy="1261872"/>
          </a:xfrm>
          <a:prstGeom prst="rect">
            <a:avLst/>
          </a:prstGeom>
        </p:spPr>
      </p:pic>
      <p:pic>
        <p:nvPicPr>
          <p:cNvPr id="13" name="Picture 12">
            <a:extLst>
              <a:ext uri="{FF2B5EF4-FFF2-40B4-BE49-F238E27FC236}">
                <a16:creationId xmlns:a16="http://schemas.microsoft.com/office/drawing/2014/main" id="{FA044611-C63D-3419-16B4-D17E46EDDEB5}"/>
              </a:ext>
            </a:extLst>
          </p:cNvPr>
          <p:cNvPicPr>
            <a:picLocks noChangeAspect="1"/>
          </p:cNvPicPr>
          <p:nvPr/>
        </p:nvPicPr>
        <p:blipFill>
          <a:blip r:embed="rId7">
            <a:extLst>
              <a:ext uri="{28A0092B-C50C-407E-A947-70E740481C1C}">
                <a14:useLocalDpi xmlns:a14="http://schemas.microsoft.com/office/drawing/2010/main"/>
              </a:ext>
            </a:extLst>
          </a:blip>
          <a:srcRect/>
          <a:stretch/>
        </p:blipFill>
        <p:spPr>
          <a:xfrm>
            <a:off x="6224733" y="4083960"/>
            <a:ext cx="1261872" cy="1261872"/>
          </a:xfrm>
          <a:prstGeom prst="rect">
            <a:avLst/>
          </a:prstGeom>
        </p:spPr>
      </p:pic>
    </p:spTree>
    <p:custDataLst>
      <p:tags r:id="rId1"/>
    </p:custDataLst>
    <p:extLst>
      <p:ext uri="{BB962C8B-B14F-4D97-AF65-F5344CB8AC3E}">
        <p14:creationId xmlns:p14="http://schemas.microsoft.com/office/powerpoint/2010/main" val="801469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55FB37-D146-9209-B99B-0E8829330A1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C38259A-4AD9-A2AE-3520-8A8BFCD954F7}"/>
              </a:ext>
            </a:extLst>
          </p:cNvPr>
          <p:cNvSpPr>
            <a:spLocks noGrp="1"/>
          </p:cNvSpPr>
          <p:nvPr>
            <p:ph type="title"/>
          </p:nvPr>
        </p:nvSpPr>
        <p:spPr>
          <a:xfrm>
            <a:off x="420780" y="142257"/>
            <a:ext cx="11216216" cy="518719"/>
          </a:xfrm>
        </p:spPr>
        <p:txBody>
          <a:bodyPr/>
          <a:lstStyle/>
          <a:p>
            <a:r>
              <a:rPr lang="en-US" sz="3200" b="1" dirty="0">
                <a:solidFill>
                  <a:srgbClr val="002060"/>
                </a:solidFill>
                <a:latin typeface="Calibri" panose="020F0502020204030204" pitchFamily="34" charset="0"/>
                <a:cs typeface="Calibri" panose="020F0502020204030204" pitchFamily="34" charset="0"/>
              </a:rPr>
              <a:t>3L</a:t>
            </a:r>
            <a:r>
              <a:rPr lang="en-US" sz="3200" b="1" baseline="30000" dirty="0">
                <a:solidFill>
                  <a:srgbClr val="002060"/>
                </a:solidFill>
                <a:latin typeface="Calibri" panose="020F0502020204030204" pitchFamily="34" charset="0"/>
                <a:cs typeface="Calibri" panose="020F0502020204030204" pitchFamily="34" charset="0"/>
              </a:rPr>
              <a:t>+</a:t>
            </a:r>
            <a:r>
              <a:rPr lang="en-US" sz="3200" b="1" dirty="0">
                <a:solidFill>
                  <a:srgbClr val="002060"/>
                </a:solidFill>
                <a:latin typeface="Calibri" panose="020F0502020204030204" pitchFamily="34" charset="0"/>
                <a:cs typeface="Calibri" panose="020F0502020204030204" pitchFamily="34" charset="0"/>
              </a:rPr>
              <a:t> CAR T-cell therapy comparison in R/R FL</a:t>
            </a:r>
            <a:endParaRPr lang="en-US" sz="3200" dirty="0">
              <a:solidFill>
                <a:srgbClr val="002060"/>
              </a:solidFill>
              <a:latin typeface="Calibri" panose="020F0502020204030204" pitchFamily="34" charset="0"/>
              <a:cs typeface="Calibri" panose="020F0502020204030204" pitchFamily="34" charset="0"/>
            </a:endParaRPr>
          </a:p>
        </p:txBody>
      </p:sp>
      <p:graphicFrame>
        <p:nvGraphicFramePr>
          <p:cNvPr id="8" name="Table 6">
            <a:extLst>
              <a:ext uri="{FF2B5EF4-FFF2-40B4-BE49-F238E27FC236}">
                <a16:creationId xmlns:a16="http://schemas.microsoft.com/office/drawing/2014/main" id="{CCCAB078-2077-7D23-2051-0F99F10C5D95}"/>
              </a:ext>
            </a:extLst>
          </p:cNvPr>
          <p:cNvGraphicFramePr>
            <a:graphicFrameLocks/>
          </p:cNvGraphicFramePr>
          <p:nvPr/>
        </p:nvGraphicFramePr>
        <p:xfrm>
          <a:off x="366320" y="693171"/>
          <a:ext cx="11459360" cy="5471657"/>
        </p:xfrm>
        <a:graphic>
          <a:graphicData uri="http://schemas.openxmlformats.org/drawingml/2006/table">
            <a:tbl>
              <a:tblPr firstRow="1" bandRow="1"/>
              <a:tblGrid>
                <a:gridCol w="2169551">
                  <a:extLst>
                    <a:ext uri="{9D8B030D-6E8A-4147-A177-3AD203B41FA5}">
                      <a16:colId xmlns:a16="http://schemas.microsoft.com/office/drawing/2014/main" val="2502497996"/>
                    </a:ext>
                  </a:extLst>
                </a:gridCol>
                <a:gridCol w="3096603">
                  <a:extLst>
                    <a:ext uri="{9D8B030D-6E8A-4147-A177-3AD203B41FA5}">
                      <a16:colId xmlns:a16="http://schemas.microsoft.com/office/drawing/2014/main" val="1532356891"/>
                    </a:ext>
                  </a:extLst>
                </a:gridCol>
                <a:gridCol w="3096603">
                  <a:extLst>
                    <a:ext uri="{9D8B030D-6E8A-4147-A177-3AD203B41FA5}">
                      <a16:colId xmlns:a16="http://schemas.microsoft.com/office/drawing/2014/main" val="1179914681"/>
                    </a:ext>
                  </a:extLst>
                </a:gridCol>
                <a:gridCol w="3096603">
                  <a:extLst>
                    <a:ext uri="{9D8B030D-6E8A-4147-A177-3AD203B41FA5}">
                      <a16:colId xmlns:a16="http://schemas.microsoft.com/office/drawing/2014/main" val="2056041495"/>
                    </a:ext>
                  </a:extLst>
                </a:gridCol>
              </a:tblGrid>
              <a:tr h="888905">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endParaRPr lang="en-US" sz="1600" dirty="0"/>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lumMod val="50000"/>
                      </a:srgbClr>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2000"/>
                        <a:t>Axicabtagene- ciloleucel</a:t>
                      </a:r>
                      <a:endParaRPr lang="en-US" sz="2000" baseline="30000"/>
                    </a:p>
                    <a:p>
                      <a:pPr marL="0" marR="0" lvl="0" indent="0" algn="ctr" defTabSz="685800" rtl="0" eaLnBrk="1" fontAlgn="auto" latinLnBrk="0" hangingPunct="1">
                        <a:lnSpc>
                          <a:spcPct val="100000"/>
                        </a:lnSpc>
                        <a:spcBef>
                          <a:spcPts val="0"/>
                        </a:spcBef>
                        <a:spcAft>
                          <a:spcPts val="0"/>
                        </a:spcAft>
                        <a:buClrTx/>
                        <a:buSzTx/>
                        <a:buFontTx/>
                        <a:buNone/>
                        <a:tabLst/>
                        <a:defRPr/>
                      </a:pPr>
                      <a:r>
                        <a:rPr lang="en-US" sz="2000" b="0" kern="1200">
                          <a:solidFill>
                            <a:schemeClr val="lt1"/>
                          </a:solidFill>
                          <a:latin typeface="+mn-lt"/>
                          <a:ea typeface="+mn-ea"/>
                          <a:cs typeface="+mn-cs"/>
                        </a:rPr>
                        <a:t>(ZUMA-5)</a:t>
                      </a:r>
                      <a:r>
                        <a:rPr lang="en-US" sz="2000" b="0" kern="1200" baseline="30000">
                          <a:solidFill>
                            <a:schemeClr val="lt1"/>
                          </a:solidFill>
                          <a:latin typeface="+mn-lt"/>
                          <a:ea typeface="+mn-ea"/>
                          <a:cs typeface="+mn-cs"/>
                        </a:rPr>
                        <a:t> 1,2</a:t>
                      </a:r>
                      <a:endParaRPr lang="en-US" sz="2000" b="0" kern="1200" baseline="30000" dirty="0">
                        <a:solidFill>
                          <a:schemeClr val="lt1"/>
                        </a:solidFill>
                        <a:latin typeface="+mn-lt"/>
                        <a:ea typeface="+mn-ea"/>
                        <a:cs typeface="+mn-cs"/>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lumMod val="50000"/>
                      </a:srgbClr>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2000"/>
                        <a:t>Tisagenlecleucel</a:t>
                      </a:r>
                      <a:endParaRPr lang="en-US" sz="2000" baseline="30000"/>
                    </a:p>
                    <a:p>
                      <a:pPr marL="0" marR="0" lvl="0" indent="0" algn="ctr" defTabSz="685800" rtl="0" eaLnBrk="1" fontAlgn="auto" latinLnBrk="0" hangingPunct="1">
                        <a:lnSpc>
                          <a:spcPct val="100000"/>
                        </a:lnSpc>
                        <a:spcBef>
                          <a:spcPts val="0"/>
                        </a:spcBef>
                        <a:spcAft>
                          <a:spcPts val="0"/>
                        </a:spcAft>
                        <a:buClrTx/>
                        <a:buSzTx/>
                        <a:buFontTx/>
                        <a:buNone/>
                        <a:tabLst/>
                        <a:defRPr/>
                      </a:pPr>
                      <a:r>
                        <a:rPr lang="en-US" sz="2000" b="0" kern="1200">
                          <a:solidFill>
                            <a:schemeClr val="lt1"/>
                          </a:solidFill>
                          <a:latin typeface="+mn-lt"/>
                          <a:ea typeface="+mn-ea"/>
                          <a:cs typeface="+mn-cs"/>
                        </a:rPr>
                        <a:t>(ELARA)</a:t>
                      </a:r>
                      <a:r>
                        <a:rPr lang="en-US" sz="2000" b="0" kern="1200" baseline="30000">
                          <a:solidFill>
                            <a:schemeClr val="lt1"/>
                          </a:solidFill>
                          <a:latin typeface="+mn-lt"/>
                          <a:ea typeface="+mn-ea"/>
                          <a:cs typeface="+mn-cs"/>
                        </a:rPr>
                        <a:t> 3,4</a:t>
                      </a:r>
                      <a:endParaRPr lang="en-US" sz="2000" b="0" kern="1200" baseline="30000" dirty="0">
                        <a:solidFill>
                          <a:schemeClr val="lt1"/>
                        </a:solidFill>
                        <a:latin typeface="+mn-lt"/>
                        <a:ea typeface="+mn-ea"/>
                        <a:cs typeface="+mn-cs"/>
                      </a:endParaRP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lumMod val="50000"/>
                      </a:srgbClr>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2000"/>
                        <a:t>Lisocabtagene- maraleucel</a:t>
                      </a:r>
                      <a:endParaRPr lang="en-US" sz="2000" baseline="30000"/>
                    </a:p>
                    <a:p>
                      <a:pPr marL="0" marR="0" lvl="0" indent="0" algn="ctr" defTabSz="685800" rtl="0" eaLnBrk="1" fontAlgn="auto" latinLnBrk="0" hangingPunct="1">
                        <a:lnSpc>
                          <a:spcPct val="100000"/>
                        </a:lnSpc>
                        <a:spcBef>
                          <a:spcPts val="0"/>
                        </a:spcBef>
                        <a:spcAft>
                          <a:spcPts val="0"/>
                        </a:spcAft>
                        <a:buClrTx/>
                        <a:buSzTx/>
                        <a:buFontTx/>
                        <a:buNone/>
                        <a:tabLst/>
                        <a:defRPr/>
                      </a:pPr>
                      <a:r>
                        <a:rPr lang="en-US" sz="2000" b="0" kern="1200">
                          <a:solidFill>
                            <a:schemeClr val="lt1"/>
                          </a:solidFill>
                          <a:latin typeface="+mn-lt"/>
                          <a:ea typeface="+mn-ea"/>
                          <a:cs typeface="+mn-cs"/>
                        </a:rPr>
                        <a:t>(TRANSCEND FL)</a:t>
                      </a:r>
                      <a:r>
                        <a:rPr lang="en-US" sz="2000" b="0" kern="1200" baseline="30000">
                          <a:solidFill>
                            <a:schemeClr val="lt1"/>
                          </a:solidFill>
                          <a:latin typeface="+mn-lt"/>
                          <a:ea typeface="+mn-ea"/>
                          <a:cs typeface="+mn-cs"/>
                        </a:rPr>
                        <a:t> 5,6</a:t>
                      </a:r>
                      <a:endParaRPr lang="en-US" sz="2000" b="0" kern="1200" baseline="30000" dirty="0">
                        <a:solidFill>
                          <a:schemeClr val="lt1"/>
                        </a:solidFill>
                        <a:latin typeface="+mn-lt"/>
                        <a:ea typeface="+mn-ea"/>
                        <a:cs typeface="+mn-cs"/>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lumMod val="50000"/>
                      </a:srgbClr>
                    </a:solidFill>
                  </a:tcPr>
                </a:tc>
                <a:extLst>
                  <a:ext uri="{0D108BD9-81ED-4DB2-BD59-A6C34878D82A}">
                    <a16:rowId xmlns:a16="http://schemas.microsoft.com/office/drawing/2014/main" val="1117567341"/>
                  </a:ext>
                </a:extLst>
              </a:tr>
              <a:tr h="47687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800" b="0" dirty="0"/>
                        <a:t>Patients</a:t>
                      </a: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2000" b="0" dirty="0"/>
                        <a:t>n = 127</a:t>
                      </a: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2000" b="0" dirty="0"/>
                        <a:t>n = 97</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2000" b="0" dirty="0"/>
                        <a:t>n = 107</a:t>
                      </a:r>
                    </a:p>
                  </a:txBody>
                  <a:tcPr anchor="ctr">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465897769"/>
                  </a:ext>
                </a:extLst>
              </a:tr>
              <a:tr h="47687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800" b="0" dirty="0"/>
                        <a:t>POD24</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2000" b="0" dirty="0"/>
                        <a:t>55%</a:t>
                      </a: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2000" b="0" dirty="0"/>
                        <a:t>63%</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2000" b="0" dirty="0"/>
                        <a:t>43%</a:t>
                      </a: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3443272580"/>
                  </a:ext>
                </a:extLst>
              </a:tr>
              <a:tr h="47687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800" b="0" dirty="0"/>
                        <a:t>Refractory to prior tx</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2000" b="0" dirty="0"/>
                        <a:t>69%</a:t>
                      </a: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2000" b="0" dirty="0"/>
                        <a:t>78%</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2000" b="0" dirty="0"/>
                        <a:t>38%</a:t>
                      </a: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4142197116"/>
                  </a:ext>
                </a:extLst>
              </a:tr>
              <a:tr h="476870">
                <a:tc>
                  <a:txBody>
                    <a:bodyPr/>
                    <a:lstStyle/>
                    <a:p>
                      <a:r>
                        <a:rPr lang="en-US" sz="1800" b="0" dirty="0"/>
                        <a:t>Any grade CRS/NE</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tc>
                  <a:txBody>
                    <a:bodyPr/>
                    <a:lstStyle/>
                    <a:p>
                      <a:pPr algn="ctr"/>
                      <a:r>
                        <a:rPr lang="en-US" sz="2000" b="0" dirty="0"/>
                        <a:t>78% / 56%</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tc>
                  <a:txBody>
                    <a:bodyPr/>
                    <a:lstStyle/>
                    <a:p>
                      <a:pPr algn="ctr"/>
                      <a:r>
                        <a:rPr lang="en-US" sz="2000" b="0" dirty="0"/>
                        <a:t>49% / 37% </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tc>
                  <a:txBody>
                    <a:bodyPr/>
                    <a:lstStyle/>
                    <a:p>
                      <a:pPr algn="ctr"/>
                      <a:r>
                        <a:rPr lang="en-US" sz="2000" b="0" dirty="0"/>
                        <a:t>58% / 15%</a:t>
                      </a: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62791366"/>
                  </a:ext>
                </a:extLst>
              </a:tr>
              <a:tr h="47687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800" b="0" dirty="0"/>
                        <a:t>Grade </a:t>
                      </a:r>
                      <a:r>
                        <a:rPr lang="en-US" sz="1800" b="0" u="sng" dirty="0"/>
                        <a:t>&gt;</a:t>
                      </a:r>
                      <a:r>
                        <a:rPr lang="en-US" sz="1800" b="0" dirty="0"/>
                        <a:t>3 CRS/NE</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tc>
                  <a:txBody>
                    <a:bodyPr/>
                    <a:lstStyle/>
                    <a:p>
                      <a:pPr algn="ctr"/>
                      <a:r>
                        <a:rPr lang="en-US" sz="2000" b="0" dirty="0"/>
                        <a:t>6% / 15%</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tc>
                  <a:txBody>
                    <a:bodyPr/>
                    <a:lstStyle/>
                    <a:p>
                      <a:pPr algn="ctr"/>
                      <a:r>
                        <a:rPr lang="en-US" sz="2000" b="0" dirty="0"/>
                        <a:t>1% /3%</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tc>
                  <a:txBody>
                    <a:bodyPr/>
                    <a:lstStyle/>
                    <a:p>
                      <a:pPr algn="ctr"/>
                      <a:r>
                        <a:rPr lang="en-US" sz="2000" b="0" dirty="0"/>
                        <a:t>1% / 2%</a:t>
                      </a: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3469032699"/>
                  </a:ext>
                </a:extLst>
              </a:tr>
              <a:tr h="47687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800" b="0" dirty="0"/>
                        <a:t>ORR rate</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2000" b="0" dirty="0"/>
                        <a:t>94%</a:t>
                      </a: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2000" b="0" dirty="0"/>
                        <a:t>86%</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2000" b="0" dirty="0"/>
                        <a:t>97%</a:t>
                      </a: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2165794730"/>
                  </a:ext>
                </a:extLst>
              </a:tr>
              <a:tr h="47687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800" b="0" dirty="0"/>
                        <a:t>CR rate</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2000" b="0" dirty="0"/>
                        <a:t>79%</a:t>
                      </a: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2000" b="0" dirty="0"/>
                        <a:t>68%</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2000" b="0" dirty="0"/>
                        <a:t>94%</a:t>
                      </a: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974548405"/>
                  </a:ext>
                </a:extLst>
              </a:tr>
              <a:tr h="543622">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800" b="0" dirty="0"/>
                        <a:t>CR duration</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2000" b="0" dirty="0"/>
                        <a:t>36-mo DOCR, 62%</a:t>
                      </a: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dirty="0"/>
                        <a:t>24-mo DOCR, 78%</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2000" b="0" dirty="0"/>
                        <a:t>24-mo DOCR, 75%</a:t>
                      </a: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2549970158"/>
                  </a:ext>
                </a:extLst>
              </a:tr>
              <a:tr h="560982">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800" b="0" dirty="0"/>
                        <a:t>PFS</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2000" b="0" dirty="0"/>
                        <a:t>Median 40.2 </a:t>
                      </a:r>
                      <a:r>
                        <a:rPr lang="en-US" sz="2000" b="0" dirty="0" err="1"/>
                        <a:t>mos</a:t>
                      </a:r>
                      <a:br>
                        <a:rPr lang="en-US" sz="2000" b="0" dirty="0"/>
                      </a:br>
                      <a:r>
                        <a:rPr lang="en-US" sz="2000" b="0" dirty="0"/>
                        <a:t>36-mo rate, 54%</a:t>
                      </a: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dirty="0"/>
                        <a:t>Median, NR</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dirty="0"/>
                        <a:t>24-mo rate, 57%</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2000" b="0" dirty="0"/>
                        <a:t>Median, NR</a:t>
                      </a:r>
                    </a:p>
                    <a:p>
                      <a:pPr algn="ctr"/>
                      <a:r>
                        <a:rPr lang="en-US" sz="2000" b="0" dirty="0"/>
                        <a:t>24-mo rate, 73%</a:t>
                      </a: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3498780420"/>
                  </a:ext>
                </a:extLst>
              </a:tr>
            </a:tbl>
          </a:graphicData>
        </a:graphic>
      </p:graphicFrame>
      <p:sp>
        <p:nvSpPr>
          <p:cNvPr id="9" name="TextBox 8">
            <a:extLst>
              <a:ext uri="{FF2B5EF4-FFF2-40B4-BE49-F238E27FC236}">
                <a16:creationId xmlns:a16="http://schemas.microsoft.com/office/drawing/2014/main" id="{D2EAAA2C-9274-A577-C030-3541EE396D70}"/>
              </a:ext>
            </a:extLst>
          </p:cNvPr>
          <p:cNvSpPr txBox="1"/>
          <p:nvPr/>
        </p:nvSpPr>
        <p:spPr>
          <a:xfrm>
            <a:off x="136452" y="6438744"/>
            <a:ext cx="11919096" cy="276999"/>
          </a:xfrm>
          <a:prstGeom prst="rect">
            <a:avLst/>
          </a:prstGeom>
        </p:spPr>
        <p:txBody>
          <a:bodyPr vert="horz"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1. Jacobson CA, et al. </a:t>
            </a:r>
            <a:r>
              <a:rPr kumimoji="0" lang="en-US" sz="900" b="0" i="1"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Lancet Oncol</a:t>
            </a:r>
            <a:r>
              <a:rPr kumimoji="0" lang="en-US" sz="9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2022; 23: 91–103. 2. </a:t>
            </a:r>
            <a:r>
              <a:rPr kumimoji="0" lang="en-US" sz="9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Neelapu</a:t>
            </a:r>
            <a:r>
              <a:rPr kumimoji="0" lang="en-US" sz="9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SS, et al. </a:t>
            </a:r>
            <a:r>
              <a:rPr kumimoji="0" lang="en-US" sz="900" b="0" i="1"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Blood</a:t>
            </a:r>
            <a:r>
              <a:rPr kumimoji="0" lang="en-US" sz="9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2024;143(6):496–506. 3. Morschhauser F, et al. </a:t>
            </a:r>
            <a:r>
              <a:rPr kumimoji="0" lang="en-US" sz="900" b="0" i="1"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Nat Med</a:t>
            </a:r>
            <a:r>
              <a:rPr kumimoji="0" lang="en-US" sz="9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2024;30:2199–2207. 4. </a:t>
            </a:r>
            <a:r>
              <a:rPr kumimoji="0" lang="en-US" sz="9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Nastoupil</a:t>
            </a:r>
            <a:r>
              <a:rPr kumimoji="0" lang="en-US" sz="9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L, et al. Presented at the 66</a:t>
            </a:r>
            <a:r>
              <a:rPr kumimoji="0" lang="en-US" sz="900" b="0"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th</a:t>
            </a:r>
            <a:r>
              <a:rPr kumimoji="0" lang="en-US" sz="9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merican Society of Hematology (ASH) Annual Meeting. 7–10 December, 2024. San Diego, CA, USA. Poster 4387. 5. Fowler NH, et al. </a:t>
            </a:r>
            <a:r>
              <a:rPr kumimoji="0" lang="en-US" sz="900" b="0" i="1"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Nat Med</a:t>
            </a:r>
            <a:r>
              <a:rPr kumimoji="0" lang="en-US" sz="9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2022;28:325–332. 6. Dreyling  M, et al. </a:t>
            </a:r>
            <a:r>
              <a:rPr kumimoji="0" lang="en-US" sz="900" b="0" i="1"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Blood</a:t>
            </a:r>
            <a:r>
              <a:rPr kumimoji="0" lang="en-US" sz="9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2024;143(17):1713–1725. </a:t>
            </a:r>
          </a:p>
        </p:txBody>
      </p:sp>
    </p:spTree>
    <p:extLst>
      <p:ext uri="{BB962C8B-B14F-4D97-AF65-F5344CB8AC3E}">
        <p14:creationId xmlns:p14="http://schemas.microsoft.com/office/powerpoint/2010/main" val="1691611564"/>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2D2C15-4E51-DBAB-AD77-2618E04D7B2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EDA5D94-5FF5-FA2E-BA69-054F43E15E73}"/>
              </a:ext>
            </a:extLst>
          </p:cNvPr>
          <p:cNvSpPr>
            <a:spLocks noGrp="1"/>
          </p:cNvSpPr>
          <p:nvPr>
            <p:ph type="title"/>
          </p:nvPr>
        </p:nvSpPr>
        <p:spPr>
          <a:xfrm>
            <a:off x="420780" y="142257"/>
            <a:ext cx="11216216" cy="518719"/>
          </a:xfrm>
        </p:spPr>
        <p:txBody>
          <a:bodyPr/>
          <a:lstStyle/>
          <a:p>
            <a:r>
              <a:rPr lang="en-US" sz="3200" b="1" dirty="0">
                <a:solidFill>
                  <a:srgbClr val="002060"/>
                </a:solidFill>
                <a:latin typeface="Calibri" panose="020F0502020204030204" pitchFamily="34" charset="0"/>
                <a:cs typeface="Calibri" panose="020F0502020204030204" pitchFamily="34" charset="0"/>
              </a:rPr>
              <a:t>3L</a:t>
            </a:r>
            <a:r>
              <a:rPr lang="en-US" sz="3200" b="1" baseline="30000" dirty="0">
                <a:solidFill>
                  <a:srgbClr val="002060"/>
                </a:solidFill>
                <a:latin typeface="Calibri" panose="020F0502020204030204" pitchFamily="34" charset="0"/>
                <a:cs typeface="Calibri" panose="020F0502020204030204" pitchFamily="34" charset="0"/>
              </a:rPr>
              <a:t>+</a:t>
            </a:r>
            <a:r>
              <a:rPr lang="en-US" sz="3200" b="1" dirty="0">
                <a:solidFill>
                  <a:srgbClr val="002060"/>
                </a:solidFill>
                <a:latin typeface="Calibri" panose="020F0502020204030204" pitchFamily="34" charset="0"/>
                <a:cs typeface="Calibri" panose="020F0502020204030204" pitchFamily="34" charset="0"/>
              </a:rPr>
              <a:t> CAR T-cell therapy comparison in R/R FL</a:t>
            </a:r>
            <a:endParaRPr lang="en-US" sz="3200" dirty="0">
              <a:solidFill>
                <a:srgbClr val="002060"/>
              </a:solidFill>
              <a:latin typeface="Calibri" panose="020F0502020204030204" pitchFamily="34" charset="0"/>
              <a:cs typeface="Calibri" panose="020F0502020204030204" pitchFamily="34" charset="0"/>
            </a:endParaRPr>
          </a:p>
        </p:txBody>
      </p:sp>
      <p:graphicFrame>
        <p:nvGraphicFramePr>
          <p:cNvPr id="8" name="Table 6">
            <a:extLst>
              <a:ext uri="{FF2B5EF4-FFF2-40B4-BE49-F238E27FC236}">
                <a16:creationId xmlns:a16="http://schemas.microsoft.com/office/drawing/2014/main" id="{21AA7A39-1931-3E3D-6CDA-51321C5F8B03}"/>
              </a:ext>
            </a:extLst>
          </p:cNvPr>
          <p:cNvGraphicFramePr>
            <a:graphicFrameLocks/>
          </p:cNvGraphicFramePr>
          <p:nvPr/>
        </p:nvGraphicFramePr>
        <p:xfrm>
          <a:off x="366320" y="693171"/>
          <a:ext cx="11459360" cy="5471657"/>
        </p:xfrm>
        <a:graphic>
          <a:graphicData uri="http://schemas.openxmlformats.org/drawingml/2006/table">
            <a:tbl>
              <a:tblPr firstRow="1" bandRow="1"/>
              <a:tblGrid>
                <a:gridCol w="2169551">
                  <a:extLst>
                    <a:ext uri="{9D8B030D-6E8A-4147-A177-3AD203B41FA5}">
                      <a16:colId xmlns:a16="http://schemas.microsoft.com/office/drawing/2014/main" val="2502497996"/>
                    </a:ext>
                  </a:extLst>
                </a:gridCol>
                <a:gridCol w="3096603">
                  <a:extLst>
                    <a:ext uri="{9D8B030D-6E8A-4147-A177-3AD203B41FA5}">
                      <a16:colId xmlns:a16="http://schemas.microsoft.com/office/drawing/2014/main" val="1532356891"/>
                    </a:ext>
                  </a:extLst>
                </a:gridCol>
                <a:gridCol w="3096603">
                  <a:extLst>
                    <a:ext uri="{9D8B030D-6E8A-4147-A177-3AD203B41FA5}">
                      <a16:colId xmlns:a16="http://schemas.microsoft.com/office/drawing/2014/main" val="1179914681"/>
                    </a:ext>
                  </a:extLst>
                </a:gridCol>
                <a:gridCol w="3096603">
                  <a:extLst>
                    <a:ext uri="{9D8B030D-6E8A-4147-A177-3AD203B41FA5}">
                      <a16:colId xmlns:a16="http://schemas.microsoft.com/office/drawing/2014/main" val="2056041495"/>
                    </a:ext>
                  </a:extLst>
                </a:gridCol>
              </a:tblGrid>
              <a:tr h="888905">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endParaRPr lang="en-US" sz="1600" dirty="0"/>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lumMod val="50000"/>
                      </a:srgbClr>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2000"/>
                        <a:t>Axicabtagene- ciloleucel</a:t>
                      </a:r>
                      <a:endParaRPr lang="en-US" sz="2000" baseline="30000"/>
                    </a:p>
                    <a:p>
                      <a:pPr marL="0" marR="0" lvl="0" indent="0" algn="ctr" defTabSz="685800" rtl="0" eaLnBrk="1" fontAlgn="auto" latinLnBrk="0" hangingPunct="1">
                        <a:lnSpc>
                          <a:spcPct val="100000"/>
                        </a:lnSpc>
                        <a:spcBef>
                          <a:spcPts val="0"/>
                        </a:spcBef>
                        <a:spcAft>
                          <a:spcPts val="0"/>
                        </a:spcAft>
                        <a:buClrTx/>
                        <a:buSzTx/>
                        <a:buFontTx/>
                        <a:buNone/>
                        <a:tabLst/>
                        <a:defRPr/>
                      </a:pPr>
                      <a:r>
                        <a:rPr lang="en-US" sz="2000" b="0" kern="1200">
                          <a:solidFill>
                            <a:schemeClr val="lt1"/>
                          </a:solidFill>
                          <a:latin typeface="+mn-lt"/>
                          <a:ea typeface="+mn-ea"/>
                          <a:cs typeface="+mn-cs"/>
                        </a:rPr>
                        <a:t>(ZUMA-5)</a:t>
                      </a:r>
                      <a:r>
                        <a:rPr lang="en-US" sz="2000" b="0" kern="1200" baseline="30000">
                          <a:solidFill>
                            <a:schemeClr val="lt1"/>
                          </a:solidFill>
                          <a:latin typeface="+mn-lt"/>
                          <a:ea typeface="+mn-ea"/>
                          <a:cs typeface="+mn-cs"/>
                        </a:rPr>
                        <a:t> 1,2</a:t>
                      </a:r>
                      <a:endParaRPr lang="en-US" sz="2000" b="0" kern="1200" baseline="30000" dirty="0">
                        <a:solidFill>
                          <a:schemeClr val="lt1"/>
                        </a:solidFill>
                        <a:latin typeface="+mn-lt"/>
                        <a:ea typeface="+mn-ea"/>
                        <a:cs typeface="+mn-cs"/>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lumMod val="50000"/>
                      </a:srgbClr>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2000"/>
                        <a:t>Tisagenlecleucel</a:t>
                      </a:r>
                      <a:endParaRPr lang="en-US" sz="2000" baseline="30000"/>
                    </a:p>
                    <a:p>
                      <a:pPr marL="0" marR="0" lvl="0" indent="0" algn="ctr" defTabSz="685800" rtl="0" eaLnBrk="1" fontAlgn="auto" latinLnBrk="0" hangingPunct="1">
                        <a:lnSpc>
                          <a:spcPct val="100000"/>
                        </a:lnSpc>
                        <a:spcBef>
                          <a:spcPts val="0"/>
                        </a:spcBef>
                        <a:spcAft>
                          <a:spcPts val="0"/>
                        </a:spcAft>
                        <a:buClrTx/>
                        <a:buSzTx/>
                        <a:buFontTx/>
                        <a:buNone/>
                        <a:tabLst/>
                        <a:defRPr/>
                      </a:pPr>
                      <a:r>
                        <a:rPr lang="en-US" sz="2000" b="0" kern="1200">
                          <a:solidFill>
                            <a:schemeClr val="lt1"/>
                          </a:solidFill>
                          <a:latin typeface="+mn-lt"/>
                          <a:ea typeface="+mn-ea"/>
                          <a:cs typeface="+mn-cs"/>
                        </a:rPr>
                        <a:t>(ELARA)</a:t>
                      </a:r>
                      <a:r>
                        <a:rPr lang="en-US" sz="2000" b="0" kern="1200" baseline="30000">
                          <a:solidFill>
                            <a:schemeClr val="lt1"/>
                          </a:solidFill>
                          <a:latin typeface="+mn-lt"/>
                          <a:ea typeface="+mn-ea"/>
                          <a:cs typeface="+mn-cs"/>
                        </a:rPr>
                        <a:t> 3,4</a:t>
                      </a:r>
                      <a:endParaRPr lang="en-US" sz="2000" b="0" kern="1200" baseline="30000" dirty="0">
                        <a:solidFill>
                          <a:schemeClr val="lt1"/>
                        </a:solidFill>
                        <a:latin typeface="+mn-lt"/>
                        <a:ea typeface="+mn-ea"/>
                        <a:cs typeface="+mn-cs"/>
                      </a:endParaRP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lumMod val="50000"/>
                      </a:srgbClr>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2000"/>
                        <a:t>Lisocabtagene- maraleucel</a:t>
                      </a:r>
                      <a:endParaRPr lang="en-US" sz="2000" baseline="30000"/>
                    </a:p>
                    <a:p>
                      <a:pPr marL="0" marR="0" lvl="0" indent="0" algn="ctr" defTabSz="685800" rtl="0" eaLnBrk="1" fontAlgn="auto" latinLnBrk="0" hangingPunct="1">
                        <a:lnSpc>
                          <a:spcPct val="100000"/>
                        </a:lnSpc>
                        <a:spcBef>
                          <a:spcPts val="0"/>
                        </a:spcBef>
                        <a:spcAft>
                          <a:spcPts val="0"/>
                        </a:spcAft>
                        <a:buClrTx/>
                        <a:buSzTx/>
                        <a:buFontTx/>
                        <a:buNone/>
                        <a:tabLst/>
                        <a:defRPr/>
                      </a:pPr>
                      <a:r>
                        <a:rPr lang="en-US" sz="2000" b="0" kern="1200">
                          <a:solidFill>
                            <a:schemeClr val="lt1"/>
                          </a:solidFill>
                          <a:latin typeface="+mn-lt"/>
                          <a:ea typeface="+mn-ea"/>
                          <a:cs typeface="+mn-cs"/>
                        </a:rPr>
                        <a:t>(TRANSCEND FL)</a:t>
                      </a:r>
                      <a:r>
                        <a:rPr lang="en-US" sz="2000" b="0" kern="1200" baseline="30000">
                          <a:solidFill>
                            <a:schemeClr val="lt1"/>
                          </a:solidFill>
                          <a:latin typeface="+mn-lt"/>
                          <a:ea typeface="+mn-ea"/>
                          <a:cs typeface="+mn-cs"/>
                        </a:rPr>
                        <a:t> 5,6</a:t>
                      </a:r>
                      <a:endParaRPr lang="en-US" sz="2000" b="0" kern="1200" baseline="30000" dirty="0">
                        <a:solidFill>
                          <a:schemeClr val="lt1"/>
                        </a:solidFill>
                        <a:latin typeface="+mn-lt"/>
                        <a:ea typeface="+mn-ea"/>
                        <a:cs typeface="+mn-cs"/>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lumMod val="50000"/>
                      </a:srgbClr>
                    </a:solidFill>
                  </a:tcPr>
                </a:tc>
                <a:extLst>
                  <a:ext uri="{0D108BD9-81ED-4DB2-BD59-A6C34878D82A}">
                    <a16:rowId xmlns:a16="http://schemas.microsoft.com/office/drawing/2014/main" val="1117567341"/>
                  </a:ext>
                </a:extLst>
              </a:tr>
              <a:tr h="47687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800" b="0" dirty="0"/>
                        <a:t>Patients</a:t>
                      </a: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2000" b="0" dirty="0"/>
                        <a:t>n = 127</a:t>
                      </a: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2000" b="0" dirty="0"/>
                        <a:t>n = 97</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2000" b="0" dirty="0"/>
                        <a:t>n = 107</a:t>
                      </a:r>
                    </a:p>
                  </a:txBody>
                  <a:tcPr anchor="ctr">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465897769"/>
                  </a:ext>
                </a:extLst>
              </a:tr>
              <a:tr h="47687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800" b="0" dirty="0"/>
                        <a:t>POD24</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2000" b="0" dirty="0"/>
                        <a:t>55%</a:t>
                      </a: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2000" b="0" dirty="0"/>
                        <a:t>63%</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2000" b="0" dirty="0"/>
                        <a:t>43%</a:t>
                      </a: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3443272580"/>
                  </a:ext>
                </a:extLst>
              </a:tr>
              <a:tr h="47687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800" b="0" dirty="0"/>
                        <a:t>Refractory to prior tx</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2000" b="0" dirty="0"/>
                        <a:t>69%</a:t>
                      </a: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2000" b="0" dirty="0"/>
                        <a:t>78%</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2000" b="0" dirty="0"/>
                        <a:t>38%</a:t>
                      </a: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4142197116"/>
                  </a:ext>
                </a:extLst>
              </a:tr>
              <a:tr h="476870">
                <a:tc>
                  <a:txBody>
                    <a:bodyPr/>
                    <a:lstStyle/>
                    <a:p>
                      <a:r>
                        <a:rPr lang="en-US" sz="1800" b="0" dirty="0"/>
                        <a:t>Any grade CRS/NE</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tc>
                  <a:txBody>
                    <a:bodyPr/>
                    <a:lstStyle/>
                    <a:p>
                      <a:pPr algn="ctr"/>
                      <a:r>
                        <a:rPr lang="en-US" sz="2000" b="0" dirty="0"/>
                        <a:t>78% / 56%</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tc>
                  <a:txBody>
                    <a:bodyPr/>
                    <a:lstStyle/>
                    <a:p>
                      <a:pPr algn="ctr"/>
                      <a:r>
                        <a:rPr lang="en-US" sz="2000" b="0" dirty="0"/>
                        <a:t>49% / 37% </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tc>
                  <a:txBody>
                    <a:bodyPr/>
                    <a:lstStyle/>
                    <a:p>
                      <a:pPr algn="ctr"/>
                      <a:r>
                        <a:rPr lang="en-US" sz="2000" b="0" dirty="0"/>
                        <a:t>58% / 15%</a:t>
                      </a: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62791366"/>
                  </a:ext>
                </a:extLst>
              </a:tr>
              <a:tr h="47687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800" b="0" dirty="0"/>
                        <a:t>Grade </a:t>
                      </a:r>
                      <a:r>
                        <a:rPr lang="en-US" sz="1800" b="0" u="sng" dirty="0"/>
                        <a:t>&gt;</a:t>
                      </a:r>
                      <a:r>
                        <a:rPr lang="en-US" sz="1800" b="0" dirty="0"/>
                        <a:t>3 CRS/NE</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tc>
                  <a:txBody>
                    <a:bodyPr/>
                    <a:lstStyle/>
                    <a:p>
                      <a:pPr algn="ctr"/>
                      <a:r>
                        <a:rPr lang="en-US" sz="2000" b="0" dirty="0"/>
                        <a:t>6% / 15%</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tc>
                  <a:txBody>
                    <a:bodyPr/>
                    <a:lstStyle/>
                    <a:p>
                      <a:pPr algn="ctr"/>
                      <a:r>
                        <a:rPr lang="en-US" sz="2000" b="0" dirty="0"/>
                        <a:t>1% /3%</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tc>
                  <a:txBody>
                    <a:bodyPr/>
                    <a:lstStyle/>
                    <a:p>
                      <a:pPr algn="ctr"/>
                      <a:r>
                        <a:rPr lang="en-US" sz="2000" b="0" dirty="0"/>
                        <a:t>1% / 2%</a:t>
                      </a: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3469032699"/>
                  </a:ext>
                </a:extLst>
              </a:tr>
              <a:tr h="47687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800" b="0" dirty="0"/>
                        <a:t>ORR rate</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2000" b="0" dirty="0"/>
                        <a:t>94%</a:t>
                      </a: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2000" b="0" dirty="0"/>
                        <a:t>86%</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2000" b="0" dirty="0"/>
                        <a:t>97%</a:t>
                      </a: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2165794730"/>
                  </a:ext>
                </a:extLst>
              </a:tr>
              <a:tr h="47687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800" b="0" dirty="0"/>
                        <a:t>CR rate</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2000" b="0" dirty="0"/>
                        <a:t>79%</a:t>
                      </a: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2000" b="0" dirty="0"/>
                        <a:t>68%</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2000" b="0" dirty="0"/>
                        <a:t>94%</a:t>
                      </a: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974548405"/>
                  </a:ext>
                </a:extLst>
              </a:tr>
              <a:tr h="543622">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800" b="0" dirty="0"/>
                        <a:t>CR duration</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2000" b="0" dirty="0"/>
                        <a:t>36-mo DOCR, 62%</a:t>
                      </a: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dirty="0"/>
                        <a:t>24-mo DOCR, 78%</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2000" b="0" dirty="0"/>
                        <a:t>24-mo DOCR, 75%</a:t>
                      </a: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2549970158"/>
                  </a:ext>
                </a:extLst>
              </a:tr>
              <a:tr h="560982">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800" b="0" dirty="0"/>
                        <a:t>PFS</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2000" b="0" dirty="0"/>
                        <a:t>Median 40.2 </a:t>
                      </a:r>
                      <a:r>
                        <a:rPr lang="en-US" sz="2000" b="0" dirty="0" err="1"/>
                        <a:t>mos</a:t>
                      </a:r>
                      <a:br>
                        <a:rPr lang="en-US" sz="2000" b="0" dirty="0"/>
                      </a:br>
                      <a:r>
                        <a:rPr lang="en-US" sz="2000" b="0" dirty="0"/>
                        <a:t>36-mo rate, 54%</a:t>
                      </a: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dirty="0"/>
                        <a:t>Median, NR</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dirty="0"/>
                        <a:t>24-mo rate, 57%</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2000" b="0" dirty="0"/>
                        <a:t>Median, NR</a:t>
                      </a:r>
                    </a:p>
                    <a:p>
                      <a:pPr algn="ctr"/>
                      <a:r>
                        <a:rPr lang="en-US" sz="2000" b="0" dirty="0"/>
                        <a:t>24-mo rate, 73%</a:t>
                      </a: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3498780420"/>
                  </a:ext>
                </a:extLst>
              </a:tr>
            </a:tbl>
          </a:graphicData>
        </a:graphic>
      </p:graphicFrame>
      <p:sp>
        <p:nvSpPr>
          <p:cNvPr id="9" name="TextBox 8">
            <a:extLst>
              <a:ext uri="{FF2B5EF4-FFF2-40B4-BE49-F238E27FC236}">
                <a16:creationId xmlns:a16="http://schemas.microsoft.com/office/drawing/2014/main" id="{ABAE8A31-51E2-1763-9955-5FFB38F400E0}"/>
              </a:ext>
            </a:extLst>
          </p:cNvPr>
          <p:cNvSpPr txBox="1"/>
          <p:nvPr/>
        </p:nvSpPr>
        <p:spPr>
          <a:xfrm>
            <a:off x="136452" y="6438744"/>
            <a:ext cx="11919096" cy="276999"/>
          </a:xfrm>
          <a:prstGeom prst="rect">
            <a:avLst/>
          </a:prstGeom>
        </p:spPr>
        <p:txBody>
          <a:bodyPr vert="horz"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1. Jacobson CA, et al. </a:t>
            </a:r>
            <a:r>
              <a:rPr kumimoji="0" lang="en-US" sz="900" b="0" i="1"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Lancet Oncol</a:t>
            </a:r>
            <a:r>
              <a:rPr kumimoji="0" lang="en-US" sz="9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2022; 23: 91–103. 2. </a:t>
            </a:r>
            <a:r>
              <a:rPr kumimoji="0" lang="en-US" sz="9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Neelapu</a:t>
            </a:r>
            <a:r>
              <a:rPr kumimoji="0" lang="en-US" sz="9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SS, et al. </a:t>
            </a:r>
            <a:r>
              <a:rPr kumimoji="0" lang="en-US" sz="900" b="0" i="1"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Blood</a:t>
            </a:r>
            <a:r>
              <a:rPr kumimoji="0" lang="en-US" sz="9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2024;143(6):496–506. 3. Morschhauser F, et al. </a:t>
            </a:r>
            <a:r>
              <a:rPr kumimoji="0" lang="en-US" sz="900" b="0" i="1"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Nat Med</a:t>
            </a:r>
            <a:r>
              <a:rPr kumimoji="0" lang="en-US" sz="9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2024;30:2199–2207. 4. </a:t>
            </a:r>
            <a:r>
              <a:rPr kumimoji="0" lang="en-US" sz="9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Nastoupil</a:t>
            </a:r>
            <a:r>
              <a:rPr kumimoji="0" lang="en-US" sz="9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L, et al. Presented at the 66</a:t>
            </a:r>
            <a:r>
              <a:rPr kumimoji="0" lang="en-US" sz="900" b="0"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th</a:t>
            </a:r>
            <a:r>
              <a:rPr kumimoji="0" lang="en-US" sz="9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merican Society of Hematology (ASH) Annual Meeting. 7–10 December, 2024. San Diego, CA, USA. Poster 4387. 5. Fowler NH, et al. </a:t>
            </a:r>
            <a:r>
              <a:rPr kumimoji="0" lang="en-US" sz="900" b="0" i="1"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Nat Med</a:t>
            </a:r>
            <a:r>
              <a:rPr kumimoji="0" lang="en-US" sz="9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2022;28:325–332. 6. Dreyling  M, et al. </a:t>
            </a:r>
            <a:r>
              <a:rPr kumimoji="0" lang="en-US" sz="900" b="0" i="1"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Blood</a:t>
            </a:r>
            <a:r>
              <a:rPr kumimoji="0" lang="en-US" sz="9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2024;143(17):1713–1725. </a:t>
            </a:r>
          </a:p>
        </p:txBody>
      </p:sp>
      <p:sp>
        <p:nvSpPr>
          <p:cNvPr id="3" name="Rounded Rectangle 2">
            <a:extLst>
              <a:ext uri="{FF2B5EF4-FFF2-40B4-BE49-F238E27FC236}">
                <a16:creationId xmlns:a16="http://schemas.microsoft.com/office/drawing/2014/main" id="{D4B19B85-69BE-3BE6-AE1D-46B22FD0DC14}"/>
              </a:ext>
            </a:extLst>
          </p:cNvPr>
          <p:cNvSpPr/>
          <p:nvPr/>
        </p:nvSpPr>
        <p:spPr>
          <a:xfrm>
            <a:off x="366320" y="3011648"/>
            <a:ext cx="11459360" cy="947956"/>
          </a:xfrm>
          <a:prstGeom prst="round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37471395"/>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08515D-77FF-7E32-E6E2-F70C0ED0568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062F724-0501-6D60-D448-8F71C407B69F}"/>
              </a:ext>
            </a:extLst>
          </p:cNvPr>
          <p:cNvSpPr>
            <a:spLocks noGrp="1"/>
          </p:cNvSpPr>
          <p:nvPr>
            <p:ph type="title"/>
          </p:nvPr>
        </p:nvSpPr>
        <p:spPr>
          <a:xfrm>
            <a:off x="420780" y="142257"/>
            <a:ext cx="11216216" cy="518719"/>
          </a:xfrm>
        </p:spPr>
        <p:txBody>
          <a:bodyPr/>
          <a:lstStyle/>
          <a:p>
            <a:r>
              <a:rPr lang="en-US" sz="3200" b="1" dirty="0">
                <a:solidFill>
                  <a:srgbClr val="002060"/>
                </a:solidFill>
                <a:latin typeface="Calibri" panose="020F0502020204030204" pitchFamily="34" charset="0"/>
                <a:cs typeface="Calibri" panose="020F0502020204030204" pitchFamily="34" charset="0"/>
              </a:rPr>
              <a:t>3L</a:t>
            </a:r>
            <a:r>
              <a:rPr lang="en-US" sz="3200" b="1" baseline="30000" dirty="0">
                <a:solidFill>
                  <a:srgbClr val="002060"/>
                </a:solidFill>
                <a:latin typeface="Calibri" panose="020F0502020204030204" pitchFamily="34" charset="0"/>
                <a:cs typeface="Calibri" panose="020F0502020204030204" pitchFamily="34" charset="0"/>
              </a:rPr>
              <a:t>+</a:t>
            </a:r>
            <a:r>
              <a:rPr lang="en-US" sz="3200" b="1" dirty="0">
                <a:solidFill>
                  <a:srgbClr val="002060"/>
                </a:solidFill>
                <a:latin typeface="Calibri" panose="020F0502020204030204" pitchFamily="34" charset="0"/>
                <a:cs typeface="Calibri" panose="020F0502020204030204" pitchFamily="34" charset="0"/>
              </a:rPr>
              <a:t> CAR T-cell therapy comparison in R/R FL</a:t>
            </a:r>
            <a:endParaRPr lang="en-US" sz="3200" dirty="0">
              <a:solidFill>
                <a:srgbClr val="002060"/>
              </a:solidFill>
              <a:latin typeface="Calibri" panose="020F0502020204030204" pitchFamily="34" charset="0"/>
              <a:cs typeface="Calibri" panose="020F0502020204030204" pitchFamily="34" charset="0"/>
            </a:endParaRPr>
          </a:p>
        </p:txBody>
      </p:sp>
      <p:graphicFrame>
        <p:nvGraphicFramePr>
          <p:cNvPr id="8" name="Table 6">
            <a:extLst>
              <a:ext uri="{FF2B5EF4-FFF2-40B4-BE49-F238E27FC236}">
                <a16:creationId xmlns:a16="http://schemas.microsoft.com/office/drawing/2014/main" id="{D5DC75CC-2311-CAF4-F75D-81F849F86771}"/>
              </a:ext>
            </a:extLst>
          </p:cNvPr>
          <p:cNvGraphicFramePr>
            <a:graphicFrameLocks/>
          </p:cNvGraphicFramePr>
          <p:nvPr/>
        </p:nvGraphicFramePr>
        <p:xfrm>
          <a:off x="366320" y="693171"/>
          <a:ext cx="11459360" cy="5471657"/>
        </p:xfrm>
        <a:graphic>
          <a:graphicData uri="http://schemas.openxmlformats.org/drawingml/2006/table">
            <a:tbl>
              <a:tblPr firstRow="1" bandRow="1"/>
              <a:tblGrid>
                <a:gridCol w="2169551">
                  <a:extLst>
                    <a:ext uri="{9D8B030D-6E8A-4147-A177-3AD203B41FA5}">
                      <a16:colId xmlns:a16="http://schemas.microsoft.com/office/drawing/2014/main" val="2502497996"/>
                    </a:ext>
                  </a:extLst>
                </a:gridCol>
                <a:gridCol w="3096603">
                  <a:extLst>
                    <a:ext uri="{9D8B030D-6E8A-4147-A177-3AD203B41FA5}">
                      <a16:colId xmlns:a16="http://schemas.microsoft.com/office/drawing/2014/main" val="1532356891"/>
                    </a:ext>
                  </a:extLst>
                </a:gridCol>
                <a:gridCol w="3096603">
                  <a:extLst>
                    <a:ext uri="{9D8B030D-6E8A-4147-A177-3AD203B41FA5}">
                      <a16:colId xmlns:a16="http://schemas.microsoft.com/office/drawing/2014/main" val="1179914681"/>
                    </a:ext>
                  </a:extLst>
                </a:gridCol>
                <a:gridCol w="3096603">
                  <a:extLst>
                    <a:ext uri="{9D8B030D-6E8A-4147-A177-3AD203B41FA5}">
                      <a16:colId xmlns:a16="http://schemas.microsoft.com/office/drawing/2014/main" val="2056041495"/>
                    </a:ext>
                  </a:extLst>
                </a:gridCol>
              </a:tblGrid>
              <a:tr h="888905">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endParaRPr lang="en-US" sz="1600" dirty="0"/>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lumMod val="50000"/>
                      </a:srgbClr>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2000"/>
                        <a:t>Axicabtagene- ciloleucel</a:t>
                      </a:r>
                      <a:endParaRPr lang="en-US" sz="2000" baseline="30000"/>
                    </a:p>
                    <a:p>
                      <a:pPr marL="0" marR="0" lvl="0" indent="0" algn="ctr" defTabSz="685800" rtl="0" eaLnBrk="1" fontAlgn="auto" latinLnBrk="0" hangingPunct="1">
                        <a:lnSpc>
                          <a:spcPct val="100000"/>
                        </a:lnSpc>
                        <a:spcBef>
                          <a:spcPts val="0"/>
                        </a:spcBef>
                        <a:spcAft>
                          <a:spcPts val="0"/>
                        </a:spcAft>
                        <a:buClrTx/>
                        <a:buSzTx/>
                        <a:buFontTx/>
                        <a:buNone/>
                        <a:tabLst/>
                        <a:defRPr/>
                      </a:pPr>
                      <a:r>
                        <a:rPr lang="en-US" sz="2000" b="0" kern="1200">
                          <a:solidFill>
                            <a:schemeClr val="lt1"/>
                          </a:solidFill>
                          <a:latin typeface="+mn-lt"/>
                          <a:ea typeface="+mn-ea"/>
                          <a:cs typeface="+mn-cs"/>
                        </a:rPr>
                        <a:t>(ZUMA-5)</a:t>
                      </a:r>
                      <a:r>
                        <a:rPr lang="en-US" sz="2000" b="0" kern="1200" baseline="30000">
                          <a:solidFill>
                            <a:schemeClr val="lt1"/>
                          </a:solidFill>
                          <a:latin typeface="+mn-lt"/>
                          <a:ea typeface="+mn-ea"/>
                          <a:cs typeface="+mn-cs"/>
                        </a:rPr>
                        <a:t> 1,2</a:t>
                      </a:r>
                      <a:endParaRPr lang="en-US" sz="2000" b="0" kern="1200" baseline="30000" dirty="0">
                        <a:solidFill>
                          <a:schemeClr val="lt1"/>
                        </a:solidFill>
                        <a:latin typeface="+mn-lt"/>
                        <a:ea typeface="+mn-ea"/>
                        <a:cs typeface="+mn-cs"/>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lumMod val="50000"/>
                      </a:srgbClr>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2000"/>
                        <a:t>Tisagenlecleucel</a:t>
                      </a:r>
                      <a:endParaRPr lang="en-US" sz="2000" baseline="30000"/>
                    </a:p>
                    <a:p>
                      <a:pPr marL="0" marR="0" lvl="0" indent="0" algn="ctr" defTabSz="685800" rtl="0" eaLnBrk="1" fontAlgn="auto" latinLnBrk="0" hangingPunct="1">
                        <a:lnSpc>
                          <a:spcPct val="100000"/>
                        </a:lnSpc>
                        <a:spcBef>
                          <a:spcPts val="0"/>
                        </a:spcBef>
                        <a:spcAft>
                          <a:spcPts val="0"/>
                        </a:spcAft>
                        <a:buClrTx/>
                        <a:buSzTx/>
                        <a:buFontTx/>
                        <a:buNone/>
                        <a:tabLst/>
                        <a:defRPr/>
                      </a:pPr>
                      <a:r>
                        <a:rPr lang="en-US" sz="2000" b="0" kern="1200">
                          <a:solidFill>
                            <a:schemeClr val="lt1"/>
                          </a:solidFill>
                          <a:latin typeface="+mn-lt"/>
                          <a:ea typeface="+mn-ea"/>
                          <a:cs typeface="+mn-cs"/>
                        </a:rPr>
                        <a:t>(ELARA)</a:t>
                      </a:r>
                      <a:r>
                        <a:rPr lang="en-US" sz="2000" b="0" kern="1200" baseline="30000">
                          <a:solidFill>
                            <a:schemeClr val="lt1"/>
                          </a:solidFill>
                          <a:latin typeface="+mn-lt"/>
                          <a:ea typeface="+mn-ea"/>
                          <a:cs typeface="+mn-cs"/>
                        </a:rPr>
                        <a:t> 3,4</a:t>
                      </a:r>
                      <a:endParaRPr lang="en-US" sz="2000" b="0" kern="1200" baseline="30000" dirty="0">
                        <a:solidFill>
                          <a:schemeClr val="lt1"/>
                        </a:solidFill>
                        <a:latin typeface="+mn-lt"/>
                        <a:ea typeface="+mn-ea"/>
                        <a:cs typeface="+mn-cs"/>
                      </a:endParaRP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lumMod val="50000"/>
                      </a:srgbClr>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2000"/>
                        <a:t>Lisocabtagene- maraleucel</a:t>
                      </a:r>
                      <a:endParaRPr lang="en-US" sz="2000" baseline="30000"/>
                    </a:p>
                    <a:p>
                      <a:pPr marL="0" marR="0" lvl="0" indent="0" algn="ctr" defTabSz="685800" rtl="0" eaLnBrk="1" fontAlgn="auto" latinLnBrk="0" hangingPunct="1">
                        <a:lnSpc>
                          <a:spcPct val="100000"/>
                        </a:lnSpc>
                        <a:spcBef>
                          <a:spcPts val="0"/>
                        </a:spcBef>
                        <a:spcAft>
                          <a:spcPts val="0"/>
                        </a:spcAft>
                        <a:buClrTx/>
                        <a:buSzTx/>
                        <a:buFontTx/>
                        <a:buNone/>
                        <a:tabLst/>
                        <a:defRPr/>
                      </a:pPr>
                      <a:r>
                        <a:rPr lang="en-US" sz="2000" b="0" kern="1200">
                          <a:solidFill>
                            <a:schemeClr val="lt1"/>
                          </a:solidFill>
                          <a:latin typeface="+mn-lt"/>
                          <a:ea typeface="+mn-ea"/>
                          <a:cs typeface="+mn-cs"/>
                        </a:rPr>
                        <a:t>(TRANSCEND FL)</a:t>
                      </a:r>
                      <a:r>
                        <a:rPr lang="en-US" sz="2000" b="0" kern="1200" baseline="30000">
                          <a:solidFill>
                            <a:schemeClr val="lt1"/>
                          </a:solidFill>
                          <a:latin typeface="+mn-lt"/>
                          <a:ea typeface="+mn-ea"/>
                          <a:cs typeface="+mn-cs"/>
                        </a:rPr>
                        <a:t> 5,6</a:t>
                      </a:r>
                      <a:endParaRPr lang="en-US" sz="2000" b="0" kern="1200" baseline="30000" dirty="0">
                        <a:solidFill>
                          <a:schemeClr val="lt1"/>
                        </a:solidFill>
                        <a:latin typeface="+mn-lt"/>
                        <a:ea typeface="+mn-ea"/>
                        <a:cs typeface="+mn-cs"/>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lumMod val="50000"/>
                      </a:srgbClr>
                    </a:solidFill>
                  </a:tcPr>
                </a:tc>
                <a:extLst>
                  <a:ext uri="{0D108BD9-81ED-4DB2-BD59-A6C34878D82A}">
                    <a16:rowId xmlns:a16="http://schemas.microsoft.com/office/drawing/2014/main" val="1117567341"/>
                  </a:ext>
                </a:extLst>
              </a:tr>
              <a:tr h="47687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800" b="0" dirty="0"/>
                        <a:t>Patients</a:t>
                      </a: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2000" b="0" dirty="0"/>
                        <a:t>n = 127</a:t>
                      </a: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2000" b="0" dirty="0"/>
                        <a:t>n = 97</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2000" b="0" dirty="0"/>
                        <a:t>n = 107</a:t>
                      </a:r>
                    </a:p>
                  </a:txBody>
                  <a:tcPr anchor="ctr">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465897769"/>
                  </a:ext>
                </a:extLst>
              </a:tr>
              <a:tr h="47687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800" b="0" dirty="0"/>
                        <a:t>POD24</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2000" b="0" dirty="0"/>
                        <a:t>55%</a:t>
                      </a: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2000" b="0" dirty="0"/>
                        <a:t>63%</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2000" b="0" dirty="0"/>
                        <a:t>43%</a:t>
                      </a: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3443272580"/>
                  </a:ext>
                </a:extLst>
              </a:tr>
              <a:tr h="47687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800" b="0" dirty="0"/>
                        <a:t>Refractory to prior tx</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2000" b="0" dirty="0"/>
                        <a:t>69%</a:t>
                      </a: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2000" b="0" dirty="0"/>
                        <a:t>78%</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2000" b="0" dirty="0"/>
                        <a:t>38%</a:t>
                      </a: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4142197116"/>
                  </a:ext>
                </a:extLst>
              </a:tr>
              <a:tr h="476870">
                <a:tc>
                  <a:txBody>
                    <a:bodyPr/>
                    <a:lstStyle/>
                    <a:p>
                      <a:r>
                        <a:rPr lang="en-US" sz="1800" b="0" dirty="0"/>
                        <a:t>Any grade CRS/NE</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tc>
                  <a:txBody>
                    <a:bodyPr/>
                    <a:lstStyle/>
                    <a:p>
                      <a:pPr algn="ctr"/>
                      <a:r>
                        <a:rPr lang="en-US" sz="2000" b="0" dirty="0"/>
                        <a:t>78% / 56%</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tc>
                  <a:txBody>
                    <a:bodyPr/>
                    <a:lstStyle/>
                    <a:p>
                      <a:pPr algn="ctr"/>
                      <a:r>
                        <a:rPr lang="en-US" sz="2000" b="0" dirty="0"/>
                        <a:t>49% / 37% </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tc>
                  <a:txBody>
                    <a:bodyPr/>
                    <a:lstStyle/>
                    <a:p>
                      <a:pPr algn="ctr"/>
                      <a:r>
                        <a:rPr lang="en-US" sz="2000" b="0" dirty="0"/>
                        <a:t>58% / 15%</a:t>
                      </a: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62791366"/>
                  </a:ext>
                </a:extLst>
              </a:tr>
              <a:tr h="47687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800" b="0" dirty="0"/>
                        <a:t>Grade </a:t>
                      </a:r>
                      <a:r>
                        <a:rPr lang="en-US" sz="1800" b="0" u="sng" dirty="0"/>
                        <a:t>&gt;</a:t>
                      </a:r>
                      <a:r>
                        <a:rPr lang="en-US" sz="1800" b="0" dirty="0"/>
                        <a:t>3 CRS/NE</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tc>
                  <a:txBody>
                    <a:bodyPr/>
                    <a:lstStyle/>
                    <a:p>
                      <a:pPr algn="ctr"/>
                      <a:r>
                        <a:rPr lang="en-US" sz="2000" b="0" dirty="0"/>
                        <a:t>6% / 15%</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tc>
                  <a:txBody>
                    <a:bodyPr/>
                    <a:lstStyle/>
                    <a:p>
                      <a:pPr algn="ctr"/>
                      <a:r>
                        <a:rPr lang="en-US" sz="2000" b="0" dirty="0"/>
                        <a:t>1% /3%</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tc>
                  <a:txBody>
                    <a:bodyPr/>
                    <a:lstStyle/>
                    <a:p>
                      <a:pPr algn="ctr"/>
                      <a:r>
                        <a:rPr lang="en-US" sz="2000" b="0" dirty="0"/>
                        <a:t>1% / 2%</a:t>
                      </a: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3469032699"/>
                  </a:ext>
                </a:extLst>
              </a:tr>
              <a:tr h="47687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800" b="0" dirty="0"/>
                        <a:t>ORR rate</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2000" b="0" dirty="0"/>
                        <a:t>94%</a:t>
                      </a: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2000" b="0" dirty="0"/>
                        <a:t>86%</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2000" b="0" dirty="0"/>
                        <a:t>97%</a:t>
                      </a: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2165794730"/>
                  </a:ext>
                </a:extLst>
              </a:tr>
              <a:tr h="47687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800" b="0" dirty="0"/>
                        <a:t>CR rate</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2000" b="0" dirty="0"/>
                        <a:t>79%</a:t>
                      </a: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2000" b="0" dirty="0"/>
                        <a:t>68%</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2000" b="0" dirty="0"/>
                        <a:t>94%</a:t>
                      </a: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974548405"/>
                  </a:ext>
                </a:extLst>
              </a:tr>
              <a:tr h="543622">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800" b="0" dirty="0"/>
                        <a:t>CR duration</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2000" b="0" dirty="0"/>
                        <a:t>36-mo DOCR, 62%</a:t>
                      </a: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dirty="0"/>
                        <a:t>24-mo DOCR, 78%</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2000" b="0" dirty="0"/>
                        <a:t>24-mo DOCR, 75%</a:t>
                      </a: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2549970158"/>
                  </a:ext>
                </a:extLst>
              </a:tr>
              <a:tr h="560982">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800" b="0" dirty="0"/>
                        <a:t>PFS</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2000" b="0" dirty="0"/>
                        <a:t>Median 40.2 </a:t>
                      </a:r>
                      <a:r>
                        <a:rPr lang="en-US" sz="2000" b="0" dirty="0" err="1"/>
                        <a:t>mos</a:t>
                      </a:r>
                      <a:br>
                        <a:rPr lang="en-US" sz="2000" b="0" dirty="0"/>
                      </a:br>
                      <a:r>
                        <a:rPr lang="en-US" sz="2000" b="0" dirty="0"/>
                        <a:t>36-mo rate, 54%</a:t>
                      </a: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dirty="0"/>
                        <a:t>Median, NR</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dirty="0"/>
                        <a:t>24-mo rate, 57%</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2000" b="0" dirty="0"/>
                        <a:t>Median, NR</a:t>
                      </a:r>
                    </a:p>
                    <a:p>
                      <a:pPr algn="ctr"/>
                      <a:r>
                        <a:rPr lang="en-US" sz="2000" b="0" dirty="0"/>
                        <a:t>24-mo rate, 73%</a:t>
                      </a: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3498780420"/>
                  </a:ext>
                </a:extLst>
              </a:tr>
            </a:tbl>
          </a:graphicData>
        </a:graphic>
      </p:graphicFrame>
      <p:sp>
        <p:nvSpPr>
          <p:cNvPr id="9" name="TextBox 8">
            <a:extLst>
              <a:ext uri="{FF2B5EF4-FFF2-40B4-BE49-F238E27FC236}">
                <a16:creationId xmlns:a16="http://schemas.microsoft.com/office/drawing/2014/main" id="{046F2DD7-EB64-8484-0594-E21929A5AE63}"/>
              </a:ext>
            </a:extLst>
          </p:cNvPr>
          <p:cNvSpPr txBox="1"/>
          <p:nvPr/>
        </p:nvSpPr>
        <p:spPr>
          <a:xfrm>
            <a:off x="136452" y="6438744"/>
            <a:ext cx="11919096" cy="276999"/>
          </a:xfrm>
          <a:prstGeom prst="rect">
            <a:avLst/>
          </a:prstGeom>
        </p:spPr>
        <p:txBody>
          <a:bodyPr vert="horz"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1. Jacobson CA, et al. </a:t>
            </a:r>
            <a:r>
              <a:rPr kumimoji="0" lang="en-US" sz="900" b="0" i="1"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Lancet Oncol</a:t>
            </a:r>
            <a:r>
              <a:rPr kumimoji="0" lang="en-US" sz="9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2022; 23: 91–103. 2. </a:t>
            </a:r>
            <a:r>
              <a:rPr kumimoji="0" lang="en-US" sz="9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Neelapu</a:t>
            </a:r>
            <a:r>
              <a:rPr kumimoji="0" lang="en-US" sz="9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SS, et al. </a:t>
            </a:r>
            <a:r>
              <a:rPr kumimoji="0" lang="en-US" sz="900" b="0" i="1"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Blood</a:t>
            </a:r>
            <a:r>
              <a:rPr kumimoji="0" lang="en-US" sz="9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2024;143(6):496–506. 3. Morschhauser F, et al. </a:t>
            </a:r>
            <a:r>
              <a:rPr kumimoji="0" lang="en-US" sz="900" b="0" i="1"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Nat Med</a:t>
            </a:r>
            <a:r>
              <a:rPr kumimoji="0" lang="en-US" sz="9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2024;30:2199–2207. 4. </a:t>
            </a:r>
            <a:r>
              <a:rPr kumimoji="0" lang="en-US" sz="9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Nastoupil</a:t>
            </a:r>
            <a:r>
              <a:rPr kumimoji="0" lang="en-US" sz="9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L, et al. Presented at the 66</a:t>
            </a:r>
            <a:r>
              <a:rPr kumimoji="0" lang="en-US" sz="900" b="0"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th</a:t>
            </a:r>
            <a:r>
              <a:rPr kumimoji="0" lang="en-US" sz="9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merican Society of Hematology (ASH) Annual Meeting. 7–10 December, 2024. San Diego, CA, USA. Poster 4387. 5. Fowler NH, et al. </a:t>
            </a:r>
            <a:r>
              <a:rPr kumimoji="0" lang="en-US" sz="900" b="0" i="1"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Nat Med</a:t>
            </a:r>
            <a:r>
              <a:rPr kumimoji="0" lang="en-US" sz="9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2022;28:325–332. 6. Dreyling  M, et al. </a:t>
            </a:r>
            <a:r>
              <a:rPr kumimoji="0" lang="en-US" sz="900" b="0" i="1"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Blood</a:t>
            </a:r>
            <a:r>
              <a:rPr kumimoji="0" lang="en-US" sz="9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2024;143(17):1713–1725. </a:t>
            </a:r>
          </a:p>
        </p:txBody>
      </p:sp>
      <p:sp>
        <p:nvSpPr>
          <p:cNvPr id="3" name="Rounded Rectangle 2">
            <a:extLst>
              <a:ext uri="{FF2B5EF4-FFF2-40B4-BE49-F238E27FC236}">
                <a16:creationId xmlns:a16="http://schemas.microsoft.com/office/drawing/2014/main" id="{9F429987-826E-8570-7B26-21BC77683C40}"/>
              </a:ext>
            </a:extLst>
          </p:cNvPr>
          <p:cNvSpPr/>
          <p:nvPr/>
        </p:nvSpPr>
        <p:spPr>
          <a:xfrm>
            <a:off x="366320" y="4437775"/>
            <a:ext cx="11459360" cy="1759247"/>
          </a:xfrm>
          <a:prstGeom prst="round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114031631"/>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634633DD-F55A-1BF7-E5D2-5BB78EC1E5F8}"/>
              </a:ext>
            </a:extLst>
          </p:cNvPr>
          <p:cNvGrpSpPr/>
          <p:nvPr/>
        </p:nvGrpSpPr>
        <p:grpSpPr>
          <a:xfrm>
            <a:off x="408525" y="469232"/>
            <a:ext cx="11374950" cy="6078413"/>
            <a:chOff x="285895" y="370681"/>
            <a:chExt cx="11727426" cy="6390636"/>
          </a:xfrm>
        </p:grpSpPr>
        <p:sp>
          <p:nvSpPr>
            <p:cNvPr id="2" name="Oval 1">
              <a:extLst>
                <a:ext uri="{FF2B5EF4-FFF2-40B4-BE49-F238E27FC236}">
                  <a16:creationId xmlns:a16="http://schemas.microsoft.com/office/drawing/2014/main" id="{31791596-605E-F144-AD09-B30AD37ACD2F}"/>
                </a:ext>
              </a:extLst>
            </p:cNvPr>
            <p:cNvSpPr/>
            <p:nvPr/>
          </p:nvSpPr>
          <p:spPr bwMode="auto">
            <a:xfrm>
              <a:off x="285895" y="4022631"/>
              <a:ext cx="4331633" cy="2097555"/>
            </a:xfrm>
            <a:prstGeom prst="ellipse">
              <a:avLst/>
            </a:prstGeom>
            <a:solidFill>
              <a:schemeClr val="tx2">
                <a:lumMod val="60000"/>
                <a:lumOff val="40000"/>
                <a:alpha val="25098"/>
              </a:schemeClr>
            </a:solidFill>
            <a:ln w="9525" cap="flat" cmpd="sng" algn="ctr">
              <a:solidFill>
                <a:schemeClr val="tx1">
                  <a:lumMod val="75000"/>
                </a:schemeClr>
              </a:solid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285750" marR="0" lvl="0" indent="-285750" algn="l" defTabSz="1219170" rtl="0" eaLnBrk="0" fontAlgn="base" latinLnBrk="0" hangingPunct="0">
                <a:lnSpc>
                  <a:spcPct val="100000"/>
                </a:lnSpc>
                <a:spcBef>
                  <a:spcPct val="0"/>
                </a:spcBef>
                <a:spcAft>
                  <a:spcPct val="0"/>
                </a:spcAft>
                <a:buClrTx/>
                <a:buSzTx/>
                <a:buFont typeface="Wingdings" panose="05000000000000000000" pitchFamily="2" charset="2"/>
                <a:buChar char="§"/>
                <a:tabLst/>
                <a:defRPr/>
              </a:pPr>
              <a:r>
                <a:rPr kumimoji="0" lang="en-US" sz="1800" b="1" i="0" u="none" strike="noStrike" kern="1200" cap="none" spc="0" normalizeH="0" baseline="0" noProof="0" dirty="0">
                  <a:ln>
                    <a:noFill/>
                  </a:ln>
                  <a:solidFill>
                    <a:srgbClr val="6A6C6D">
                      <a:lumMod val="75000"/>
                    </a:srgbClr>
                  </a:solidFill>
                  <a:effectLst/>
                  <a:uLnTx/>
                  <a:uFillTx/>
                  <a:latin typeface="Arial" charset="0"/>
                  <a:ea typeface="ＭＳ Ｐゴシック" pitchFamily="48" charset="-128"/>
                  <a:cs typeface="+mn-cs"/>
                </a:rPr>
                <a:t>Disease Pace</a:t>
              </a:r>
            </a:p>
            <a:p>
              <a:pPr marL="285750" marR="0" lvl="0" indent="-285750" algn="l" defTabSz="1219170" rtl="0" eaLnBrk="0" fontAlgn="base" latinLnBrk="0" hangingPunct="0">
                <a:lnSpc>
                  <a:spcPct val="100000"/>
                </a:lnSpc>
                <a:spcBef>
                  <a:spcPct val="0"/>
                </a:spcBef>
                <a:spcAft>
                  <a:spcPct val="0"/>
                </a:spcAft>
                <a:buClrTx/>
                <a:buSzTx/>
                <a:buFont typeface="Wingdings" panose="05000000000000000000" pitchFamily="2" charset="2"/>
                <a:buChar char="§"/>
                <a:tabLst/>
                <a:defRPr/>
              </a:pPr>
              <a:r>
                <a:rPr kumimoji="0" lang="en-US" sz="1800" b="1" i="0" u="none" strike="noStrike" kern="1200" cap="none" spc="0" normalizeH="0" baseline="0" noProof="0" dirty="0">
                  <a:ln>
                    <a:noFill/>
                  </a:ln>
                  <a:solidFill>
                    <a:srgbClr val="6A6C6D">
                      <a:lumMod val="75000"/>
                    </a:srgbClr>
                  </a:solidFill>
                  <a:effectLst/>
                  <a:uLnTx/>
                  <a:uFillTx/>
                  <a:latin typeface="Arial" charset="0"/>
                  <a:ea typeface="ＭＳ Ｐゴシック" pitchFamily="48" charset="-128"/>
                  <a:cs typeface="+mn-cs"/>
                </a:rPr>
                <a:t>Disease Burden</a:t>
              </a:r>
            </a:p>
            <a:p>
              <a:pPr marL="285750" marR="0" lvl="0" indent="-285750" algn="l" defTabSz="1219170" rtl="0" eaLnBrk="0" fontAlgn="base" latinLnBrk="0" hangingPunct="0">
                <a:lnSpc>
                  <a:spcPct val="100000"/>
                </a:lnSpc>
                <a:spcBef>
                  <a:spcPct val="0"/>
                </a:spcBef>
                <a:spcAft>
                  <a:spcPct val="0"/>
                </a:spcAft>
                <a:buClrTx/>
                <a:buSzTx/>
                <a:buFont typeface="Wingdings" panose="05000000000000000000" pitchFamily="2" charset="2"/>
                <a:buChar char="§"/>
                <a:tabLst/>
                <a:defRPr/>
              </a:pPr>
              <a:r>
                <a:rPr kumimoji="0" lang="en-US" sz="1800" b="1" i="0" u="none" strike="noStrike" kern="1200" cap="none" spc="0" normalizeH="0" baseline="0" noProof="0" dirty="0">
                  <a:ln>
                    <a:noFill/>
                  </a:ln>
                  <a:solidFill>
                    <a:srgbClr val="6A6C6D">
                      <a:lumMod val="75000"/>
                    </a:srgbClr>
                  </a:solidFill>
                  <a:effectLst/>
                  <a:uLnTx/>
                  <a:uFillTx/>
                  <a:latin typeface="Arial" charset="0"/>
                  <a:ea typeface="ＭＳ Ｐゴシック" pitchFamily="48" charset="-128"/>
                  <a:cs typeface="+mn-cs"/>
                </a:rPr>
                <a:t>Performance Status</a:t>
              </a:r>
            </a:p>
            <a:p>
              <a:pPr marL="285750" marR="0" lvl="0" indent="-285750" algn="l" defTabSz="1219170" rtl="0" eaLnBrk="0" fontAlgn="base" latinLnBrk="0" hangingPunct="0">
                <a:lnSpc>
                  <a:spcPct val="100000"/>
                </a:lnSpc>
                <a:spcBef>
                  <a:spcPct val="0"/>
                </a:spcBef>
                <a:spcAft>
                  <a:spcPct val="0"/>
                </a:spcAft>
                <a:buClrTx/>
                <a:buSzTx/>
                <a:buFont typeface="Wingdings" panose="05000000000000000000" pitchFamily="2" charset="2"/>
                <a:buChar char="§"/>
                <a:tabLst/>
                <a:defRPr/>
              </a:pPr>
              <a:r>
                <a:rPr kumimoji="0" lang="en-US" sz="1800" b="1" i="0" u="none" strike="noStrike" kern="1200" cap="none" spc="0" normalizeH="0" baseline="0" noProof="0" dirty="0">
                  <a:ln>
                    <a:noFill/>
                  </a:ln>
                  <a:solidFill>
                    <a:srgbClr val="6A6C6D">
                      <a:lumMod val="75000"/>
                    </a:srgbClr>
                  </a:solidFill>
                  <a:effectLst/>
                  <a:uLnTx/>
                  <a:uFillTx/>
                  <a:latin typeface="Arial" charset="0"/>
                  <a:ea typeface="ＭＳ Ｐゴシック" pitchFamily="48" charset="-128"/>
                  <a:cs typeface="+mn-cs"/>
                </a:rPr>
                <a:t>Infection</a:t>
              </a:r>
            </a:p>
            <a:p>
              <a:pPr marL="285750" marR="0" lvl="0" indent="-285750" algn="l" defTabSz="1219170" rtl="0" eaLnBrk="0" fontAlgn="base" latinLnBrk="0" hangingPunct="0">
                <a:lnSpc>
                  <a:spcPct val="100000"/>
                </a:lnSpc>
                <a:spcBef>
                  <a:spcPct val="0"/>
                </a:spcBef>
                <a:spcAft>
                  <a:spcPct val="0"/>
                </a:spcAft>
                <a:buClrTx/>
                <a:buSzTx/>
                <a:buFont typeface="Wingdings" panose="05000000000000000000" pitchFamily="2" charset="2"/>
                <a:buChar char="§"/>
                <a:tabLst/>
                <a:defRPr/>
              </a:pPr>
              <a:r>
                <a:rPr kumimoji="0" lang="en-US" sz="1800" b="1" i="0" u="none" strike="noStrike" kern="1200" cap="none" spc="0" normalizeH="0" baseline="0" noProof="0" dirty="0">
                  <a:ln>
                    <a:noFill/>
                  </a:ln>
                  <a:solidFill>
                    <a:srgbClr val="6A6C6D">
                      <a:lumMod val="75000"/>
                    </a:srgbClr>
                  </a:solidFill>
                  <a:effectLst/>
                  <a:uLnTx/>
                  <a:uFillTx/>
                  <a:latin typeface="Arial" charset="0"/>
                  <a:ea typeface="ＭＳ Ｐゴシック" pitchFamily="48" charset="-128"/>
                  <a:cs typeface="+mn-cs"/>
                </a:rPr>
                <a:t>CNS Disease?</a:t>
              </a:r>
            </a:p>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6A6C6D">
                    <a:lumMod val="75000"/>
                  </a:srgbClr>
                </a:solidFill>
                <a:effectLst/>
                <a:uLnTx/>
                <a:uFillTx/>
                <a:latin typeface="Arial" charset="0"/>
                <a:ea typeface="ＭＳ Ｐゴシック" pitchFamily="48" charset="-128"/>
                <a:cs typeface="+mn-cs"/>
              </a:endParaRPr>
            </a:p>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6A6C6D">
                    <a:lumMod val="75000"/>
                  </a:srgbClr>
                </a:solidFill>
                <a:effectLst/>
                <a:uLnTx/>
                <a:uFillTx/>
                <a:latin typeface="Arial" charset="0"/>
                <a:ea typeface="ＭＳ Ｐゴシック" pitchFamily="48" charset="-128"/>
                <a:cs typeface="+mn-cs"/>
              </a:endParaRPr>
            </a:p>
          </p:txBody>
        </p:sp>
        <p:sp>
          <p:nvSpPr>
            <p:cNvPr id="7" name="Oval 6">
              <a:extLst>
                <a:ext uri="{FF2B5EF4-FFF2-40B4-BE49-F238E27FC236}">
                  <a16:creationId xmlns:a16="http://schemas.microsoft.com/office/drawing/2014/main" id="{9811F8E4-5909-AB43-A84C-A8AF647AFA08}"/>
                </a:ext>
              </a:extLst>
            </p:cNvPr>
            <p:cNvSpPr/>
            <p:nvPr/>
          </p:nvSpPr>
          <p:spPr bwMode="auto">
            <a:xfrm>
              <a:off x="7364208" y="4210714"/>
              <a:ext cx="4594689" cy="2097555"/>
            </a:xfrm>
            <a:prstGeom prst="ellipse">
              <a:avLst/>
            </a:prstGeom>
            <a:solidFill>
              <a:schemeClr val="accent6">
                <a:lumMod val="20000"/>
                <a:lumOff val="80000"/>
                <a:alpha val="50196"/>
              </a:schemeClr>
            </a:solidFill>
            <a:ln w="9525" cap="flat" cmpd="sng" algn="ctr">
              <a:solidFill>
                <a:schemeClr val="tx1">
                  <a:lumMod val="75000"/>
                </a:schemeClr>
              </a:solid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285750" marR="0" lvl="0" indent="-285750" algn="l" defTabSz="1219170" rtl="0" eaLnBrk="0" fontAlgn="base" latinLnBrk="0" hangingPunct="0">
                <a:lnSpc>
                  <a:spcPct val="100000"/>
                </a:lnSpc>
                <a:spcBef>
                  <a:spcPct val="0"/>
                </a:spcBef>
                <a:spcAft>
                  <a:spcPct val="0"/>
                </a:spcAft>
                <a:buClrTx/>
                <a:buSzTx/>
                <a:buFont typeface="Wingdings" panose="05000000000000000000" pitchFamily="2" charset="2"/>
                <a:buChar char="§"/>
                <a:tabLst/>
                <a:defRPr/>
              </a:pPr>
              <a:r>
                <a:rPr kumimoji="0" lang="en-US" sz="1800" b="1" i="0" u="none" strike="noStrike" kern="1200" cap="none" spc="0" normalizeH="0" baseline="0" noProof="0" dirty="0">
                  <a:ln>
                    <a:noFill/>
                  </a:ln>
                  <a:solidFill>
                    <a:srgbClr val="6A6C6D">
                      <a:lumMod val="75000"/>
                    </a:srgbClr>
                  </a:solidFill>
                  <a:effectLst/>
                  <a:uLnTx/>
                  <a:uFillTx/>
                  <a:latin typeface="Arial" charset="0"/>
                  <a:ea typeface="ＭＳ Ｐゴシック" pitchFamily="48" charset="-128"/>
                  <a:cs typeface="+mn-cs"/>
                </a:rPr>
                <a:t>Patient Referral</a:t>
              </a:r>
            </a:p>
            <a:p>
              <a:pPr marL="285750" marR="0" lvl="0" indent="-285750" algn="l" defTabSz="1219170" rtl="0" eaLnBrk="0" fontAlgn="base" latinLnBrk="0" hangingPunct="0">
                <a:lnSpc>
                  <a:spcPct val="100000"/>
                </a:lnSpc>
                <a:spcBef>
                  <a:spcPct val="0"/>
                </a:spcBef>
                <a:spcAft>
                  <a:spcPct val="0"/>
                </a:spcAft>
                <a:buClrTx/>
                <a:buSzTx/>
                <a:buFont typeface="Wingdings" panose="05000000000000000000" pitchFamily="2" charset="2"/>
                <a:buChar char="§"/>
                <a:tabLst/>
                <a:defRPr/>
              </a:pPr>
              <a:r>
                <a:rPr kumimoji="0" lang="en-US" sz="1800" b="1" i="0" u="none" strike="noStrike" kern="1200" cap="none" spc="0" normalizeH="0" baseline="0" noProof="0" dirty="0">
                  <a:ln>
                    <a:noFill/>
                  </a:ln>
                  <a:solidFill>
                    <a:srgbClr val="6A6C6D">
                      <a:lumMod val="75000"/>
                    </a:srgbClr>
                  </a:solidFill>
                  <a:effectLst/>
                  <a:uLnTx/>
                  <a:uFillTx/>
                  <a:latin typeface="Arial" charset="0"/>
                  <a:ea typeface="ＭＳ Ｐゴシック" pitchFamily="48" charset="-128"/>
                  <a:cs typeface="+mn-cs"/>
                </a:rPr>
                <a:t>Insurance Approval</a:t>
              </a:r>
            </a:p>
            <a:p>
              <a:pPr marL="285750" marR="0" lvl="0" indent="-285750" algn="l" defTabSz="1219170" rtl="0" eaLnBrk="0" fontAlgn="base" latinLnBrk="0" hangingPunct="0">
                <a:lnSpc>
                  <a:spcPct val="100000"/>
                </a:lnSpc>
                <a:spcBef>
                  <a:spcPct val="0"/>
                </a:spcBef>
                <a:spcAft>
                  <a:spcPct val="0"/>
                </a:spcAft>
                <a:buClrTx/>
                <a:buSzTx/>
                <a:buFont typeface="Wingdings" panose="05000000000000000000" pitchFamily="2" charset="2"/>
                <a:buChar char="§"/>
                <a:tabLst/>
                <a:defRPr/>
              </a:pPr>
              <a:r>
                <a:rPr kumimoji="0" lang="en-US" sz="1800" b="1" i="0" u="none" strike="noStrike" kern="1200" cap="none" spc="0" normalizeH="0" baseline="0" noProof="0" dirty="0">
                  <a:ln>
                    <a:noFill/>
                  </a:ln>
                  <a:solidFill>
                    <a:srgbClr val="6A6C6D">
                      <a:lumMod val="75000"/>
                    </a:srgbClr>
                  </a:solidFill>
                  <a:effectLst/>
                  <a:uLnTx/>
                  <a:uFillTx/>
                  <a:latin typeface="Arial" charset="0"/>
                  <a:ea typeface="ＭＳ Ｐゴシック" pitchFamily="48" charset="-128"/>
                  <a:cs typeface="+mn-cs"/>
                </a:rPr>
                <a:t>Apheresis Slot</a:t>
              </a:r>
            </a:p>
            <a:p>
              <a:pPr marL="285750" marR="0" lvl="0" indent="-285750" algn="l" defTabSz="1219170" rtl="0" eaLnBrk="0" fontAlgn="base" latinLnBrk="0" hangingPunct="0">
                <a:lnSpc>
                  <a:spcPct val="100000"/>
                </a:lnSpc>
                <a:spcBef>
                  <a:spcPct val="0"/>
                </a:spcBef>
                <a:spcAft>
                  <a:spcPct val="0"/>
                </a:spcAft>
                <a:buClrTx/>
                <a:buSzTx/>
                <a:buFont typeface="Wingdings" panose="05000000000000000000" pitchFamily="2" charset="2"/>
                <a:buChar char="§"/>
                <a:tabLst/>
                <a:defRPr/>
              </a:pPr>
              <a:r>
                <a:rPr kumimoji="0" lang="en-US" sz="1800" b="1" i="0" u="none" strike="noStrike" kern="1200" cap="none" spc="0" normalizeH="0" baseline="0" noProof="0" dirty="0">
                  <a:ln>
                    <a:noFill/>
                  </a:ln>
                  <a:solidFill>
                    <a:srgbClr val="6A6C6D">
                      <a:lumMod val="75000"/>
                    </a:srgbClr>
                  </a:solidFill>
                  <a:effectLst/>
                  <a:uLnTx/>
                  <a:uFillTx/>
                  <a:latin typeface="Arial" charset="0"/>
                  <a:ea typeface="ＭＳ Ｐゴシック" pitchFamily="48" charset="-128"/>
                  <a:cs typeface="+mn-cs"/>
                </a:rPr>
                <a:t>Bridging</a:t>
              </a:r>
            </a:p>
            <a:p>
              <a:pPr marL="285750" marR="0" lvl="0" indent="-285750" algn="l" defTabSz="1219170" rtl="0" eaLnBrk="0" fontAlgn="base" latinLnBrk="0" hangingPunct="0">
                <a:lnSpc>
                  <a:spcPct val="100000"/>
                </a:lnSpc>
                <a:spcBef>
                  <a:spcPct val="0"/>
                </a:spcBef>
                <a:spcAft>
                  <a:spcPct val="0"/>
                </a:spcAft>
                <a:buClrTx/>
                <a:buSzTx/>
                <a:buFont typeface="Wingdings" panose="05000000000000000000" pitchFamily="2" charset="2"/>
                <a:buChar char="§"/>
                <a:tabLst/>
                <a:defRPr/>
              </a:pPr>
              <a:r>
                <a:rPr kumimoji="0" lang="en-US" sz="1800" b="1" i="0" u="none" strike="noStrike" kern="1200" cap="none" spc="0" normalizeH="0" baseline="0" noProof="0" dirty="0">
                  <a:ln>
                    <a:noFill/>
                  </a:ln>
                  <a:solidFill>
                    <a:srgbClr val="6A6C6D">
                      <a:lumMod val="75000"/>
                    </a:srgbClr>
                  </a:solidFill>
                  <a:effectLst/>
                  <a:uLnTx/>
                  <a:uFillTx/>
                  <a:latin typeface="Arial" charset="0"/>
                  <a:ea typeface="ＭＳ Ｐゴシック" pitchFamily="48" charset="-128"/>
                  <a:cs typeface="+mn-cs"/>
                </a:rPr>
                <a:t>Manufacturing Failure</a:t>
              </a:r>
              <a:endParaRPr kumimoji="0" lang="en-US" sz="1800" b="1" i="0" u="none" strike="noStrike" kern="1200" cap="none" spc="0" normalizeH="0" baseline="0" noProof="0" dirty="0">
                <a:ln>
                  <a:noFill/>
                </a:ln>
                <a:solidFill>
                  <a:srgbClr val="6A6C6D">
                    <a:lumMod val="75000"/>
                  </a:srgbClr>
                </a:solidFill>
                <a:effectLst/>
                <a:uLnTx/>
                <a:uFillTx/>
                <a:latin typeface="Arial" panose="020B0604020202020204" pitchFamily="34" charset="0"/>
                <a:ea typeface="+mn-ea"/>
                <a:cs typeface="+mn-cs"/>
              </a:endParaRPr>
            </a:p>
            <a:p>
              <a:pPr marL="0" marR="0" lvl="0" indent="0" algn="ctr" defTabSz="121917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6A6C6D">
                    <a:lumMod val="75000"/>
                  </a:srgbClr>
                </a:solidFill>
                <a:effectLst/>
                <a:uLnTx/>
                <a:uFillTx/>
                <a:latin typeface="Arial" charset="0"/>
                <a:ea typeface="ＭＳ Ｐゴシック" pitchFamily="48" charset="-128"/>
                <a:cs typeface="+mn-cs"/>
              </a:endParaRPr>
            </a:p>
          </p:txBody>
        </p:sp>
        <p:sp>
          <p:nvSpPr>
            <p:cNvPr id="8" name="Oval 7">
              <a:extLst>
                <a:ext uri="{FF2B5EF4-FFF2-40B4-BE49-F238E27FC236}">
                  <a16:creationId xmlns:a16="http://schemas.microsoft.com/office/drawing/2014/main" id="{A0C9B9C2-FC49-8E42-ACBE-88DA72FB67EC}"/>
                </a:ext>
              </a:extLst>
            </p:cNvPr>
            <p:cNvSpPr/>
            <p:nvPr/>
          </p:nvSpPr>
          <p:spPr bwMode="auto">
            <a:xfrm>
              <a:off x="2488483" y="1890254"/>
              <a:ext cx="7499911" cy="2416791"/>
            </a:xfrm>
            <a:prstGeom prst="ellipse">
              <a:avLst/>
            </a:prstGeom>
            <a:solidFill>
              <a:schemeClr val="bg2">
                <a:lumMod val="60000"/>
                <a:lumOff val="40000"/>
                <a:alpha val="50196"/>
              </a:schemeClr>
            </a:solidFill>
            <a:ln w="9525" cap="flat" cmpd="sng" algn="ctr">
              <a:solidFill>
                <a:schemeClr val="tx1">
                  <a:lumMod val="75000"/>
                </a:schemeClr>
              </a:solid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285750" marR="0" lvl="0" indent="-285750" algn="l" defTabSz="1219170" rtl="0" eaLnBrk="0" fontAlgn="base" latinLnBrk="0" hangingPunct="0">
                <a:lnSpc>
                  <a:spcPct val="100000"/>
                </a:lnSpc>
                <a:spcBef>
                  <a:spcPct val="0"/>
                </a:spcBef>
                <a:spcAft>
                  <a:spcPct val="0"/>
                </a:spcAft>
                <a:buClrTx/>
                <a:buSzTx/>
                <a:buFont typeface="Wingdings" panose="05000000000000000000" pitchFamily="2" charset="2"/>
                <a:buChar char="§"/>
                <a:tabLst/>
                <a:defRPr/>
              </a:pPr>
              <a:r>
                <a:rPr kumimoji="0" lang="en-US" sz="1800" b="1" i="0" u="none" strike="noStrike" kern="1200" cap="none" spc="0" normalizeH="0" baseline="0" noProof="0" dirty="0">
                  <a:ln>
                    <a:noFill/>
                  </a:ln>
                  <a:solidFill>
                    <a:srgbClr val="6A6C6D">
                      <a:lumMod val="75000"/>
                    </a:srgbClr>
                  </a:solidFill>
                  <a:effectLst/>
                  <a:uLnTx/>
                  <a:uFillTx/>
                  <a:latin typeface="Arial" charset="0"/>
                  <a:ea typeface="ＭＳ Ｐゴシック" pitchFamily="48" charset="-128"/>
                  <a:cs typeface="+mn-cs"/>
                </a:rPr>
                <a:t>Information/Knowledge</a:t>
              </a:r>
            </a:p>
            <a:p>
              <a:pPr marL="285750" marR="0" lvl="0" indent="-285750" algn="l" defTabSz="1219170" rtl="0" eaLnBrk="0" fontAlgn="base" latinLnBrk="0" hangingPunct="0">
                <a:lnSpc>
                  <a:spcPct val="100000"/>
                </a:lnSpc>
                <a:spcBef>
                  <a:spcPct val="0"/>
                </a:spcBef>
                <a:spcAft>
                  <a:spcPct val="0"/>
                </a:spcAft>
                <a:buClrTx/>
                <a:buSzTx/>
                <a:buFont typeface="Wingdings" panose="05000000000000000000" pitchFamily="2" charset="2"/>
                <a:buChar char="§"/>
                <a:tabLst/>
                <a:defRPr/>
              </a:pPr>
              <a:r>
                <a:rPr kumimoji="0" lang="en-US" sz="1800" b="1" i="0" u="none" strike="noStrike" kern="1200" cap="none" spc="0" normalizeH="0" baseline="0" noProof="0" dirty="0">
                  <a:ln>
                    <a:noFill/>
                  </a:ln>
                  <a:solidFill>
                    <a:srgbClr val="6A6C6D">
                      <a:lumMod val="75000"/>
                    </a:srgbClr>
                  </a:solidFill>
                  <a:effectLst/>
                  <a:uLnTx/>
                  <a:uFillTx/>
                  <a:latin typeface="Arial" charset="0"/>
                  <a:ea typeface="ＭＳ Ｐゴシック" pitchFamily="48" charset="-128"/>
                  <a:cs typeface="+mn-cs"/>
                </a:rPr>
                <a:t>Referral to a new (distant) team</a:t>
              </a:r>
            </a:p>
            <a:p>
              <a:pPr marL="285750" marR="0" lvl="0" indent="-285750" algn="l" defTabSz="1219170" rtl="0" eaLnBrk="0" fontAlgn="base" latinLnBrk="0" hangingPunct="0">
                <a:lnSpc>
                  <a:spcPct val="100000"/>
                </a:lnSpc>
                <a:spcBef>
                  <a:spcPct val="0"/>
                </a:spcBef>
                <a:spcAft>
                  <a:spcPct val="0"/>
                </a:spcAft>
                <a:buClrTx/>
                <a:buSzTx/>
                <a:buFont typeface="Wingdings" panose="05000000000000000000" pitchFamily="2" charset="2"/>
                <a:buChar char="§"/>
                <a:tabLst/>
                <a:defRPr/>
              </a:pPr>
              <a:r>
                <a:rPr kumimoji="0" lang="en-US" sz="1800" b="1" i="0" u="none" strike="noStrike" kern="1200" cap="none" spc="0" normalizeH="0" baseline="0" noProof="0" dirty="0">
                  <a:ln>
                    <a:noFill/>
                  </a:ln>
                  <a:solidFill>
                    <a:srgbClr val="6A6C6D">
                      <a:lumMod val="75000"/>
                    </a:srgbClr>
                  </a:solidFill>
                  <a:effectLst/>
                  <a:uLnTx/>
                  <a:uFillTx/>
                  <a:latin typeface="Arial" charset="0"/>
                  <a:ea typeface="ＭＳ Ｐゴシック" pitchFamily="48" charset="-128"/>
                  <a:cs typeface="+mn-cs"/>
                </a:rPr>
                <a:t>Caregiver Presence (30/15 days) / Costs</a:t>
              </a:r>
            </a:p>
            <a:p>
              <a:pPr marL="285750" marR="0" lvl="0" indent="-285750" algn="l" defTabSz="1219170" rtl="0" eaLnBrk="0" fontAlgn="base" latinLnBrk="0" hangingPunct="0">
                <a:lnSpc>
                  <a:spcPct val="100000"/>
                </a:lnSpc>
                <a:spcBef>
                  <a:spcPct val="0"/>
                </a:spcBef>
                <a:spcAft>
                  <a:spcPct val="0"/>
                </a:spcAft>
                <a:buClrTx/>
                <a:buSzTx/>
                <a:buFont typeface="Wingdings" panose="05000000000000000000" pitchFamily="2" charset="2"/>
                <a:buChar char="§"/>
                <a:tabLst/>
                <a:defRPr/>
              </a:pPr>
              <a:r>
                <a:rPr kumimoji="0" lang="en-US" sz="1800" b="1" i="0" u="none" strike="noStrike" kern="1200" cap="none" spc="0" normalizeH="0" baseline="0" noProof="0" dirty="0">
                  <a:ln>
                    <a:noFill/>
                  </a:ln>
                  <a:solidFill>
                    <a:srgbClr val="6A6C6D">
                      <a:lumMod val="75000"/>
                    </a:srgbClr>
                  </a:solidFill>
                  <a:effectLst/>
                  <a:uLnTx/>
                  <a:uFillTx/>
                  <a:latin typeface="Arial" charset="0"/>
                  <a:ea typeface="ＭＳ Ｐゴシック" pitchFamily="48" charset="-128"/>
                  <a:cs typeface="+mn-cs"/>
                </a:rPr>
                <a:t>Comorbidities</a:t>
              </a:r>
            </a:p>
            <a:p>
              <a:pPr marL="285750" marR="0" lvl="0" indent="-285750" algn="l" defTabSz="1219170" rtl="0" eaLnBrk="0" fontAlgn="base" latinLnBrk="0" hangingPunct="0">
                <a:lnSpc>
                  <a:spcPct val="100000"/>
                </a:lnSpc>
                <a:spcBef>
                  <a:spcPct val="0"/>
                </a:spcBef>
                <a:spcAft>
                  <a:spcPct val="0"/>
                </a:spcAft>
                <a:buClrTx/>
                <a:buSzTx/>
                <a:buFont typeface="Wingdings" panose="05000000000000000000" pitchFamily="2" charset="2"/>
                <a:buChar char="§"/>
                <a:tabLst/>
                <a:defRPr/>
              </a:pPr>
              <a:r>
                <a:rPr kumimoji="0" lang="en-US" sz="1800" b="1" i="0" u="none" strike="noStrike" kern="1200" cap="none" spc="0" normalizeH="0" baseline="0" noProof="0" dirty="0">
                  <a:ln>
                    <a:noFill/>
                  </a:ln>
                  <a:solidFill>
                    <a:srgbClr val="6A6C6D">
                      <a:lumMod val="75000"/>
                    </a:srgbClr>
                  </a:solidFill>
                  <a:effectLst/>
                  <a:uLnTx/>
                  <a:uFillTx/>
                  <a:latin typeface="Arial" charset="0"/>
                  <a:ea typeface="ＭＳ Ｐゴシック" pitchFamily="48" charset="-128"/>
                  <a:cs typeface="+mn-cs"/>
                </a:rPr>
                <a:t>Organ Dysfunction</a:t>
              </a:r>
            </a:p>
            <a:p>
              <a:pPr marL="228594" marR="0" lvl="0" indent="-228594" algn="l" defTabSz="121917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1800" b="1" i="0" u="none" strike="noStrike" kern="1200" cap="none" spc="0" normalizeH="0" baseline="0" noProof="0" dirty="0">
                <a:ln>
                  <a:noFill/>
                </a:ln>
                <a:solidFill>
                  <a:srgbClr val="6A6C6D">
                    <a:lumMod val="75000"/>
                  </a:srgbClr>
                </a:solidFill>
                <a:effectLst/>
                <a:uLnTx/>
                <a:uFillTx/>
                <a:latin typeface="Arial" charset="0"/>
                <a:ea typeface="ＭＳ Ｐゴシック" pitchFamily="48" charset="-128"/>
                <a:cs typeface="+mn-cs"/>
              </a:endParaRPr>
            </a:p>
          </p:txBody>
        </p:sp>
        <p:sp>
          <p:nvSpPr>
            <p:cNvPr id="14" name="Rounded Rectangle 13">
              <a:extLst>
                <a:ext uri="{FF2B5EF4-FFF2-40B4-BE49-F238E27FC236}">
                  <a16:creationId xmlns:a16="http://schemas.microsoft.com/office/drawing/2014/main" id="{1528525A-0EB1-3347-9B66-0C9D83C3C476}"/>
                </a:ext>
              </a:extLst>
            </p:cNvPr>
            <p:cNvSpPr/>
            <p:nvPr/>
          </p:nvSpPr>
          <p:spPr bwMode="auto">
            <a:xfrm>
              <a:off x="2744290" y="1787809"/>
              <a:ext cx="3507881" cy="493816"/>
            </a:xfrm>
            <a:prstGeom prst="rect">
              <a:avLst/>
            </a:prstGeom>
            <a:solidFill>
              <a:schemeClr val="bg2"/>
            </a:solidFill>
            <a:ln w="9525" cap="flat" cmpd="sng" algn="ctr">
              <a:solidFill>
                <a:schemeClr val="tx1">
                  <a:lumMod val="75000"/>
                </a:schemeClr>
              </a:solid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rial" charset="0"/>
                  <a:ea typeface="ＭＳ Ｐゴシック" pitchFamily="48" charset="-128"/>
                  <a:cs typeface="+mn-cs"/>
                </a:rPr>
                <a:t>Patient</a:t>
              </a:r>
            </a:p>
          </p:txBody>
        </p:sp>
        <p:sp>
          <p:nvSpPr>
            <p:cNvPr id="15" name="Rounded Rectangle 14">
              <a:extLst>
                <a:ext uri="{FF2B5EF4-FFF2-40B4-BE49-F238E27FC236}">
                  <a16:creationId xmlns:a16="http://schemas.microsoft.com/office/drawing/2014/main" id="{80A8CBD2-E472-7748-96D0-32C7D61E6CD7}"/>
                </a:ext>
              </a:extLst>
            </p:cNvPr>
            <p:cNvSpPr/>
            <p:nvPr/>
          </p:nvSpPr>
          <p:spPr bwMode="auto">
            <a:xfrm>
              <a:off x="9116405" y="3958571"/>
              <a:ext cx="2730248" cy="543051"/>
            </a:xfrm>
            <a:prstGeom prst="rect">
              <a:avLst/>
            </a:prstGeom>
            <a:solidFill>
              <a:schemeClr val="accent6"/>
            </a:solidFill>
            <a:ln w="9525" cap="flat" cmpd="sng" algn="ctr">
              <a:solidFill>
                <a:schemeClr val="tx1">
                  <a:lumMod val="75000"/>
                </a:schemeClr>
              </a:solid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rial" charset="0"/>
                  <a:ea typeface="ＭＳ Ｐゴシック" pitchFamily="48" charset="-128"/>
                  <a:cs typeface="+mn-cs"/>
                </a:rPr>
                <a:t>Logistics</a:t>
              </a:r>
            </a:p>
          </p:txBody>
        </p:sp>
        <p:sp>
          <p:nvSpPr>
            <p:cNvPr id="13" name="Rounded Rectangle 12">
              <a:extLst>
                <a:ext uri="{FF2B5EF4-FFF2-40B4-BE49-F238E27FC236}">
                  <a16:creationId xmlns:a16="http://schemas.microsoft.com/office/drawing/2014/main" id="{59E4C4FA-0050-9F41-B984-D97745CE3D05}"/>
                </a:ext>
              </a:extLst>
            </p:cNvPr>
            <p:cNvSpPr/>
            <p:nvPr/>
          </p:nvSpPr>
          <p:spPr bwMode="auto">
            <a:xfrm>
              <a:off x="285895" y="3695629"/>
              <a:ext cx="2268119" cy="473838"/>
            </a:xfrm>
            <a:prstGeom prst="rect">
              <a:avLst/>
            </a:prstGeom>
            <a:solidFill>
              <a:schemeClr val="tx2"/>
            </a:solidFill>
            <a:ln w="9525" cap="flat" cmpd="sng" algn="ctr">
              <a:solidFill>
                <a:schemeClr val="tx1">
                  <a:lumMod val="75000"/>
                </a:schemeClr>
              </a:solid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rial" charset="0"/>
                  <a:ea typeface="ＭＳ Ｐゴシック" pitchFamily="48" charset="-128"/>
                  <a:cs typeface="+mn-cs"/>
                </a:rPr>
                <a:t>Disease </a:t>
              </a:r>
            </a:p>
          </p:txBody>
        </p:sp>
        <p:sp>
          <p:nvSpPr>
            <p:cNvPr id="3" name="Oval 2">
              <a:extLst>
                <a:ext uri="{FF2B5EF4-FFF2-40B4-BE49-F238E27FC236}">
                  <a16:creationId xmlns:a16="http://schemas.microsoft.com/office/drawing/2014/main" id="{F668A4EC-0F61-F93F-EBAF-9E9BB58B9747}"/>
                </a:ext>
              </a:extLst>
            </p:cNvPr>
            <p:cNvSpPr/>
            <p:nvPr/>
          </p:nvSpPr>
          <p:spPr bwMode="auto">
            <a:xfrm>
              <a:off x="2744290" y="5817985"/>
              <a:ext cx="5982126" cy="943332"/>
            </a:xfrm>
            <a:prstGeom prst="ellipse">
              <a:avLst/>
            </a:prstGeom>
            <a:solidFill>
              <a:schemeClr val="accent2">
                <a:lumMod val="60000"/>
                <a:lumOff val="40000"/>
                <a:alpha val="58824"/>
              </a:schemeClr>
            </a:solidFill>
            <a:ln w="9525" cap="flat" cmpd="sng" algn="ctr">
              <a:solidFill>
                <a:schemeClr val="tx1">
                  <a:lumMod val="75000"/>
                </a:schemeClr>
              </a:solid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227965" marR="0" lvl="0" indent="-227965" algn="l" defTabSz="121917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1800" b="1" i="0" u="none" strike="noStrike" kern="1200" cap="none" spc="0" normalizeH="0" baseline="0" noProof="0" dirty="0">
                <a:ln>
                  <a:noFill/>
                </a:ln>
                <a:solidFill>
                  <a:srgbClr val="6A6C6D">
                    <a:lumMod val="75000"/>
                  </a:srgbClr>
                </a:solidFill>
                <a:effectLst/>
                <a:uLnTx/>
                <a:uFillTx/>
                <a:latin typeface="Arial" charset="0"/>
                <a:ea typeface="ＭＳ Ｐゴシック" pitchFamily="48" charset="-128"/>
                <a:cs typeface="Arial" charset="0"/>
              </a:endParaRPr>
            </a:p>
            <a:p>
              <a:pPr marL="285750" marR="0" lvl="0" indent="-285750" algn="l" defTabSz="1219170" rtl="0" eaLnBrk="0" fontAlgn="base" latinLnBrk="0" hangingPunct="0">
                <a:lnSpc>
                  <a:spcPct val="100000"/>
                </a:lnSpc>
                <a:spcBef>
                  <a:spcPct val="0"/>
                </a:spcBef>
                <a:spcAft>
                  <a:spcPct val="0"/>
                </a:spcAft>
                <a:buClrTx/>
                <a:buSzTx/>
                <a:buFont typeface="Wingdings" panose="05000000000000000000" pitchFamily="2" charset="2"/>
                <a:buChar char="§"/>
                <a:tabLst/>
                <a:defRPr/>
              </a:pPr>
              <a:r>
                <a:rPr kumimoji="0" lang="en-US" sz="1800" b="1" i="0" u="none" strike="noStrike" kern="1200" cap="none" spc="0" normalizeH="0" baseline="0" noProof="0" dirty="0">
                  <a:ln>
                    <a:noFill/>
                  </a:ln>
                  <a:solidFill>
                    <a:srgbClr val="6A6C6D"/>
                  </a:solidFill>
                  <a:effectLst/>
                  <a:uLnTx/>
                  <a:uFillTx/>
                  <a:latin typeface="Arial"/>
                  <a:ea typeface="ＭＳ Ｐゴシック"/>
                  <a:cs typeface="Arial"/>
                </a:rPr>
                <a:t>Axi-cel vs Tisa-cel vs Liso-cel</a:t>
              </a:r>
            </a:p>
            <a:p>
              <a:pPr marL="0" marR="0" lvl="0" indent="0" algn="ctr" defTabSz="121917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6A6C6D">
                    <a:lumMod val="75000"/>
                  </a:srgbClr>
                </a:solidFill>
                <a:effectLst/>
                <a:uLnTx/>
                <a:uFillTx/>
                <a:latin typeface="Arial" charset="0"/>
                <a:ea typeface="ＭＳ Ｐゴシック" pitchFamily="48" charset="-128"/>
                <a:cs typeface="+mn-cs"/>
              </a:endParaRPr>
            </a:p>
          </p:txBody>
        </p:sp>
        <p:sp>
          <p:nvSpPr>
            <p:cNvPr id="4" name="Rounded Rectangle 3">
              <a:extLst>
                <a:ext uri="{FF2B5EF4-FFF2-40B4-BE49-F238E27FC236}">
                  <a16:creationId xmlns:a16="http://schemas.microsoft.com/office/drawing/2014/main" id="{03180B18-AC2F-EE87-3029-5EA46B8DED1A}"/>
                </a:ext>
              </a:extLst>
            </p:cNvPr>
            <p:cNvSpPr/>
            <p:nvPr/>
          </p:nvSpPr>
          <p:spPr bwMode="auto">
            <a:xfrm>
              <a:off x="4377817" y="5584297"/>
              <a:ext cx="2155653" cy="625223"/>
            </a:xfrm>
            <a:prstGeom prst="rect">
              <a:avLst/>
            </a:prstGeom>
            <a:solidFill>
              <a:schemeClr val="accent2"/>
            </a:solidFill>
            <a:ln w="9525" cap="flat" cmpd="sng" algn="ctr">
              <a:solidFill>
                <a:schemeClr val="tx1">
                  <a:lumMod val="75000"/>
                </a:schemeClr>
              </a:solid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rial" charset="0"/>
                  <a:ea typeface="ＭＳ Ｐゴシック" pitchFamily="48" charset="-128"/>
                  <a:cs typeface="+mn-cs"/>
                </a:rPr>
                <a:t>Product</a:t>
              </a:r>
            </a:p>
          </p:txBody>
        </p:sp>
        <p:sp>
          <p:nvSpPr>
            <p:cNvPr id="5" name="Oval 4">
              <a:extLst>
                <a:ext uri="{FF2B5EF4-FFF2-40B4-BE49-F238E27FC236}">
                  <a16:creationId xmlns:a16="http://schemas.microsoft.com/office/drawing/2014/main" id="{DBEDF60A-D01A-BDE5-9445-5A10661865B8}"/>
                </a:ext>
              </a:extLst>
            </p:cNvPr>
            <p:cNvSpPr>
              <a:spLocks/>
            </p:cNvSpPr>
            <p:nvPr/>
          </p:nvSpPr>
          <p:spPr bwMode="auto">
            <a:xfrm>
              <a:off x="6442838" y="370681"/>
              <a:ext cx="5570483" cy="1549361"/>
            </a:xfrm>
            <a:prstGeom prst="ellipse">
              <a:avLst/>
            </a:prstGeom>
            <a:solidFill>
              <a:schemeClr val="accent5">
                <a:lumMod val="20000"/>
                <a:lumOff val="80000"/>
              </a:schemeClr>
            </a:solidFill>
            <a:ln w="9525" cap="flat" cmpd="sng" algn="ctr">
              <a:solidFill>
                <a:schemeClr val="tx1">
                  <a:lumMod val="75000"/>
                </a:schemeClr>
              </a:solid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342900" marR="0" lvl="0" indent="-342900" algn="l" defTabSz="1219170" rtl="0" eaLnBrk="0" fontAlgn="base" latinLnBrk="0" hangingPunct="0">
                <a:lnSpc>
                  <a:spcPct val="100000"/>
                </a:lnSpc>
                <a:spcBef>
                  <a:spcPct val="0"/>
                </a:spcBef>
                <a:spcAft>
                  <a:spcPct val="0"/>
                </a:spcAft>
                <a:buClrTx/>
                <a:buSzTx/>
                <a:buFont typeface="Wingdings" panose="05000000000000000000" pitchFamily="2" charset="2"/>
                <a:buChar char="§"/>
                <a:tabLst/>
                <a:defRPr/>
              </a:pPr>
              <a:r>
                <a:rPr kumimoji="0" lang="en-US" sz="1800" b="1" i="0" u="none" strike="noStrike" kern="1200" cap="none" spc="0" normalizeH="0" baseline="0" noProof="0" dirty="0">
                  <a:ln>
                    <a:noFill/>
                  </a:ln>
                  <a:solidFill>
                    <a:srgbClr val="6A6C6D"/>
                  </a:solidFill>
                  <a:effectLst/>
                  <a:uLnTx/>
                  <a:uFillTx/>
                  <a:latin typeface="Arial"/>
                  <a:ea typeface="ＭＳ Ｐゴシック"/>
                  <a:cs typeface="Arial"/>
                </a:rPr>
                <a:t>Country-Specific HA approval </a:t>
              </a:r>
            </a:p>
            <a:p>
              <a:pPr marL="342900" marR="0" lvl="0" indent="-342900" algn="l" defTabSz="1219170" rtl="0" eaLnBrk="0" fontAlgn="base" latinLnBrk="0" hangingPunct="0">
                <a:lnSpc>
                  <a:spcPct val="100000"/>
                </a:lnSpc>
                <a:spcBef>
                  <a:spcPct val="0"/>
                </a:spcBef>
                <a:spcAft>
                  <a:spcPct val="0"/>
                </a:spcAft>
                <a:buClrTx/>
                <a:buSzTx/>
                <a:buFont typeface="Wingdings" panose="05000000000000000000" pitchFamily="2" charset="2"/>
                <a:buChar char="§"/>
                <a:tabLst/>
                <a:defRPr/>
              </a:pPr>
              <a:r>
                <a:rPr kumimoji="0" lang="en-US" sz="1800" b="1" i="0" u="none" strike="noStrike" kern="1200" cap="none" spc="0" normalizeH="0" baseline="0" noProof="0" dirty="0">
                  <a:ln>
                    <a:noFill/>
                  </a:ln>
                  <a:solidFill>
                    <a:srgbClr val="6A6C6D"/>
                  </a:solidFill>
                  <a:effectLst/>
                  <a:uLnTx/>
                  <a:uFillTx/>
                  <a:latin typeface="Arial"/>
                  <a:ea typeface="ＭＳ Ｐゴシック"/>
                  <a:cs typeface="Arial"/>
                </a:rPr>
                <a:t>Reimbursement</a:t>
              </a:r>
            </a:p>
            <a:p>
              <a:pPr marL="342900" marR="0" lvl="0" indent="-342900" algn="l" defTabSz="1219170" rtl="0" eaLnBrk="0" fontAlgn="base" latinLnBrk="0" hangingPunct="0">
                <a:lnSpc>
                  <a:spcPct val="100000"/>
                </a:lnSpc>
                <a:spcBef>
                  <a:spcPct val="0"/>
                </a:spcBef>
                <a:spcAft>
                  <a:spcPct val="0"/>
                </a:spcAft>
                <a:buClrTx/>
                <a:buSzTx/>
                <a:buFont typeface="Wingdings" panose="05000000000000000000" pitchFamily="2" charset="2"/>
                <a:buChar char="§"/>
                <a:tabLst/>
                <a:defRPr/>
              </a:pPr>
              <a:r>
                <a:rPr kumimoji="0" lang="en-US" sz="1800" b="1" i="0" u="none" strike="noStrike" kern="1200" cap="none" spc="0" normalizeH="0" baseline="0" noProof="0" dirty="0">
                  <a:ln>
                    <a:noFill/>
                  </a:ln>
                  <a:solidFill>
                    <a:srgbClr val="6A6C6D"/>
                  </a:solidFill>
                  <a:effectLst/>
                  <a:uLnTx/>
                  <a:uFillTx/>
                  <a:latin typeface="Arial"/>
                  <a:ea typeface="ＭＳ Ｐゴシック"/>
                  <a:cs typeface="Arial"/>
                </a:rPr>
                <a:t>3rd line</a:t>
              </a:r>
            </a:p>
            <a:p>
              <a:pPr marL="342900" marR="0" lvl="0" indent="-342900" algn="l" defTabSz="1219170" rtl="0" eaLnBrk="0" fontAlgn="base" latinLnBrk="0" hangingPunct="0">
                <a:lnSpc>
                  <a:spcPct val="100000"/>
                </a:lnSpc>
                <a:spcBef>
                  <a:spcPct val="0"/>
                </a:spcBef>
                <a:spcAft>
                  <a:spcPct val="0"/>
                </a:spcAft>
                <a:buClrTx/>
                <a:buSzTx/>
                <a:buFont typeface="Wingdings" panose="05000000000000000000" pitchFamily="2" charset="2"/>
                <a:buChar char="§"/>
                <a:tabLst/>
                <a:defRPr/>
              </a:pPr>
              <a:r>
                <a:rPr kumimoji="0" lang="en-US" sz="1800" b="1" i="0" u="none" strike="noStrike" kern="1200" cap="none" spc="0" normalizeH="0" baseline="0" noProof="0" dirty="0">
                  <a:ln>
                    <a:noFill/>
                  </a:ln>
                  <a:solidFill>
                    <a:srgbClr val="6A6C6D"/>
                  </a:solidFill>
                  <a:effectLst/>
                  <a:uLnTx/>
                  <a:uFillTx/>
                  <a:latin typeface="Arial"/>
                  <a:ea typeface="ＭＳ Ｐゴシック"/>
                  <a:cs typeface="Arial"/>
                </a:rPr>
                <a:t>ASCT eligible?</a:t>
              </a:r>
            </a:p>
          </p:txBody>
        </p:sp>
        <p:sp>
          <p:nvSpPr>
            <p:cNvPr id="9" name="Rounded Rectangle 8">
              <a:extLst>
                <a:ext uri="{FF2B5EF4-FFF2-40B4-BE49-F238E27FC236}">
                  <a16:creationId xmlns:a16="http://schemas.microsoft.com/office/drawing/2014/main" id="{BEB0B7DE-E6FE-D9DF-641B-37CEB3E291F1}"/>
                </a:ext>
              </a:extLst>
            </p:cNvPr>
            <p:cNvSpPr/>
            <p:nvPr/>
          </p:nvSpPr>
          <p:spPr bwMode="auto">
            <a:xfrm>
              <a:off x="5139558" y="754157"/>
              <a:ext cx="1955695" cy="493816"/>
            </a:xfrm>
            <a:prstGeom prst="rect">
              <a:avLst/>
            </a:prstGeom>
            <a:solidFill>
              <a:schemeClr val="accent5"/>
            </a:solidFill>
            <a:ln w="9525" cap="flat" cmpd="sng" algn="ctr">
              <a:solidFill>
                <a:schemeClr val="tx1">
                  <a:lumMod val="75000"/>
                </a:schemeClr>
              </a:solid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rial" charset="0"/>
                  <a:ea typeface="ＭＳ Ｐゴシック" pitchFamily="48" charset="-128"/>
                  <a:cs typeface="+mn-cs"/>
                </a:rPr>
                <a:t>Regulatory</a:t>
              </a:r>
            </a:p>
          </p:txBody>
        </p:sp>
      </p:grpSp>
      <p:sp>
        <p:nvSpPr>
          <p:cNvPr id="10" name="Title 9">
            <a:extLst>
              <a:ext uri="{FF2B5EF4-FFF2-40B4-BE49-F238E27FC236}">
                <a16:creationId xmlns:a16="http://schemas.microsoft.com/office/drawing/2014/main" id="{76AFEDE3-CF20-AE58-E83A-48BA7CD8103F}"/>
              </a:ext>
            </a:extLst>
          </p:cNvPr>
          <p:cNvSpPr>
            <a:spLocks noGrp="1"/>
          </p:cNvSpPr>
          <p:nvPr>
            <p:ph type="title"/>
          </p:nvPr>
        </p:nvSpPr>
        <p:spPr>
          <a:xfrm>
            <a:off x="719668" y="132515"/>
            <a:ext cx="10752667" cy="828675"/>
          </a:xfrm>
        </p:spPr>
        <p:txBody>
          <a:bodyPr/>
          <a:lstStyle/>
          <a:p>
            <a:r>
              <a:rPr lang="en-US" dirty="0"/>
              <a:t> CAR T-Cell Eligibility in FL</a:t>
            </a:r>
          </a:p>
        </p:txBody>
      </p:sp>
      <p:sp>
        <p:nvSpPr>
          <p:cNvPr id="11" name="Text Placeholder 10">
            <a:extLst>
              <a:ext uri="{FF2B5EF4-FFF2-40B4-BE49-F238E27FC236}">
                <a16:creationId xmlns:a16="http://schemas.microsoft.com/office/drawing/2014/main" id="{E7D67499-F596-F520-7B6D-C5F2A657536E}"/>
              </a:ext>
            </a:extLst>
          </p:cNvPr>
          <p:cNvSpPr>
            <a:spLocks noGrp="1"/>
          </p:cNvSpPr>
          <p:nvPr>
            <p:ph type="body" sz="quarter" idx="14"/>
          </p:nvPr>
        </p:nvSpPr>
        <p:spPr>
          <a:xfrm>
            <a:off x="0" y="6416189"/>
            <a:ext cx="12191999" cy="262943"/>
          </a:xfrm>
        </p:spPr>
        <p:txBody>
          <a:bodyPr/>
          <a:lstStyle/>
          <a:p>
            <a:r>
              <a:rPr lang="en-US" dirty="0"/>
              <a:t>Expert opinion Gilles Salles, MD, PhD</a:t>
            </a:r>
            <a:r>
              <a:rPr lang="en-US"/>
              <a:t>. </a:t>
            </a:r>
            <a:endParaRPr lang="en-US" dirty="0"/>
          </a:p>
        </p:txBody>
      </p:sp>
    </p:spTree>
    <p:extLst>
      <p:ext uri="{BB962C8B-B14F-4D97-AF65-F5344CB8AC3E}">
        <p14:creationId xmlns:p14="http://schemas.microsoft.com/office/powerpoint/2010/main" val="279789005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896B8-5E54-5C7A-2358-AE5C9CAC5CA3}"/>
              </a:ext>
            </a:extLst>
          </p:cNvPr>
          <p:cNvSpPr>
            <a:spLocks noGrp="1"/>
          </p:cNvSpPr>
          <p:nvPr>
            <p:ph type="title"/>
          </p:nvPr>
        </p:nvSpPr>
        <p:spPr>
          <a:xfrm>
            <a:off x="241496" y="92771"/>
            <a:ext cx="11216216" cy="1022351"/>
          </a:xfrm>
        </p:spPr>
        <p:txBody>
          <a:bodyPr/>
          <a:lstStyle/>
          <a:p>
            <a:r>
              <a:rPr lang="en-US" sz="3200" b="1" dirty="0">
                <a:solidFill>
                  <a:srgbClr val="002060"/>
                </a:solidFill>
                <a:latin typeface="Calibri" panose="020F0502020204030204" pitchFamily="34" charset="0"/>
                <a:cs typeface="Calibri" panose="020F0502020204030204" pitchFamily="34" charset="0"/>
              </a:rPr>
              <a:t>CAR T cell therapy in Follicular Lymphoma</a:t>
            </a:r>
          </a:p>
        </p:txBody>
      </p:sp>
      <p:sp>
        <p:nvSpPr>
          <p:cNvPr id="3" name="Date Placeholder 2">
            <a:extLst>
              <a:ext uri="{FF2B5EF4-FFF2-40B4-BE49-F238E27FC236}">
                <a16:creationId xmlns:a16="http://schemas.microsoft.com/office/drawing/2014/main" id="{98F2E9FE-8872-AF3A-FE61-135F09349189}"/>
              </a:ext>
            </a:extLst>
          </p:cNvPr>
          <p:cNvSpPr>
            <a:spLocks noGrp="1"/>
          </p:cNvSpPr>
          <p:nvPr>
            <p:ph type="dt" sz="half" idx="10"/>
          </p:nvPr>
        </p:nvSpPr>
        <p:spPr/>
        <p:txBody>
          <a:bodyPr/>
          <a:lstStyle/>
          <a:p>
            <a:pPr marL="0" marR="0" lvl="0" indent="0" algn="r" defTabSz="45718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panose="020B0604020202020204"/>
              </a:rPr>
              <a:t>February 5, 2026</a:t>
            </a:r>
          </a:p>
        </p:txBody>
      </p:sp>
      <p:sp>
        <p:nvSpPr>
          <p:cNvPr id="4" name="Slide Number Placeholder 3">
            <a:extLst>
              <a:ext uri="{FF2B5EF4-FFF2-40B4-BE49-F238E27FC236}">
                <a16:creationId xmlns:a16="http://schemas.microsoft.com/office/drawing/2014/main" id="{54E015AA-6DB8-E2E5-802C-19B70088DEE1}"/>
              </a:ext>
            </a:extLst>
          </p:cNvPr>
          <p:cNvSpPr>
            <a:spLocks noGrp="1"/>
          </p:cNvSpPr>
          <p:nvPr>
            <p:ph type="sldNum" sz="quarter" idx="12"/>
          </p:nvPr>
        </p:nvSpPr>
        <p:spPr/>
        <p:txBody>
          <a:bodyPr/>
          <a:lstStyle/>
          <a:p>
            <a:pPr marL="0" marR="0" lvl="0" indent="0" algn="r" defTabSz="457189" rtl="0" eaLnBrk="1" fontAlgn="auto" latinLnBrk="0" hangingPunct="1">
              <a:lnSpc>
                <a:spcPct val="100000"/>
              </a:lnSpc>
              <a:spcBef>
                <a:spcPts val="0"/>
              </a:spcBef>
              <a:spcAft>
                <a:spcPts val="0"/>
              </a:spcAft>
              <a:buClrTx/>
              <a:buSzTx/>
              <a:buFontTx/>
              <a:buNone/>
              <a:tabLst/>
              <a:defRPr/>
            </a:pPr>
            <a:fld id="{63DCA5C9-2E11-4C67-86EB-AE1DE127DC64}" type="slidenum">
              <a:rPr kumimoji="0" lang="en-US" sz="800" b="0" i="0" u="none" strike="noStrike" kern="1200" cap="none" spc="0" normalizeH="0" baseline="0" noProof="0">
                <a:ln>
                  <a:noFill/>
                </a:ln>
                <a:solidFill>
                  <a:srgbClr val="FFFFFF"/>
                </a:solidFill>
                <a:effectLst/>
                <a:uLnTx/>
                <a:uFillTx/>
                <a:latin typeface="Arial" panose="020B0604020202020204"/>
              </a:rPr>
              <a:pPr marL="0" marR="0" lvl="0" indent="0" algn="r" defTabSz="457189" rtl="0" eaLnBrk="1" fontAlgn="auto" latinLnBrk="0" hangingPunct="1">
                <a:lnSpc>
                  <a:spcPct val="100000"/>
                </a:lnSpc>
                <a:spcBef>
                  <a:spcPts val="0"/>
                </a:spcBef>
                <a:spcAft>
                  <a:spcPts val="0"/>
                </a:spcAft>
                <a:buClrTx/>
                <a:buSzTx/>
                <a:buFontTx/>
                <a:buNone/>
                <a:tabLst/>
                <a:defRPr/>
              </a:pPr>
              <a:t>114</a:t>
            </a:fld>
            <a:endParaRPr kumimoji="0" lang="en-US" sz="800" b="0" i="0" u="none" strike="noStrike" kern="1200" cap="none" spc="0" normalizeH="0" baseline="0" noProof="0" dirty="0">
              <a:ln>
                <a:noFill/>
              </a:ln>
              <a:solidFill>
                <a:srgbClr val="FFFFFF"/>
              </a:solidFill>
              <a:effectLst/>
              <a:uLnTx/>
              <a:uFillTx/>
              <a:latin typeface="Arial" panose="020B0604020202020204"/>
            </a:endParaRPr>
          </a:p>
        </p:txBody>
      </p:sp>
      <p:sp>
        <p:nvSpPr>
          <p:cNvPr id="6" name="Footer Placeholder 5">
            <a:extLst>
              <a:ext uri="{FF2B5EF4-FFF2-40B4-BE49-F238E27FC236}">
                <a16:creationId xmlns:a16="http://schemas.microsoft.com/office/drawing/2014/main" id="{EBCA3CBE-A8CD-C0EC-DDEC-C7CA09D1CF88}"/>
              </a:ext>
            </a:extLst>
          </p:cNvPr>
          <p:cNvSpPr>
            <a:spLocks noGrp="1"/>
          </p:cNvSpPr>
          <p:nvPr>
            <p:ph type="ftr" sz="quarter" idx="11"/>
          </p:nvPr>
        </p:nvSpPr>
        <p:spPr/>
        <p:txBody>
          <a:bodyPr/>
          <a:lstStyle/>
          <a:p>
            <a:pPr marL="0" marR="0" lvl="0" indent="-2743131" algn="l" defTabSz="457189"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Arial" panose="020B0604020202020204"/>
              </a:rPr>
              <a:t>CAR T in BCL</a:t>
            </a:r>
          </a:p>
        </p:txBody>
      </p:sp>
      <p:sp>
        <p:nvSpPr>
          <p:cNvPr id="36" name="Rectangle: Rounded Corners 36">
            <a:extLst>
              <a:ext uri="{FF2B5EF4-FFF2-40B4-BE49-F238E27FC236}">
                <a16:creationId xmlns:a16="http://schemas.microsoft.com/office/drawing/2014/main" id="{62F51D5A-BAB7-34FE-C78C-16F03A78FFF1}"/>
              </a:ext>
            </a:extLst>
          </p:cNvPr>
          <p:cNvSpPr/>
          <p:nvPr/>
        </p:nvSpPr>
        <p:spPr>
          <a:xfrm>
            <a:off x="605015" y="1690689"/>
            <a:ext cx="2245197" cy="1124449"/>
          </a:xfrm>
          <a:prstGeom prst="roundRect">
            <a:avLst/>
          </a:prstGeom>
          <a:solidFill>
            <a:srgbClr val="D9D9D9"/>
          </a:solidFill>
          <a:ln w="12700" cap="flat" cmpd="sng" algn="ctr">
            <a:no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Arial" charset="0"/>
            </a:endParaRPr>
          </a:p>
        </p:txBody>
      </p:sp>
      <p:grpSp>
        <p:nvGrpSpPr>
          <p:cNvPr id="37" name="Group 36">
            <a:extLst>
              <a:ext uri="{FF2B5EF4-FFF2-40B4-BE49-F238E27FC236}">
                <a16:creationId xmlns:a16="http://schemas.microsoft.com/office/drawing/2014/main" id="{B89DB733-BD45-9676-256D-04120A6D2816}"/>
              </a:ext>
            </a:extLst>
          </p:cNvPr>
          <p:cNvGrpSpPr/>
          <p:nvPr/>
        </p:nvGrpSpPr>
        <p:grpSpPr>
          <a:xfrm>
            <a:off x="605015" y="1700937"/>
            <a:ext cx="2245197" cy="1012883"/>
            <a:chOff x="428693" y="1722908"/>
            <a:chExt cx="2245197" cy="1012882"/>
          </a:xfrm>
        </p:grpSpPr>
        <p:sp>
          <p:nvSpPr>
            <p:cNvPr id="38" name="TextBox 37">
              <a:extLst>
                <a:ext uri="{FF2B5EF4-FFF2-40B4-BE49-F238E27FC236}">
                  <a16:creationId xmlns:a16="http://schemas.microsoft.com/office/drawing/2014/main" id="{AABB575C-52B6-647D-A8A5-A5F1A05FA0A8}"/>
                </a:ext>
              </a:extLst>
            </p:cNvPr>
            <p:cNvSpPr txBox="1"/>
            <p:nvPr/>
          </p:nvSpPr>
          <p:spPr>
            <a:xfrm>
              <a:off x="873258" y="1722908"/>
              <a:ext cx="1356066" cy="369332"/>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prstClr val="black"/>
                  </a:solidFill>
                  <a:effectLst/>
                  <a:uLnTx/>
                  <a:uFillTx/>
                  <a:latin typeface="Calibri" panose="020F0502020204030204"/>
                  <a:ea typeface="+mn-ea"/>
                  <a:cs typeface="Arial" charset="0"/>
                </a:rPr>
                <a:t>3L+</a:t>
              </a:r>
            </a:p>
          </p:txBody>
        </p:sp>
        <p:sp>
          <p:nvSpPr>
            <p:cNvPr id="39" name="Rectangle: Rounded Corners 7">
              <a:extLst>
                <a:ext uri="{FF2B5EF4-FFF2-40B4-BE49-F238E27FC236}">
                  <a16:creationId xmlns:a16="http://schemas.microsoft.com/office/drawing/2014/main" id="{AF9F8A45-336E-DE3C-D18F-8B86BF7A971D}"/>
                </a:ext>
              </a:extLst>
            </p:cNvPr>
            <p:cNvSpPr/>
            <p:nvPr/>
          </p:nvSpPr>
          <p:spPr>
            <a:xfrm>
              <a:off x="428693" y="2040798"/>
              <a:ext cx="2245197" cy="694992"/>
            </a:xfrm>
            <a:prstGeom prst="roundRect">
              <a:avLst>
                <a:gd name="adj" fmla="val 0"/>
              </a:avLst>
            </a:prstGeom>
            <a:noFill/>
            <a:ln w="12700" cap="flat" cmpd="sng" algn="ctr">
              <a:noFill/>
              <a:prstDash val="solid"/>
              <a:miter lim="800000"/>
            </a:ln>
            <a:effectLst/>
          </p:spPr>
          <p:txBody>
            <a:bodyPr rtlCol="0" anchor="ctr"/>
            <a:lstStyle/>
            <a:p>
              <a:pPr marL="285744" marR="0" lvl="0" indent="-28574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prstClr val="black"/>
                  </a:solidFill>
                  <a:effectLst/>
                  <a:uLnTx/>
                  <a:uFillTx/>
                  <a:latin typeface="Calibri" panose="020F0502020204030204"/>
                  <a:ea typeface="+mn-ea"/>
                  <a:cs typeface="Arial" charset="0"/>
                </a:rPr>
                <a:t>Late relapse ?</a:t>
              </a:r>
            </a:p>
            <a:p>
              <a:pPr marL="285744" marR="0" lvl="0" indent="-28574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prstClr val="black"/>
                  </a:solidFill>
                  <a:effectLst/>
                  <a:uLnTx/>
                  <a:uFillTx/>
                  <a:latin typeface="Calibri" panose="020F0502020204030204"/>
                  <a:ea typeface="+mn-ea"/>
                  <a:cs typeface="Arial" charset="0"/>
                </a:rPr>
                <a:t>Low tumor burden ?</a:t>
              </a:r>
            </a:p>
            <a:p>
              <a:pPr marL="285744" marR="0" lvl="0" indent="-28574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prstClr val="black"/>
                  </a:solidFill>
                  <a:effectLst/>
                  <a:uLnTx/>
                  <a:uFillTx/>
                  <a:latin typeface="Calibri" panose="020F0502020204030204"/>
                  <a:ea typeface="+mn-ea"/>
                  <a:cs typeface="Arial" charset="0"/>
                </a:rPr>
                <a:t>Frail ? </a:t>
              </a:r>
            </a:p>
          </p:txBody>
        </p:sp>
      </p:grpSp>
      <p:sp>
        <p:nvSpPr>
          <p:cNvPr id="40" name="Rounded Rectangle 39">
            <a:extLst>
              <a:ext uri="{FF2B5EF4-FFF2-40B4-BE49-F238E27FC236}">
                <a16:creationId xmlns:a16="http://schemas.microsoft.com/office/drawing/2014/main" id="{29AD9153-D9FB-3EAD-75CE-1D6317A53941}"/>
              </a:ext>
            </a:extLst>
          </p:cNvPr>
          <p:cNvSpPr/>
          <p:nvPr/>
        </p:nvSpPr>
        <p:spPr>
          <a:xfrm>
            <a:off x="241496" y="4400323"/>
            <a:ext cx="2972235" cy="1210915"/>
          </a:xfrm>
          <a:prstGeom prst="roundRect">
            <a:avLst/>
          </a:prstGeom>
          <a:solidFill>
            <a:srgbClr val="4472C4"/>
          </a:solidFill>
          <a:ln w="12700" cap="flat" cmpd="sng" algn="ctr">
            <a:no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Calibri" panose="020F0502020204030204"/>
                <a:ea typeface="+mn-ea"/>
                <a:cs typeface="Arial" charset="0"/>
              </a:rPr>
              <a:t>Consider</a:t>
            </a:r>
          </a:p>
          <a:p>
            <a:pPr marL="285744" marR="0" lvl="0" indent="-28574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prstClr val="white"/>
                </a:solidFill>
                <a:effectLst/>
                <a:uLnTx/>
                <a:uFillTx/>
                <a:latin typeface="Calibri" panose="020F0502020204030204"/>
                <a:ea typeface="+mn-ea"/>
                <a:cs typeface="Arial" charset="0"/>
              </a:rPr>
              <a:t>Watchful waiting</a:t>
            </a:r>
          </a:p>
          <a:p>
            <a:pPr marL="285744" marR="0" lvl="0" indent="-28574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prstClr val="white"/>
                </a:solidFill>
                <a:effectLst/>
                <a:uLnTx/>
                <a:uFillTx/>
                <a:latin typeface="Calibri" panose="020F0502020204030204"/>
                <a:ea typeface="+mn-ea"/>
                <a:cs typeface="Arial" charset="0"/>
              </a:rPr>
              <a:t>Rituximab single agent </a:t>
            </a:r>
          </a:p>
          <a:p>
            <a:pPr marL="285744" marR="0" lvl="0" indent="-28574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prstClr val="white"/>
                </a:solidFill>
                <a:effectLst/>
                <a:uLnTx/>
                <a:uFillTx/>
                <a:latin typeface="Calibri" panose="020F0502020204030204"/>
                <a:ea typeface="+mn-ea"/>
                <a:cs typeface="Arial" charset="0"/>
              </a:rPr>
              <a:t>Radiation therapy if localized</a:t>
            </a:r>
          </a:p>
        </p:txBody>
      </p:sp>
      <p:sp>
        <p:nvSpPr>
          <p:cNvPr id="41" name="Rectangle: Rounded Corners 12">
            <a:extLst>
              <a:ext uri="{FF2B5EF4-FFF2-40B4-BE49-F238E27FC236}">
                <a16:creationId xmlns:a16="http://schemas.microsoft.com/office/drawing/2014/main" id="{887F0572-0C36-140E-4629-EBDD41B69F6E}"/>
              </a:ext>
            </a:extLst>
          </p:cNvPr>
          <p:cNvSpPr/>
          <p:nvPr/>
        </p:nvSpPr>
        <p:spPr>
          <a:xfrm>
            <a:off x="3113262" y="3423221"/>
            <a:ext cx="2356607" cy="685561"/>
          </a:xfrm>
          <a:prstGeom prst="roundRect">
            <a:avLst/>
          </a:prstGeom>
          <a:solidFill>
            <a:srgbClr val="70AD47"/>
          </a:solidFill>
          <a:ln w="12700" cap="flat" cmpd="sng" algn="ctr">
            <a:no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Calibri" panose="020F0502020204030204"/>
                <a:ea typeface="+mn-ea"/>
                <a:cs typeface="Arial" charset="0"/>
              </a:rPr>
              <a:t>Clinical trial preferred </a:t>
            </a:r>
            <a:br>
              <a:rPr kumimoji="0" lang="en-US" sz="1600" b="1" i="0" u="none" strike="noStrike" kern="0" cap="none" spc="0" normalizeH="0" baseline="0" noProof="0" dirty="0">
                <a:ln>
                  <a:noFill/>
                </a:ln>
                <a:solidFill>
                  <a:prstClr val="white"/>
                </a:solidFill>
                <a:effectLst/>
                <a:uLnTx/>
                <a:uFillTx/>
                <a:latin typeface="Calibri" panose="020F0502020204030204"/>
                <a:ea typeface="+mn-ea"/>
                <a:cs typeface="Arial" charset="0"/>
              </a:rPr>
            </a:br>
            <a:r>
              <a:rPr kumimoji="0" lang="en-US" sz="1600" b="1" i="0" u="none" strike="noStrike" kern="0" cap="none" spc="0" normalizeH="0" baseline="0" noProof="0" dirty="0">
                <a:ln>
                  <a:noFill/>
                </a:ln>
                <a:solidFill>
                  <a:prstClr val="white"/>
                </a:solidFill>
                <a:effectLst/>
                <a:uLnTx/>
                <a:uFillTx/>
                <a:latin typeface="Calibri" panose="020F0502020204030204"/>
                <a:ea typeface="+mn-ea"/>
                <a:cs typeface="Arial" charset="0"/>
              </a:rPr>
              <a:t>(if available)</a:t>
            </a:r>
          </a:p>
        </p:txBody>
      </p:sp>
      <p:sp>
        <p:nvSpPr>
          <p:cNvPr id="42" name="TextBox 41">
            <a:extLst>
              <a:ext uri="{FF2B5EF4-FFF2-40B4-BE49-F238E27FC236}">
                <a16:creationId xmlns:a16="http://schemas.microsoft.com/office/drawing/2014/main" id="{71AE504C-F379-F887-21F6-95B916123F5F}"/>
              </a:ext>
            </a:extLst>
          </p:cNvPr>
          <p:cNvSpPr txBox="1"/>
          <p:nvPr/>
        </p:nvSpPr>
        <p:spPr>
          <a:xfrm>
            <a:off x="6329414" y="1599621"/>
            <a:ext cx="1907215" cy="408623"/>
          </a:xfrm>
          <a:prstGeom prst="roundRect">
            <a:avLst/>
          </a:prstGeom>
          <a:solidFill>
            <a:srgbClr val="ED7D31"/>
          </a:solid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prstClr val="black"/>
                </a:solidFill>
                <a:effectLst/>
                <a:uLnTx/>
                <a:uFillTx/>
                <a:latin typeface="Calibri" panose="020F0502020204030204"/>
                <a:ea typeface="+mn-ea"/>
                <a:cs typeface="Arial" charset="0"/>
              </a:rPr>
              <a:t>Preferred options</a:t>
            </a:r>
          </a:p>
        </p:txBody>
      </p:sp>
      <p:sp>
        <p:nvSpPr>
          <p:cNvPr id="43" name="TextBox 42">
            <a:extLst>
              <a:ext uri="{FF2B5EF4-FFF2-40B4-BE49-F238E27FC236}">
                <a16:creationId xmlns:a16="http://schemas.microsoft.com/office/drawing/2014/main" id="{1F871A1E-14E9-5FEE-0043-6198E6B3478F}"/>
              </a:ext>
            </a:extLst>
          </p:cNvPr>
          <p:cNvSpPr txBox="1"/>
          <p:nvPr/>
        </p:nvSpPr>
        <p:spPr>
          <a:xfrm>
            <a:off x="9385262" y="1599621"/>
            <a:ext cx="2049353" cy="408623"/>
          </a:xfrm>
          <a:prstGeom prst="roundRect">
            <a:avLst/>
          </a:prstGeom>
          <a:solidFill>
            <a:srgbClr val="FFC000"/>
          </a:solid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prstClr val="black"/>
                </a:solidFill>
                <a:effectLst/>
                <a:uLnTx/>
                <a:uFillTx/>
                <a:latin typeface="Calibri" panose="020F0502020204030204"/>
                <a:ea typeface="+mn-ea"/>
                <a:cs typeface="Arial" charset="0"/>
              </a:rPr>
              <a:t>Alternative options</a:t>
            </a:r>
          </a:p>
        </p:txBody>
      </p:sp>
      <p:sp>
        <p:nvSpPr>
          <p:cNvPr id="44" name="Rectangle 43">
            <a:extLst>
              <a:ext uri="{FF2B5EF4-FFF2-40B4-BE49-F238E27FC236}">
                <a16:creationId xmlns:a16="http://schemas.microsoft.com/office/drawing/2014/main" id="{38EFC362-F2DD-A4C4-4FA6-53311C98D486}"/>
              </a:ext>
            </a:extLst>
          </p:cNvPr>
          <p:cNvSpPr/>
          <p:nvPr/>
        </p:nvSpPr>
        <p:spPr>
          <a:xfrm>
            <a:off x="241495" y="5736071"/>
            <a:ext cx="11707019" cy="378575"/>
          </a:xfrm>
          <a:prstGeom prst="rect">
            <a:avLst/>
          </a:prstGeom>
          <a:solidFill>
            <a:sysClr val="window" lastClr="FFFFFF"/>
          </a:solidFill>
          <a:ln w="57150" cap="flat" cmpd="sng" algn="ctr">
            <a:no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prstClr val="black"/>
                </a:solidFill>
                <a:effectLst/>
                <a:uLnTx/>
                <a:uFillTx/>
                <a:latin typeface="Calibri" panose="020F0502020204030204"/>
                <a:ea typeface="+mn-ea"/>
                <a:cs typeface="Arial" charset="0"/>
              </a:rPr>
              <a:t>Always rule out histological transformation – new biopsy recommended  </a:t>
            </a:r>
          </a:p>
        </p:txBody>
      </p:sp>
      <p:grpSp>
        <p:nvGrpSpPr>
          <p:cNvPr id="45" name="Group 44">
            <a:extLst>
              <a:ext uri="{FF2B5EF4-FFF2-40B4-BE49-F238E27FC236}">
                <a16:creationId xmlns:a16="http://schemas.microsoft.com/office/drawing/2014/main" id="{2979BA31-CCA1-4155-50C8-B87904155BF5}"/>
              </a:ext>
            </a:extLst>
          </p:cNvPr>
          <p:cNvGrpSpPr/>
          <p:nvPr/>
        </p:nvGrpSpPr>
        <p:grpSpPr>
          <a:xfrm>
            <a:off x="5734561" y="3953923"/>
            <a:ext cx="6215945" cy="1526400"/>
            <a:chOff x="5558239" y="3787238"/>
            <a:chExt cx="6215945" cy="1526400"/>
          </a:xfrm>
        </p:grpSpPr>
        <p:sp>
          <p:nvSpPr>
            <p:cNvPr id="46" name="Rectangle 45">
              <a:extLst>
                <a:ext uri="{FF2B5EF4-FFF2-40B4-BE49-F238E27FC236}">
                  <a16:creationId xmlns:a16="http://schemas.microsoft.com/office/drawing/2014/main" id="{8F2015D2-8574-BC62-48D6-9D48170B6ED4}"/>
                </a:ext>
              </a:extLst>
            </p:cNvPr>
            <p:cNvSpPr/>
            <p:nvPr/>
          </p:nvSpPr>
          <p:spPr>
            <a:xfrm>
              <a:off x="5558239" y="3787238"/>
              <a:ext cx="6215945" cy="1526400"/>
            </a:xfrm>
            <a:prstGeom prst="rect">
              <a:avLst/>
            </a:prstGeom>
            <a:solidFill>
              <a:srgbClr val="4472C4">
                <a:lumMod val="20000"/>
                <a:lumOff val="80000"/>
              </a:srgbClr>
            </a:solidFill>
            <a:ln w="12700" cap="flat" cmpd="sng" algn="ctr">
              <a:noFill/>
              <a:prstDash val="solid"/>
              <a:miter lim="800000"/>
            </a:ln>
            <a:effectLst/>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Arial" charset="0"/>
              </a:endParaRPr>
            </a:p>
          </p:txBody>
        </p:sp>
        <p:sp>
          <p:nvSpPr>
            <p:cNvPr id="47" name="Rounded Rectangle 46">
              <a:extLst>
                <a:ext uri="{FF2B5EF4-FFF2-40B4-BE49-F238E27FC236}">
                  <a16:creationId xmlns:a16="http://schemas.microsoft.com/office/drawing/2014/main" id="{D1C9773E-4905-0A98-445B-6461DF532601}"/>
                </a:ext>
              </a:extLst>
            </p:cNvPr>
            <p:cNvSpPr/>
            <p:nvPr/>
          </p:nvSpPr>
          <p:spPr>
            <a:xfrm>
              <a:off x="5628272" y="4170478"/>
              <a:ext cx="2956857" cy="456444"/>
            </a:xfrm>
            <a:prstGeom prst="roundRect">
              <a:avLst/>
            </a:prstGeom>
            <a:solidFill>
              <a:srgbClr val="ED7D31"/>
            </a:solidFill>
            <a:ln w="12700" cap="flat" cmpd="sng" algn="ctr">
              <a:no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latin typeface="Calibri" panose="020F0502020204030204"/>
                  <a:ea typeface="+mn-ea"/>
                  <a:cs typeface="Arial" charset="0"/>
                </a:rPr>
                <a:t>Zanubrutinib + Obinutuzumab</a:t>
              </a:r>
            </a:p>
          </p:txBody>
        </p:sp>
        <p:sp>
          <p:nvSpPr>
            <p:cNvPr id="48" name="Rounded Rectangle 47">
              <a:extLst>
                <a:ext uri="{FF2B5EF4-FFF2-40B4-BE49-F238E27FC236}">
                  <a16:creationId xmlns:a16="http://schemas.microsoft.com/office/drawing/2014/main" id="{F853C101-6156-184E-EA69-F8AF89FDDEBA}"/>
                </a:ext>
              </a:extLst>
            </p:cNvPr>
            <p:cNvSpPr/>
            <p:nvPr/>
          </p:nvSpPr>
          <p:spPr>
            <a:xfrm>
              <a:off x="5628272" y="4722756"/>
              <a:ext cx="2956857" cy="456444"/>
            </a:xfrm>
            <a:prstGeom prst="roundRect">
              <a:avLst/>
            </a:prstGeom>
            <a:solidFill>
              <a:srgbClr val="ED7D31"/>
            </a:solidFill>
            <a:ln w="12700" cap="flat" cmpd="sng" algn="ctr">
              <a:no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latin typeface="Calibri" panose="020F0502020204030204"/>
                  <a:ea typeface="+mn-ea"/>
                  <a:cs typeface="Arial" charset="0"/>
                </a:rPr>
                <a:t>Rituximab (if ≥ 2 years progression-free interval)</a:t>
              </a:r>
            </a:p>
          </p:txBody>
        </p:sp>
        <p:sp>
          <p:nvSpPr>
            <p:cNvPr id="50" name="Rounded Rectangle 49">
              <a:extLst>
                <a:ext uri="{FF2B5EF4-FFF2-40B4-BE49-F238E27FC236}">
                  <a16:creationId xmlns:a16="http://schemas.microsoft.com/office/drawing/2014/main" id="{9A188EC4-CAF1-2ACD-108D-258EB1B456CB}"/>
                </a:ext>
              </a:extLst>
            </p:cNvPr>
            <p:cNvSpPr/>
            <p:nvPr/>
          </p:nvSpPr>
          <p:spPr>
            <a:xfrm>
              <a:off x="8729055" y="4398700"/>
              <a:ext cx="2956857" cy="456444"/>
            </a:xfrm>
            <a:prstGeom prst="roundRect">
              <a:avLst/>
            </a:prstGeom>
            <a:solidFill>
              <a:srgbClr val="FFC000"/>
            </a:solidFill>
            <a:ln w="12700" cap="flat" cmpd="sng" algn="ctr">
              <a:no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latin typeface="Calibri" panose="020F0502020204030204"/>
                  <a:ea typeface="+mn-ea"/>
                  <a:cs typeface="Arial" charset="0"/>
                </a:rPr>
                <a:t>Palliative radiation</a:t>
              </a:r>
            </a:p>
          </p:txBody>
        </p:sp>
        <p:sp>
          <p:nvSpPr>
            <p:cNvPr id="51" name="TextBox 50">
              <a:extLst>
                <a:ext uri="{FF2B5EF4-FFF2-40B4-BE49-F238E27FC236}">
                  <a16:creationId xmlns:a16="http://schemas.microsoft.com/office/drawing/2014/main" id="{B6991302-3C2D-3388-35B8-12DAFADEA999}"/>
                </a:ext>
              </a:extLst>
            </p:cNvPr>
            <p:cNvSpPr txBox="1"/>
            <p:nvPr/>
          </p:nvSpPr>
          <p:spPr>
            <a:xfrm>
              <a:off x="5801971" y="3788669"/>
              <a:ext cx="5769622" cy="369332"/>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ea typeface="+mn-ea"/>
                  <a:cs typeface="Arial" charset="0"/>
                </a:rPr>
                <a:t>Less intensive therapy</a:t>
              </a:r>
            </a:p>
          </p:txBody>
        </p:sp>
      </p:grpSp>
      <p:grpSp>
        <p:nvGrpSpPr>
          <p:cNvPr id="52" name="Group 51">
            <a:extLst>
              <a:ext uri="{FF2B5EF4-FFF2-40B4-BE49-F238E27FC236}">
                <a16:creationId xmlns:a16="http://schemas.microsoft.com/office/drawing/2014/main" id="{411B05FE-2247-57FB-D17F-CE0735337166}"/>
              </a:ext>
            </a:extLst>
          </p:cNvPr>
          <p:cNvGrpSpPr/>
          <p:nvPr/>
        </p:nvGrpSpPr>
        <p:grpSpPr>
          <a:xfrm>
            <a:off x="5736551" y="2059204"/>
            <a:ext cx="6211963" cy="1527763"/>
            <a:chOff x="5558239" y="2141395"/>
            <a:chExt cx="6211962" cy="1527763"/>
          </a:xfrm>
        </p:grpSpPr>
        <p:sp>
          <p:nvSpPr>
            <p:cNvPr id="53" name="Rectangle 52">
              <a:extLst>
                <a:ext uri="{FF2B5EF4-FFF2-40B4-BE49-F238E27FC236}">
                  <a16:creationId xmlns:a16="http://schemas.microsoft.com/office/drawing/2014/main" id="{20BB584A-8A1A-8AE9-E753-3BECA49CBED8}"/>
                </a:ext>
              </a:extLst>
            </p:cNvPr>
            <p:cNvSpPr/>
            <p:nvPr/>
          </p:nvSpPr>
          <p:spPr>
            <a:xfrm>
              <a:off x="5558239" y="2141395"/>
              <a:ext cx="6211962" cy="1527763"/>
            </a:xfrm>
            <a:prstGeom prst="rect">
              <a:avLst/>
            </a:prstGeom>
            <a:solidFill>
              <a:srgbClr val="ED7D31">
                <a:lumMod val="20000"/>
                <a:lumOff val="80000"/>
              </a:srgbClr>
            </a:solidFill>
            <a:ln w="12700" cap="flat" cmpd="sng" algn="ctr">
              <a:no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Calibri" panose="020F0502020204030204"/>
                <a:ea typeface="+mn-ea"/>
                <a:cs typeface="Arial" charset="0"/>
              </a:endParaRPr>
            </a:p>
          </p:txBody>
        </p:sp>
        <p:sp>
          <p:nvSpPr>
            <p:cNvPr id="54" name="Rounded Rectangle 53">
              <a:extLst>
                <a:ext uri="{FF2B5EF4-FFF2-40B4-BE49-F238E27FC236}">
                  <a16:creationId xmlns:a16="http://schemas.microsoft.com/office/drawing/2014/main" id="{FC163561-5705-D70C-D0A9-FB4CC62E5D94}"/>
                </a:ext>
              </a:extLst>
            </p:cNvPr>
            <p:cNvSpPr/>
            <p:nvPr/>
          </p:nvSpPr>
          <p:spPr>
            <a:xfrm>
              <a:off x="5628272" y="2573565"/>
              <a:ext cx="2956857" cy="456444"/>
            </a:xfrm>
            <a:prstGeom prst="roundRect">
              <a:avLst/>
            </a:prstGeom>
            <a:solidFill>
              <a:srgbClr val="ED7D31"/>
            </a:solidFill>
            <a:ln w="12700" cap="flat" cmpd="sng" algn="ctr">
              <a:no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67" b="1" i="0" u="none" strike="noStrike" kern="0" cap="none" spc="0" normalizeH="0" baseline="0" noProof="0" dirty="0">
                  <a:ln>
                    <a:noFill/>
                  </a:ln>
                  <a:solidFill>
                    <a:prstClr val="black"/>
                  </a:solidFill>
                  <a:effectLst/>
                  <a:uLnTx/>
                  <a:uFillTx/>
                  <a:latin typeface="Calibri" panose="020F0502020204030204"/>
                  <a:ea typeface="+mn-ea"/>
                  <a:cs typeface="Arial" charset="0"/>
                </a:rPr>
                <a:t>CD19 CAR T cell therapy</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67" b="1" i="0" u="none" strike="noStrike" kern="0" cap="none" spc="0" normalizeH="0" baseline="0" noProof="0" dirty="0">
                  <a:ln>
                    <a:noFill/>
                  </a:ln>
                  <a:solidFill>
                    <a:prstClr val="black"/>
                  </a:solidFill>
                  <a:effectLst/>
                  <a:uLnTx/>
                  <a:uFillTx/>
                  <a:latin typeface="Calibri" panose="020F0502020204030204"/>
                  <a:ea typeface="+mn-ea"/>
                  <a:cs typeface="Arial" charset="0"/>
                </a:rPr>
                <a:t>(liso-cel, axi-cel, tisa-cel)</a:t>
              </a:r>
            </a:p>
          </p:txBody>
        </p:sp>
        <p:sp>
          <p:nvSpPr>
            <p:cNvPr id="55" name="Rounded Rectangle 54">
              <a:extLst>
                <a:ext uri="{FF2B5EF4-FFF2-40B4-BE49-F238E27FC236}">
                  <a16:creationId xmlns:a16="http://schemas.microsoft.com/office/drawing/2014/main" id="{86849FC6-4583-1EBD-548E-608E5DA975FD}"/>
                </a:ext>
              </a:extLst>
            </p:cNvPr>
            <p:cNvSpPr/>
            <p:nvPr/>
          </p:nvSpPr>
          <p:spPr>
            <a:xfrm>
              <a:off x="5628272" y="3091251"/>
              <a:ext cx="2956857" cy="456444"/>
            </a:xfrm>
            <a:prstGeom prst="roundRect">
              <a:avLst/>
            </a:prstGeom>
            <a:solidFill>
              <a:srgbClr val="ED7D31"/>
            </a:solidFill>
            <a:ln w="12700" cap="flat" cmpd="sng" algn="ctr">
              <a:no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67" b="0" i="0" u="none" strike="noStrike" kern="0" cap="none" spc="0" normalizeH="0" baseline="0" noProof="0" dirty="0">
                  <a:ln>
                    <a:noFill/>
                  </a:ln>
                  <a:solidFill>
                    <a:prstClr val="black"/>
                  </a:solidFill>
                  <a:effectLst/>
                  <a:uLnTx/>
                  <a:uFillTx/>
                  <a:latin typeface="Calibri" panose="020F0502020204030204"/>
                  <a:ea typeface="+mn-ea"/>
                  <a:cs typeface="Arial" charset="0"/>
                </a:rPr>
                <a:t>Bispecific antibody therapy</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67" b="0" i="0" u="none" strike="noStrike" kern="0" cap="none" spc="0" normalizeH="0" baseline="0" noProof="0" dirty="0">
                  <a:ln>
                    <a:noFill/>
                  </a:ln>
                  <a:solidFill>
                    <a:prstClr val="black"/>
                  </a:solidFill>
                  <a:effectLst/>
                  <a:uLnTx/>
                  <a:uFillTx/>
                  <a:latin typeface="Calibri" panose="020F0502020204030204"/>
                  <a:ea typeface="+mn-ea"/>
                  <a:cs typeface="Arial" charset="0"/>
                </a:rPr>
                <a:t>(epcor, </a:t>
              </a:r>
              <a:r>
                <a:rPr kumimoji="0" lang="en-US" sz="1467" b="0" i="0" u="none" strike="noStrike" kern="0" cap="none" spc="0" normalizeH="0" baseline="0" noProof="0" dirty="0" err="1">
                  <a:ln>
                    <a:noFill/>
                  </a:ln>
                  <a:solidFill>
                    <a:prstClr val="black"/>
                  </a:solidFill>
                  <a:effectLst/>
                  <a:uLnTx/>
                  <a:uFillTx/>
                  <a:latin typeface="Calibri" panose="020F0502020204030204"/>
                  <a:ea typeface="+mn-ea"/>
                  <a:cs typeface="Arial" charset="0"/>
                </a:rPr>
                <a:t>mosun</a:t>
              </a:r>
              <a:r>
                <a:rPr kumimoji="0" lang="en-US" sz="1467" b="0" i="0" u="none" strike="noStrike" kern="0" cap="none" spc="0" normalizeH="0" baseline="0" noProof="0" dirty="0">
                  <a:ln>
                    <a:noFill/>
                  </a:ln>
                  <a:solidFill>
                    <a:prstClr val="black"/>
                  </a:solidFill>
                  <a:effectLst/>
                  <a:uLnTx/>
                  <a:uFillTx/>
                  <a:latin typeface="Calibri" panose="020F0502020204030204"/>
                  <a:ea typeface="+mn-ea"/>
                  <a:cs typeface="Arial" charset="0"/>
                </a:rPr>
                <a:t>)</a:t>
              </a:r>
            </a:p>
          </p:txBody>
        </p:sp>
        <p:sp>
          <p:nvSpPr>
            <p:cNvPr id="56" name="Rounded Rectangle 55">
              <a:extLst>
                <a:ext uri="{FF2B5EF4-FFF2-40B4-BE49-F238E27FC236}">
                  <a16:creationId xmlns:a16="http://schemas.microsoft.com/office/drawing/2014/main" id="{4E6288E0-0EB9-D712-7C7B-17CC9AC3E9DB}"/>
                </a:ext>
              </a:extLst>
            </p:cNvPr>
            <p:cNvSpPr/>
            <p:nvPr/>
          </p:nvSpPr>
          <p:spPr>
            <a:xfrm>
              <a:off x="8755188" y="2573565"/>
              <a:ext cx="2956857" cy="456444"/>
            </a:xfrm>
            <a:prstGeom prst="roundRect">
              <a:avLst/>
            </a:prstGeom>
            <a:solidFill>
              <a:srgbClr val="FFC000"/>
            </a:solidFill>
            <a:ln w="12700" cap="flat" cmpd="sng" algn="ctr">
              <a:no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67" b="0" i="0" u="none" strike="noStrike" kern="0" cap="none" spc="0" normalizeH="0" baseline="0" noProof="0" dirty="0" err="1">
                  <a:ln>
                    <a:noFill/>
                  </a:ln>
                  <a:solidFill>
                    <a:prstClr val="black"/>
                  </a:solidFill>
                  <a:effectLst/>
                  <a:uLnTx/>
                  <a:uFillTx/>
                  <a:latin typeface="Calibri" panose="020F0502020204030204"/>
                  <a:ea typeface="+mn-ea"/>
                  <a:cs typeface="Arial" charset="0"/>
                </a:rPr>
                <a:t>Allo</a:t>
              </a:r>
              <a:r>
                <a:rPr kumimoji="0" lang="en-US" sz="1467" b="0" i="0" u="none" strike="noStrike" kern="0" cap="none" spc="0" normalizeH="0" baseline="0" noProof="0" dirty="0">
                  <a:ln>
                    <a:noFill/>
                  </a:ln>
                  <a:solidFill>
                    <a:prstClr val="black"/>
                  </a:solidFill>
                  <a:effectLst/>
                  <a:uLnTx/>
                  <a:uFillTx/>
                  <a:latin typeface="Calibri" panose="020F0502020204030204"/>
                  <a:ea typeface="+mn-ea"/>
                  <a:cs typeface="Arial" charset="0"/>
                </a:rPr>
                <a:t>-HSCT consolidation</a:t>
              </a:r>
            </a:p>
          </p:txBody>
        </p:sp>
        <p:sp>
          <p:nvSpPr>
            <p:cNvPr id="57" name="TextBox 56">
              <a:extLst>
                <a:ext uri="{FF2B5EF4-FFF2-40B4-BE49-F238E27FC236}">
                  <a16:creationId xmlns:a16="http://schemas.microsoft.com/office/drawing/2014/main" id="{48B25FD2-B2FB-B15F-6B67-6E3103ED2CA2}"/>
                </a:ext>
              </a:extLst>
            </p:cNvPr>
            <p:cNvSpPr txBox="1"/>
            <p:nvPr/>
          </p:nvSpPr>
          <p:spPr>
            <a:xfrm>
              <a:off x="5628272" y="2141395"/>
              <a:ext cx="6083773" cy="33855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latin typeface="Calibri" panose="020F0502020204030204"/>
                  <a:ea typeface="+mn-ea"/>
                  <a:cs typeface="Arial" charset="0"/>
                </a:rPr>
                <a:t>More intensive (deeper/more prolonged response)</a:t>
              </a:r>
            </a:p>
          </p:txBody>
        </p:sp>
        <p:sp>
          <p:nvSpPr>
            <p:cNvPr id="58" name="Rounded Rectangle 57">
              <a:extLst>
                <a:ext uri="{FF2B5EF4-FFF2-40B4-BE49-F238E27FC236}">
                  <a16:creationId xmlns:a16="http://schemas.microsoft.com/office/drawing/2014/main" id="{8A3B37F3-2153-ABA8-7BE4-8B557FAFB10C}"/>
                </a:ext>
              </a:extLst>
            </p:cNvPr>
            <p:cNvSpPr/>
            <p:nvPr/>
          </p:nvSpPr>
          <p:spPr>
            <a:xfrm>
              <a:off x="8755188" y="3091251"/>
              <a:ext cx="2956857" cy="456444"/>
            </a:xfrm>
            <a:prstGeom prst="roundRect">
              <a:avLst/>
            </a:prstGeom>
            <a:solidFill>
              <a:srgbClr val="FFC000"/>
            </a:solidFill>
            <a:ln w="12700" cap="flat" cmpd="sng" algn="ctr">
              <a:no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67" b="0" i="0" u="none" strike="noStrike" kern="0" cap="none" spc="0" normalizeH="0" baseline="0" noProof="0" dirty="0">
                  <a:ln>
                    <a:noFill/>
                  </a:ln>
                  <a:solidFill>
                    <a:prstClr val="black"/>
                  </a:solidFill>
                  <a:effectLst/>
                  <a:uLnTx/>
                  <a:uFillTx/>
                  <a:latin typeface="Calibri" panose="020F0502020204030204"/>
                  <a:ea typeface="+mn-ea"/>
                  <a:cs typeface="Arial" charset="0"/>
                </a:rPr>
                <a:t>Rituximab + chemo</a:t>
              </a:r>
            </a:p>
          </p:txBody>
        </p:sp>
      </p:grpSp>
      <p:cxnSp>
        <p:nvCxnSpPr>
          <p:cNvPr id="59" name="Connector: Elbow 30">
            <a:extLst>
              <a:ext uri="{FF2B5EF4-FFF2-40B4-BE49-F238E27FC236}">
                <a16:creationId xmlns:a16="http://schemas.microsoft.com/office/drawing/2014/main" id="{EEAFF707-0C47-F275-8970-7696C5779044}"/>
              </a:ext>
            </a:extLst>
          </p:cNvPr>
          <p:cNvCxnSpPr>
            <a:cxnSpLocks/>
            <a:stCxn id="36" idx="2"/>
            <a:endCxn id="41" idx="1"/>
          </p:cNvCxnSpPr>
          <p:nvPr/>
        </p:nvCxnSpPr>
        <p:spPr>
          <a:xfrm rot="16200000" flipH="1">
            <a:off x="1945007" y="2597744"/>
            <a:ext cx="950863" cy="1385648"/>
          </a:xfrm>
          <a:prstGeom prst="bentConnector2">
            <a:avLst/>
          </a:prstGeom>
          <a:noFill/>
          <a:ln w="28575" cap="flat" cmpd="sng" algn="ctr">
            <a:solidFill>
              <a:sysClr val="windowText" lastClr="000000">
                <a:lumMod val="50000"/>
                <a:lumOff val="50000"/>
              </a:sysClr>
            </a:solidFill>
            <a:prstDash val="solid"/>
            <a:miter lim="800000"/>
            <a:tailEnd type="triangle"/>
          </a:ln>
          <a:effectLst/>
        </p:spPr>
      </p:cxnSp>
      <p:sp>
        <p:nvSpPr>
          <p:cNvPr id="60" name="Rectangle: Rounded Corners 11">
            <a:extLst>
              <a:ext uri="{FF2B5EF4-FFF2-40B4-BE49-F238E27FC236}">
                <a16:creationId xmlns:a16="http://schemas.microsoft.com/office/drawing/2014/main" id="{B3F43EE8-565E-52DF-9C34-A88E62C772B5}"/>
              </a:ext>
            </a:extLst>
          </p:cNvPr>
          <p:cNvSpPr/>
          <p:nvPr/>
        </p:nvSpPr>
        <p:spPr>
          <a:xfrm>
            <a:off x="2143300" y="3627675"/>
            <a:ext cx="540000" cy="277131"/>
          </a:xfrm>
          <a:prstGeom prst="roundRect">
            <a:avLst>
              <a:gd name="adj" fmla="val 50000"/>
            </a:avLst>
          </a:prstGeom>
          <a:solidFill>
            <a:sysClr val="window" lastClr="FFFFFF"/>
          </a:solidFill>
          <a:ln w="28575" cap="flat" cmpd="sng" algn="ctr">
            <a:solidFill>
              <a:sysClr val="windowText" lastClr="000000">
                <a:lumMod val="50000"/>
                <a:lumOff val="50000"/>
              </a:sysClr>
            </a:solidFill>
            <a:prstDash val="solid"/>
            <a:miter lim="800000"/>
          </a:ln>
          <a:effectLst/>
        </p:spPr>
        <p:txBody>
          <a:bodyPr lIns="72000" rIns="72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ea typeface="+mn-ea"/>
                <a:cs typeface="Arial" charset="0"/>
              </a:rPr>
              <a:t>NO</a:t>
            </a:r>
          </a:p>
        </p:txBody>
      </p:sp>
      <p:sp>
        <p:nvSpPr>
          <p:cNvPr id="61" name="Rectangle 60">
            <a:extLst>
              <a:ext uri="{FF2B5EF4-FFF2-40B4-BE49-F238E27FC236}">
                <a16:creationId xmlns:a16="http://schemas.microsoft.com/office/drawing/2014/main" id="{8769A862-2F3D-3502-EB76-6F2A2B661B4E}"/>
              </a:ext>
            </a:extLst>
          </p:cNvPr>
          <p:cNvSpPr/>
          <p:nvPr/>
        </p:nvSpPr>
        <p:spPr>
          <a:xfrm>
            <a:off x="5734561" y="2059203"/>
            <a:ext cx="6213953" cy="3421120"/>
          </a:xfrm>
          <a:prstGeom prst="rect">
            <a:avLst/>
          </a:prstGeom>
          <a:noFill/>
          <a:ln w="12700" cap="flat" cmpd="sng" algn="ctr">
            <a:solidFill>
              <a:sysClr val="window" lastClr="FFFFFF">
                <a:lumMod val="95000"/>
              </a:sysClr>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Arial" charset="0"/>
            </a:endParaRPr>
          </a:p>
        </p:txBody>
      </p:sp>
      <p:cxnSp>
        <p:nvCxnSpPr>
          <p:cNvPr id="62" name="Straight Arrow Connector 61">
            <a:extLst>
              <a:ext uri="{FF2B5EF4-FFF2-40B4-BE49-F238E27FC236}">
                <a16:creationId xmlns:a16="http://schemas.microsoft.com/office/drawing/2014/main" id="{0EFCE515-33EE-99E4-F094-C4E237EB37A2}"/>
              </a:ext>
            </a:extLst>
          </p:cNvPr>
          <p:cNvCxnSpPr>
            <a:cxnSpLocks/>
            <a:stCxn id="36" idx="2"/>
            <a:endCxn id="40" idx="0"/>
          </p:cNvCxnSpPr>
          <p:nvPr/>
        </p:nvCxnSpPr>
        <p:spPr>
          <a:xfrm>
            <a:off x="1727613" y="2815138"/>
            <a:ext cx="0" cy="1585185"/>
          </a:xfrm>
          <a:prstGeom prst="straightConnector1">
            <a:avLst/>
          </a:prstGeom>
          <a:noFill/>
          <a:ln w="28575" cap="flat" cmpd="sng" algn="ctr">
            <a:solidFill>
              <a:sysClr val="windowText" lastClr="000000">
                <a:lumMod val="50000"/>
                <a:lumOff val="50000"/>
              </a:sysClr>
            </a:solidFill>
            <a:prstDash val="solid"/>
            <a:miter lim="800000"/>
            <a:tailEnd type="triangle"/>
          </a:ln>
          <a:effectLst/>
        </p:spPr>
      </p:cxnSp>
      <p:cxnSp>
        <p:nvCxnSpPr>
          <p:cNvPr id="63" name="Straight Arrow Connector 62">
            <a:extLst>
              <a:ext uri="{FF2B5EF4-FFF2-40B4-BE49-F238E27FC236}">
                <a16:creationId xmlns:a16="http://schemas.microsoft.com/office/drawing/2014/main" id="{CC9A771C-D3BE-9399-7564-52F29F11B1DF}"/>
              </a:ext>
            </a:extLst>
          </p:cNvPr>
          <p:cNvCxnSpPr>
            <a:cxnSpLocks/>
            <a:stCxn id="41" idx="3"/>
            <a:endCxn id="61" idx="1"/>
          </p:cNvCxnSpPr>
          <p:nvPr/>
        </p:nvCxnSpPr>
        <p:spPr>
          <a:xfrm>
            <a:off x="5469868" y="3766001"/>
            <a:ext cx="264693" cy="3763"/>
          </a:xfrm>
          <a:prstGeom prst="straightConnector1">
            <a:avLst/>
          </a:prstGeom>
          <a:noFill/>
          <a:ln w="28575" cap="flat" cmpd="sng" algn="ctr">
            <a:solidFill>
              <a:sysClr val="windowText" lastClr="000000">
                <a:lumMod val="50000"/>
                <a:lumOff val="50000"/>
              </a:sysClr>
            </a:solidFill>
            <a:prstDash val="solid"/>
            <a:miter lim="800000"/>
            <a:tailEnd type="triangle"/>
          </a:ln>
          <a:effectLst/>
        </p:spPr>
      </p:cxnSp>
      <p:sp>
        <p:nvSpPr>
          <p:cNvPr id="64" name="Rectangle: Rounded Corners 10">
            <a:extLst>
              <a:ext uri="{FF2B5EF4-FFF2-40B4-BE49-F238E27FC236}">
                <a16:creationId xmlns:a16="http://schemas.microsoft.com/office/drawing/2014/main" id="{FDA4EB88-C2FA-B2E4-1652-3C9EBA207121}"/>
              </a:ext>
            </a:extLst>
          </p:cNvPr>
          <p:cNvSpPr/>
          <p:nvPr/>
        </p:nvSpPr>
        <p:spPr>
          <a:xfrm>
            <a:off x="1467887" y="3914372"/>
            <a:ext cx="540000" cy="277200"/>
          </a:xfrm>
          <a:prstGeom prst="roundRect">
            <a:avLst>
              <a:gd name="adj" fmla="val 50000"/>
            </a:avLst>
          </a:prstGeom>
          <a:solidFill>
            <a:sysClr val="window" lastClr="FFFFFF"/>
          </a:solidFill>
          <a:ln w="28575" cap="flat" cmpd="sng" algn="ctr">
            <a:solidFill>
              <a:sysClr val="windowText" lastClr="000000">
                <a:lumMod val="50000"/>
                <a:lumOff val="50000"/>
              </a:sysClr>
            </a:solidFill>
            <a:prstDash val="solid"/>
            <a:miter lim="800000"/>
          </a:ln>
          <a:effectLst/>
        </p:spPr>
        <p:txBody>
          <a:bodyPr lIns="36000" r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ea typeface="+mn-ea"/>
                <a:cs typeface="Arial" charset="0"/>
              </a:rPr>
              <a:t>YES</a:t>
            </a:r>
          </a:p>
        </p:txBody>
      </p:sp>
      <p:sp>
        <p:nvSpPr>
          <p:cNvPr id="65" name="Text Placeholder 28">
            <a:extLst>
              <a:ext uri="{FF2B5EF4-FFF2-40B4-BE49-F238E27FC236}">
                <a16:creationId xmlns:a16="http://schemas.microsoft.com/office/drawing/2014/main" id="{0DBB1C27-6B89-B633-1F4F-AA6162F0D5D3}"/>
              </a:ext>
            </a:extLst>
          </p:cNvPr>
          <p:cNvSpPr txBox="1">
            <a:spLocks/>
          </p:cNvSpPr>
          <p:nvPr/>
        </p:nvSpPr>
        <p:spPr>
          <a:xfrm>
            <a:off x="0" y="6355451"/>
            <a:ext cx="12039600" cy="346075"/>
          </a:xfrm>
          <a:prstGeom prst="rect">
            <a:avLst/>
          </a:prstGeom>
        </p:spPr>
        <p:txBody>
          <a:bodyPr vert="horz" lIns="0" tIns="0" rIns="0" bIns="0" rtlCol="0" anchor="b" anchorCtr="0">
            <a:noAutofit/>
          </a:bodyPr>
          <a:lstStyle>
            <a:defPPr>
              <a:defRPr lang="en-US"/>
            </a:defPPr>
            <a:lvl1pPr marL="0" algn="r" defTabSz="457200" rtl="0" eaLnBrk="1" latinLnBrk="0" hangingPunct="1">
              <a:defRPr sz="800" b="0" kern="1200">
                <a:solidFill>
                  <a:schemeClr val="bg1"/>
                </a:solidFill>
                <a:latin typeface="+mn-lt"/>
                <a:ea typeface="Corbel" charset="0"/>
                <a:cs typeface="Corbel" charset="0"/>
              </a:defRPr>
            </a:lvl1pPr>
            <a:lvl2pPr marL="0" algn="r" defTabSz="457200" rtl="0" eaLnBrk="1" latinLnBrk="0" hangingPunct="1">
              <a:defRPr sz="800" b="0" kern="1200">
                <a:solidFill>
                  <a:schemeClr val="bg1"/>
                </a:solidFill>
                <a:latin typeface="+mn-lt"/>
                <a:ea typeface="Corbel" charset="0"/>
                <a:cs typeface="Corbel" charset="0"/>
              </a:defRPr>
            </a:lvl2pPr>
            <a:lvl3pPr marL="0" algn="r" defTabSz="457200" rtl="0" eaLnBrk="1" latinLnBrk="0" hangingPunct="1">
              <a:defRPr sz="800" b="0" kern="1200">
                <a:solidFill>
                  <a:schemeClr val="bg1"/>
                </a:solidFill>
                <a:latin typeface="+mn-lt"/>
                <a:ea typeface="Corbel" charset="0"/>
                <a:cs typeface="Corbel" charset="0"/>
              </a:defRPr>
            </a:lvl3pPr>
            <a:lvl4pPr marL="0" algn="r" defTabSz="457200" rtl="0" eaLnBrk="1" latinLnBrk="0" hangingPunct="1">
              <a:defRPr sz="800" b="0" kern="1200">
                <a:solidFill>
                  <a:schemeClr val="bg1"/>
                </a:solidFill>
                <a:latin typeface="+mn-lt"/>
                <a:ea typeface="Corbel" charset="0"/>
                <a:cs typeface="Corbel" charset="0"/>
              </a:defRPr>
            </a:lvl4pPr>
            <a:lvl5pPr marL="0" algn="r" defTabSz="457200" rtl="0" eaLnBrk="1" latinLnBrk="0" hangingPunct="1">
              <a:defRPr sz="800" b="0" kern="1200">
                <a:solidFill>
                  <a:schemeClr val="bg1"/>
                </a:solidFill>
                <a:latin typeface="+mn-lt"/>
                <a:ea typeface="Corbel" charset="0"/>
                <a:cs typeface="Corbel" charset="0"/>
              </a:defRPr>
            </a:lvl5pPr>
            <a:lvl6pPr marL="0" algn="r" defTabSz="457200" rtl="0" eaLnBrk="1" latinLnBrk="0" hangingPunct="1">
              <a:defRPr sz="800" b="0" kern="1200">
                <a:solidFill>
                  <a:schemeClr val="bg1"/>
                </a:solidFill>
                <a:latin typeface="+mn-lt"/>
                <a:ea typeface="Corbel" charset="0"/>
                <a:cs typeface="Corbel" charset="0"/>
              </a:defRPr>
            </a:lvl6pPr>
            <a:lvl7pPr marL="0" algn="r" defTabSz="457200" rtl="0" eaLnBrk="1" latinLnBrk="0" hangingPunct="1">
              <a:defRPr sz="800" b="0" kern="1200">
                <a:solidFill>
                  <a:schemeClr val="bg1"/>
                </a:solidFill>
                <a:latin typeface="+mn-lt"/>
                <a:ea typeface="Corbel" charset="0"/>
                <a:cs typeface="Corbel" charset="0"/>
              </a:defRPr>
            </a:lvl7pPr>
            <a:lvl8pPr marL="0" algn="r" defTabSz="457200" rtl="0" eaLnBrk="1" latinLnBrk="0" hangingPunct="1">
              <a:defRPr sz="800" b="0" kern="1200">
                <a:solidFill>
                  <a:schemeClr val="bg1"/>
                </a:solidFill>
                <a:latin typeface="+mn-lt"/>
                <a:ea typeface="Corbel" charset="0"/>
                <a:cs typeface="Corbel" charset="0"/>
              </a:defRPr>
            </a:lvl8pPr>
            <a:lvl9pPr marL="0" algn="r" defTabSz="457200" rtl="0" eaLnBrk="1" latinLnBrk="0" hangingPunct="1">
              <a:defRPr sz="800" b="0" i="0" kern="1200">
                <a:solidFill>
                  <a:schemeClr val="bg1"/>
                </a:solidFill>
                <a:latin typeface="+mn-lt"/>
                <a:ea typeface="Corbel" charset="0"/>
                <a:cs typeface="Corbel" charset="0"/>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a:rPr>
              <a:t>3L, third line; </a:t>
            </a:r>
            <a:r>
              <a:rPr kumimoji="0" lang="en-US" sz="1000" b="0" i="0" u="none" strike="noStrike" kern="1200" cap="none" spc="0" normalizeH="0" baseline="0" noProof="0" dirty="0" err="1">
                <a:ln>
                  <a:noFill/>
                </a:ln>
                <a:solidFill>
                  <a:srgbClr val="000000"/>
                </a:solidFill>
                <a:effectLst/>
                <a:uLnTx/>
                <a:uFillTx/>
                <a:latin typeface="Arial" panose="020B0604020202020204"/>
              </a:rPr>
              <a:t>allo</a:t>
            </a:r>
            <a:r>
              <a:rPr kumimoji="0" lang="en-US" sz="1000" b="0" i="0" u="none" strike="noStrike" kern="1200" cap="none" spc="0" normalizeH="0" baseline="0" noProof="0" dirty="0">
                <a:ln>
                  <a:noFill/>
                </a:ln>
                <a:solidFill>
                  <a:srgbClr val="000000"/>
                </a:solidFill>
                <a:effectLst/>
                <a:uLnTx/>
                <a:uFillTx/>
                <a:latin typeface="Arial" panose="020B0604020202020204"/>
              </a:rPr>
              <a:t>-HSCT, allogeneic hematopoietic stem cell transplant, axi-cel, axicabtagene ciloleucel; </a:t>
            </a:r>
            <a:r>
              <a:rPr kumimoji="0" lang="en-US" sz="1000" b="0" i="0" u="none" strike="noStrike" kern="1200" cap="none" spc="0" normalizeH="0" baseline="0" noProof="0" dirty="0" err="1">
                <a:ln>
                  <a:noFill/>
                </a:ln>
                <a:solidFill>
                  <a:srgbClr val="000000"/>
                </a:solidFill>
                <a:effectLst/>
                <a:uLnTx/>
                <a:uFillTx/>
                <a:latin typeface="Arial" panose="020B0604020202020204"/>
              </a:rPr>
              <a:t>epcor</a:t>
            </a:r>
            <a:r>
              <a:rPr kumimoji="0" lang="en-US" sz="1000" b="0" i="0" u="none" strike="noStrike" kern="1200" cap="none" spc="0" normalizeH="0" baseline="0" noProof="0" dirty="0">
                <a:ln>
                  <a:noFill/>
                </a:ln>
                <a:solidFill>
                  <a:srgbClr val="000000"/>
                </a:solidFill>
                <a:effectLst/>
                <a:uLnTx/>
                <a:uFillTx/>
                <a:latin typeface="Arial" panose="020B0604020202020204"/>
              </a:rPr>
              <a:t>, epcoritamab; liso-cel, lisocabtagene maraleucel; </a:t>
            </a:r>
            <a:r>
              <a:rPr kumimoji="0" lang="en-US" sz="1000" b="0" i="0" u="none" strike="noStrike" kern="1200" cap="none" spc="0" normalizeH="0" baseline="0" noProof="0" dirty="0" err="1">
                <a:ln>
                  <a:noFill/>
                </a:ln>
                <a:solidFill>
                  <a:srgbClr val="000000"/>
                </a:solidFill>
                <a:effectLst/>
                <a:uLnTx/>
                <a:uFillTx/>
                <a:latin typeface="Arial" panose="020B0604020202020204"/>
              </a:rPr>
              <a:t>mosun</a:t>
            </a:r>
            <a:r>
              <a:rPr kumimoji="0" lang="en-US" sz="1000" b="0" i="0" u="none" strike="noStrike" kern="1200" cap="none" spc="0" normalizeH="0" baseline="0" noProof="0" dirty="0">
                <a:ln>
                  <a:noFill/>
                </a:ln>
                <a:solidFill>
                  <a:srgbClr val="000000"/>
                </a:solidFill>
                <a:effectLst/>
                <a:uLnTx/>
                <a:uFillTx/>
                <a:latin typeface="Arial" panose="020B0604020202020204"/>
              </a:rPr>
              <a:t>, mosunetuzumab; </a:t>
            </a:r>
            <a:r>
              <a:rPr kumimoji="0" lang="en-US" sz="1000" b="0" i="0" u="none" strike="noStrike" kern="1200" cap="none" spc="0" normalizeH="0" baseline="0" noProof="0" dirty="0" err="1">
                <a:ln>
                  <a:noFill/>
                </a:ln>
                <a:solidFill>
                  <a:srgbClr val="000000"/>
                </a:solidFill>
                <a:effectLst/>
                <a:uLnTx/>
                <a:uFillTx/>
                <a:latin typeface="Arial" panose="020B0604020202020204"/>
              </a:rPr>
              <a:t>tisa</a:t>
            </a:r>
            <a:r>
              <a:rPr kumimoji="0" lang="en-US" sz="1000" b="0" i="0" u="none" strike="noStrike" kern="1200" cap="none" spc="0" normalizeH="0" baseline="0" noProof="0" dirty="0">
                <a:ln>
                  <a:noFill/>
                </a:ln>
                <a:solidFill>
                  <a:srgbClr val="000000"/>
                </a:solidFill>
                <a:effectLst/>
                <a:uLnTx/>
                <a:uFillTx/>
                <a:latin typeface="Arial" panose="020B0604020202020204"/>
              </a:rPr>
              <a:t>-cel, tisagenlecleucel.</a:t>
            </a:r>
          </a:p>
          <a:p>
            <a:pPr marL="0" marR="0" lvl="0" indent="0" algn="r" defTabSz="45718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a:rPr>
              <a:t>Adapted from Qualls D &amp; Salles G. </a:t>
            </a:r>
            <a:r>
              <a:rPr kumimoji="0" lang="en-US" sz="1000" b="0" i="0" u="none" strike="noStrike" kern="1200" cap="none" spc="0" normalizeH="0" baseline="0" noProof="0" dirty="0" err="1">
                <a:ln>
                  <a:noFill/>
                </a:ln>
                <a:solidFill>
                  <a:srgbClr val="000000"/>
                </a:solidFill>
                <a:effectLst/>
                <a:uLnTx/>
                <a:uFillTx/>
                <a:latin typeface="Arial" panose="020B0604020202020204"/>
              </a:rPr>
              <a:t>Haematologica</a:t>
            </a:r>
            <a:r>
              <a:rPr kumimoji="0" lang="en-US" sz="1000" b="0" i="0" u="none" strike="noStrike" kern="1200" cap="none" spc="0" normalizeH="0" baseline="0" noProof="0" dirty="0">
                <a:ln>
                  <a:noFill/>
                </a:ln>
                <a:solidFill>
                  <a:srgbClr val="000000"/>
                </a:solidFill>
                <a:effectLst/>
                <a:uLnTx/>
                <a:uFillTx/>
                <a:latin typeface="Arial" panose="020B0604020202020204"/>
              </a:rPr>
              <a:t> 2022; 107:19–34.</a:t>
            </a:r>
          </a:p>
        </p:txBody>
      </p:sp>
    </p:spTree>
    <p:extLst>
      <p:ext uri="{BB962C8B-B14F-4D97-AF65-F5344CB8AC3E}">
        <p14:creationId xmlns:p14="http://schemas.microsoft.com/office/powerpoint/2010/main" val="1385073252"/>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2653D5-22BE-D821-75CD-CB323CE56808}"/>
              </a:ext>
            </a:extLst>
          </p:cNvPr>
          <p:cNvSpPr>
            <a:spLocks noGrp="1"/>
          </p:cNvSpPr>
          <p:nvPr>
            <p:ph type="title"/>
          </p:nvPr>
        </p:nvSpPr>
        <p:spPr/>
        <p:txBody>
          <a:bodyPr/>
          <a:lstStyle/>
          <a:p>
            <a:r>
              <a:rPr lang="en-US" sz="3600" dirty="0">
                <a:solidFill>
                  <a:srgbClr val="0076A9"/>
                </a:solidFill>
              </a:rPr>
              <a:t>		</a:t>
            </a:r>
            <a:r>
              <a:rPr lang="en-US" sz="3600" dirty="0" err="1">
                <a:solidFill>
                  <a:srgbClr val="0076A9"/>
                </a:solidFill>
              </a:rPr>
              <a:t>BsAb</a:t>
            </a:r>
            <a:r>
              <a:rPr lang="en-US" sz="3600" dirty="0">
                <a:solidFill>
                  <a:srgbClr val="0076A9"/>
                </a:solidFill>
              </a:rPr>
              <a:t> 				      CAR T</a:t>
            </a:r>
          </a:p>
        </p:txBody>
      </p:sp>
      <p:sp>
        <p:nvSpPr>
          <p:cNvPr id="3" name="Content Placeholder 2">
            <a:extLst>
              <a:ext uri="{FF2B5EF4-FFF2-40B4-BE49-F238E27FC236}">
                <a16:creationId xmlns:a16="http://schemas.microsoft.com/office/drawing/2014/main" id="{A25D4478-50E4-D3C0-6702-9F136344CEF7}"/>
              </a:ext>
            </a:extLst>
          </p:cNvPr>
          <p:cNvSpPr>
            <a:spLocks noGrp="1"/>
          </p:cNvSpPr>
          <p:nvPr>
            <p:ph sz="half" idx="1"/>
          </p:nvPr>
        </p:nvSpPr>
        <p:spPr>
          <a:xfrm>
            <a:off x="1062567" y="1066800"/>
            <a:ext cx="5033433" cy="5306787"/>
          </a:xfrm>
        </p:spPr>
        <p:txBody>
          <a:bodyPr/>
          <a:lstStyle/>
          <a:p>
            <a:pPr>
              <a:buFont typeface="Wingdings" pitchFamily="2" charset="2"/>
              <a:buChar char="v"/>
            </a:pPr>
            <a:r>
              <a:rPr lang="en-US" sz="2400" b="1" i="1" dirty="0"/>
              <a:t>PROs</a:t>
            </a:r>
          </a:p>
          <a:p>
            <a:pPr>
              <a:buFontTx/>
              <a:buChar char="-"/>
            </a:pPr>
            <a:r>
              <a:rPr lang="en-US" sz="2400" dirty="0"/>
              <a:t>Off the shelf</a:t>
            </a:r>
          </a:p>
          <a:p>
            <a:pPr>
              <a:buFontTx/>
              <a:buChar char="-"/>
            </a:pPr>
            <a:r>
              <a:rPr lang="en-US" sz="2400" dirty="0"/>
              <a:t>Outpatient</a:t>
            </a:r>
          </a:p>
          <a:p>
            <a:pPr>
              <a:buFontTx/>
              <a:buChar char="-"/>
            </a:pPr>
            <a:r>
              <a:rPr lang="en-US" sz="2400" dirty="0"/>
              <a:t>Easy Schedule</a:t>
            </a:r>
          </a:p>
          <a:p>
            <a:pPr>
              <a:buFontTx/>
              <a:buChar char="-"/>
            </a:pPr>
            <a:r>
              <a:rPr lang="en-US" sz="2400" dirty="0"/>
              <a:t>Minimal Constraints</a:t>
            </a:r>
          </a:p>
          <a:p>
            <a:pPr>
              <a:buFontTx/>
              <a:buChar char="-"/>
            </a:pPr>
            <a:endParaRPr lang="en-US" sz="2400" dirty="0"/>
          </a:p>
          <a:p>
            <a:pPr>
              <a:buFont typeface="Wingdings" pitchFamily="2" charset="2"/>
              <a:buChar char="v"/>
            </a:pPr>
            <a:r>
              <a:rPr lang="en-US" sz="2400" b="1" i="1" dirty="0"/>
              <a:t>CONs</a:t>
            </a:r>
          </a:p>
          <a:p>
            <a:pPr>
              <a:buFontTx/>
              <a:buChar char="-"/>
            </a:pPr>
            <a:r>
              <a:rPr lang="en-US" sz="2400" dirty="0"/>
              <a:t>CRS 1</a:t>
            </a:r>
            <a:r>
              <a:rPr lang="en-US" sz="2400" baseline="30000" dirty="0"/>
              <a:t>st</a:t>
            </a:r>
            <a:r>
              <a:rPr lang="en-US" sz="2400" dirty="0"/>
              <a:t> cycle</a:t>
            </a:r>
          </a:p>
          <a:p>
            <a:pPr>
              <a:buFontTx/>
              <a:buChar char="-"/>
            </a:pPr>
            <a:r>
              <a:rPr lang="en-US" sz="2400" dirty="0"/>
              <a:t>Infections</a:t>
            </a:r>
          </a:p>
          <a:p>
            <a:pPr>
              <a:buFontTx/>
              <a:buChar char="-"/>
            </a:pPr>
            <a:r>
              <a:rPr lang="en-US" sz="2400" dirty="0"/>
              <a:t>Treatment duration</a:t>
            </a:r>
          </a:p>
          <a:p>
            <a:pPr>
              <a:buFontTx/>
              <a:buChar char="-"/>
            </a:pPr>
            <a:r>
              <a:rPr lang="en-US" sz="2400" dirty="0"/>
              <a:t>Lower efficacy (single agent)</a:t>
            </a:r>
          </a:p>
          <a:p>
            <a:pPr>
              <a:buFontTx/>
              <a:buChar char="-"/>
            </a:pPr>
            <a:r>
              <a:rPr lang="en-US" sz="2400" dirty="0"/>
              <a:t>Long-term data are still missing</a:t>
            </a:r>
          </a:p>
          <a:p>
            <a:pPr>
              <a:buFontTx/>
              <a:buChar char="-"/>
            </a:pPr>
            <a:endParaRPr lang="en-US" sz="2400" dirty="0"/>
          </a:p>
          <a:p>
            <a:pPr marL="0" indent="0">
              <a:buNone/>
            </a:pPr>
            <a:endParaRPr lang="en-US" sz="2400" dirty="0"/>
          </a:p>
        </p:txBody>
      </p:sp>
      <p:sp>
        <p:nvSpPr>
          <p:cNvPr id="5" name="Content Placeholder 2">
            <a:extLst>
              <a:ext uri="{FF2B5EF4-FFF2-40B4-BE49-F238E27FC236}">
                <a16:creationId xmlns:a16="http://schemas.microsoft.com/office/drawing/2014/main" id="{C03C2900-3EA6-FDBA-F6E4-8A8DAFB4EBA2}"/>
              </a:ext>
            </a:extLst>
          </p:cNvPr>
          <p:cNvSpPr txBox="1">
            <a:spLocks/>
          </p:cNvSpPr>
          <p:nvPr/>
        </p:nvSpPr>
        <p:spPr bwMode="auto">
          <a:xfrm>
            <a:off x="6623050" y="1066800"/>
            <a:ext cx="5033433" cy="5306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150" tIns="45583" rIns="91150" bIns="45583" numCol="1" anchor="t" anchorCtr="0" compatLnSpc="1">
            <a:prstTxWarp prst="textNoShape">
              <a:avLst/>
            </a:prstTxWarp>
          </a:bodyPr>
          <a:lstStyle>
            <a:lvl1pPr marL="455663" indent="-455663" algn="l" rtl="0" eaLnBrk="0" fontAlgn="base" hangingPunct="0">
              <a:spcBef>
                <a:spcPct val="20000"/>
              </a:spcBef>
              <a:spcAft>
                <a:spcPct val="0"/>
              </a:spcAft>
              <a:buClr>
                <a:srgbClr val="990000"/>
              </a:buClr>
              <a:buFont typeface="Symbol" pitchFamily="18" charset="2"/>
              <a:buChar char="¨"/>
              <a:defRPr sz="2667">
                <a:solidFill>
                  <a:schemeClr val="tx1"/>
                </a:solidFill>
                <a:latin typeface="+mn-lt"/>
                <a:ea typeface="MS PGothic" pitchFamily="34" charset="-128"/>
                <a:cs typeface="ＭＳ Ｐゴシック"/>
              </a:defRPr>
            </a:lvl1pPr>
            <a:lvl2pPr marL="987330" indent="-379740" algn="l" rtl="0" eaLnBrk="0" fontAlgn="base" hangingPunct="0">
              <a:spcBef>
                <a:spcPct val="20000"/>
              </a:spcBef>
              <a:spcAft>
                <a:spcPct val="0"/>
              </a:spcAft>
              <a:buChar char="–"/>
              <a:defRPr sz="2400">
                <a:solidFill>
                  <a:schemeClr val="tx1"/>
                </a:solidFill>
                <a:latin typeface="+mn-lt"/>
                <a:ea typeface="MS PGothic" pitchFamily="34" charset="-128"/>
                <a:cs typeface="ＭＳ Ｐゴシック"/>
              </a:defRPr>
            </a:lvl2pPr>
            <a:lvl3pPr marL="1518937" indent="-303768" algn="l" rtl="0" eaLnBrk="0" fontAlgn="base" hangingPunct="0">
              <a:spcBef>
                <a:spcPct val="20000"/>
              </a:spcBef>
              <a:spcAft>
                <a:spcPct val="0"/>
              </a:spcAft>
              <a:buChar char="•"/>
              <a:defRPr sz="2133">
                <a:solidFill>
                  <a:schemeClr val="tx1"/>
                </a:solidFill>
                <a:latin typeface="+mn-lt"/>
                <a:ea typeface="MS PGothic" pitchFamily="34" charset="-128"/>
                <a:cs typeface="ＭＳ Ｐゴシック"/>
              </a:defRPr>
            </a:lvl3pPr>
            <a:lvl4pPr marL="2126510" indent="-303768" algn="l" rtl="0" eaLnBrk="0" fontAlgn="base" hangingPunct="0">
              <a:spcBef>
                <a:spcPct val="20000"/>
              </a:spcBef>
              <a:spcAft>
                <a:spcPct val="0"/>
              </a:spcAft>
              <a:buChar char="–"/>
              <a:defRPr sz="1867">
                <a:solidFill>
                  <a:schemeClr val="tx1"/>
                </a:solidFill>
                <a:latin typeface="+mn-lt"/>
                <a:ea typeface="MS PGothic" pitchFamily="34" charset="-128"/>
                <a:cs typeface="ＭＳ Ｐゴシック"/>
              </a:defRPr>
            </a:lvl4pPr>
            <a:lvl5pPr marL="2734102" indent="-303768" algn="l" rtl="0" eaLnBrk="0" fontAlgn="base" hangingPunct="0">
              <a:spcBef>
                <a:spcPct val="20000"/>
              </a:spcBef>
              <a:spcAft>
                <a:spcPct val="0"/>
              </a:spcAft>
              <a:buChar char="»"/>
              <a:defRPr sz="2400">
                <a:solidFill>
                  <a:schemeClr val="tx1"/>
                </a:solidFill>
                <a:latin typeface="+mn-lt"/>
                <a:ea typeface="MS PGothic" pitchFamily="34" charset="-128"/>
                <a:cs typeface="ＭＳ Ｐゴシック"/>
              </a:defRPr>
            </a:lvl5pPr>
            <a:lvl6pPr marL="3341648" indent="-303768" algn="l" rtl="0" fontAlgn="base">
              <a:spcBef>
                <a:spcPct val="20000"/>
              </a:spcBef>
              <a:spcAft>
                <a:spcPct val="0"/>
              </a:spcAft>
              <a:buChar char="»"/>
              <a:defRPr sz="2400">
                <a:solidFill>
                  <a:schemeClr val="tx1"/>
                </a:solidFill>
                <a:latin typeface="+mn-lt"/>
              </a:defRPr>
            </a:lvl6pPr>
            <a:lvl7pPr marL="3949241" indent="-303768" algn="l" rtl="0" fontAlgn="base">
              <a:spcBef>
                <a:spcPct val="20000"/>
              </a:spcBef>
              <a:spcAft>
                <a:spcPct val="0"/>
              </a:spcAft>
              <a:buChar char="»"/>
              <a:defRPr sz="2400">
                <a:solidFill>
                  <a:schemeClr val="tx1"/>
                </a:solidFill>
                <a:latin typeface="+mn-lt"/>
              </a:defRPr>
            </a:lvl7pPr>
            <a:lvl8pPr marL="4556807" indent="-303768" algn="l" rtl="0" fontAlgn="base">
              <a:spcBef>
                <a:spcPct val="20000"/>
              </a:spcBef>
              <a:spcAft>
                <a:spcPct val="0"/>
              </a:spcAft>
              <a:buChar char="»"/>
              <a:defRPr sz="2400">
                <a:solidFill>
                  <a:schemeClr val="tx1"/>
                </a:solidFill>
                <a:latin typeface="+mn-lt"/>
              </a:defRPr>
            </a:lvl8pPr>
            <a:lvl9pPr marL="5164402" indent="-303768" algn="l" rtl="0" fontAlgn="base">
              <a:spcBef>
                <a:spcPct val="20000"/>
              </a:spcBef>
              <a:spcAft>
                <a:spcPct val="0"/>
              </a:spcAft>
              <a:buChar char="»"/>
              <a:defRPr sz="2400">
                <a:solidFill>
                  <a:schemeClr val="tx1"/>
                </a:solidFill>
                <a:latin typeface="+mn-lt"/>
              </a:defRPr>
            </a:lvl9pPr>
          </a:lstStyle>
          <a:p>
            <a:pPr marL="455663" marR="0" lvl="0" indent="-455663" algn="l" defTabSz="914400" rtl="0" eaLnBrk="0" fontAlgn="base" latinLnBrk="0" hangingPunct="0">
              <a:lnSpc>
                <a:spcPct val="100000"/>
              </a:lnSpc>
              <a:spcBef>
                <a:spcPct val="20000"/>
              </a:spcBef>
              <a:spcAft>
                <a:spcPct val="0"/>
              </a:spcAft>
              <a:buClr>
                <a:srgbClr val="990000"/>
              </a:buClr>
              <a:buSzTx/>
              <a:buFont typeface="Wingdings" pitchFamily="2" charset="2"/>
              <a:buChar char="v"/>
              <a:tabLst/>
              <a:defRPr/>
            </a:pPr>
            <a:r>
              <a:rPr kumimoji="0" lang="en-US" sz="2400" b="1" i="1" u="none" strike="noStrike" kern="0" cap="none" spc="0" normalizeH="0" baseline="0" noProof="0" dirty="0">
                <a:ln>
                  <a:noFill/>
                </a:ln>
                <a:solidFill>
                  <a:srgbClr val="000000"/>
                </a:solidFill>
                <a:effectLst/>
                <a:uLnTx/>
                <a:uFillTx/>
                <a:latin typeface="Arial"/>
                <a:ea typeface="MS PGothic" pitchFamily="34" charset="-128"/>
              </a:rPr>
              <a:t>PROs</a:t>
            </a:r>
          </a:p>
          <a:p>
            <a:pPr marL="455663" marR="0" lvl="0" indent="-455663" algn="l" defTabSz="914400" rtl="0" eaLnBrk="0" fontAlgn="base" latinLnBrk="0" hangingPunct="0">
              <a:lnSpc>
                <a:spcPct val="100000"/>
              </a:lnSpc>
              <a:spcBef>
                <a:spcPct val="20000"/>
              </a:spcBef>
              <a:spcAft>
                <a:spcPct val="0"/>
              </a:spcAft>
              <a:buClr>
                <a:srgbClr val="990000"/>
              </a:buClr>
              <a:buSzTx/>
              <a:buFontTx/>
              <a:buChar char="-"/>
              <a:tabLst/>
              <a:defRPr/>
            </a:pPr>
            <a:r>
              <a:rPr kumimoji="0" lang="en-US" sz="2400" b="0" i="0" u="none" strike="noStrike" kern="0" cap="none" spc="0" normalizeH="0" baseline="0" noProof="0" dirty="0">
                <a:ln>
                  <a:noFill/>
                </a:ln>
                <a:solidFill>
                  <a:srgbClr val="000000"/>
                </a:solidFill>
                <a:effectLst/>
                <a:uLnTx/>
                <a:uFillTx/>
                <a:latin typeface="Arial"/>
                <a:ea typeface="MS PGothic" pitchFamily="34" charset="-128"/>
              </a:rPr>
              <a:t>High CR rate</a:t>
            </a:r>
          </a:p>
          <a:p>
            <a:pPr marL="455663" marR="0" lvl="0" indent="-455663" algn="l" defTabSz="914400" rtl="0" eaLnBrk="0" fontAlgn="base" latinLnBrk="0" hangingPunct="0">
              <a:lnSpc>
                <a:spcPct val="100000"/>
              </a:lnSpc>
              <a:spcBef>
                <a:spcPct val="20000"/>
              </a:spcBef>
              <a:spcAft>
                <a:spcPct val="0"/>
              </a:spcAft>
              <a:buClr>
                <a:srgbClr val="990000"/>
              </a:buClr>
              <a:buSzTx/>
              <a:buFontTx/>
              <a:buChar char="-"/>
              <a:tabLst/>
              <a:defRPr/>
            </a:pPr>
            <a:r>
              <a:rPr kumimoji="0" lang="en-US" sz="2400" b="0" i="0" u="none" strike="noStrike" kern="0" cap="none" spc="0" normalizeH="0" baseline="0" noProof="0" dirty="0">
                <a:ln>
                  <a:noFill/>
                </a:ln>
                <a:solidFill>
                  <a:srgbClr val="000000"/>
                </a:solidFill>
                <a:effectLst/>
                <a:uLnTx/>
                <a:uFillTx/>
                <a:latin typeface="Arial"/>
                <a:ea typeface="MS PGothic" pitchFamily="34" charset="-128"/>
              </a:rPr>
              <a:t>One and done</a:t>
            </a:r>
          </a:p>
          <a:p>
            <a:pPr marL="455663" marR="0" lvl="0" indent="-455663" algn="l" defTabSz="914400" rtl="0" eaLnBrk="0" fontAlgn="base" latinLnBrk="0" hangingPunct="0">
              <a:lnSpc>
                <a:spcPct val="100000"/>
              </a:lnSpc>
              <a:spcBef>
                <a:spcPct val="20000"/>
              </a:spcBef>
              <a:spcAft>
                <a:spcPct val="0"/>
              </a:spcAft>
              <a:buClr>
                <a:srgbClr val="990000"/>
              </a:buClr>
              <a:buSzTx/>
              <a:buFontTx/>
              <a:buChar char="-"/>
              <a:tabLst/>
              <a:defRPr/>
            </a:pPr>
            <a:r>
              <a:rPr kumimoji="0" lang="en-US" sz="2400" b="0" i="0" u="none" strike="noStrike" kern="0" cap="none" spc="0" normalizeH="0" baseline="0" noProof="0" dirty="0">
                <a:ln>
                  <a:noFill/>
                </a:ln>
                <a:solidFill>
                  <a:srgbClr val="000000"/>
                </a:solidFill>
                <a:effectLst/>
                <a:uLnTx/>
                <a:uFillTx/>
                <a:latin typeface="Arial"/>
                <a:ea typeface="MS PGothic" pitchFamily="34" charset="-128"/>
              </a:rPr>
              <a:t>Prolonged </a:t>
            </a:r>
            <a:r>
              <a:rPr kumimoji="0" lang="en-US" sz="2400" b="0" i="0" u="none" strike="noStrike" kern="0" cap="none" spc="0" normalizeH="0" baseline="0" noProof="0" dirty="0" err="1">
                <a:ln>
                  <a:noFill/>
                </a:ln>
                <a:solidFill>
                  <a:srgbClr val="000000"/>
                </a:solidFill>
                <a:effectLst/>
                <a:uLnTx/>
                <a:uFillTx/>
                <a:latin typeface="Arial"/>
                <a:ea typeface="MS PGothic" pitchFamily="34" charset="-128"/>
              </a:rPr>
              <a:t>DoCR</a:t>
            </a:r>
            <a:endParaRPr kumimoji="0" lang="en-US" sz="2400" b="0" i="0" u="none" strike="noStrike" kern="0" cap="none" spc="0" normalizeH="0" baseline="0" noProof="0" dirty="0">
              <a:ln>
                <a:noFill/>
              </a:ln>
              <a:solidFill>
                <a:srgbClr val="000000"/>
              </a:solidFill>
              <a:effectLst/>
              <a:uLnTx/>
              <a:uFillTx/>
              <a:latin typeface="Arial"/>
              <a:ea typeface="MS PGothic" pitchFamily="34" charset="-128"/>
            </a:endParaRPr>
          </a:p>
          <a:p>
            <a:pPr marL="455663" marR="0" lvl="0" indent="-455663" algn="l" defTabSz="914400" rtl="0" eaLnBrk="0" fontAlgn="base" latinLnBrk="0" hangingPunct="0">
              <a:lnSpc>
                <a:spcPct val="100000"/>
              </a:lnSpc>
              <a:spcBef>
                <a:spcPct val="20000"/>
              </a:spcBef>
              <a:spcAft>
                <a:spcPct val="0"/>
              </a:spcAft>
              <a:buClr>
                <a:srgbClr val="990000"/>
              </a:buClr>
              <a:buSzTx/>
              <a:buFontTx/>
              <a:buChar char="-"/>
              <a:tabLst/>
              <a:defRPr/>
            </a:pPr>
            <a:r>
              <a:rPr kumimoji="0" lang="en-US" sz="2400" b="0" i="0" u="none" strike="noStrike" kern="0" cap="none" spc="0" normalizeH="0" baseline="0" noProof="0" dirty="0">
                <a:ln>
                  <a:noFill/>
                </a:ln>
                <a:solidFill>
                  <a:srgbClr val="000000"/>
                </a:solidFill>
                <a:effectLst/>
                <a:uLnTx/>
                <a:uFillTx/>
                <a:latin typeface="Arial"/>
                <a:ea typeface="MS PGothic" pitchFamily="34" charset="-128"/>
              </a:rPr>
              <a:t>Possibility of Cure?</a:t>
            </a:r>
          </a:p>
          <a:p>
            <a:pPr marL="455663" marR="0" lvl="0" indent="-455663" algn="l" defTabSz="914400" rtl="0" eaLnBrk="0" fontAlgn="base" latinLnBrk="0" hangingPunct="0">
              <a:lnSpc>
                <a:spcPct val="100000"/>
              </a:lnSpc>
              <a:spcBef>
                <a:spcPct val="20000"/>
              </a:spcBef>
              <a:spcAft>
                <a:spcPct val="0"/>
              </a:spcAft>
              <a:buClr>
                <a:srgbClr val="990000"/>
              </a:buClr>
              <a:buSzTx/>
              <a:buFontTx/>
              <a:buChar char="-"/>
              <a:tabLst/>
              <a:defRPr/>
            </a:pPr>
            <a:endParaRPr kumimoji="0" lang="en-US" sz="2400" b="0" i="0" u="none" strike="noStrike" kern="0" cap="none" spc="0" normalizeH="0" baseline="0" noProof="0" dirty="0">
              <a:ln>
                <a:noFill/>
              </a:ln>
              <a:solidFill>
                <a:srgbClr val="000000"/>
              </a:solidFill>
              <a:effectLst/>
              <a:uLnTx/>
              <a:uFillTx/>
              <a:latin typeface="Arial"/>
              <a:ea typeface="MS PGothic" pitchFamily="34" charset="-128"/>
            </a:endParaRPr>
          </a:p>
          <a:p>
            <a:pPr marL="455663" marR="0" lvl="0" indent="-455663" algn="l" defTabSz="914400" rtl="0" eaLnBrk="0" fontAlgn="base" latinLnBrk="0" hangingPunct="0">
              <a:lnSpc>
                <a:spcPct val="100000"/>
              </a:lnSpc>
              <a:spcBef>
                <a:spcPct val="20000"/>
              </a:spcBef>
              <a:spcAft>
                <a:spcPct val="0"/>
              </a:spcAft>
              <a:buClr>
                <a:srgbClr val="990000"/>
              </a:buClr>
              <a:buSzTx/>
              <a:buFont typeface="Wingdings" pitchFamily="2" charset="2"/>
              <a:buChar char="v"/>
              <a:tabLst/>
              <a:defRPr/>
            </a:pPr>
            <a:r>
              <a:rPr kumimoji="0" lang="en-US" sz="2400" b="1" i="1" u="none" strike="noStrike" kern="0" cap="none" spc="0" normalizeH="0" baseline="0" noProof="0" dirty="0">
                <a:ln>
                  <a:noFill/>
                </a:ln>
                <a:solidFill>
                  <a:srgbClr val="000000"/>
                </a:solidFill>
                <a:effectLst/>
                <a:uLnTx/>
                <a:uFillTx/>
                <a:latin typeface="Arial"/>
                <a:ea typeface="MS PGothic" pitchFamily="34" charset="-128"/>
              </a:rPr>
              <a:t>CONs</a:t>
            </a:r>
          </a:p>
          <a:p>
            <a:pPr marL="455663" marR="0" lvl="0" indent="-455663" algn="l" defTabSz="914400" rtl="0" eaLnBrk="0" fontAlgn="base" latinLnBrk="0" hangingPunct="0">
              <a:lnSpc>
                <a:spcPct val="100000"/>
              </a:lnSpc>
              <a:spcBef>
                <a:spcPct val="20000"/>
              </a:spcBef>
              <a:spcAft>
                <a:spcPct val="0"/>
              </a:spcAft>
              <a:buClr>
                <a:srgbClr val="990000"/>
              </a:buClr>
              <a:buSzTx/>
              <a:buFontTx/>
              <a:buChar char="-"/>
              <a:tabLst/>
              <a:defRPr/>
            </a:pPr>
            <a:r>
              <a:rPr kumimoji="0" lang="en-US" sz="2400" b="0" i="0" u="none" strike="noStrike" kern="0" cap="none" spc="0" normalizeH="0" baseline="0" noProof="0" dirty="0">
                <a:ln>
                  <a:noFill/>
                </a:ln>
                <a:solidFill>
                  <a:srgbClr val="000000"/>
                </a:solidFill>
                <a:effectLst/>
                <a:uLnTx/>
                <a:uFillTx/>
                <a:latin typeface="Arial"/>
                <a:ea typeface="MS PGothic" pitchFamily="34" charset="-128"/>
              </a:rPr>
              <a:t>Logistics (leukapheresis)</a:t>
            </a:r>
          </a:p>
          <a:p>
            <a:pPr marL="455663" marR="0" lvl="0" indent="-455663" algn="l" defTabSz="914400" rtl="0" eaLnBrk="0" fontAlgn="base" latinLnBrk="0" hangingPunct="0">
              <a:lnSpc>
                <a:spcPct val="100000"/>
              </a:lnSpc>
              <a:spcBef>
                <a:spcPct val="20000"/>
              </a:spcBef>
              <a:spcAft>
                <a:spcPct val="0"/>
              </a:spcAft>
              <a:buClr>
                <a:srgbClr val="990000"/>
              </a:buClr>
              <a:buSzTx/>
              <a:buFontTx/>
              <a:buChar char="-"/>
              <a:tabLst/>
              <a:defRPr/>
            </a:pPr>
            <a:r>
              <a:rPr kumimoji="0" lang="en-US" sz="2400" b="0" i="0" u="none" strike="noStrike" kern="0" cap="none" spc="0" normalizeH="0" baseline="0" noProof="0" dirty="0" err="1">
                <a:ln>
                  <a:noFill/>
                </a:ln>
                <a:solidFill>
                  <a:srgbClr val="000000"/>
                </a:solidFill>
                <a:effectLst/>
                <a:uLnTx/>
                <a:uFillTx/>
                <a:latin typeface="Arial"/>
                <a:ea typeface="MS PGothic" pitchFamily="34" charset="-128"/>
              </a:rPr>
              <a:t>Hospitalisation</a:t>
            </a:r>
            <a:r>
              <a:rPr kumimoji="0" lang="en-US" sz="2400" b="0" i="0" u="none" strike="noStrike" kern="0" cap="none" spc="0" normalizeH="0" baseline="0" noProof="0" dirty="0">
                <a:ln>
                  <a:noFill/>
                </a:ln>
                <a:solidFill>
                  <a:srgbClr val="000000"/>
                </a:solidFill>
                <a:effectLst/>
                <a:uLnTx/>
                <a:uFillTx/>
                <a:latin typeface="Arial"/>
                <a:ea typeface="MS PGothic" pitchFamily="34" charset="-128"/>
              </a:rPr>
              <a:t>/proximity</a:t>
            </a:r>
          </a:p>
          <a:p>
            <a:pPr marL="455663" marR="0" lvl="0" indent="-455663" algn="l" defTabSz="914400" rtl="0" eaLnBrk="0" fontAlgn="base" latinLnBrk="0" hangingPunct="0">
              <a:lnSpc>
                <a:spcPct val="100000"/>
              </a:lnSpc>
              <a:spcBef>
                <a:spcPct val="20000"/>
              </a:spcBef>
              <a:spcAft>
                <a:spcPct val="0"/>
              </a:spcAft>
              <a:buClr>
                <a:srgbClr val="990000"/>
              </a:buClr>
              <a:buSzTx/>
              <a:buFontTx/>
              <a:buChar char="-"/>
              <a:tabLst/>
              <a:defRPr/>
            </a:pPr>
            <a:r>
              <a:rPr kumimoji="0" lang="en-US" sz="2400" b="0" i="0" u="none" strike="noStrike" kern="0" cap="none" spc="0" normalizeH="0" baseline="0" noProof="0" dirty="0">
                <a:ln>
                  <a:noFill/>
                </a:ln>
                <a:solidFill>
                  <a:srgbClr val="000000"/>
                </a:solidFill>
                <a:effectLst/>
                <a:uLnTx/>
                <a:uFillTx/>
                <a:latin typeface="Arial"/>
                <a:ea typeface="MS PGothic" pitchFamily="34" charset="-128"/>
              </a:rPr>
              <a:t>CRS/ICANS/Cytopenia</a:t>
            </a:r>
          </a:p>
          <a:p>
            <a:pPr marL="455663" marR="0" lvl="0" indent="-455663" algn="l" defTabSz="914400" rtl="0" eaLnBrk="0" fontAlgn="base" latinLnBrk="0" hangingPunct="0">
              <a:lnSpc>
                <a:spcPct val="100000"/>
              </a:lnSpc>
              <a:spcBef>
                <a:spcPct val="20000"/>
              </a:spcBef>
              <a:spcAft>
                <a:spcPct val="0"/>
              </a:spcAft>
              <a:buClr>
                <a:srgbClr val="990000"/>
              </a:buClr>
              <a:buSzTx/>
              <a:buFontTx/>
              <a:buChar char="-"/>
              <a:tabLst/>
              <a:defRPr/>
            </a:pPr>
            <a:r>
              <a:rPr kumimoji="0" lang="en-US" sz="2400" b="0" i="0" u="none" strike="noStrike" kern="0" cap="none" spc="0" normalizeH="0" baseline="0" noProof="0" dirty="0">
                <a:ln>
                  <a:noFill/>
                </a:ln>
                <a:solidFill>
                  <a:srgbClr val="000000"/>
                </a:solidFill>
                <a:effectLst/>
                <a:uLnTx/>
                <a:uFillTx/>
                <a:latin typeface="Arial"/>
                <a:ea typeface="MS PGothic" pitchFamily="34" charset="-128"/>
              </a:rPr>
              <a:t>Long-term Ig supplementation</a:t>
            </a:r>
          </a:p>
          <a:p>
            <a:pPr marL="455663" marR="0" lvl="0" indent="-455663" algn="l" defTabSz="914400" rtl="0" eaLnBrk="0" fontAlgn="base" latinLnBrk="0" hangingPunct="0">
              <a:lnSpc>
                <a:spcPct val="100000"/>
              </a:lnSpc>
              <a:spcBef>
                <a:spcPct val="20000"/>
              </a:spcBef>
              <a:spcAft>
                <a:spcPct val="0"/>
              </a:spcAft>
              <a:buClr>
                <a:srgbClr val="990000"/>
              </a:buClr>
              <a:buSzTx/>
              <a:buFontTx/>
              <a:buChar char="-"/>
              <a:tabLst/>
              <a:defRPr/>
            </a:pPr>
            <a:r>
              <a:rPr kumimoji="0" lang="en-US" sz="2400" b="0" i="0" u="none" strike="noStrike" kern="0" cap="none" spc="0" normalizeH="0" baseline="0" noProof="0" dirty="0">
                <a:ln>
                  <a:noFill/>
                </a:ln>
                <a:solidFill>
                  <a:srgbClr val="000000"/>
                </a:solidFill>
                <a:effectLst/>
                <a:uLnTx/>
                <a:uFillTx/>
                <a:latin typeface="Arial"/>
                <a:ea typeface="MS PGothic" pitchFamily="34" charset="-128"/>
              </a:rPr>
              <a:t>Long-term risks (MDS)?</a:t>
            </a:r>
          </a:p>
          <a:p>
            <a:pPr marL="0" marR="0" lvl="0" indent="0" algn="l" defTabSz="914400" rtl="0" eaLnBrk="0" fontAlgn="base" latinLnBrk="0" hangingPunct="0">
              <a:lnSpc>
                <a:spcPct val="100000"/>
              </a:lnSpc>
              <a:spcBef>
                <a:spcPct val="20000"/>
              </a:spcBef>
              <a:spcAft>
                <a:spcPct val="0"/>
              </a:spcAft>
              <a:buClr>
                <a:srgbClr val="990000"/>
              </a:buClr>
              <a:buSzTx/>
              <a:buFont typeface="Symbol" pitchFamily="18" charset="2"/>
              <a:buNone/>
              <a:tabLst/>
              <a:defRPr/>
            </a:pPr>
            <a:endParaRPr kumimoji="0" lang="en-US" sz="2400" b="0" i="0" u="none" strike="noStrike" kern="0" cap="none" spc="0" normalizeH="0" baseline="0" noProof="0" dirty="0">
              <a:ln>
                <a:noFill/>
              </a:ln>
              <a:solidFill>
                <a:srgbClr val="000000"/>
              </a:solidFill>
              <a:effectLst/>
              <a:uLnTx/>
              <a:uFillTx/>
              <a:latin typeface="Arial"/>
              <a:ea typeface="MS PGothic" pitchFamily="34" charset="-128"/>
            </a:endParaRPr>
          </a:p>
          <a:p>
            <a:pPr marL="0" marR="0" lvl="0" indent="0" algn="l" defTabSz="914400" rtl="0" eaLnBrk="0" fontAlgn="base" latinLnBrk="0" hangingPunct="0">
              <a:lnSpc>
                <a:spcPct val="100000"/>
              </a:lnSpc>
              <a:spcBef>
                <a:spcPct val="20000"/>
              </a:spcBef>
              <a:spcAft>
                <a:spcPct val="0"/>
              </a:spcAft>
              <a:buClr>
                <a:srgbClr val="990000"/>
              </a:buClr>
              <a:buSzTx/>
              <a:buFont typeface="Symbol" pitchFamily="18" charset="2"/>
              <a:buNone/>
              <a:tabLst/>
              <a:defRPr/>
            </a:pPr>
            <a:endParaRPr kumimoji="0" lang="en-US" sz="2400" b="0" i="0" u="none" strike="noStrike" kern="0" cap="none" spc="0" normalizeH="0" baseline="0" noProof="0" dirty="0">
              <a:ln>
                <a:noFill/>
              </a:ln>
              <a:solidFill>
                <a:srgbClr val="000000"/>
              </a:solidFill>
              <a:effectLst/>
              <a:uLnTx/>
              <a:uFillTx/>
              <a:latin typeface="Arial"/>
              <a:ea typeface="MS PGothic" pitchFamily="34" charset="-128"/>
            </a:endParaRPr>
          </a:p>
        </p:txBody>
      </p:sp>
    </p:spTree>
    <p:extLst>
      <p:ext uri="{BB962C8B-B14F-4D97-AF65-F5344CB8AC3E}">
        <p14:creationId xmlns:p14="http://schemas.microsoft.com/office/powerpoint/2010/main" val="17685432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object 4" descr="$PPTXTitle"/>
          <p:cNvSpPr txBox="1">
            <a:spLocks noGrp="1"/>
          </p:cNvSpPr>
          <p:nvPr>
            <p:ph type="title"/>
          </p:nvPr>
        </p:nvSpPr>
        <p:spPr>
          <a:xfrm>
            <a:off x="560692" y="203214"/>
            <a:ext cx="9304761" cy="504625"/>
          </a:xfrm>
          <a:prstGeom prst="rect">
            <a:avLst/>
          </a:prstGeom>
        </p:spPr>
        <p:txBody>
          <a:bodyPr vert="horz" wrap="square" lIns="0" tIns="12065" rIns="0" bIns="0" rtlCol="0">
            <a:spAutoFit/>
          </a:bodyPr>
          <a:lstStyle/>
          <a:p>
            <a:pPr marL="12700">
              <a:lnSpc>
                <a:spcPct val="100000"/>
              </a:lnSpc>
              <a:spcBef>
                <a:spcPts val="95"/>
              </a:spcBef>
            </a:pPr>
            <a:r>
              <a:rPr lang="en-US" sz="3200" b="1" spc="-25" dirty="0">
                <a:solidFill>
                  <a:srgbClr val="002060"/>
                </a:solidFill>
                <a:latin typeface="Calibri" panose="020F0502020204030204" pitchFamily="34" charset="0"/>
                <a:cs typeface="Calibri" panose="020F0502020204030204" pitchFamily="34" charset="0"/>
              </a:rPr>
              <a:t>ZUMA-</a:t>
            </a:r>
            <a:r>
              <a:rPr lang="en-US" sz="3200" b="1" dirty="0">
                <a:solidFill>
                  <a:srgbClr val="002060"/>
                </a:solidFill>
                <a:latin typeface="Calibri" panose="020F0502020204030204" pitchFamily="34" charset="0"/>
                <a:cs typeface="Calibri" panose="020F0502020204030204" pitchFamily="34" charset="0"/>
              </a:rPr>
              <a:t>22</a:t>
            </a:r>
            <a:r>
              <a:rPr lang="en-US" sz="3200" b="1" spc="-20" dirty="0">
                <a:solidFill>
                  <a:srgbClr val="002060"/>
                </a:solidFill>
                <a:latin typeface="Calibri" panose="020F0502020204030204" pitchFamily="34" charset="0"/>
                <a:cs typeface="Calibri" panose="020F0502020204030204" pitchFamily="34" charset="0"/>
              </a:rPr>
              <a:t> </a:t>
            </a:r>
            <a:r>
              <a:rPr lang="en-US" sz="3200" b="1" dirty="0">
                <a:solidFill>
                  <a:srgbClr val="002060"/>
                </a:solidFill>
                <a:latin typeface="Calibri" panose="020F0502020204030204" pitchFamily="34" charset="0"/>
                <a:cs typeface="Calibri" panose="020F0502020204030204" pitchFamily="34" charset="0"/>
              </a:rPr>
              <a:t>Study</a:t>
            </a:r>
            <a:r>
              <a:rPr lang="en-US" sz="3200" b="1" spc="-60" dirty="0">
                <a:solidFill>
                  <a:srgbClr val="002060"/>
                </a:solidFill>
                <a:latin typeface="Calibri" panose="020F0502020204030204" pitchFamily="34" charset="0"/>
                <a:cs typeface="Calibri" panose="020F0502020204030204" pitchFamily="34" charset="0"/>
              </a:rPr>
              <a:t> </a:t>
            </a:r>
            <a:r>
              <a:rPr lang="en-US" sz="3200" b="1" dirty="0">
                <a:solidFill>
                  <a:srgbClr val="002060"/>
                </a:solidFill>
                <a:latin typeface="Calibri" panose="020F0502020204030204" pitchFamily="34" charset="0"/>
                <a:cs typeface="Calibri" panose="020F0502020204030204" pitchFamily="34" charset="0"/>
              </a:rPr>
              <a:t>Design</a:t>
            </a:r>
            <a:r>
              <a:rPr lang="en-US" sz="3200" b="1" spc="-40" dirty="0">
                <a:solidFill>
                  <a:srgbClr val="002060"/>
                </a:solidFill>
                <a:latin typeface="Calibri" panose="020F0502020204030204" pitchFamily="34" charset="0"/>
                <a:cs typeface="Calibri" panose="020F0502020204030204" pitchFamily="34" charset="0"/>
              </a:rPr>
              <a:t> </a:t>
            </a:r>
            <a:r>
              <a:rPr lang="en-US" sz="3200" b="1" dirty="0">
                <a:solidFill>
                  <a:srgbClr val="002060"/>
                </a:solidFill>
                <a:latin typeface="Calibri" panose="020F0502020204030204" pitchFamily="34" charset="0"/>
                <a:cs typeface="Calibri" panose="020F0502020204030204" pitchFamily="34" charset="0"/>
              </a:rPr>
              <a:t>and</a:t>
            </a:r>
            <a:r>
              <a:rPr lang="en-US" sz="3200" b="1" spc="-100" dirty="0">
                <a:solidFill>
                  <a:srgbClr val="002060"/>
                </a:solidFill>
                <a:latin typeface="Calibri" panose="020F0502020204030204" pitchFamily="34" charset="0"/>
                <a:cs typeface="Calibri" panose="020F0502020204030204" pitchFamily="34" charset="0"/>
              </a:rPr>
              <a:t> </a:t>
            </a:r>
            <a:r>
              <a:rPr lang="en-US" sz="3200" b="1" spc="-10" dirty="0">
                <a:solidFill>
                  <a:srgbClr val="002060"/>
                </a:solidFill>
                <a:latin typeface="Calibri" panose="020F0502020204030204" pitchFamily="34" charset="0"/>
                <a:cs typeface="Calibri" panose="020F0502020204030204" pitchFamily="34" charset="0"/>
              </a:rPr>
              <a:t>Treatment</a:t>
            </a:r>
            <a:r>
              <a:rPr lang="en-US" sz="3200" b="1" spc="-40" dirty="0">
                <a:solidFill>
                  <a:srgbClr val="002060"/>
                </a:solidFill>
                <a:latin typeface="Calibri" panose="020F0502020204030204" pitchFamily="34" charset="0"/>
                <a:cs typeface="Calibri" panose="020F0502020204030204" pitchFamily="34" charset="0"/>
              </a:rPr>
              <a:t> </a:t>
            </a:r>
            <a:r>
              <a:rPr lang="en-US" sz="3200" b="1" spc="-10" dirty="0">
                <a:solidFill>
                  <a:srgbClr val="002060"/>
                </a:solidFill>
                <a:latin typeface="Calibri" panose="020F0502020204030204" pitchFamily="34" charset="0"/>
                <a:cs typeface="Calibri" panose="020F0502020204030204" pitchFamily="34" charset="0"/>
              </a:rPr>
              <a:t>Schema</a:t>
            </a:r>
          </a:p>
        </p:txBody>
      </p:sp>
      <p:pic>
        <p:nvPicPr>
          <p:cNvPr id="7" name="object 7"/>
          <p:cNvPicPr/>
          <p:nvPr/>
        </p:nvPicPr>
        <p:blipFill>
          <a:blip r:embed="rId3" cstate="print"/>
          <a:stretch>
            <a:fillRect/>
          </a:stretch>
        </p:blipFill>
        <p:spPr>
          <a:xfrm>
            <a:off x="1248156" y="4918590"/>
            <a:ext cx="9727691" cy="1051559"/>
          </a:xfrm>
          <a:prstGeom prst="rect">
            <a:avLst/>
          </a:prstGeom>
        </p:spPr>
      </p:pic>
      <p:sp>
        <p:nvSpPr>
          <p:cNvPr id="8" name="object 8"/>
          <p:cNvSpPr txBox="1"/>
          <p:nvPr/>
        </p:nvSpPr>
        <p:spPr>
          <a:xfrm>
            <a:off x="1511621" y="4928644"/>
            <a:ext cx="1865630" cy="431165"/>
          </a:xfrm>
          <a:prstGeom prst="rect">
            <a:avLst/>
          </a:prstGeom>
        </p:spPr>
        <p:txBody>
          <a:bodyPr vert="horz" wrap="square" lIns="0" tIns="32384" rIns="0" bIns="0" rtlCol="0">
            <a:spAutoFit/>
          </a:bodyPr>
          <a:lstStyle/>
          <a:p>
            <a:pPr marL="12700" marR="0" lvl="0" indent="0" algn="l" defTabSz="914400" rtl="0" eaLnBrk="1" fontAlgn="auto" latinLnBrk="0" hangingPunct="1">
              <a:lnSpc>
                <a:spcPct val="100000"/>
              </a:lnSpc>
              <a:spcBef>
                <a:spcPts val="254"/>
              </a:spcBef>
              <a:spcAft>
                <a:spcPts val="0"/>
              </a:spcAft>
              <a:buClrTx/>
              <a:buSzTx/>
              <a:buFontTx/>
              <a:buNone/>
              <a:tabLst/>
              <a:defRPr/>
            </a:pPr>
            <a:r>
              <a:rPr kumimoji="0" lang="en-US" sz="1200" b="1" i="0" u="none" strike="noStrike" kern="0" cap="none" spc="0" normalizeH="0" baseline="0" noProof="0" dirty="0">
                <a:ln>
                  <a:noFill/>
                </a:ln>
                <a:solidFill>
                  <a:sysClr val="windowText" lastClr="000000"/>
                </a:solidFill>
                <a:effectLst/>
                <a:uLnTx/>
                <a:uFillTx/>
                <a:latin typeface="Arial"/>
                <a:ea typeface="+mn-ea"/>
                <a:cs typeface="Arial"/>
              </a:rPr>
              <a:t>Primary</a:t>
            </a:r>
            <a:r>
              <a:rPr kumimoji="0" lang="en-US" sz="1200" b="1" i="0" u="none" strike="noStrike" kern="0" cap="none" spc="-40" normalizeH="0" baseline="0" noProof="0" dirty="0">
                <a:ln>
                  <a:noFill/>
                </a:ln>
                <a:solidFill>
                  <a:sysClr val="windowText" lastClr="000000"/>
                </a:solidFill>
                <a:effectLst/>
                <a:uLnTx/>
                <a:uFillTx/>
                <a:latin typeface="Arial"/>
                <a:ea typeface="+mn-ea"/>
                <a:cs typeface="Arial"/>
              </a:rPr>
              <a:t> </a:t>
            </a:r>
            <a:r>
              <a:rPr kumimoji="0" lang="en-US" sz="1200" b="1" i="0" u="none" strike="noStrike" kern="0" cap="none" spc="-10" normalizeH="0" baseline="0" noProof="0" dirty="0">
                <a:ln>
                  <a:noFill/>
                </a:ln>
                <a:solidFill>
                  <a:sysClr val="windowText" lastClr="000000"/>
                </a:solidFill>
                <a:effectLst/>
                <a:uLnTx/>
                <a:uFillTx/>
                <a:latin typeface="Arial"/>
                <a:ea typeface="+mn-ea"/>
                <a:cs typeface="Arial"/>
              </a:rPr>
              <a:t>Endpoint</a:t>
            </a:r>
            <a:endParaRPr kumimoji="0" lang="en-US" sz="1200" b="0" i="0" u="none" strike="noStrike" kern="0" cap="none" spc="0" normalizeH="0" baseline="0" noProof="0" dirty="0">
              <a:ln>
                <a:noFill/>
              </a:ln>
              <a:solidFill>
                <a:sysClr val="windowText" lastClr="000000"/>
              </a:solidFill>
              <a:effectLst/>
              <a:uLnTx/>
              <a:uFillTx/>
              <a:latin typeface="Arial"/>
              <a:ea typeface="+mn-ea"/>
              <a:cs typeface="Arial"/>
            </a:endParaRPr>
          </a:p>
          <a:p>
            <a:pPr marL="170180" marR="0" lvl="0" indent="-132080" algn="l" defTabSz="914400" rtl="0" eaLnBrk="1" fontAlgn="auto" latinLnBrk="0" hangingPunct="1">
              <a:lnSpc>
                <a:spcPct val="100000"/>
              </a:lnSpc>
              <a:spcBef>
                <a:spcPts val="155"/>
              </a:spcBef>
              <a:spcAft>
                <a:spcPts val="0"/>
              </a:spcAft>
              <a:buClrTx/>
              <a:buSzTx/>
              <a:buFontTx/>
              <a:buChar char="•"/>
              <a:tabLst>
                <a:tab pos="170180" algn="l"/>
              </a:tabLst>
              <a:defRPr/>
            </a:pPr>
            <a:r>
              <a:rPr kumimoji="0" lang="en-US" sz="1200" b="0" i="0" u="none" strike="noStrike" kern="0" cap="none" spc="-10" normalizeH="0" baseline="0" noProof="0" dirty="0">
                <a:ln>
                  <a:noFill/>
                </a:ln>
                <a:solidFill>
                  <a:sysClr val="windowText" lastClr="000000"/>
                </a:solidFill>
                <a:effectLst/>
                <a:uLnTx/>
                <a:uFillTx/>
                <a:latin typeface="Arial"/>
                <a:ea typeface="+mn-ea"/>
                <a:cs typeface="Arial"/>
              </a:rPr>
              <a:t>Progression-</a:t>
            </a:r>
            <a:r>
              <a:rPr kumimoji="0" lang="en-US" sz="1200" b="0" i="0" u="none" strike="noStrike" kern="0" cap="none" spc="0" normalizeH="0" baseline="0" noProof="0" dirty="0">
                <a:ln>
                  <a:noFill/>
                </a:ln>
                <a:solidFill>
                  <a:sysClr val="windowText" lastClr="000000"/>
                </a:solidFill>
                <a:effectLst/>
                <a:uLnTx/>
                <a:uFillTx/>
                <a:latin typeface="Arial"/>
                <a:ea typeface="+mn-ea"/>
                <a:cs typeface="Arial"/>
              </a:rPr>
              <a:t>free</a:t>
            </a:r>
            <a:r>
              <a:rPr kumimoji="0" lang="en-US" sz="1200" b="0" i="0" u="none" strike="noStrike" kern="0" cap="none" spc="55" normalizeH="0" baseline="0" noProof="0" dirty="0">
                <a:ln>
                  <a:noFill/>
                </a:ln>
                <a:solidFill>
                  <a:sysClr val="windowText" lastClr="000000"/>
                </a:solidFill>
                <a:effectLst/>
                <a:uLnTx/>
                <a:uFillTx/>
                <a:latin typeface="Arial"/>
                <a:ea typeface="+mn-ea"/>
                <a:cs typeface="Arial"/>
              </a:rPr>
              <a:t> </a:t>
            </a:r>
            <a:r>
              <a:rPr kumimoji="0" lang="en-US" sz="1200" b="0" i="0" u="none" strike="noStrike" kern="0" cap="none" spc="-10" normalizeH="0" baseline="0" noProof="0" dirty="0">
                <a:ln>
                  <a:noFill/>
                </a:ln>
                <a:solidFill>
                  <a:sysClr val="windowText" lastClr="000000"/>
                </a:solidFill>
                <a:effectLst/>
                <a:uLnTx/>
                <a:uFillTx/>
                <a:latin typeface="Arial"/>
                <a:ea typeface="+mn-ea"/>
                <a:cs typeface="Arial"/>
              </a:rPr>
              <a:t>survival</a:t>
            </a:r>
            <a:endParaRPr kumimoji="0" lang="en-US" sz="1200" b="0" i="0" u="none" strike="noStrike" kern="0" cap="none" spc="0" normalizeH="0" baseline="0" noProof="0" dirty="0">
              <a:ln>
                <a:noFill/>
              </a:ln>
              <a:solidFill>
                <a:sysClr val="windowText" lastClr="000000"/>
              </a:solidFill>
              <a:effectLst/>
              <a:uLnTx/>
              <a:uFillTx/>
              <a:latin typeface="Arial"/>
              <a:ea typeface="+mn-ea"/>
              <a:cs typeface="Arial"/>
            </a:endParaRPr>
          </a:p>
        </p:txBody>
      </p:sp>
      <p:sp>
        <p:nvSpPr>
          <p:cNvPr id="9" name="object 9"/>
          <p:cNvSpPr txBox="1"/>
          <p:nvPr/>
        </p:nvSpPr>
        <p:spPr>
          <a:xfrm>
            <a:off x="3618551" y="4928644"/>
            <a:ext cx="1827530" cy="431165"/>
          </a:xfrm>
          <a:prstGeom prst="rect">
            <a:avLst/>
          </a:prstGeom>
        </p:spPr>
        <p:txBody>
          <a:bodyPr vert="horz" wrap="square" lIns="0" tIns="32384" rIns="0" bIns="0" rtlCol="0">
            <a:spAutoFit/>
          </a:bodyPr>
          <a:lstStyle/>
          <a:p>
            <a:pPr marL="12700" marR="0" lvl="0" indent="0" algn="l" defTabSz="914400" rtl="0" eaLnBrk="1" fontAlgn="auto" latinLnBrk="0" hangingPunct="1">
              <a:lnSpc>
                <a:spcPct val="100000"/>
              </a:lnSpc>
              <a:spcBef>
                <a:spcPts val="254"/>
              </a:spcBef>
              <a:spcAft>
                <a:spcPts val="0"/>
              </a:spcAft>
              <a:buClrTx/>
              <a:buSzTx/>
              <a:buFontTx/>
              <a:buNone/>
              <a:tabLst/>
              <a:defRPr/>
            </a:pPr>
            <a:r>
              <a:rPr kumimoji="0" lang="en-US" sz="1200" b="1" i="0" u="none" strike="noStrike" kern="0" cap="none" spc="0" normalizeH="0" baseline="0" noProof="0" dirty="0">
                <a:ln>
                  <a:noFill/>
                </a:ln>
                <a:solidFill>
                  <a:sysClr val="windowText" lastClr="000000"/>
                </a:solidFill>
                <a:effectLst/>
                <a:uLnTx/>
                <a:uFillTx/>
                <a:latin typeface="Arial"/>
                <a:ea typeface="+mn-ea"/>
                <a:cs typeface="Arial"/>
              </a:rPr>
              <a:t>Key</a:t>
            </a:r>
            <a:r>
              <a:rPr kumimoji="0" lang="en-US" sz="1200" b="1" i="0" u="none" strike="noStrike" kern="0" cap="none" spc="-45" normalizeH="0" baseline="0" noProof="0" dirty="0">
                <a:ln>
                  <a:noFill/>
                </a:ln>
                <a:solidFill>
                  <a:sysClr val="windowText" lastClr="000000"/>
                </a:solidFill>
                <a:effectLst/>
                <a:uLnTx/>
                <a:uFillTx/>
                <a:latin typeface="Arial"/>
                <a:ea typeface="+mn-ea"/>
                <a:cs typeface="Arial"/>
              </a:rPr>
              <a:t> </a:t>
            </a:r>
            <a:r>
              <a:rPr kumimoji="0" lang="en-US" sz="1200" b="1" i="0" u="none" strike="noStrike" kern="0" cap="none" spc="0" normalizeH="0" baseline="0" noProof="0" dirty="0">
                <a:ln>
                  <a:noFill/>
                </a:ln>
                <a:solidFill>
                  <a:sysClr val="windowText" lastClr="000000"/>
                </a:solidFill>
                <a:effectLst/>
                <a:uLnTx/>
                <a:uFillTx/>
                <a:latin typeface="Arial"/>
                <a:ea typeface="+mn-ea"/>
                <a:cs typeface="Arial"/>
              </a:rPr>
              <a:t>Secondary</a:t>
            </a:r>
            <a:r>
              <a:rPr kumimoji="0" lang="en-US" sz="1200" b="1" i="0" u="none" strike="noStrike" kern="0" cap="none" spc="-45" normalizeH="0" baseline="0" noProof="0" dirty="0">
                <a:ln>
                  <a:noFill/>
                </a:ln>
                <a:solidFill>
                  <a:sysClr val="windowText" lastClr="000000"/>
                </a:solidFill>
                <a:effectLst/>
                <a:uLnTx/>
                <a:uFillTx/>
                <a:latin typeface="Arial"/>
                <a:ea typeface="+mn-ea"/>
                <a:cs typeface="Arial"/>
              </a:rPr>
              <a:t> </a:t>
            </a:r>
            <a:r>
              <a:rPr kumimoji="0" lang="en-US" sz="1200" b="1" i="0" u="none" strike="noStrike" kern="0" cap="none" spc="-10" normalizeH="0" baseline="0" noProof="0" dirty="0">
                <a:ln>
                  <a:noFill/>
                </a:ln>
                <a:solidFill>
                  <a:sysClr val="windowText" lastClr="000000"/>
                </a:solidFill>
                <a:effectLst/>
                <a:uLnTx/>
                <a:uFillTx/>
                <a:latin typeface="Arial"/>
                <a:ea typeface="+mn-ea"/>
                <a:cs typeface="Arial"/>
              </a:rPr>
              <a:t>Endpoint</a:t>
            </a:r>
            <a:endParaRPr kumimoji="0" lang="en-US" sz="1200" b="0" i="0" u="none" strike="noStrike" kern="0" cap="none" spc="0" normalizeH="0" baseline="0" noProof="0" dirty="0">
              <a:ln>
                <a:noFill/>
              </a:ln>
              <a:solidFill>
                <a:sysClr val="windowText" lastClr="000000"/>
              </a:solidFill>
              <a:effectLst/>
              <a:uLnTx/>
              <a:uFillTx/>
              <a:latin typeface="Arial"/>
              <a:ea typeface="+mn-ea"/>
              <a:cs typeface="Arial"/>
            </a:endParaRPr>
          </a:p>
          <a:p>
            <a:pPr marL="144780" marR="0" lvl="0" indent="-132080" algn="l" defTabSz="914400" rtl="0" eaLnBrk="1" fontAlgn="auto" latinLnBrk="0" hangingPunct="1">
              <a:lnSpc>
                <a:spcPct val="100000"/>
              </a:lnSpc>
              <a:spcBef>
                <a:spcPts val="155"/>
              </a:spcBef>
              <a:spcAft>
                <a:spcPts val="0"/>
              </a:spcAft>
              <a:buClrTx/>
              <a:buSzTx/>
              <a:buFontTx/>
              <a:buChar char="•"/>
              <a:tabLst>
                <a:tab pos="144780" algn="l"/>
              </a:tabLst>
              <a:defRPr/>
            </a:pPr>
            <a:r>
              <a:rPr kumimoji="0" lang="en-US" sz="1200" b="0" i="0" u="none" strike="noStrike" kern="0" cap="none" spc="0" normalizeH="0" baseline="0" noProof="0" dirty="0">
                <a:ln>
                  <a:noFill/>
                </a:ln>
                <a:solidFill>
                  <a:sysClr val="windowText" lastClr="000000"/>
                </a:solidFill>
                <a:effectLst/>
                <a:uLnTx/>
                <a:uFillTx/>
                <a:latin typeface="Arial"/>
                <a:ea typeface="+mn-ea"/>
                <a:cs typeface="Arial"/>
              </a:rPr>
              <a:t>Complete</a:t>
            </a:r>
            <a:r>
              <a:rPr kumimoji="0" lang="en-US" sz="1200" b="0" i="0" u="none" strike="noStrike" kern="0" cap="none" spc="-50" normalizeH="0" baseline="0" noProof="0" dirty="0">
                <a:ln>
                  <a:noFill/>
                </a:ln>
                <a:solidFill>
                  <a:sysClr val="windowText" lastClr="000000"/>
                </a:solidFill>
                <a:effectLst/>
                <a:uLnTx/>
                <a:uFillTx/>
                <a:latin typeface="Arial"/>
                <a:ea typeface="+mn-ea"/>
                <a:cs typeface="Arial"/>
              </a:rPr>
              <a:t> </a:t>
            </a:r>
            <a:r>
              <a:rPr kumimoji="0" lang="en-US" sz="1200" b="0" i="0" u="none" strike="noStrike" kern="0" cap="none" spc="0" normalizeH="0" baseline="0" noProof="0" dirty="0">
                <a:ln>
                  <a:noFill/>
                </a:ln>
                <a:solidFill>
                  <a:sysClr val="windowText" lastClr="000000"/>
                </a:solidFill>
                <a:effectLst/>
                <a:uLnTx/>
                <a:uFillTx/>
                <a:latin typeface="Arial"/>
                <a:ea typeface="+mn-ea"/>
                <a:cs typeface="Arial"/>
              </a:rPr>
              <a:t>response</a:t>
            </a:r>
            <a:r>
              <a:rPr kumimoji="0" lang="en-US" sz="1200" b="0" i="0" u="none" strike="noStrike" kern="0" cap="none" spc="-35" normalizeH="0" baseline="0" noProof="0" dirty="0">
                <a:ln>
                  <a:noFill/>
                </a:ln>
                <a:solidFill>
                  <a:sysClr val="windowText" lastClr="000000"/>
                </a:solidFill>
                <a:effectLst/>
                <a:uLnTx/>
                <a:uFillTx/>
                <a:latin typeface="Arial"/>
                <a:ea typeface="+mn-ea"/>
                <a:cs typeface="Arial"/>
              </a:rPr>
              <a:t> </a:t>
            </a:r>
            <a:r>
              <a:rPr kumimoji="0" lang="en-US" sz="1200" b="0" i="0" u="none" strike="noStrike" kern="0" cap="none" spc="-20" normalizeH="0" baseline="0" noProof="0" dirty="0">
                <a:ln>
                  <a:noFill/>
                </a:ln>
                <a:solidFill>
                  <a:sysClr val="windowText" lastClr="000000"/>
                </a:solidFill>
                <a:effectLst/>
                <a:uLnTx/>
                <a:uFillTx/>
                <a:latin typeface="Arial"/>
                <a:ea typeface="+mn-ea"/>
                <a:cs typeface="Arial"/>
              </a:rPr>
              <a:t>rate</a:t>
            </a:r>
            <a:endParaRPr kumimoji="0" lang="en-US" sz="1200" b="0" i="0" u="none" strike="noStrike" kern="0" cap="none" spc="0" normalizeH="0" baseline="0" noProof="0" dirty="0">
              <a:ln>
                <a:noFill/>
              </a:ln>
              <a:solidFill>
                <a:sysClr val="windowText" lastClr="000000"/>
              </a:solidFill>
              <a:effectLst/>
              <a:uLnTx/>
              <a:uFillTx/>
              <a:latin typeface="Arial"/>
              <a:ea typeface="+mn-ea"/>
              <a:cs typeface="Arial"/>
            </a:endParaRPr>
          </a:p>
        </p:txBody>
      </p:sp>
      <p:sp>
        <p:nvSpPr>
          <p:cNvPr id="10" name="object 10"/>
          <p:cNvSpPr txBox="1"/>
          <p:nvPr/>
        </p:nvSpPr>
        <p:spPr>
          <a:xfrm>
            <a:off x="5730406" y="4928644"/>
            <a:ext cx="2256155" cy="1038860"/>
          </a:xfrm>
          <a:prstGeom prst="rect">
            <a:avLst/>
          </a:prstGeom>
        </p:spPr>
        <p:txBody>
          <a:bodyPr vert="horz" wrap="square" lIns="0" tIns="32384" rIns="0" bIns="0" rtlCol="0">
            <a:spAutoFit/>
          </a:bodyPr>
          <a:lstStyle/>
          <a:p>
            <a:pPr marL="12700" marR="0" lvl="0" indent="0" algn="l" defTabSz="914400" rtl="0" eaLnBrk="1" fontAlgn="auto" latinLnBrk="0" hangingPunct="1">
              <a:lnSpc>
                <a:spcPct val="100000"/>
              </a:lnSpc>
              <a:spcBef>
                <a:spcPts val="254"/>
              </a:spcBef>
              <a:spcAft>
                <a:spcPts val="0"/>
              </a:spcAft>
              <a:buClrTx/>
              <a:buSzTx/>
              <a:buFontTx/>
              <a:buNone/>
              <a:tabLst/>
              <a:defRPr/>
            </a:pPr>
            <a:r>
              <a:rPr kumimoji="0" lang="en-US" sz="1200" b="1" i="0" u="none" strike="noStrike" kern="0" cap="none" spc="0" normalizeH="0" baseline="0" noProof="0" dirty="0">
                <a:ln>
                  <a:noFill/>
                </a:ln>
                <a:solidFill>
                  <a:sysClr val="windowText" lastClr="000000"/>
                </a:solidFill>
                <a:effectLst/>
                <a:uLnTx/>
                <a:uFillTx/>
                <a:latin typeface="Arial"/>
                <a:ea typeface="+mn-ea"/>
                <a:cs typeface="Arial"/>
              </a:rPr>
              <a:t>Secondary</a:t>
            </a:r>
            <a:r>
              <a:rPr kumimoji="0" lang="en-US" sz="1200" b="1" i="0" u="none" strike="noStrike" kern="0" cap="none" spc="-65" normalizeH="0" baseline="0" noProof="0" dirty="0">
                <a:ln>
                  <a:noFill/>
                </a:ln>
                <a:solidFill>
                  <a:sysClr val="windowText" lastClr="000000"/>
                </a:solidFill>
                <a:effectLst/>
                <a:uLnTx/>
                <a:uFillTx/>
                <a:latin typeface="Arial"/>
                <a:ea typeface="+mn-ea"/>
                <a:cs typeface="Arial"/>
              </a:rPr>
              <a:t> </a:t>
            </a:r>
            <a:r>
              <a:rPr kumimoji="0" lang="en-US" sz="1200" b="1" i="0" u="none" strike="noStrike" kern="0" cap="none" spc="-10" normalizeH="0" baseline="0" noProof="0" dirty="0">
                <a:ln>
                  <a:noFill/>
                </a:ln>
                <a:solidFill>
                  <a:sysClr val="windowText" lastClr="000000"/>
                </a:solidFill>
                <a:effectLst/>
                <a:uLnTx/>
                <a:uFillTx/>
                <a:latin typeface="Arial"/>
                <a:ea typeface="+mn-ea"/>
                <a:cs typeface="Arial"/>
              </a:rPr>
              <a:t>Endpoints</a:t>
            </a:r>
            <a:endParaRPr kumimoji="0" lang="en-US" sz="1200" b="0" i="0" u="none" strike="noStrike" kern="0" cap="none" spc="0" normalizeH="0" baseline="0" noProof="0" dirty="0">
              <a:ln>
                <a:noFill/>
              </a:ln>
              <a:solidFill>
                <a:sysClr val="windowText" lastClr="000000"/>
              </a:solidFill>
              <a:effectLst/>
              <a:uLnTx/>
              <a:uFillTx/>
              <a:latin typeface="Arial"/>
              <a:ea typeface="+mn-ea"/>
              <a:cs typeface="Arial"/>
            </a:endParaRPr>
          </a:p>
          <a:p>
            <a:pPr marL="170180" marR="0" lvl="0" indent="-137795" algn="l" defTabSz="914400" rtl="0" eaLnBrk="1" fontAlgn="auto" latinLnBrk="0" hangingPunct="1">
              <a:lnSpc>
                <a:spcPct val="100000"/>
              </a:lnSpc>
              <a:spcBef>
                <a:spcPts val="155"/>
              </a:spcBef>
              <a:spcAft>
                <a:spcPts val="0"/>
              </a:spcAft>
              <a:buClrTx/>
              <a:buSzTx/>
              <a:buFontTx/>
              <a:buChar char="•"/>
              <a:tabLst>
                <a:tab pos="170180" algn="l"/>
              </a:tabLst>
              <a:defRPr/>
            </a:pPr>
            <a:r>
              <a:rPr kumimoji="0" lang="en-US" sz="1200" b="0" i="0" u="none" strike="noStrike" kern="0" cap="none" spc="0" normalizeH="0" baseline="0" noProof="0" dirty="0">
                <a:ln>
                  <a:noFill/>
                </a:ln>
                <a:solidFill>
                  <a:sysClr val="windowText" lastClr="000000"/>
                </a:solidFill>
                <a:effectLst/>
                <a:uLnTx/>
                <a:uFillTx/>
                <a:latin typeface="Arial"/>
                <a:ea typeface="+mn-ea"/>
                <a:cs typeface="Arial"/>
              </a:rPr>
              <a:t>Overall</a:t>
            </a:r>
            <a:r>
              <a:rPr kumimoji="0" lang="en-US" sz="1200" b="0" i="0" u="none" strike="noStrike" kern="0" cap="none" spc="-25" normalizeH="0" baseline="0" noProof="0" dirty="0">
                <a:ln>
                  <a:noFill/>
                </a:ln>
                <a:solidFill>
                  <a:sysClr val="windowText" lastClr="000000"/>
                </a:solidFill>
                <a:effectLst/>
                <a:uLnTx/>
                <a:uFillTx/>
                <a:latin typeface="Arial"/>
                <a:ea typeface="+mn-ea"/>
                <a:cs typeface="Arial"/>
              </a:rPr>
              <a:t> </a:t>
            </a:r>
            <a:r>
              <a:rPr kumimoji="0" lang="en-US" sz="1200" b="0" i="0" u="none" strike="noStrike" kern="0" cap="none" spc="0" normalizeH="0" baseline="0" noProof="0" dirty="0">
                <a:ln>
                  <a:noFill/>
                </a:ln>
                <a:solidFill>
                  <a:sysClr val="windowText" lastClr="000000"/>
                </a:solidFill>
                <a:effectLst/>
                <a:uLnTx/>
                <a:uFillTx/>
                <a:latin typeface="Arial"/>
                <a:ea typeface="+mn-ea"/>
                <a:cs typeface="Arial"/>
              </a:rPr>
              <a:t>response</a:t>
            </a:r>
            <a:r>
              <a:rPr kumimoji="0" lang="en-US" sz="1200" b="0" i="0" u="none" strike="noStrike" kern="0" cap="none" spc="-65" normalizeH="0" baseline="0" noProof="0" dirty="0">
                <a:ln>
                  <a:noFill/>
                </a:ln>
                <a:solidFill>
                  <a:sysClr val="windowText" lastClr="000000"/>
                </a:solidFill>
                <a:effectLst/>
                <a:uLnTx/>
                <a:uFillTx/>
                <a:latin typeface="Arial"/>
                <a:ea typeface="+mn-ea"/>
                <a:cs typeface="Arial"/>
              </a:rPr>
              <a:t> </a:t>
            </a:r>
            <a:r>
              <a:rPr kumimoji="0" lang="en-US" sz="1200" b="0" i="0" u="none" strike="noStrike" kern="0" cap="none" spc="-20" normalizeH="0" baseline="0" noProof="0" dirty="0">
                <a:ln>
                  <a:noFill/>
                </a:ln>
                <a:solidFill>
                  <a:sysClr val="windowText" lastClr="000000"/>
                </a:solidFill>
                <a:effectLst/>
                <a:uLnTx/>
                <a:uFillTx/>
                <a:latin typeface="Arial"/>
                <a:ea typeface="+mn-ea"/>
                <a:cs typeface="Arial"/>
              </a:rPr>
              <a:t>rate</a:t>
            </a:r>
            <a:endParaRPr kumimoji="0" lang="en-US" sz="1200" b="0" i="0" u="none" strike="noStrike" kern="0" cap="none" spc="0" normalizeH="0" baseline="0" noProof="0" dirty="0">
              <a:ln>
                <a:noFill/>
              </a:ln>
              <a:solidFill>
                <a:sysClr val="windowText" lastClr="000000"/>
              </a:solidFill>
              <a:effectLst/>
              <a:uLnTx/>
              <a:uFillTx/>
              <a:latin typeface="Arial"/>
              <a:ea typeface="+mn-ea"/>
              <a:cs typeface="Arial"/>
            </a:endParaRPr>
          </a:p>
          <a:p>
            <a:pPr marL="170180" marR="0" lvl="0" indent="-137795" algn="l" defTabSz="914400" rtl="0" eaLnBrk="1" fontAlgn="auto" latinLnBrk="0" hangingPunct="1">
              <a:lnSpc>
                <a:spcPct val="100000"/>
              </a:lnSpc>
              <a:spcBef>
                <a:spcPts val="155"/>
              </a:spcBef>
              <a:spcAft>
                <a:spcPts val="0"/>
              </a:spcAft>
              <a:buClrTx/>
              <a:buSzTx/>
              <a:buFontTx/>
              <a:buChar char="•"/>
              <a:tabLst>
                <a:tab pos="170180" algn="l"/>
              </a:tabLst>
              <a:defRPr/>
            </a:pPr>
            <a:r>
              <a:rPr kumimoji="0" lang="en-US" sz="1200" b="0" i="0" u="none" strike="noStrike" kern="0" cap="none" spc="0" normalizeH="0" baseline="0" noProof="0" dirty="0">
                <a:ln>
                  <a:noFill/>
                </a:ln>
                <a:solidFill>
                  <a:sysClr val="windowText" lastClr="000000"/>
                </a:solidFill>
                <a:effectLst/>
                <a:uLnTx/>
                <a:uFillTx/>
                <a:latin typeface="Arial"/>
                <a:ea typeface="+mn-ea"/>
                <a:cs typeface="Arial"/>
              </a:rPr>
              <a:t>Duration</a:t>
            </a:r>
            <a:r>
              <a:rPr kumimoji="0" lang="en-US" sz="1200" b="0" i="0" u="none" strike="noStrike" kern="0" cap="none" spc="-35" normalizeH="0" baseline="0" noProof="0" dirty="0">
                <a:ln>
                  <a:noFill/>
                </a:ln>
                <a:solidFill>
                  <a:sysClr val="windowText" lastClr="000000"/>
                </a:solidFill>
                <a:effectLst/>
                <a:uLnTx/>
                <a:uFillTx/>
                <a:latin typeface="Arial"/>
                <a:ea typeface="+mn-ea"/>
                <a:cs typeface="Arial"/>
              </a:rPr>
              <a:t> </a:t>
            </a:r>
            <a:r>
              <a:rPr kumimoji="0" lang="en-US" sz="1200" b="0" i="0" u="none" strike="noStrike" kern="0" cap="none" spc="0" normalizeH="0" baseline="0" noProof="0" dirty="0">
                <a:ln>
                  <a:noFill/>
                </a:ln>
                <a:solidFill>
                  <a:sysClr val="windowText" lastClr="000000"/>
                </a:solidFill>
                <a:effectLst/>
                <a:uLnTx/>
                <a:uFillTx/>
                <a:latin typeface="Arial"/>
                <a:ea typeface="+mn-ea"/>
                <a:cs typeface="Arial"/>
              </a:rPr>
              <a:t>of</a:t>
            </a:r>
            <a:r>
              <a:rPr kumimoji="0" lang="en-US" sz="1200" b="0" i="0" u="none" strike="noStrike" kern="0" cap="none" spc="5" normalizeH="0" baseline="0" noProof="0" dirty="0">
                <a:ln>
                  <a:noFill/>
                </a:ln>
                <a:solidFill>
                  <a:sysClr val="windowText" lastClr="000000"/>
                </a:solidFill>
                <a:effectLst/>
                <a:uLnTx/>
                <a:uFillTx/>
                <a:latin typeface="Arial"/>
                <a:ea typeface="+mn-ea"/>
                <a:cs typeface="Arial"/>
              </a:rPr>
              <a:t> </a:t>
            </a:r>
            <a:r>
              <a:rPr kumimoji="0" lang="en-US" sz="1200" b="0" i="0" u="none" strike="noStrike" kern="0" cap="none" spc="-10" normalizeH="0" baseline="0" noProof="0" dirty="0">
                <a:ln>
                  <a:noFill/>
                </a:ln>
                <a:solidFill>
                  <a:sysClr val="windowText" lastClr="000000"/>
                </a:solidFill>
                <a:effectLst/>
                <a:uLnTx/>
                <a:uFillTx/>
                <a:latin typeface="Arial"/>
                <a:ea typeface="+mn-ea"/>
                <a:cs typeface="Arial"/>
              </a:rPr>
              <a:t>response</a:t>
            </a:r>
            <a:endParaRPr kumimoji="0" lang="en-US" sz="1200" b="0" i="0" u="none" strike="noStrike" kern="0" cap="none" spc="0" normalizeH="0" baseline="0" noProof="0" dirty="0">
              <a:ln>
                <a:noFill/>
              </a:ln>
              <a:solidFill>
                <a:sysClr val="windowText" lastClr="000000"/>
              </a:solidFill>
              <a:effectLst/>
              <a:uLnTx/>
              <a:uFillTx/>
              <a:latin typeface="Arial"/>
              <a:ea typeface="+mn-ea"/>
              <a:cs typeface="Arial"/>
            </a:endParaRPr>
          </a:p>
          <a:p>
            <a:pPr marL="170180" marR="0" lvl="0" indent="-137795" algn="l" defTabSz="914400" rtl="0" eaLnBrk="1" fontAlgn="auto" latinLnBrk="0" hangingPunct="1">
              <a:lnSpc>
                <a:spcPct val="100000"/>
              </a:lnSpc>
              <a:spcBef>
                <a:spcPts val="160"/>
              </a:spcBef>
              <a:spcAft>
                <a:spcPts val="0"/>
              </a:spcAft>
              <a:buClrTx/>
              <a:buSzTx/>
              <a:buFontTx/>
              <a:buChar char="•"/>
              <a:tabLst>
                <a:tab pos="170180" algn="l"/>
              </a:tabLst>
              <a:defRPr/>
            </a:pPr>
            <a:r>
              <a:rPr kumimoji="0" lang="en-US" sz="1200" b="0" i="0" u="none" strike="noStrike" kern="0" cap="none" spc="0" normalizeH="0" baseline="0" noProof="0" dirty="0">
                <a:ln>
                  <a:noFill/>
                </a:ln>
                <a:solidFill>
                  <a:sysClr val="windowText" lastClr="000000"/>
                </a:solidFill>
                <a:effectLst/>
                <a:uLnTx/>
                <a:uFillTx/>
                <a:latin typeface="Arial"/>
                <a:ea typeface="+mn-ea"/>
                <a:cs typeface="Arial"/>
              </a:rPr>
              <a:t>Duration</a:t>
            </a:r>
            <a:r>
              <a:rPr kumimoji="0" lang="en-US" sz="1200" b="0" i="0" u="none" strike="noStrike" kern="0" cap="none" spc="-40" normalizeH="0" baseline="0" noProof="0" dirty="0">
                <a:ln>
                  <a:noFill/>
                </a:ln>
                <a:solidFill>
                  <a:sysClr val="windowText" lastClr="000000"/>
                </a:solidFill>
                <a:effectLst/>
                <a:uLnTx/>
                <a:uFillTx/>
                <a:latin typeface="Arial"/>
                <a:ea typeface="+mn-ea"/>
                <a:cs typeface="Arial"/>
              </a:rPr>
              <a:t> </a:t>
            </a:r>
            <a:r>
              <a:rPr kumimoji="0" lang="en-US" sz="1200" b="0" i="0" u="none" strike="noStrike" kern="0" cap="none" spc="0" normalizeH="0" baseline="0" noProof="0" dirty="0">
                <a:ln>
                  <a:noFill/>
                </a:ln>
                <a:solidFill>
                  <a:sysClr val="windowText" lastClr="000000"/>
                </a:solidFill>
                <a:effectLst/>
                <a:uLnTx/>
                <a:uFillTx/>
                <a:latin typeface="Arial"/>
                <a:ea typeface="+mn-ea"/>
                <a:cs typeface="Arial"/>
              </a:rPr>
              <a:t>of complete</a:t>
            </a:r>
            <a:r>
              <a:rPr kumimoji="0" lang="en-US" sz="1200" b="0" i="0" u="none" strike="noStrike" kern="0" cap="none" spc="-35" normalizeH="0" baseline="0" noProof="0" dirty="0">
                <a:ln>
                  <a:noFill/>
                </a:ln>
                <a:solidFill>
                  <a:sysClr val="windowText" lastClr="000000"/>
                </a:solidFill>
                <a:effectLst/>
                <a:uLnTx/>
                <a:uFillTx/>
                <a:latin typeface="Arial"/>
                <a:ea typeface="+mn-ea"/>
                <a:cs typeface="Arial"/>
              </a:rPr>
              <a:t> </a:t>
            </a:r>
            <a:r>
              <a:rPr kumimoji="0" lang="en-US" sz="1200" b="0" i="0" u="none" strike="noStrike" kern="0" cap="none" spc="-10" normalizeH="0" baseline="0" noProof="0" dirty="0">
                <a:ln>
                  <a:noFill/>
                </a:ln>
                <a:solidFill>
                  <a:sysClr val="windowText" lastClr="000000"/>
                </a:solidFill>
                <a:effectLst/>
                <a:uLnTx/>
                <a:uFillTx/>
                <a:latin typeface="Arial"/>
                <a:ea typeface="+mn-ea"/>
                <a:cs typeface="Arial"/>
              </a:rPr>
              <a:t>response</a:t>
            </a:r>
            <a:endParaRPr kumimoji="0" lang="en-US" sz="1200" b="0" i="0" u="none" strike="noStrike" kern="0" cap="none" spc="0" normalizeH="0" baseline="0" noProof="0" dirty="0">
              <a:ln>
                <a:noFill/>
              </a:ln>
              <a:solidFill>
                <a:sysClr val="windowText" lastClr="000000"/>
              </a:solidFill>
              <a:effectLst/>
              <a:uLnTx/>
              <a:uFillTx/>
              <a:latin typeface="Arial"/>
              <a:ea typeface="+mn-ea"/>
              <a:cs typeface="Arial"/>
            </a:endParaRPr>
          </a:p>
          <a:p>
            <a:pPr marL="170180" marR="0" lvl="0" indent="-137795" algn="l" defTabSz="914400" rtl="0" eaLnBrk="1" fontAlgn="auto" latinLnBrk="0" hangingPunct="1">
              <a:lnSpc>
                <a:spcPct val="100000"/>
              </a:lnSpc>
              <a:spcBef>
                <a:spcPts val="155"/>
              </a:spcBef>
              <a:spcAft>
                <a:spcPts val="0"/>
              </a:spcAft>
              <a:buClrTx/>
              <a:buSzTx/>
              <a:buFontTx/>
              <a:buChar char="•"/>
              <a:tabLst>
                <a:tab pos="170180" algn="l"/>
              </a:tabLst>
              <a:defRPr/>
            </a:pPr>
            <a:r>
              <a:rPr kumimoji="0" lang="en-US" sz="1200" b="0" i="0" u="none" strike="noStrike" kern="0" cap="none" spc="0" normalizeH="0" baseline="0" noProof="0" dirty="0">
                <a:ln>
                  <a:noFill/>
                </a:ln>
                <a:solidFill>
                  <a:sysClr val="windowText" lastClr="000000"/>
                </a:solidFill>
                <a:effectLst/>
                <a:uLnTx/>
                <a:uFillTx/>
                <a:latin typeface="Arial"/>
                <a:ea typeface="+mn-ea"/>
                <a:cs typeface="Arial"/>
              </a:rPr>
              <a:t>Overall</a:t>
            </a:r>
            <a:r>
              <a:rPr kumimoji="0" lang="en-US" sz="1200" b="0" i="0" u="none" strike="noStrike" kern="0" cap="none" spc="-35" normalizeH="0" baseline="0" noProof="0" dirty="0">
                <a:ln>
                  <a:noFill/>
                </a:ln>
                <a:solidFill>
                  <a:sysClr val="windowText" lastClr="000000"/>
                </a:solidFill>
                <a:effectLst/>
                <a:uLnTx/>
                <a:uFillTx/>
                <a:latin typeface="Arial"/>
                <a:ea typeface="+mn-ea"/>
                <a:cs typeface="Arial"/>
              </a:rPr>
              <a:t> </a:t>
            </a:r>
            <a:r>
              <a:rPr kumimoji="0" lang="en-US" sz="1200" b="0" i="0" u="none" strike="noStrike" kern="0" cap="none" spc="-10" normalizeH="0" baseline="0" noProof="0" dirty="0">
                <a:ln>
                  <a:noFill/>
                </a:ln>
                <a:solidFill>
                  <a:sysClr val="windowText" lastClr="000000"/>
                </a:solidFill>
                <a:effectLst/>
                <a:uLnTx/>
                <a:uFillTx/>
                <a:latin typeface="Arial"/>
                <a:ea typeface="+mn-ea"/>
                <a:cs typeface="Arial"/>
              </a:rPr>
              <a:t>survival</a:t>
            </a:r>
            <a:endParaRPr kumimoji="0" lang="en-US" sz="1200" b="0" i="0" u="none" strike="noStrike" kern="0" cap="none" spc="0" normalizeH="0" baseline="0" noProof="0" dirty="0">
              <a:ln>
                <a:noFill/>
              </a:ln>
              <a:solidFill>
                <a:sysClr val="windowText" lastClr="000000"/>
              </a:solidFill>
              <a:effectLst/>
              <a:uLnTx/>
              <a:uFillTx/>
              <a:latin typeface="Arial"/>
              <a:ea typeface="+mn-ea"/>
              <a:cs typeface="Arial"/>
            </a:endParaRPr>
          </a:p>
        </p:txBody>
      </p:sp>
      <p:sp>
        <p:nvSpPr>
          <p:cNvPr id="11" name="object 11"/>
          <p:cNvSpPr txBox="1"/>
          <p:nvPr/>
        </p:nvSpPr>
        <p:spPr>
          <a:xfrm>
            <a:off x="8056210" y="5130665"/>
            <a:ext cx="2878455" cy="836294"/>
          </a:xfrm>
          <a:prstGeom prst="rect">
            <a:avLst/>
          </a:prstGeom>
        </p:spPr>
        <p:txBody>
          <a:bodyPr vert="horz" wrap="square" lIns="0" tIns="32384" rIns="0" bIns="0" rtlCol="0">
            <a:spAutoFit/>
          </a:bodyPr>
          <a:lstStyle/>
          <a:p>
            <a:pPr marL="150495" marR="0" lvl="0" indent="-137795" algn="l" defTabSz="914400" rtl="0" eaLnBrk="1" fontAlgn="auto" latinLnBrk="0" hangingPunct="1">
              <a:lnSpc>
                <a:spcPct val="100000"/>
              </a:lnSpc>
              <a:spcBef>
                <a:spcPts val="254"/>
              </a:spcBef>
              <a:spcAft>
                <a:spcPts val="0"/>
              </a:spcAft>
              <a:buClrTx/>
              <a:buSzTx/>
              <a:buFontTx/>
              <a:buChar char="•"/>
              <a:tabLst>
                <a:tab pos="150495" algn="l"/>
              </a:tabLst>
              <a:defRPr/>
            </a:pPr>
            <a:r>
              <a:rPr kumimoji="0" lang="en-US" sz="1200" b="0" i="0" u="none" strike="noStrike" kern="0" cap="none" spc="-10" normalizeH="0" baseline="0" noProof="0" dirty="0">
                <a:ln>
                  <a:noFill/>
                </a:ln>
                <a:solidFill>
                  <a:sysClr val="windowText" lastClr="000000"/>
                </a:solidFill>
                <a:effectLst/>
                <a:uLnTx/>
                <a:uFillTx/>
                <a:latin typeface="Arial"/>
                <a:ea typeface="+mn-ea"/>
                <a:cs typeface="Arial"/>
              </a:rPr>
              <a:t>Event-</a:t>
            </a:r>
            <a:r>
              <a:rPr kumimoji="0" lang="en-US" sz="1200" b="0" i="0" u="none" strike="noStrike" kern="0" cap="none" spc="0" normalizeH="0" baseline="0" noProof="0" dirty="0">
                <a:ln>
                  <a:noFill/>
                </a:ln>
                <a:solidFill>
                  <a:sysClr val="windowText" lastClr="000000"/>
                </a:solidFill>
                <a:effectLst/>
                <a:uLnTx/>
                <a:uFillTx/>
                <a:latin typeface="Arial"/>
                <a:ea typeface="+mn-ea"/>
                <a:cs typeface="Arial"/>
              </a:rPr>
              <a:t>free</a:t>
            </a:r>
            <a:r>
              <a:rPr kumimoji="0" lang="en-US" sz="1200" b="0" i="0" u="none" strike="noStrike" kern="0" cap="none" spc="20" normalizeH="0" baseline="0" noProof="0" dirty="0">
                <a:ln>
                  <a:noFill/>
                </a:ln>
                <a:solidFill>
                  <a:sysClr val="windowText" lastClr="000000"/>
                </a:solidFill>
                <a:effectLst/>
                <a:uLnTx/>
                <a:uFillTx/>
                <a:latin typeface="Arial"/>
                <a:ea typeface="+mn-ea"/>
                <a:cs typeface="Arial"/>
              </a:rPr>
              <a:t> </a:t>
            </a:r>
            <a:r>
              <a:rPr kumimoji="0" lang="en-US" sz="1200" b="0" i="0" u="none" strike="noStrike" kern="0" cap="none" spc="-10" normalizeH="0" baseline="0" noProof="0" dirty="0">
                <a:ln>
                  <a:noFill/>
                </a:ln>
                <a:solidFill>
                  <a:sysClr val="windowText" lastClr="000000"/>
                </a:solidFill>
                <a:effectLst/>
                <a:uLnTx/>
                <a:uFillTx/>
                <a:latin typeface="Arial"/>
                <a:ea typeface="+mn-ea"/>
                <a:cs typeface="Arial"/>
              </a:rPr>
              <a:t>survival</a:t>
            </a:r>
            <a:endParaRPr kumimoji="0" lang="en-US" sz="1200" b="0" i="0" u="none" strike="noStrike" kern="0" cap="none" spc="0" normalizeH="0" baseline="0" noProof="0" dirty="0">
              <a:ln>
                <a:noFill/>
              </a:ln>
              <a:solidFill>
                <a:sysClr val="windowText" lastClr="000000"/>
              </a:solidFill>
              <a:effectLst/>
              <a:uLnTx/>
              <a:uFillTx/>
              <a:latin typeface="Arial"/>
              <a:ea typeface="+mn-ea"/>
              <a:cs typeface="Arial"/>
            </a:endParaRPr>
          </a:p>
          <a:p>
            <a:pPr marL="150495" marR="0" lvl="0" indent="-137795" algn="l" defTabSz="914400" rtl="0" eaLnBrk="1" fontAlgn="auto" latinLnBrk="0" hangingPunct="1">
              <a:lnSpc>
                <a:spcPct val="100000"/>
              </a:lnSpc>
              <a:spcBef>
                <a:spcPts val="155"/>
              </a:spcBef>
              <a:spcAft>
                <a:spcPts val="0"/>
              </a:spcAft>
              <a:buClrTx/>
              <a:buSzTx/>
              <a:buFontTx/>
              <a:buChar char="•"/>
              <a:tabLst>
                <a:tab pos="150495" algn="l"/>
              </a:tabLst>
              <a:defRPr/>
            </a:pPr>
            <a:r>
              <a:rPr kumimoji="0" lang="en-US" sz="1200" b="0" i="0" u="none" strike="noStrike" kern="0" cap="none" spc="0" normalizeH="0" baseline="0" noProof="0" dirty="0">
                <a:ln>
                  <a:noFill/>
                </a:ln>
                <a:solidFill>
                  <a:sysClr val="windowText" lastClr="000000"/>
                </a:solidFill>
                <a:effectLst/>
                <a:uLnTx/>
                <a:uFillTx/>
                <a:latin typeface="Arial"/>
                <a:ea typeface="+mn-ea"/>
                <a:cs typeface="Arial"/>
              </a:rPr>
              <a:t>Time</a:t>
            </a:r>
            <a:r>
              <a:rPr kumimoji="0" lang="en-US" sz="1200" b="0" i="0" u="none" strike="noStrike" kern="0" cap="none" spc="-50" normalizeH="0" baseline="0" noProof="0" dirty="0">
                <a:ln>
                  <a:noFill/>
                </a:ln>
                <a:solidFill>
                  <a:sysClr val="windowText" lastClr="000000"/>
                </a:solidFill>
                <a:effectLst/>
                <a:uLnTx/>
                <a:uFillTx/>
                <a:latin typeface="Arial"/>
                <a:ea typeface="+mn-ea"/>
                <a:cs typeface="Arial"/>
              </a:rPr>
              <a:t> </a:t>
            </a:r>
            <a:r>
              <a:rPr kumimoji="0" lang="en-US" sz="1200" b="0" i="0" u="none" strike="noStrike" kern="0" cap="none" spc="0" normalizeH="0" baseline="0" noProof="0" dirty="0">
                <a:ln>
                  <a:noFill/>
                </a:ln>
                <a:solidFill>
                  <a:sysClr val="windowText" lastClr="000000"/>
                </a:solidFill>
                <a:effectLst/>
                <a:uLnTx/>
                <a:uFillTx/>
                <a:latin typeface="Arial"/>
                <a:ea typeface="+mn-ea"/>
                <a:cs typeface="Arial"/>
              </a:rPr>
              <a:t>to</a:t>
            </a:r>
            <a:r>
              <a:rPr kumimoji="0" lang="en-US" sz="1200" b="0" i="0" u="none" strike="noStrike" kern="0" cap="none" spc="-25" normalizeH="0" baseline="0" noProof="0" dirty="0">
                <a:ln>
                  <a:noFill/>
                </a:ln>
                <a:solidFill>
                  <a:sysClr val="windowText" lastClr="000000"/>
                </a:solidFill>
                <a:effectLst/>
                <a:uLnTx/>
                <a:uFillTx/>
                <a:latin typeface="Arial"/>
                <a:ea typeface="+mn-ea"/>
                <a:cs typeface="Arial"/>
              </a:rPr>
              <a:t> </a:t>
            </a:r>
            <a:r>
              <a:rPr kumimoji="0" lang="en-US" sz="1200" b="0" i="0" u="none" strike="noStrike" kern="0" cap="none" spc="0" normalizeH="0" baseline="0" noProof="0" dirty="0">
                <a:ln>
                  <a:noFill/>
                </a:ln>
                <a:solidFill>
                  <a:sysClr val="windowText" lastClr="000000"/>
                </a:solidFill>
                <a:effectLst/>
                <a:uLnTx/>
                <a:uFillTx/>
                <a:latin typeface="Arial"/>
                <a:ea typeface="+mn-ea"/>
                <a:cs typeface="Arial"/>
              </a:rPr>
              <a:t>next</a:t>
            </a:r>
            <a:r>
              <a:rPr kumimoji="0" lang="en-US" sz="1200" b="0" i="0" u="none" strike="noStrike" kern="0" cap="none" spc="-35" normalizeH="0" baseline="0" noProof="0" dirty="0">
                <a:ln>
                  <a:noFill/>
                </a:ln>
                <a:solidFill>
                  <a:sysClr val="windowText" lastClr="000000"/>
                </a:solidFill>
                <a:effectLst/>
                <a:uLnTx/>
                <a:uFillTx/>
                <a:latin typeface="Arial"/>
                <a:ea typeface="+mn-ea"/>
                <a:cs typeface="Arial"/>
              </a:rPr>
              <a:t> </a:t>
            </a:r>
            <a:r>
              <a:rPr kumimoji="0" lang="en-US" sz="1200" b="0" i="0" u="none" strike="noStrike" kern="0" cap="none" spc="-10" normalizeH="0" baseline="0" noProof="0" dirty="0">
                <a:ln>
                  <a:noFill/>
                </a:ln>
                <a:solidFill>
                  <a:sysClr val="windowText" lastClr="000000"/>
                </a:solidFill>
                <a:effectLst/>
                <a:uLnTx/>
                <a:uFillTx/>
                <a:latin typeface="Arial"/>
                <a:ea typeface="+mn-ea"/>
                <a:cs typeface="Arial"/>
              </a:rPr>
              <a:t>treatment</a:t>
            </a:r>
            <a:endParaRPr kumimoji="0" lang="en-US" sz="1200" b="0" i="0" u="none" strike="noStrike" kern="0" cap="none" spc="0" normalizeH="0" baseline="0" noProof="0" dirty="0">
              <a:ln>
                <a:noFill/>
              </a:ln>
              <a:solidFill>
                <a:sysClr val="windowText" lastClr="000000"/>
              </a:solidFill>
              <a:effectLst/>
              <a:uLnTx/>
              <a:uFillTx/>
              <a:latin typeface="Arial"/>
              <a:ea typeface="+mn-ea"/>
              <a:cs typeface="Arial"/>
            </a:endParaRPr>
          </a:p>
          <a:p>
            <a:pPr marL="150495" marR="0" lvl="0" indent="-137795" algn="l" defTabSz="914400" rtl="0" eaLnBrk="1" fontAlgn="auto" latinLnBrk="0" hangingPunct="1">
              <a:lnSpc>
                <a:spcPct val="100000"/>
              </a:lnSpc>
              <a:spcBef>
                <a:spcPts val="155"/>
              </a:spcBef>
              <a:spcAft>
                <a:spcPts val="0"/>
              </a:spcAft>
              <a:buClrTx/>
              <a:buSzTx/>
              <a:buFontTx/>
              <a:buChar char="•"/>
              <a:tabLst>
                <a:tab pos="150495" algn="l"/>
              </a:tabLst>
              <a:defRPr/>
            </a:pPr>
            <a:r>
              <a:rPr kumimoji="0" lang="en-US" sz="1200" b="0" i="0" u="none" strike="noStrike" kern="0" cap="none" spc="0" normalizeH="0" baseline="0" noProof="0" dirty="0">
                <a:ln>
                  <a:noFill/>
                </a:ln>
                <a:solidFill>
                  <a:sysClr val="windowText" lastClr="000000"/>
                </a:solidFill>
                <a:effectLst/>
                <a:uLnTx/>
                <a:uFillTx/>
                <a:latin typeface="Arial"/>
                <a:ea typeface="+mn-ea"/>
                <a:cs typeface="Arial"/>
              </a:rPr>
              <a:t>Patient-reported</a:t>
            </a:r>
            <a:r>
              <a:rPr kumimoji="0" lang="en-US" sz="1200" b="0" i="0" u="none" strike="noStrike" kern="0" cap="none" spc="-60" normalizeH="0" baseline="0" noProof="0" dirty="0">
                <a:ln>
                  <a:noFill/>
                </a:ln>
                <a:solidFill>
                  <a:sysClr val="windowText" lastClr="000000"/>
                </a:solidFill>
                <a:effectLst/>
                <a:uLnTx/>
                <a:uFillTx/>
                <a:latin typeface="Arial"/>
                <a:ea typeface="+mn-ea"/>
                <a:cs typeface="Arial"/>
              </a:rPr>
              <a:t> </a:t>
            </a:r>
            <a:r>
              <a:rPr kumimoji="0" lang="en-US" sz="1200" b="0" i="0" u="none" strike="noStrike" kern="0" cap="none" spc="0" normalizeH="0" baseline="0" noProof="0" dirty="0">
                <a:ln>
                  <a:noFill/>
                </a:ln>
                <a:solidFill>
                  <a:sysClr val="windowText" lastClr="000000"/>
                </a:solidFill>
                <a:effectLst/>
                <a:uLnTx/>
                <a:uFillTx/>
                <a:latin typeface="Arial"/>
                <a:ea typeface="+mn-ea"/>
                <a:cs typeface="Arial"/>
              </a:rPr>
              <a:t>outcomes/Quality</a:t>
            </a:r>
            <a:r>
              <a:rPr kumimoji="0" lang="en-US" sz="1200" b="0" i="0" u="none" strike="noStrike" kern="0" cap="none" spc="-50" normalizeH="0" baseline="0" noProof="0" dirty="0">
                <a:ln>
                  <a:noFill/>
                </a:ln>
                <a:solidFill>
                  <a:sysClr val="windowText" lastClr="000000"/>
                </a:solidFill>
                <a:effectLst/>
                <a:uLnTx/>
                <a:uFillTx/>
                <a:latin typeface="Arial"/>
                <a:ea typeface="+mn-ea"/>
                <a:cs typeface="Arial"/>
              </a:rPr>
              <a:t> </a:t>
            </a:r>
            <a:r>
              <a:rPr kumimoji="0" lang="en-US" sz="1200" b="0" i="0" u="none" strike="noStrike" kern="0" cap="none" spc="0" normalizeH="0" baseline="0" noProof="0" dirty="0">
                <a:ln>
                  <a:noFill/>
                </a:ln>
                <a:solidFill>
                  <a:sysClr val="windowText" lastClr="000000"/>
                </a:solidFill>
                <a:effectLst/>
                <a:uLnTx/>
                <a:uFillTx/>
                <a:latin typeface="Arial"/>
                <a:ea typeface="+mn-ea"/>
                <a:cs typeface="Arial"/>
              </a:rPr>
              <a:t>of</a:t>
            </a:r>
            <a:r>
              <a:rPr kumimoji="0" lang="en-US" sz="1200" b="0" i="0" u="none" strike="noStrike" kern="0" cap="none" spc="-35" normalizeH="0" baseline="0" noProof="0" dirty="0">
                <a:ln>
                  <a:noFill/>
                </a:ln>
                <a:solidFill>
                  <a:sysClr val="windowText" lastClr="000000"/>
                </a:solidFill>
                <a:effectLst/>
                <a:uLnTx/>
                <a:uFillTx/>
                <a:latin typeface="Arial"/>
                <a:ea typeface="+mn-ea"/>
                <a:cs typeface="Arial"/>
              </a:rPr>
              <a:t> </a:t>
            </a:r>
            <a:r>
              <a:rPr kumimoji="0" lang="en-US" sz="1200" b="0" i="0" u="none" strike="noStrike" kern="0" cap="none" spc="-20" normalizeH="0" baseline="0" noProof="0" dirty="0">
                <a:ln>
                  <a:noFill/>
                </a:ln>
                <a:solidFill>
                  <a:sysClr val="windowText" lastClr="000000"/>
                </a:solidFill>
                <a:effectLst/>
                <a:uLnTx/>
                <a:uFillTx/>
                <a:latin typeface="Arial"/>
                <a:ea typeface="+mn-ea"/>
                <a:cs typeface="Arial"/>
              </a:rPr>
              <a:t>life</a:t>
            </a:r>
            <a:endParaRPr kumimoji="0" lang="en-US" sz="1200" b="0" i="0" u="none" strike="noStrike" kern="0" cap="none" spc="0" normalizeH="0" baseline="0" noProof="0" dirty="0">
              <a:ln>
                <a:noFill/>
              </a:ln>
              <a:solidFill>
                <a:sysClr val="windowText" lastClr="000000"/>
              </a:solidFill>
              <a:effectLst/>
              <a:uLnTx/>
              <a:uFillTx/>
              <a:latin typeface="Arial"/>
              <a:ea typeface="+mn-ea"/>
              <a:cs typeface="Arial"/>
            </a:endParaRPr>
          </a:p>
          <a:p>
            <a:pPr marL="150495" marR="0" lvl="0" indent="-137795" algn="l" defTabSz="914400" rtl="0" eaLnBrk="1" fontAlgn="auto" latinLnBrk="0" hangingPunct="1">
              <a:lnSpc>
                <a:spcPct val="100000"/>
              </a:lnSpc>
              <a:spcBef>
                <a:spcPts val="155"/>
              </a:spcBef>
              <a:spcAft>
                <a:spcPts val="0"/>
              </a:spcAft>
              <a:buClrTx/>
              <a:buSzTx/>
              <a:buFontTx/>
              <a:buChar char="•"/>
              <a:tabLst>
                <a:tab pos="150495" algn="l"/>
              </a:tabLst>
              <a:defRPr/>
            </a:pPr>
            <a:r>
              <a:rPr kumimoji="0" lang="en-US" sz="1200" b="0" i="0" u="none" strike="noStrike" kern="0" cap="none" spc="-10" normalizeH="0" baseline="0" noProof="0" dirty="0">
                <a:ln>
                  <a:noFill/>
                </a:ln>
                <a:solidFill>
                  <a:sysClr val="windowText" lastClr="000000"/>
                </a:solidFill>
                <a:effectLst/>
                <a:uLnTx/>
                <a:uFillTx/>
                <a:latin typeface="Arial"/>
                <a:ea typeface="+mn-ea"/>
                <a:cs typeface="Arial"/>
              </a:rPr>
              <a:t>Safety</a:t>
            </a:r>
            <a:endParaRPr kumimoji="0" lang="en-US" sz="1200" b="0" i="0" u="none" strike="noStrike" kern="0" cap="none" spc="0" normalizeH="0" baseline="0" noProof="0" dirty="0">
              <a:ln>
                <a:noFill/>
              </a:ln>
              <a:solidFill>
                <a:sysClr val="windowText" lastClr="000000"/>
              </a:solidFill>
              <a:effectLst/>
              <a:uLnTx/>
              <a:uFillTx/>
              <a:latin typeface="Arial"/>
              <a:ea typeface="+mn-ea"/>
              <a:cs typeface="Arial"/>
            </a:endParaRPr>
          </a:p>
        </p:txBody>
      </p:sp>
      <p:grpSp>
        <p:nvGrpSpPr>
          <p:cNvPr id="12" name="object 12"/>
          <p:cNvGrpSpPr/>
          <p:nvPr/>
        </p:nvGrpSpPr>
        <p:grpSpPr>
          <a:xfrm>
            <a:off x="3482283" y="5057272"/>
            <a:ext cx="2085339" cy="822960"/>
            <a:chOff x="3482283" y="5199885"/>
            <a:chExt cx="2085339" cy="822960"/>
          </a:xfrm>
        </p:grpSpPr>
        <p:sp>
          <p:nvSpPr>
            <p:cNvPr id="13" name="object 13"/>
            <p:cNvSpPr/>
            <p:nvPr/>
          </p:nvSpPr>
          <p:spPr>
            <a:xfrm>
              <a:off x="3485458" y="5199885"/>
              <a:ext cx="0" cy="822960"/>
            </a:xfrm>
            <a:custGeom>
              <a:avLst/>
              <a:gdLst/>
              <a:ahLst/>
              <a:cxnLst/>
              <a:rect l="l" t="t" r="r" b="b"/>
              <a:pathLst>
                <a:path h="822960">
                  <a:moveTo>
                    <a:pt x="0" y="0"/>
                  </a:moveTo>
                  <a:lnTo>
                    <a:pt x="0" y="822960"/>
                  </a:lnTo>
                </a:path>
              </a:pathLst>
            </a:custGeom>
            <a:ln w="6350">
              <a:solidFill>
                <a:srgbClr val="363A3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4" name="object 14"/>
            <p:cNvSpPr/>
            <p:nvPr/>
          </p:nvSpPr>
          <p:spPr>
            <a:xfrm>
              <a:off x="5564399" y="5199885"/>
              <a:ext cx="0" cy="822960"/>
            </a:xfrm>
            <a:custGeom>
              <a:avLst/>
              <a:gdLst/>
              <a:ahLst/>
              <a:cxnLst/>
              <a:rect l="l" t="t" r="r" b="b"/>
              <a:pathLst>
                <a:path h="822960">
                  <a:moveTo>
                    <a:pt x="0" y="0"/>
                  </a:moveTo>
                  <a:lnTo>
                    <a:pt x="0" y="822960"/>
                  </a:lnTo>
                </a:path>
              </a:pathLst>
            </a:custGeom>
            <a:ln w="6350">
              <a:solidFill>
                <a:srgbClr val="363A3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grpSp>
        <p:nvGrpSpPr>
          <p:cNvPr id="15" name="object 15"/>
          <p:cNvGrpSpPr/>
          <p:nvPr/>
        </p:nvGrpSpPr>
        <p:grpSpPr>
          <a:xfrm>
            <a:off x="560692" y="1394099"/>
            <a:ext cx="8577580" cy="2704465"/>
            <a:chOff x="560692" y="1536712"/>
            <a:chExt cx="8577580" cy="2704465"/>
          </a:xfrm>
        </p:grpSpPr>
        <p:sp>
          <p:nvSpPr>
            <p:cNvPr id="16" name="object 16"/>
            <p:cNvSpPr/>
            <p:nvPr/>
          </p:nvSpPr>
          <p:spPr>
            <a:xfrm>
              <a:off x="3267613" y="3376436"/>
              <a:ext cx="744220" cy="344170"/>
            </a:xfrm>
            <a:custGeom>
              <a:avLst/>
              <a:gdLst/>
              <a:ahLst/>
              <a:cxnLst/>
              <a:rect l="l" t="t" r="r" b="b"/>
              <a:pathLst>
                <a:path w="744220" h="344170">
                  <a:moveTo>
                    <a:pt x="743927" y="0"/>
                  </a:moveTo>
                  <a:lnTo>
                    <a:pt x="0" y="343776"/>
                  </a:lnTo>
                </a:path>
              </a:pathLst>
            </a:custGeom>
            <a:ln w="28575">
              <a:solidFill>
                <a:srgbClr val="747D9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7" name="object 17"/>
            <p:cNvSpPr/>
            <p:nvPr/>
          </p:nvSpPr>
          <p:spPr>
            <a:xfrm>
              <a:off x="6882634" y="1987588"/>
              <a:ext cx="2240915" cy="574675"/>
            </a:xfrm>
            <a:custGeom>
              <a:avLst/>
              <a:gdLst/>
              <a:ahLst/>
              <a:cxnLst/>
              <a:rect l="l" t="t" r="r" b="b"/>
              <a:pathLst>
                <a:path w="2240915" h="574675">
                  <a:moveTo>
                    <a:pt x="2240871" y="12"/>
                  </a:moveTo>
                  <a:lnTo>
                    <a:pt x="2240871" y="574375"/>
                  </a:lnTo>
                </a:path>
                <a:path w="2240915" h="574675">
                  <a:moveTo>
                    <a:pt x="0" y="0"/>
                  </a:moveTo>
                  <a:lnTo>
                    <a:pt x="0" y="410710"/>
                  </a:lnTo>
                </a:path>
              </a:pathLst>
            </a:custGeom>
            <a:ln w="28575">
              <a:solidFill>
                <a:srgbClr val="6381A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8" name="object 18"/>
            <p:cNvSpPr/>
            <p:nvPr/>
          </p:nvSpPr>
          <p:spPr>
            <a:xfrm>
              <a:off x="8073693" y="1608264"/>
              <a:ext cx="0" cy="743585"/>
            </a:xfrm>
            <a:custGeom>
              <a:avLst/>
              <a:gdLst/>
              <a:ahLst/>
              <a:cxnLst/>
              <a:rect l="l" t="t" r="r" b="b"/>
              <a:pathLst>
                <a:path h="743585">
                  <a:moveTo>
                    <a:pt x="0" y="0"/>
                  </a:moveTo>
                  <a:lnTo>
                    <a:pt x="0" y="743421"/>
                  </a:lnTo>
                </a:path>
              </a:pathLst>
            </a:custGeom>
            <a:ln w="28575">
              <a:solidFill>
                <a:srgbClr val="475F8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9" name="object 19"/>
            <p:cNvSpPr/>
            <p:nvPr/>
          </p:nvSpPr>
          <p:spPr>
            <a:xfrm>
              <a:off x="9123506" y="3988431"/>
              <a:ext cx="0" cy="238125"/>
            </a:xfrm>
            <a:custGeom>
              <a:avLst/>
              <a:gdLst/>
              <a:ahLst/>
              <a:cxnLst/>
              <a:rect l="l" t="t" r="r" b="b"/>
              <a:pathLst>
                <a:path h="238125">
                  <a:moveTo>
                    <a:pt x="0" y="0"/>
                  </a:moveTo>
                  <a:lnTo>
                    <a:pt x="0" y="238090"/>
                  </a:lnTo>
                </a:path>
              </a:pathLst>
            </a:custGeom>
            <a:ln w="28575">
              <a:solidFill>
                <a:srgbClr val="6381A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0" name="object 20"/>
            <p:cNvSpPr/>
            <p:nvPr/>
          </p:nvSpPr>
          <p:spPr>
            <a:xfrm>
              <a:off x="1977492" y="2398483"/>
              <a:ext cx="0" cy="227965"/>
            </a:xfrm>
            <a:custGeom>
              <a:avLst/>
              <a:gdLst/>
              <a:ahLst/>
              <a:cxnLst/>
              <a:rect l="l" t="t" r="r" b="b"/>
              <a:pathLst>
                <a:path h="227964">
                  <a:moveTo>
                    <a:pt x="0" y="0"/>
                  </a:moveTo>
                  <a:lnTo>
                    <a:pt x="0" y="227937"/>
                  </a:lnTo>
                </a:path>
              </a:pathLst>
            </a:custGeom>
            <a:ln w="28575">
              <a:solidFill>
                <a:srgbClr val="747D9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1" name="object 21"/>
            <p:cNvSpPr/>
            <p:nvPr/>
          </p:nvSpPr>
          <p:spPr>
            <a:xfrm>
              <a:off x="560692" y="1536712"/>
              <a:ext cx="2937510" cy="862330"/>
            </a:xfrm>
            <a:custGeom>
              <a:avLst/>
              <a:gdLst/>
              <a:ahLst/>
              <a:cxnLst/>
              <a:rect l="l" t="t" r="r" b="b"/>
              <a:pathLst>
                <a:path w="2937510" h="862330">
                  <a:moveTo>
                    <a:pt x="2937344" y="0"/>
                  </a:moveTo>
                  <a:lnTo>
                    <a:pt x="0" y="0"/>
                  </a:lnTo>
                  <a:lnTo>
                    <a:pt x="0" y="861771"/>
                  </a:lnTo>
                  <a:lnTo>
                    <a:pt x="2937344" y="861771"/>
                  </a:lnTo>
                  <a:lnTo>
                    <a:pt x="2937344" y="0"/>
                  </a:lnTo>
                  <a:close/>
                </a:path>
              </a:pathLst>
            </a:custGeom>
            <a:solidFill>
              <a:srgbClr val="6381A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sp>
        <p:nvSpPr>
          <p:cNvPr id="22" name="object 22"/>
          <p:cNvSpPr txBox="1"/>
          <p:nvPr/>
        </p:nvSpPr>
        <p:spPr>
          <a:xfrm>
            <a:off x="551167" y="1384574"/>
            <a:ext cx="2956560" cy="730969"/>
          </a:xfrm>
          <a:prstGeom prst="rect">
            <a:avLst/>
          </a:prstGeom>
          <a:ln w="3175">
            <a:solidFill>
              <a:srgbClr val="6381AA"/>
            </a:solidFill>
          </a:ln>
        </p:spPr>
        <p:txBody>
          <a:bodyPr vert="horz" wrap="square" lIns="0" tIns="144780" rIns="0" bIns="0" rtlCol="0">
            <a:spAutoFit/>
          </a:bodyPr>
          <a:lstStyle/>
          <a:p>
            <a:pPr marL="0" marR="0" lvl="0" indent="0" algn="ctr" defTabSz="914400" rtl="0" eaLnBrk="1" fontAlgn="auto" latinLnBrk="0" hangingPunct="1">
              <a:lnSpc>
                <a:spcPct val="100000"/>
              </a:lnSpc>
              <a:spcBef>
                <a:spcPts val="114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Arial"/>
              </a:rPr>
              <a:t>Patients</a:t>
            </a:r>
            <a:r>
              <a:rPr kumimoji="0" lang="en-US" sz="1400" b="1" i="0" u="none" strike="noStrike" kern="0" cap="none" spc="-50" normalizeH="0" baseline="0" noProof="0" dirty="0">
                <a:ln>
                  <a:noFill/>
                </a:ln>
                <a:solidFill>
                  <a:srgbClr val="FFFFFF"/>
                </a:solidFill>
                <a:effectLst/>
                <a:uLnTx/>
                <a:uFillTx/>
                <a:latin typeface="Arial"/>
                <a:ea typeface="+mn-ea"/>
                <a:cs typeface="Arial"/>
              </a:rPr>
              <a:t> </a:t>
            </a:r>
            <a:r>
              <a:rPr kumimoji="0" lang="en-US" sz="1400" b="1" i="0" u="none" strike="noStrike" kern="0" cap="none" spc="0" normalizeH="0" baseline="0" noProof="0" dirty="0">
                <a:ln>
                  <a:noFill/>
                </a:ln>
                <a:solidFill>
                  <a:srgbClr val="FFFFFF"/>
                </a:solidFill>
                <a:effectLst/>
                <a:uLnTx/>
                <a:uFillTx/>
                <a:latin typeface="Arial"/>
                <a:ea typeface="+mn-ea"/>
                <a:cs typeface="Arial"/>
              </a:rPr>
              <a:t>with</a:t>
            </a:r>
            <a:r>
              <a:rPr kumimoji="0" lang="en-US" sz="1400" b="1" i="0" u="none" strike="noStrike" kern="0" cap="none" spc="-55" normalizeH="0" baseline="0" noProof="0" dirty="0">
                <a:ln>
                  <a:noFill/>
                </a:ln>
                <a:solidFill>
                  <a:srgbClr val="FFFFFF"/>
                </a:solidFill>
                <a:effectLst/>
                <a:uLnTx/>
                <a:uFillTx/>
                <a:latin typeface="Arial"/>
                <a:ea typeface="+mn-ea"/>
                <a:cs typeface="Arial"/>
              </a:rPr>
              <a:t> </a:t>
            </a:r>
            <a:r>
              <a:rPr kumimoji="0" lang="en-US" sz="1400" b="1" i="0" u="none" strike="noStrike" kern="0" cap="none" spc="0" normalizeH="0" baseline="0" noProof="0" dirty="0">
                <a:ln>
                  <a:noFill/>
                </a:ln>
                <a:solidFill>
                  <a:srgbClr val="FFFFFF"/>
                </a:solidFill>
                <a:effectLst/>
                <a:uLnTx/>
                <a:uFillTx/>
                <a:latin typeface="Arial"/>
                <a:ea typeface="+mn-ea"/>
                <a:cs typeface="Arial"/>
              </a:rPr>
              <a:t>R/R</a:t>
            </a:r>
            <a:r>
              <a:rPr kumimoji="0" lang="en-US" sz="1400" b="1" i="0" u="none" strike="noStrike" kern="0" cap="none" spc="-20" normalizeH="0" baseline="0" noProof="0" dirty="0">
                <a:ln>
                  <a:noFill/>
                </a:ln>
                <a:solidFill>
                  <a:srgbClr val="FFFFFF"/>
                </a:solidFill>
                <a:effectLst/>
                <a:uLnTx/>
                <a:uFillTx/>
                <a:latin typeface="Arial"/>
                <a:ea typeface="+mn-ea"/>
                <a:cs typeface="Arial"/>
              </a:rPr>
              <a:t> </a:t>
            </a:r>
            <a:r>
              <a:rPr kumimoji="0" lang="en-US" sz="1400" b="1" i="0" u="none" strike="noStrike" kern="0" cap="none" spc="0" normalizeH="0" baseline="0" noProof="0" dirty="0">
                <a:ln>
                  <a:noFill/>
                </a:ln>
                <a:solidFill>
                  <a:srgbClr val="FFFFFF"/>
                </a:solidFill>
                <a:effectLst/>
                <a:uLnTx/>
                <a:uFillTx/>
                <a:latin typeface="Arial"/>
                <a:ea typeface="+mn-ea"/>
                <a:cs typeface="Arial"/>
              </a:rPr>
              <a:t>FL</a:t>
            </a:r>
            <a:r>
              <a:rPr kumimoji="0" lang="en-US" sz="1400" b="1" i="0" u="none" strike="noStrike" kern="0" cap="none" spc="-40" normalizeH="0" baseline="0" noProof="0" dirty="0">
                <a:ln>
                  <a:noFill/>
                </a:ln>
                <a:solidFill>
                  <a:srgbClr val="FFFFFF"/>
                </a:solidFill>
                <a:effectLst/>
                <a:uLnTx/>
                <a:uFillTx/>
                <a:latin typeface="Arial"/>
                <a:ea typeface="+mn-ea"/>
                <a:cs typeface="Arial"/>
              </a:rPr>
              <a:t> </a:t>
            </a:r>
            <a:r>
              <a:rPr kumimoji="0" lang="en-US" sz="1400" b="1" i="0" u="none" strike="noStrike" kern="0" cap="none" spc="0" normalizeH="0" baseline="0" noProof="0" dirty="0">
                <a:ln>
                  <a:noFill/>
                </a:ln>
                <a:solidFill>
                  <a:srgbClr val="FFFFFF"/>
                </a:solidFill>
                <a:effectLst/>
                <a:uLnTx/>
                <a:uFillTx/>
                <a:latin typeface="Arial"/>
                <a:ea typeface="+mn-ea"/>
                <a:cs typeface="Arial"/>
              </a:rPr>
              <a:t>after</a:t>
            </a:r>
            <a:r>
              <a:rPr kumimoji="0" lang="en-US" sz="1400" b="1" i="0" u="none" strike="noStrike" kern="0" cap="none" spc="-20" normalizeH="0" baseline="0" noProof="0" dirty="0">
                <a:ln>
                  <a:noFill/>
                </a:ln>
                <a:solidFill>
                  <a:srgbClr val="FFFFFF"/>
                </a:solidFill>
                <a:effectLst/>
                <a:uLnTx/>
                <a:uFillTx/>
                <a:latin typeface="Arial"/>
                <a:ea typeface="+mn-ea"/>
                <a:cs typeface="Arial"/>
              </a:rPr>
              <a:t> </a:t>
            </a:r>
            <a:r>
              <a:rPr kumimoji="0" lang="en-US" sz="1400" b="1" i="0" u="none" strike="noStrike" kern="0" cap="none" spc="-10" normalizeH="0" baseline="0" noProof="0" dirty="0">
                <a:ln>
                  <a:noFill/>
                </a:ln>
                <a:solidFill>
                  <a:srgbClr val="FFFFFF"/>
                </a:solidFill>
                <a:effectLst/>
                <a:uLnTx/>
                <a:uFillTx/>
                <a:latin typeface="Arial"/>
                <a:ea typeface="+mn-ea"/>
                <a:cs typeface="Arial"/>
              </a:rPr>
              <a:t>either:</a:t>
            </a:r>
            <a:endParaRPr kumimoji="0" lang="en-US" sz="1400" b="0" i="0" u="none" strike="noStrike" kern="0" cap="none" spc="0" normalizeH="0" baseline="0" noProof="0" dirty="0">
              <a:ln>
                <a:noFill/>
              </a:ln>
              <a:solidFill>
                <a:sysClr val="windowText" lastClr="000000"/>
              </a:solidFill>
              <a:effectLst/>
              <a:uLnTx/>
              <a:uFillTx/>
              <a:latin typeface="Arial"/>
              <a:ea typeface="+mn-ea"/>
              <a:cs typeface="Arial"/>
            </a:endParaRPr>
          </a:p>
          <a:p>
            <a:pPr marL="0" marR="0" lvl="0" indent="0" algn="ctr" defTabSz="914400" rtl="0" eaLnBrk="1" fontAlgn="auto" latinLnBrk="0" hangingPunct="1">
              <a:lnSpc>
                <a:spcPct val="100000"/>
              </a:lnSpc>
              <a:spcBef>
                <a:spcPts val="1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Arial"/>
                <a:ea typeface="+mn-ea"/>
                <a:cs typeface="Arial"/>
              </a:rPr>
              <a:t>1L</a:t>
            </a:r>
            <a:r>
              <a:rPr kumimoji="0" lang="en-US" sz="1200" b="0" i="0" u="none" strike="noStrike" kern="0" cap="none" spc="-40" normalizeH="0" baseline="0" noProof="0" dirty="0">
                <a:ln>
                  <a:noFill/>
                </a:ln>
                <a:solidFill>
                  <a:srgbClr val="FFFFFF"/>
                </a:solidFill>
                <a:effectLst/>
                <a:uLnTx/>
                <a:uFillTx/>
                <a:latin typeface="Arial"/>
                <a:ea typeface="+mn-ea"/>
                <a:cs typeface="Arial"/>
              </a:rPr>
              <a:t> </a:t>
            </a:r>
            <a:r>
              <a:rPr kumimoji="0" lang="en-US" sz="1200" b="0" i="0" u="none" strike="noStrike" kern="0" cap="none" spc="-10" normalizeH="0" baseline="0" noProof="0" dirty="0">
                <a:ln>
                  <a:noFill/>
                </a:ln>
                <a:solidFill>
                  <a:srgbClr val="FFFFFF"/>
                </a:solidFill>
                <a:effectLst/>
                <a:uLnTx/>
                <a:uFillTx/>
                <a:latin typeface="Arial"/>
                <a:ea typeface="+mn-ea"/>
                <a:cs typeface="Arial"/>
              </a:rPr>
              <a:t>chemoimmunotherapy</a:t>
            </a:r>
            <a:r>
              <a:rPr kumimoji="0" lang="en-US" sz="1200" b="0" i="0" u="none" strike="noStrike" kern="0" cap="none" spc="-20" normalizeH="0" baseline="0" noProof="0" dirty="0">
                <a:ln>
                  <a:noFill/>
                </a:ln>
                <a:solidFill>
                  <a:srgbClr val="FFFFFF"/>
                </a:solidFill>
                <a:effectLst/>
                <a:uLnTx/>
                <a:uFillTx/>
                <a:latin typeface="Arial"/>
                <a:ea typeface="+mn-ea"/>
                <a:cs typeface="Arial"/>
              </a:rPr>
              <a:t> </a:t>
            </a:r>
            <a:r>
              <a:rPr kumimoji="0" lang="en-US" sz="1200" b="0" i="0" u="none" strike="noStrike" kern="0" cap="none" spc="0" normalizeH="0" baseline="0" noProof="0" dirty="0">
                <a:ln>
                  <a:noFill/>
                </a:ln>
                <a:solidFill>
                  <a:srgbClr val="FFFFFF"/>
                </a:solidFill>
                <a:effectLst/>
                <a:uLnTx/>
                <a:uFillTx/>
                <a:latin typeface="Arial"/>
                <a:ea typeface="+mn-ea"/>
                <a:cs typeface="Arial"/>
              </a:rPr>
              <a:t>and POD24</a:t>
            </a:r>
            <a:r>
              <a:rPr kumimoji="0" lang="en-US" sz="1200" b="0" i="0" u="none" strike="noStrike" kern="0" cap="none" spc="-5" normalizeH="0" baseline="0" noProof="0" dirty="0">
                <a:ln>
                  <a:noFill/>
                </a:ln>
                <a:solidFill>
                  <a:srgbClr val="FFFFFF"/>
                </a:solidFill>
                <a:effectLst/>
                <a:uLnTx/>
                <a:uFillTx/>
                <a:latin typeface="Arial"/>
                <a:ea typeface="+mn-ea"/>
                <a:cs typeface="Arial"/>
              </a:rPr>
              <a:t> </a:t>
            </a:r>
            <a:r>
              <a:rPr kumimoji="0" lang="en-US" sz="1200" b="0" i="0" u="none" strike="noStrike" kern="0" cap="none" spc="-25" normalizeH="0" baseline="0" noProof="0" dirty="0">
                <a:ln>
                  <a:noFill/>
                </a:ln>
                <a:solidFill>
                  <a:srgbClr val="FFFFFF"/>
                </a:solidFill>
                <a:effectLst/>
                <a:uLnTx/>
                <a:uFillTx/>
                <a:latin typeface="Arial"/>
                <a:ea typeface="+mn-ea"/>
                <a:cs typeface="Arial"/>
              </a:rPr>
              <a:t>or</a:t>
            </a:r>
            <a:endParaRPr kumimoji="0" lang="en-US" sz="1200" b="0" i="0" u="none" strike="noStrike" kern="0" cap="none" spc="0" normalizeH="0" baseline="0" noProof="0" dirty="0">
              <a:ln>
                <a:noFill/>
              </a:ln>
              <a:solidFill>
                <a:sysClr val="windowText" lastClr="000000"/>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Arial"/>
                <a:ea typeface="+mn-ea"/>
                <a:cs typeface="Arial"/>
              </a:rPr>
              <a:t>≥2</a:t>
            </a:r>
            <a:r>
              <a:rPr kumimoji="0" lang="en-US" sz="1200" b="0" i="0" u="none" strike="noStrike" kern="0" cap="none" spc="-5" normalizeH="0" baseline="0" noProof="0" dirty="0">
                <a:ln>
                  <a:noFill/>
                </a:ln>
                <a:solidFill>
                  <a:srgbClr val="FFFFFF"/>
                </a:solidFill>
                <a:effectLst/>
                <a:uLnTx/>
                <a:uFillTx/>
                <a:latin typeface="Arial"/>
                <a:ea typeface="+mn-ea"/>
                <a:cs typeface="Arial"/>
              </a:rPr>
              <a:t> </a:t>
            </a:r>
            <a:r>
              <a:rPr kumimoji="0" lang="en-US" sz="1200" b="0" i="0" u="none" strike="noStrike" kern="0" cap="none" spc="0" normalizeH="0" baseline="0" noProof="0" dirty="0">
                <a:ln>
                  <a:noFill/>
                </a:ln>
                <a:solidFill>
                  <a:srgbClr val="FFFFFF"/>
                </a:solidFill>
                <a:effectLst/>
                <a:uLnTx/>
                <a:uFillTx/>
                <a:latin typeface="Arial"/>
                <a:ea typeface="+mn-ea"/>
                <a:cs typeface="Arial"/>
              </a:rPr>
              <a:t>prior</a:t>
            </a:r>
            <a:r>
              <a:rPr kumimoji="0" lang="en-US" sz="1200" b="0" i="0" u="none" strike="noStrike" kern="0" cap="none" spc="-20" normalizeH="0" baseline="0" noProof="0" dirty="0">
                <a:ln>
                  <a:noFill/>
                </a:ln>
                <a:solidFill>
                  <a:srgbClr val="FFFFFF"/>
                </a:solidFill>
                <a:effectLst/>
                <a:uLnTx/>
                <a:uFillTx/>
                <a:latin typeface="Arial"/>
                <a:ea typeface="+mn-ea"/>
                <a:cs typeface="Arial"/>
              </a:rPr>
              <a:t> </a:t>
            </a:r>
            <a:r>
              <a:rPr kumimoji="0" lang="en-US" sz="1200" b="0" i="0" u="none" strike="noStrike" kern="0" cap="none" spc="0" normalizeH="0" baseline="0" noProof="0" dirty="0">
                <a:ln>
                  <a:noFill/>
                </a:ln>
                <a:solidFill>
                  <a:srgbClr val="FFFFFF"/>
                </a:solidFill>
                <a:effectLst/>
                <a:uLnTx/>
                <a:uFillTx/>
                <a:latin typeface="Arial"/>
                <a:ea typeface="+mn-ea"/>
                <a:cs typeface="Arial"/>
              </a:rPr>
              <a:t>systemic</a:t>
            </a:r>
            <a:r>
              <a:rPr kumimoji="0" lang="en-US" sz="1200" b="0" i="0" u="none" strike="noStrike" kern="0" cap="none" spc="-15" normalizeH="0" baseline="0" noProof="0" dirty="0">
                <a:ln>
                  <a:noFill/>
                </a:ln>
                <a:solidFill>
                  <a:srgbClr val="FFFFFF"/>
                </a:solidFill>
                <a:effectLst/>
                <a:uLnTx/>
                <a:uFillTx/>
                <a:latin typeface="Arial"/>
                <a:ea typeface="+mn-ea"/>
                <a:cs typeface="Arial"/>
              </a:rPr>
              <a:t> </a:t>
            </a:r>
            <a:r>
              <a:rPr kumimoji="0" lang="en-US" sz="1200" b="0" i="0" u="none" strike="noStrike" kern="0" cap="none" spc="0" normalizeH="0" baseline="0" noProof="0" dirty="0">
                <a:ln>
                  <a:noFill/>
                </a:ln>
                <a:solidFill>
                  <a:srgbClr val="FFFFFF"/>
                </a:solidFill>
                <a:effectLst/>
                <a:uLnTx/>
                <a:uFillTx/>
                <a:latin typeface="Arial"/>
                <a:ea typeface="+mn-ea"/>
                <a:cs typeface="Arial"/>
              </a:rPr>
              <a:t>lines</a:t>
            </a:r>
            <a:r>
              <a:rPr kumimoji="0" lang="en-US" sz="1200" b="0" i="0" u="none" strike="noStrike" kern="0" cap="none" spc="-20" normalizeH="0" baseline="0" noProof="0" dirty="0">
                <a:ln>
                  <a:noFill/>
                </a:ln>
                <a:solidFill>
                  <a:srgbClr val="FFFFFF"/>
                </a:solidFill>
                <a:effectLst/>
                <a:uLnTx/>
                <a:uFillTx/>
                <a:latin typeface="Arial"/>
                <a:ea typeface="+mn-ea"/>
                <a:cs typeface="Arial"/>
              </a:rPr>
              <a:t> </a:t>
            </a:r>
            <a:r>
              <a:rPr kumimoji="0" lang="en-US" sz="1200" b="0" i="0" u="none" strike="noStrike" kern="0" cap="none" spc="0" normalizeH="0" baseline="0" noProof="0" dirty="0">
                <a:ln>
                  <a:noFill/>
                </a:ln>
                <a:solidFill>
                  <a:srgbClr val="FFFFFF"/>
                </a:solidFill>
                <a:effectLst/>
                <a:uLnTx/>
                <a:uFillTx/>
                <a:latin typeface="Arial"/>
                <a:ea typeface="+mn-ea"/>
                <a:cs typeface="Arial"/>
              </a:rPr>
              <a:t>of</a:t>
            </a:r>
            <a:r>
              <a:rPr kumimoji="0" lang="en-US" sz="1200" b="0" i="0" u="none" strike="noStrike" kern="0" cap="none" spc="-15" normalizeH="0" baseline="0" noProof="0" dirty="0">
                <a:ln>
                  <a:noFill/>
                </a:ln>
                <a:solidFill>
                  <a:srgbClr val="FFFFFF"/>
                </a:solidFill>
                <a:effectLst/>
                <a:uLnTx/>
                <a:uFillTx/>
                <a:latin typeface="Arial"/>
                <a:ea typeface="+mn-ea"/>
                <a:cs typeface="Arial"/>
              </a:rPr>
              <a:t> </a:t>
            </a:r>
            <a:r>
              <a:rPr kumimoji="0" lang="en-US" sz="1200" b="0" i="0" u="none" strike="noStrike" kern="0" cap="none" spc="-10" normalizeH="0" baseline="0" noProof="0" dirty="0">
                <a:ln>
                  <a:noFill/>
                </a:ln>
                <a:solidFill>
                  <a:srgbClr val="FFFFFF"/>
                </a:solidFill>
                <a:effectLst/>
                <a:uLnTx/>
                <a:uFillTx/>
                <a:latin typeface="Arial"/>
                <a:ea typeface="+mn-ea"/>
                <a:cs typeface="Arial"/>
              </a:rPr>
              <a:t>therapy</a:t>
            </a:r>
            <a:endParaRPr kumimoji="0" lang="en-US" sz="1200" b="0" i="0" u="none" strike="noStrike" kern="0" cap="none" spc="0" normalizeH="0" baseline="0" noProof="0" dirty="0">
              <a:ln>
                <a:noFill/>
              </a:ln>
              <a:solidFill>
                <a:sysClr val="windowText" lastClr="000000"/>
              </a:solidFill>
              <a:effectLst/>
              <a:uLnTx/>
              <a:uFillTx/>
              <a:latin typeface="Arial"/>
              <a:ea typeface="+mn-ea"/>
              <a:cs typeface="Arial"/>
            </a:endParaRPr>
          </a:p>
        </p:txBody>
      </p:sp>
      <p:sp>
        <p:nvSpPr>
          <p:cNvPr id="23" name="object 23"/>
          <p:cNvSpPr/>
          <p:nvPr/>
        </p:nvSpPr>
        <p:spPr>
          <a:xfrm>
            <a:off x="1844040" y="2335245"/>
            <a:ext cx="7738109" cy="1538605"/>
          </a:xfrm>
          <a:custGeom>
            <a:avLst/>
            <a:gdLst/>
            <a:ahLst/>
            <a:cxnLst/>
            <a:rect l="l" t="t" r="r" b="b"/>
            <a:pathLst>
              <a:path w="7738109" h="1538604">
                <a:moveTo>
                  <a:pt x="7738110" y="203682"/>
                </a:moveTo>
                <a:lnTo>
                  <a:pt x="7534427" y="0"/>
                </a:lnTo>
                <a:lnTo>
                  <a:pt x="7534427" y="127228"/>
                </a:lnTo>
                <a:lnTo>
                  <a:pt x="2262365" y="127228"/>
                </a:lnTo>
                <a:lnTo>
                  <a:pt x="2262365" y="129552"/>
                </a:lnTo>
                <a:lnTo>
                  <a:pt x="2256066" y="129552"/>
                </a:lnTo>
                <a:lnTo>
                  <a:pt x="2256066" y="682282"/>
                </a:lnTo>
                <a:lnTo>
                  <a:pt x="0" y="682282"/>
                </a:lnTo>
                <a:lnTo>
                  <a:pt x="0" y="875220"/>
                </a:lnTo>
                <a:lnTo>
                  <a:pt x="2256066" y="875220"/>
                </a:lnTo>
                <a:lnTo>
                  <a:pt x="2256066" y="1409712"/>
                </a:lnTo>
                <a:lnTo>
                  <a:pt x="2262365" y="1409712"/>
                </a:lnTo>
                <a:lnTo>
                  <a:pt x="2262365" y="1411300"/>
                </a:lnTo>
                <a:lnTo>
                  <a:pt x="7534427" y="1411300"/>
                </a:lnTo>
                <a:lnTo>
                  <a:pt x="7534427" y="1538541"/>
                </a:lnTo>
                <a:lnTo>
                  <a:pt x="7738110" y="1334846"/>
                </a:lnTo>
                <a:lnTo>
                  <a:pt x="7534427" y="1131163"/>
                </a:lnTo>
                <a:lnTo>
                  <a:pt x="7534427" y="1258392"/>
                </a:lnTo>
                <a:lnTo>
                  <a:pt x="2439632" y="1258392"/>
                </a:lnTo>
                <a:lnTo>
                  <a:pt x="2439632" y="280136"/>
                </a:lnTo>
                <a:lnTo>
                  <a:pt x="7534427" y="280136"/>
                </a:lnTo>
                <a:lnTo>
                  <a:pt x="7534427" y="407377"/>
                </a:lnTo>
                <a:lnTo>
                  <a:pt x="7738110" y="203682"/>
                </a:lnTo>
                <a:close/>
              </a:path>
            </a:pathLst>
          </a:custGeom>
          <a:solidFill>
            <a:srgbClr val="AAB0B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4" name="object 24"/>
          <p:cNvSpPr txBox="1"/>
          <p:nvPr/>
        </p:nvSpPr>
        <p:spPr>
          <a:xfrm>
            <a:off x="2583624" y="3571247"/>
            <a:ext cx="1368425" cy="400685"/>
          </a:xfrm>
          <a:prstGeom prst="rect">
            <a:avLst/>
          </a:prstGeom>
          <a:solidFill>
            <a:srgbClr val="6381AA"/>
          </a:solidFill>
          <a:ln w="3175">
            <a:solidFill>
              <a:srgbClr val="6381AA"/>
            </a:solidFill>
          </a:ln>
        </p:spPr>
        <p:txBody>
          <a:bodyPr vert="horz" wrap="square" lIns="0" tIns="28575" rIns="0" bIns="0" rtlCol="0">
            <a:spAutoFit/>
          </a:bodyPr>
          <a:lstStyle/>
          <a:p>
            <a:pPr marL="100965" marR="93345" lvl="0" indent="227965" algn="l" defTabSz="914400" rtl="0" eaLnBrk="1" fontAlgn="auto" latinLnBrk="0" hangingPunct="1">
              <a:lnSpc>
                <a:spcPct val="100000"/>
              </a:lnSpc>
              <a:spcBef>
                <a:spcPts val="225"/>
              </a:spcBef>
              <a:spcAft>
                <a:spcPts val="0"/>
              </a:spcAft>
              <a:buClrTx/>
              <a:buSzTx/>
              <a:buFontTx/>
              <a:buNone/>
              <a:tabLst/>
              <a:defRPr/>
            </a:pPr>
            <a:r>
              <a:rPr kumimoji="0" lang="en-US" sz="1100" b="0" i="0" u="none" strike="noStrike" kern="0" cap="none" spc="-10" normalizeH="0" baseline="0" noProof="0" dirty="0">
                <a:ln>
                  <a:noFill/>
                </a:ln>
                <a:solidFill>
                  <a:srgbClr val="FFFFFF"/>
                </a:solidFill>
                <a:effectLst/>
                <a:uLnTx/>
                <a:uFillTx/>
                <a:latin typeface="Arial"/>
                <a:ea typeface="+mn-ea"/>
                <a:cs typeface="Arial"/>
              </a:rPr>
              <a:t>Enrollment/ Randomization</a:t>
            </a:r>
            <a:r>
              <a:rPr kumimoji="0" lang="en-US" sz="1100" b="0" i="0" u="none" strike="noStrike" kern="0" cap="none" spc="40" normalizeH="0" baseline="0" noProof="0" dirty="0">
                <a:ln>
                  <a:noFill/>
                </a:ln>
                <a:solidFill>
                  <a:srgbClr val="FFFFFF"/>
                </a:solidFill>
                <a:effectLst/>
                <a:uLnTx/>
                <a:uFillTx/>
                <a:latin typeface="Arial"/>
                <a:ea typeface="+mn-ea"/>
                <a:cs typeface="Arial"/>
              </a:rPr>
              <a:t> </a:t>
            </a:r>
            <a:r>
              <a:rPr kumimoji="0" lang="en-US" sz="1100" b="0" i="0" u="none" strike="noStrike" kern="0" cap="none" spc="-25" normalizeH="0" baseline="0" noProof="0" dirty="0">
                <a:ln>
                  <a:noFill/>
                </a:ln>
                <a:solidFill>
                  <a:srgbClr val="FFFFFF"/>
                </a:solidFill>
                <a:effectLst/>
                <a:uLnTx/>
                <a:uFillTx/>
                <a:latin typeface="Arial"/>
                <a:ea typeface="+mn-ea"/>
                <a:cs typeface="Arial"/>
              </a:rPr>
              <a:t>1:1</a:t>
            </a:r>
            <a:endParaRPr kumimoji="0" lang="en-US" sz="1100" b="0" i="0" u="none" strike="noStrike" kern="0" cap="none" spc="0" normalizeH="0" baseline="0" noProof="0" dirty="0">
              <a:ln>
                <a:noFill/>
              </a:ln>
              <a:solidFill>
                <a:sysClr val="windowText" lastClr="000000"/>
              </a:solidFill>
              <a:effectLst/>
              <a:uLnTx/>
              <a:uFillTx/>
              <a:latin typeface="Arial"/>
              <a:ea typeface="+mn-ea"/>
              <a:cs typeface="Arial"/>
            </a:endParaRPr>
          </a:p>
        </p:txBody>
      </p:sp>
      <p:sp>
        <p:nvSpPr>
          <p:cNvPr id="25" name="object 25"/>
          <p:cNvSpPr txBox="1"/>
          <p:nvPr/>
        </p:nvSpPr>
        <p:spPr>
          <a:xfrm>
            <a:off x="6700240" y="857423"/>
            <a:ext cx="2658110" cy="608330"/>
          </a:xfrm>
          <a:prstGeom prst="rect">
            <a:avLst/>
          </a:prstGeom>
          <a:solidFill>
            <a:srgbClr val="6F2F9F"/>
          </a:solidFill>
        </p:spPr>
        <p:txBody>
          <a:bodyPr vert="horz" wrap="square" lIns="0" tIns="132080" rIns="0" bIns="0" rtlCol="0">
            <a:spAutoFit/>
          </a:bodyPr>
          <a:lstStyle/>
          <a:p>
            <a:pPr marL="1026794" marR="516890" lvl="0" indent="-504825" algn="l" defTabSz="914400" rtl="0" eaLnBrk="1" fontAlgn="auto" latinLnBrk="0" hangingPunct="1">
              <a:lnSpc>
                <a:spcPct val="100000"/>
              </a:lnSpc>
              <a:spcBef>
                <a:spcPts val="104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Arial"/>
                <a:ea typeface="+mn-ea"/>
                <a:cs typeface="Arial"/>
              </a:rPr>
              <a:t>Axicabtagene</a:t>
            </a:r>
            <a:r>
              <a:rPr kumimoji="0" lang="en-US" sz="1100" b="1" i="0" u="none" strike="noStrike" kern="0" cap="none" spc="-65" normalizeH="0" baseline="0" noProof="0" dirty="0">
                <a:ln>
                  <a:noFill/>
                </a:ln>
                <a:solidFill>
                  <a:srgbClr val="FFFFFF"/>
                </a:solidFill>
                <a:effectLst/>
                <a:uLnTx/>
                <a:uFillTx/>
                <a:latin typeface="Arial"/>
                <a:ea typeface="+mn-ea"/>
                <a:cs typeface="Arial"/>
              </a:rPr>
              <a:t> </a:t>
            </a:r>
            <a:r>
              <a:rPr kumimoji="0" lang="en-US" sz="1100" b="1" i="0" u="none" strike="noStrike" kern="0" cap="none" spc="-10" normalizeH="0" baseline="0" noProof="0" dirty="0">
                <a:ln>
                  <a:noFill/>
                </a:ln>
                <a:solidFill>
                  <a:srgbClr val="FFFFFF"/>
                </a:solidFill>
                <a:effectLst/>
                <a:uLnTx/>
                <a:uFillTx/>
                <a:latin typeface="Arial"/>
                <a:ea typeface="+mn-ea"/>
                <a:cs typeface="Arial"/>
              </a:rPr>
              <a:t>Ciloleucel infusion</a:t>
            </a:r>
            <a:r>
              <a:rPr kumimoji="0" lang="en-US" sz="1050" b="1" i="0" u="none" strike="noStrike" kern="0" cap="none" spc="-15" normalizeH="0" baseline="27777" noProof="0" dirty="0">
                <a:ln>
                  <a:noFill/>
                </a:ln>
                <a:solidFill>
                  <a:srgbClr val="FFFFFF"/>
                </a:solidFill>
                <a:effectLst/>
                <a:uLnTx/>
                <a:uFillTx/>
                <a:latin typeface="Arial"/>
                <a:ea typeface="+mn-ea"/>
                <a:cs typeface="Arial"/>
              </a:rPr>
              <a:t>b</a:t>
            </a:r>
            <a:endParaRPr kumimoji="0" lang="en-US" sz="1050" b="0" i="0" u="none" strike="noStrike" kern="0" cap="none" spc="0" normalizeH="0" baseline="27777" noProof="0" dirty="0">
              <a:ln>
                <a:noFill/>
              </a:ln>
              <a:solidFill>
                <a:sysClr val="windowText" lastClr="000000"/>
              </a:solidFill>
              <a:effectLst/>
              <a:uLnTx/>
              <a:uFillTx/>
              <a:latin typeface="Arial"/>
              <a:ea typeface="+mn-ea"/>
              <a:cs typeface="Arial"/>
            </a:endParaRPr>
          </a:p>
        </p:txBody>
      </p:sp>
      <p:sp>
        <p:nvSpPr>
          <p:cNvPr id="26" name="object 26"/>
          <p:cNvSpPr txBox="1"/>
          <p:nvPr/>
        </p:nvSpPr>
        <p:spPr>
          <a:xfrm>
            <a:off x="4100105" y="1570667"/>
            <a:ext cx="1306830" cy="274320"/>
          </a:xfrm>
          <a:prstGeom prst="rect">
            <a:avLst/>
          </a:prstGeom>
          <a:solidFill>
            <a:srgbClr val="6F2F9F"/>
          </a:solidFill>
        </p:spPr>
        <p:txBody>
          <a:bodyPr vert="horz" wrap="square" lIns="0" tIns="48895" rIns="0" bIns="0" rtlCol="0">
            <a:spAutoFit/>
          </a:bodyPr>
          <a:lstStyle/>
          <a:p>
            <a:pPr marL="196850" marR="0" lvl="0" indent="0" algn="l" defTabSz="914400" rtl="0" eaLnBrk="1" fontAlgn="auto" latinLnBrk="0" hangingPunct="1">
              <a:lnSpc>
                <a:spcPct val="100000"/>
              </a:lnSpc>
              <a:spcBef>
                <a:spcPts val="385"/>
              </a:spcBef>
              <a:spcAft>
                <a:spcPts val="0"/>
              </a:spcAft>
              <a:buClrTx/>
              <a:buSzTx/>
              <a:buFontTx/>
              <a:buNone/>
              <a:tabLst/>
              <a:defRPr/>
            </a:pPr>
            <a:r>
              <a:rPr kumimoji="0" lang="en-US" sz="1100" b="0" i="0" u="none" strike="noStrike" kern="0" cap="none" spc="-10" normalizeH="0" baseline="0" noProof="0" dirty="0">
                <a:ln>
                  <a:noFill/>
                </a:ln>
                <a:solidFill>
                  <a:srgbClr val="FFFFFF"/>
                </a:solidFill>
                <a:effectLst/>
                <a:uLnTx/>
                <a:uFillTx/>
                <a:latin typeface="Arial"/>
                <a:ea typeface="+mn-ea"/>
                <a:cs typeface="Arial"/>
              </a:rPr>
              <a:t>Leukapheresis</a:t>
            </a:r>
            <a:endParaRPr kumimoji="0" lang="en-US" sz="1100" b="0" i="0" u="none" strike="noStrike" kern="0" cap="none" spc="0" normalizeH="0" baseline="0" noProof="0" dirty="0">
              <a:ln>
                <a:noFill/>
              </a:ln>
              <a:solidFill>
                <a:sysClr val="windowText" lastClr="000000"/>
              </a:solidFill>
              <a:effectLst/>
              <a:uLnTx/>
              <a:uFillTx/>
              <a:latin typeface="Arial"/>
              <a:ea typeface="+mn-ea"/>
              <a:cs typeface="Arial"/>
            </a:endParaRPr>
          </a:p>
        </p:txBody>
      </p:sp>
      <p:sp>
        <p:nvSpPr>
          <p:cNvPr id="27" name="object 27"/>
          <p:cNvSpPr txBox="1"/>
          <p:nvPr/>
        </p:nvSpPr>
        <p:spPr>
          <a:xfrm>
            <a:off x="1278928" y="2483810"/>
            <a:ext cx="1397635" cy="332740"/>
          </a:xfrm>
          <a:prstGeom prst="rect">
            <a:avLst/>
          </a:prstGeom>
          <a:solidFill>
            <a:srgbClr val="6381AA"/>
          </a:solidFill>
          <a:ln w="3175">
            <a:solidFill>
              <a:srgbClr val="6381AA"/>
            </a:solidFill>
          </a:ln>
        </p:spPr>
        <p:txBody>
          <a:bodyPr vert="horz" wrap="square" lIns="0" tIns="61594" rIns="0" bIns="0" rtlCol="0">
            <a:spAutoFit/>
          </a:bodyPr>
          <a:lstStyle/>
          <a:p>
            <a:pPr marL="382905" marR="0" lvl="0" indent="0" algn="l" defTabSz="914400" rtl="0" eaLnBrk="1" fontAlgn="auto" latinLnBrk="0" hangingPunct="1">
              <a:lnSpc>
                <a:spcPct val="100000"/>
              </a:lnSpc>
              <a:spcBef>
                <a:spcPts val="484"/>
              </a:spcBef>
              <a:spcAft>
                <a:spcPts val="0"/>
              </a:spcAft>
              <a:buClrTx/>
              <a:buSzTx/>
              <a:buFontTx/>
              <a:buNone/>
              <a:tabLst/>
              <a:defRPr/>
            </a:pPr>
            <a:r>
              <a:rPr kumimoji="0" lang="en-US" sz="1100" b="0" i="0" u="none" strike="noStrike" kern="0" cap="none" spc="-10" normalizeH="0" baseline="0" noProof="0" dirty="0">
                <a:ln>
                  <a:noFill/>
                </a:ln>
                <a:solidFill>
                  <a:srgbClr val="FFFFFF"/>
                </a:solidFill>
                <a:effectLst/>
                <a:uLnTx/>
                <a:uFillTx/>
                <a:latin typeface="Arial"/>
                <a:ea typeface="+mn-ea"/>
                <a:cs typeface="Arial"/>
              </a:rPr>
              <a:t>Screening</a:t>
            </a:r>
            <a:endParaRPr kumimoji="0" lang="en-US" sz="1100" b="0" i="0" u="none" strike="noStrike" kern="0" cap="none" spc="0" normalizeH="0" baseline="0" noProof="0" dirty="0">
              <a:ln>
                <a:noFill/>
              </a:ln>
              <a:solidFill>
                <a:sysClr val="windowText" lastClr="000000"/>
              </a:solidFill>
              <a:effectLst/>
              <a:uLnTx/>
              <a:uFillTx/>
              <a:latin typeface="Arial"/>
              <a:ea typeface="+mn-ea"/>
              <a:cs typeface="Arial"/>
            </a:endParaRPr>
          </a:p>
        </p:txBody>
      </p:sp>
      <p:grpSp>
        <p:nvGrpSpPr>
          <p:cNvPr id="28" name="object 28"/>
          <p:cNvGrpSpPr/>
          <p:nvPr/>
        </p:nvGrpSpPr>
        <p:grpSpPr>
          <a:xfrm>
            <a:off x="4577143" y="2344805"/>
            <a:ext cx="6776720" cy="1570355"/>
            <a:chOff x="4577143" y="2487418"/>
            <a:chExt cx="6776720" cy="1570355"/>
          </a:xfrm>
        </p:grpSpPr>
        <p:sp>
          <p:nvSpPr>
            <p:cNvPr id="29" name="object 29"/>
            <p:cNvSpPr/>
            <p:nvPr/>
          </p:nvSpPr>
          <p:spPr>
            <a:xfrm>
              <a:off x="4577143" y="2517574"/>
              <a:ext cx="365760" cy="365760"/>
            </a:xfrm>
            <a:custGeom>
              <a:avLst/>
              <a:gdLst/>
              <a:ahLst/>
              <a:cxnLst/>
              <a:rect l="l" t="t" r="r" b="b"/>
              <a:pathLst>
                <a:path w="365760" h="365760">
                  <a:moveTo>
                    <a:pt x="182880" y="0"/>
                  </a:moveTo>
                  <a:lnTo>
                    <a:pt x="134262" y="6532"/>
                  </a:lnTo>
                  <a:lnTo>
                    <a:pt x="90576" y="24968"/>
                  </a:lnTo>
                  <a:lnTo>
                    <a:pt x="53563" y="53563"/>
                  </a:lnTo>
                  <a:lnTo>
                    <a:pt x="24968" y="90576"/>
                  </a:lnTo>
                  <a:lnTo>
                    <a:pt x="6532" y="134262"/>
                  </a:lnTo>
                  <a:lnTo>
                    <a:pt x="0" y="182879"/>
                  </a:lnTo>
                  <a:lnTo>
                    <a:pt x="6532" y="231497"/>
                  </a:lnTo>
                  <a:lnTo>
                    <a:pt x="24968" y="275183"/>
                  </a:lnTo>
                  <a:lnTo>
                    <a:pt x="53563" y="312196"/>
                  </a:lnTo>
                  <a:lnTo>
                    <a:pt x="90576" y="340791"/>
                  </a:lnTo>
                  <a:lnTo>
                    <a:pt x="134262" y="359227"/>
                  </a:lnTo>
                  <a:lnTo>
                    <a:pt x="182880" y="365759"/>
                  </a:lnTo>
                  <a:lnTo>
                    <a:pt x="231497" y="359227"/>
                  </a:lnTo>
                  <a:lnTo>
                    <a:pt x="275183" y="340791"/>
                  </a:lnTo>
                  <a:lnTo>
                    <a:pt x="312196" y="312196"/>
                  </a:lnTo>
                  <a:lnTo>
                    <a:pt x="340791" y="275183"/>
                  </a:lnTo>
                  <a:lnTo>
                    <a:pt x="359227" y="231497"/>
                  </a:lnTo>
                  <a:lnTo>
                    <a:pt x="365760" y="182879"/>
                  </a:lnTo>
                  <a:lnTo>
                    <a:pt x="359227" y="134262"/>
                  </a:lnTo>
                  <a:lnTo>
                    <a:pt x="340791" y="90576"/>
                  </a:lnTo>
                  <a:lnTo>
                    <a:pt x="312196" y="53563"/>
                  </a:lnTo>
                  <a:lnTo>
                    <a:pt x="275183" y="24968"/>
                  </a:lnTo>
                  <a:lnTo>
                    <a:pt x="231497" y="6532"/>
                  </a:lnTo>
                  <a:lnTo>
                    <a:pt x="182880" y="0"/>
                  </a:lnTo>
                  <a:close/>
                </a:path>
              </a:pathLst>
            </a:custGeom>
            <a:solidFill>
              <a:srgbClr val="6381A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pic>
          <p:nvPicPr>
            <p:cNvPr id="30" name="object 30"/>
            <p:cNvPicPr/>
            <p:nvPr/>
          </p:nvPicPr>
          <p:blipFill>
            <a:blip r:embed="rId4" cstate="print"/>
            <a:stretch>
              <a:fillRect/>
            </a:stretch>
          </p:blipFill>
          <p:spPr>
            <a:xfrm>
              <a:off x="4649532" y="2589965"/>
              <a:ext cx="220979" cy="220979"/>
            </a:xfrm>
            <a:prstGeom prst="rect">
              <a:avLst/>
            </a:prstGeom>
          </p:spPr>
        </p:pic>
        <p:sp>
          <p:nvSpPr>
            <p:cNvPr id="31" name="object 31"/>
            <p:cNvSpPr/>
            <p:nvPr/>
          </p:nvSpPr>
          <p:spPr>
            <a:xfrm>
              <a:off x="4577143" y="3631227"/>
              <a:ext cx="365760" cy="365760"/>
            </a:xfrm>
            <a:custGeom>
              <a:avLst/>
              <a:gdLst/>
              <a:ahLst/>
              <a:cxnLst/>
              <a:rect l="l" t="t" r="r" b="b"/>
              <a:pathLst>
                <a:path w="365760" h="365760">
                  <a:moveTo>
                    <a:pt x="182880" y="0"/>
                  </a:moveTo>
                  <a:lnTo>
                    <a:pt x="134262" y="6532"/>
                  </a:lnTo>
                  <a:lnTo>
                    <a:pt x="90576" y="24968"/>
                  </a:lnTo>
                  <a:lnTo>
                    <a:pt x="53563" y="53563"/>
                  </a:lnTo>
                  <a:lnTo>
                    <a:pt x="24968" y="90576"/>
                  </a:lnTo>
                  <a:lnTo>
                    <a:pt x="6532" y="134262"/>
                  </a:lnTo>
                  <a:lnTo>
                    <a:pt x="0" y="182879"/>
                  </a:lnTo>
                  <a:lnTo>
                    <a:pt x="6532" y="231497"/>
                  </a:lnTo>
                  <a:lnTo>
                    <a:pt x="24968" y="275183"/>
                  </a:lnTo>
                  <a:lnTo>
                    <a:pt x="53563" y="312196"/>
                  </a:lnTo>
                  <a:lnTo>
                    <a:pt x="90576" y="340791"/>
                  </a:lnTo>
                  <a:lnTo>
                    <a:pt x="134262" y="359227"/>
                  </a:lnTo>
                  <a:lnTo>
                    <a:pt x="182880" y="365759"/>
                  </a:lnTo>
                  <a:lnTo>
                    <a:pt x="231497" y="359227"/>
                  </a:lnTo>
                  <a:lnTo>
                    <a:pt x="275183" y="340791"/>
                  </a:lnTo>
                  <a:lnTo>
                    <a:pt x="312196" y="312196"/>
                  </a:lnTo>
                  <a:lnTo>
                    <a:pt x="340791" y="275183"/>
                  </a:lnTo>
                  <a:lnTo>
                    <a:pt x="359227" y="231497"/>
                  </a:lnTo>
                  <a:lnTo>
                    <a:pt x="365760" y="182879"/>
                  </a:lnTo>
                  <a:lnTo>
                    <a:pt x="359227" y="134262"/>
                  </a:lnTo>
                  <a:lnTo>
                    <a:pt x="340791" y="90576"/>
                  </a:lnTo>
                  <a:lnTo>
                    <a:pt x="312196" y="53563"/>
                  </a:lnTo>
                  <a:lnTo>
                    <a:pt x="275183" y="24968"/>
                  </a:lnTo>
                  <a:lnTo>
                    <a:pt x="231497" y="6532"/>
                  </a:lnTo>
                  <a:lnTo>
                    <a:pt x="182880" y="0"/>
                  </a:lnTo>
                  <a:close/>
                </a:path>
              </a:pathLst>
            </a:custGeom>
            <a:solidFill>
              <a:srgbClr val="6381A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pic>
          <p:nvPicPr>
            <p:cNvPr id="32" name="object 32"/>
            <p:cNvPicPr/>
            <p:nvPr/>
          </p:nvPicPr>
          <p:blipFill>
            <a:blip r:embed="rId4" cstate="print"/>
            <a:stretch>
              <a:fillRect/>
            </a:stretch>
          </p:blipFill>
          <p:spPr>
            <a:xfrm>
              <a:off x="4649532" y="3703617"/>
              <a:ext cx="220979" cy="220979"/>
            </a:xfrm>
            <a:prstGeom prst="rect">
              <a:avLst/>
            </a:prstGeom>
          </p:spPr>
        </p:pic>
        <p:sp>
          <p:nvSpPr>
            <p:cNvPr id="33" name="object 33"/>
            <p:cNvSpPr/>
            <p:nvPr/>
          </p:nvSpPr>
          <p:spPr>
            <a:xfrm>
              <a:off x="8958338" y="2517574"/>
              <a:ext cx="365760" cy="365760"/>
            </a:xfrm>
            <a:custGeom>
              <a:avLst/>
              <a:gdLst/>
              <a:ahLst/>
              <a:cxnLst/>
              <a:rect l="l" t="t" r="r" b="b"/>
              <a:pathLst>
                <a:path w="365759" h="365760">
                  <a:moveTo>
                    <a:pt x="182880" y="0"/>
                  </a:moveTo>
                  <a:lnTo>
                    <a:pt x="134262" y="6532"/>
                  </a:lnTo>
                  <a:lnTo>
                    <a:pt x="90576" y="24968"/>
                  </a:lnTo>
                  <a:lnTo>
                    <a:pt x="53563" y="53563"/>
                  </a:lnTo>
                  <a:lnTo>
                    <a:pt x="24968" y="90576"/>
                  </a:lnTo>
                  <a:lnTo>
                    <a:pt x="6532" y="134262"/>
                  </a:lnTo>
                  <a:lnTo>
                    <a:pt x="0" y="182879"/>
                  </a:lnTo>
                  <a:lnTo>
                    <a:pt x="6532" y="231497"/>
                  </a:lnTo>
                  <a:lnTo>
                    <a:pt x="24968" y="275183"/>
                  </a:lnTo>
                  <a:lnTo>
                    <a:pt x="53563" y="312196"/>
                  </a:lnTo>
                  <a:lnTo>
                    <a:pt x="90576" y="340791"/>
                  </a:lnTo>
                  <a:lnTo>
                    <a:pt x="134262" y="359227"/>
                  </a:lnTo>
                  <a:lnTo>
                    <a:pt x="182880" y="365759"/>
                  </a:lnTo>
                  <a:lnTo>
                    <a:pt x="231497" y="359227"/>
                  </a:lnTo>
                  <a:lnTo>
                    <a:pt x="275183" y="340791"/>
                  </a:lnTo>
                  <a:lnTo>
                    <a:pt x="312196" y="312196"/>
                  </a:lnTo>
                  <a:lnTo>
                    <a:pt x="340791" y="275183"/>
                  </a:lnTo>
                  <a:lnTo>
                    <a:pt x="359227" y="231497"/>
                  </a:lnTo>
                  <a:lnTo>
                    <a:pt x="365760" y="182879"/>
                  </a:lnTo>
                  <a:lnTo>
                    <a:pt x="359227" y="134262"/>
                  </a:lnTo>
                  <a:lnTo>
                    <a:pt x="340791" y="90576"/>
                  </a:lnTo>
                  <a:lnTo>
                    <a:pt x="312196" y="53563"/>
                  </a:lnTo>
                  <a:lnTo>
                    <a:pt x="275183" y="24968"/>
                  </a:lnTo>
                  <a:lnTo>
                    <a:pt x="231497" y="6532"/>
                  </a:lnTo>
                  <a:lnTo>
                    <a:pt x="182880" y="0"/>
                  </a:lnTo>
                  <a:close/>
                </a:path>
              </a:pathLst>
            </a:custGeom>
            <a:solidFill>
              <a:srgbClr val="6381A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pic>
          <p:nvPicPr>
            <p:cNvPr id="34" name="object 34"/>
            <p:cNvPicPr/>
            <p:nvPr/>
          </p:nvPicPr>
          <p:blipFill>
            <a:blip r:embed="rId4" cstate="print"/>
            <a:stretch>
              <a:fillRect/>
            </a:stretch>
          </p:blipFill>
          <p:spPr>
            <a:xfrm>
              <a:off x="9030729" y="2589965"/>
              <a:ext cx="220979" cy="220979"/>
            </a:xfrm>
            <a:prstGeom prst="rect">
              <a:avLst/>
            </a:prstGeom>
          </p:spPr>
        </p:pic>
        <p:sp>
          <p:nvSpPr>
            <p:cNvPr id="35" name="object 35"/>
            <p:cNvSpPr/>
            <p:nvPr/>
          </p:nvSpPr>
          <p:spPr>
            <a:xfrm>
              <a:off x="9505424" y="2487418"/>
              <a:ext cx="1848485" cy="1570355"/>
            </a:xfrm>
            <a:custGeom>
              <a:avLst/>
              <a:gdLst/>
              <a:ahLst/>
              <a:cxnLst/>
              <a:rect l="l" t="t" r="r" b="b"/>
              <a:pathLst>
                <a:path w="1848484" h="1570354">
                  <a:moveTo>
                    <a:pt x="1063256" y="0"/>
                  </a:moveTo>
                  <a:lnTo>
                    <a:pt x="1063256" y="425792"/>
                  </a:lnTo>
                  <a:lnTo>
                    <a:pt x="0" y="425792"/>
                  </a:lnTo>
                  <a:lnTo>
                    <a:pt x="0" y="1144447"/>
                  </a:lnTo>
                  <a:lnTo>
                    <a:pt x="1063256" y="1144447"/>
                  </a:lnTo>
                  <a:lnTo>
                    <a:pt x="1063256" y="1570240"/>
                  </a:lnTo>
                  <a:lnTo>
                    <a:pt x="1848370" y="785113"/>
                  </a:lnTo>
                  <a:lnTo>
                    <a:pt x="1063256" y="0"/>
                  </a:lnTo>
                  <a:close/>
                </a:path>
              </a:pathLst>
            </a:custGeom>
            <a:solidFill>
              <a:srgbClr val="D9D9D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sp>
        <p:nvSpPr>
          <p:cNvPr id="36" name="object 36"/>
          <p:cNvSpPr txBox="1"/>
          <p:nvPr/>
        </p:nvSpPr>
        <p:spPr>
          <a:xfrm>
            <a:off x="5678513" y="1570655"/>
            <a:ext cx="2202815" cy="274320"/>
          </a:xfrm>
          <a:prstGeom prst="rect">
            <a:avLst/>
          </a:prstGeom>
          <a:solidFill>
            <a:srgbClr val="6F2F9F"/>
          </a:solidFill>
        </p:spPr>
        <p:txBody>
          <a:bodyPr vert="horz" wrap="square" lIns="0" tIns="48895" rIns="0" bIns="0" rtlCol="0">
            <a:spAutoFit/>
          </a:bodyPr>
          <a:lstStyle/>
          <a:p>
            <a:pPr marL="79375" marR="0" lvl="0" indent="0" algn="l" defTabSz="914400" rtl="0" eaLnBrk="1" fontAlgn="auto" latinLnBrk="0" hangingPunct="1">
              <a:lnSpc>
                <a:spcPct val="100000"/>
              </a:lnSpc>
              <a:spcBef>
                <a:spcPts val="385"/>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Arial"/>
                <a:ea typeface="+mn-ea"/>
                <a:cs typeface="Arial"/>
              </a:rPr>
              <a:t>Lymphodepleting</a:t>
            </a:r>
            <a:r>
              <a:rPr kumimoji="0" lang="en-US" sz="1100" b="0" i="0" u="none" strike="noStrike" kern="0" cap="none" spc="-75" normalizeH="0" baseline="0" noProof="0" dirty="0">
                <a:ln>
                  <a:noFill/>
                </a:ln>
                <a:solidFill>
                  <a:srgbClr val="FFFFFF"/>
                </a:solidFill>
                <a:effectLst/>
                <a:uLnTx/>
                <a:uFillTx/>
                <a:latin typeface="Arial"/>
                <a:ea typeface="+mn-ea"/>
                <a:cs typeface="Arial"/>
              </a:rPr>
              <a:t> </a:t>
            </a:r>
            <a:r>
              <a:rPr kumimoji="0" lang="en-US" sz="1100" b="0" i="0" u="none" strike="noStrike" kern="0" cap="none" spc="-10" normalizeH="0" baseline="0" noProof="0" dirty="0">
                <a:ln>
                  <a:noFill/>
                </a:ln>
                <a:solidFill>
                  <a:srgbClr val="FFFFFF"/>
                </a:solidFill>
                <a:effectLst/>
                <a:uLnTx/>
                <a:uFillTx/>
                <a:latin typeface="Arial"/>
                <a:ea typeface="+mn-ea"/>
                <a:cs typeface="Arial"/>
              </a:rPr>
              <a:t>chemotherapy</a:t>
            </a:r>
            <a:r>
              <a:rPr kumimoji="0" lang="en-US" sz="1050" b="0" i="0" u="none" strike="noStrike" kern="0" cap="none" spc="-15" normalizeH="0" baseline="27777" noProof="0" dirty="0">
                <a:ln>
                  <a:noFill/>
                </a:ln>
                <a:solidFill>
                  <a:srgbClr val="FFFFFF"/>
                </a:solidFill>
                <a:effectLst/>
                <a:uLnTx/>
                <a:uFillTx/>
                <a:latin typeface="Arial"/>
                <a:ea typeface="+mn-ea"/>
                <a:cs typeface="Arial"/>
              </a:rPr>
              <a:t>a</a:t>
            </a:r>
            <a:endParaRPr kumimoji="0" lang="en-US" sz="1050" b="0" i="0" u="none" strike="noStrike" kern="0" cap="none" spc="0" normalizeH="0" baseline="27777" noProof="0" dirty="0">
              <a:ln>
                <a:noFill/>
              </a:ln>
              <a:solidFill>
                <a:sysClr val="windowText" lastClr="000000"/>
              </a:solidFill>
              <a:effectLst/>
              <a:uLnTx/>
              <a:uFillTx/>
              <a:latin typeface="Arial"/>
              <a:ea typeface="+mn-ea"/>
              <a:cs typeface="Arial"/>
            </a:endParaRPr>
          </a:p>
        </p:txBody>
      </p:sp>
      <p:sp>
        <p:nvSpPr>
          <p:cNvPr id="37" name="object 37"/>
          <p:cNvSpPr txBox="1"/>
          <p:nvPr/>
        </p:nvSpPr>
        <p:spPr>
          <a:xfrm>
            <a:off x="8278939" y="1570667"/>
            <a:ext cx="2468880" cy="274320"/>
          </a:xfrm>
          <a:prstGeom prst="rect">
            <a:avLst/>
          </a:prstGeom>
          <a:solidFill>
            <a:srgbClr val="6F2F9F"/>
          </a:solidFill>
        </p:spPr>
        <p:txBody>
          <a:bodyPr vert="horz" wrap="square" lIns="0" tIns="48895" rIns="0" bIns="0" rtlCol="0">
            <a:spAutoFit/>
          </a:bodyPr>
          <a:lstStyle/>
          <a:p>
            <a:pPr marL="444500" marR="0" lvl="0" indent="0" algn="l" defTabSz="914400" rtl="0" eaLnBrk="1" fontAlgn="auto" latinLnBrk="0" hangingPunct="1">
              <a:lnSpc>
                <a:spcPct val="100000"/>
              </a:lnSpc>
              <a:spcBef>
                <a:spcPts val="385"/>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Arial"/>
                <a:ea typeface="+mn-ea"/>
                <a:cs typeface="Arial"/>
              </a:rPr>
              <a:t>First</a:t>
            </a:r>
            <a:r>
              <a:rPr kumimoji="0" lang="en-US" sz="1100" b="0" i="0" u="none" strike="noStrike" kern="0" cap="none" spc="-45" normalizeH="0" baseline="0" noProof="0" dirty="0">
                <a:ln>
                  <a:noFill/>
                </a:ln>
                <a:solidFill>
                  <a:srgbClr val="FFFFFF"/>
                </a:solidFill>
                <a:effectLst/>
                <a:uLnTx/>
                <a:uFillTx/>
                <a:latin typeface="Arial"/>
                <a:ea typeface="+mn-ea"/>
                <a:cs typeface="Arial"/>
              </a:rPr>
              <a:t> </a:t>
            </a:r>
            <a:r>
              <a:rPr kumimoji="0" lang="en-US" sz="1100" b="0" i="0" u="none" strike="noStrike" kern="0" cap="none" spc="0" normalizeH="0" baseline="0" noProof="0" dirty="0">
                <a:ln>
                  <a:noFill/>
                </a:ln>
                <a:solidFill>
                  <a:srgbClr val="FFFFFF"/>
                </a:solidFill>
                <a:effectLst/>
                <a:uLnTx/>
                <a:uFillTx/>
                <a:latin typeface="Arial"/>
                <a:ea typeface="+mn-ea"/>
                <a:cs typeface="Arial"/>
              </a:rPr>
              <a:t>disease</a:t>
            </a:r>
            <a:r>
              <a:rPr kumimoji="0" lang="en-US" sz="1100" b="0" i="0" u="none" strike="noStrike" kern="0" cap="none" spc="-25" normalizeH="0" baseline="0" noProof="0" dirty="0">
                <a:ln>
                  <a:noFill/>
                </a:ln>
                <a:solidFill>
                  <a:srgbClr val="FFFFFF"/>
                </a:solidFill>
                <a:effectLst/>
                <a:uLnTx/>
                <a:uFillTx/>
                <a:latin typeface="Arial"/>
                <a:ea typeface="+mn-ea"/>
                <a:cs typeface="Arial"/>
              </a:rPr>
              <a:t> </a:t>
            </a:r>
            <a:r>
              <a:rPr kumimoji="0" lang="en-US" sz="1100" b="0" i="0" u="none" strike="noStrike" kern="0" cap="none" spc="-10" normalizeH="0" baseline="0" noProof="0" dirty="0">
                <a:ln>
                  <a:noFill/>
                </a:ln>
                <a:solidFill>
                  <a:srgbClr val="FFFFFF"/>
                </a:solidFill>
                <a:effectLst/>
                <a:uLnTx/>
                <a:uFillTx/>
                <a:latin typeface="Arial"/>
                <a:ea typeface="+mn-ea"/>
                <a:cs typeface="Arial"/>
              </a:rPr>
              <a:t>assessment</a:t>
            </a:r>
            <a:endParaRPr kumimoji="0" lang="en-US" sz="1100" b="0" i="0" u="none" strike="noStrike" kern="0" cap="none" spc="0" normalizeH="0" baseline="0" noProof="0" dirty="0">
              <a:ln>
                <a:noFill/>
              </a:ln>
              <a:solidFill>
                <a:sysClr val="windowText" lastClr="000000"/>
              </a:solidFill>
              <a:effectLst/>
              <a:uLnTx/>
              <a:uFillTx/>
              <a:latin typeface="Arial"/>
              <a:ea typeface="+mn-ea"/>
              <a:cs typeface="Arial"/>
            </a:endParaRPr>
          </a:p>
        </p:txBody>
      </p:sp>
      <p:sp>
        <p:nvSpPr>
          <p:cNvPr id="38" name="object 38"/>
          <p:cNvSpPr txBox="1"/>
          <p:nvPr/>
        </p:nvSpPr>
        <p:spPr>
          <a:xfrm>
            <a:off x="9593187" y="2851895"/>
            <a:ext cx="1660525" cy="51435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US" sz="1200" b="1" i="0" u="none" strike="noStrike" kern="0" cap="none" spc="-10" normalizeH="0" baseline="0" noProof="0" dirty="0">
                <a:ln>
                  <a:noFill/>
                </a:ln>
                <a:solidFill>
                  <a:sysClr val="windowText" lastClr="000000"/>
                </a:solidFill>
                <a:effectLst/>
                <a:uLnTx/>
                <a:uFillTx/>
                <a:latin typeface="Arial"/>
                <a:ea typeface="+mn-ea"/>
                <a:cs typeface="Arial"/>
              </a:rPr>
              <a:t>Follow-</a:t>
            </a:r>
            <a:r>
              <a:rPr kumimoji="0" lang="en-US" sz="1200" b="1" i="0" u="none" strike="noStrike" kern="0" cap="none" spc="0" normalizeH="0" baseline="0" noProof="0" dirty="0">
                <a:ln>
                  <a:noFill/>
                </a:ln>
                <a:solidFill>
                  <a:sysClr val="windowText" lastClr="000000"/>
                </a:solidFill>
                <a:effectLst/>
                <a:uLnTx/>
                <a:uFillTx/>
                <a:latin typeface="Arial"/>
                <a:ea typeface="+mn-ea"/>
                <a:cs typeface="Arial"/>
              </a:rPr>
              <a:t>up</a:t>
            </a:r>
            <a:r>
              <a:rPr kumimoji="0" lang="en-US" sz="1200" b="1" i="0" u="none" strike="noStrike" kern="0" cap="none" spc="15" normalizeH="0" baseline="0" noProof="0" dirty="0">
                <a:ln>
                  <a:noFill/>
                </a:ln>
                <a:solidFill>
                  <a:sysClr val="windowText" lastClr="000000"/>
                </a:solidFill>
                <a:effectLst/>
                <a:uLnTx/>
                <a:uFillTx/>
                <a:latin typeface="Arial"/>
                <a:ea typeface="+mn-ea"/>
                <a:cs typeface="Arial"/>
              </a:rPr>
              <a:t> </a:t>
            </a:r>
            <a:r>
              <a:rPr kumimoji="0" lang="en-US" sz="1200" b="1" i="0" u="none" strike="noStrike" kern="0" cap="none" spc="-10" normalizeH="0" baseline="0" noProof="0" dirty="0">
                <a:ln>
                  <a:noFill/>
                </a:ln>
                <a:solidFill>
                  <a:sysClr val="windowText" lastClr="000000"/>
                </a:solidFill>
                <a:effectLst/>
                <a:uLnTx/>
                <a:uFillTx/>
                <a:latin typeface="Arial"/>
                <a:ea typeface="+mn-ea"/>
                <a:cs typeface="Arial"/>
              </a:rPr>
              <a:t>Period</a:t>
            </a:r>
            <a:endParaRPr kumimoji="0" lang="en-US" sz="1200" b="0" i="0" u="none" strike="noStrike" kern="0" cap="none" spc="0" normalizeH="0" baseline="0" noProof="0" dirty="0">
              <a:ln>
                <a:noFill/>
              </a:ln>
              <a:solidFill>
                <a:sysClr val="windowText" lastClr="000000"/>
              </a:solidFill>
              <a:effectLst/>
              <a:uLnTx/>
              <a:uFillTx/>
              <a:latin typeface="Arial"/>
              <a:ea typeface="+mn-ea"/>
              <a:cs typeface="Arial"/>
            </a:endParaRPr>
          </a:p>
          <a:p>
            <a:pPr marL="12700" marR="5080" lvl="0" indent="0" algn="l" defTabSz="914400" rtl="0" eaLnBrk="1" fontAlgn="auto" latinLnBrk="0" hangingPunct="1">
              <a:lnSpc>
                <a:spcPct val="100000"/>
              </a:lnSpc>
              <a:spcBef>
                <a:spcPts val="5"/>
              </a:spcBef>
              <a:spcAft>
                <a:spcPts val="0"/>
              </a:spcAft>
              <a:buClrTx/>
              <a:buSzTx/>
              <a:buFontTx/>
              <a:buNone/>
              <a:tabLst/>
              <a:defRPr/>
            </a:pPr>
            <a:r>
              <a:rPr kumimoji="0" lang="en-US" sz="1000" b="0" i="0" u="none" strike="noStrike" kern="0" cap="none" spc="-10" normalizeH="0" baseline="0" noProof="0" dirty="0">
                <a:ln>
                  <a:noFill/>
                </a:ln>
                <a:solidFill>
                  <a:sysClr val="windowText" lastClr="000000"/>
                </a:solidFill>
                <a:effectLst/>
                <a:uLnTx/>
                <a:uFillTx/>
                <a:latin typeface="Arial"/>
                <a:ea typeface="+mn-ea"/>
                <a:cs typeface="Arial"/>
              </a:rPr>
              <a:t>(post-</a:t>
            </a:r>
            <a:r>
              <a:rPr kumimoji="0" lang="en-US" sz="1000" b="0" i="0" u="none" strike="noStrike" kern="0" cap="none" spc="0" normalizeH="0" baseline="0" noProof="0" dirty="0">
                <a:ln>
                  <a:noFill/>
                </a:ln>
                <a:solidFill>
                  <a:sysClr val="windowText" lastClr="000000"/>
                </a:solidFill>
                <a:effectLst/>
                <a:uLnTx/>
                <a:uFillTx/>
                <a:latin typeface="Arial"/>
                <a:ea typeface="+mn-ea"/>
                <a:cs typeface="Arial"/>
              </a:rPr>
              <a:t>treatment</a:t>
            </a:r>
            <a:r>
              <a:rPr kumimoji="0" lang="en-US" sz="1000" b="0" i="0" u="none" strike="noStrike" kern="0" cap="none" spc="-30" normalizeH="0" baseline="0" noProof="0" dirty="0">
                <a:ln>
                  <a:noFill/>
                </a:ln>
                <a:solidFill>
                  <a:sysClr val="windowText" lastClr="000000"/>
                </a:solidFill>
                <a:effectLst/>
                <a:uLnTx/>
                <a:uFillTx/>
                <a:latin typeface="Arial"/>
                <a:ea typeface="+mn-ea"/>
                <a:cs typeface="Arial"/>
              </a:rPr>
              <a:t> </a:t>
            </a:r>
            <a:r>
              <a:rPr kumimoji="0" lang="en-US" sz="1000" b="0" i="0" u="none" strike="noStrike" kern="0" cap="none" spc="-10" normalizeH="0" baseline="0" noProof="0" dirty="0">
                <a:ln>
                  <a:noFill/>
                </a:ln>
                <a:solidFill>
                  <a:sysClr val="windowText" lastClr="000000"/>
                </a:solidFill>
                <a:effectLst/>
                <a:uLnTx/>
                <a:uFillTx/>
                <a:latin typeface="Arial"/>
                <a:ea typeface="+mn-ea"/>
                <a:cs typeface="Arial"/>
              </a:rPr>
              <a:t>assessments </a:t>
            </a:r>
            <a:r>
              <a:rPr kumimoji="0" lang="en-US" sz="1000" b="0" i="0" u="none" strike="noStrike" kern="0" cap="none" spc="0" normalizeH="0" baseline="0" noProof="0" dirty="0">
                <a:ln>
                  <a:noFill/>
                </a:ln>
                <a:solidFill>
                  <a:sysClr val="windowText" lastClr="000000"/>
                </a:solidFill>
                <a:effectLst/>
                <a:uLnTx/>
                <a:uFillTx/>
                <a:latin typeface="Arial"/>
                <a:ea typeface="+mn-ea"/>
                <a:cs typeface="Arial"/>
              </a:rPr>
              <a:t>and</a:t>
            </a:r>
            <a:r>
              <a:rPr kumimoji="0" lang="en-US" sz="1000" b="0" i="0" u="none" strike="noStrike" kern="0" cap="none" spc="-25" normalizeH="0" baseline="0" noProof="0" dirty="0">
                <a:ln>
                  <a:noFill/>
                </a:ln>
                <a:solidFill>
                  <a:sysClr val="windowText" lastClr="000000"/>
                </a:solidFill>
                <a:effectLst/>
                <a:uLnTx/>
                <a:uFillTx/>
                <a:latin typeface="Arial"/>
                <a:ea typeface="+mn-ea"/>
                <a:cs typeface="Arial"/>
              </a:rPr>
              <a:t> </a:t>
            </a:r>
            <a:r>
              <a:rPr kumimoji="0" lang="en-US" sz="1000" b="0" i="0" u="none" strike="noStrike" kern="0" cap="none" spc="-10" normalizeH="0" baseline="0" noProof="0" dirty="0">
                <a:ln>
                  <a:noFill/>
                </a:ln>
                <a:solidFill>
                  <a:sysClr val="windowText" lastClr="000000"/>
                </a:solidFill>
                <a:effectLst/>
                <a:uLnTx/>
                <a:uFillTx/>
                <a:latin typeface="Arial"/>
                <a:ea typeface="+mn-ea"/>
                <a:cs typeface="Arial"/>
              </a:rPr>
              <a:t>long-</a:t>
            </a:r>
            <a:r>
              <a:rPr kumimoji="0" lang="en-US" sz="1000" b="0" i="0" u="none" strike="noStrike" kern="0" cap="none" spc="0" normalizeH="0" baseline="0" noProof="0" dirty="0">
                <a:ln>
                  <a:noFill/>
                </a:ln>
                <a:solidFill>
                  <a:sysClr val="windowText" lastClr="000000"/>
                </a:solidFill>
                <a:effectLst/>
                <a:uLnTx/>
                <a:uFillTx/>
                <a:latin typeface="Arial"/>
                <a:ea typeface="+mn-ea"/>
                <a:cs typeface="Arial"/>
              </a:rPr>
              <a:t>term </a:t>
            </a:r>
            <a:r>
              <a:rPr kumimoji="0" lang="en-US" sz="1000" b="0" i="0" u="none" strike="noStrike" kern="0" cap="none" spc="-10" normalizeH="0" baseline="0" noProof="0" dirty="0">
                <a:ln>
                  <a:noFill/>
                </a:ln>
                <a:solidFill>
                  <a:sysClr val="windowText" lastClr="000000"/>
                </a:solidFill>
                <a:effectLst/>
                <a:uLnTx/>
                <a:uFillTx/>
                <a:latin typeface="Arial"/>
                <a:ea typeface="+mn-ea"/>
                <a:cs typeface="Arial"/>
              </a:rPr>
              <a:t>follow-</a:t>
            </a:r>
            <a:r>
              <a:rPr kumimoji="0" lang="en-US" sz="1000" b="0" i="0" u="none" strike="noStrike" kern="0" cap="none" spc="-25" normalizeH="0" baseline="0" noProof="0" dirty="0">
                <a:ln>
                  <a:noFill/>
                </a:ln>
                <a:solidFill>
                  <a:sysClr val="windowText" lastClr="000000"/>
                </a:solidFill>
                <a:effectLst/>
                <a:uLnTx/>
                <a:uFillTx/>
                <a:latin typeface="Arial"/>
                <a:ea typeface="+mn-ea"/>
                <a:cs typeface="Arial"/>
              </a:rPr>
              <a:t>up)</a:t>
            </a:r>
            <a:endParaRPr kumimoji="0" lang="en-US" sz="1000" b="0" i="0" u="none" strike="noStrike" kern="0" cap="none" spc="0" normalizeH="0" baseline="0" noProof="0" dirty="0">
              <a:ln>
                <a:noFill/>
              </a:ln>
              <a:solidFill>
                <a:sysClr val="windowText" lastClr="000000"/>
              </a:solidFill>
              <a:effectLst/>
              <a:uLnTx/>
              <a:uFillTx/>
              <a:latin typeface="Arial"/>
              <a:ea typeface="+mn-ea"/>
              <a:cs typeface="Arial"/>
            </a:endParaRPr>
          </a:p>
        </p:txBody>
      </p:sp>
      <p:grpSp>
        <p:nvGrpSpPr>
          <p:cNvPr id="39" name="object 39"/>
          <p:cNvGrpSpPr/>
          <p:nvPr/>
        </p:nvGrpSpPr>
        <p:grpSpPr>
          <a:xfrm>
            <a:off x="6539735" y="2209968"/>
            <a:ext cx="685800" cy="685800"/>
            <a:chOff x="6539735" y="2352581"/>
            <a:chExt cx="685800" cy="685800"/>
          </a:xfrm>
        </p:grpSpPr>
        <p:sp>
          <p:nvSpPr>
            <p:cNvPr id="40" name="object 40"/>
            <p:cNvSpPr/>
            <p:nvPr/>
          </p:nvSpPr>
          <p:spPr>
            <a:xfrm>
              <a:off x="6539735" y="2352581"/>
              <a:ext cx="685800" cy="685800"/>
            </a:xfrm>
            <a:custGeom>
              <a:avLst/>
              <a:gdLst/>
              <a:ahLst/>
              <a:cxnLst/>
              <a:rect l="l" t="t" r="r" b="b"/>
              <a:pathLst>
                <a:path w="685800" h="685800">
                  <a:moveTo>
                    <a:pt x="342900" y="0"/>
                  </a:moveTo>
                  <a:lnTo>
                    <a:pt x="296369" y="3130"/>
                  </a:lnTo>
                  <a:lnTo>
                    <a:pt x="251742" y="12248"/>
                  </a:lnTo>
                  <a:lnTo>
                    <a:pt x="209426" y="26946"/>
                  </a:lnTo>
                  <a:lnTo>
                    <a:pt x="169830" y="46815"/>
                  </a:lnTo>
                  <a:lnTo>
                    <a:pt x="133362" y="71446"/>
                  </a:lnTo>
                  <a:lnTo>
                    <a:pt x="100431" y="100431"/>
                  </a:lnTo>
                  <a:lnTo>
                    <a:pt x="71446" y="133362"/>
                  </a:lnTo>
                  <a:lnTo>
                    <a:pt x="46815" y="169830"/>
                  </a:lnTo>
                  <a:lnTo>
                    <a:pt x="26946" y="209426"/>
                  </a:lnTo>
                  <a:lnTo>
                    <a:pt x="12248" y="251742"/>
                  </a:lnTo>
                  <a:lnTo>
                    <a:pt x="3130" y="296369"/>
                  </a:lnTo>
                  <a:lnTo>
                    <a:pt x="0" y="342900"/>
                  </a:lnTo>
                  <a:lnTo>
                    <a:pt x="3130" y="389430"/>
                  </a:lnTo>
                  <a:lnTo>
                    <a:pt x="12248" y="434057"/>
                  </a:lnTo>
                  <a:lnTo>
                    <a:pt x="26946" y="476373"/>
                  </a:lnTo>
                  <a:lnTo>
                    <a:pt x="46815" y="515969"/>
                  </a:lnTo>
                  <a:lnTo>
                    <a:pt x="71446" y="552437"/>
                  </a:lnTo>
                  <a:lnTo>
                    <a:pt x="100431" y="585368"/>
                  </a:lnTo>
                  <a:lnTo>
                    <a:pt x="133362" y="614353"/>
                  </a:lnTo>
                  <a:lnTo>
                    <a:pt x="169830" y="638984"/>
                  </a:lnTo>
                  <a:lnTo>
                    <a:pt x="209426" y="658853"/>
                  </a:lnTo>
                  <a:lnTo>
                    <a:pt x="251742" y="673551"/>
                  </a:lnTo>
                  <a:lnTo>
                    <a:pt x="296369" y="682669"/>
                  </a:lnTo>
                  <a:lnTo>
                    <a:pt x="342900" y="685800"/>
                  </a:lnTo>
                  <a:lnTo>
                    <a:pt x="389430" y="682669"/>
                  </a:lnTo>
                  <a:lnTo>
                    <a:pt x="434057" y="673551"/>
                  </a:lnTo>
                  <a:lnTo>
                    <a:pt x="476373" y="658853"/>
                  </a:lnTo>
                  <a:lnTo>
                    <a:pt x="515969" y="638984"/>
                  </a:lnTo>
                  <a:lnTo>
                    <a:pt x="552437" y="614353"/>
                  </a:lnTo>
                  <a:lnTo>
                    <a:pt x="585368" y="585368"/>
                  </a:lnTo>
                  <a:lnTo>
                    <a:pt x="614353" y="552437"/>
                  </a:lnTo>
                  <a:lnTo>
                    <a:pt x="638984" y="515969"/>
                  </a:lnTo>
                  <a:lnTo>
                    <a:pt x="658853" y="476373"/>
                  </a:lnTo>
                  <a:lnTo>
                    <a:pt x="673551" y="434057"/>
                  </a:lnTo>
                  <a:lnTo>
                    <a:pt x="682669" y="389430"/>
                  </a:lnTo>
                  <a:lnTo>
                    <a:pt x="685800" y="342900"/>
                  </a:lnTo>
                  <a:lnTo>
                    <a:pt x="682669" y="296369"/>
                  </a:lnTo>
                  <a:lnTo>
                    <a:pt x="673551" y="251742"/>
                  </a:lnTo>
                  <a:lnTo>
                    <a:pt x="658853" y="209426"/>
                  </a:lnTo>
                  <a:lnTo>
                    <a:pt x="638984" y="169830"/>
                  </a:lnTo>
                  <a:lnTo>
                    <a:pt x="614353" y="133362"/>
                  </a:lnTo>
                  <a:lnTo>
                    <a:pt x="585368" y="100431"/>
                  </a:lnTo>
                  <a:lnTo>
                    <a:pt x="552437" y="71446"/>
                  </a:lnTo>
                  <a:lnTo>
                    <a:pt x="515969" y="46815"/>
                  </a:lnTo>
                  <a:lnTo>
                    <a:pt x="476373" y="26946"/>
                  </a:lnTo>
                  <a:lnTo>
                    <a:pt x="434057" y="12248"/>
                  </a:lnTo>
                  <a:lnTo>
                    <a:pt x="389430" y="3130"/>
                  </a:lnTo>
                  <a:lnTo>
                    <a:pt x="342900" y="0"/>
                  </a:lnTo>
                  <a:close/>
                </a:path>
              </a:pathLst>
            </a:custGeom>
            <a:solidFill>
              <a:srgbClr val="6381A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1" name="object 41"/>
            <p:cNvSpPr/>
            <p:nvPr/>
          </p:nvSpPr>
          <p:spPr>
            <a:xfrm>
              <a:off x="6585453" y="2398301"/>
              <a:ext cx="594360" cy="594360"/>
            </a:xfrm>
            <a:custGeom>
              <a:avLst/>
              <a:gdLst/>
              <a:ahLst/>
              <a:cxnLst/>
              <a:rect l="l" t="t" r="r" b="b"/>
              <a:pathLst>
                <a:path w="594359" h="594360">
                  <a:moveTo>
                    <a:pt x="297180" y="0"/>
                  </a:moveTo>
                  <a:lnTo>
                    <a:pt x="248977" y="3889"/>
                  </a:lnTo>
                  <a:lnTo>
                    <a:pt x="203250" y="15150"/>
                  </a:lnTo>
                  <a:lnTo>
                    <a:pt x="160611" y="33171"/>
                  </a:lnTo>
                  <a:lnTo>
                    <a:pt x="121671" y="57340"/>
                  </a:lnTo>
                  <a:lnTo>
                    <a:pt x="87044" y="87044"/>
                  </a:lnTo>
                  <a:lnTo>
                    <a:pt x="57340" y="121671"/>
                  </a:lnTo>
                  <a:lnTo>
                    <a:pt x="33171" y="160611"/>
                  </a:lnTo>
                  <a:lnTo>
                    <a:pt x="15150" y="203250"/>
                  </a:lnTo>
                  <a:lnTo>
                    <a:pt x="3889" y="248977"/>
                  </a:lnTo>
                  <a:lnTo>
                    <a:pt x="0" y="297179"/>
                  </a:lnTo>
                  <a:lnTo>
                    <a:pt x="3889" y="345382"/>
                  </a:lnTo>
                  <a:lnTo>
                    <a:pt x="15150" y="391109"/>
                  </a:lnTo>
                  <a:lnTo>
                    <a:pt x="33171" y="433748"/>
                  </a:lnTo>
                  <a:lnTo>
                    <a:pt x="57340" y="472688"/>
                  </a:lnTo>
                  <a:lnTo>
                    <a:pt x="87044" y="507315"/>
                  </a:lnTo>
                  <a:lnTo>
                    <a:pt x="121671" y="537019"/>
                  </a:lnTo>
                  <a:lnTo>
                    <a:pt x="160611" y="561188"/>
                  </a:lnTo>
                  <a:lnTo>
                    <a:pt x="203250" y="579209"/>
                  </a:lnTo>
                  <a:lnTo>
                    <a:pt x="248977" y="590470"/>
                  </a:lnTo>
                  <a:lnTo>
                    <a:pt x="297180" y="594359"/>
                  </a:lnTo>
                  <a:lnTo>
                    <a:pt x="345385" y="590470"/>
                  </a:lnTo>
                  <a:lnTo>
                    <a:pt x="391114" y="579209"/>
                  </a:lnTo>
                  <a:lnTo>
                    <a:pt x="433754" y="561188"/>
                  </a:lnTo>
                  <a:lnTo>
                    <a:pt x="472693" y="537019"/>
                  </a:lnTo>
                  <a:lnTo>
                    <a:pt x="507320" y="507315"/>
                  </a:lnTo>
                  <a:lnTo>
                    <a:pt x="537023" y="472688"/>
                  </a:lnTo>
                  <a:lnTo>
                    <a:pt x="561190" y="433748"/>
                  </a:lnTo>
                  <a:lnTo>
                    <a:pt x="579210" y="391109"/>
                  </a:lnTo>
                  <a:lnTo>
                    <a:pt x="590470" y="345382"/>
                  </a:lnTo>
                  <a:lnTo>
                    <a:pt x="594360" y="297179"/>
                  </a:lnTo>
                  <a:lnTo>
                    <a:pt x="590470" y="248977"/>
                  </a:lnTo>
                  <a:lnTo>
                    <a:pt x="579210" y="203250"/>
                  </a:lnTo>
                  <a:lnTo>
                    <a:pt x="561190" y="160611"/>
                  </a:lnTo>
                  <a:lnTo>
                    <a:pt x="537023" y="121671"/>
                  </a:lnTo>
                  <a:lnTo>
                    <a:pt x="507320" y="87044"/>
                  </a:lnTo>
                  <a:lnTo>
                    <a:pt x="472693" y="57340"/>
                  </a:lnTo>
                  <a:lnTo>
                    <a:pt x="433754" y="33171"/>
                  </a:lnTo>
                  <a:lnTo>
                    <a:pt x="391114" y="15150"/>
                  </a:lnTo>
                  <a:lnTo>
                    <a:pt x="345385" y="3889"/>
                  </a:lnTo>
                  <a:lnTo>
                    <a:pt x="297180" y="0"/>
                  </a:lnTo>
                  <a:close/>
                </a:path>
              </a:pathLst>
            </a:custGeom>
            <a:solidFill>
              <a:srgbClr val="DFE6E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2" name="object 42"/>
            <p:cNvSpPr/>
            <p:nvPr/>
          </p:nvSpPr>
          <p:spPr>
            <a:xfrm>
              <a:off x="6585453" y="2398301"/>
              <a:ext cx="594360" cy="594360"/>
            </a:xfrm>
            <a:custGeom>
              <a:avLst/>
              <a:gdLst/>
              <a:ahLst/>
              <a:cxnLst/>
              <a:rect l="l" t="t" r="r" b="b"/>
              <a:pathLst>
                <a:path w="594359" h="594360">
                  <a:moveTo>
                    <a:pt x="0" y="297179"/>
                  </a:moveTo>
                  <a:lnTo>
                    <a:pt x="3889" y="248977"/>
                  </a:lnTo>
                  <a:lnTo>
                    <a:pt x="15150" y="203250"/>
                  </a:lnTo>
                  <a:lnTo>
                    <a:pt x="33171" y="160611"/>
                  </a:lnTo>
                  <a:lnTo>
                    <a:pt x="57340" y="121671"/>
                  </a:lnTo>
                  <a:lnTo>
                    <a:pt x="87044" y="87044"/>
                  </a:lnTo>
                  <a:lnTo>
                    <a:pt x="121671" y="57340"/>
                  </a:lnTo>
                  <a:lnTo>
                    <a:pt x="160611" y="33171"/>
                  </a:lnTo>
                  <a:lnTo>
                    <a:pt x="203250" y="15150"/>
                  </a:lnTo>
                  <a:lnTo>
                    <a:pt x="248977" y="3889"/>
                  </a:lnTo>
                  <a:lnTo>
                    <a:pt x="297180" y="0"/>
                  </a:lnTo>
                  <a:lnTo>
                    <a:pt x="345385" y="3889"/>
                  </a:lnTo>
                  <a:lnTo>
                    <a:pt x="391114" y="15150"/>
                  </a:lnTo>
                  <a:lnTo>
                    <a:pt x="433754" y="33171"/>
                  </a:lnTo>
                  <a:lnTo>
                    <a:pt x="472693" y="57340"/>
                  </a:lnTo>
                  <a:lnTo>
                    <a:pt x="507320" y="87044"/>
                  </a:lnTo>
                  <a:lnTo>
                    <a:pt x="537023" y="121671"/>
                  </a:lnTo>
                  <a:lnTo>
                    <a:pt x="561190" y="160611"/>
                  </a:lnTo>
                  <a:lnTo>
                    <a:pt x="579210" y="203250"/>
                  </a:lnTo>
                  <a:lnTo>
                    <a:pt x="590470" y="248977"/>
                  </a:lnTo>
                  <a:lnTo>
                    <a:pt x="594360" y="297179"/>
                  </a:lnTo>
                  <a:lnTo>
                    <a:pt x="590470" y="345382"/>
                  </a:lnTo>
                  <a:lnTo>
                    <a:pt x="579210" y="391109"/>
                  </a:lnTo>
                  <a:lnTo>
                    <a:pt x="561190" y="433748"/>
                  </a:lnTo>
                  <a:lnTo>
                    <a:pt x="537023" y="472688"/>
                  </a:lnTo>
                  <a:lnTo>
                    <a:pt x="507320" y="507315"/>
                  </a:lnTo>
                  <a:lnTo>
                    <a:pt x="472693" y="537019"/>
                  </a:lnTo>
                  <a:lnTo>
                    <a:pt x="433754" y="561188"/>
                  </a:lnTo>
                  <a:lnTo>
                    <a:pt x="391114" y="579209"/>
                  </a:lnTo>
                  <a:lnTo>
                    <a:pt x="345385" y="590470"/>
                  </a:lnTo>
                  <a:lnTo>
                    <a:pt x="297180" y="594359"/>
                  </a:lnTo>
                  <a:lnTo>
                    <a:pt x="248977" y="590470"/>
                  </a:lnTo>
                  <a:lnTo>
                    <a:pt x="203250" y="579209"/>
                  </a:lnTo>
                  <a:lnTo>
                    <a:pt x="160611" y="561188"/>
                  </a:lnTo>
                  <a:lnTo>
                    <a:pt x="121671" y="537019"/>
                  </a:lnTo>
                  <a:lnTo>
                    <a:pt x="87044" y="507315"/>
                  </a:lnTo>
                  <a:lnTo>
                    <a:pt x="57340" y="472688"/>
                  </a:lnTo>
                  <a:lnTo>
                    <a:pt x="33171" y="433748"/>
                  </a:lnTo>
                  <a:lnTo>
                    <a:pt x="15150" y="391109"/>
                  </a:lnTo>
                  <a:lnTo>
                    <a:pt x="3889" y="345382"/>
                  </a:lnTo>
                  <a:lnTo>
                    <a:pt x="0" y="297179"/>
                  </a:lnTo>
                  <a:close/>
                </a:path>
              </a:pathLst>
            </a:custGeom>
            <a:ln w="38100">
              <a:solidFill>
                <a:srgbClr val="1B1D1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sp>
        <p:nvSpPr>
          <p:cNvPr id="43" name="object 43"/>
          <p:cNvSpPr txBox="1"/>
          <p:nvPr/>
        </p:nvSpPr>
        <p:spPr>
          <a:xfrm>
            <a:off x="6641486" y="2368564"/>
            <a:ext cx="481330" cy="299720"/>
          </a:xfrm>
          <a:prstGeom prst="rect">
            <a:avLst/>
          </a:prstGeom>
        </p:spPr>
        <p:txBody>
          <a:bodyPr vert="horz" wrap="square" lIns="0" tIns="12700" rIns="0" bIns="0" rtlCol="0">
            <a:spAutoFit/>
          </a:bodyPr>
          <a:lstStyle/>
          <a:p>
            <a:pPr marL="60960" marR="0" lvl="0" indent="0" algn="l" defTabSz="914400" rtl="0" eaLnBrk="1" fontAlgn="auto" latinLnBrk="0" hangingPunct="1">
              <a:lnSpc>
                <a:spcPct val="100000"/>
              </a:lnSpc>
              <a:spcBef>
                <a:spcPts val="100"/>
              </a:spcBef>
              <a:spcAft>
                <a:spcPts val="0"/>
              </a:spcAft>
              <a:buClrTx/>
              <a:buSzTx/>
              <a:buFontTx/>
              <a:buNone/>
              <a:tabLst/>
              <a:defRPr/>
            </a:pPr>
            <a:r>
              <a:rPr kumimoji="0" lang="en-US" sz="900" b="1" i="0" u="none" strike="noStrike" kern="0" cap="none" spc="-40" normalizeH="0" baseline="0" noProof="0" dirty="0">
                <a:ln>
                  <a:noFill/>
                </a:ln>
                <a:solidFill>
                  <a:sysClr val="windowText" lastClr="000000"/>
                </a:solidFill>
                <a:effectLst/>
                <a:uLnTx/>
                <a:uFillTx/>
                <a:latin typeface="Arial"/>
                <a:ea typeface="+mn-ea"/>
                <a:cs typeface="Arial"/>
              </a:rPr>
              <a:t>Day</a:t>
            </a:r>
            <a:r>
              <a:rPr kumimoji="0" lang="en-US" sz="900" b="1" i="0" u="none" strike="noStrike" kern="0" cap="none" spc="-90" normalizeH="0" baseline="0" noProof="0" dirty="0">
                <a:ln>
                  <a:noFill/>
                </a:ln>
                <a:solidFill>
                  <a:sysClr val="windowText" lastClr="000000"/>
                </a:solidFill>
                <a:effectLst/>
                <a:uLnTx/>
                <a:uFillTx/>
                <a:latin typeface="Arial"/>
                <a:ea typeface="+mn-ea"/>
                <a:cs typeface="Arial"/>
              </a:rPr>
              <a:t> </a:t>
            </a:r>
            <a:r>
              <a:rPr kumimoji="0" lang="en-US" sz="900" b="1" i="0" u="none" strike="noStrike" kern="0" cap="none" spc="-25" normalizeH="0" baseline="0" noProof="0" dirty="0">
                <a:ln>
                  <a:noFill/>
                </a:ln>
                <a:solidFill>
                  <a:sysClr val="windowText" lastClr="000000"/>
                </a:solidFill>
                <a:effectLst/>
                <a:uLnTx/>
                <a:uFillTx/>
                <a:latin typeface="Arial"/>
                <a:ea typeface="+mn-ea"/>
                <a:cs typeface="Arial"/>
              </a:rPr>
              <a:t>−5</a:t>
            </a:r>
            <a:endParaRPr kumimoji="0" lang="en-US" sz="900" b="0" i="0" u="none" strike="noStrike" kern="0" cap="none" spc="0" normalizeH="0" baseline="0" noProof="0" dirty="0">
              <a:ln>
                <a:noFill/>
              </a:ln>
              <a:solidFill>
                <a:sysClr val="windowText" lastClr="000000"/>
              </a:solidFill>
              <a:effectLst/>
              <a:uLnTx/>
              <a:uFillTx/>
              <a:latin typeface="Arial"/>
              <a:ea typeface="+mn-ea"/>
              <a:cs typeface="Arial"/>
            </a:endParaRPr>
          </a:p>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35" normalizeH="0" baseline="0" noProof="0" dirty="0">
                <a:ln>
                  <a:noFill/>
                </a:ln>
                <a:solidFill>
                  <a:sysClr val="windowText" lastClr="000000"/>
                </a:solidFill>
                <a:effectLst/>
                <a:uLnTx/>
                <a:uFillTx/>
                <a:latin typeface="Arial"/>
                <a:ea typeface="+mn-ea"/>
                <a:cs typeface="Arial"/>
              </a:rPr>
              <a:t>to</a:t>
            </a:r>
            <a:r>
              <a:rPr kumimoji="0" lang="en-US" sz="900" b="1" i="0" u="none" strike="noStrike" kern="0" cap="none" spc="-90" normalizeH="0" baseline="0" noProof="0" dirty="0">
                <a:ln>
                  <a:noFill/>
                </a:ln>
                <a:solidFill>
                  <a:sysClr val="windowText" lastClr="000000"/>
                </a:solidFill>
                <a:effectLst/>
                <a:uLnTx/>
                <a:uFillTx/>
                <a:latin typeface="Arial"/>
                <a:ea typeface="+mn-ea"/>
                <a:cs typeface="Arial"/>
              </a:rPr>
              <a:t> </a:t>
            </a:r>
            <a:r>
              <a:rPr kumimoji="0" lang="en-US" sz="900" b="1" i="0" u="none" strike="noStrike" kern="0" cap="none" spc="-40" normalizeH="0" baseline="0" noProof="0" dirty="0">
                <a:ln>
                  <a:noFill/>
                </a:ln>
                <a:solidFill>
                  <a:sysClr val="windowText" lastClr="000000"/>
                </a:solidFill>
                <a:effectLst/>
                <a:uLnTx/>
                <a:uFillTx/>
                <a:latin typeface="Arial"/>
                <a:ea typeface="+mn-ea"/>
                <a:cs typeface="Arial"/>
              </a:rPr>
              <a:t>Day</a:t>
            </a:r>
            <a:r>
              <a:rPr kumimoji="0" lang="en-US" sz="900" b="1" i="0" u="none" strike="noStrike" kern="0" cap="none" spc="-85" normalizeH="0" baseline="0" noProof="0" dirty="0">
                <a:ln>
                  <a:noFill/>
                </a:ln>
                <a:solidFill>
                  <a:sysClr val="windowText" lastClr="000000"/>
                </a:solidFill>
                <a:effectLst/>
                <a:uLnTx/>
                <a:uFillTx/>
                <a:latin typeface="Arial"/>
                <a:ea typeface="+mn-ea"/>
                <a:cs typeface="Arial"/>
              </a:rPr>
              <a:t> </a:t>
            </a:r>
            <a:r>
              <a:rPr kumimoji="0" lang="en-US" sz="900" b="1" i="0" u="none" strike="noStrike" kern="0" cap="none" spc="-25" normalizeH="0" baseline="0" noProof="0" dirty="0">
                <a:ln>
                  <a:noFill/>
                </a:ln>
                <a:solidFill>
                  <a:sysClr val="windowText" lastClr="000000"/>
                </a:solidFill>
                <a:effectLst/>
                <a:uLnTx/>
                <a:uFillTx/>
                <a:latin typeface="Arial"/>
                <a:ea typeface="+mn-ea"/>
                <a:cs typeface="Arial"/>
              </a:rPr>
              <a:t>−3</a:t>
            </a:r>
            <a:endParaRPr kumimoji="0" lang="en-US" sz="900" b="0" i="0" u="none" strike="noStrike" kern="0" cap="none" spc="0" normalizeH="0" baseline="0" noProof="0" dirty="0">
              <a:ln>
                <a:noFill/>
              </a:ln>
              <a:solidFill>
                <a:sysClr val="windowText" lastClr="000000"/>
              </a:solidFill>
              <a:effectLst/>
              <a:uLnTx/>
              <a:uFillTx/>
              <a:latin typeface="Arial"/>
              <a:ea typeface="+mn-ea"/>
              <a:cs typeface="Arial"/>
            </a:endParaRPr>
          </a:p>
        </p:txBody>
      </p:sp>
      <p:grpSp>
        <p:nvGrpSpPr>
          <p:cNvPr id="44" name="object 44"/>
          <p:cNvGrpSpPr/>
          <p:nvPr/>
        </p:nvGrpSpPr>
        <p:grpSpPr>
          <a:xfrm>
            <a:off x="7730794" y="2209968"/>
            <a:ext cx="685800" cy="685800"/>
            <a:chOff x="7730794" y="2352581"/>
            <a:chExt cx="685800" cy="685800"/>
          </a:xfrm>
        </p:grpSpPr>
        <p:sp>
          <p:nvSpPr>
            <p:cNvPr id="45" name="object 45"/>
            <p:cNvSpPr/>
            <p:nvPr/>
          </p:nvSpPr>
          <p:spPr>
            <a:xfrm>
              <a:off x="7730794" y="2352581"/>
              <a:ext cx="685800" cy="685800"/>
            </a:xfrm>
            <a:custGeom>
              <a:avLst/>
              <a:gdLst/>
              <a:ahLst/>
              <a:cxnLst/>
              <a:rect l="l" t="t" r="r" b="b"/>
              <a:pathLst>
                <a:path w="685800" h="685800">
                  <a:moveTo>
                    <a:pt x="342900" y="0"/>
                  </a:moveTo>
                  <a:lnTo>
                    <a:pt x="296369" y="3130"/>
                  </a:lnTo>
                  <a:lnTo>
                    <a:pt x="251742" y="12248"/>
                  </a:lnTo>
                  <a:lnTo>
                    <a:pt x="209426" y="26946"/>
                  </a:lnTo>
                  <a:lnTo>
                    <a:pt x="169830" y="46815"/>
                  </a:lnTo>
                  <a:lnTo>
                    <a:pt x="133362" y="71446"/>
                  </a:lnTo>
                  <a:lnTo>
                    <a:pt x="100431" y="100431"/>
                  </a:lnTo>
                  <a:lnTo>
                    <a:pt x="71446" y="133362"/>
                  </a:lnTo>
                  <a:lnTo>
                    <a:pt x="46815" y="169830"/>
                  </a:lnTo>
                  <a:lnTo>
                    <a:pt x="26946" y="209426"/>
                  </a:lnTo>
                  <a:lnTo>
                    <a:pt x="12248" y="251742"/>
                  </a:lnTo>
                  <a:lnTo>
                    <a:pt x="3130" y="296369"/>
                  </a:lnTo>
                  <a:lnTo>
                    <a:pt x="0" y="342900"/>
                  </a:lnTo>
                  <a:lnTo>
                    <a:pt x="3130" y="389430"/>
                  </a:lnTo>
                  <a:lnTo>
                    <a:pt x="12248" y="434057"/>
                  </a:lnTo>
                  <a:lnTo>
                    <a:pt x="26946" y="476373"/>
                  </a:lnTo>
                  <a:lnTo>
                    <a:pt x="46815" y="515969"/>
                  </a:lnTo>
                  <a:lnTo>
                    <a:pt x="71446" y="552437"/>
                  </a:lnTo>
                  <a:lnTo>
                    <a:pt x="100431" y="585368"/>
                  </a:lnTo>
                  <a:lnTo>
                    <a:pt x="133362" y="614353"/>
                  </a:lnTo>
                  <a:lnTo>
                    <a:pt x="169830" y="638984"/>
                  </a:lnTo>
                  <a:lnTo>
                    <a:pt x="209426" y="658853"/>
                  </a:lnTo>
                  <a:lnTo>
                    <a:pt x="251742" y="673551"/>
                  </a:lnTo>
                  <a:lnTo>
                    <a:pt x="296369" y="682669"/>
                  </a:lnTo>
                  <a:lnTo>
                    <a:pt x="342900" y="685800"/>
                  </a:lnTo>
                  <a:lnTo>
                    <a:pt x="389430" y="682669"/>
                  </a:lnTo>
                  <a:lnTo>
                    <a:pt x="434057" y="673551"/>
                  </a:lnTo>
                  <a:lnTo>
                    <a:pt x="476373" y="658853"/>
                  </a:lnTo>
                  <a:lnTo>
                    <a:pt x="515969" y="638984"/>
                  </a:lnTo>
                  <a:lnTo>
                    <a:pt x="552437" y="614353"/>
                  </a:lnTo>
                  <a:lnTo>
                    <a:pt x="585368" y="585368"/>
                  </a:lnTo>
                  <a:lnTo>
                    <a:pt x="614353" y="552437"/>
                  </a:lnTo>
                  <a:lnTo>
                    <a:pt x="638984" y="515969"/>
                  </a:lnTo>
                  <a:lnTo>
                    <a:pt x="658853" y="476373"/>
                  </a:lnTo>
                  <a:lnTo>
                    <a:pt x="673551" y="434057"/>
                  </a:lnTo>
                  <a:lnTo>
                    <a:pt x="682669" y="389430"/>
                  </a:lnTo>
                  <a:lnTo>
                    <a:pt x="685800" y="342900"/>
                  </a:lnTo>
                  <a:lnTo>
                    <a:pt x="682669" y="296369"/>
                  </a:lnTo>
                  <a:lnTo>
                    <a:pt x="673551" y="251742"/>
                  </a:lnTo>
                  <a:lnTo>
                    <a:pt x="658853" y="209426"/>
                  </a:lnTo>
                  <a:lnTo>
                    <a:pt x="638984" y="169830"/>
                  </a:lnTo>
                  <a:lnTo>
                    <a:pt x="614353" y="133362"/>
                  </a:lnTo>
                  <a:lnTo>
                    <a:pt x="585368" y="100431"/>
                  </a:lnTo>
                  <a:lnTo>
                    <a:pt x="552437" y="71446"/>
                  </a:lnTo>
                  <a:lnTo>
                    <a:pt x="515969" y="46815"/>
                  </a:lnTo>
                  <a:lnTo>
                    <a:pt x="476373" y="26946"/>
                  </a:lnTo>
                  <a:lnTo>
                    <a:pt x="434057" y="12248"/>
                  </a:lnTo>
                  <a:lnTo>
                    <a:pt x="389430" y="3130"/>
                  </a:lnTo>
                  <a:lnTo>
                    <a:pt x="342900" y="0"/>
                  </a:lnTo>
                  <a:close/>
                </a:path>
              </a:pathLst>
            </a:custGeom>
            <a:solidFill>
              <a:srgbClr val="6381A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6" name="object 46"/>
            <p:cNvSpPr/>
            <p:nvPr/>
          </p:nvSpPr>
          <p:spPr>
            <a:xfrm>
              <a:off x="7776513" y="2398301"/>
              <a:ext cx="594360" cy="594360"/>
            </a:xfrm>
            <a:custGeom>
              <a:avLst/>
              <a:gdLst/>
              <a:ahLst/>
              <a:cxnLst/>
              <a:rect l="l" t="t" r="r" b="b"/>
              <a:pathLst>
                <a:path w="594359" h="594360">
                  <a:moveTo>
                    <a:pt x="297180" y="0"/>
                  </a:moveTo>
                  <a:lnTo>
                    <a:pt x="248977" y="3889"/>
                  </a:lnTo>
                  <a:lnTo>
                    <a:pt x="203250" y="15150"/>
                  </a:lnTo>
                  <a:lnTo>
                    <a:pt x="160611" y="33171"/>
                  </a:lnTo>
                  <a:lnTo>
                    <a:pt x="121671" y="57340"/>
                  </a:lnTo>
                  <a:lnTo>
                    <a:pt x="87044" y="87044"/>
                  </a:lnTo>
                  <a:lnTo>
                    <a:pt x="57340" y="121671"/>
                  </a:lnTo>
                  <a:lnTo>
                    <a:pt x="33171" y="160611"/>
                  </a:lnTo>
                  <a:lnTo>
                    <a:pt x="15150" y="203250"/>
                  </a:lnTo>
                  <a:lnTo>
                    <a:pt x="3889" y="248977"/>
                  </a:lnTo>
                  <a:lnTo>
                    <a:pt x="0" y="297179"/>
                  </a:lnTo>
                  <a:lnTo>
                    <a:pt x="3889" y="345382"/>
                  </a:lnTo>
                  <a:lnTo>
                    <a:pt x="15150" y="391109"/>
                  </a:lnTo>
                  <a:lnTo>
                    <a:pt x="33171" y="433748"/>
                  </a:lnTo>
                  <a:lnTo>
                    <a:pt x="57340" y="472688"/>
                  </a:lnTo>
                  <a:lnTo>
                    <a:pt x="87044" y="507315"/>
                  </a:lnTo>
                  <a:lnTo>
                    <a:pt x="121671" y="537019"/>
                  </a:lnTo>
                  <a:lnTo>
                    <a:pt x="160611" y="561188"/>
                  </a:lnTo>
                  <a:lnTo>
                    <a:pt x="203250" y="579209"/>
                  </a:lnTo>
                  <a:lnTo>
                    <a:pt x="248977" y="590470"/>
                  </a:lnTo>
                  <a:lnTo>
                    <a:pt x="297180" y="594359"/>
                  </a:lnTo>
                  <a:lnTo>
                    <a:pt x="345385" y="590470"/>
                  </a:lnTo>
                  <a:lnTo>
                    <a:pt x="391114" y="579209"/>
                  </a:lnTo>
                  <a:lnTo>
                    <a:pt x="433754" y="561188"/>
                  </a:lnTo>
                  <a:lnTo>
                    <a:pt x="472693" y="537019"/>
                  </a:lnTo>
                  <a:lnTo>
                    <a:pt x="507320" y="507315"/>
                  </a:lnTo>
                  <a:lnTo>
                    <a:pt x="537023" y="472688"/>
                  </a:lnTo>
                  <a:lnTo>
                    <a:pt x="561190" y="433748"/>
                  </a:lnTo>
                  <a:lnTo>
                    <a:pt x="579210" y="391109"/>
                  </a:lnTo>
                  <a:lnTo>
                    <a:pt x="590470" y="345382"/>
                  </a:lnTo>
                  <a:lnTo>
                    <a:pt x="594360" y="297179"/>
                  </a:lnTo>
                  <a:lnTo>
                    <a:pt x="590470" y="248977"/>
                  </a:lnTo>
                  <a:lnTo>
                    <a:pt x="579210" y="203250"/>
                  </a:lnTo>
                  <a:lnTo>
                    <a:pt x="561190" y="160611"/>
                  </a:lnTo>
                  <a:lnTo>
                    <a:pt x="537023" y="121671"/>
                  </a:lnTo>
                  <a:lnTo>
                    <a:pt x="507320" y="87044"/>
                  </a:lnTo>
                  <a:lnTo>
                    <a:pt x="472693" y="57340"/>
                  </a:lnTo>
                  <a:lnTo>
                    <a:pt x="433754" y="33171"/>
                  </a:lnTo>
                  <a:lnTo>
                    <a:pt x="391114" y="15150"/>
                  </a:lnTo>
                  <a:lnTo>
                    <a:pt x="345385" y="3889"/>
                  </a:lnTo>
                  <a:lnTo>
                    <a:pt x="297180" y="0"/>
                  </a:lnTo>
                  <a:close/>
                </a:path>
              </a:pathLst>
            </a:custGeom>
            <a:solidFill>
              <a:srgbClr val="DFE6E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7" name="object 47"/>
            <p:cNvSpPr/>
            <p:nvPr/>
          </p:nvSpPr>
          <p:spPr>
            <a:xfrm>
              <a:off x="7776513" y="2398301"/>
              <a:ext cx="594360" cy="594360"/>
            </a:xfrm>
            <a:custGeom>
              <a:avLst/>
              <a:gdLst/>
              <a:ahLst/>
              <a:cxnLst/>
              <a:rect l="l" t="t" r="r" b="b"/>
              <a:pathLst>
                <a:path w="594359" h="594360">
                  <a:moveTo>
                    <a:pt x="0" y="297179"/>
                  </a:moveTo>
                  <a:lnTo>
                    <a:pt x="3889" y="248977"/>
                  </a:lnTo>
                  <a:lnTo>
                    <a:pt x="15150" y="203250"/>
                  </a:lnTo>
                  <a:lnTo>
                    <a:pt x="33171" y="160611"/>
                  </a:lnTo>
                  <a:lnTo>
                    <a:pt x="57340" y="121671"/>
                  </a:lnTo>
                  <a:lnTo>
                    <a:pt x="87044" y="87044"/>
                  </a:lnTo>
                  <a:lnTo>
                    <a:pt x="121671" y="57340"/>
                  </a:lnTo>
                  <a:lnTo>
                    <a:pt x="160611" y="33171"/>
                  </a:lnTo>
                  <a:lnTo>
                    <a:pt x="203250" y="15150"/>
                  </a:lnTo>
                  <a:lnTo>
                    <a:pt x="248977" y="3889"/>
                  </a:lnTo>
                  <a:lnTo>
                    <a:pt x="297180" y="0"/>
                  </a:lnTo>
                  <a:lnTo>
                    <a:pt x="345385" y="3889"/>
                  </a:lnTo>
                  <a:lnTo>
                    <a:pt x="391114" y="15150"/>
                  </a:lnTo>
                  <a:lnTo>
                    <a:pt x="433754" y="33171"/>
                  </a:lnTo>
                  <a:lnTo>
                    <a:pt x="472693" y="57340"/>
                  </a:lnTo>
                  <a:lnTo>
                    <a:pt x="507320" y="87044"/>
                  </a:lnTo>
                  <a:lnTo>
                    <a:pt x="537023" y="121671"/>
                  </a:lnTo>
                  <a:lnTo>
                    <a:pt x="561190" y="160611"/>
                  </a:lnTo>
                  <a:lnTo>
                    <a:pt x="579210" y="203250"/>
                  </a:lnTo>
                  <a:lnTo>
                    <a:pt x="590470" y="248977"/>
                  </a:lnTo>
                  <a:lnTo>
                    <a:pt x="594360" y="297179"/>
                  </a:lnTo>
                  <a:lnTo>
                    <a:pt x="590470" y="345382"/>
                  </a:lnTo>
                  <a:lnTo>
                    <a:pt x="579210" y="391109"/>
                  </a:lnTo>
                  <a:lnTo>
                    <a:pt x="561190" y="433748"/>
                  </a:lnTo>
                  <a:lnTo>
                    <a:pt x="537023" y="472688"/>
                  </a:lnTo>
                  <a:lnTo>
                    <a:pt x="507320" y="507315"/>
                  </a:lnTo>
                  <a:lnTo>
                    <a:pt x="472693" y="537019"/>
                  </a:lnTo>
                  <a:lnTo>
                    <a:pt x="433754" y="561188"/>
                  </a:lnTo>
                  <a:lnTo>
                    <a:pt x="391114" y="579209"/>
                  </a:lnTo>
                  <a:lnTo>
                    <a:pt x="345385" y="590470"/>
                  </a:lnTo>
                  <a:lnTo>
                    <a:pt x="297180" y="594359"/>
                  </a:lnTo>
                  <a:lnTo>
                    <a:pt x="248977" y="590470"/>
                  </a:lnTo>
                  <a:lnTo>
                    <a:pt x="203250" y="579209"/>
                  </a:lnTo>
                  <a:lnTo>
                    <a:pt x="160611" y="561188"/>
                  </a:lnTo>
                  <a:lnTo>
                    <a:pt x="121671" y="537019"/>
                  </a:lnTo>
                  <a:lnTo>
                    <a:pt x="87044" y="507315"/>
                  </a:lnTo>
                  <a:lnTo>
                    <a:pt x="57340" y="472688"/>
                  </a:lnTo>
                  <a:lnTo>
                    <a:pt x="33171" y="433748"/>
                  </a:lnTo>
                  <a:lnTo>
                    <a:pt x="15150" y="391109"/>
                  </a:lnTo>
                  <a:lnTo>
                    <a:pt x="3889" y="345382"/>
                  </a:lnTo>
                  <a:lnTo>
                    <a:pt x="0" y="297179"/>
                  </a:lnTo>
                  <a:close/>
                </a:path>
              </a:pathLst>
            </a:custGeom>
            <a:ln w="38100">
              <a:solidFill>
                <a:srgbClr val="1B1D1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sp>
        <p:nvSpPr>
          <p:cNvPr id="48" name="object 48"/>
          <p:cNvSpPr txBox="1"/>
          <p:nvPr/>
        </p:nvSpPr>
        <p:spPr>
          <a:xfrm>
            <a:off x="7923707" y="2460174"/>
            <a:ext cx="305435"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US" sz="900" b="1" i="0" u="none" strike="noStrike" kern="0" cap="none" spc="-40" normalizeH="0" baseline="0" noProof="0" dirty="0">
                <a:ln>
                  <a:noFill/>
                </a:ln>
                <a:solidFill>
                  <a:sysClr val="windowText" lastClr="000000"/>
                </a:solidFill>
                <a:effectLst/>
                <a:uLnTx/>
                <a:uFillTx/>
                <a:latin typeface="Arial"/>
                <a:ea typeface="+mn-ea"/>
                <a:cs typeface="Arial"/>
              </a:rPr>
              <a:t>Day</a:t>
            </a:r>
            <a:r>
              <a:rPr kumimoji="0" lang="en-US" sz="900" b="1" i="0" u="none" strike="noStrike" kern="0" cap="none" spc="-90" normalizeH="0" baseline="0" noProof="0" dirty="0">
                <a:ln>
                  <a:noFill/>
                </a:ln>
                <a:solidFill>
                  <a:sysClr val="windowText" lastClr="000000"/>
                </a:solidFill>
                <a:effectLst/>
                <a:uLnTx/>
                <a:uFillTx/>
                <a:latin typeface="Arial"/>
                <a:ea typeface="+mn-ea"/>
                <a:cs typeface="Arial"/>
              </a:rPr>
              <a:t> </a:t>
            </a:r>
            <a:r>
              <a:rPr kumimoji="0" lang="en-US" sz="900" b="1" i="0" u="none" strike="noStrike" kern="0" cap="none" spc="-50" normalizeH="0" baseline="0" noProof="0" dirty="0">
                <a:ln>
                  <a:noFill/>
                </a:ln>
                <a:solidFill>
                  <a:sysClr val="windowText" lastClr="000000"/>
                </a:solidFill>
                <a:effectLst/>
                <a:uLnTx/>
                <a:uFillTx/>
                <a:latin typeface="Arial"/>
                <a:ea typeface="+mn-ea"/>
                <a:cs typeface="Arial"/>
              </a:rPr>
              <a:t>0</a:t>
            </a:r>
            <a:endParaRPr kumimoji="0" lang="en-US" sz="900" b="0" i="0" u="none" strike="noStrike" kern="0" cap="none" spc="0" normalizeH="0" baseline="0" noProof="0" dirty="0">
              <a:ln>
                <a:noFill/>
              </a:ln>
              <a:solidFill>
                <a:sysClr val="windowText" lastClr="000000"/>
              </a:solidFill>
              <a:effectLst/>
              <a:uLnTx/>
              <a:uFillTx/>
              <a:latin typeface="Arial"/>
              <a:ea typeface="+mn-ea"/>
              <a:cs typeface="Arial"/>
            </a:endParaRPr>
          </a:p>
        </p:txBody>
      </p:sp>
      <p:grpSp>
        <p:nvGrpSpPr>
          <p:cNvPr id="49" name="object 49"/>
          <p:cNvGrpSpPr/>
          <p:nvPr/>
        </p:nvGrpSpPr>
        <p:grpSpPr>
          <a:xfrm>
            <a:off x="4100105" y="1830693"/>
            <a:ext cx="5224145" cy="2961640"/>
            <a:chOff x="4100105" y="1973306"/>
            <a:chExt cx="5224145" cy="2961640"/>
          </a:xfrm>
        </p:grpSpPr>
        <p:sp>
          <p:nvSpPr>
            <p:cNvPr id="50" name="object 50"/>
            <p:cNvSpPr/>
            <p:nvPr/>
          </p:nvSpPr>
          <p:spPr>
            <a:xfrm>
              <a:off x="8958338" y="3631227"/>
              <a:ext cx="365760" cy="365760"/>
            </a:xfrm>
            <a:custGeom>
              <a:avLst/>
              <a:gdLst/>
              <a:ahLst/>
              <a:cxnLst/>
              <a:rect l="l" t="t" r="r" b="b"/>
              <a:pathLst>
                <a:path w="365759" h="365760">
                  <a:moveTo>
                    <a:pt x="182880" y="0"/>
                  </a:moveTo>
                  <a:lnTo>
                    <a:pt x="134262" y="6532"/>
                  </a:lnTo>
                  <a:lnTo>
                    <a:pt x="90576" y="24968"/>
                  </a:lnTo>
                  <a:lnTo>
                    <a:pt x="53563" y="53563"/>
                  </a:lnTo>
                  <a:lnTo>
                    <a:pt x="24968" y="90576"/>
                  </a:lnTo>
                  <a:lnTo>
                    <a:pt x="6532" y="134262"/>
                  </a:lnTo>
                  <a:lnTo>
                    <a:pt x="0" y="182879"/>
                  </a:lnTo>
                  <a:lnTo>
                    <a:pt x="6532" y="231497"/>
                  </a:lnTo>
                  <a:lnTo>
                    <a:pt x="24968" y="275183"/>
                  </a:lnTo>
                  <a:lnTo>
                    <a:pt x="53563" y="312196"/>
                  </a:lnTo>
                  <a:lnTo>
                    <a:pt x="90576" y="340791"/>
                  </a:lnTo>
                  <a:lnTo>
                    <a:pt x="134262" y="359227"/>
                  </a:lnTo>
                  <a:lnTo>
                    <a:pt x="182880" y="365759"/>
                  </a:lnTo>
                  <a:lnTo>
                    <a:pt x="231497" y="359227"/>
                  </a:lnTo>
                  <a:lnTo>
                    <a:pt x="275183" y="340791"/>
                  </a:lnTo>
                  <a:lnTo>
                    <a:pt x="312196" y="312196"/>
                  </a:lnTo>
                  <a:lnTo>
                    <a:pt x="340791" y="275183"/>
                  </a:lnTo>
                  <a:lnTo>
                    <a:pt x="359227" y="231497"/>
                  </a:lnTo>
                  <a:lnTo>
                    <a:pt x="365760" y="182879"/>
                  </a:lnTo>
                  <a:lnTo>
                    <a:pt x="359227" y="134262"/>
                  </a:lnTo>
                  <a:lnTo>
                    <a:pt x="340791" y="90576"/>
                  </a:lnTo>
                  <a:lnTo>
                    <a:pt x="312196" y="53563"/>
                  </a:lnTo>
                  <a:lnTo>
                    <a:pt x="275183" y="24968"/>
                  </a:lnTo>
                  <a:lnTo>
                    <a:pt x="231497" y="6532"/>
                  </a:lnTo>
                  <a:lnTo>
                    <a:pt x="182880" y="0"/>
                  </a:lnTo>
                  <a:close/>
                </a:path>
              </a:pathLst>
            </a:custGeom>
            <a:solidFill>
              <a:srgbClr val="6381A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pic>
          <p:nvPicPr>
            <p:cNvPr id="51" name="object 51"/>
            <p:cNvPicPr/>
            <p:nvPr/>
          </p:nvPicPr>
          <p:blipFill>
            <a:blip r:embed="rId4" cstate="print"/>
            <a:stretch>
              <a:fillRect/>
            </a:stretch>
          </p:blipFill>
          <p:spPr>
            <a:xfrm>
              <a:off x="9030729" y="3703617"/>
              <a:ext cx="220979" cy="220979"/>
            </a:xfrm>
            <a:prstGeom prst="rect">
              <a:avLst/>
            </a:prstGeom>
          </p:spPr>
        </p:pic>
        <p:sp>
          <p:nvSpPr>
            <p:cNvPr id="52" name="object 52"/>
            <p:cNvSpPr/>
            <p:nvPr/>
          </p:nvSpPr>
          <p:spPr>
            <a:xfrm>
              <a:off x="4753237" y="1987594"/>
              <a:ext cx="6985" cy="530225"/>
            </a:xfrm>
            <a:custGeom>
              <a:avLst/>
              <a:gdLst/>
              <a:ahLst/>
              <a:cxnLst/>
              <a:rect l="l" t="t" r="r" b="b"/>
              <a:pathLst>
                <a:path w="6985" h="530225">
                  <a:moveTo>
                    <a:pt x="0" y="0"/>
                  </a:moveTo>
                  <a:lnTo>
                    <a:pt x="6781" y="529983"/>
                  </a:lnTo>
                </a:path>
              </a:pathLst>
            </a:custGeom>
            <a:ln w="28575">
              <a:solidFill>
                <a:srgbClr val="6381A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53" name="object 53"/>
            <p:cNvSpPr/>
            <p:nvPr/>
          </p:nvSpPr>
          <p:spPr>
            <a:xfrm>
              <a:off x="4754394" y="3990980"/>
              <a:ext cx="0" cy="174625"/>
            </a:xfrm>
            <a:custGeom>
              <a:avLst/>
              <a:gdLst/>
              <a:ahLst/>
              <a:cxnLst/>
              <a:rect l="l" t="t" r="r" b="b"/>
              <a:pathLst>
                <a:path h="174625">
                  <a:moveTo>
                    <a:pt x="0" y="0"/>
                  </a:moveTo>
                  <a:lnTo>
                    <a:pt x="0" y="174137"/>
                  </a:lnTo>
                </a:path>
              </a:pathLst>
            </a:custGeom>
            <a:ln w="28575">
              <a:solidFill>
                <a:srgbClr val="6381A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54" name="object 54"/>
            <p:cNvSpPr/>
            <p:nvPr/>
          </p:nvSpPr>
          <p:spPr>
            <a:xfrm>
              <a:off x="4100105" y="4165117"/>
              <a:ext cx="3825875" cy="769620"/>
            </a:xfrm>
            <a:custGeom>
              <a:avLst/>
              <a:gdLst/>
              <a:ahLst/>
              <a:cxnLst/>
              <a:rect l="l" t="t" r="r" b="b"/>
              <a:pathLst>
                <a:path w="3825875" h="769620">
                  <a:moveTo>
                    <a:pt x="3825773" y="0"/>
                  </a:moveTo>
                  <a:lnTo>
                    <a:pt x="0" y="0"/>
                  </a:lnTo>
                  <a:lnTo>
                    <a:pt x="0" y="769442"/>
                  </a:lnTo>
                  <a:lnTo>
                    <a:pt x="3825773" y="769442"/>
                  </a:lnTo>
                  <a:lnTo>
                    <a:pt x="3825773" y="0"/>
                  </a:lnTo>
                  <a:close/>
                </a:path>
              </a:pathLst>
            </a:custGeom>
            <a:solidFill>
              <a:srgbClr val="001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55" name="object 55"/>
            <p:cNvSpPr/>
            <p:nvPr/>
          </p:nvSpPr>
          <p:spPr>
            <a:xfrm>
              <a:off x="5265964" y="4365433"/>
              <a:ext cx="1492250" cy="15240"/>
            </a:xfrm>
            <a:custGeom>
              <a:avLst/>
              <a:gdLst/>
              <a:ahLst/>
              <a:cxnLst/>
              <a:rect l="l" t="t" r="r" b="b"/>
              <a:pathLst>
                <a:path w="1492250" h="15239">
                  <a:moveTo>
                    <a:pt x="1491996" y="0"/>
                  </a:moveTo>
                  <a:lnTo>
                    <a:pt x="0" y="0"/>
                  </a:lnTo>
                  <a:lnTo>
                    <a:pt x="0" y="15239"/>
                  </a:lnTo>
                  <a:lnTo>
                    <a:pt x="1491996" y="15239"/>
                  </a:lnTo>
                  <a:lnTo>
                    <a:pt x="1491996"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sp>
        <p:nvSpPr>
          <p:cNvPr id="56" name="object 56"/>
          <p:cNvSpPr txBox="1"/>
          <p:nvPr/>
        </p:nvSpPr>
        <p:spPr>
          <a:xfrm>
            <a:off x="4100105" y="4022504"/>
            <a:ext cx="3825875" cy="769620"/>
          </a:xfrm>
          <a:prstGeom prst="rect">
            <a:avLst/>
          </a:prstGeom>
        </p:spPr>
        <p:txBody>
          <a:bodyPr vert="horz" wrap="square" lIns="0" tIns="45085" rIns="0" bIns="0" rtlCol="0">
            <a:spAutoFit/>
          </a:bodyPr>
          <a:lstStyle/>
          <a:p>
            <a:pPr marL="1165225" marR="0" lvl="0" indent="0" algn="l" defTabSz="914400" rtl="0" eaLnBrk="1" fontAlgn="auto" latinLnBrk="0" hangingPunct="1">
              <a:lnSpc>
                <a:spcPts val="1310"/>
              </a:lnSpc>
              <a:spcBef>
                <a:spcPts val="355"/>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Arial"/>
                <a:ea typeface="+mn-ea"/>
                <a:cs typeface="Arial"/>
              </a:rPr>
              <a:t>Standard</a:t>
            </a:r>
            <a:r>
              <a:rPr kumimoji="0" lang="en-US" sz="1100" b="1" i="0" u="none" strike="noStrike" kern="0" cap="none" spc="-35" normalizeH="0" baseline="0" noProof="0" dirty="0">
                <a:ln>
                  <a:noFill/>
                </a:ln>
                <a:solidFill>
                  <a:srgbClr val="FFFFFF"/>
                </a:solidFill>
                <a:effectLst/>
                <a:uLnTx/>
                <a:uFillTx/>
                <a:latin typeface="Arial"/>
                <a:ea typeface="+mn-ea"/>
                <a:cs typeface="Arial"/>
              </a:rPr>
              <a:t> </a:t>
            </a:r>
            <a:r>
              <a:rPr kumimoji="0" lang="en-US" sz="1100" b="1" i="0" u="none" strike="noStrike" kern="0" cap="none" spc="0" normalizeH="0" baseline="0" noProof="0" dirty="0">
                <a:ln>
                  <a:noFill/>
                </a:ln>
                <a:solidFill>
                  <a:srgbClr val="FFFFFF"/>
                </a:solidFill>
                <a:effectLst/>
                <a:uLnTx/>
                <a:uFillTx/>
                <a:latin typeface="Arial"/>
                <a:ea typeface="+mn-ea"/>
                <a:cs typeface="Arial"/>
              </a:rPr>
              <a:t>of</a:t>
            </a:r>
            <a:r>
              <a:rPr kumimoji="0" lang="en-US" sz="1100" b="1" i="0" u="none" strike="noStrike" kern="0" cap="none" spc="-35" normalizeH="0" baseline="0" noProof="0" dirty="0">
                <a:ln>
                  <a:noFill/>
                </a:ln>
                <a:solidFill>
                  <a:srgbClr val="FFFFFF"/>
                </a:solidFill>
                <a:effectLst/>
                <a:uLnTx/>
                <a:uFillTx/>
                <a:latin typeface="Arial"/>
                <a:ea typeface="+mn-ea"/>
                <a:cs typeface="Arial"/>
              </a:rPr>
              <a:t> </a:t>
            </a:r>
            <a:r>
              <a:rPr kumimoji="0" lang="en-US" sz="1100" b="1" i="0" u="none" strike="noStrike" kern="0" cap="none" spc="0" normalizeH="0" baseline="0" noProof="0" dirty="0">
                <a:ln>
                  <a:noFill/>
                </a:ln>
                <a:solidFill>
                  <a:srgbClr val="FFFFFF"/>
                </a:solidFill>
                <a:effectLst/>
                <a:uLnTx/>
                <a:uFillTx/>
                <a:latin typeface="Arial"/>
                <a:ea typeface="+mn-ea"/>
                <a:cs typeface="Arial"/>
              </a:rPr>
              <a:t>Care</a:t>
            </a:r>
            <a:r>
              <a:rPr kumimoji="0" lang="en-US" sz="1100" b="1" i="0" u="none" strike="noStrike" kern="0" cap="none" spc="-15" normalizeH="0" baseline="0" noProof="0" dirty="0">
                <a:ln>
                  <a:noFill/>
                </a:ln>
                <a:solidFill>
                  <a:srgbClr val="FFFFFF"/>
                </a:solidFill>
                <a:effectLst/>
                <a:uLnTx/>
                <a:uFillTx/>
                <a:latin typeface="Arial"/>
                <a:ea typeface="+mn-ea"/>
                <a:cs typeface="Arial"/>
              </a:rPr>
              <a:t> </a:t>
            </a:r>
            <a:r>
              <a:rPr kumimoji="0" lang="en-US" sz="1100" b="1" i="0" u="none" strike="noStrike" kern="0" cap="none" spc="-20" normalizeH="0" baseline="0" noProof="0" dirty="0">
                <a:ln>
                  <a:noFill/>
                </a:ln>
                <a:solidFill>
                  <a:srgbClr val="FFFFFF"/>
                </a:solidFill>
                <a:effectLst/>
                <a:uLnTx/>
                <a:uFillTx/>
                <a:latin typeface="Arial"/>
                <a:ea typeface="+mn-ea"/>
                <a:cs typeface="Arial"/>
              </a:rPr>
              <a:t>Arm</a:t>
            </a:r>
            <a:r>
              <a:rPr kumimoji="0" lang="en-US" sz="1050" b="1" i="0" u="none" strike="noStrike" kern="0" cap="none" spc="-30" normalizeH="0" baseline="27777" noProof="0" dirty="0">
                <a:ln>
                  <a:noFill/>
                </a:ln>
                <a:solidFill>
                  <a:srgbClr val="FFFFFF"/>
                </a:solidFill>
                <a:effectLst/>
                <a:uLnTx/>
                <a:uFillTx/>
                <a:latin typeface="Arial"/>
                <a:ea typeface="+mn-ea"/>
                <a:cs typeface="Arial"/>
              </a:rPr>
              <a:t>c</a:t>
            </a:r>
            <a:endParaRPr kumimoji="0" lang="en-US" sz="1050" b="0" i="0" u="none" strike="noStrike" kern="0" cap="none" spc="0" normalizeH="0" baseline="27777" noProof="0" dirty="0">
              <a:ln>
                <a:noFill/>
              </a:ln>
              <a:solidFill>
                <a:sysClr val="windowText" lastClr="000000"/>
              </a:solidFill>
              <a:effectLst/>
              <a:uLnTx/>
              <a:uFillTx/>
              <a:latin typeface="Arial"/>
              <a:ea typeface="+mn-ea"/>
              <a:cs typeface="Arial"/>
            </a:endParaRPr>
          </a:p>
          <a:p>
            <a:pPr marL="402590" marR="0" lvl="0" indent="-169545" algn="l" defTabSz="914400" rtl="0" eaLnBrk="1" fontAlgn="auto" latinLnBrk="0" hangingPunct="1">
              <a:lnSpc>
                <a:spcPts val="1310"/>
              </a:lnSpc>
              <a:spcBef>
                <a:spcPts val="0"/>
              </a:spcBef>
              <a:spcAft>
                <a:spcPts val="0"/>
              </a:spcAft>
              <a:buClrTx/>
              <a:buSzTx/>
              <a:buFontTx/>
              <a:buChar char="•"/>
              <a:tabLst>
                <a:tab pos="402590" algn="l"/>
              </a:tabLst>
              <a:defRPr/>
            </a:pPr>
            <a:r>
              <a:rPr kumimoji="0" lang="en-US" sz="1100" b="0" i="0" u="none" strike="noStrike" kern="0" cap="none" spc="0" normalizeH="0" baseline="0" noProof="0" dirty="0">
                <a:ln>
                  <a:noFill/>
                </a:ln>
                <a:solidFill>
                  <a:srgbClr val="FFFFFF"/>
                </a:solidFill>
                <a:effectLst/>
                <a:uLnTx/>
                <a:uFillTx/>
                <a:latin typeface="Arial"/>
                <a:ea typeface="+mn-ea"/>
                <a:cs typeface="Arial"/>
              </a:rPr>
              <a:t>Rituximab</a:t>
            </a:r>
            <a:r>
              <a:rPr kumimoji="0" lang="en-US" sz="1100" b="0" i="0" u="none" strike="noStrike" kern="0" cap="none" spc="-25" normalizeH="0" baseline="0" noProof="0" dirty="0">
                <a:ln>
                  <a:noFill/>
                </a:ln>
                <a:solidFill>
                  <a:srgbClr val="FFFFFF"/>
                </a:solidFill>
                <a:effectLst/>
                <a:uLnTx/>
                <a:uFillTx/>
                <a:latin typeface="Arial"/>
                <a:ea typeface="+mn-ea"/>
                <a:cs typeface="Arial"/>
              </a:rPr>
              <a:t> </a:t>
            </a:r>
            <a:r>
              <a:rPr kumimoji="0" lang="en-US" sz="1100" b="0" i="0" u="none" strike="noStrike" kern="0" cap="none" spc="0" normalizeH="0" baseline="0" noProof="0" dirty="0">
                <a:ln>
                  <a:noFill/>
                </a:ln>
                <a:solidFill>
                  <a:srgbClr val="FFFFFF"/>
                </a:solidFill>
                <a:effectLst/>
                <a:uLnTx/>
                <a:uFillTx/>
                <a:latin typeface="Arial"/>
                <a:ea typeface="+mn-ea"/>
                <a:cs typeface="Arial"/>
              </a:rPr>
              <a:t>+</a:t>
            </a:r>
            <a:r>
              <a:rPr kumimoji="0" lang="en-US" sz="1100" b="0" i="0" u="none" strike="noStrike" kern="0" cap="none" spc="-30" normalizeH="0" baseline="0" noProof="0" dirty="0">
                <a:ln>
                  <a:noFill/>
                </a:ln>
                <a:solidFill>
                  <a:srgbClr val="FFFFFF"/>
                </a:solidFill>
                <a:effectLst/>
                <a:uLnTx/>
                <a:uFillTx/>
                <a:latin typeface="Arial"/>
                <a:ea typeface="+mn-ea"/>
                <a:cs typeface="Arial"/>
              </a:rPr>
              <a:t> </a:t>
            </a:r>
            <a:r>
              <a:rPr kumimoji="0" lang="en-US" sz="1100" b="0" i="0" u="none" strike="noStrike" kern="0" cap="none" spc="-10" normalizeH="0" baseline="0" noProof="0" dirty="0">
                <a:ln>
                  <a:noFill/>
                </a:ln>
                <a:solidFill>
                  <a:srgbClr val="FFFFFF"/>
                </a:solidFill>
                <a:effectLst/>
                <a:uLnTx/>
                <a:uFillTx/>
                <a:latin typeface="Arial"/>
                <a:ea typeface="+mn-ea"/>
                <a:cs typeface="Arial"/>
              </a:rPr>
              <a:t>lenalidomide</a:t>
            </a:r>
            <a:r>
              <a:rPr kumimoji="0" lang="en-US" sz="1100" b="0" i="0" u="none" strike="noStrike" kern="0" cap="none" spc="20" normalizeH="0" baseline="0" noProof="0" dirty="0">
                <a:ln>
                  <a:noFill/>
                </a:ln>
                <a:solidFill>
                  <a:srgbClr val="FFFFFF"/>
                </a:solidFill>
                <a:effectLst/>
                <a:uLnTx/>
                <a:uFillTx/>
                <a:latin typeface="Arial"/>
                <a:ea typeface="+mn-ea"/>
                <a:cs typeface="Arial"/>
              </a:rPr>
              <a:t> </a:t>
            </a:r>
            <a:r>
              <a:rPr kumimoji="0" lang="en-US" sz="1100" b="0" i="0" u="none" strike="noStrike" kern="0" cap="none" spc="-95" normalizeH="0" baseline="0" noProof="0" dirty="0">
                <a:ln>
                  <a:noFill/>
                </a:ln>
                <a:solidFill>
                  <a:srgbClr val="FFFFFF"/>
                </a:solidFill>
                <a:effectLst/>
                <a:uLnTx/>
                <a:uFillTx/>
                <a:latin typeface="Arial"/>
                <a:ea typeface="+mn-ea"/>
                <a:cs typeface="Arial"/>
              </a:rPr>
              <a:t>×</a:t>
            </a:r>
            <a:r>
              <a:rPr kumimoji="0" lang="en-US" sz="1100" b="0" i="0" u="none" strike="noStrike" kern="0" cap="none" spc="-5" normalizeH="0" baseline="0" noProof="0" dirty="0">
                <a:ln>
                  <a:noFill/>
                </a:ln>
                <a:solidFill>
                  <a:srgbClr val="FFFFFF"/>
                </a:solidFill>
                <a:effectLst/>
                <a:uLnTx/>
                <a:uFillTx/>
                <a:latin typeface="Arial"/>
                <a:ea typeface="+mn-ea"/>
                <a:cs typeface="Arial"/>
              </a:rPr>
              <a:t> </a:t>
            </a:r>
            <a:r>
              <a:rPr kumimoji="0" lang="en-US" sz="1100" b="0" i="0" u="none" strike="noStrike" kern="0" cap="none" spc="0" normalizeH="0" baseline="0" noProof="0" dirty="0">
                <a:ln>
                  <a:noFill/>
                </a:ln>
                <a:solidFill>
                  <a:srgbClr val="FFFFFF"/>
                </a:solidFill>
                <a:effectLst/>
                <a:uLnTx/>
                <a:uFillTx/>
                <a:latin typeface="Arial"/>
                <a:ea typeface="+mn-ea"/>
                <a:cs typeface="Arial"/>
              </a:rPr>
              <a:t>12</a:t>
            </a:r>
            <a:r>
              <a:rPr kumimoji="0" lang="en-US" sz="1100" b="0" i="0" u="none" strike="noStrike" kern="0" cap="none" spc="-25" normalizeH="0" baseline="0" noProof="0" dirty="0">
                <a:ln>
                  <a:noFill/>
                </a:ln>
                <a:solidFill>
                  <a:srgbClr val="FFFFFF"/>
                </a:solidFill>
                <a:effectLst/>
                <a:uLnTx/>
                <a:uFillTx/>
                <a:latin typeface="Arial"/>
                <a:ea typeface="+mn-ea"/>
                <a:cs typeface="Arial"/>
              </a:rPr>
              <a:t> </a:t>
            </a:r>
            <a:r>
              <a:rPr kumimoji="0" lang="en-US" sz="1100" b="0" i="0" u="none" strike="noStrike" kern="0" cap="none" spc="0" normalizeH="0" baseline="0" noProof="0" dirty="0">
                <a:ln>
                  <a:noFill/>
                </a:ln>
                <a:solidFill>
                  <a:srgbClr val="FFFFFF"/>
                </a:solidFill>
                <a:effectLst/>
                <a:uLnTx/>
                <a:uFillTx/>
                <a:latin typeface="Arial"/>
                <a:ea typeface="+mn-ea"/>
                <a:cs typeface="Arial"/>
              </a:rPr>
              <a:t>cycles</a:t>
            </a:r>
            <a:r>
              <a:rPr kumimoji="0" lang="en-US" sz="1100" b="0" i="0" u="none" strike="noStrike" kern="0" cap="none" spc="-5" normalizeH="0" baseline="0" noProof="0" dirty="0">
                <a:ln>
                  <a:noFill/>
                </a:ln>
                <a:solidFill>
                  <a:srgbClr val="FFFFFF"/>
                </a:solidFill>
                <a:effectLst/>
                <a:uLnTx/>
                <a:uFillTx/>
                <a:latin typeface="Arial"/>
                <a:ea typeface="+mn-ea"/>
                <a:cs typeface="Arial"/>
              </a:rPr>
              <a:t> </a:t>
            </a:r>
            <a:r>
              <a:rPr kumimoji="0" lang="en-US" sz="1100" b="0" i="0" u="none" strike="noStrike" kern="0" cap="none" spc="0" normalizeH="0" baseline="0" noProof="0" dirty="0">
                <a:ln>
                  <a:noFill/>
                </a:ln>
                <a:solidFill>
                  <a:srgbClr val="FFFFFF"/>
                </a:solidFill>
                <a:effectLst/>
                <a:uLnTx/>
                <a:uFillTx/>
                <a:latin typeface="Arial"/>
                <a:ea typeface="+mn-ea"/>
                <a:cs typeface="Arial"/>
              </a:rPr>
              <a:t>(28-day</a:t>
            </a:r>
            <a:r>
              <a:rPr kumimoji="0" lang="en-US" sz="1100" b="0" i="0" u="none" strike="noStrike" kern="0" cap="none" spc="-30" normalizeH="0" baseline="0" noProof="0" dirty="0">
                <a:ln>
                  <a:noFill/>
                </a:ln>
                <a:solidFill>
                  <a:srgbClr val="FFFFFF"/>
                </a:solidFill>
                <a:effectLst/>
                <a:uLnTx/>
                <a:uFillTx/>
                <a:latin typeface="Arial"/>
                <a:ea typeface="+mn-ea"/>
                <a:cs typeface="Arial"/>
              </a:rPr>
              <a:t> </a:t>
            </a:r>
            <a:r>
              <a:rPr kumimoji="0" lang="en-US" sz="1100" b="0" i="0" u="none" strike="noStrike" kern="0" cap="none" spc="-10" normalizeH="0" baseline="0" noProof="0" dirty="0">
                <a:ln>
                  <a:noFill/>
                </a:ln>
                <a:solidFill>
                  <a:srgbClr val="FFFFFF"/>
                </a:solidFill>
                <a:effectLst/>
                <a:uLnTx/>
                <a:uFillTx/>
                <a:latin typeface="Arial"/>
                <a:ea typeface="+mn-ea"/>
                <a:cs typeface="Arial"/>
              </a:rPr>
              <a:t>cycle)</a:t>
            </a:r>
            <a:endParaRPr kumimoji="0" lang="en-US" sz="1100" b="0" i="0" u="none" strike="noStrike" kern="0" cap="none" spc="0" normalizeH="0" baseline="0" noProof="0" dirty="0">
              <a:ln>
                <a:noFill/>
              </a:ln>
              <a:solidFill>
                <a:sysClr val="windowText" lastClr="000000"/>
              </a:solidFill>
              <a:effectLst/>
              <a:uLnTx/>
              <a:uFillTx/>
              <a:latin typeface="Arial"/>
              <a:ea typeface="+mn-ea"/>
              <a:cs typeface="Arial"/>
            </a:endParaRPr>
          </a:p>
          <a:p>
            <a:pPr marL="402590" marR="0" lvl="0" indent="-169545" algn="l" defTabSz="914400" rtl="0" eaLnBrk="1" fontAlgn="auto" latinLnBrk="0" hangingPunct="1">
              <a:lnSpc>
                <a:spcPct val="100000"/>
              </a:lnSpc>
              <a:spcBef>
                <a:spcPts val="0"/>
              </a:spcBef>
              <a:spcAft>
                <a:spcPts val="0"/>
              </a:spcAft>
              <a:buClrTx/>
              <a:buSzTx/>
              <a:buFontTx/>
              <a:buChar char="•"/>
              <a:tabLst>
                <a:tab pos="402590" algn="l"/>
              </a:tabLst>
              <a:defRPr/>
            </a:pPr>
            <a:r>
              <a:rPr kumimoji="0" lang="en-US" sz="1100" b="0" i="0" u="none" strike="noStrike" kern="0" cap="none" spc="-10" normalizeH="0" baseline="0" noProof="0" dirty="0">
                <a:ln>
                  <a:noFill/>
                </a:ln>
                <a:solidFill>
                  <a:srgbClr val="FFFFFF"/>
                </a:solidFill>
                <a:effectLst/>
                <a:uLnTx/>
                <a:uFillTx/>
                <a:latin typeface="Arial"/>
                <a:ea typeface="+mn-ea"/>
                <a:cs typeface="Arial"/>
              </a:rPr>
              <a:t>R-</a:t>
            </a:r>
            <a:r>
              <a:rPr kumimoji="0" lang="en-US" sz="1100" b="0" i="0" u="none" strike="noStrike" kern="0" cap="none" spc="0" normalizeH="0" baseline="0" noProof="0" dirty="0">
                <a:ln>
                  <a:noFill/>
                </a:ln>
                <a:solidFill>
                  <a:srgbClr val="FFFFFF"/>
                </a:solidFill>
                <a:effectLst/>
                <a:uLnTx/>
                <a:uFillTx/>
                <a:latin typeface="Arial"/>
                <a:ea typeface="+mn-ea"/>
                <a:cs typeface="Arial"/>
              </a:rPr>
              <a:t>CHOP</a:t>
            </a:r>
            <a:r>
              <a:rPr kumimoji="0" lang="en-US" sz="1050" b="0" i="0" u="none" strike="noStrike" kern="0" cap="none" spc="0" normalizeH="0" baseline="27777" noProof="0" dirty="0">
                <a:ln>
                  <a:noFill/>
                </a:ln>
                <a:solidFill>
                  <a:srgbClr val="FFFFFF"/>
                </a:solidFill>
                <a:effectLst/>
                <a:uLnTx/>
                <a:uFillTx/>
                <a:latin typeface="Arial"/>
                <a:ea typeface="+mn-ea"/>
                <a:cs typeface="Arial"/>
              </a:rPr>
              <a:t>d</a:t>
            </a:r>
            <a:r>
              <a:rPr kumimoji="0" lang="en-US" sz="1050" b="0" i="0" u="none" strike="noStrike" kern="0" cap="none" spc="150" normalizeH="0" baseline="27777" noProof="0" dirty="0">
                <a:ln>
                  <a:noFill/>
                </a:ln>
                <a:solidFill>
                  <a:srgbClr val="FFFFFF"/>
                </a:solidFill>
                <a:effectLst/>
                <a:uLnTx/>
                <a:uFillTx/>
                <a:latin typeface="Arial"/>
                <a:ea typeface="+mn-ea"/>
                <a:cs typeface="Arial"/>
              </a:rPr>
              <a:t> </a:t>
            </a:r>
            <a:r>
              <a:rPr kumimoji="0" lang="en-US" sz="1100" b="0" i="0" u="none" strike="noStrike" kern="0" cap="none" spc="-95" normalizeH="0" baseline="0" noProof="0" dirty="0">
                <a:ln>
                  <a:noFill/>
                </a:ln>
                <a:solidFill>
                  <a:srgbClr val="FFFFFF"/>
                </a:solidFill>
                <a:effectLst/>
                <a:uLnTx/>
                <a:uFillTx/>
                <a:latin typeface="Arial"/>
                <a:ea typeface="+mn-ea"/>
                <a:cs typeface="Arial"/>
              </a:rPr>
              <a:t>×</a:t>
            </a:r>
            <a:r>
              <a:rPr kumimoji="0" lang="en-US" sz="1100" b="0" i="0" u="none" strike="noStrike" kern="0" cap="none" spc="-5" normalizeH="0" baseline="0" noProof="0" dirty="0">
                <a:ln>
                  <a:noFill/>
                </a:ln>
                <a:solidFill>
                  <a:srgbClr val="FFFFFF"/>
                </a:solidFill>
                <a:effectLst/>
                <a:uLnTx/>
                <a:uFillTx/>
                <a:latin typeface="Arial"/>
                <a:ea typeface="+mn-ea"/>
                <a:cs typeface="Arial"/>
              </a:rPr>
              <a:t> </a:t>
            </a:r>
            <a:r>
              <a:rPr kumimoji="0" lang="en-US" sz="1100" b="0" i="0" u="none" strike="noStrike" kern="0" cap="none" spc="0" normalizeH="0" baseline="0" noProof="0" dirty="0">
                <a:ln>
                  <a:noFill/>
                </a:ln>
                <a:solidFill>
                  <a:srgbClr val="FFFFFF"/>
                </a:solidFill>
                <a:effectLst/>
                <a:uLnTx/>
                <a:uFillTx/>
                <a:latin typeface="Arial"/>
                <a:ea typeface="+mn-ea"/>
                <a:cs typeface="Arial"/>
              </a:rPr>
              <a:t>6</a:t>
            </a:r>
            <a:r>
              <a:rPr kumimoji="0" lang="en-US" sz="1100" b="0" i="0" u="none" strike="noStrike" kern="0" cap="none" spc="-15" normalizeH="0" baseline="0" noProof="0" dirty="0">
                <a:ln>
                  <a:noFill/>
                </a:ln>
                <a:solidFill>
                  <a:srgbClr val="FFFFFF"/>
                </a:solidFill>
                <a:effectLst/>
                <a:uLnTx/>
                <a:uFillTx/>
                <a:latin typeface="Arial"/>
                <a:ea typeface="+mn-ea"/>
                <a:cs typeface="Arial"/>
              </a:rPr>
              <a:t> </a:t>
            </a:r>
            <a:r>
              <a:rPr kumimoji="0" lang="en-US" sz="1100" b="0" i="0" u="none" strike="noStrike" kern="0" cap="none" spc="0" normalizeH="0" baseline="0" noProof="0" dirty="0">
                <a:ln>
                  <a:noFill/>
                </a:ln>
                <a:solidFill>
                  <a:srgbClr val="FFFFFF"/>
                </a:solidFill>
                <a:effectLst/>
                <a:uLnTx/>
                <a:uFillTx/>
                <a:latin typeface="Arial"/>
                <a:ea typeface="+mn-ea"/>
                <a:cs typeface="Arial"/>
              </a:rPr>
              <a:t>cycles</a:t>
            </a:r>
            <a:r>
              <a:rPr kumimoji="0" lang="en-US" sz="1100" b="0" i="0" u="none" strike="noStrike" kern="0" cap="none" spc="-5" normalizeH="0" baseline="0" noProof="0" dirty="0">
                <a:ln>
                  <a:noFill/>
                </a:ln>
                <a:solidFill>
                  <a:srgbClr val="FFFFFF"/>
                </a:solidFill>
                <a:effectLst/>
                <a:uLnTx/>
                <a:uFillTx/>
                <a:latin typeface="Arial"/>
                <a:ea typeface="+mn-ea"/>
                <a:cs typeface="Arial"/>
              </a:rPr>
              <a:t> </a:t>
            </a:r>
            <a:r>
              <a:rPr kumimoji="0" lang="en-US" sz="1100" b="0" i="0" u="none" strike="noStrike" kern="0" cap="none" spc="0" normalizeH="0" baseline="0" noProof="0" dirty="0">
                <a:ln>
                  <a:noFill/>
                </a:ln>
                <a:solidFill>
                  <a:srgbClr val="FFFFFF"/>
                </a:solidFill>
                <a:effectLst/>
                <a:uLnTx/>
                <a:uFillTx/>
                <a:latin typeface="Arial"/>
                <a:ea typeface="+mn-ea"/>
                <a:cs typeface="Arial"/>
              </a:rPr>
              <a:t>(21-day</a:t>
            </a:r>
            <a:r>
              <a:rPr kumimoji="0" lang="en-US" sz="1100" b="0" i="0" u="none" strike="noStrike" kern="0" cap="none" spc="-35" normalizeH="0" baseline="0" noProof="0" dirty="0">
                <a:ln>
                  <a:noFill/>
                </a:ln>
                <a:solidFill>
                  <a:srgbClr val="FFFFFF"/>
                </a:solidFill>
                <a:effectLst/>
                <a:uLnTx/>
                <a:uFillTx/>
                <a:latin typeface="Arial"/>
                <a:ea typeface="+mn-ea"/>
                <a:cs typeface="Arial"/>
              </a:rPr>
              <a:t> </a:t>
            </a:r>
            <a:r>
              <a:rPr kumimoji="0" lang="en-US" sz="1100" b="0" i="0" u="none" strike="noStrike" kern="0" cap="none" spc="-10" normalizeH="0" baseline="0" noProof="0" dirty="0">
                <a:ln>
                  <a:noFill/>
                </a:ln>
                <a:solidFill>
                  <a:srgbClr val="FFFFFF"/>
                </a:solidFill>
                <a:effectLst/>
                <a:uLnTx/>
                <a:uFillTx/>
                <a:latin typeface="Arial"/>
                <a:ea typeface="+mn-ea"/>
                <a:cs typeface="Arial"/>
              </a:rPr>
              <a:t>cycle)</a:t>
            </a:r>
            <a:endParaRPr kumimoji="0" lang="en-US" sz="1100" b="0" i="0" u="none" strike="noStrike" kern="0" cap="none" spc="0" normalizeH="0" baseline="0" noProof="0" dirty="0">
              <a:ln>
                <a:noFill/>
              </a:ln>
              <a:solidFill>
                <a:sysClr val="windowText" lastClr="000000"/>
              </a:solidFill>
              <a:effectLst/>
              <a:uLnTx/>
              <a:uFillTx/>
              <a:latin typeface="Arial"/>
              <a:ea typeface="+mn-ea"/>
              <a:cs typeface="Arial"/>
            </a:endParaRPr>
          </a:p>
          <a:p>
            <a:pPr marL="402590" marR="0" lvl="0" indent="-169545" algn="l" defTabSz="914400" rtl="0" eaLnBrk="1" fontAlgn="auto" latinLnBrk="0" hangingPunct="1">
              <a:lnSpc>
                <a:spcPct val="100000"/>
              </a:lnSpc>
              <a:spcBef>
                <a:spcPts val="0"/>
              </a:spcBef>
              <a:spcAft>
                <a:spcPts val="0"/>
              </a:spcAft>
              <a:buClrTx/>
              <a:buSzTx/>
              <a:buFontTx/>
              <a:buChar char="•"/>
              <a:tabLst>
                <a:tab pos="402590" algn="l"/>
              </a:tabLst>
              <a:defRPr/>
            </a:pPr>
            <a:r>
              <a:rPr kumimoji="0" lang="en-US" sz="1100" b="0" i="0" u="none" strike="noStrike" kern="0" cap="none" spc="0" normalizeH="0" baseline="0" noProof="0" dirty="0">
                <a:ln>
                  <a:noFill/>
                </a:ln>
                <a:solidFill>
                  <a:srgbClr val="FFFFFF"/>
                </a:solidFill>
                <a:effectLst/>
                <a:uLnTx/>
                <a:uFillTx/>
                <a:latin typeface="Arial"/>
                <a:ea typeface="+mn-ea"/>
                <a:cs typeface="Arial"/>
              </a:rPr>
              <a:t>Rituxumab</a:t>
            </a:r>
            <a:r>
              <a:rPr kumimoji="0" lang="en-US" sz="1100" b="0" i="0" u="none" strike="noStrike" kern="0" cap="none" spc="-40" normalizeH="0" baseline="0" noProof="0" dirty="0">
                <a:ln>
                  <a:noFill/>
                </a:ln>
                <a:solidFill>
                  <a:srgbClr val="FFFFFF"/>
                </a:solidFill>
                <a:effectLst/>
                <a:uLnTx/>
                <a:uFillTx/>
                <a:latin typeface="Arial"/>
                <a:ea typeface="+mn-ea"/>
                <a:cs typeface="Arial"/>
              </a:rPr>
              <a:t> </a:t>
            </a:r>
            <a:r>
              <a:rPr kumimoji="0" lang="en-US" sz="1100" b="0" i="0" u="none" strike="noStrike" kern="0" cap="none" spc="0" normalizeH="0" baseline="0" noProof="0" dirty="0">
                <a:ln>
                  <a:noFill/>
                </a:ln>
                <a:solidFill>
                  <a:srgbClr val="FFFFFF"/>
                </a:solidFill>
                <a:effectLst/>
                <a:uLnTx/>
                <a:uFillTx/>
                <a:latin typeface="Arial"/>
                <a:ea typeface="+mn-ea"/>
                <a:cs typeface="Arial"/>
              </a:rPr>
              <a:t>+</a:t>
            </a:r>
            <a:r>
              <a:rPr kumimoji="0" lang="en-US" sz="1100" b="0" i="0" u="none" strike="noStrike" kern="0" cap="none" spc="-30" normalizeH="0" baseline="0" noProof="0" dirty="0">
                <a:ln>
                  <a:noFill/>
                </a:ln>
                <a:solidFill>
                  <a:srgbClr val="FFFFFF"/>
                </a:solidFill>
                <a:effectLst/>
                <a:uLnTx/>
                <a:uFillTx/>
                <a:latin typeface="Arial"/>
                <a:ea typeface="+mn-ea"/>
                <a:cs typeface="Arial"/>
              </a:rPr>
              <a:t> </a:t>
            </a:r>
            <a:r>
              <a:rPr kumimoji="0" lang="en-US" sz="1100" b="0" i="0" u="none" strike="noStrike" kern="0" cap="none" spc="0" normalizeH="0" baseline="0" noProof="0" dirty="0">
                <a:ln>
                  <a:noFill/>
                </a:ln>
                <a:solidFill>
                  <a:srgbClr val="FFFFFF"/>
                </a:solidFill>
                <a:effectLst/>
                <a:uLnTx/>
                <a:uFillTx/>
                <a:latin typeface="Arial"/>
                <a:ea typeface="+mn-ea"/>
                <a:cs typeface="Arial"/>
              </a:rPr>
              <a:t>bendamustine</a:t>
            </a:r>
            <a:r>
              <a:rPr kumimoji="0" lang="en-US" sz="1100" b="0" i="0" u="none" strike="noStrike" kern="0" cap="none" spc="-35" normalizeH="0" baseline="0" noProof="0" dirty="0">
                <a:ln>
                  <a:noFill/>
                </a:ln>
                <a:solidFill>
                  <a:srgbClr val="FFFFFF"/>
                </a:solidFill>
                <a:effectLst/>
                <a:uLnTx/>
                <a:uFillTx/>
                <a:latin typeface="Arial"/>
                <a:ea typeface="+mn-ea"/>
                <a:cs typeface="Arial"/>
              </a:rPr>
              <a:t> </a:t>
            </a:r>
            <a:r>
              <a:rPr kumimoji="0" lang="en-US" sz="1100" b="0" i="0" u="none" strike="noStrike" kern="0" cap="none" spc="-95" normalizeH="0" baseline="0" noProof="0" dirty="0">
                <a:ln>
                  <a:noFill/>
                </a:ln>
                <a:solidFill>
                  <a:srgbClr val="FFFFFF"/>
                </a:solidFill>
                <a:effectLst/>
                <a:uLnTx/>
                <a:uFillTx/>
                <a:latin typeface="Arial"/>
                <a:ea typeface="+mn-ea"/>
                <a:cs typeface="Arial"/>
              </a:rPr>
              <a:t>×</a:t>
            </a:r>
            <a:r>
              <a:rPr kumimoji="0" lang="en-US" sz="1100" b="0" i="0" u="none" strike="noStrike" kern="0" cap="none" spc="-5" normalizeH="0" baseline="0" noProof="0" dirty="0">
                <a:ln>
                  <a:noFill/>
                </a:ln>
                <a:solidFill>
                  <a:srgbClr val="FFFFFF"/>
                </a:solidFill>
                <a:effectLst/>
                <a:uLnTx/>
                <a:uFillTx/>
                <a:latin typeface="Arial"/>
                <a:ea typeface="+mn-ea"/>
                <a:cs typeface="Arial"/>
              </a:rPr>
              <a:t> </a:t>
            </a:r>
            <a:r>
              <a:rPr kumimoji="0" lang="en-US" sz="1100" b="0" i="0" u="none" strike="noStrike" kern="0" cap="none" spc="0" normalizeH="0" baseline="0" noProof="0" dirty="0">
                <a:ln>
                  <a:noFill/>
                </a:ln>
                <a:solidFill>
                  <a:srgbClr val="FFFFFF"/>
                </a:solidFill>
                <a:effectLst/>
                <a:uLnTx/>
                <a:uFillTx/>
                <a:latin typeface="Arial"/>
                <a:ea typeface="+mn-ea"/>
                <a:cs typeface="Arial"/>
              </a:rPr>
              <a:t>6</a:t>
            </a:r>
            <a:r>
              <a:rPr kumimoji="0" lang="en-US" sz="1100" b="0" i="0" u="none" strike="noStrike" kern="0" cap="none" spc="-30" normalizeH="0" baseline="0" noProof="0" dirty="0">
                <a:ln>
                  <a:noFill/>
                </a:ln>
                <a:solidFill>
                  <a:srgbClr val="FFFFFF"/>
                </a:solidFill>
                <a:effectLst/>
                <a:uLnTx/>
                <a:uFillTx/>
                <a:latin typeface="Arial"/>
                <a:ea typeface="+mn-ea"/>
                <a:cs typeface="Arial"/>
              </a:rPr>
              <a:t> </a:t>
            </a:r>
            <a:r>
              <a:rPr kumimoji="0" lang="en-US" sz="1100" b="0" i="0" u="none" strike="noStrike" kern="0" cap="none" spc="0" normalizeH="0" baseline="0" noProof="0" dirty="0">
                <a:ln>
                  <a:noFill/>
                </a:ln>
                <a:solidFill>
                  <a:srgbClr val="FFFFFF"/>
                </a:solidFill>
                <a:effectLst/>
                <a:uLnTx/>
                <a:uFillTx/>
                <a:latin typeface="Arial"/>
                <a:ea typeface="+mn-ea"/>
                <a:cs typeface="Arial"/>
              </a:rPr>
              <a:t>cycles</a:t>
            </a:r>
            <a:r>
              <a:rPr kumimoji="0" lang="en-US" sz="1100" b="0" i="0" u="none" strike="noStrike" kern="0" cap="none" spc="-15" normalizeH="0" baseline="0" noProof="0" dirty="0">
                <a:ln>
                  <a:noFill/>
                </a:ln>
                <a:solidFill>
                  <a:srgbClr val="FFFFFF"/>
                </a:solidFill>
                <a:effectLst/>
                <a:uLnTx/>
                <a:uFillTx/>
                <a:latin typeface="Arial"/>
                <a:ea typeface="+mn-ea"/>
                <a:cs typeface="Arial"/>
              </a:rPr>
              <a:t> </a:t>
            </a:r>
            <a:r>
              <a:rPr kumimoji="0" lang="en-US" sz="1100" b="0" i="0" u="none" strike="noStrike" kern="0" cap="none" spc="0" normalizeH="0" baseline="0" noProof="0" dirty="0">
                <a:ln>
                  <a:noFill/>
                </a:ln>
                <a:solidFill>
                  <a:srgbClr val="FFFFFF"/>
                </a:solidFill>
                <a:effectLst/>
                <a:uLnTx/>
                <a:uFillTx/>
                <a:latin typeface="Arial"/>
                <a:ea typeface="+mn-ea"/>
                <a:cs typeface="Arial"/>
              </a:rPr>
              <a:t>(28-day</a:t>
            </a:r>
            <a:r>
              <a:rPr kumimoji="0" lang="en-US" sz="1100" b="0" i="0" u="none" strike="noStrike" kern="0" cap="none" spc="-45" normalizeH="0" baseline="0" noProof="0" dirty="0">
                <a:ln>
                  <a:noFill/>
                </a:ln>
                <a:solidFill>
                  <a:srgbClr val="FFFFFF"/>
                </a:solidFill>
                <a:effectLst/>
                <a:uLnTx/>
                <a:uFillTx/>
                <a:latin typeface="Arial"/>
                <a:ea typeface="+mn-ea"/>
                <a:cs typeface="Arial"/>
              </a:rPr>
              <a:t> </a:t>
            </a:r>
            <a:r>
              <a:rPr kumimoji="0" lang="en-US" sz="1100" b="0" i="0" u="none" strike="noStrike" kern="0" cap="none" spc="-10" normalizeH="0" baseline="0" noProof="0" dirty="0">
                <a:ln>
                  <a:noFill/>
                </a:ln>
                <a:solidFill>
                  <a:srgbClr val="FFFFFF"/>
                </a:solidFill>
                <a:effectLst/>
                <a:uLnTx/>
                <a:uFillTx/>
                <a:latin typeface="Arial"/>
                <a:ea typeface="+mn-ea"/>
                <a:cs typeface="Arial"/>
              </a:rPr>
              <a:t>cycle)</a:t>
            </a:r>
            <a:endParaRPr kumimoji="0" lang="en-US" sz="1100" b="0" i="0" u="none" strike="noStrike" kern="0" cap="none" spc="0" normalizeH="0" baseline="0" noProof="0" dirty="0">
              <a:ln>
                <a:noFill/>
              </a:ln>
              <a:solidFill>
                <a:sysClr val="windowText" lastClr="000000"/>
              </a:solidFill>
              <a:effectLst/>
              <a:uLnTx/>
              <a:uFillTx/>
              <a:latin typeface="Arial"/>
              <a:ea typeface="+mn-ea"/>
              <a:cs typeface="Arial"/>
            </a:endParaRPr>
          </a:p>
        </p:txBody>
      </p:sp>
      <p:sp>
        <p:nvSpPr>
          <p:cNvPr id="57" name="object 57"/>
          <p:cNvSpPr txBox="1"/>
          <p:nvPr/>
        </p:nvSpPr>
        <p:spPr>
          <a:xfrm>
            <a:off x="8278952" y="4083908"/>
            <a:ext cx="2468880" cy="274320"/>
          </a:xfrm>
          <a:prstGeom prst="rect">
            <a:avLst/>
          </a:prstGeom>
          <a:solidFill>
            <a:srgbClr val="001F5F"/>
          </a:solidFill>
          <a:ln w="12700">
            <a:solidFill>
              <a:srgbClr val="363A3E"/>
            </a:solidFill>
          </a:ln>
        </p:spPr>
        <p:txBody>
          <a:bodyPr vert="horz" wrap="square" lIns="0" tIns="48895" rIns="0" bIns="0" rtlCol="0">
            <a:spAutoFit/>
          </a:bodyPr>
          <a:lstStyle/>
          <a:p>
            <a:pPr marL="444500" marR="0" lvl="0" indent="0" algn="l" defTabSz="914400" rtl="0" eaLnBrk="1" fontAlgn="auto" latinLnBrk="0" hangingPunct="1">
              <a:lnSpc>
                <a:spcPct val="100000"/>
              </a:lnSpc>
              <a:spcBef>
                <a:spcPts val="385"/>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Arial"/>
                <a:ea typeface="+mn-ea"/>
                <a:cs typeface="Arial"/>
              </a:rPr>
              <a:t>First</a:t>
            </a:r>
            <a:r>
              <a:rPr kumimoji="0" lang="en-US" sz="1100" b="0" i="0" u="none" strike="noStrike" kern="0" cap="none" spc="-45" normalizeH="0" baseline="0" noProof="0" dirty="0">
                <a:ln>
                  <a:noFill/>
                </a:ln>
                <a:solidFill>
                  <a:srgbClr val="FFFFFF"/>
                </a:solidFill>
                <a:effectLst/>
                <a:uLnTx/>
                <a:uFillTx/>
                <a:latin typeface="Arial"/>
                <a:ea typeface="+mn-ea"/>
                <a:cs typeface="Arial"/>
              </a:rPr>
              <a:t> </a:t>
            </a:r>
            <a:r>
              <a:rPr kumimoji="0" lang="en-US" sz="1100" b="0" i="0" u="none" strike="noStrike" kern="0" cap="none" spc="0" normalizeH="0" baseline="0" noProof="0" dirty="0">
                <a:ln>
                  <a:noFill/>
                </a:ln>
                <a:solidFill>
                  <a:srgbClr val="FFFFFF"/>
                </a:solidFill>
                <a:effectLst/>
                <a:uLnTx/>
                <a:uFillTx/>
                <a:latin typeface="Arial"/>
                <a:ea typeface="+mn-ea"/>
                <a:cs typeface="Arial"/>
              </a:rPr>
              <a:t>disease</a:t>
            </a:r>
            <a:r>
              <a:rPr kumimoji="0" lang="en-US" sz="1100" b="0" i="0" u="none" strike="noStrike" kern="0" cap="none" spc="-25" normalizeH="0" baseline="0" noProof="0" dirty="0">
                <a:ln>
                  <a:noFill/>
                </a:ln>
                <a:solidFill>
                  <a:srgbClr val="FFFFFF"/>
                </a:solidFill>
                <a:effectLst/>
                <a:uLnTx/>
                <a:uFillTx/>
                <a:latin typeface="Arial"/>
                <a:ea typeface="+mn-ea"/>
                <a:cs typeface="Arial"/>
              </a:rPr>
              <a:t> </a:t>
            </a:r>
            <a:r>
              <a:rPr kumimoji="0" lang="en-US" sz="1100" b="0" i="0" u="none" strike="noStrike" kern="0" cap="none" spc="-10" normalizeH="0" baseline="0" noProof="0" dirty="0">
                <a:ln>
                  <a:noFill/>
                </a:ln>
                <a:solidFill>
                  <a:srgbClr val="FFFFFF"/>
                </a:solidFill>
                <a:effectLst/>
                <a:uLnTx/>
                <a:uFillTx/>
                <a:latin typeface="Arial"/>
                <a:ea typeface="+mn-ea"/>
                <a:cs typeface="Arial"/>
              </a:rPr>
              <a:t>assessment</a:t>
            </a:r>
            <a:endParaRPr kumimoji="0" lang="en-US" sz="1100" b="0" i="0" u="none" strike="noStrike" kern="0" cap="none" spc="0" normalizeH="0" baseline="0" noProof="0" dirty="0">
              <a:ln>
                <a:noFill/>
              </a:ln>
              <a:solidFill>
                <a:sysClr val="windowText" lastClr="000000"/>
              </a:solidFill>
              <a:effectLst/>
              <a:uLnTx/>
              <a:uFillTx/>
              <a:latin typeface="Arial"/>
              <a:ea typeface="+mn-ea"/>
              <a:cs typeface="Arial"/>
            </a:endParaRPr>
          </a:p>
        </p:txBody>
      </p:sp>
      <p:grpSp>
        <p:nvGrpSpPr>
          <p:cNvPr id="58" name="object 58"/>
          <p:cNvGrpSpPr/>
          <p:nvPr/>
        </p:nvGrpSpPr>
        <p:grpSpPr>
          <a:xfrm>
            <a:off x="1946659" y="2799531"/>
            <a:ext cx="2377440" cy="488315"/>
            <a:chOff x="1946659" y="2942144"/>
            <a:chExt cx="2377440" cy="488315"/>
          </a:xfrm>
        </p:grpSpPr>
        <p:sp>
          <p:nvSpPr>
            <p:cNvPr id="59" name="object 59"/>
            <p:cNvSpPr/>
            <p:nvPr/>
          </p:nvSpPr>
          <p:spPr>
            <a:xfrm>
              <a:off x="1960947" y="2956431"/>
              <a:ext cx="0" cy="148590"/>
            </a:xfrm>
            <a:custGeom>
              <a:avLst/>
              <a:gdLst/>
              <a:ahLst/>
              <a:cxnLst/>
              <a:rect l="l" t="t" r="r" b="b"/>
              <a:pathLst>
                <a:path h="148589">
                  <a:moveTo>
                    <a:pt x="0" y="0"/>
                  </a:moveTo>
                  <a:lnTo>
                    <a:pt x="0" y="148564"/>
                  </a:lnTo>
                </a:path>
              </a:pathLst>
            </a:custGeom>
            <a:ln w="28575">
              <a:solidFill>
                <a:srgbClr val="747D9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60" name="object 60"/>
            <p:cNvSpPr/>
            <p:nvPr/>
          </p:nvSpPr>
          <p:spPr>
            <a:xfrm>
              <a:off x="3957977" y="3064239"/>
              <a:ext cx="365760" cy="365760"/>
            </a:xfrm>
            <a:custGeom>
              <a:avLst/>
              <a:gdLst/>
              <a:ahLst/>
              <a:cxnLst/>
              <a:rect l="l" t="t" r="r" b="b"/>
              <a:pathLst>
                <a:path w="365760" h="365760">
                  <a:moveTo>
                    <a:pt x="182880" y="0"/>
                  </a:moveTo>
                  <a:lnTo>
                    <a:pt x="134262" y="6532"/>
                  </a:lnTo>
                  <a:lnTo>
                    <a:pt x="90576" y="24968"/>
                  </a:lnTo>
                  <a:lnTo>
                    <a:pt x="53563" y="53563"/>
                  </a:lnTo>
                  <a:lnTo>
                    <a:pt x="24968" y="90576"/>
                  </a:lnTo>
                  <a:lnTo>
                    <a:pt x="6532" y="134262"/>
                  </a:lnTo>
                  <a:lnTo>
                    <a:pt x="0" y="182879"/>
                  </a:lnTo>
                  <a:lnTo>
                    <a:pt x="6532" y="231497"/>
                  </a:lnTo>
                  <a:lnTo>
                    <a:pt x="24968" y="275183"/>
                  </a:lnTo>
                  <a:lnTo>
                    <a:pt x="53563" y="312196"/>
                  </a:lnTo>
                  <a:lnTo>
                    <a:pt x="90576" y="340791"/>
                  </a:lnTo>
                  <a:lnTo>
                    <a:pt x="134262" y="359227"/>
                  </a:lnTo>
                  <a:lnTo>
                    <a:pt x="182880" y="365759"/>
                  </a:lnTo>
                  <a:lnTo>
                    <a:pt x="231497" y="359227"/>
                  </a:lnTo>
                  <a:lnTo>
                    <a:pt x="275183" y="340791"/>
                  </a:lnTo>
                  <a:lnTo>
                    <a:pt x="312196" y="312196"/>
                  </a:lnTo>
                  <a:lnTo>
                    <a:pt x="340791" y="275183"/>
                  </a:lnTo>
                  <a:lnTo>
                    <a:pt x="359227" y="231497"/>
                  </a:lnTo>
                  <a:lnTo>
                    <a:pt x="365760" y="182879"/>
                  </a:lnTo>
                  <a:lnTo>
                    <a:pt x="359227" y="134262"/>
                  </a:lnTo>
                  <a:lnTo>
                    <a:pt x="340791" y="90576"/>
                  </a:lnTo>
                  <a:lnTo>
                    <a:pt x="312196" y="53563"/>
                  </a:lnTo>
                  <a:lnTo>
                    <a:pt x="275183" y="24968"/>
                  </a:lnTo>
                  <a:lnTo>
                    <a:pt x="231497" y="6532"/>
                  </a:lnTo>
                  <a:lnTo>
                    <a:pt x="182880" y="0"/>
                  </a:lnTo>
                  <a:close/>
                </a:path>
              </a:pathLst>
            </a:custGeom>
            <a:solidFill>
              <a:srgbClr val="6381A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pic>
          <p:nvPicPr>
            <p:cNvPr id="61" name="object 61"/>
            <p:cNvPicPr/>
            <p:nvPr/>
          </p:nvPicPr>
          <p:blipFill>
            <a:blip r:embed="rId4" cstate="print"/>
            <a:stretch>
              <a:fillRect/>
            </a:stretch>
          </p:blipFill>
          <p:spPr>
            <a:xfrm>
              <a:off x="4030367" y="3136630"/>
              <a:ext cx="220979" cy="220979"/>
            </a:xfrm>
            <a:prstGeom prst="rect">
              <a:avLst/>
            </a:prstGeom>
          </p:spPr>
        </p:pic>
      </p:grpSp>
      <p:sp>
        <p:nvSpPr>
          <p:cNvPr id="62" name="object 62"/>
          <p:cNvSpPr txBox="1"/>
          <p:nvPr/>
        </p:nvSpPr>
        <p:spPr>
          <a:xfrm>
            <a:off x="4899494" y="1878541"/>
            <a:ext cx="1620520" cy="365760"/>
          </a:xfrm>
          <a:prstGeom prst="rect">
            <a:avLst/>
          </a:prstGeom>
          <a:solidFill>
            <a:srgbClr val="6F2F9F"/>
          </a:solidFill>
        </p:spPr>
        <p:txBody>
          <a:bodyPr vert="horz" wrap="square" lIns="0" tIns="10795" rIns="0" bIns="0" rtlCol="0">
            <a:spAutoFit/>
          </a:bodyPr>
          <a:lstStyle/>
          <a:p>
            <a:pPr marL="266700" marR="109220" lvl="0" indent="-149860" algn="l" defTabSz="914400" rtl="0" eaLnBrk="1" fontAlgn="auto" latinLnBrk="0" hangingPunct="1">
              <a:lnSpc>
                <a:spcPct val="100000"/>
              </a:lnSpc>
              <a:spcBef>
                <a:spcPts val="85"/>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Arial"/>
                <a:ea typeface="+mn-ea"/>
                <a:cs typeface="Arial"/>
              </a:rPr>
              <a:t>Bridging</a:t>
            </a:r>
            <a:r>
              <a:rPr kumimoji="0" lang="en-US" sz="1100" b="0" i="0" u="none" strike="noStrike" kern="0" cap="none" spc="-50" normalizeH="0" baseline="0" noProof="0" dirty="0">
                <a:ln>
                  <a:noFill/>
                </a:ln>
                <a:solidFill>
                  <a:srgbClr val="FFFFFF"/>
                </a:solidFill>
                <a:effectLst/>
                <a:uLnTx/>
                <a:uFillTx/>
                <a:latin typeface="Arial"/>
                <a:ea typeface="+mn-ea"/>
                <a:cs typeface="Arial"/>
              </a:rPr>
              <a:t> </a:t>
            </a:r>
            <a:r>
              <a:rPr kumimoji="0" lang="en-US" sz="1100" b="0" i="0" u="none" strike="noStrike" kern="0" cap="none" spc="-10" normalizeH="0" baseline="0" noProof="0" dirty="0">
                <a:ln>
                  <a:noFill/>
                </a:ln>
                <a:solidFill>
                  <a:srgbClr val="FFFFFF"/>
                </a:solidFill>
                <a:effectLst/>
                <a:uLnTx/>
                <a:uFillTx/>
                <a:latin typeface="Arial"/>
                <a:ea typeface="+mn-ea"/>
                <a:cs typeface="Arial"/>
              </a:rPr>
              <a:t>corticosteroid </a:t>
            </a:r>
            <a:r>
              <a:rPr kumimoji="0" lang="en-US" sz="1100" b="0" i="0" u="none" strike="noStrike" kern="0" cap="none" spc="0" normalizeH="0" baseline="0" noProof="0" dirty="0">
                <a:ln>
                  <a:noFill/>
                </a:ln>
                <a:solidFill>
                  <a:srgbClr val="FFFFFF"/>
                </a:solidFill>
                <a:effectLst/>
                <a:uLnTx/>
                <a:uFillTx/>
                <a:latin typeface="Arial"/>
                <a:ea typeface="+mn-ea"/>
                <a:cs typeface="Arial"/>
              </a:rPr>
              <a:t>therapy</a:t>
            </a:r>
            <a:r>
              <a:rPr kumimoji="0" lang="en-US" sz="1100" b="0" i="0" u="none" strike="noStrike" kern="0" cap="none" spc="-40" normalizeH="0" baseline="0" noProof="0" dirty="0">
                <a:ln>
                  <a:noFill/>
                </a:ln>
                <a:solidFill>
                  <a:srgbClr val="FFFFFF"/>
                </a:solidFill>
                <a:effectLst/>
                <a:uLnTx/>
                <a:uFillTx/>
                <a:latin typeface="Arial"/>
                <a:ea typeface="+mn-ea"/>
                <a:cs typeface="Arial"/>
              </a:rPr>
              <a:t> </a:t>
            </a:r>
            <a:r>
              <a:rPr kumimoji="0" lang="en-US" sz="1100" b="0" i="0" u="none" strike="noStrike" kern="0" cap="none" spc="-10" normalizeH="0" baseline="0" noProof="0" dirty="0">
                <a:ln>
                  <a:noFill/>
                </a:ln>
                <a:solidFill>
                  <a:srgbClr val="FFFFFF"/>
                </a:solidFill>
                <a:effectLst/>
                <a:uLnTx/>
                <a:uFillTx/>
                <a:latin typeface="Arial"/>
                <a:ea typeface="+mn-ea"/>
                <a:cs typeface="Arial"/>
              </a:rPr>
              <a:t>(optional)</a:t>
            </a:r>
            <a:endParaRPr kumimoji="0" lang="en-US" sz="1100" b="0" i="0" u="none" strike="noStrike" kern="0" cap="none" spc="0" normalizeH="0" baseline="0" noProof="0" dirty="0">
              <a:ln>
                <a:noFill/>
              </a:ln>
              <a:solidFill>
                <a:sysClr val="windowText" lastClr="000000"/>
              </a:solidFill>
              <a:effectLst/>
              <a:uLnTx/>
              <a:uFillTx/>
              <a:latin typeface="Arial"/>
              <a:ea typeface="+mn-ea"/>
              <a:cs typeface="Arial"/>
            </a:endParaRPr>
          </a:p>
        </p:txBody>
      </p:sp>
      <p:grpSp>
        <p:nvGrpSpPr>
          <p:cNvPr id="63" name="object 63"/>
          <p:cNvGrpSpPr/>
          <p:nvPr/>
        </p:nvGrpSpPr>
        <p:grpSpPr>
          <a:xfrm>
            <a:off x="1758791" y="2244303"/>
            <a:ext cx="4133669" cy="1043083"/>
            <a:chOff x="1758791" y="2386916"/>
            <a:chExt cx="4133669" cy="1043083"/>
          </a:xfrm>
        </p:grpSpPr>
        <p:sp>
          <p:nvSpPr>
            <p:cNvPr id="64" name="object 64"/>
            <p:cNvSpPr/>
            <p:nvPr/>
          </p:nvSpPr>
          <p:spPr>
            <a:xfrm>
              <a:off x="5526700" y="2517574"/>
              <a:ext cx="365760" cy="365760"/>
            </a:xfrm>
            <a:custGeom>
              <a:avLst/>
              <a:gdLst/>
              <a:ahLst/>
              <a:cxnLst/>
              <a:rect l="l" t="t" r="r" b="b"/>
              <a:pathLst>
                <a:path w="365760" h="365760">
                  <a:moveTo>
                    <a:pt x="182880" y="0"/>
                  </a:moveTo>
                  <a:lnTo>
                    <a:pt x="134262" y="6532"/>
                  </a:lnTo>
                  <a:lnTo>
                    <a:pt x="90576" y="24968"/>
                  </a:lnTo>
                  <a:lnTo>
                    <a:pt x="53563" y="53563"/>
                  </a:lnTo>
                  <a:lnTo>
                    <a:pt x="24968" y="90576"/>
                  </a:lnTo>
                  <a:lnTo>
                    <a:pt x="6532" y="134262"/>
                  </a:lnTo>
                  <a:lnTo>
                    <a:pt x="0" y="182879"/>
                  </a:lnTo>
                  <a:lnTo>
                    <a:pt x="6532" y="231497"/>
                  </a:lnTo>
                  <a:lnTo>
                    <a:pt x="24968" y="275183"/>
                  </a:lnTo>
                  <a:lnTo>
                    <a:pt x="53563" y="312196"/>
                  </a:lnTo>
                  <a:lnTo>
                    <a:pt x="90576" y="340791"/>
                  </a:lnTo>
                  <a:lnTo>
                    <a:pt x="134262" y="359227"/>
                  </a:lnTo>
                  <a:lnTo>
                    <a:pt x="182880" y="365759"/>
                  </a:lnTo>
                  <a:lnTo>
                    <a:pt x="231497" y="359227"/>
                  </a:lnTo>
                  <a:lnTo>
                    <a:pt x="275183" y="340791"/>
                  </a:lnTo>
                  <a:lnTo>
                    <a:pt x="312196" y="312196"/>
                  </a:lnTo>
                  <a:lnTo>
                    <a:pt x="340791" y="275183"/>
                  </a:lnTo>
                  <a:lnTo>
                    <a:pt x="359227" y="231497"/>
                  </a:lnTo>
                  <a:lnTo>
                    <a:pt x="365760" y="182879"/>
                  </a:lnTo>
                  <a:lnTo>
                    <a:pt x="359227" y="134262"/>
                  </a:lnTo>
                  <a:lnTo>
                    <a:pt x="340791" y="90576"/>
                  </a:lnTo>
                  <a:lnTo>
                    <a:pt x="312196" y="53563"/>
                  </a:lnTo>
                  <a:lnTo>
                    <a:pt x="275183" y="24968"/>
                  </a:lnTo>
                  <a:lnTo>
                    <a:pt x="231497" y="6532"/>
                  </a:lnTo>
                  <a:lnTo>
                    <a:pt x="182880" y="0"/>
                  </a:lnTo>
                  <a:close/>
                </a:path>
              </a:pathLst>
            </a:custGeom>
            <a:solidFill>
              <a:srgbClr val="6381A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pic>
          <p:nvPicPr>
            <p:cNvPr id="65" name="object 65"/>
            <p:cNvPicPr/>
            <p:nvPr/>
          </p:nvPicPr>
          <p:blipFill>
            <a:blip r:embed="rId5" cstate="print"/>
            <a:stretch>
              <a:fillRect/>
            </a:stretch>
          </p:blipFill>
          <p:spPr>
            <a:xfrm>
              <a:off x="5599090" y="2589965"/>
              <a:ext cx="220979" cy="220979"/>
            </a:xfrm>
            <a:prstGeom prst="rect">
              <a:avLst/>
            </a:prstGeom>
          </p:spPr>
        </p:pic>
        <p:sp>
          <p:nvSpPr>
            <p:cNvPr id="66" name="object 66"/>
            <p:cNvSpPr/>
            <p:nvPr/>
          </p:nvSpPr>
          <p:spPr>
            <a:xfrm>
              <a:off x="5709580" y="2386916"/>
              <a:ext cx="0" cy="130810"/>
            </a:xfrm>
            <a:custGeom>
              <a:avLst/>
              <a:gdLst/>
              <a:ahLst/>
              <a:cxnLst/>
              <a:rect l="l" t="t" r="r" b="b"/>
              <a:pathLst>
                <a:path h="130810">
                  <a:moveTo>
                    <a:pt x="0" y="0"/>
                  </a:moveTo>
                  <a:lnTo>
                    <a:pt x="0" y="130657"/>
                  </a:lnTo>
                </a:path>
              </a:pathLst>
            </a:custGeom>
            <a:ln w="28575">
              <a:solidFill>
                <a:srgbClr val="6381A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68" name="object 68"/>
            <p:cNvSpPr/>
            <p:nvPr/>
          </p:nvSpPr>
          <p:spPr>
            <a:xfrm>
              <a:off x="1758791" y="3064239"/>
              <a:ext cx="365760" cy="365760"/>
            </a:xfrm>
            <a:custGeom>
              <a:avLst/>
              <a:gdLst/>
              <a:ahLst/>
              <a:cxnLst/>
              <a:rect l="l" t="t" r="r" b="b"/>
              <a:pathLst>
                <a:path w="365760" h="365760">
                  <a:moveTo>
                    <a:pt x="182880" y="0"/>
                  </a:moveTo>
                  <a:lnTo>
                    <a:pt x="134262" y="6532"/>
                  </a:lnTo>
                  <a:lnTo>
                    <a:pt x="90576" y="24968"/>
                  </a:lnTo>
                  <a:lnTo>
                    <a:pt x="53563" y="53563"/>
                  </a:lnTo>
                  <a:lnTo>
                    <a:pt x="24968" y="90576"/>
                  </a:lnTo>
                  <a:lnTo>
                    <a:pt x="6532" y="134262"/>
                  </a:lnTo>
                  <a:lnTo>
                    <a:pt x="0" y="182879"/>
                  </a:lnTo>
                  <a:lnTo>
                    <a:pt x="6532" y="231497"/>
                  </a:lnTo>
                  <a:lnTo>
                    <a:pt x="24968" y="275183"/>
                  </a:lnTo>
                  <a:lnTo>
                    <a:pt x="53563" y="312196"/>
                  </a:lnTo>
                  <a:lnTo>
                    <a:pt x="90576" y="340791"/>
                  </a:lnTo>
                  <a:lnTo>
                    <a:pt x="134262" y="359227"/>
                  </a:lnTo>
                  <a:lnTo>
                    <a:pt x="182880" y="365759"/>
                  </a:lnTo>
                  <a:lnTo>
                    <a:pt x="231497" y="359227"/>
                  </a:lnTo>
                  <a:lnTo>
                    <a:pt x="275183" y="340791"/>
                  </a:lnTo>
                  <a:lnTo>
                    <a:pt x="312196" y="312196"/>
                  </a:lnTo>
                  <a:lnTo>
                    <a:pt x="340791" y="275183"/>
                  </a:lnTo>
                  <a:lnTo>
                    <a:pt x="359227" y="231497"/>
                  </a:lnTo>
                  <a:lnTo>
                    <a:pt x="365760" y="182879"/>
                  </a:lnTo>
                  <a:lnTo>
                    <a:pt x="359227" y="134262"/>
                  </a:lnTo>
                  <a:lnTo>
                    <a:pt x="340791" y="90576"/>
                  </a:lnTo>
                  <a:lnTo>
                    <a:pt x="312196" y="53563"/>
                  </a:lnTo>
                  <a:lnTo>
                    <a:pt x="275183" y="24968"/>
                  </a:lnTo>
                  <a:lnTo>
                    <a:pt x="231497" y="6532"/>
                  </a:lnTo>
                  <a:lnTo>
                    <a:pt x="182880" y="0"/>
                  </a:lnTo>
                  <a:close/>
                </a:path>
              </a:pathLst>
            </a:custGeom>
            <a:solidFill>
              <a:srgbClr val="6381A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pic>
          <p:nvPicPr>
            <p:cNvPr id="69" name="object 69"/>
            <p:cNvPicPr/>
            <p:nvPr/>
          </p:nvPicPr>
          <p:blipFill>
            <a:blip r:embed="rId5" cstate="print"/>
            <a:stretch>
              <a:fillRect/>
            </a:stretch>
          </p:blipFill>
          <p:spPr>
            <a:xfrm>
              <a:off x="1831181" y="3136630"/>
              <a:ext cx="220980" cy="220979"/>
            </a:xfrm>
            <a:prstGeom prst="rect">
              <a:avLst/>
            </a:prstGeom>
          </p:spPr>
        </p:pic>
      </p:grpSp>
      <p:sp>
        <p:nvSpPr>
          <p:cNvPr id="70" name="TextBox 69">
            <a:extLst>
              <a:ext uri="{FF2B5EF4-FFF2-40B4-BE49-F238E27FC236}">
                <a16:creationId xmlns:a16="http://schemas.microsoft.com/office/drawing/2014/main" id="{930CB959-7848-573B-141D-82DA8DFC3E15}"/>
              </a:ext>
            </a:extLst>
          </p:cNvPr>
          <p:cNvSpPr txBox="1"/>
          <p:nvPr/>
        </p:nvSpPr>
        <p:spPr>
          <a:xfrm>
            <a:off x="472350" y="6110987"/>
            <a:ext cx="11279302"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a:ea typeface="+mn-ea"/>
                <a:cs typeface="+mn-cs"/>
              </a:rPr>
              <a:t>a: Fludarabine 30 mg/m2 IV &amp; cyclophosphamide 500 mg/m2 IV on Days –5, –4, and –3. b: Single IV infusion of 2×106 CAR T-cells/kg on Day 0. c: SOC therapy should start between 2 and 9 days after randomization. d: The R-CHOP regimen may include a prednisone-equivalent dose of any corticosteroids per institutional guidelines. </a:t>
            </a:r>
          </a:p>
        </p:txBody>
      </p:sp>
      <p:sp>
        <p:nvSpPr>
          <p:cNvPr id="72" name="TextBox 71">
            <a:extLst>
              <a:ext uri="{FF2B5EF4-FFF2-40B4-BE49-F238E27FC236}">
                <a16:creationId xmlns:a16="http://schemas.microsoft.com/office/drawing/2014/main" id="{9DE5ADC1-C9CA-DAA3-4450-84691E0FE356}"/>
              </a:ext>
            </a:extLst>
          </p:cNvPr>
          <p:cNvSpPr txBox="1"/>
          <p:nvPr/>
        </p:nvSpPr>
        <p:spPr>
          <a:xfrm>
            <a:off x="5526700" y="6526486"/>
            <a:ext cx="145438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B1B1B"/>
                </a:solidFill>
                <a:effectLst/>
                <a:uLnTx/>
                <a:uFillTx/>
                <a:latin typeface="Arial" panose="020B0604020202020204" pitchFamily="34" charset="0"/>
                <a:ea typeface="+mn-ea"/>
                <a:cs typeface="Arial" panose="020B0604020202020204" pitchFamily="34" charset="0"/>
              </a:rPr>
              <a:t>NCT05371093</a:t>
            </a: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object 4" descr="$PPTXTitle"/>
          <p:cNvSpPr txBox="1">
            <a:spLocks noGrp="1"/>
          </p:cNvSpPr>
          <p:nvPr>
            <p:ph type="title"/>
          </p:nvPr>
        </p:nvSpPr>
        <p:spPr>
          <a:xfrm>
            <a:off x="682693" y="178184"/>
            <a:ext cx="9528810" cy="504625"/>
          </a:xfrm>
          <a:prstGeom prst="rect">
            <a:avLst/>
          </a:prstGeom>
        </p:spPr>
        <p:txBody>
          <a:bodyPr vert="horz" wrap="square" lIns="0" tIns="12065" rIns="0" bIns="0" rtlCol="0">
            <a:spAutoFit/>
          </a:bodyPr>
          <a:lstStyle/>
          <a:p>
            <a:pPr marL="12700">
              <a:lnSpc>
                <a:spcPct val="100000"/>
              </a:lnSpc>
              <a:spcBef>
                <a:spcPts val="95"/>
              </a:spcBef>
            </a:pPr>
            <a:r>
              <a:rPr lang="en-US" sz="3200" b="1" spc="-25" dirty="0">
                <a:solidFill>
                  <a:srgbClr val="002060"/>
                </a:solidFill>
                <a:latin typeface="+mn-lt"/>
              </a:rPr>
              <a:t>ZUMA-</a:t>
            </a:r>
            <a:r>
              <a:rPr lang="en-US" sz="3200" b="1" dirty="0">
                <a:solidFill>
                  <a:srgbClr val="002060"/>
                </a:solidFill>
                <a:latin typeface="+mn-lt"/>
              </a:rPr>
              <a:t>22:</a:t>
            </a:r>
            <a:r>
              <a:rPr lang="en-US" sz="3200" b="1" spc="-5" dirty="0">
                <a:solidFill>
                  <a:srgbClr val="002060"/>
                </a:solidFill>
                <a:latin typeface="+mn-lt"/>
              </a:rPr>
              <a:t> </a:t>
            </a:r>
            <a:r>
              <a:rPr lang="en-US" sz="3200" b="1" dirty="0">
                <a:solidFill>
                  <a:srgbClr val="002060"/>
                </a:solidFill>
                <a:latin typeface="+mn-lt"/>
              </a:rPr>
              <a:t>Patient</a:t>
            </a:r>
            <a:r>
              <a:rPr lang="en-US" sz="3200" b="1" spc="-25" dirty="0">
                <a:solidFill>
                  <a:srgbClr val="002060"/>
                </a:solidFill>
                <a:latin typeface="+mn-lt"/>
              </a:rPr>
              <a:t> </a:t>
            </a:r>
            <a:r>
              <a:rPr lang="en-US" sz="3200" b="1" spc="-10" dirty="0">
                <a:solidFill>
                  <a:srgbClr val="002060"/>
                </a:solidFill>
                <a:latin typeface="+mn-lt"/>
              </a:rPr>
              <a:t>Eligibility</a:t>
            </a:r>
          </a:p>
        </p:txBody>
      </p:sp>
      <p:sp>
        <p:nvSpPr>
          <p:cNvPr id="5" name="object 5"/>
          <p:cNvSpPr txBox="1"/>
          <p:nvPr/>
        </p:nvSpPr>
        <p:spPr>
          <a:xfrm>
            <a:off x="662774" y="6170474"/>
            <a:ext cx="3634740" cy="162560"/>
          </a:xfrm>
          <a:prstGeom prst="rect">
            <a:avLst/>
          </a:prstGeom>
        </p:spPr>
        <p:txBody>
          <a:bodyPr vert="horz" wrap="square" lIns="0" tIns="12700" rIns="0" bIns="0" rtlCol="0">
            <a:spAutoFit/>
          </a:bodyPr>
          <a:lstStyle/>
          <a:p>
            <a:pPr marL="38100" marR="0" lvl="0" indent="0" algn="l" defTabSz="914400" rtl="0" eaLnBrk="1" fontAlgn="auto" latinLnBrk="0" hangingPunct="1">
              <a:lnSpc>
                <a:spcPct val="100000"/>
              </a:lnSpc>
              <a:spcBef>
                <a:spcPts val="100"/>
              </a:spcBef>
              <a:spcAft>
                <a:spcPts val="0"/>
              </a:spcAft>
              <a:buClrTx/>
              <a:buSzTx/>
              <a:buFontTx/>
              <a:buNone/>
              <a:tabLst/>
              <a:defRPr/>
            </a:pPr>
            <a:r>
              <a:rPr kumimoji="0" lang="en-US" sz="900" b="0" i="0" u="none" strike="noStrike" kern="0" cap="none" spc="0" normalizeH="0" baseline="27777" noProof="0" dirty="0">
                <a:ln>
                  <a:noFill/>
                </a:ln>
                <a:solidFill>
                  <a:srgbClr val="344451"/>
                </a:solidFill>
                <a:effectLst/>
                <a:uLnTx/>
                <a:uFillTx/>
                <a:latin typeface="Arial"/>
                <a:ea typeface="+mn-ea"/>
                <a:cs typeface="Arial"/>
              </a:rPr>
              <a:t>a</a:t>
            </a:r>
            <a:r>
              <a:rPr kumimoji="0" lang="en-US" sz="900" b="0" i="0" u="none" strike="noStrike" kern="0" cap="none" spc="0" normalizeH="0" baseline="0" noProof="0" dirty="0">
                <a:ln>
                  <a:noFill/>
                </a:ln>
                <a:solidFill>
                  <a:srgbClr val="344451"/>
                </a:solidFill>
                <a:effectLst/>
                <a:uLnTx/>
                <a:uFillTx/>
                <a:latin typeface="Arial"/>
                <a:ea typeface="+mn-ea"/>
                <a:cs typeface="Arial"/>
              </a:rPr>
              <a:t>Hepatitis</a:t>
            </a:r>
            <a:r>
              <a:rPr kumimoji="0" lang="en-US" sz="900" b="0" i="0" u="none" strike="noStrike" kern="0" cap="none" spc="-25" normalizeH="0" baseline="0" noProof="0" dirty="0">
                <a:ln>
                  <a:noFill/>
                </a:ln>
                <a:solidFill>
                  <a:srgbClr val="344451"/>
                </a:solidFill>
                <a:effectLst/>
                <a:uLnTx/>
                <a:uFillTx/>
                <a:latin typeface="Arial"/>
                <a:ea typeface="+mn-ea"/>
                <a:cs typeface="Arial"/>
              </a:rPr>
              <a:t> </a:t>
            </a:r>
            <a:r>
              <a:rPr kumimoji="0" lang="en-US" sz="900" b="0" i="0" u="none" strike="noStrike" kern="0" cap="none" spc="0" normalizeH="0" baseline="0" noProof="0" dirty="0">
                <a:ln>
                  <a:noFill/>
                </a:ln>
                <a:solidFill>
                  <a:srgbClr val="344451"/>
                </a:solidFill>
                <a:effectLst/>
                <a:uLnTx/>
                <a:uFillTx/>
                <a:latin typeface="Arial"/>
                <a:ea typeface="+mn-ea"/>
                <a:cs typeface="Arial"/>
              </a:rPr>
              <a:t>B</a:t>
            </a:r>
            <a:r>
              <a:rPr kumimoji="0" lang="en-US" sz="900" b="0" i="0" u="none" strike="noStrike" kern="0" cap="none" spc="-10" normalizeH="0" baseline="0" noProof="0" dirty="0">
                <a:ln>
                  <a:noFill/>
                </a:ln>
                <a:solidFill>
                  <a:srgbClr val="344451"/>
                </a:solidFill>
                <a:effectLst/>
                <a:uLnTx/>
                <a:uFillTx/>
                <a:latin typeface="Arial"/>
                <a:ea typeface="+mn-ea"/>
                <a:cs typeface="Arial"/>
              </a:rPr>
              <a:t> </a:t>
            </a:r>
            <a:r>
              <a:rPr kumimoji="0" lang="en-US" sz="900" b="0" i="0" u="none" strike="noStrike" kern="0" cap="none" spc="0" normalizeH="0" baseline="0" noProof="0" dirty="0">
                <a:ln>
                  <a:noFill/>
                </a:ln>
                <a:solidFill>
                  <a:srgbClr val="344451"/>
                </a:solidFill>
                <a:effectLst/>
                <a:uLnTx/>
                <a:uFillTx/>
                <a:latin typeface="Arial"/>
                <a:ea typeface="+mn-ea"/>
                <a:cs typeface="Arial"/>
              </a:rPr>
              <a:t>surface</a:t>
            </a:r>
            <a:r>
              <a:rPr kumimoji="0" lang="en-US" sz="900" b="0" i="0" u="none" strike="noStrike" kern="0" cap="none" spc="-25" normalizeH="0" baseline="0" noProof="0" dirty="0">
                <a:ln>
                  <a:noFill/>
                </a:ln>
                <a:solidFill>
                  <a:srgbClr val="344451"/>
                </a:solidFill>
                <a:effectLst/>
                <a:uLnTx/>
                <a:uFillTx/>
                <a:latin typeface="Arial"/>
                <a:ea typeface="+mn-ea"/>
                <a:cs typeface="Arial"/>
              </a:rPr>
              <a:t> </a:t>
            </a:r>
            <a:r>
              <a:rPr kumimoji="0" lang="en-US" sz="900" b="0" i="0" u="none" strike="noStrike" kern="0" cap="none" spc="0" normalizeH="0" baseline="0" noProof="0" dirty="0">
                <a:ln>
                  <a:noFill/>
                </a:ln>
                <a:solidFill>
                  <a:srgbClr val="344451"/>
                </a:solidFill>
                <a:effectLst/>
                <a:uLnTx/>
                <a:uFillTx/>
                <a:latin typeface="Arial"/>
                <a:ea typeface="+mn-ea"/>
                <a:cs typeface="Arial"/>
              </a:rPr>
              <a:t>antibody</a:t>
            </a:r>
            <a:r>
              <a:rPr kumimoji="0" lang="en-US" sz="900" b="0" i="0" u="none" strike="noStrike" kern="0" cap="none" spc="-30" normalizeH="0" baseline="0" noProof="0" dirty="0">
                <a:ln>
                  <a:noFill/>
                </a:ln>
                <a:solidFill>
                  <a:srgbClr val="344451"/>
                </a:solidFill>
                <a:effectLst/>
                <a:uLnTx/>
                <a:uFillTx/>
                <a:latin typeface="Arial"/>
                <a:ea typeface="+mn-ea"/>
                <a:cs typeface="Arial"/>
              </a:rPr>
              <a:t> </a:t>
            </a:r>
            <a:r>
              <a:rPr kumimoji="0" lang="en-US" sz="900" b="0" i="0" u="none" strike="noStrike" kern="0" cap="none" spc="0" normalizeH="0" baseline="0" noProof="0" dirty="0">
                <a:ln>
                  <a:noFill/>
                </a:ln>
                <a:solidFill>
                  <a:srgbClr val="344451"/>
                </a:solidFill>
                <a:effectLst/>
                <a:uLnTx/>
                <a:uFillTx/>
                <a:latin typeface="Arial"/>
                <a:ea typeface="+mn-ea"/>
                <a:cs typeface="Arial"/>
              </a:rPr>
              <a:t>and/or</a:t>
            </a:r>
            <a:r>
              <a:rPr kumimoji="0" lang="en-US" sz="900" b="0" i="0" u="none" strike="noStrike" kern="0" cap="none" spc="-10" normalizeH="0" baseline="0" noProof="0" dirty="0">
                <a:ln>
                  <a:noFill/>
                </a:ln>
                <a:solidFill>
                  <a:srgbClr val="344451"/>
                </a:solidFill>
                <a:effectLst/>
                <a:uLnTx/>
                <a:uFillTx/>
                <a:latin typeface="Arial"/>
                <a:ea typeface="+mn-ea"/>
                <a:cs typeface="Arial"/>
              </a:rPr>
              <a:t> </a:t>
            </a:r>
            <a:r>
              <a:rPr kumimoji="0" lang="en-US" sz="900" b="0" i="0" u="none" strike="noStrike" kern="0" cap="none" spc="0" normalizeH="0" baseline="0" noProof="0" dirty="0">
                <a:ln>
                  <a:noFill/>
                </a:ln>
                <a:solidFill>
                  <a:srgbClr val="344451"/>
                </a:solidFill>
                <a:effectLst/>
                <a:uLnTx/>
                <a:uFillTx/>
                <a:latin typeface="Arial"/>
                <a:ea typeface="+mn-ea"/>
                <a:cs typeface="Arial"/>
              </a:rPr>
              <a:t>hepatitis</a:t>
            </a:r>
            <a:r>
              <a:rPr kumimoji="0" lang="en-US" sz="900" b="0" i="0" u="none" strike="noStrike" kern="0" cap="none" spc="-35" normalizeH="0" baseline="0" noProof="0" dirty="0">
                <a:ln>
                  <a:noFill/>
                </a:ln>
                <a:solidFill>
                  <a:srgbClr val="344451"/>
                </a:solidFill>
                <a:effectLst/>
                <a:uLnTx/>
                <a:uFillTx/>
                <a:latin typeface="Arial"/>
                <a:ea typeface="+mn-ea"/>
                <a:cs typeface="Arial"/>
              </a:rPr>
              <a:t> </a:t>
            </a:r>
            <a:r>
              <a:rPr kumimoji="0" lang="en-US" sz="900" b="0" i="0" u="none" strike="noStrike" kern="0" cap="none" spc="0" normalizeH="0" baseline="0" noProof="0" dirty="0">
                <a:ln>
                  <a:noFill/>
                </a:ln>
                <a:solidFill>
                  <a:srgbClr val="344451"/>
                </a:solidFill>
                <a:effectLst/>
                <a:uLnTx/>
                <a:uFillTx/>
                <a:latin typeface="Arial"/>
                <a:ea typeface="+mn-ea"/>
                <a:cs typeface="Arial"/>
              </a:rPr>
              <a:t>B</a:t>
            </a:r>
            <a:r>
              <a:rPr kumimoji="0" lang="en-US" sz="900" b="0" i="0" u="none" strike="noStrike" kern="0" cap="none" spc="-15" normalizeH="0" baseline="0" noProof="0" dirty="0">
                <a:ln>
                  <a:noFill/>
                </a:ln>
                <a:solidFill>
                  <a:srgbClr val="344451"/>
                </a:solidFill>
                <a:effectLst/>
                <a:uLnTx/>
                <a:uFillTx/>
                <a:latin typeface="Arial"/>
                <a:ea typeface="+mn-ea"/>
                <a:cs typeface="Arial"/>
              </a:rPr>
              <a:t> </a:t>
            </a:r>
            <a:r>
              <a:rPr kumimoji="0" lang="en-US" sz="900" b="0" i="0" u="none" strike="noStrike" kern="0" cap="none" spc="0" normalizeH="0" baseline="0" noProof="0" dirty="0">
                <a:ln>
                  <a:noFill/>
                </a:ln>
                <a:solidFill>
                  <a:srgbClr val="344451"/>
                </a:solidFill>
                <a:effectLst/>
                <a:uLnTx/>
                <a:uFillTx/>
                <a:latin typeface="Arial"/>
                <a:ea typeface="+mn-ea"/>
                <a:cs typeface="Arial"/>
              </a:rPr>
              <a:t>core</a:t>
            </a:r>
            <a:r>
              <a:rPr kumimoji="0" lang="en-US" sz="900" b="0" i="0" u="none" strike="noStrike" kern="0" cap="none" spc="-10" normalizeH="0" baseline="0" noProof="0" dirty="0">
                <a:ln>
                  <a:noFill/>
                </a:ln>
                <a:solidFill>
                  <a:srgbClr val="344451"/>
                </a:solidFill>
                <a:effectLst/>
                <a:uLnTx/>
                <a:uFillTx/>
                <a:latin typeface="Arial"/>
                <a:ea typeface="+mn-ea"/>
                <a:cs typeface="Arial"/>
              </a:rPr>
              <a:t> </a:t>
            </a:r>
            <a:r>
              <a:rPr kumimoji="0" lang="en-US" sz="900" b="0" i="0" u="none" strike="noStrike" kern="0" cap="none" spc="0" normalizeH="0" baseline="0" noProof="0" dirty="0">
                <a:ln>
                  <a:noFill/>
                </a:ln>
                <a:solidFill>
                  <a:srgbClr val="344451"/>
                </a:solidFill>
                <a:effectLst/>
                <a:uLnTx/>
                <a:uFillTx/>
                <a:latin typeface="Arial"/>
                <a:ea typeface="+mn-ea"/>
                <a:cs typeface="Arial"/>
              </a:rPr>
              <a:t>antibody</a:t>
            </a:r>
            <a:r>
              <a:rPr kumimoji="0" lang="en-US" sz="900" b="0" i="0" u="none" strike="noStrike" kern="0" cap="none" spc="-35" normalizeH="0" baseline="0" noProof="0" dirty="0">
                <a:ln>
                  <a:noFill/>
                </a:ln>
                <a:solidFill>
                  <a:srgbClr val="344451"/>
                </a:solidFill>
                <a:effectLst/>
                <a:uLnTx/>
                <a:uFillTx/>
                <a:latin typeface="Arial"/>
                <a:ea typeface="+mn-ea"/>
                <a:cs typeface="Arial"/>
              </a:rPr>
              <a:t> </a:t>
            </a:r>
            <a:r>
              <a:rPr kumimoji="0" lang="en-US" sz="900" b="0" i="0" u="none" strike="noStrike" kern="0" cap="none" spc="-10" normalizeH="0" baseline="0" noProof="0" dirty="0">
                <a:ln>
                  <a:noFill/>
                </a:ln>
                <a:solidFill>
                  <a:srgbClr val="344451"/>
                </a:solidFill>
                <a:effectLst/>
                <a:uLnTx/>
                <a:uFillTx/>
                <a:latin typeface="Arial"/>
                <a:ea typeface="+mn-ea"/>
                <a:cs typeface="Arial"/>
              </a:rPr>
              <a:t>positive.</a:t>
            </a:r>
            <a:endParaRPr kumimoji="0" lang="en-US" sz="900" b="0" i="0" u="none" strike="noStrike" kern="0" cap="none" spc="0" normalizeH="0" baseline="0" noProof="0" dirty="0">
              <a:ln>
                <a:noFill/>
              </a:ln>
              <a:solidFill>
                <a:sysClr val="windowText" lastClr="000000"/>
              </a:solidFill>
              <a:effectLst/>
              <a:uLnTx/>
              <a:uFillTx/>
              <a:latin typeface="Arial"/>
              <a:ea typeface="+mn-ea"/>
              <a:cs typeface="Arial"/>
            </a:endParaRPr>
          </a:p>
        </p:txBody>
      </p:sp>
      <p:sp>
        <p:nvSpPr>
          <p:cNvPr id="6" name="object 6"/>
          <p:cNvSpPr txBox="1"/>
          <p:nvPr/>
        </p:nvSpPr>
        <p:spPr>
          <a:xfrm>
            <a:off x="688098" y="6307634"/>
            <a:ext cx="5247640"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US" sz="900" b="0" i="0" u="sng" strike="noStrike" kern="0" cap="none" spc="-10" normalizeH="0" baseline="0" noProof="0" dirty="0">
                <a:ln>
                  <a:noFill/>
                </a:ln>
                <a:solidFill>
                  <a:srgbClr val="0562C1"/>
                </a:solidFill>
                <a:effectLst/>
                <a:uLnTx/>
                <a:uFill>
                  <a:solidFill>
                    <a:srgbClr val="0562C1"/>
                  </a:solidFill>
                </a:uFill>
                <a:latin typeface="Arial"/>
                <a:ea typeface="+mn-ea"/>
                <a:cs typeface="Arial"/>
              </a:rPr>
              <a:t>clinicaltrials.gov/ct2/show/NCT05371093</a:t>
            </a:r>
            <a:r>
              <a:rPr kumimoji="0" lang="en-US" sz="900" b="0" i="0" u="none" strike="noStrike" kern="0" cap="none" spc="-10" normalizeH="0" baseline="0" noProof="0" dirty="0">
                <a:ln>
                  <a:noFill/>
                </a:ln>
                <a:solidFill>
                  <a:srgbClr val="2F4056"/>
                </a:solidFill>
                <a:effectLst/>
                <a:uLnTx/>
                <a:uFillTx/>
                <a:latin typeface="Arial"/>
                <a:ea typeface="+mn-ea"/>
                <a:cs typeface="Arial"/>
              </a:rPr>
              <a:t>.</a:t>
            </a:r>
            <a:r>
              <a:rPr kumimoji="0" lang="en-US" sz="900" b="0" i="0" u="none" strike="noStrike" kern="0" cap="none" spc="-15" normalizeH="0" baseline="0" noProof="0" dirty="0">
                <a:ln>
                  <a:noFill/>
                </a:ln>
                <a:solidFill>
                  <a:srgbClr val="2F4056"/>
                </a:solidFill>
                <a:effectLst/>
                <a:uLnTx/>
                <a:uFillTx/>
                <a:latin typeface="Arial"/>
                <a:ea typeface="+mn-ea"/>
                <a:cs typeface="Arial"/>
              </a:rPr>
              <a:t> </a:t>
            </a:r>
            <a:r>
              <a:rPr kumimoji="0" lang="en-US" sz="900" b="0" i="0" u="none" strike="noStrike" kern="0" cap="none" spc="0" normalizeH="0" baseline="0" noProof="0" dirty="0">
                <a:ln>
                  <a:noFill/>
                </a:ln>
                <a:solidFill>
                  <a:srgbClr val="2F4056"/>
                </a:solidFill>
                <a:effectLst/>
                <a:uLnTx/>
                <a:uFillTx/>
                <a:latin typeface="Arial"/>
                <a:ea typeface="+mn-ea"/>
                <a:cs typeface="Arial"/>
              </a:rPr>
              <a:t>Accessed</a:t>
            </a:r>
            <a:r>
              <a:rPr kumimoji="0" lang="en-US" sz="900" b="0" i="0" u="none" strike="noStrike" kern="0" cap="none" spc="-15" normalizeH="0" baseline="0" noProof="0" dirty="0">
                <a:ln>
                  <a:noFill/>
                </a:ln>
                <a:solidFill>
                  <a:srgbClr val="2F4056"/>
                </a:solidFill>
                <a:effectLst/>
                <a:uLnTx/>
                <a:uFillTx/>
                <a:latin typeface="Arial"/>
                <a:ea typeface="+mn-ea"/>
                <a:cs typeface="Arial"/>
              </a:rPr>
              <a:t> </a:t>
            </a:r>
            <a:r>
              <a:rPr kumimoji="0" lang="en-US" sz="900" b="0" i="0" u="none" strike="noStrike" kern="0" cap="none" spc="0" normalizeH="0" baseline="0" noProof="0" dirty="0">
                <a:ln>
                  <a:noFill/>
                </a:ln>
                <a:solidFill>
                  <a:srgbClr val="2F4056"/>
                </a:solidFill>
                <a:effectLst/>
                <a:uLnTx/>
                <a:uFillTx/>
                <a:latin typeface="Arial"/>
                <a:ea typeface="+mn-ea"/>
                <a:cs typeface="Arial"/>
              </a:rPr>
              <a:t>3</a:t>
            </a:r>
            <a:r>
              <a:rPr kumimoji="0" lang="en-US" sz="900" b="0" i="0" u="none" strike="noStrike" kern="0" cap="none" spc="15" normalizeH="0" baseline="0" noProof="0" dirty="0">
                <a:ln>
                  <a:noFill/>
                </a:ln>
                <a:solidFill>
                  <a:srgbClr val="2F4056"/>
                </a:solidFill>
                <a:effectLst/>
                <a:uLnTx/>
                <a:uFillTx/>
                <a:latin typeface="Arial"/>
                <a:ea typeface="+mn-ea"/>
                <a:cs typeface="Arial"/>
              </a:rPr>
              <a:t> </a:t>
            </a:r>
            <a:r>
              <a:rPr kumimoji="0" lang="en-US" sz="900" b="0" i="0" u="none" strike="noStrike" kern="0" cap="none" spc="0" normalizeH="0" baseline="0" noProof="0" dirty="0">
                <a:ln>
                  <a:noFill/>
                </a:ln>
                <a:solidFill>
                  <a:srgbClr val="2F4056"/>
                </a:solidFill>
                <a:effectLst/>
                <a:uLnTx/>
                <a:uFillTx/>
                <a:latin typeface="Arial"/>
                <a:ea typeface="+mn-ea"/>
                <a:cs typeface="Arial"/>
              </a:rPr>
              <a:t>April</a:t>
            </a:r>
            <a:r>
              <a:rPr kumimoji="0" lang="en-US" sz="900" b="0" i="0" u="none" strike="noStrike" kern="0" cap="none" spc="10" normalizeH="0" baseline="0" noProof="0" dirty="0">
                <a:ln>
                  <a:noFill/>
                </a:ln>
                <a:solidFill>
                  <a:srgbClr val="2F4056"/>
                </a:solidFill>
                <a:effectLst/>
                <a:uLnTx/>
                <a:uFillTx/>
                <a:latin typeface="Arial"/>
                <a:ea typeface="+mn-ea"/>
                <a:cs typeface="Arial"/>
              </a:rPr>
              <a:t> </a:t>
            </a:r>
            <a:r>
              <a:rPr kumimoji="0" lang="en-US" sz="900" b="0" i="0" u="none" strike="noStrike" kern="0" cap="none" spc="0" normalizeH="0" baseline="0" noProof="0" dirty="0">
                <a:ln>
                  <a:noFill/>
                </a:ln>
                <a:solidFill>
                  <a:srgbClr val="2F4056"/>
                </a:solidFill>
                <a:effectLst/>
                <a:uLnTx/>
                <a:uFillTx/>
                <a:latin typeface="Arial"/>
                <a:ea typeface="+mn-ea"/>
                <a:cs typeface="Arial"/>
              </a:rPr>
              <a:t>2023</a:t>
            </a:r>
            <a:r>
              <a:rPr kumimoji="0" lang="en-US" sz="900" b="0" i="0" u="none" strike="noStrike" kern="0" cap="none" spc="5" normalizeH="0" baseline="0" noProof="0" dirty="0">
                <a:ln>
                  <a:noFill/>
                </a:ln>
                <a:solidFill>
                  <a:srgbClr val="2F4056"/>
                </a:solidFill>
                <a:effectLst/>
                <a:uLnTx/>
                <a:uFillTx/>
                <a:latin typeface="Arial"/>
                <a:ea typeface="+mn-ea"/>
                <a:cs typeface="Arial"/>
              </a:rPr>
              <a:t> </a:t>
            </a:r>
            <a:r>
              <a:rPr kumimoji="0" lang="en-US" sz="900" b="0" i="0" u="none" strike="noStrike" kern="0" cap="none" spc="0" normalizeH="0" baseline="0" noProof="0" dirty="0">
                <a:ln>
                  <a:noFill/>
                </a:ln>
                <a:solidFill>
                  <a:srgbClr val="2F4056"/>
                </a:solidFill>
                <a:effectLst/>
                <a:uLnTx/>
                <a:uFillTx/>
                <a:latin typeface="Arial"/>
                <a:ea typeface="+mn-ea"/>
                <a:cs typeface="Arial"/>
              </a:rPr>
              <a:t>2.</a:t>
            </a:r>
            <a:r>
              <a:rPr kumimoji="0" lang="en-US" sz="900" b="0" i="0" u="none" strike="noStrike" kern="0" cap="none" spc="25" normalizeH="0" baseline="0" noProof="0" dirty="0">
                <a:ln>
                  <a:noFill/>
                </a:ln>
                <a:solidFill>
                  <a:srgbClr val="2F4056"/>
                </a:solidFill>
                <a:effectLst/>
                <a:uLnTx/>
                <a:uFillTx/>
                <a:latin typeface="Arial"/>
                <a:ea typeface="+mn-ea"/>
                <a:cs typeface="Arial"/>
              </a:rPr>
              <a:t> </a:t>
            </a:r>
            <a:r>
              <a:rPr kumimoji="0" lang="en-US" sz="900" b="0" i="0" u="none" strike="noStrike" kern="0" cap="none" spc="0" normalizeH="0" baseline="0" noProof="0" dirty="0">
                <a:ln>
                  <a:noFill/>
                </a:ln>
                <a:solidFill>
                  <a:srgbClr val="2F4056"/>
                </a:solidFill>
                <a:effectLst/>
                <a:uLnTx/>
                <a:uFillTx/>
                <a:latin typeface="Arial"/>
                <a:ea typeface="+mn-ea"/>
                <a:cs typeface="Arial"/>
              </a:rPr>
              <a:t>Data</a:t>
            </a:r>
            <a:r>
              <a:rPr kumimoji="0" lang="en-US" sz="900" b="0" i="0" u="none" strike="noStrike" kern="0" cap="none" spc="10" normalizeH="0" baseline="0" noProof="0" dirty="0">
                <a:ln>
                  <a:noFill/>
                </a:ln>
                <a:solidFill>
                  <a:srgbClr val="2F4056"/>
                </a:solidFill>
                <a:effectLst/>
                <a:uLnTx/>
                <a:uFillTx/>
                <a:latin typeface="Arial"/>
                <a:ea typeface="+mn-ea"/>
                <a:cs typeface="Arial"/>
              </a:rPr>
              <a:t> </a:t>
            </a:r>
            <a:r>
              <a:rPr kumimoji="0" lang="en-US" sz="900" b="0" i="0" u="none" strike="noStrike" kern="0" cap="none" spc="0" normalizeH="0" baseline="0" noProof="0" dirty="0">
                <a:ln>
                  <a:noFill/>
                </a:ln>
                <a:solidFill>
                  <a:srgbClr val="2F4056"/>
                </a:solidFill>
                <a:effectLst/>
                <a:uLnTx/>
                <a:uFillTx/>
                <a:latin typeface="Arial"/>
                <a:ea typeface="+mn-ea"/>
                <a:cs typeface="Arial"/>
              </a:rPr>
              <a:t>on</a:t>
            </a:r>
            <a:r>
              <a:rPr kumimoji="0" lang="en-US" sz="900" b="0" i="0" u="none" strike="noStrike" kern="0" cap="none" spc="15" normalizeH="0" baseline="0" noProof="0" dirty="0">
                <a:ln>
                  <a:noFill/>
                </a:ln>
                <a:solidFill>
                  <a:srgbClr val="2F4056"/>
                </a:solidFill>
                <a:effectLst/>
                <a:uLnTx/>
                <a:uFillTx/>
                <a:latin typeface="Arial"/>
                <a:ea typeface="+mn-ea"/>
                <a:cs typeface="Arial"/>
              </a:rPr>
              <a:t> </a:t>
            </a:r>
            <a:r>
              <a:rPr kumimoji="0" lang="en-US" sz="900" b="0" i="0" u="none" strike="noStrike" kern="0" cap="none" spc="0" normalizeH="0" baseline="0" noProof="0" dirty="0">
                <a:ln>
                  <a:noFill/>
                </a:ln>
                <a:solidFill>
                  <a:srgbClr val="2F4056"/>
                </a:solidFill>
                <a:effectLst/>
                <a:uLnTx/>
                <a:uFillTx/>
                <a:latin typeface="Arial"/>
                <a:ea typeface="+mn-ea"/>
                <a:cs typeface="Arial"/>
              </a:rPr>
              <a:t>file.</a:t>
            </a:r>
            <a:r>
              <a:rPr kumimoji="0" lang="en-US" sz="900" b="0" i="0" u="none" strike="noStrike" kern="0" cap="none" spc="15" normalizeH="0" baseline="0" noProof="0" dirty="0">
                <a:ln>
                  <a:noFill/>
                </a:ln>
                <a:solidFill>
                  <a:srgbClr val="2F4056"/>
                </a:solidFill>
                <a:effectLst/>
                <a:uLnTx/>
                <a:uFillTx/>
                <a:latin typeface="Arial"/>
                <a:ea typeface="+mn-ea"/>
                <a:cs typeface="Arial"/>
              </a:rPr>
              <a:t> </a:t>
            </a:r>
            <a:r>
              <a:rPr kumimoji="0" lang="en-US" sz="900" b="0" i="0" u="none" strike="noStrike" kern="0" cap="none" spc="0" normalizeH="0" baseline="0" noProof="0" dirty="0">
                <a:ln>
                  <a:noFill/>
                </a:ln>
                <a:solidFill>
                  <a:srgbClr val="2F4056"/>
                </a:solidFill>
                <a:effectLst/>
                <a:uLnTx/>
                <a:uFillTx/>
                <a:latin typeface="Arial"/>
                <a:ea typeface="+mn-ea"/>
                <a:cs typeface="Arial"/>
              </a:rPr>
              <a:t>Kite</a:t>
            </a:r>
            <a:r>
              <a:rPr kumimoji="0" lang="en-US" sz="900" b="0" i="0" u="none" strike="noStrike" kern="0" cap="none" spc="10" normalizeH="0" baseline="0" noProof="0" dirty="0">
                <a:ln>
                  <a:noFill/>
                </a:ln>
                <a:solidFill>
                  <a:srgbClr val="2F4056"/>
                </a:solidFill>
                <a:effectLst/>
                <a:uLnTx/>
                <a:uFillTx/>
                <a:latin typeface="Arial"/>
                <a:ea typeface="+mn-ea"/>
                <a:cs typeface="Arial"/>
              </a:rPr>
              <a:t> </a:t>
            </a:r>
            <a:r>
              <a:rPr kumimoji="0" lang="en-US" sz="900" b="0" i="0" u="none" strike="noStrike" kern="0" cap="none" spc="0" normalizeH="0" baseline="0" noProof="0" dirty="0">
                <a:ln>
                  <a:noFill/>
                </a:ln>
                <a:solidFill>
                  <a:srgbClr val="2F4056"/>
                </a:solidFill>
                <a:effectLst/>
                <a:uLnTx/>
                <a:uFillTx/>
                <a:latin typeface="Arial"/>
                <a:ea typeface="+mn-ea"/>
                <a:cs typeface="Arial"/>
              </a:rPr>
              <a:t>Pharma</a:t>
            </a:r>
            <a:r>
              <a:rPr kumimoji="0" lang="en-US" sz="900" b="0" i="0" u="none" strike="noStrike" kern="0" cap="none" spc="5" normalizeH="0" baseline="0" noProof="0" dirty="0">
                <a:ln>
                  <a:noFill/>
                </a:ln>
                <a:solidFill>
                  <a:srgbClr val="2F4056"/>
                </a:solidFill>
                <a:effectLst/>
                <a:uLnTx/>
                <a:uFillTx/>
                <a:latin typeface="Arial"/>
                <a:ea typeface="+mn-ea"/>
                <a:cs typeface="Arial"/>
              </a:rPr>
              <a:t> </a:t>
            </a:r>
            <a:r>
              <a:rPr kumimoji="0" lang="en-US" sz="900" b="0" i="0" u="none" strike="noStrike" kern="0" cap="none" spc="0" normalizeH="0" baseline="0" noProof="0" dirty="0">
                <a:ln>
                  <a:noFill/>
                </a:ln>
                <a:solidFill>
                  <a:srgbClr val="2F4056"/>
                </a:solidFill>
                <a:effectLst/>
                <a:uLnTx/>
                <a:uFillTx/>
                <a:latin typeface="Arial"/>
                <a:ea typeface="+mn-ea"/>
                <a:cs typeface="Arial"/>
              </a:rPr>
              <a:t>Inc.,</a:t>
            </a:r>
            <a:r>
              <a:rPr kumimoji="0" lang="en-US" sz="900" b="0" i="0" u="none" strike="noStrike" kern="0" cap="none" spc="-5" normalizeH="0" baseline="0" noProof="0" dirty="0">
                <a:ln>
                  <a:noFill/>
                </a:ln>
                <a:solidFill>
                  <a:srgbClr val="2F4056"/>
                </a:solidFill>
                <a:effectLst/>
                <a:uLnTx/>
                <a:uFillTx/>
                <a:latin typeface="Arial"/>
                <a:ea typeface="+mn-ea"/>
                <a:cs typeface="Arial"/>
              </a:rPr>
              <a:t> </a:t>
            </a:r>
            <a:r>
              <a:rPr kumimoji="0" lang="en-US" sz="900" b="0" i="0" u="none" strike="noStrike" kern="0" cap="none" spc="-20" normalizeH="0" baseline="0" noProof="0" dirty="0">
                <a:ln>
                  <a:noFill/>
                </a:ln>
                <a:solidFill>
                  <a:srgbClr val="2F4056"/>
                </a:solidFill>
                <a:effectLst/>
                <a:uLnTx/>
                <a:uFillTx/>
                <a:latin typeface="Arial"/>
                <a:ea typeface="+mn-ea"/>
                <a:cs typeface="Arial"/>
              </a:rPr>
              <a:t>2022</a:t>
            </a:r>
            <a:endParaRPr kumimoji="0" lang="en-US" sz="900" b="0" i="0" u="none" strike="noStrike" kern="0" cap="none" spc="0" normalizeH="0" baseline="0" noProof="0" dirty="0">
              <a:ln>
                <a:noFill/>
              </a:ln>
              <a:solidFill>
                <a:sysClr val="windowText" lastClr="000000"/>
              </a:solidFill>
              <a:effectLst/>
              <a:uLnTx/>
              <a:uFillTx/>
              <a:latin typeface="Arial"/>
              <a:ea typeface="+mn-ea"/>
              <a:cs typeface="Arial"/>
            </a:endParaRPr>
          </a:p>
        </p:txBody>
      </p:sp>
      <p:graphicFrame>
        <p:nvGraphicFramePr>
          <p:cNvPr id="7" name="object 7"/>
          <p:cNvGraphicFramePr>
            <a:graphicFrameLocks noGrp="1"/>
          </p:cNvGraphicFramePr>
          <p:nvPr/>
        </p:nvGraphicFramePr>
        <p:xfrm>
          <a:off x="682693" y="1034409"/>
          <a:ext cx="5212080" cy="4937760"/>
        </p:xfrm>
        <a:graphic>
          <a:graphicData uri="http://schemas.openxmlformats.org/drawingml/2006/table">
            <a:tbl>
              <a:tblPr firstRow="1" bandRow="1">
                <a:tableStyleId>{2D5ABB26-0587-4C30-8999-92F81FD0307C}</a:tableStyleId>
              </a:tblPr>
              <a:tblGrid>
                <a:gridCol w="5212080">
                  <a:extLst>
                    <a:ext uri="{9D8B030D-6E8A-4147-A177-3AD203B41FA5}">
                      <a16:colId xmlns:a16="http://schemas.microsoft.com/office/drawing/2014/main" val="20000"/>
                    </a:ext>
                  </a:extLst>
                </a:gridCol>
              </a:tblGrid>
              <a:tr h="457200">
                <a:tc>
                  <a:txBody>
                    <a:bodyPr/>
                    <a:lstStyle/>
                    <a:p>
                      <a:pPr marL="90805">
                        <a:lnSpc>
                          <a:spcPct val="100000"/>
                        </a:lnSpc>
                        <a:spcBef>
                          <a:spcPts val="915"/>
                        </a:spcBef>
                      </a:pPr>
                      <a:r>
                        <a:rPr lang="en-US" sz="1400" b="1" dirty="0">
                          <a:solidFill>
                            <a:srgbClr val="FFFFFF"/>
                          </a:solidFill>
                          <a:latin typeface="Arial"/>
                          <a:cs typeface="Arial"/>
                        </a:rPr>
                        <a:t>Key</a:t>
                      </a:r>
                      <a:r>
                        <a:rPr lang="en-US" sz="1400" b="1" spc="-40" dirty="0">
                          <a:solidFill>
                            <a:srgbClr val="FFFFFF"/>
                          </a:solidFill>
                          <a:latin typeface="Arial"/>
                          <a:cs typeface="Arial"/>
                        </a:rPr>
                        <a:t> </a:t>
                      </a:r>
                      <a:r>
                        <a:rPr lang="en-US" sz="1400" b="1" dirty="0">
                          <a:solidFill>
                            <a:srgbClr val="FFFFFF"/>
                          </a:solidFill>
                          <a:latin typeface="Arial"/>
                          <a:cs typeface="Arial"/>
                        </a:rPr>
                        <a:t>Inclusion</a:t>
                      </a:r>
                      <a:r>
                        <a:rPr lang="en-US" sz="1400" b="1" spc="-70" dirty="0">
                          <a:solidFill>
                            <a:srgbClr val="FFFFFF"/>
                          </a:solidFill>
                          <a:latin typeface="Arial"/>
                          <a:cs typeface="Arial"/>
                        </a:rPr>
                        <a:t> </a:t>
                      </a:r>
                      <a:r>
                        <a:rPr lang="en-US" sz="1400" b="1" spc="-10" dirty="0">
                          <a:solidFill>
                            <a:srgbClr val="FFFFFF"/>
                          </a:solidFill>
                          <a:latin typeface="Arial"/>
                          <a:cs typeface="Arial"/>
                        </a:rPr>
                        <a:t>Criteria</a:t>
                      </a:r>
                      <a:r>
                        <a:rPr lang="en-US" sz="1350" b="1" spc="-15" baseline="24691" dirty="0">
                          <a:solidFill>
                            <a:srgbClr val="FFFFFF"/>
                          </a:solidFill>
                          <a:latin typeface="Arial"/>
                          <a:cs typeface="Arial"/>
                        </a:rPr>
                        <a:t>1,2</a:t>
                      </a:r>
                      <a:endParaRPr lang="en-US" sz="1350" baseline="24691" dirty="0">
                        <a:latin typeface="Arial"/>
                        <a:cs typeface="Arial"/>
                      </a:endParaRPr>
                    </a:p>
                  </a:txBody>
                  <a:tcPr marL="0" marR="0" marT="116205" marB="0">
                    <a:lnL w="12700">
                      <a:solidFill>
                        <a:srgbClr val="FFFFFF"/>
                      </a:solidFill>
                      <a:prstDash val="solid"/>
                    </a:lnL>
                    <a:lnR w="12700">
                      <a:solidFill>
                        <a:srgbClr val="FFFFFF"/>
                      </a:solidFill>
                      <a:prstDash val="solid"/>
                    </a:lnR>
                    <a:lnT w="12700">
                      <a:solidFill>
                        <a:srgbClr val="FFFFFF"/>
                      </a:solidFill>
                      <a:prstDash val="solid"/>
                    </a:lnT>
                    <a:lnB w="76200">
                      <a:solidFill>
                        <a:srgbClr val="FFFFFF"/>
                      </a:solidFill>
                      <a:prstDash val="solid"/>
                    </a:lnB>
                    <a:solidFill>
                      <a:srgbClr val="6381AA"/>
                    </a:solidFill>
                  </a:tcPr>
                </a:tc>
                <a:extLst>
                  <a:ext uri="{0D108BD9-81ED-4DB2-BD59-A6C34878D82A}">
                    <a16:rowId xmlns:a16="http://schemas.microsoft.com/office/drawing/2014/main" val="10000"/>
                  </a:ext>
                </a:extLst>
              </a:tr>
              <a:tr h="4480560">
                <a:tc>
                  <a:txBody>
                    <a:bodyPr/>
                    <a:lstStyle/>
                    <a:p>
                      <a:pPr marL="377825" indent="-287020">
                        <a:lnSpc>
                          <a:spcPct val="100000"/>
                        </a:lnSpc>
                        <a:spcBef>
                          <a:spcPts val="680"/>
                        </a:spcBef>
                        <a:buChar char="•"/>
                        <a:tabLst>
                          <a:tab pos="377825" algn="l"/>
                        </a:tabLst>
                      </a:pPr>
                      <a:r>
                        <a:rPr lang="en-US" sz="1200" spc="-10" dirty="0">
                          <a:solidFill>
                            <a:srgbClr val="344451"/>
                          </a:solidFill>
                          <a:latin typeface="Arial"/>
                          <a:cs typeface="Arial"/>
                        </a:rPr>
                        <a:t>Histologically-</a:t>
                      </a:r>
                      <a:r>
                        <a:rPr lang="en-US" sz="1200" dirty="0">
                          <a:solidFill>
                            <a:srgbClr val="344451"/>
                          </a:solidFill>
                          <a:latin typeface="Arial"/>
                          <a:cs typeface="Arial"/>
                        </a:rPr>
                        <a:t>confirmed</a:t>
                      </a:r>
                      <a:r>
                        <a:rPr lang="en-US" sz="1200" spc="-40" dirty="0">
                          <a:solidFill>
                            <a:srgbClr val="344451"/>
                          </a:solidFill>
                          <a:latin typeface="Arial"/>
                          <a:cs typeface="Arial"/>
                        </a:rPr>
                        <a:t> </a:t>
                      </a:r>
                      <a:r>
                        <a:rPr lang="en-US" sz="1200" dirty="0">
                          <a:solidFill>
                            <a:srgbClr val="344451"/>
                          </a:solidFill>
                          <a:latin typeface="Arial"/>
                          <a:cs typeface="Arial"/>
                        </a:rPr>
                        <a:t>FL</a:t>
                      </a:r>
                      <a:r>
                        <a:rPr lang="en-US" sz="1200" spc="-40" dirty="0">
                          <a:solidFill>
                            <a:srgbClr val="344451"/>
                          </a:solidFill>
                          <a:latin typeface="Arial"/>
                          <a:cs typeface="Arial"/>
                        </a:rPr>
                        <a:t> </a:t>
                      </a:r>
                      <a:r>
                        <a:rPr lang="en-US" sz="1200" dirty="0">
                          <a:solidFill>
                            <a:srgbClr val="344451"/>
                          </a:solidFill>
                          <a:latin typeface="Arial"/>
                          <a:cs typeface="Arial"/>
                        </a:rPr>
                        <a:t>(Grade 1,</a:t>
                      </a:r>
                      <a:r>
                        <a:rPr lang="en-US" sz="1200" spc="-5" dirty="0">
                          <a:solidFill>
                            <a:srgbClr val="344451"/>
                          </a:solidFill>
                          <a:latin typeface="Arial"/>
                          <a:cs typeface="Arial"/>
                        </a:rPr>
                        <a:t> </a:t>
                      </a:r>
                      <a:r>
                        <a:rPr lang="en-US" sz="1200" dirty="0">
                          <a:solidFill>
                            <a:srgbClr val="344451"/>
                          </a:solidFill>
                          <a:latin typeface="Arial"/>
                          <a:cs typeface="Arial"/>
                        </a:rPr>
                        <a:t>2,</a:t>
                      </a:r>
                      <a:r>
                        <a:rPr lang="en-US" sz="1200" spc="10" dirty="0">
                          <a:solidFill>
                            <a:srgbClr val="344451"/>
                          </a:solidFill>
                          <a:latin typeface="Arial"/>
                          <a:cs typeface="Arial"/>
                        </a:rPr>
                        <a:t> </a:t>
                      </a:r>
                      <a:r>
                        <a:rPr lang="en-US" sz="1200" dirty="0">
                          <a:solidFill>
                            <a:srgbClr val="344451"/>
                          </a:solidFill>
                          <a:latin typeface="Arial"/>
                          <a:cs typeface="Arial"/>
                        </a:rPr>
                        <a:t>or</a:t>
                      </a:r>
                      <a:r>
                        <a:rPr lang="en-US" sz="1200" spc="-10" dirty="0">
                          <a:solidFill>
                            <a:srgbClr val="344451"/>
                          </a:solidFill>
                          <a:latin typeface="Arial"/>
                          <a:cs typeface="Arial"/>
                        </a:rPr>
                        <a:t> </a:t>
                      </a:r>
                      <a:r>
                        <a:rPr lang="en-US" sz="1200" spc="-25" dirty="0">
                          <a:solidFill>
                            <a:srgbClr val="344451"/>
                          </a:solidFill>
                          <a:latin typeface="Arial"/>
                          <a:cs typeface="Arial"/>
                        </a:rPr>
                        <a:t>3a)</a:t>
                      </a:r>
                      <a:endParaRPr lang="en-US" sz="1200" dirty="0">
                        <a:latin typeface="Arial"/>
                        <a:cs typeface="Arial"/>
                      </a:endParaRPr>
                    </a:p>
                    <a:p>
                      <a:pPr marL="377825" indent="-287020">
                        <a:lnSpc>
                          <a:spcPct val="100000"/>
                        </a:lnSpc>
                        <a:spcBef>
                          <a:spcPts val="600"/>
                        </a:spcBef>
                        <a:buChar char="•"/>
                        <a:tabLst>
                          <a:tab pos="377825" algn="l"/>
                        </a:tabLst>
                      </a:pPr>
                      <a:r>
                        <a:rPr lang="en-US" sz="1200" dirty="0">
                          <a:solidFill>
                            <a:srgbClr val="344451"/>
                          </a:solidFill>
                          <a:latin typeface="Arial"/>
                          <a:cs typeface="Arial"/>
                        </a:rPr>
                        <a:t>R/R</a:t>
                      </a:r>
                      <a:r>
                        <a:rPr lang="en-US" sz="1200" spc="-10" dirty="0">
                          <a:solidFill>
                            <a:srgbClr val="344451"/>
                          </a:solidFill>
                          <a:latin typeface="Arial"/>
                          <a:cs typeface="Arial"/>
                        </a:rPr>
                        <a:t> </a:t>
                      </a:r>
                      <a:r>
                        <a:rPr lang="en-US" sz="1200" dirty="0">
                          <a:solidFill>
                            <a:srgbClr val="344451"/>
                          </a:solidFill>
                          <a:latin typeface="Arial"/>
                          <a:cs typeface="Arial"/>
                        </a:rPr>
                        <a:t>disease</a:t>
                      </a:r>
                      <a:r>
                        <a:rPr lang="en-US" sz="1200" spc="-40" dirty="0">
                          <a:solidFill>
                            <a:srgbClr val="344451"/>
                          </a:solidFill>
                          <a:latin typeface="Arial"/>
                          <a:cs typeface="Arial"/>
                        </a:rPr>
                        <a:t> </a:t>
                      </a:r>
                      <a:r>
                        <a:rPr lang="en-US" sz="1200" spc="-20" dirty="0">
                          <a:solidFill>
                            <a:srgbClr val="344451"/>
                          </a:solidFill>
                          <a:latin typeface="Arial"/>
                          <a:cs typeface="Arial"/>
                        </a:rPr>
                        <a:t>after</a:t>
                      </a:r>
                      <a:endParaRPr lang="en-US" sz="1200" dirty="0">
                        <a:latin typeface="Arial"/>
                        <a:cs typeface="Arial"/>
                      </a:endParaRPr>
                    </a:p>
                    <a:p>
                      <a:pPr marL="835025" marR="195580" lvl="1" indent="-287020">
                        <a:lnSpc>
                          <a:spcPct val="100000"/>
                        </a:lnSpc>
                        <a:spcBef>
                          <a:spcPts val="605"/>
                        </a:spcBef>
                        <a:buChar char="–"/>
                        <a:tabLst>
                          <a:tab pos="835025" algn="l"/>
                        </a:tabLst>
                      </a:pPr>
                      <a:r>
                        <a:rPr lang="en-US" sz="1200" spc="-10" dirty="0">
                          <a:solidFill>
                            <a:srgbClr val="344451"/>
                          </a:solidFill>
                          <a:latin typeface="Arial"/>
                          <a:cs typeface="Arial"/>
                        </a:rPr>
                        <a:t>First-</a:t>
                      </a:r>
                      <a:r>
                        <a:rPr lang="en-US" sz="1200" dirty="0">
                          <a:solidFill>
                            <a:srgbClr val="344451"/>
                          </a:solidFill>
                          <a:latin typeface="Arial"/>
                          <a:cs typeface="Arial"/>
                        </a:rPr>
                        <a:t>line</a:t>
                      </a:r>
                      <a:r>
                        <a:rPr lang="en-US" sz="1200" spc="20" dirty="0">
                          <a:solidFill>
                            <a:srgbClr val="344451"/>
                          </a:solidFill>
                          <a:latin typeface="Arial"/>
                          <a:cs typeface="Arial"/>
                        </a:rPr>
                        <a:t> </a:t>
                      </a:r>
                      <a:r>
                        <a:rPr lang="en-US" sz="1200" spc="-10" dirty="0">
                          <a:solidFill>
                            <a:srgbClr val="344451"/>
                          </a:solidFill>
                          <a:latin typeface="Arial"/>
                          <a:cs typeface="Arial"/>
                        </a:rPr>
                        <a:t>chemoimmunotherapy </a:t>
                      </a:r>
                      <a:r>
                        <a:rPr lang="en-US" sz="1200" dirty="0">
                          <a:solidFill>
                            <a:srgbClr val="344451"/>
                          </a:solidFill>
                          <a:latin typeface="Arial"/>
                          <a:cs typeface="Arial"/>
                        </a:rPr>
                        <a:t>and</a:t>
                      </a:r>
                      <a:r>
                        <a:rPr lang="en-US" sz="1200" spc="5" dirty="0">
                          <a:solidFill>
                            <a:srgbClr val="344451"/>
                          </a:solidFill>
                          <a:latin typeface="Arial"/>
                          <a:cs typeface="Arial"/>
                        </a:rPr>
                        <a:t> </a:t>
                      </a:r>
                      <a:r>
                        <a:rPr lang="en-US" sz="1200" spc="-10" dirty="0">
                          <a:solidFill>
                            <a:srgbClr val="344451"/>
                          </a:solidFill>
                          <a:latin typeface="Arial"/>
                          <a:cs typeface="Arial"/>
                        </a:rPr>
                        <a:t>high-</a:t>
                      </a:r>
                      <a:r>
                        <a:rPr lang="en-US" sz="1200" dirty="0">
                          <a:solidFill>
                            <a:srgbClr val="344451"/>
                          </a:solidFill>
                          <a:latin typeface="Arial"/>
                          <a:cs typeface="Arial"/>
                        </a:rPr>
                        <a:t>risk</a:t>
                      </a:r>
                      <a:r>
                        <a:rPr lang="en-US" sz="1200" spc="15" dirty="0">
                          <a:solidFill>
                            <a:srgbClr val="344451"/>
                          </a:solidFill>
                          <a:latin typeface="Arial"/>
                          <a:cs typeface="Arial"/>
                        </a:rPr>
                        <a:t> </a:t>
                      </a:r>
                      <a:r>
                        <a:rPr lang="en-US" sz="1200" dirty="0">
                          <a:solidFill>
                            <a:srgbClr val="344451"/>
                          </a:solidFill>
                          <a:latin typeface="Arial"/>
                          <a:cs typeface="Arial"/>
                        </a:rPr>
                        <a:t>disease</a:t>
                      </a:r>
                      <a:r>
                        <a:rPr lang="en-US" sz="1200" spc="-5" dirty="0">
                          <a:solidFill>
                            <a:srgbClr val="344451"/>
                          </a:solidFill>
                          <a:latin typeface="Arial"/>
                          <a:cs typeface="Arial"/>
                        </a:rPr>
                        <a:t> </a:t>
                      </a:r>
                      <a:r>
                        <a:rPr lang="en-US" sz="1200" spc="-20" dirty="0">
                          <a:solidFill>
                            <a:srgbClr val="344451"/>
                          </a:solidFill>
                          <a:latin typeface="Arial"/>
                          <a:cs typeface="Arial"/>
                        </a:rPr>
                        <a:t>with </a:t>
                      </a:r>
                      <a:r>
                        <a:rPr lang="en-US" sz="1200" dirty="0">
                          <a:solidFill>
                            <a:srgbClr val="344451"/>
                          </a:solidFill>
                          <a:latin typeface="Arial"/>
                          <a:cs typeface="Arial"/>
                        </a:rPr>
                        <a:t>relapse</a:t>
                      </a:r>
                      <a:r>
                        <a:rPr lang="en-US" sz="1200" spc="-40" dirty="0">
                          <a:solidFill>
                            <a:srgbClr val="344451"/>
                          </a:solidFill>
                          <a:latin typeface="Arial"/>
                          <a:cs typeface="Arial"/>
                        </a:rPr>
                        <a:t> </a:t>
                      </a:r>
                      <a:r>
                        <a:rPr lang="en-US" sz="1200" dirty="0">
                          <a:solidFill>
                            <a:srgbClr val="344451"/>
                          </a:solidFill>
                          <a:latin typeface="Arial"/>
                          <a:cs typeface="Arial"/>
                        </a:rPr>
                        <a:t>or</a:t>
                      </a:r>
                      <a:r>
                        <a:rPr lang="en-US" sz="1200" spc="-15" dirty="0">
                          <a:solidFill>
                            <a:srgbClr val="344451"/>
                          </a:solidFill>
                          <a:latin typeface="Arial"/>
                          <a:cs typeface="Arial"/>
                        </a:rPr>
                        <a:t> </a:t>
                      </a:r>
                      <a:r>
                        <a:rPr lang="en-US" sz="1200" dirty="0">
                          <a:solidFill>
                            <a:srgbClr val="344451"/>
                          </a:solidFill>
                          <a:latin typeface="Arial"/>
                          <a:cs typeface="Arial"/>
                        </a:rPr>
                        <a:t>progression</a:t>
                      </a:r>
                      <a:r>
                        <a:rPr lang="en-US" sz="1200" spc="-40" dirty="0">
                          <a:solidFill>
                            <a:srgbClr val="344451"/>
                          </a:solidFill>
                          <a:latin typeface="Arial"/>
                          <a:cs typeface="Arial"/>
                        </a:rPr>
                        <a:t> </a:t>
                      </a:r>
                      <a:r>
                        <a:rPr lang="en-US" sz="1200" dirty="0">
                          <a:solidFill>
                            <a:srgbClr val="344451"/>
                          </a:solidFill>
                          <a:latin typeface="Arial"/>
                          <a:cs typeface="Arial"/>
                        </a:rPr>
                        <a:t>within</a:t>
                      </a:r>
                      <a:r>
                        <a:rPr lang="en-US" sz="1200" spc="-10" dirty="0">
                          <a:solidFill>
                            <a:srgbClr val="344451"/>
                          </a:solidFill>
                          <a:latin typeface="Arial"/>
                          <a:cs typeface="Arial"/>
                        </a:rPr>
                        <a:t> </a:t>
                      </a:r>
                      <a:r>
                        <a:rPr lang="en-US" sz="1200" dirty="0">
                          <a:solidFill>
                            <a:srgbClr val="344451"/>
                          </a:solidFill>
                          <a:latin typeface="Arial"/>
                          <a:cs typeface="Arial"/>
                        </a:rPr>
                        <a:t>24</a:t>
                      </a:r>
                      <a:r>
                        <a:rPr lang="en-US" sz="1200" spc="-15" dirty="0">
                          <a:solidFill>
                            <a:srgbClr val="344451"/>
                          </a:solidFill>
                          <a:latin typeface="Arial"/>
                          <a:cs typeface="Arial"/>
                        </a:rPr>
                        <a:t> </a:t>
                      </a:r>
                      <a:r>
                        <a:rPr lang="en-US" sz="1200" dirty="0">
                          <a:solidFill>
                            <a:srgbClr val="344451"/>
                          </a:solidFill>
                          <a:latin typeface="Arial"/>
                          <a:cs typeface="Arial"/>
                        </a:rPr>
                        <a:t>months</a:t>
                      </a:r>
                      <a:r>
                        <a:rPr lang="en-US" sz="1200" spc="-45" dirty="0">
                          <a:solidFill>
                            <a:srgbClr val="344451"/>
                          </a:solidFill>
                          <a:latin typeface="Arial"/>
                          <a:cs typeface="Arial"/>
                        </a:rPr>
                        <a:t> </a:t>
                      </a:r>
                      <a:r>
                        <a:rPr lang="en-US" sz="1200" dirty="0">
                          <a:solidFill>
                            <a:srgbClr val="344451"/>
                          </a:solidFill>
                          <a:latin typeface="Arial"/>
                          <a:cs typeface="Arial"/>
                        </a:rPr>
                        <a:t>of</a:t>
                      </a:r>
                      <a:r>
                        <a:rPr lang="en-US" sz="1200" spc="-20" dirty="0">
                          <a:solidFill>
                            <a:srgbClr val="344451"/>
                          </a:solidFill>
                          <a:latin typeface="Arial"/>
                          <a:cs typeface="Arial"/>
                        </a:rPr>
                        <a:t> </a:t>
                      </a:r>
                      <a:r>
                        <a:rPr lang="en-US" sz="1200" dirty="0">
                          <a:solidFill>
                            <a:srgbClr val="344451"/>
                          </a:solidFill>
                          <a:latin typeface="Arial"/>
                          <a:cs typeface="Arial"/>
                        </a:rPr>
                        <a:t>the</a:t>
                      </a:r>
                      <a:r>
                        <a:rPr lang="en-US" sz="1200" spc="-15" dirty="0">
                          <a:solidFill>
                            <a:srgbClr val="344451"/>
                          </a:solidFill>
                          <a:latin typeface="Arial"/>
                          <a:cs typeface="Arial"/>
                        </a:rPr>
                        <a:t> </a:t>
                      </a:r>
                      <a:r>
                        <a:rPr lang="en-US" sz="1200" dirty="0">
                          <a:solidFill>
                            <a:srgbClr val="344451"/>
                          </a:solidFill>
                          <a:latin typeface="Arial"/>
                          <a:cs typeface="Arial"/>
                        </a:rPr>
                        <a:t>initial</a:t>
                      </a:r>
                      <a:r>
                        <a:rPr lang="en-US" sz="1200" spc="-30" dirty="0">
                          <a:solidFill>
                            <a:srgbClr val="344451"/>
                          </a:solidFill>
                          <a:latin typeface="Arial"/>
                          <a:cs typeface="Arial"/>
                        </a:rPr>
                        <a:t> </a:t>
                      </a:r>
                      <a:r>
                        <a:rPr lang="en-US" sz="1200" dirty="0">
                          <a:solidFill>
                            <a:srgbClr val="344451"/>
                          </a:solidFill>
                          <a:latin typeface="Arial"/>
                          <a:cs typeface="Arial"/>
                        </a:rPr>
                        <a:t>course</a:t>
                      </a:r>
                      <a:r>
                        <a:rPr lang="en-US" sz="1200" spc="-30" dirty="0">
                          <a:solidFill>
                            <a:srgbClr val="344451"/>
                          </a:solidFill>
                          <a:latin typeface="Arial"/>
                          <a:cs typeface="Arial"/>
                        </a:rPr>
                        <a:t> </a:t>
                      </a:r>
                      <a:r>
                        <a:rPr lang="en-US" sz="1200" spc="-25" dirty="0">
                          <a:solidFill>
                            <a:srgbClr val="344451"/>
                          </a:solidFill>
                          <a:latin typeface="Arial"/>
                          <a:cs typeface="Arial"/>
                        </a:rPr>
                        <a:t>of </a:t>
                      </a:r>
                      <a:r>
                        <a:rPr lang="en-US" sz="1200" spc="-10" dirty="0">
                          <a:solidFill>
                            <a:srgbClr val="344451"/>
                          </a:solidFill>
                          <a:latin typeface="Arial"/>
                          <a:cs typeface="Arial"/>
                        </a:rPr>
                        <a:t>chemoimmunotherapy</a:t>
                      </a:r>
                      <a:r>
                        <a:rPr lang="en-US" sz="1200" spc="5" dirty="0">
                          <a:solidFill>
                            <a:srgbClr val="344451"/>
                          </a:solidFill>
                          <a:latin typeface="Arial"/>
                          <a:cs typeface="Arial"/>
                        </a:rPr>
                        <a:t> </a:t>
                      </a:r>
                      <a:r>
                        <a:rPr lang="en-US" sz="1200" dirty="0">
                          <a:solidFill>
                            <a:srgbClr val="344451"/>
                          </a:solidFill>
                          <a:latin typeface="Arial"/>
                          <a:cs typeface="Arial"/>
                        </a:rPr>
                        <a:t>(ie,</a:t>
                      </a:r>
                      <a:r>
                        <a:rPr lang="en-US" sz="1200" spc="20" dirty="0">
                          <a:solidFill>
                            <a:srgbClr val="344451"/>
                          </a:solidFill>
                          <a:latin typeface="Arial"/>
                          <a:cs typeface="Arial"/>
                        </a:rPr>
                        <a:t> </a:t>
                      </a:r>
                      <a:r>
                        <a:rPr lang="en-US" sz="1200" spc="-10" dirty="0">
                          <a:solidFill>
                            <a:srgbClr val="344451"/>
                          </a:solidFill>
                          <a:latin typeface="Arial"/>
                          <a:cs typeface="Arial"/>
                        </a:rPr>
                        <a:t>POD24)</a:t>
                      </a:r>
                      <a:endParaRPr lang="en-US" sz="1200" dirty="0">
                        <a:latin typeface="Arial"/>
                        <a:cs typeface="Arial"/>
                      </a:endParaRPr>
                    </a:p>
                    <a:p>
                      <a:pPr marL="835025" lvl="1" indent="-287020">
                        <a:lnSpc>
                          <a:spcPct val="100000"/>
                        </a:lnSpc>
                        <a:spcBef>
                          <a:spcPts val="595"/>
                        </a:spcBef>
                        <a:buChar char="–"/>
                        <a:tabLst>
                          <a:tab pos="835025" algn="l"/>
                        </a:tabLst>
                      </a:pPr>
                      <a:r>
                        <a:rPr lang="en-US" sz="1200" dirty="0">
                          <a:solidFill>
                            <a:srgbClr val="344451"/>
                          </a:solidFill>
                          <a:latin typeface="Arial"/>
                          <a:cs typeface="Arial"/>
                        </a:rPr>
                        <a:t>≥2</a:t>
                      </a:r>
                      <a:r>
                        <a:rPr lang="en-US" sz="1200" spc="-5" dirty="0">
                          <a:solidFill>
                            <a:srgbClr val="344451"/>
                          </a:solidFill>
                          <a:latin typeface="Arial"/>
                          <a:cs typeface="Arial"/>
                        </a:rPr>
                        <a:t> </a:t>
                      </a:r>
                      <a:r>
                        <a:rPr lang="en-US" sz="1200" dirty="0">
                          <a:solidFill>
                            <a:srgbClr val="344451"/>
                          </a:solidFill>
                          <a:latin typeface="Arial"/>
                          <a:cs typeface="Arial"/>
                        </a:rPr>
                        <a:t>prior</a:t>
                      </a:r>
                      <a:r>
                        <a:rPr lang="en-US" sz="1200" spc="-20" dirty="0">
                          <a:solidFill>
                            <a:srgbClr val="344451"/>
                          </a:solidFill>
                          <a:latin typeface="Arial"/>
                          <a:cs typeface="Arial"/>
                        </a:rPr>
                        <a:t> </a:t>
                      </a:r>
                      <a:r>
                        <a:rPr lang="en-US" sz="1200" dirty="0">
                          <a:solidFill>
                            <a:srgbClr val="344451"/>
                          </a:solidFill>
                          <a:latin typeface="Arial"/>
                          <a:cs typeface="Arial"/>
                        </a:rPr>
                        <a:t>systemic</a:t>
                      </a:r>
                      <a:r>
                        <a:rPr lang="en-US" sz="1200" spc="-15" dirty="0">
                          <a:solidFill>
                            <a:srgbClr val="344451"/>
                          </a:solidFill>
                          <a:latin typeface="Arial"/>
                          <a:cs typeface="Arial"/>
                        </a:rPr>
                        <a:t> </a:t>
                      </a:r>
                      <a:r>
                        <a:rPr lang="en-US" sz="1200" dirty="0">
                          <a:solidFill>
                            <a:srgbClr val="344451"/>
                          </a:solidFill>
                          <a:latin typeface="Arial"/>
                          <a:cs typeface="Arial"/>
                        </a:rPr>
                        <a:t>lines</a:t>
                      </a:r>
                      <a:r>
                        <a:rPr lang="en-US" sz="1200" spc="-20" dirty="0">
                          <a:solidFill>
                            <a:srgbClr val="344451"/>
                          </a:solidFill>
                          <a:latin typeface="Arial"/>
                          <a:cs typeface="Arial"/>
                        </a:rPr>
                        <a:t> </a:t>
                      </a:r>
                      <a:r>
                        <a:rPr lang="en-US" sz="1200" dirty="0">
                          <a:solidFill>
                            <a:srgbClr val="344451"/>
                          </a:solidFill>
                          <a:latin typeface="Arial"/>
                          <a:cs typeface="Arial"/>
                        </a:rPr>
                        <a:t>of</a:t>
                      </a:r>
                      <a:r>
                        <a:rPr lang="en-US" sz="1200" spc="-15" dirty="0">
                          <a:solidFill>
                            <a:srgbClr val="344451"/>
                          </a:solidFill>
                          <a:latin typeface="Arial"/>
                          <a:cs typeface="Arial"/>
                        </a:rPr>
                        <a:t> </a:t>
                      </a:r>
                      <a:r>
                        <a:rPr lang="en-US" sz="1200" spc="-10" dirty="0">
                          <a:solidFill>
                            <a:srgbClr val="344451"/>
                          </a:solidFill>
                          <a:latin typeface="Arial"/>
                          <a:cs typeface="Arial"/>
                        </a:rPr>
                        <a:t>therapy</a:t>
                      </a:r>
                      <a:endParaRPr lang="en-US" sz="1200" dirty="0">
                        <a:latin typeface="Arial"/>
                        <a:cs typeface="Arial"/>
                      </a:endParaRPr>
                    </a:p>
                    <a:p>
                      <a:pPr marL="377825" indent="-287020">
                        <a:lnSpc>
                          <a:spcPct val="100000"/>
                        </a:lnSpc>
                        <a:spcBef>
                          <a:spcPts val="600"/>
                        </a:spcBef>
                        <a:buChar char="•"/>
                        <a:tabLst>
                          <a:tab pos="377825" algn="l"/>
                        </a:tabLst>
                      </a:pPr>
                      <a:r>
                        <a:rPr lang="en-US" sz="1200" dirty="0">
                          <a:solidFill>
                            <a:srgbClr val="344451"/>
                          </a:solidFill>
                          <a:latin typeface="Arial"/>
                          <a:cs typeface="Arial"/>
                        </a:rPr>
                        <a:t>Clinical</a:t>
                      </a:r>
                      <a:r>
                        <a:rPr lang="en-US" sz="1200" spc="-35" dirty="0">
                          <a:solidFill>
                            <a:srgbClr val="344451"/>
                          </a:solidFill>
                          <a:latin typeface="Arial"/>
                          <a:cs typeface="Arial"/>
                        </a:rPr>
                        <a:t> </a:t>
                      </a:r>
                      <a:r>
                        <a:rPr lang="en-US" sz="1200" dirty="0">
                          <a:solidFill>
                            <a:srgbClr val="344451"/>
                          </a:solidFill>
                          <a:latin typeface="Arial"/>
                          <a:cs typeface="Arial"/>
                        </a:rPr>
                        <a:t>indication</a:t>
                      </a:r>
                      <a:r>
                        <a:rPr lang="en-US" sz="1200" spc="-40" dirty="0">
                          <a:solidFill>
                            <a:srgbClr val="344451"/>
                          </a:solidFill>
                          <a:latin typeface="Arial"/>
                          <a:cs typeface="Arial"/>
                        </a:rPr>
                        <a:t> </a:t>
                      </a:r>
                      <a:r>
                        <a:rPr lang="en-US" sz="1200" dirty="0">
                          <a:solidFill>
                            <a:srgbClr val="344451"/>
                          </a:solidFill>
                          <a:latin typeface="Arial"/>
                          <a:cs typeface="Arial"/>
                        </a:rPr>
                        <a:t>for</a:t>
                      </a:r>
                      <a:r>
                        <a:rPr lang="en-US" sz="1200" spc="-25" dirty="0">
                          <a:solidFill>
                            <a:srgbClr val="344451"/>
                          </a:solidFill>
                          <a:latin typeface="Arial"/>
                          <a:cs typeface="Arial"/>
                        </a:rPr>
                        <a:t> </a:t>
                      </a:r>
                      <a:r>
                        <a:rPr lang="en-US" sz="1200" spc="-10" dirty="0">
                          <a:solidFill>
                            <a:srgbClr val="344451"/>
                          </a:solidFill>
                          <a:latin typeface="Arial"/>
                          <a:cs typeface="Arial"/>
                        </a:rPr>
                        <a:t>treatment</a:t>
                      </a:r>
                      <a:endParaRPr lang="en-US" sz="1200" dirty="0">
                        <a:latin typeface="Arial"/>
                        <a:cs typeface="Arial"/>
                      </a:endParaRPr>
                    </a:p>
                    <a:p>
                      <a:pPr marL="377825" indent="-287020">
                        <a:lnSpc>
                          <a:spcPct val="100000"/>
                        </a:lnSpc>
                        <a:spcBef>
                          <a:spcPts val="605"/>
                        </a:spcBef>
                        <a:buChar char="•"/>
                        <a:tabLst>
                          <a:tab pos="377825" algn="l"/>
                        </a:tabLst>
                      </a:pPr>
                      <a:r>
                        <a:rPr lang="en-US" sz="1200" dirty="0">
                          <a:solidFill>
                            <a:srgbClr val="344451"/>
                          </a:solidFill>
                          <a:latin typeface="Arial"/>
                          <a:cs typeface="Arial"/>
                        </a:rPr>
                        <a:t>At</a:t>
                      </a:r>
                      <a:r>
                        <a:rPr lang="en-US" sz="1200" spc="-5" dirty="0">
                          <a:solidFill>
                            <a:srgbClr val="344451"/>
                          </a:solidFill>
                          <a:latin typeface="Arial"/>
                          <a:cs typeface="Arial"/>
                        </a:rPr>
                        <a:t> </a:t>
                      </a:r>
                      <a:r>
                        <a:rPr lang="en-US" sz="1200" dirty="0">
                          <a:solidFill>
                            <a:srgbClr val="344451"/>
                          </a:solidFill>
                          <a:latin typeface="Arial"/>
                          <a:cs typeface="Arial"/>
                        </a:rPr>
                        <a:t>least</a:t>
                      </a:r>
                      <a:r>
                        <a:rPr lang="en-US" sz="1200" spc="-30" dirty="0">
                          <a:solidFill>
                            <a:srgbClr val="344451"/>
                          </a:solidFill>
                          <a:latin typeface="Arial"/>
                          <a:cs typeface="Arial"/>
                        </a:rPr>
                        <a:t> </a:t>
                      </a:r>
                      <a:r>
                        <a:rPr lang="en-US" sz="1200" dirty="0">
                          <a:solidFill>
                            <a:srgbClr val="344451"/>
                          </a:solidFill>
                          <a:latin typeface="Arial"/>
                          <a:cs typeface="Arial"/>
                        </a:rPr>
                        <a:t>1</a:t>
                      </a:r>
                      <a:r>
                        <a:rPr lang="en-US" sz="1200" spc="-5" dirty="0">
                          <a:solidFill>
                            <a:srgbClr val="344451"/>
                          </a:solidFill>
                          <a:latin typeface="Arial"/>
                          <a:cs typeface="Arial"/>
                        </a:rPr>
                        <a:t> </a:t>
                      </a:r>
                      <a:r>
                        <a:rPr lang="en-US" sz="1200" dirty="0">
                          <a:solidFill>
                            <a:srgbClr val="344451"/>
                          </a:solidFill>
                          <a:latin typeface="Arial"/>
                          <a:cs typeface="Arial"/>
                        </a:rPr>
                        <a:t>measurable</a:t>
                      </a:r>
                      <a:r>
                        <a:rPr lang="en-US" sz="1200" spc="-40" dirty="0">
                          <a:solidFill>
                            <a:srgbClr val="344451"/>
                          </a:solidFill>
                          <a:latin typeface="Arial"/>
                          <a:cs typeface="Arial"/>
                        </a:rPr>
                        <a:t> </a:t>
                      </a:r>
                      <a:r>
                        <a:rPr lang="en-US" sz="1200" dirty="0">
                          <a:solidFill>
                            <a:srgbClr val="344451"/>
                          </a:solidFill>
                          <a:latin typeface="Arial"/>
                          <a:cs typeface="Arial"/>
                        </a:rPr>
                        <a:t>lesion</a:t>
                      </a:r>
                      <a:r>
                        <a:rPr lang="en-US" sz="1200" spc="-35" dirty="0">
                          <a:solidFill>
                            <a:srgbClr val="344451"/>
                          </a:solidFill>
                          <a:latin typeface="Arial"/>
                          <a:cs typeface="Arial"/>
                        </a:rPr>
                        <a:t> </a:t>
                      </a:r>
                      <a:r>
                        <a:rPr lang="en-US" sz="1200" dirty="0">
                          <a:solidFill>
                            <a:srgbClr val="344451"/>
                          </a:solidFill>
                          <a:latin typeface="Arial"/>
                          <a:cs typeface="Arial"/>
                        </a:rPr>
                        <a:t>per</a:t>
                      </a:r>
                      <a:r>
                        <a:rPr lang="en-US" sz="1200" spc="-25" dirty="0">
                          <a:solidFill>
                            <a:srgbClr val="344451"/>
                          </a:solidFill>
                          <a:latin typeface="Arial"/>
                          <a:cs typeface="Arial"/>
                        </a:rPr>
                        <a:t> </a:t>
                      </a:r>
                      <a:r>
                        <a:rPr lang="en-US" sz="1200" dirty="0">
                          <a:solidFill>
                            <a:srgbClr val="344451"/>
                          </a:solidFill>
                          <a:latin typeface="Arial"/>
                          <a:cs typeface="Arial"/>
                        </a:rPr>
                        <a:t>the</a:t>
                      </a:r>
                      <a:r>
                        <a:rPr lang="en-US" sz="1200" spc="-15" dirty="0">
                          <a:solidFill>
                            <a:srgbClr val="344451"/>
                          </a:solidFill>
                          <a:latin typeface="Arial"/>
                          <a:cs typeface="Arial"/>
                        </a:rPr>
                        <a:t> </a:t>
                      </a:r>
                      <a:r>
                        <a:rPr lang="en-US" sz="1200" dirty="0">
                          <a:solidFill>
                            <a:srgbClr val="344451"/>
                          </a:solidFill>
                          <a:latin typeface="Arial"/>
                          <a:cs typeface="Arial"/>
                        </a:rPr>
                        <a:t>Lugano</a:t>
                      </a:r>
                      <a:r>
                        <a:rPr lang="en-US" sz="1200" spc="-50" dirty="0">
                          <a:solidFill>
                            <a:srgbClr val="344451"/>
                          </a:solidFill>
                          <a:latin typeface="Arial"/>
                          <a:cs typeface="Arial"/>
                        </a:rPr>
                        <a:t> </a:t>
                      </a:r>
                      <a:r>
                        <a:rPr lang="en-US" sz="1200" spc="-10" dirty="0">
                          <a:solidFill>
                            <a:srgbClr val="344451"/>
                          </a:solidFill>
                          <a:latin typeface="Arial"/>
                          <a:cs typeface="Arial"/>
                        </a:rPr>
                        <a:t>Classification</a:t>
                      </a:r>
                      <a:endParaRPr lang="en-US" sz="1200" dirty="0">
                        <a:latin typeface="Arial"/>
                        <a:cs typeface="Arial"/>
                      </a:endParaRPr>
                    </a:p>
                    <a:p>
                      <a:pPr marL="377825" indent="-287020">
                        <a:lnSpc>
                          <a:spcPct val="100000"/>
                        </a:lnSpc>
                        <a:spcBef>
                          <a:spcPts val="595"/>
                        </a:spcBef>
                        <a:buChar char="•"/>
                        <a:tabLst>
                          <a:tab pos="377825" algn="l"/>
                        </a:tabLst>
                      </a:pPr>
                      <a:r>
                        <a:rPr lang="en-US" sz="1200" dirty="0">
                          <a:solidFill>
                            <a:srgbClr val="344451"/>
                          </a:solidFill>
                          <a:latin typeface="Arial"/>
                          <a:cs typeface="Arial"/>
                        </a:rPr>
                        <a:t>Adequate</a:t>
                      </a:r>
                      <a:r>
                        <a:rPr lang="en-US" sz="1200" spc="-55" dirty="0">
                          <a:solidFill>
                            <a:srgbClr val="344451"/>
                          </a:solidFill>
                          <a:latin typeface="Arial"/>
                          <a:cs typeface="Arial"/>
                        </a:rPr>
                        <a:t> </a:t>
                      </a:r>
                      <a:r>
                        <a:rPr lang="en-US" sz="1200" dirty="0">
                          <a:solidFill>
                            <a:srgbClr val="344451"/>
                          </a:solidFill>
                          <a:latin typeface="Arial"/>
                          <a:cs typeface="Arial"/>
                        </a:rPr>
                        <a:t>renal,</a:t>
                      </a:r>
                      <a:r>
                        <a:rPr lang="en-US" sz="1200" spc="-30" dirty="0">
                          <a:solidFill>
                            <a:srgbClr val="344451"/>
                          </a:solidFill>
                          <a:latin typeface="Arial"/>
                          <a:cs typeface="Arial"/>
                        </a:rPr>
                        <a:t> </a:t>
                      </a:r>
                      <a:r>
                        <a:rPr lang="en-US" sz="1200" dirty="0">
                          <a:solidFill>
                            <a:srgbClr val="344451"/>
                          </a:solidFill>
                          <a:latin typeface="Arial"/>
                          <a:cs typeface="Arial"/>
                        </a:rPr>
                        <a:t>hepatic,</a:t>
                      </a:r>
                      <a:r>
                        <a:rPr lang="en-US" sz="1200" spc="-45" dirty="0">
                          <a:solidFill>
                            <a:srgbClr val="344451"/>
                          </a:solidFill>
                          <a:latin typeface="Arial"/>
                          <a:cs typeface="Arial"/>
                        </a:rPr>
                        <a:t> </a:t>
                      </a:r>
                      <a:r>
                        <a:rPr lang="en-US" sz="1200" spc="-10" dirty="0">
                          <a:solidFill>
                            <a:srgbClr val="344451"/>
                          </a:solidFill>
                          <a:latin typeface="Arial"/>
                          <a:cs typeface="Arial"/>
                        </a:rPr>
                        <a:t>pulmonary,</a:t>
                      </a:r>
                      <a:r>
                        <a:rPr lang="en-US" sz="1200" spc="-25" dirty="0">
                          <a:solidFill>
                            <a:srgbClr val="344451"/>
                          </a:solidFill>
                          <a:latin typeface="Arial"/>
                          <a:cs typeface="Arial"/>
                        </a:rPr>
                        <a:t> </a:t>
                      </a:r>
                      <a:r>
                        <a:rPr lang="en-US" sz="1200" dirty="0">
                          <a:solidFill>
                            <a:srgbClr val="344451"/>
                          </a:solidFill>
                          <a:latin typeface="Arial"/>
                          <a:cs typeface="Arial"/>
                        </a:rPr>
                        <a:t>and</a:t>
                      </a:r>
                      <a:r>
                        <a:rPr lang="en-US" sz="1200" spc="-30" dirty="0">
                          <a:solidFill>
                            <a:srgbClr val="344451"/>
                          </a:solidFill>
                          <a:latin typeface="Arial"/>
                          <a:cs typeface="Arial"/>
                        </a:rPr>
                        <a:t> </a:t>
                      </a:r>
                      <a:r>
                        <a:rPr lang="en-US" sz="1200" dirty="0">
                          <a:solidFill>
                            <a:srgbClr val="344451"/>
                          </a:solidFill>
                          <a:latin typeface="Arial"/>
                          <a:cs typeface="Arial"/>
                        </a:rPr>
                        <a:t>cardiac</a:t>
                      </a:r>
                      <a:r>
                        <a:rPr lang="en-US" sz="1200" spc="-45" dirty="0">
                          <a:solidFill>
                            <a:srgbClr val="344451"/>
                          </a:solidFill>
                          <a:latin typeface="Arial"/>
                          <a:cs typeface="Arial"/>
                        </a:rPr>
                        <a:t> </a:t>
                      </a:r>
                      <a:r>
                        <a:rPr lang="en-US" sz="1200" spc="-10" dirty="0">
                          <a:solidFill>
                            <a:srgbClr val="344451"/>
                          </a:solidFill>
                          <a:latin typeface="Arial"/>
                          <a:cs typeface="Arial"/>
                        </a:rPr>
                        <a:t>function</a:t>
                      </a:r>
                      <a:endParaRPr lang="en-US" sz="1200" dirty="0">
                        <a:latin typeface="Arial"/>
                        <a:cs typeface="Arial"/>
                      </a:endParaRPr>
                    </a:p>
                    <a:p>
                      <a:pPr marL="377825" indent="-287020">
                        <a:lnSpc>
                          <a:spcPct val="100000"/>
                        </a:lnSpc>
                        <a:spcBef>
                          <a:spcPts val="605"/>
                        </a:spcBef>
                        <a:buChar char="•"/>
                        <a:tabLst>
                          <a:tab pos="377825" algn="l"/>
                        </a:tabLst>
                      </a:pPr>
                      <a:r>
                        <a:rPr lang="en-US" sz="1200" dirty="0">
                          <a:solidFill>
                            <a:srgbClr val="344451"/>
                          </a:solidFill>
                          <a:latin typeface="Arial"/>
                          <a:cs typeface="Arial"/>
                        </a:rPr>
                        <a:t>ECOG</a:t>
                      </a:r>
                      <a:r>
                        <a:rPr lang="en-US" sz="1200" spc="-5" dirty="0">
                          <a:solidFill>
                            <a:srgbClr val="344451"/>
                          </a:solidFill>
                          <a:latin typeface="Arial"/>
                          <a:cs typeface="Arial"/>
                        </a:rPr>
                        <a:t> </a:t>
                      </a:r>
                      <a:r>
                        <a:rPr lang="en-US" sz="1200" dirty="0">
                          <a:solidFill>
                            <a:srgbClr val="344451"/>
                          </a:solidFill>
                          <a:latin typeface="Arial"/>
                          <a:cs typeface="Arial"/>
                        </a:rPr>
                        <a:t>PS</a:t>
                      </a:r>
                      <a:r>
                        <a:rPr lang="en-US" sz="1200" spc="-15" dirty="0">
                          <a:solidFill>
                            <a:srgbClr val="344451"/>
                          </a:solidFill>
                          <a:latin typeface="Arial"/>
                          <a:cs typeface="Arial"/>
                        </a:rPr>
                        <a:t> </a:t>
                      </a:r>
                      <a:r>
                        <a:rPr lang="en-US" sz="1200" dirty="0">
                          <a:solidFill>
                            <a:srgbClr val="344451"/>
                          </a:solidFill>
                          <a:latin typeface="Arial"/>
                          <a:cs typeface="Arial"/>
                        </a:rPr>
                        <a:t>of</a:t>
                      </a:r>
                      <a:r>
                        <a:rPr lang="en-US" sz="1200" spc="-5" dirty="0">
                          <a:solidFill>
                            <a:srgbClr val="344451"/>
                          </a:solidFill>
                          <a:latin typeface="Arial"/>
                          <a:cs typeface="Arial"/>
                        </a:rPr>
                        <a:t> </a:t>
                      </a:r>
                      <a:r>
                        <a:rPr lang="en-US" sz="1200" dirty="0">
                          <a:solidFill>
                            <a:srgbClr val="344451"/>
                          </a:solidFill>
                          <a:latin typeface="Arial"/>
                          <a:cs typeface="Arial"/>
                        </a:rPr>
                        <a:t>0</a:t>
                      </a:r>
                      <a:r>
                        <a:rPr lang="en-US" sz="1200" spc="-10" dirty="0">
                          <a:solidFill>
                            <a:srgbClr val="344451"/>
                          </a:solidFill>
                          <a:latin typeface="Arial"/>
                          <a:cs typeface="Arial"/>
                        </a:rPr>
                        <a:t> </a:t>
                      </a:r>
                      <a:r>
                        <a:rPr lang="en-US" sz="1200" dirty="0">
                          <a:solidFill>
                            <a:srgbClr val="344451"/>
                          </a:solidFill>
                          <a:latin typeface="Arial"/>
                          <a:cs typeface="Arial"/>
                        </a:rPr>
                        <a:t>or</a:t>
                      </a:r>
                      <a:r>
                        <a:rPr lang="en-US" sz="1200" spc="-10" dirty="0">
                          <a:solidFill>
                            <a:srgbClr val="344451"/>
                          </a:solidFill>
                          <a:latin typeface="Arial"/>
                          <a:cs typeface="Arial"/>
                        </a:rPr>
                        <a:t> </a:t>
                      </a:r>
                      <a:r>
                        <a:rPr lang="en-US" sz="1200" spc="-50" dirty="0">
                          <a:solidFill>
                            <a:srgbClr val="344451"/>
                          </a:solidFill>
                          <a:latin typeface="Arial"/>
                          <a:cs typeface="Arial"/>
                        </a:rPr>
                        <a:t>1</a:t>
                      </a:r>
                      <a:endParaRPr lang="en-US" sz="1200" dirty="0">
                        <a:latin typeface="Arial"/>
                        <a:cs typeface="Arial"/>
                      </a:endParaRPr>
                    </a:p>
                    <a:p>
                      <a:pPr marL="377825" indent="-287020">
                        <a:lnSpc>
                          <a:spcPct val="100000"/>
                        </a:lnSpc>
                        <a:spcBef>
                          <a:spcPts val="595"/>
                        </a:spcBef>
                        <a:buChar char="•"/>
                        <a:tabLst>
                          <a:tab pos="377825" algn="l"/>
                        </a:tabLst>
                      </a:pPr>
                      <a:r>
                        <a:rPr lang="en-US" sz="1200" dirty="0">
                          <a:solidFill>
                            <a:srgbClr val="344451"/>
                          </a:solidFill>
                          <a:latin typeface="Arial"/>
                          <a:cs typeface="Arial"/>
                        </a:rPr>
                        <a:t>18</a:t>
                      </a:r>
                      <a:r>
                        <a:rPr lang="en-US" sz="1200" spc="-15" dirty="0">
                          <a:solidFill>
                            <a:srgbClr val="344451"/>
                          </a:solidFill>
                          <a:latin typeface="Arial"/>
                          <a:cs typeface="Arial"/>
                        </a:rPr>
                        <a:t> </a:t>
                      </a:r>
                      <a:r>
                        <a:rPr lang="en-US" sz="1200" dirty="0">
                          <a:solidFill>
                            <a:srgbClr val="344451"/>
                          </a:solidFill>
                          <a:latin typeface="Arial"/>
                          <a:cs typeface="Arial"/>
                        </a:rPr>
                        <a:t>years</a:t>
                      </a:r>
                      <a:r>
                        <a:rPr lang="en-US" sz="1200" spc="-15" dirty="0">
                          <a:solidFill>
                            <a:srgbClr val="344451"/>
                          </a:solidFill>
                          <a:latin typeface="Arial"/>
                          <a:cs typeface="Arial"/>
                        </a:rPr>
                        <a:t> </a:t>
                      </a:r>
                      <a:r>
                        <a:rPr lang="en-US" sz="1200" dirty="0">
                          <a:solidFill>
                            <a:srgbClr val="344451"/>
                          </a:solidFill>
                          <a:latin typeface="Arial"/>
                          <a:cs typeface="Arial"/>
                        </a:rPr>
                        <a:t>and</a:t>
                      </a:r>
                      <a:r>
                        <a:rPr lang="en-US" sz="1200" spc="-25" dirty="0">
                          <a:solidFill>
                            <a:srgbClr val="344451"/>
                          </a:solidFill>
                          <a:latin typeface="Arial"/>
                          <a:cs typeface="Arial"/>
                        </a:rPr>
                        <a:t> </a:t>
                      </a:r>
                      <a:r>
                        <a:rPr lang="en-US" sz="1200" spc="-20" dirty="0">
                          <a:solidFill>
                            <a:srgbClr val="344451"/>
                          </a:solidFill>
                          <a:latin typeface="Arial"/>
                          <a:cs typeface="Arial"/>
                        </a:rPr>
                        <a:t>older</a:t>
                      </a:r>
                      <a:endParaRPr lang="en-US" sz="1200" dirty="0">
                        <a:latin typeface="Arial"/>
                        <a:cs typeface="Arial"/>
                      </a:endParaRPr>
                    </a:p>
                  </a:txBody>
                  <a:tcPr marL="0" marR="0" marT="86360" marB="0">
                    <a:lnL w="12700">
                      <a:solidFill>
                        <a:srgbClr val="FFFFFF"/>
                      </a:solidFill>
                      <a:prstDash val="solid"/>
                    </a:lnL>
                    <a:lnR w="12700">
                      <a:solidFill>
                        <a:srgbClr val="FFFFFF"/>
                      </a:solidFill>
                      <a:prstDash val="solid"/>
                    </a:lnR>
                    <a:lnT w="76200">
                      <a:solidFill>
                        <a:srgbClr val="FFFFFF"/>
                      </a:solidFill>
                      <a:prstDash val="solid"/>
                    </a:lnT>
                    <a:lnB w="12700">
                      <a:solidFill>
                        <a:srgbClr val="FFFFFF"/>
                      </a:solidFill>
                      <a:prstDash val="solid"/>
                    </a:lnB>
                    <a:solidFill>
                      <a:srgbClr val="D2D7E1"/>
                    </a:solidFill>
                  </a:tcPr>
                </a:tc>
                <a:extLst>
                  <a:ext uri="{0D108BD9-81ED-4DB2-BD59-A6C34878D82A}">
                    <a16:rowId xmlns:a16="http://schemas.microsoft.com/office/drawing/2014/main" val="10001"/>
                  </a:ext>
                </a:extLst>
              </a:tr>
            </a:tbl>
          </a:graphicData>
        </a:graphic>
      </p:graphicFrame>
      <p:graphicFrame>
        <p:nvGraphicFramePr>
          <p:cNvPr id="8" name="object 8"/>
          <p:cNvGraphicFramePr>
            <a:graphicFrameLocks noGrp="1"/>
          </p:cNvGraphicFramePr>
          <p:nvPr/>
        </p:nvGraphicFramePr>
        <p:xfrm>
          <a:off x="6089650" y="1034409"/>
          <a:ext cx="5212080" cy="4937760"/>
        </p:xfrm>
        <a:graphic>
          <a:graphicData uri="http://schemas.openxmlformats.org/drawingml/2006/table">
            <a:tbl>
              <a:tblPr firstRow="1" bandRow="1">
                <a:tableStyleId>{2D5ABB26-0587-4C30-8999-92F81FD0307C}</a:tableStyleId>
              </a:tblPr>
              <a:tblGrid>
                <a:gridCol w="5212080">
                  <a:extLst>
                    <a:ext uri="{9D8B030D-6E8A-4147-A177-3AD203B41FA5}">
                      <a16:colId xmlns:a16="http://schemas.microsoft.com/office/drawing/2014/main" val="20000"/>
                    </a:ext>
                  </a:extLst>
                </a:gridCol>
              </a:tblGrid>
              <a:tr h="457200">
                <a:tc>
                  <a:txBody>
                    <a:bodyPr/>
                    <a:lstStyle/>
                    <a:p>
                      <a:pPr marL="90805">
                        <a:lnSpc>
                          <a:spcPct val="100000"/>
                        </a:lnSpc>
                        <a:spcBef>
                          <a:spcPts val="915"/>
                        </a:spcBef>
                      </a:pPr>
                      <a:r>
                        <a:rPr lang="en-US" sz="1400" b="1" dirty="0">
                          <a:solidFill>
                            <a:srgbClr val="FFFFFF"/>
                          </a:solidFill>
                          <a:latin typeface="Arial"/>
                          <a:cs typeface="Arial"/>
                        </a:rPr>
                        <a:t>Key</a:t>
                      </a:r>
                      <a:r>
                        <a:rPr lang="en-US" sz="1400" b="1" spc="-40" dirty="0">
                          <a:solidFill>
                            <a:srgbClr val="FFFFFF"/>
                          </a:solidFill>
                          <a:latin typeface="Arial"/>
                          <a:cs typeface="Arial"/>
                        </a:rPr>
                        <a:t> </a:t>
                      </a:r>
                      <a:r>
                        <a:rPr lang="en-US" sz="1400" b="1" dirty="0">
                          <a:solidFill>
                            <a:srgbClr val="FFFFFF"/>
                          </a:solidFill>
                          <a:latin typeface="Arial"/>
                          <a:cs typeface="Arial"/>
                        </a:rPr>
                        <a:t>Exclusion</a:t>
                      </a:r>
                      <a:r>
                        <a:rPr lang="en-US" sz="1400" b="1" spc="-75" dirty="0">
                          <a:solidFill>
                            <a:srgbClr val="FFFFFF"/>
                          </a:solidFill>
                          <a:latin typeface="Arial"/>
                          <a:cs typeface="Arial"/>
                        </a:rPr>
                        <a:t> </a:t>
                      </a:r>
                      <a:r>
                        <a:rPr lang="en-US" sz="1400" b="1" spc="-10" dirty="0">
                          <a:solidFill>
                            <a:srgbClr val="FFFFFF"/>
                          </a:solidFill>
                          <a:latin typeface="Arial"/>
                          <a:cs typeface="Arial"/>
                        </a:rPr>
                        <a:t>Criteria</a:t>
                      </a:r>
                      <a:endParaRPr lang="en-US" sz="1400" dirty="0">
                        <a:latin typeface="Arial"/>
                        <a:cs typeface="Arial"/>
                      </a:endParaRPr>
                    </a:p>
                  </a:txBody>
                  <a:tcPr marL="0" marR="0" marT="116205" marB="0">
                    <a:lnL w="12700">
                      <a:solidFill>
                        <a:srgbClr val="FFFFFF"/>
                      </a:solidFill>
                      <a:prstDash val="solid"/>
                    </a:lnL>
                    <a:lnR w="12700">
                      <a:solidFill>
                        <a:srgbClr val="FFFFFF"/>
                      </a:solidFill>
                      <a:prstDash val="solid"/>
                    </a:lnR>
                    <a:lnT w="12700">
                      <a:solidFill>
                        <a:srgbClr val="FFFFFF"/>
                      </a:solidFill>
                      <a:prstDash val="solid"/>
                    </a:lnT>
                    <a:lnB w="76200">
                      <a:solidFill>
                        <a:srgbClr val="FFFFFF"/>
                      </a:solidFill>
                      <a:prstDash val="solid"/>
                    </a:lnB>
                    <a:solidFill>
                      <a:srgbClr val="6381AA"/>
                    </a:solidFill>
                  </a:tcPr>
                </a:tc>
                <a:extLst>
                  <a:ext uri="{0D108BD9-81ED-4DB2-BD59-A6C34878D82A}">
                    <a16:rowId xmlns:a16="http://schemas.microsoft.com/office/drawing/2014/main" val="10000"/>
                  </a:ext>
                </a:extLst>
              </a:tr>
              <a:tr h="4480560">
                <a:tc>
                  <a:txBody>
                    <a:bodyPr/>
                    <a:lstStyle/>
                    <a:p>
                      <a:pPr marL="377825" indent="-287020">
                        <a:lnSpc>
                          <a:spcPct val="100000"/>
                        </a:lnSpc>
                        <a:spcBef>
                          <a:spcPts val="680"/>
                        </a:spcBef>
                        <a:buChar char="•"/>
                        <a:tabLst>
                          <a:tab pos="377825" algn="l"/>
                        </a:tabLst>
                      </a:pPr>
                      <a:r>
                        <a:rPr lang="en-US" sz="1200" spc="-10" dirty="0">
                          <a:solidFill>
                            <a:srgbClr val="344451"/>
                          </a:solidFill>
                          <a:latin typeface="Arial"/>
                          <a:cs typeface="Arial"/>
                        </a:rPr>
                        <a:t>Transformed </a:t>
                      </a:r>
                      <a:r>
                        <a:rPr lang="en-US" sz="1200" spc="-25" dirty="0">
                          <a:solidFill>
                            <a:srgbClr val="344451"/>
                          </a:solidFill>
                          <a:latin typeface="Arial"/>
                          <a:cs typeface="Arial"/>
                        </a:rPr>
                        <a:t>FL</a:t>
                      </a:r>
                      <a:r>
                        <a:rPr lang="en-US" sz="1200" spc="-37" baseline="24305" dirty="0">
                          <a:solidFill>
                            <a:srgbClr val="344451"/>
                          </a:solidFill>
                          <a:latin typeface="Arial"/>
                          <a:cs typeface="Arial"/>
                        </a:rPr>
                        <a:t>1</a:t>
                      </a:r>
                      <a:endParaRPr lang="en-US" sz="1200" baseline="24305" dirty="0">
                        <a:latin typeface="Arial"/>
                        <a:cs typeface="Arial"/>
                      </a:endParaRPr>
                    </a:p>
                    <a:p>
                      <a:pPr marL="377825" indent="-287020">
                        <a:lnSpc>
                          <a:spcPct val="100000"/>
                        </a:lnSpc>
                        <a:spcBef>
                          <a:spcPts val="300"/>
                        </a:spcBef>
                        <a:buChar char="•"/>
                        <a:tabLst>
                          <a:tab pos="377825" algn="l"/>
                        </a:tabLst>
                      </a:pPr>
                      <a:r>
                        <a:rPr lang="en-US" sz="1200" dirty="0">
                          <a:solidFill>
                            <a:srgbClr val="344451"/>
                          </a:solidFill>
                          <a:latin typeface="Arial"/>
                          <a:cs typeface="Arial"/>
                        </a:rPr>
                        <a:t>FL</a:t>
                      </a:r>
                      <a:r>
                        <a:rPr lang="en-US" sz="1200" spc="-60" dirty="0">
                          <a:solidFill>
                            <a:srgbClr val="344451"/>
                          </a:solidFill>
                          <a:latin typeface="Arial"/>
                          <a:cs typeface="Arial"/>
                        </a:rPr>
                        <a:t> </a:t>
                      </a:r>
                      <a:r>
                        <a:rPr lang="en-US" sz="1200" dirty="0">
                          <a:solidFill>
                            <a:srgbClr val="344451"/>
                          </a:solidFill>
                          <a:latin typeface="Arial"/>
                          <a:cs typeface="Arial"/>
                        </a:rPr>
                        <a:t>Grade</a:t>
                      </a:r>
                      <a:r>
                        <a:rPr lang="en-US" sz="1200" spc="-40" dirty="0">
                          <a:solidFill>
                            <a:srgbClr val="344451"/>
                          </a:solidFill>
                          <a:latin typeface="Arial"/>
                          <a:cs typeface="Arial"/>
                        </a:rPr>
                        <a:t> </a:t>
                      </a:r>
                      <a:r>
                        <a:rPr lang="en-US" sz="1200" spc="-25" dirty="0">
                          <a:solidFill>
                            <a:srgbClr val="344451"/>
                          </a:solidFill>
                          <a:latin typeface="Arial"/>
                          <a:cs typeface="Arial"/>
                        </a:rPr>
                        <a:t>3b</a:t>
                      </a:r>
                      <a:r>
                        <a:rPr lang="en-US" sz="1200" spc="-37" baseline="24305" dirty="0">
                          <a:solidFill>
                            <a:srgbClr val="344451"/>
                          </a:solidFill>
                          <a:latin typeface="Arial"/>
                          <a:cs typeface="Arial"/>
                        </a:rPr>
                        <a:t>1</a:t>
                      </a:r>
                      <a:endParaRPr lang="en-US" sz="1200" baseline="24305" dirty="0">
                        <a:latin typeface="Arial"/>
                        <a:cs typeface="Arial"/>
                      </a:endParaRPr>
                    </a:p>
                    <a:p>
                      <a:pPr marL="377825" indent="-287020">
                        <a:lnSpc>
                          <a:spcPct val="100000"/>
                        </a:lnSpc>
                        <a:spcBef>
                          <a:spcPts val="305"/>
                        </a:spcBef>
                        <a:buChar char="•"/>
                        <a:tabLst>
                          <a:tab pos="377825" algn="l"/>
                        </a:tabLst>
                      </a:pPr>
                      <a:r>
                        <a:rPr lang="en-US" sz="1200" dirty="0">
                          <a:solidFill>
                            <a:srgbClr val="344451"/>
                          </a:solidFill>
                          <a:latin typeface="Arial"/>
                          <a:cs typeface="Arial"/>
                        </a:rPr>
                        <a:t>Prior</a:t>
                      </a:r>
                      <a:r>
                        <a:rPr lang="en-US" sz="1200" spc="-25" dirty="0">
                          <a:solidFill>
                            <a:srgbClr val="344451"/>
                          </a:solidFill>
                          <a:latin typeface="Arial"/>
                          <a:cs typeface="Arial"/>
                        </a:rPr>
                        <a:t> </a:t>
                      </a:r>
                      <a:r>
                        <a:rPr lang="en-US" sz="1200" dirty="0">
                          <a:solidFill>
                            <a:srgbClr val="344451"/>
                          </a:solidFill>
                          <a:latin typeface="Arial"/>
                          <a:cs typeface="Arial"/>
                        </a:rPr>
                        <a:t>treatment</a:t>
                      </a:r>
                      <a:r>
                        <a:rPr lang="en-US" sz="1200" spc="-40" dirty="0">
                          <a:solidFill>
                            <a:srgbClr val="344451"/>
                          </a:solidFill>
                          <a:latin typeface="Arial"/>
                          <a:cs typeface="Arial"/>
                        </a:rPr>
                        <a:t> </a:t>
                      </a:r>
                      <a:r>
                        <a:rPr lang="en-US" sz="1200" spc="-10" dirty="0">
                          <a:solidFill>
                            <a:srgbClr val="344451"/>
                          </a:solidFill>
                          <a:latin typeface="Arial"/>
                          <a:cs typeface="Arial"/>
                        </a:rPr>
                        <a:t>with:</a:t>
                      </a:r>
                      <a:r>
                        <a:rPr lang="en-US" sz="1200" spc="-15" baseline="24305" dirty="0">
                          <a:solidFill>
                            <a:srgbClr val="344451"/>
                          </a:solidFill>
                          <a:latin typeface="Arial"/>
                          <a:cs typeface="Arial"/>
                        </a:rPr>
                        <a:t>1</a:t>
                      </a:r>
                      <a:endParaRPr lang="en-US" sz="1200" baseline="24305" dirty="0">
                        <a:latin typeface="Arial"/>
                        <a:cs typeface="Arial"/>
                      </a:endParaRPr>
                    </a:p>
                    <a:p>
                      <a:pPr marL="835025" lvl="1" indent="-286385">
                        <a:lnSpc>
                          <a:spcPct val="100000"/>
                        </a:lnSpc>
                        <a:spcBef>
                          <a:spcPts val="300"/>
                        </a:spcBef>
                        <a:buChar char="–"/>
                        <a:tabLst>
                          <a:tab pos="835025" algn="l"/>
                        </a:tabLst>
                      </a:pPr>
                      <a:r>
                        <a:rPr lang="en-US" sz="1200" spc="-10" dirty="0">
                          <a:solidFill>
                            <a:srgbClr val="344451"/>
                          </a:solidFill>
                          <a:latin typeface="Arial"/>
                          <a:cs typeface="Arial"/>
                        </a:rPr>
                        <a:t>CD19-</a:t>
                      </a:r>
                      <a:r>
                        <a:rPr lang="en-US" sz="1200" dirty="0">
                          <a:solidFill>
                            <a:srgbClr val="344451"/>
                          </a:solidFill>
                          <a:latin typeface="Arial"/>
                          <a:cs typeface="Arial"/>
                        </a:rPr>
                        <a:t>targeted</a:t>
                      </a:r>
                      <a:r>
                        <a:rPr lang="en-US" sz="1200" spc="-35" dirty="0">
                          <a:solidFill>
                            <a:srgbClr val="344451"/>
                          </a:solidFill>
                          <a:latin typeface="Arial"/>
                          <a:cs typeface="Arial"/>
                        </a:rPr>
                        <a:t> </a:t>
                      </a:r>
                      <a:r>
                        <a:rPr lang="en-US" sz="1200" spc="-10" dirty="0">
                          <a:solidFill>
                            <a:srgbClr val="344451"/>
                          </a:solidFill>
                          <a:latin typeface="Arial"/>
                          <a:cs typeface="Arial"/>
                        </a:rPr>
                        <a:t>therapy</a:t>
                      </a:r>
                      <a:endParaRPr lang="en-US" sz="1200" dirty="0">
                        <a:latin typeface="Arial"/>
                        <a:cs typeface="Arial"/>
                      </a:endParaRPr>
                    </a:p>
                    <a:p>
                      <a:pPr marL="835025" lvl="1" indent="-286385">
                        <a:lnSpc>
                          <a:spcPct val="100000"/>
                        </a:lnSpc>
                        <a:spcBef>
                          <a:spcPts val="300"/>
                        </a:spcBef>
                        <a:buChar char="–"/>
                        <a:tabLst>
                          <a:tab pos="835025" algn="l"/>
                        </a:tabLst>
                      </a:pPr>
                      <a:r>
                        <a:rPr lang="en-US" sz="1200" dirty="0">
                          <a:solidFill>
                            <a:srgbClr val="344451"/>
                          </a:solidFill>
                          <a:latin typeface="Arial"/>
                          <a:cs typeface="Arial"/>
                        </a:rPr>
                        <a:t>CAR</a:t>
                      </a:r>
                      <a:r>
                        <a:rPr lang="en-US" sz="1200" spc="-25" dirty="0">
                          <a:solidFill>
                            <a:srgbClr val="344451"/>
                          </a:solidFill>
                          <a:latin typeface="Arial"/>
                          <a:cs typeface="Arial"/>
                        </a:rPr>
                        <a:t> </a:t>
                      </a:r>
                      <a:r>
                        <a:rPr lang="en-US" sz="1200" spc="-40" dirty="0">
                          <a:solidFill>
                            <a:srgbClr val="344451"/>
                          </a:solidFill>
                          <a:latin typeface="Arial"/>
                          <a:cs typeface="Arial"/>
                        </a:rPr>
                        <a:t>T-</a:t>
                      </a:r>
                      <a:r>
                        <a:rPr lang="en-US" sz="1200" dirty="0">
                          <a:solidFill>
                            <a:srgbClr val="344451"/>
                          </a:solidFill>
                          <a:latin typeface="Arial"/>
                          <a:cs typeface="Arial"/>
                        </a:rPr>
                        <a:t>cell</a:t>
                      </a:r>
                      <a:r>
                        <a:rPr lang="en-US" sz="1200" spc="-20" dirty="0">
                          <a:solidFill>
                            <a:srgbClr val="344451"/>
                          </a:solidFill>
                          <a:latin typeface="Arial"/>
                          <a:cs typeface="Arial"/>
                        </a:rPr>
                        <a:t> </a:t>
                      </a:r>
                      <a:r>
                        <a:rPr lang="en-US" sz="1200" spc="-10" dirty="0">
                          <a:solidFill>
                            <a:srgbClr val="344451"/>
                          </a:solidFill>
                          <a:latin typeface="Arial"/>
                          <a:cs typeface="Arial"/>
                        </a:rPr>
                        <a:t>therapy</a:t>
                      </a:r>
                      <a:endParaRPr lang="en-US" sz="1200" dirty="0">
                        <a:latin typeface="Arial"/>
                        <a:cs typeface="Arial"/>
                      </a:endParaRPr>
                    </a:p>
                    <a:p>
                      <a:pPr marL="835025" lvl="1" indent="-286385">
                        <a:lnSpc>
                          <a:spcPct val="100000"/>
                        </a:lnSpc>
                        <a:spcBef>
                          <a:spcPts val="295"/>
                        </a:spcBef>
                        <a:buChar char="–"/>
                        <a:tabLst>
                          <a:tab pos="835025" algn="l"/>
                        </a:tabLst>
                      </a:pPr>
                      <a:r>
                        <a:rPr lang="en-US" sz="1200" dirty="0">
                          <a:solidFill>
                            <a:srgbClr val="344451"/>
                          </a:solidFill>
                          <a:latin typeface="Arial"/>
                          <a:cs typeface="Arial"/>
                        </a:rPr>
                        <a:t>Other</a:t>
                      </a:r>
                      <a:r>
                        <a:rPr lang="en-US" sz="1200" spc="-25" dirty="0">
                          <a:solidFill>
                            <a:srgbClr val="344451"/>
                          </a:solidFill>
                          <a:latin typeface="Arial"/>
                          <a:cs typeface="Arial"/>
                        </a:rPr>
                        <a:t> </a:t>
                      </a:r>
                      <a:r>
                        <a:rPr lang="en-US" sz="1200" dirty="0">
                          <a:solidFill>
                            <a:srgbClr val="344451"/>
                          </a:solidFill>
                          <a:latin typeface="Arial"/>
                          <a:cs typeface="Arial"/>
                        </a:rPr>
                        <a:t>genetically</a:t>
                      </a:r>
                      <a:r>
                        <a:rPr lang="en-US" sz="1200" spc="-40" dirty="0">
                          <a:solidFill>
                            <a:srgbClr val="344451"/>
                          </a:solidFill>
                          <a:latin typeface="Arial"/>
                          <a:cs typeface="Arial"/>
                        </a:rPr>
                        <a:t> </a:t>
                      </a:r>
                      <a:r>
                        <a:rPr lang="en-US" sz="1200" dirty="0">
                          <a:solidFill>
                            <a:srgbClr val="344451"/>
                          </a:solidFill>
                          <a:latin typeface="Arial"/>
                          <a:cs typeface="Arial"/>
                        </a:rPr>
                        <a:t>modified</a:t>
                      </a:r>
                      <a:r>
                        <a:rPr lang="en-US" sz="1200" spc="-70" dirty="0">
                          <a:solidFill>
                            <a:srgbClr val="344451"/>
                          </a:solidFill>
                          <a:latin typeface="Arial"/>
                          <a:cs typeface="Arial"/>
                        </a:rPr>
                        <a:t> </a:t>
                      </a:r>
                      <a:r>
                        <a:rPr lang="en-US" sz="1200" spc="-45" dirty="0">
                          <a:solidFill>
                            <a:srgbClr val="344451"/>
                          </a:solidFill>
                          <a:latin typeface="Arial"/>
                          <a:cs typeface="Arial"/>
                        </a:rPr>
                        <a:t>T-</a:t>
                      </a:r>
                      <a:r>
                        <a:rPr lang="en-US" sz="1200" dirty="0">
                          <a:solidFill>
                            <a:srgbClr val="344451"/>
                          </a:solidFill>
                          <a:latin typeface="Arial"/>
                          <a:cs typeface="Arial"/>
                        </a:rPr>
                        <a:t>cell</a:t>
                      </a:r>
                      <a:r>
                        <a:rPr lang="en-US" sz="1200" spc="-20" dirty="0">
                          <a:solidFill>
                            <a:srgbClr val="344451"/>
                          </a:solidFill>
                          <a:latin typeface="Arial"/>
                          <a:cs typeface="Arial"/>
                        </a:rPr>
                        <a:t> </a:t>
                      </a:r>
                      <a:r>
                        <a:rPr lang="en-US" sz="1200" spc="-10" dirty="0">
                          <a:solidFill>
                            <a:srgbClr val="344451"/>
                          </a:solidFill>
                          <a:latin typeface="Arial"/>
                          <a:cs typeface="Arial"/>
                        </a:rPr>
                        <a:t>therapy</a:t>
                      </a:r>
                      <a:endParaRPr lang="en-US" sz="1200" dirty="0">
                        <a:latin typeface="Arial"/>
                        <a:cs typeface="Arial"/>
                      </a:endParaRPr>
                    </a:p>
                    <a:p>
                      <a:pPr marL="377825" indent="-286385">
                        <a:lnSpc>
                          <a:spcPct val="100000"/>
                        </a:lnSpc>
                        <a:spcBef>
                          <a:spcPts val="300"/>
                        </a:spcBef>
                        <a:buChar char="•"/>
                        <a:tabLst>
                          <a:tab pos="377825" algn="l"/>
                        </a:tabLst>
                      </a:pPr>
                      <a:r>
                        <a:rPr lang="en-US" sz="1200" dirty="0">
                          <a:solidFill>
                            <a:srgbClr val="344451"/>
                          </a:solidFill>
                          <a:latin typeface="Arial"/>
                          <a:cs typeface="Arial"/>
                        </a:rPr>
                        <a:t>Uncontrolled</a:t>
                      </a:r>
                      <a:r>
                        <a:rPr lang="en-US" sz="1200" spc="-65" dirty="0">
                          <a:solidFill>
                            <a:srgbClr val="344451"/>
                          </a:solidFill>
                          <a:latin typeface="Arial"/>
                          <a:cs typeface="Arial"/>
                        </a:rPr>
                        <a:t> </a:t>
                      </a:r>
                      <a:r>
                        <a:rPr lang="en-US" sz="1200" dirty="0">
                          <a:solidFill>
                            <a:srgbClr val="344451"/>
                          </a:solidFill>
                          <a:latin typeface="Arial"/>
                          <a:cs typeface="Arial"/>
                        </a:rPr>
                        <a:t>fungal,</a:t>
                      </a:r>
                      <a:r>
                        <a:rPr lang="en-US" sz="1200" spc="-35" dirty="0">
                          <a:solidFill>
                            <a:srgbClr val="344451"/>
                          </a:solidFill>
                          <a:latin typeface="Arial"/>
                          <a:cs typeface="Arial"/>
                        </a:rPr>
                        <a:t> </a:t>
                      </a:r>
                      <a:r>
                        <a:rPr lang="en-US" sz="1200" dirty="0">
                          <a:solidFill>
                            <a:srgbClr val="344451"/>
                          </a:solidFill>
                          <a:latin typeface="Arial"/>
                          <a:cs typeface="Arial"/>
                        </a:rPr>
                        <a:t>bacterial,</a:t>
                      </a:r>
                      <a:r>
                        <a:rPr lang="en-US" sz="1200" spc="-50" dirty="0">
                          <a:solidFill>
                            <a:srgbClr val="344451"/>
                          </a:solidFill>
                          <a:latin typeface="Arial"/>
                          <a:cs typeface="Arial"/>
                        </a:rPr>
                        <a:t> </a:t>
                      </a:r>
                      <a:r>
                        <a:rPr lang="en-US" sz="1200" dirty="0">
                          <a:solidFill>
                            <a:srgbClr val="344451"/>
                          </a:solidFill>
                          <a:latin typeface="Arial"/>
                          <a:cs typeface="Arial"/>
                        </a:rPr>
                        <a:t>viral,</a:t>
                      </a:r>
                      <a:r>
                        <a:rPr lang="en-US" sz="1200" spc="-15" dirty="0">
                          <a:solidFill>
                            <a:srgbClr val="344451"/>
                          </a:solidFill>
                          <a:latin typeface="Arial"/>
                          <a:cs typeface="Arial"/>
                        </a:rPr>
                        <a:t> </a:t>
                      </a:r>
                      <a:r>
                        <a:rPr lang="en-US" sz="1200" dirty="0">
                          <a:solidFill>
                            <a:srgbClr val="344451"/>
                          </a:solidFill>
                          <a:latin typeface="Arial"/>
                          <a:cs typeface="Arial"/>
                        </a:rPr>
                        <a:t>or</a:t>
                      </a:r>
                      <a:r>
                        <a:rPr lang="en-US" sz="1200" spc="-20" dirty="0">
                          <a:solidFill>
                            <a:srgbClr val="344451"/>
                          </a:solidFill>
                          <a:latin typeface="Arial"/>
                          <a:cs typeface="Arial"/>
                        </a:rPr>
                        <a:t> </a:t>
                      </a:r>
                      <a:r>
                        <a:rPr lang="en-US" sz="1200" dirty="0">
                          <a:solidFill>
                            <a:srgbClr val="344451"/>
                          </a:solidFill>
                          <a:latin typeface="Arial"/>
                          <a:cs typeface="Arial"/>
                        </a:rPr>
                        <a:t>other</a:t>
                      </a:r>
                      <a:r>
                        <a:rPr lang="en-US" sz="1200" spc="-40" dirty="0">
                          <a:solidFill>
                            <a:srgbClr val="344451"/>
                          </a:solidFill>
                          <a:latin typeface="Arial"/>
                          <a:cs typeface="Arial"/>
                        </a:rPr>
                        <a:t> </a:t>
                      </a:r>
                      <a:r>
                        <a:rPr lang="en-US" sz="1200" spc="-10" dirty="0">
                          <a:solidFill>
                            <a:srgbClr val="344451"/>
                          </a:solidFill>
                          <a:latin typeface="Arial"/>
                          <a:cs typeface="Arial"/>
                        </a:rPr>
                        <a:t>infection</a:t>
                      </a:r>
                      <a:r>
                        <a:rPr lang="en-US" sz="1200" spc="-15" baseline="24305" dirty="0">
                          <a:solidFill>
                            <a:srgbClr val="344451"/>
                          </a:solidFill>
                          <a:latin typeface="Arial"/>
                          <a:cs typeface="Arial"/>
                        </a:rPr>
                        <a:t>1</a:t>
                      </a:r>
                      <a:endParaRPr lang="en-US" sz="1200" baseline="24305" dirty="0">
                        <a:latin typeface="Arial"/>
                        <a:cs typeface="Arial"/>
                      </a:endParaRPr>
                    </a:p>
                    <a:p>
                      <a:pPr marL="377825" indent="-287020">
                        <a:lnSpc>
                          <a:spcPct val="100000"/>
                        </a:lnSpc>
                        <a:spcBef>
                          <a:spcPts val="305"/>
                        </a:spcBef>
                        <a:buChar char="•"/>
                        <a:tabLst>
                          <a:tab pos="377825" algn="l"/>
                        </a:tabLst>
                      </a:pPr>
                      <a:r>
                        <a:rPr lang="en-US" sz="1200" dirty="0">
                          <a:solidFill>
                            <a:srgbClr val="344451"/>
                          </a:solidFill>
                          <a:latin typeface="Arial"/>
                          <a:cs typeface="Arial"/>
                        </a:rPr>
                        <a:t>Active</a:t>
                      </a:r>
                      <a:r>
                        <a:rPr lang="en-US" sz="1200" spc="-25" dirty="0">
                          <a:solidFill>
                            <a:srgbClr val="344451"/>
                          </a:solidFill>
                          <a:latin typeface="Arial"/>
                          <a:cs typeface="Arial"/>
                        </a:rPr>
                        <a:t> </a:t>
                      </a:r>
                      <a:r>
                        <a:rPr lang="en-US" sz="1200" dirty="0">
                          <a:solidFill>
                            <a:srgbClr val="344451"/>
                          </a:solidFill>
                          <a:latin typeface="Arial"/>
                          <a:cs typeface="Arial"/>
                        </a:rPr>
                        <a:t>infection</a:t>
                      </a:r>
                      <a:r>
                        <a:rPr lang="en-US" sz="1200" spc="-65" dirty="0">
                          <a:solidFill>
                            <a:srgbClr val="344451"/>
                          </a:solidFill>
                          <a:latin typeface="Arial"/>
                          <a:cs typeface="Arial"/>
                        </a:rPr>
                        <a:t> </a:t>
                      </a:r>
                      <a:r>
                        <a:rPr lang="en-US" sz="1200" dirty="0">
                          <a:solidFill>
                            <a:srgbClr val="344451"/>
                          </a:solidFill>
                          <a:latin typeface="Arial"/>
                          <a:cs typeface="Arial"/>
                        </a:rPr>
                        <a:t>with</a:t>
                      </a:r>
                      <a:r>
                        <a:rPr lang="en-US" sz="1200" spc="-20" dirty="0">
                          <a:solidFill>
                            <a:srgbClr val="344451"/>
                          </a:solidFill>
                          <a:latin typeface="Arial"/>
                          <a:cs typeface="Arial"/>
                        </a:rPr>
                        <a:t> </a:t>
                      </a:r>
                      <a:r>
                        <a:rPr lang="en-US" sz="1200" spc="-10" dirty="0">
                          <a:solidFill>
                            <a:srgbClr val="344451"/>
                          </a:solidFill>
                          <a:latin typeface="Arial"/>
                          <a:cs typeface="Arial"/>
                        </a:rPr>
                        <a:t>HIV,</a:t>
                      </a:r>
                      <a:r>
                        <a:rPr lang="en-US" sz="1200" spc="-20" dirty="0">
                          <a:solidFill>
                            <a:srgbClr val="344451"/>
                          </a:solidFill>
                          <a:latin typeface="Arial"/>
                          <a:cs typeface="Arial"/>
                        </a:rPr>
                        <a:t> </a:t>
                      </a:r>
                      <a:r>
                        <a:rPr lang="en-US" sz="1200" dirty="0">
                          <a:solidFill>
                            <a:srgbClr val="344451"/>
                          </a:solidFill>
                          <a:latin typeface="Arial"/>
                          <a:cs typeface="Arial"/>
                        </a:rPr>
                        <a:t>HBV</a:t>
                      </a:r>
                      <a:r>
                        <a:rPr lang="en-US" sz="1200" spc="-35" dirty="0">
                          <a:solidFill>
                            <a:srgbClr val="344451"/>
                          </a:solidFill>
                          <a:latin typeface="Arial"/>
                          <a:cs typeface="Arial"/>
                        </a:rPr>
                        <a:t> </a:t>
                      </a:r>
                      <a:r>
                        <a:rPr lang="en-US" sz="1200" dirty="0">
                          <a:solidFill>
                            <a:srgbClr val="344451"/>
                          </a:solidFill>
                          <a:latin typeface="Arial"/>
                          <a:cs typeface="Arial"/>
                        </a:rPr>
                        <a:t>or</a:t>
                      </a:r>
                      <a:r>
                        <a:rPr lang="en-US" sz="1200" spc="-30" dirty="0">
                          <a:solidFill>
                            <a:srgbClr val="344451"/>
                          </a:solidFill>
                          <a:latin typeface="Arial"/>
                          <a:cs typeface="Arial"/>
                        </a:rPr>
                        <a:t> </a:t>
                      </a:r>
                      <a:r>
                        <a:rPr lang="en-US" sz="1200" spc="-10" dirty="0">
                          <a:solidFill>
                            <a:srgbClr val="344451"/>
                          </a:solidFill>
                          <a:latin typeface="Arial"/>
                          <a:cs typeface="Arial"/>
                        </a:rPr>
                        <a:t>HCV</a:t>
                      </a:r>
                      <a:r>
                        <a:rPr lang="en-US" sz="1200" spc="-15" baseline="24305" dirty="0">
                          <a:solidFill>
                            <a:srgbClr val="344451"/>
                          </a:solidFill>
                          <a:latin typeface="Arial"/>
                          <a:cs typeface="Arial"/>
                        </a:rPr>
                        <a:t>1,2</a:t>
                      </a:r>
                      <a:endParaRPr lang="en-US" sz="1200" baseline="24305" dirty="0">
                        <a:latin typeface="Arial"/>
                        <a:cs typeface="Arial"/>
                      </a:endParaRPr>
                    </a:p>
                    <a:p>
                      <a:pPr marL="835025" marR="178435" lvl="1" indent="-287020">
                        <a:lnSpc>
                          <a:spcPct val="100000"/>
                        </a:lnSpc>
                        <a:spcBef>
                          <a:spcPts val="295"/>
                        </a:spcBef>
                        <a:buChar char="–"/>
                        <a:tabLst>
                          <a:tab pos="835025" algn="l"/>
                        </a:tabLst>
                      </a:pPr>
                      <a:r>
                        <a:rPr lang="en-US" sz="1200" dirty="0">
                          <a:solidFill>
                            <a:srgbClr val="344451"/>
                          </a:solidFill>
                          <a:latin typeface="Arial"/>
                          <a:cs typeface="Arial"/>
                        </a:rPr>
                        <a:t>Note:</a:t>
                      </a:r>
                      <a:r>
                        <a:rPr lang="en-US" sz="1200" spc="-15" dirty="0">
                          <a:solidFill>
                            <a:srgbClr val="344451"/>
                          </a:solidFill>
                          <a:latin typeface="Arial"/>
                          <a:cs typeface="Arial"/>
                        </a:rPr>
                        <a:t> </a:t>
                      </a:r>
                      <a:r>
                        <a:rPr lang="en-US" sz="1200" dirty="0">
                          <a:solidFill>
                            <a:srgbClr val="344451"/>
                          </a:solidFill>
                          <a:latin typeface="Arial"/>
                          <a:cs typeface="Arial"/>
                        </a:rPr>
                        <a:t>Patients</a:t>
                      </a:r>
                      <a:r>
                        <a:rPr lang="en-US" sz="1200" spc="-40" dirty="0">
                          <a:solidFill>
                            <a:srgbClr val="344451"/>
                          </a:solidFill>
                          <a:latin typeface="Arial"/>
                          <a:cs typeface="Arial"/>
                        </a:rPr>
                        <a:t> </a:t>
                      </a:r>
                      <a:r>
                        <a:rPr lang="en-US" sz="1200" dirty="0">
                          <a:solidFill>
                            <a:srgbClr val="344451"/>
                          </a:solidFill>
                          <a:latin typeface="Arial"/>
                          <a:cs typeface="Arial"/>
                        </a:rPr>
                        <a:t>who are</a:t>
                      </a:r>
                      <a:r>
                        <a:rPr lang="en-US" sz="1200" spc="-5" dirty="0">
                          <a:solidFill>
                            <a:srgbClr val="344451"/>
                          </a:solidFill>
                          <a:latin typeface="Arial"/>
                          <a:cs typeface="Arial"/>
                        </a:rPr>
                        <a:t> </a:t>
                      </a:r>
                      <a:r>
                        <a:rPr lang="en-US" sz="1200" spc="-30" dirty="0">
                          <a:solidFill>
                            <a:srgbClr val="344451"/>
                          </a:solidFill>
                          <a:latin typeface="Arial"/>
                          <a:cs typeface="Arial"/>
                        </a:rPr>
                        <a:t>HIV-</a:t>
                      </a:r>
                      <a:r>
                        <a:rPr lang="en-US" sz="1200" dirty="0">
                          <a:solidFill>
                            <a:srgbClr val="344451"/>
                          </a:solidFill>
                          <a:latin typeface="Arial"/>
                          <a:cs typeface="Arial"/>
                        </a:rPr>
                        <a:t>positive</a:t>
                      </a:r>
                      <a:r>
                        <a:rPr lang="en-US" sz="1200" spc="-25" dirty="0">
                          <a:solidFill>
                            <a:srgbClr val="344451"/>
                          </a:solidFill>
                          <a:latin typeface="Arial"/>
                          <a:cs typeface="Arial"/>
                        </a:rPr>
                        <a:t> </a:t>
                      </a:r>
                      <a:r>
                        <a:rPr lang="en-US" sz="1200" dirty="0">
                          <a:solidFill>
                            <a:srgbClr val="344451"/>
                          </a:solidFill>
                          <a:latin typeface="Arial"/>
                          <a:cs typeface="Arial"/>
                        </a:rPr>
                        <a:t>are</a:t>
                      </a:r>
                      <a:r>
                        <a:rPr lang="en-US" sz="1200" spc="-10" dirty="0">
                          <a:solidFill>
                            <a:srgbClr val="344451"/>
                          </a:solidFill>
                          <a:latin typeface="Arial"/>
                          <a:cs typeface="Arial"/>
                        </a:rPr>
                        <a:t> </a:t>
                      </a:r>
                      <a:r>
                        <a:rPr lang="en-US" sz="1200" dirty="0">
                          <a:solidFill>
                            <a:srgbClr val="344451"/>
                          </a:solidFill>
                          <a:latin typeface="Arial"/>
                          <a:cs typeface="Arial"/>
                        </a:rPr>
                        <a:t>eligible</a:t>
                      </a:r>
                      <a:r>
                        <a:rPr lang="en-US" sz="1200" spc="-30" dirty="0">
                          <a:solidFill>
                            <a:srgbClr val="344451"/>
                          </a:solidFill>
                          <a:latin typeface="Arial"/>
                          <a:cs typeface="Arial"/>
                        </a:rPr>
                        <a:t> </a:t>
                      </a:r>
                      <a:r>
                        <a:rPr lang="en-US" sz="1200" dirty="0">
                          <a:solidFill>
                            <a:srgbClr val="344451"/>
                          </a:solidFill>
                          <a:latin typeface="Arial"/>
                          <a:cs typeface="Arial"/>
                        </a:rPr>
                        <a:t>if </a:t>
                      </a:r>
                      <a:r>
                        <a:rPr lang="en-US" sz="1200" spc="-10" dirty="0">
                          <a:solidFill>
                            <a:srgbClr val="344451"/>
                          </a:solidFill>
                          <a:latin typeface="Arial"/>
                          <a:cs typeface="Arial"/>
                        </a:rPr>
                        <a:t>taking </a:t>
                      </a:r>
                      <a:r>
                        <a:rPr lang="en-US" sz="1200" dirty="0">
                          <a:solidFill>
                            <a:srgbClr val="344451"/>
                          </a:solidFill>
                          <a:latin typeface="Arial"/>
                          <a:cs typeface="Arial"/>
                        </a:rPr>
                        <a:t>appropriate</a:t>
                      </a:r>
                      <a:r>
                        <a:rPr lang="en-US" sz="1200" spc="-55" dirty="0">
                          <a:solidFill>
                            <a:srgbClr val="344451"/>
                          </a:solidFill>
                          <a:latin typeface="Arial"/>
                          <a:cs typeface="Arial"/>
                        </a:rPr>
                        <a:t> </a:t>
                      </a:r>
                      <a:r>
                        <a:rPr lang="en-US" sz="1200" spc="-10" dirty="0">
                          <a:solidFill>
                            <a:srgbClr val="344451"/>
                          </a:solidFill>
                          <a:latin typeface="Arial"/>
                          <a:cs typeface="Arial"/>
                        </a:rPr>
                        <a:t>anti-</a:t>
                      </a:r>
                      <a:r>
                        <a:rPr lang="en-US" sz="1200" dirty="0">
                          <a:solidFill>
                            <a:srgbClr val="344451"/>
                          </a:solidFill>
                          <a:latin typeface="Arial"/>
                          <a:cs typeface="Arial"/>
                        </a:rPr>
                        <a:t>HIV</a:t>
                      </a:r>
                      <a:r>
                        <a:rPr lang="en-US" sz="1200" spc="-20" dirty="0">
                          <a:solidFill>
                            <a:srgbClr val="344451"/>
                          </a:solidFill>
                          <a:latin typeface="Arial"/>
                          <a:cs typeface="Arial"/>
                        </a:rPr>
                        <a:t> </a:t>
                      </a:r>
                      <a:r>
                        <a:rPr lang="en-US" sz="1200" dirty="0">
                          <a:solidFill>
                            <a:srgbClr val="344451"/>
                          </a:solidFill>
                          <a:latin typeface="Arial"/>
                          <a:cs typeface="Arial"/>
                        </a:rPr>
                        <a:t>medications,</a:t>
                      </a:r>
                      <a:r>
                        <a:rPr lang="en-US" sz="1200" spc="-45" dirty="0">
                          <a:solidFill>
                            <a:srgbClr val="344451"/>
                          </a:solidFill>
                          <a:latin typeface="Arial"/>
                          <a:cs typeface="Arial"/>
                        </a:rPr>
                        <a:t> </a:t>
                      </a:r>
                      <a:r>
                        <a:rPr lang="en-US" sz="1200" dirty="0">
                          <a:solidFill>
                            <a:srgbClr val="344451"/>
                          </a:solidFill>
                          <a:latin typeface="Arial"/>
                          <a:cs typeface="Arial"/>
                        </a:rPr>
                        <a:t>having</a:t>
                      </a:r>
                      <a:r>
                        <a:rPr lang="en-US" sz="1200" spc="-30" dirty="0">
                          <a:solidFill>
                            <a:srgbClr val="344451"/>
                          </a:solidFill>
                          <a:latin typeface="Arial"/>
                          <a:cs typeface="Arial"/>
                        </a:rPr>
                        <a:t> </a:t>
                      </a:r>
                      <a:r>
                        <a:rPr lang="en-US" sz="1200" dirty="0">
                          <a:solidFill>
                            <a:srgbClr val="344451"/>
                          </a:solidFill>
                          <a:latin typeface="Arial"/>
                          <a:cs typeface="Arial"/>
                        </a:rPr>
                        <a:t>an</a:t>
                      </a:r>
                      <a:r>
                        <a:rPr lang="en-US" sz="1200" spc="-15" dirty="0">
                          <a:solidFill>
                            <a:srgbClr val="344451"/>
                          </a:solidFill>
                          <a:latin typeface="Arial"/>
                          <a:cs typeface="Arial"/>
                        </a:rPr>
                        <a:t> </a:t>
                      </a:r>
                      <a:r>
                        <a:rPr lang="en-US" sz="1200" dirty="0">
                          <a:solidFill>
                            <a:srgbClr val="344451"/>
                          </a:solidFill>
                          <a:latin typeface="Arial"/>
                          <a:cs typeface="Arial"/>
                        </a:rPr>
                        <a:t>undetectable</a:t>
                      </a:r>
                      <a:r>
                        <a:rPr lang="en-US" sz="1200" spc="-15" dirty="0">
                          <a:solidFill>
                            <a:srgbClr val="344451"/>
                          </a:solidFill>
                          <a:latin typeface="Arial"/>
                          <a:cs typeface="Arial"/>
                        </a:rPr>
                        <a:t> </a:t>
                      </a:r>
                      <a:r>
                        <a:rPr lang="en-US" sz="1200" spc="-10" dirty="0">
                          <a:solidFill>
                            <a:srgbClr val="344451"/>
                          </a:solidFill>
                          <a:latin typeface="Arial"/>
                          <a:cs typeface="Arial"/>
                        </a:rPr>
                        <a:t>viral </a:t>
                      </a:r>
                      <a:r>
                        <a:rPr lang="en-US" sz="1200" dirty="0">
                          <a:solidFill>
                            <a:srgbClr val="344451"/>
                          </a:solidFill>
                          <a:latin typeface="Arial"/>
                          <a:cs typeface="Arial"/>
                        </a:rPr>
                        <a:t>load</a:t>
                      </a:r>
                      <a:r>
                        <a:rPr lang="en-US" sz="1200" spc="-25" dirty="0">
                          <a:solidFill>
                            <a:srgbClr val="344451"/>
                          </a:solidFill>
                          <a:latin typeface="Arial"/>
                          <a:cs typeface="Arial"/>
                        </a:rPr>
                        <a:t> </a:t>
                      </a:r>
                      <a:r>
                        <a:rPr lang="en-US" sz="1200" dirty="0">
                          <a:solidFill>
                            <a:srgbClr val="344451"/>
                          </a:solidFill>
                          <a:latin typeface="Arial"/>
                          <a:cs typeface="Arial"/>
                        </a:rPr>
                        <a:t>by</a:t>
                      </a:r>
                      <a:r>
                        <a:rPr lang="en-US" sz="1200" spc="-15" dirty="0">
                          <a:solidFill>
                            <a:srgbClr val="344451"/>
                          </a:solidFill>
                          <a:latin typeface="Arial"/>
                          <a:cs typeface="Arial"/>
                        </a:rPr>
                        <a:t> </a:t>
                      </a:r>
                      <a:r>
                        <a:rPr lang="en-US" sz="1200" dirty="0">
                          <a:solidFill>
                            <a:srgbClr val="344451"/>
                          </a:solidFill>
                          <a:latin typeface="Arial"/>
                          <a:cs typeface="Arial"/>
                        </a:rPr>
                        <a:t>quantitative</a:t>
                      </a:r>
                      <a:r>
                        <a:rPr lang="en-US" sz="1200" spc="-35" dirty="0">
                          <a:solidFill>
                            <a:srgbClr val="344451"/>
                          </a:solidFill>
                          <a:latin typeface="Arial"/>
                          <a:cs typeface="Arial"/>
                        </a:rPr>
                        <a:t> </a:t>
                      </a:r>
                      <a:r>
                        <a:rPr lang="en-US" sz="1200" dirty="0">
                          <a:solidFill>
                            <a:srgbClr val="344451"/>
                          </a:solidFill>
                          <a:latin typeface="Arial"/>
                          <a:cs typeface="Arial"/>
                        </a:rPr>
                        <a:t>PCR, and</a:t>
                      </a:r>
                      <a:r>
                        <a:rPr lang="en-US" sz="1200" spc="-20" dirty="0">
                          <a:solidFill>
                            <a:srgbClr val="344451"/>
                          </a:solidFill>
                          <a:latin typeface="Arial"/>
                          <a:cs typeface="Arial"/>
                        </a:rPr>
                        <a:t> </a:t>
                      </a:r>
                      <a:r>
                        <a:rPr lang="en-US" sz="1200" dirty="0">
                          <a:solidFill>
                            <a:srgbClr val="344451"/>
                          </a:solidFill>
                          <a:latin typeface="Arial"/>
                          <a:cs typeface="Arial"/>
                        </a:rPr>
                        <a:t>a</a:t>
                      </a:r>
                      <a:r>
                        <a:rPr lang="en-US" sz="1200" spc="-10" dirty="0">
                          <a:solidFill>
                            <a:srgbClr val="344451"/>
                          </a:solidFill>
                          <a:latin typeface="Arial"/>
                          <a:cs typeface="Arial"/>
                        </a:rPr>
                        <a:t> </a:t>
                      </a:r>
                      <a:r>
                        <a:rPr lang="en-US" sz="1200" dirty="0">
                          <a:solidFill>
                            <a:srgbClr val="344451"/>
                          </a:solidFill>
                          <a:latin typeface="Arial"/>
                          <a:cs typeface="Arial"/>
                        </a:rPr>
                        <a:t>CD4</a:t>
                      </a:r>
                      <a:r>
                        <a:rPr lang="en-US" sz="1200" spc="-10" dirty="0">
                          <a:solidFill>
                            <a:srgbClr val="344451"/>
                          </a:solidFill>
                          <a:latin typeface="Arial"/>
                          <a:cs typeface="Arial"/>
                        </a:rPr>
                        <a:t> </a:t>
                      </a:r>
                      <a:r>
                        <a:rPr lang="en-US" sz="1200" dirty="0">
                          <a:solidFill>
                            <a:srgbClr val="344451"/>
                          </a:solidFill>
                          <a:latin typeface="Arial"/>
                          <a:cs typeface="Arial"/>
                        </a:rPr>
                        <a:t>count</a:t>
                      </a:r>
                      <a:r>
                        <a:rPr lang="en-US" sz="1200" spc="-25" dirty="0">
                          <a:solidFill>
                            <a:srgbClr val="344451"/>
                          </a:solidFill>
                          <a:latin typeface="Arial"/>
                          <a:cs typeface="Arial"/>
                        </a:rPr>
                        <a:t> </a:t>
                      </a:r>
                      <a:r>
                        <a:rPr lang="en-US" sz="1200" dirty="0">
                          <a:solidFill>
                            <a:srgbClr val="344451"/>
                          </a:solidFill>
                          <a:latin typeface="Arial"/>
                          <a:cs typeface="Arial"/>
                        </a:rPr>
                        <a:t>&gt;200</a:t>
                      </a:r>
                      <a:r>
                        <a:rPr lang="en-US" sz="1200" spc="-25" dirty="0">
                          <a:solidFill>
                            <a:srgbClr val="344451"/>
                          </a:solidFill>
                          <a:latin typeface="Arial"/>
                          <a:cs typeface="Arial"/>
                        </a:rPr>
                        <a:t> </a:t>
                      </a:r>
                      <a:r>
                        <a:rPr lang="en-US" sz="1200" spc="-10" dirty="0">
                          <a:solidFill>
                            <a:srgbClr val="344451"/>
                          </a:solidFill>
                          <a:latin typeface="Arial"/>
                          <a:cs typeface="Arial"/>
                        </a:rPr>
                        <a:t>cell/μL</a:t>
                      </a:r>
                      <a:endParaRPr lang="en-US" sz="1200" dirty="0">
                        <a:latin typeface="Arial"/>
                        <a:cs typeface="Arial"/>
                      </a:endParaRPr>
                    </a:p>
                    <a:p>
                      <a:pPr marL="835025" marR="80645" lvl="1" indent="-287020">
                        <a:lnSpc>
                          <a:spcPct val="100000"/>
                        </a:lnSpc>
                        <a:spcBef>
                          <a:spcPts val="305"/>
                        </a:spcBef>
                        <a:buChar char="–"/>
                        <a:tabLst>
                          <a:tab pos="835025" algn="l"/>
                        </a:tabLst>
                      </a:pPr>
                      <a:r>
                        <a:rPr lang="en-US" sz="1200" dirty="0">
                          <a:solidFill>
                            <a:srgbClr val="344451"/>
                          </a:solidFill>
                          <a:latin typeface="Arial"/>
                          <a:cs typeface="Arial"/>
                        </a:rPr>
                        <a:t>Note:</a:t>
                      </a:r>
                      <a:r>
                        <a:rPr lang="en-US" sz="1200" spc="-20" dirty="0">
                          <a:solidFill>
                            <a:srgbClr val="344451"/>
                          </a:solidFill>
                          <a:latin typeface="Arial"/>
                          <a:cs typeface="Arial"/>
                        </a:rPr>
                        <a:t> </a:t>
                      </a:r>
                      <a:r>
                        <a:rPr lang="en-US" sz="1200" dirty="0">
                          <a:solidFill>
                            <a:srgbClr val="344451"/>
                          </a:solidFill>
                          <a:latin typeface="Arial"/>
                          <a:cs typeface="Arial"/>
                        </a:rPr>
                        <a:t>Patients</a:t>
                      </a:r>
                      <a:r>
                        <a:rPr lang="en-US" sz="1200" spc="-40" dirty="0">
                          <a:solidFill>
                            <a:srgbClr val="344451"/>
                          </a:solidFill>
                          <a:latin typeface="Arial"/>
                          <a:cs typeface="Arial"/>
                        </a:rPr>
                        <a:t> </a:t>
                      </a:r>
                      <a:r>
                        <a:rPr lang="en-US" sz="1200" dirty="0">
                          <a:solidFill>
                            <a:srgbClr val="344451"/>
                          </a:solidFill>
                          <a:latin typeface="Arial"/>
                          <a:cs typeface="Arial"/>
                        </a:rPr>
                        <a:t>with a positive</a:t>
                      </a:r>
                      <a:r>
                        <a:rPr lang="en-US" sz="1200" spc="-25" dirty="0">
                          <a:solidFill>
                            <a:srgbClr val="344451"/>
                          </a:solidFill>
                          <a:latin typeface="Arial"/>
                          <a:cs typeface="Arial"/>
                        </a:rPr>
                        <a:t> </a:t>
                      </a:r>
                      <a:r>
                        <a:rPr lang="en-US" sz="1200" dirty="0">
                          <a:solidFill>
                            <a:srgbClr val="344451"/>
                          </a:solidFill>
                          <a:latin typeface="Arial"/>
                          <a:cs typeface="Arial"/>
                        </a:rPr>
                        <a:t>history</a:t>
                      </a:r>
                      <a:r>
                        <a:rPr lang="en-US" sz="1200" spc="-15" dirty="0">
                          <a:solidFill>
                            <a:srgbClr val="344451"/>
                          </a:solidFill>
                          <a:latin typeface="Arial"/>
                          <a:cs typeface="Arial"/>
                        </a:rPr>
                        <a:t> </a:t>
                      </a:r>
                      <a:r>
                        <a:rPr lang="en-US" sz="1200" dirty="0">
                          <a:solidFill>
                            <a:srgbClr val="344451"/>
                          </a:solidFill>
                          <a:latin typeface="Arial"/>
                          <a:cs typeface="Arial"/>
                        </a:rPr>
                        <a:t>of</a:t>
                      </a:r>
                      <a:r>
                        <a:rPr lang="en-US" sz="1200" spc="-5" dirty="0">
                          <a:solidFill>
                            <a:srgbClr val="344451"/>
                          </a:solidFill>
                          <a:latin typeface="Arial"/>
                          <a:cs typeface="Arial"/>
                        </a:rPr>
                        <a:t> </a:t>
                      </a:r>
                      <a:r>
                        <a:rPr lang="en-US" sz="1200" dirty="0">
                          <a:solidFill>
                            <a:srgbClr val="344451"/>
                          </a:solidFill>
                          <a:latin typeface="Arial"/>
                          <a:cs typeface="Arial"/>
                        </a:rPr>
                        <a:t>HBV</a:t>
                      </a:r>
                      <a:r>
                        <a:rPr lang="en-US" sz="1200" spc="-15" dirty="0">
                          <a:solidFill>
                            <a:srgbClr val="344451"/>
                          </a:solidFill>
                          <a:latin typeface="Arial"/>
                          <a:cs typeface="Arial"/>
                        </a:rPr>
                        <a:t> </a:t>
                      </a:r>
                      <a:r>
                        <a:rPr lang="en-US" sz="1200" dirty="0">
                          <a:solidFill>
                            <a:srgbClr val="344451"/>
                          </a:solidFill>
                          <a:latin typeface="Arial"/>
                          <a:cs typeface="Arial"/>
                        </a:rPr>
                        <a:t>or</a:t>
                      </a:r>
                      <a:r>
                        <a:rPr lang="en-US" sz="1200" spc="-10" dirty="0">
                          <a:solidFill>
                            <a:srgbClr val="344451"/>
                          </a:solidFill>
                          <a:latin typeface="Arial"/>
                          <a:cs typeface="Arial"/>
                        </a:rPr>
                        <a:t> </a:t>
                      </a:r>
                      <a:r>
                        <a:rPr lang="en-US" sz="1200" dirty="0">
                          <a:solidFill>
                            <a:srgbClr val="344451"/>
                          </a:solidFill>
                          <a:latin typeface="Arial"/>
                          <a:cs typeface="Arial"/>
                        </a:rPr>
                        <a:t>HCV</a:t>
                      </a:r>
                      <a:r>
                        <a:rPr lang="en-US" sz="1200" spc="-15" dirty="0">
                          <a:solidFill>
                            <a:srgbClr val="344451"/>
                          </a:solidFill>
                          <a:latin typeface="Arial"/>
                          <a:cs typeface="Arial"/>
                        </a:rPr>
                        <a:t> </a:t>
                      </a:r>
                      <a:r>
                        <a:rPr lang="en-US" sz="1200" dirty="0">
                          <a:solidFill>
                            <a:srgbClr val="344451"/>
                          </a:solidFill>
                          <a:latin typeface="Arial"/>
                          <a:cs typeface="Arial"/>
                        </a:rPr>
                        <a:t>are</a:t>
                      </a:r>
                      <a:r>
                        <a:rPr lang="en-US" sz="1200" spc="-10" dirty="0">
                          <a:solidFill>
                            <a:srgbClr val="344451"/>
                          </a:solidFill>
                          <a:latin typeface="Arial"/>
                          <a:cs typeface="Arial"/>
                        </a:rPr>
                        <a:t> eligible </a:t>
                      </a:r>
                      <a:r>
                        <a:rPr lang="en-US" sz="1200" dirty="0">
                          <a:solidFill>
                            <a:srgbClr val="344451"/>
                          </a:solidFill>
                          <a:latin typeface="Arial"/>
                          <a:cs typeface="Arial"/>
                        </a:rPr>
                        <a:t>to</a:t>
                      </a:r>
                      <a:r>
                        <a:rPr lang="en-US" sz="1200" spc="-20" dirty="0">
                          <a:solidFill>
                            <a:srgbClr val="344451"/>
                          </a:solidFill>
                          <a:latin typeface="Arial"/>
                          <a:cs typeface="Arial"/>
                        </a:rPr>
                        <a:t> </a:t>
                      </a:r>
                      <a:r>
                        <a:rPr lang="en-US" sz="1200" dirty="0">
                          <a:solidFill>
                            <a:srgbClr val="344451"/>
                          </a:solidFill>
                          <a:latin typeface="Arial"/>
                          <a:cs typeface="Arial"/>
                        </a:rPr>
                        <a:t>enroll</a:t>
                      </a:r>
                      <a:r>
                        <a:rPr lang="en-US" sz="1200" spc="-35" dirty="0">
                          <a:solidFill>
                            <a:srgbClr val="344451"/>
                          </a:solidFill>
                          <a:latin typeface="Arial"/>
                          <a:cs typeface="Arial"/>
                        </a:rPr>
                        <a:t> </a:t>
                      </a:r>
                      <a:r>
                        <a:rPr lang="en-US" sz="1200" dirty="0">
                          <a:solidFill>
                            <a:srgbClr val="344451"/>
                          </a:solidFill>
                          <a:latin typeface="Arial"/>
                          <a:cs typeface="Arial"/>
                        </a:rPr>
                        <a:t>with</a:t>
                      </a:r>
                      <a:r>
                        <a:rPr lang="en-US" sz="1200" spc="-10" dirty="0">
                          <a:solidFill>
                            <a:srgbClr val="344451"/>
                          </a:solidFill>
                          <a:latin typeface="Arial"/>
                          <a:cs typeface="Arial"/>
                        </a:rPr>
                        <a:t> </a:t>
                      </a:r>
                      <a:r>
                        <a:rPr lang="en-US" sz="1200" dirty="0">
                          <a:solidFill>
                            <a:srgbClr val="344451"/>
                          </a:solidFill>
                          <a:latin typeface="Arial"/>
                          <a:cs typeface="Arial"/>
                        </a:rPr>
                        <a:t>an</a:t>
                      </a:r>
                      <a:r>
                        <a:rPr lang="en-US" sz="1200" spc="-15" dirty="0">
                          <a:solidFill>
                            <a:srgbClr val="344451"/>
                          </a:solidFill>
                          <a:latin typeface="Arial"/>
                          <a:cs typeface="Arial"/>
                        </a:rPr>
                        <a:t> </a:t>
                      </a:r>
                      <a:r>
                        <a:rPr lang="en-US" sz="1200" dirty="0">
                          <a:solidFill>
                            <a:srgbClr val="344451"/>
                          </a:solidFill>
                          <a:latin typeface="Arial"/>
                          <a:cs typeface="Arial"/>
                        </a:rPr>
                        <a:t>undetectable</a:t>
                      </a:r>
                      <a:r>
                        <a:rPr lang="en-US" sz="1200" spc="-60" dirty="0">
                          <a:solidFill>
                            <a:srgbClr val="344451"/>
                          </a:solidFill>
                          <a:latin typeface="Arial"/>
                          <a:cs typeface="Arial"/>
                        </a:rPr>
                        <a:t> </a:t>
                      </a:r>
                      <a:r>
                        <a:rPr lang="en-US" sz="1200" dirty="0">
                          <a:solidFill>
                            <a:srgbClr val="344451"/>
                          </a:solidFill>
                          <a:latin typeface="Arial"/>
                          <a:cs typeface="Arial"/>
                        </a:rPr>
                        <a:t>viral</a:t>
                      </a:r>
                      <a:r>
                        <a:rPr lang="en-US" sz="1200" spc="-10" dirty="0">
                          <a:solidFill>
                            <a:srgbClr val="344451"/>
                          </a:solidFill>
                          <a:latin typeface="Arial"/>
                          <a:cs typeface="Arial"/>
                        </a:rPr>
                        <a:t> </a:t>
                      </a:r>
                      <a:r>
                        <a:rPr lang="en-US" sz="1200" spc="-20" dirty="0">
                          <a:solidFill>
                            <a:srgbClr val="344451"/>
                          </a:solidFill>
                          <a:latin typeface="Arial"/>
                          <a:cs typeface="Arial"/>
                        </a:rPr>
                        <a:t>load</a:t>
                      </a:r>
                      <a:endParaRPr lang="en-US" sz="1200" dirty="0">
                        <a:latin typeface="Arial"/>
                        <a:cs typeface="Arial"/>
                      </a:endParaRPr>
                    </a:p>
                    <a:p>
                      <a:pPr marL="835025" lvl="1" indent="-287020">
                        <a:lnSpc>
                          <a:spcPct val="100000"/>
                        </a:lnSpc>
                        <a:spcBef>
                          <a:spcPts val="295"/>
                        </a:spcBef>
                        <a:buChar char="–"/>
                        <a:tabLst>
                          <a:tab pos="835025" algn="l"/>
                        </a:tabLst>
                      </a:pPr>
                      <a:r>
                        <a:rPr lang="en-US" sz="1200" dirty="0">
                          <a:solidFill>
                            <a:srgbClr val="344451"/>
                          </a:solidFill>
                          <a:latin typeface="Arial"/>
                          <a:cs typeface="Arial"/>
                        </a:rPr>
                        <a:t>If</a:t>
                      </a:r>
                      <a:r>
                        <a:rPr lang="en-US" sz="1200" spc="-15" dirty="0">
                          <a:solidFill>
                            <a:srgbClr val="344451"/>
                          </a:solidFill>
                          <a:latin typeface="Arial"/>
                          <a:cs typeface="Arial"/>
                        </a:rPr>
                        <a:t> </a:t>
                      </a:r>
                      <a:r>
                        <a:rPr lang="en-US" sz="1200" dirty="0">
                          <a:solidFill>
                            <a:srgbClr val="344451"/>
                          </a:solidFill>
                          <a:latin typeface="Arial"/>
                          <a:cs typeface="Arial"/>
                        </a:rPr>
                        <a:t>seropositive</a:t>
                      </a:r>
                      <a:r>
                        <a:rPr lang="en-US" sz="1200" spc="-35" dirty="0">
                          <a:solidFill>
                            <a:srgbClr val="344451"/>
                          </a:solidFill>
                          <a:latin typeface="Arial"/>
                          <a:cs typeface="Arial"/>
                        </a:rPr>
                        <a:t> </a:t>
                      </a:r>
                      <a:r>
                        <a:rPr lang="en-US" sz="1200" dirty="0">
                          <a:solidFill>
                            <a:srgbClr val="344451"/>
                          </a:solidFill>
                          <a:latin typeface="Arial"/>
                          <a:cs typeface="Arial"/>
                        </a:rPr>
                        <a:t>for</a:t>
                      </a:r>
                      <a:r>
                        <a:rPr lang="en-US" sz="1200" spc="-30" dirty="0">
                          <a:solidFill>
                            <a:srgbClr val="344451"/>
                          </a:solidFill>
                          <a:latin typeface="Arial"/>
                          <a:cs typeface="Arial"/>
                        </a:rPr>
                        <a:t> </a:t>
                      </a:r>
                      <a:r>
                        <a:rPr lang="en-US" sz="1200" spc="-10" dirty="0">
                          <a:solidFill>
                            <a:srgbClr val="344451"/>
                          </a:solidFill>
                          <a:latin typeface="Arial"/>
                          <a:cs typeface="Arial"/>
                        </a:rPr>
                        <a:t>HBV,</a:t>
                      </a:r>
                      <a:r>
                        <a:rPr lang="en-US" sz="1200" spc="-15" baseline="24305" dirty="0">
                          <a:solidFill>
                            <a:srgbClr val="344451"/>
                          </a:solidFill>
                          <a:latin typeface="Arial"/>
                          <a:cs typeface="Arial"/>
                        </a:rPr>
                        <a:t>a</a:t>
                      </a:r>
                      <a:r>
                        <a:rPr lang="en-US" sz="1200" spc="120" baseline="24305" dirty="0">
                          <a:solidFill>
                            <a:srgbClr val="344451"/>
                          </a:solidFill>
                          <a:latin typeface="Arial"/>
                          <a:cs typeface="Arial"/>
                        </a:rPr>
                        <a:t> </a:t>
                      </a:r>
                      <a:r>
                        <a:rPr lang="en-US" sz="1200" dirty="0">
                          <a:solidFill>
                            <a:srgbClr val="344451"/>
                          </a:solidFill>
                          <a:latin typeface="Arial"/>
                          <a:cs typeface="Arial"/>
                        </a:rPr>
                        <a:t>patients</a:t>
                      </a:r>
                      <a:r>
                        <a:rPr lang="en-US" sz="1200" spc="-50" dirty="0">
                          <a:solidFill>
                            <a:srgbClr val="344451"/>
                          </a:solidFill>
                          <a:latin typeface="Arial"/>
                          <a:cs typeface="Arial"/>
                        </a:rPr>
                        <a:t> </a:t>
                      </a:r>
                      <a:r>
                        <a:rPr lang="en-US" sz="1200" dirty="0">
                          <a:solidFill>
                            <a:srgbClr val="344451"/>
                          </a:solidFill>
                          <a:latin typeface="Arial"/>
                          <a:cs typeface="Arial"/>
                        </a:rPr>
                        <a:t>are</a:t>
                      </a:r>
                      <a:r>
                        <a:rPr lang="en-US" sz="1200" spc="-25" dirty="0">
                          <a:solidFill>
                            <a:srgbClr val="344451"/>
                          </a:solidFill>
                          <a:latin typeface="Arial"/>
                          <a:cs typeface="Arial"/>
                        </a:rPr>
                        <a:t> </a:t>
                      </a:r>
                      <a:r>
                        <a:rPr lang="en-US" sz="1200" dirty="0">
                          <a:solidFill>
                            <a:srgbClr val="344451"/>
                          </a:solidFill>
                          <a:latin typeface="Arial"/>
                          <a:cs typeface="Arial"/>
                        </a:rPr>
                        <a:t>eligible</a:t>
                      </a:r>
                      <a:r>
                        <a:rPr lang="en-US" sz="1200" spc="-35" dirty="0">
                          <a:solidFill>
                            <a:srgbClr val="344451"/>
                          </a:solidFill>
                          <a:latin typeface="Arial"/>
                          <a:cs typeface="Arial"/>
                        </a:rPr>
                        <a:t> </a:t>
                      </a:r>
                      <a:r>
                        <a:rPr lang="en-US" sz="1200" dirty="0">
                          <a:solidFill>
                            <a:srgbClr val="344451"/>
                          </a:solidFill>
                          <a:latin typeface="Arial"/>
                          <a:cs typeface="Arial"/>
                        </a:rPr>
                        <a:t>if</a:t>
                      </a:r>
                      <a:r>
                        <a:rPr lang="en-US" sz="1200" spc="-10" dirty="0">
                          <a:solidFill>
                            <a:srgbClr val="344451"/>
                          </a:solidFill>
                          <a:latin typeface="Arial"/>
                          <a:cs typeface="Arial"/>
                        </a:rPr>
                        <a:t> </a:t>
                      </a:r>
                      <a:r>
                        <a:rPr lang="en-US" sz="1200" dirty="0">
                          <a:solidFill>
                            <a:srgbClr val="344451"/>
                          </a:solidFill>
                          <a:latin typeface="Arial"/>
                          <a:cs typeface="Arial"/>
                        </a:rPr>
                        <a:t>HBsAg</a:t>
                      </a:r>
                      <a:r>
                        <a:rPr lang="en-US" sz="1200" spc="-35" dirty="0">
                          <a:solidFill>
                            <a:srgbClr val="344451"/>
                          </a:solidFill>
                          <a:latin typeface="Arial"/>
                          <a:cs typeface="Arial"/>
                        </a:rPr>
                        <a:t> </a:t>
                      </a:r>
                      <a:r>
                        <a:rPr lang="en-US" sz="1200" spc="-10" dirty="0">
                          <a:solidFill>
                            <a:srgbClr val="344451"/>
                          </a:solidFill>
                          <a:latin typeface="Arial"/>
                          <a:cs typeface="Arial"/>
                        </a:rPr>
                        <a:t>negative</a:t>
                      </a:r>
                      <a:endParaRPr lang="en-US" sz="1200" dirty="0">
                        <a:latin typeface="Arial"/>
                        <a:cs typeface="Arial"/>
                      </a:endParaRPr>
                    </a:p>
                    <a:p>
                      <a:pPr marL="377825" marR="227965" indent="-287020">
                        <a:lnSpc>
                          <a:spcPct val="100000"/>
                        </a:lnSpc>
                        <a:spcBef>
                          <a:spcPts val="305"/>
                        </a:spcBef>
                        <a:buChar char="•"/>
                        <a:tabLst>
                          <a:tab pos="377825" algn="l"/>
                        </a:tabLst>
                      </a:pPr>
                      <a:r>
                        <a:rPr lang="en-US" sz="1200" dirty="0">
                          <a:solidFill>
                            <a:srgbClr val="344451"/>
                          </a:solidFill>
                          <a:latin typeface="Arial"/>
                          <a:cs typeface="Arial"/>
                        </a:rPr>
                        <a:t>History</a:t>
                      </a:r>
                      <a:r>
                        <a:rPr lang="en-US" sz="1200" spc="-10" dirty="0">
                          <a:solidFill>
                            <a:srgbClr val="344451"/>
                          </a:solidFill>
                          <a:latin typeface="Arial"/>
                          <a:cs typeface="Arial"/>
                        </a:rPr>
                        <a:t> </a:t>
                      </a:r>
                      <a:r>
                        <a:rPr lang="en-US" sz="1200" dirty="0">
                          <a:solidFill>
                            <a:srgbClr val="344451"/>
                          </a:solidFill>
                          <a:latin typeface="Arial"/>
                          <a:cs typeface="Arial"/>
                        </a:rPr>
                        <a:t>or</a:t>
                      </a:r>
                      <a:r>
                        <a:rPr lang="en-US" sz="1200" spc="-25" dirty="0">
                          <a:solidFill>
                            <a:srgbClr val="344451"/>
                          </a:solidFill>
                          <a:latin typeface="Arial"/>
                          <a:cs typeface="Arial"/>
                        </a:rPr>
                        <a:t> </a:t>
                      </a:r>
                      <a:r>
                        <a:rPr lang="en-US" sz="1200" dirty="0">
                          <a:solidFill>
                            <a:srgbClr val="344451"/>
                          </a:solidFill>
                          <a:latin typeface="Arial"/>
                          <a:cs typeface="Arial"/>
                        </a:rPr>
                        <a:t>presence</a:t>
                      </a:r>
                      <a:r>
                        <a:rPr lang="en-US" sz="1200" spc="-35" dirty="0">
                          <a:solidFill>
                            <a:srgbClr val="344451"/>
                          </a:solidFill>
                          <a:latin typeface="Arial"/>
                          <a:cs typeface="Arial"/>
                        </a:rPr>
                        <a:t> </a:t>
                      </a:r>
                      <a:r>
                        <a:rPr lang="en-US" sz="1200" dirty="0">
                          <a:solidFill>
                            <a:srgbClr val="344451"/>
                          </a:solidFill>
                          <a:latin typeface="Arial"/>
                          <a:cs typeface="Arial"/>
                        </a:rPr>
                        <a:t>of</a:t>
                      </a:r>
                      <a:r>
                        <a:rPr lang="en-US" sz="1200" spc="-20" dirty="0">
                          <a:solidFill>
                            <a:srgbClr val="344451"/>
                          </a:solidFill>
                          <a:latin typeface="Arial"/>
                          <a:cs typeface="Arial"/>
                        </a:rPr>
                        <a:t> </a:t>
                      </a:r>
                      <a:r>
                        <a:rPr lang="en-US" sz="1200" dirty="0">
                          <a:solidFill>
                            <a:srgbClr val="344451"/>
                          </a:solidFill>
                          <a:latin typeface="Arial"/>
                          <a:cs typeface="Arial"/>
                        </a:rPr>
                        <a:t>a</a:t>
                      </a:r>
                      <a:r>
                        <a:rPr lang="en-US" sz="1200" spc="-5" dirty="0">
                          <a:solidFill>
                            <a:srgbClr val="344451"/>
                          </a:solidFill>
                          <a:latin typeface="Arial"/>
                          <a:cs typeface="Arial"/>
                        </a:rPr>
                        <a:t> </a:t>
                      </a:r>
                      <a:r>
                        <a:rPr lang="en-US" sz="1200" dirty="0">
                          <a:solidFill>
                            <a:srgbClr val="344451"/>
                          </a:solidFill>
                          <a:latin typeface="Arial"/>
                          <a:cs typeface="Arial"/>
                        </a:rPr>
                        <a:t>CNS</a:t>
                      </a:r>
                      <a:r>
                        <a:rPr lang="en-US" sz="1200" spc="-15" dirty="0">
                          <a:solidFill>
                            <a:srgbClr val="344451"/>
                          </a:solidFill>
                          <a:latin typeface="Arial"/>
                          <a:cs typeface="Arial"/>
                        </a:rPr>
                        <a:t> </a:t>
                      </a:r>
                      <a:r>
                        <a:rPr lang="en-US" sz="1200" dirty="0">
                          <a:solidFill>
                            <a:srgbClr val="344451"/>
                          </a:solidFill>
                          <a:latin typeface="Arial"/>
                          <a:cs typeface="Arial"/>
                        </a:rPr>
                        <a:t>disorder;</a:t>
                      </a:r>
                      <a:r>
                        <a:rPr lang="en-US" sz="1200" spc="-30" dirty="0">
                          <a:solidFill>
                            <a:srgbClr val="344451"/>
                          </a:solidFill>
                          <a:latin typeface="Arial"/>
                          <a:cs typeface="Arial"/>
                        </a:rPr>
                        <a:t> </a:t>
                      </a:r>
                      <a:r>
                        <a:rPr lang="en-US" sz="1200" dirty="0">
                          <a:solidFill>
                            <a:srgbClr val="344451"/>
                          </a:solidFill>
                          <a:latin typeface="Arial"/>
                          <a:cs typeface="Arial"/>
                        </a:rPr>
                        <a:t>known</a:t>
                      </a:r>
                      <a:r>
                        <a:rPr lang="en-US" sz="1200" spc="-25" dirty="0">
                          <a:solidFill>
                            <a:srgbClr val="344451"/>
                          </a:solidFill>
                          <a:latin typeface="Arial"/>
                          <a:cs typeface="Arial"/>
                        </a:rPr>
                        <a:t> </a:t>
                      </a:r>
                      <a:r>
                        <a:rPr lang="en-US" sz="1200" dirty="0">
                          <a:solidFill>
                            <a:srgbClr val="344451"/>
                          </a:solidFill>
                          <a:latin typeface="Arial"/>
                          <a:cs typeface="Arial"/>
                        </a:rPr>
                        <a:t>history</a:t>
                      </a:r>
                      <a:r>
                        <a:rPr lang="en-US" sz="1200" spc="-20" dirty="0">
                          <a:solidFill>
                            <a:srgbClr val="344451"/>
                          </a:solidFill>
                          <a:latin typeface="Arial"/>
                          <a:cs typeface="Arial"/>
                        </a:rPr>
                        <a:t> </a:t>
                      </a:r>
                      <a:r>
                        <a:rPr lang="en-US" sz="1200" dirty="0">
                          <a:solidFill>
                            <a:srgbClr val="344451"/>
                          </a:solidFill>
                          <a:latin typeface="Arial"/>
                          <a:cs typeface="Arial"/>
                        </a:rPr>
                        <a:t>or</a:t>
                      </a:r>
                      <a:r>
                        <a:rPr lang="en-US" sz="1200" spc="-15" dirty="0">
                          <a:solidFill>
                            <a:srgbClr val="344451"/>
                          </a:solidFill>
                          <a:latin typeface="Arial"/>
                          <a:cs typeface="Arial"/>
                        </a:rPr>
                        <a:t> </a:t>
                      </a:r>
                      <a:r>
                        <a:rPr lang="en-US" sz="1200" dirty="0">
                          <a:solidFill>
                            <a:srgbClr val="344451"/>
                          </a:solidFill>
                          <a:latin typeface="Arial"/>
                          <a:cs typeface="Arial"/>
                        </a:rPr>
                        <a:t>presence</a:t>
                      </a:r>
                      <a:r>
                        <a:rPr lang="en-US" sz="1200" spc="-50" dirty="0">
                          <a:solidFill>
                            <a:srgbClr val="344451"/>
                          </a:solidFill>
                          <a:latin typeface="Arial"/>
                          <a:cs typeface="Arial"/>
                        </a:rPr>
                        <a:t> </a:t>
                      </a:r>
                      <a:r>
                        <a:rPr lang="en-US" sz="1200" spc="-25" dirty="0">
                          <a:solidFill>
                            <a:srgbClr val="344451"/>
                          </a:solidFill>
                          <a:latin typeface="Arial"/>
                          <a:cs typeface="Arial"/>
                        </a:rPr>
                        <a:t>of </a:t>
                      </a:r>
                      <a:r>
                        <a:rPr lang="en-US" sz="1200" dirty="0">
                          <a:solidFill>
                            <a:srgbClr val="344451"/>
                          </a:solidFill>
                          <a:latin typeface="Arial"/>
                          <a:cs typeface="Arial"/>
                        </a:rPr>
                        <a:t>CNS</a:t>
                      </a:r>
                      <a:r>
                        <a:rPr lang="en-US" sz="1200" spc="-10" dirty="0">
                          <a:solidFill>
                            <a:srgbClr val="344451"/>
                          </a:solidFill>
                          <a:latin typeface="Arial"/>
                          <a:cs typeface="Arial"/>
                        </a:rPr>
                        <a:t> </a:t>
                      </a:r>
                      <a:r>
                        <a:rPr lang="en-US" sz="1200" dirty="0">
                          <a:solidFill>
                            <a:srgbClr val="344451"/>
                          </a:solidFill>
                          <a:latin typeface="Arial"/>
                          <a:cs typeface="Arial"/>
                        </a:rPr>
                        <a:t>lymphoma</a:t>
                      </a:r>
                      <a:r>
                        <a:rPr lang="en-US" sz="1200" spc="-60" dirty="0">
                          <a:solidFill>
                            <a:srgbClr val="344451"/>
                          </a:solidFill>
                          <a:latin typeface="Arial"/>
                          <a:cs typeface="Arial"/>
                        </a:rPr>
                        <a:t> </a:t>
                      </a:r>
                      <a:r>
                        <a:rPr lang="en-US" sz="1200" spc="-10" dirty="0">
                          <a:solidFill>
                            <a:srgbClr val="344451"/>
                          </a:solidFill>
                          <a:latin typeface="Arial"/>
                          <a:cs typeface="Arial"/>
                        </a:rPr>
                        <a:t>involvement</a:t>
                      </a:r>
                      <a:r>
                        <a:rPr lang="en-US" sz="1200" spc="-15" baseline="24305" dirty="0">
                          <a:solidFill>
                            <a:srgbClr val="344451"/>
                          </a:solidFill>
                          <a:latin typeface="Arial"/>
                          <a:cs typeface="Arial"/>
                        </a:rPr>
                        <a:t>1</a:t>
                      </a:r>
                      <a:endParaRPr lang="en-US" sz="1200" baseline="24305" dirty="0">
                        <a:latin typeface="Arial"/>
                        <a:cs typeface="Arial"/>
                      </a:endParaRPr>
                    </a:p>
                    <a:p>
                      <a:pPr marL="377825" indent="-287020">
                        <a:lnSpc>
                          <a:spcPct val="100000"/>
                        </a:lnSpc>
                        <a:spcBef>
                          <a:spcPts val="295"/>
                        </a:spcBef>
                        <a:buChar char="•"/>
                        <a:tabLst>
                          <a:tab pos="377825" algn="l"/>
                        </a:tabLst>
                      </a:pPr>
                      <a:r>
                        <a:rPr lang="en-US" sz="1200" dirty="0">
                          <a:solidFill>
                            <a:srgbClr val="344451"/>
                          </a:solidFill>
                          <a:latin typeface="Arial"/>
                          <a:cs typeface="Arial"/>
                        </a:rPr>
                        <a:t>History</a:t>
                      </a:r>
                      <a:r>
                        <a:rPr lang="en-US" sz="1200" spc="-20" dirty="0">
                          <a:solidFill>
                            <a:srgbClr val="344451"/>
                          </a:solidFill>
                          <a:latin typeface="Arial"/>
                          <a:cs typeface="Arial"/>
                        </a:rPr>
                        <a:t> </a:t>
                      </a:r>
                      <a:r>
                        <a:rPr lang="en-US" sz="1200" dirty="0">
                          <a:solidFill>
                            <a:srgbClr val="344451"/>
                          </a:solidFill>
                          <a:latin typeface="Arial"/>
                          <a:cs typeface="Arial"/>
                        </a:rPr>
                        <a:t>of</a:t>
                      </a:r>
                      <a:r>
                        <a:rPr lang="en-US" sz="1200" spc="-25" dirty="0">
                          <a:solidFill>
                            <a:srgbClr val="344451"/>
                          </a:solidFill>
                          <a:latin typeface="Arial"/>
                          <a:cs typeface="Arial"/>
                        </a:rPr>
                        <a:t> </a:t>
                      </a:r>
                      <a:r>
                        <a:rPr lang="en-US" sz="1200" spc="-20" dirty="0">
                          <a:solidFill>
                            <a:srgbClr val="344451"/>
                          </a:solidFill>
                          <a:latin typeface="Arial"/>
                          <a:cs typeface="Arial"/>
                        </a:rPr>
                        <a:t>:</a:t>
                      </a:r>
                      <a:r>
                        <a:rPr lang="en-US" sz="1200" spc="-30" baseline="24305" dirty="0">
                          <a:solidFill>
                            <a:srgbClr val="344451"/>
                          </a:solidFill>
                          <a:latin typeface="Arial"/>
                          <a:cs typeface="Arial"/>
                        </a:rPr>
                        <a:t>1,2</a:t>
                      </a:r>
                      <a:endParaRPr lang="en-US" sz="1200" baseline="24305" dirty="0">
                        <a:latin typeface="Arial"/>
                        <a:cs typeface="Arial"/>
                      </a:endParaRPr>
                    </a:p>
                    <a:p>
                      <a:pPr marL="835025" lvl="1" indent="-286385">
                        <a:lnSpc>
                          <a:spcPct val="100000"/>
                        </a:lnSpc>
                        <a:spcBef>
                          <a:spcPts val="300"/>
                        </a:spcBef>
                        <a:buChar char="–"/>
                        <a:tabLst>
                          <a:tab pos="835025" algn="l"/>
                        </a:tabLst>
                      </a:pPr>
                      <a:r>
                        <a:rPr lang="en-US" sz="1200" dirty="0">
                          <a:solidFill>
                            <a:srgbClr val="344451"/>
                          </a:solidFill>
                          <a:latin typeface="Arial"/>
                          <a:cs typeface="Arial"/>
                        </a:rPr>
                        <a:t>Clinically</a:t>
                      </a:r>
                      <a:r>
                        <a:rPr lang="en-US" sz="1200" spc="-35" dirty="0">
                          <a:solidFill>
                            <a:srgbClr val="344451"/>
                          </a:solidFill>
                          <a:latin typeface="Arial"/>
                          <a:cs typeface="Arial"/>
                        </a:rPr>
                        <a:t> </a:t>
                      </a:r>
                      <a:r>
                        <a:rPr lang="en-US" sz="1200" dirty="0">
                          <a:solidFill>
                            <a:srgbClr val="344451"/>
                          </a:solidFill>
                          <a:latin typeface="Arial"/>
                          <a:cs typeface="Arial"/>
                        </a:rPr>
                        <a:t>significant</a:t>
                      </a:r>
                      <a:r>
                        <a:rPr lang="en-US" sz="1200" spc="-30" dirty="0">
                          <a:solidFill>
                            <a:srgbClr val="344451"/>
                          </a:solidFill>
                          <a:latin typeface="Arial"/>
                          <a:cs typeface="Arial"/>
                        </a:rPr>
                        <a:t> </a:t>
                      </a:r>
                      <a:r>
                        <a:rPr lang="en-US" sz="1200" dirty="0">
                          <a:solidFill>
                            <a:srgbClr val="344451"/>
                          </a:solidFill>
                          <a:latin typeface="Arial"/>
                          <a:cs typeface="Arial"/>
                        </a:rPr>
                        <a:t>cardiac</a:t>
                      </a:r>
                      <a:r>
                        <a:rPr lang="en-US" sz="1200" spc="-35" dirty="0">
                          <a:solidFill>
                            <a:srgbClr val="344451"/>
                          </a:solidFill>
                          <a:latin typeface="Arial"/>
                          <a:cs typeface="Arial"/>
                        </a:rPr>
                        <a:t> </a:t>
                      </a:r>
                      <a:r>
                        <a:rPr lang="en-US" sz="1200" dirty="0">
                          <a:solidFill>
                            <a:srgbClr val="344451"/>
                          </a:solidFill>
                          <a:latin typeface="Arial"/>
                          <a:cs typeface="Arial"/>
                        </a:rPr>
                        <a:t>disease</a:t>
                      </a:r>
                      <a:r>
                        <a:rPr lang="en-US" sz="1200" spc="-55" dirty="0">
                          <a:solidFill>
                            <a:srgbClr val="344451"/>
                          </a:solidFill>
                          <a:latin typeface="Arial"/>
                          <a:cs typeface="Arial"/>
                        </a:rPr>
                        <a:t> </a:t>
                      </a:r>
                      <a:r>
                        <a:rPr lang="en-US" sz="1200" dirty="0">
                          <a:solidFill>
                            <a:srgbClr val="344451"/>
                          </a:solidFill>
                          <a:latin typeface="Arial"/>
                          <a:cs typeface="Arial"/>
                        </a:rPr>
                        <a:t>≤6</a:t>
                      </a:r>
                      <a:r>
                        <a:rPr lang="en-US" sz="1200" spc="-5" dirty="0">
                          <a:solidFill>
                            <a:srgbClr val="344451"/>
                          </a:solidFill>
                          <a:latin typeface="Arial"/>
                          <a:cs typeface="Arial"/>
                        </a:rPr>
                        <a:t> </a:t>
                      </a:r>
                      <a:r>
                        <a:rPr lang="en-US" sz="1200" dirty="0">
                          <a:solidFill>
                            <a:srgbClr val="344451"/>
                          </a:solidFill>
                          <a:latin typeface="Arial"/>
                          <a:cs typeface="Arial"/>
                        </a:rPr>
                        <a:t>months</a:t>
                      </a:r>
                      <a:r>
                        <a:rPr lang="en-US" sz="1200" spc="-45" dirty="0">
                          <a:solidFill>
                            <a:srgbClr val="344451"/>
                          </a:solidFill>
                          <a:latin typeface="Arial"/>
                          <a:cs typeface="Arial"/>
                        </a:rPr>
                        <a:t> </a:t>
                      </a:r>
                      <a:r>
                        <a:rPr lang="en-US" sz="1200" dirty="0">
                          <a:solidFill>
                            <a:srgbClr val="344451"/>
                          </a:solidFill>
                          <a:latin typeface="Arial"/>
                          <a:cs typeface="Arial"/>
                        </a:rPr>
                        <a:t>of</a:t>
                      </a:r>
                      <a:r>
                        <a:rPr lang="en-US" sz="1200" spc="-5" dirty="0">
                          <a:solidFill>
                            <a:srgbClr val="344451"/>
                          </a:solidFill>
                          <a:latin typeface="Arial"/>
                          <a:cs typeface="Arial"/>
                        </a:rPr>
                        <a:t> </a:t>
                      </a:r>
                      <a:r>
                        <a:rPr lang="en-US" sz="1200" spc="-10" dirty="0">
                          <a:solidFill>
                            <a:srgbClr val="344451"/>
                          </a:solidFill>
                          <a:latin typeface="Arial"/>
                          <a:cs typeface="Arial"/>
                        </a:rPr>
                        <a:t>randomization</a:t>
                      </a:r>
                      <a:endParaRPr lang="en-US" sz="1200" dirty="0">
                        <a:latin typeface="Arial"/>
                        <a:cs typeface="Arial"/>
                      </a:endParaRPr>
                    </a:p>
                    <a:p>
                      <a:pPr marL="835025" marR="136525" lvl="1" indent="-287020">
                        <a:lnSpc>
                          <a:spcPct val="100000"/>
                        </a:lnSpc>
                        <a:spcBef>
                          <a:spcPts val="305"/>
                        </a:spcBef>
                        <a:buChar char="–"/>
                        <a:tabLst>
                          <a:tab pos="835025" algn="l"/>
                        </a:tabLst>
                      </a:pPr>
                      <a:r>
                        <a:rPr lang="en-US" sz="1200" dirty="0">
                          <a:solidFill>
                            <a:srgbClr val="344451"/>
                          </a:solidFill>
                          <a:latin typeface="Arial"/>
                          <a:cs typeface="Arial"/>
                        </a:rPr>
                        <a:t>Autoimmune</a:t>
                      </a:r>
                      <a:r>
                        <a:rPr lang="en-US" sz="1200" spc="-60" dirty="0">
                          <a:solidFill>
                            <a:srgbClr val="344451"/>
                          </a:solidFill>
                          <a:latin typeface="Arial"/>
                          <a:cs typeface="Arial"/>
                        </a:rPr>
                        <a:t> </a:t>
                      </a:r>
                      <a:r>
                        <a:rPr lang="en-US" sz="1200" dirty="0">
                          <a:solidFill>
                            <a:srgbClr val="344451"/>
                          </a:solidFill>
                          <a:latin typeface="Arial"/>
                          <a:cs typeface="Arial"/>
                        </a:rPr>
                        <a:t>disease</a:t>
                      </a:r>
                      <a:r>
                        <a:rPr lang="en-US" sz="1200" spc="-50" dirty="0">
                          <a:solidFill>
                            <a:srgbClr val="344451"/>
                          </a:solidFill>
                          <a:latin typeface="Arial"/>
                          <a:cs typeface="Arial"/>
                        </a:rPr>
                        <a:t> </a:t>
                      </a:r>
                      <a:r>
                        <a:rPr lang="en-US" sz="1200" dirty="0">
                          <a:solidFill>
                            <a:srgbClr val="344451"/>
                          </a:solidFill>
                          <a:latin typeface="Arial"/>
                          <a:cs typeface="Arial"/>
                        </a:rPr>
                        <a:t>resulting</a:t>
                      </a:r>
                      <a:r>
                        <a:rPr lang="en-US" sz="1200" spc="-35" dirty="0">
                          <a:solidFill>
                            <a:srgbClr val="344451"/>
                          </a:solidFill>
                          <a:latin typeface="Arial"/>
                          <a:cs typeface="Arial"/>
                        </a:rPr>
                        <a:t> </a:t>
                      </a:r>
                      <a:r>
                        <a:rPr lang="en-US" sz="1200" dirty="0">
                          <a:solidFill>
                            <a:srgbClr val="344451"/>
                          </a:solidFill>
                          <a:latin typeface="Arial"/>
                          <a:cs typeface="Arial"/>
                        </a:rPr>
                        <a:t>in</a:t>
                      </a:r>
                      <a:r>
                        <a:rPr lang="en-US" sz="1200" spc="-20" dirty="0">
                          <a:solidFill>
                            <a:srgbClr val="344451"/>
                          </a:solidFill>
                          <a:latin typeface="Arial"/>
                          <a:cs typeface="Arial"/>
                        </a:rPr>
                        <a:t> </a:t>
                      </a:r>
                      <a:r>
                        <a:rPr lang="en-US" sz="1200" dirty="0">
                          <a:solidFill>
                            <a:srgbClr val="344451"/>
                          </a:solidFill>
                          <a:latin typeface="Arial"/>
                          <a:cs typeface="Arial"/>
                        </a:rPr>
                        <a:t>or</a:t>
                      </a:r>
                      <a:r>
                        <a:rPr lang="en-US" sz="1200" spc="-30" dirty="0">
                          <a:solidFill>
                            <a:srgbClr val="344451"/>
                          </a:solidFill>
                          <a:latin typeface="Arial"/>
                          <a:cs typeface="Arial"/>
                        </a:rPr>
                        <a:t> </a:t>
                      </a:r>
                      <a:r>
                        <a:rPr lang="en-US" sz="1200" dirty="0">
                          <a:solidFill>
                            <a:srgbClr val="344451"/>
                          </a:solidFill>
                          <a:latin typeface="Arial"/>
                          <a:cs typeface="Arial"/>
                        </a:rPr>
                        <a:t>requiring</a:t>
                      </a:r>
                      <a:r>
                        <a:rPr lang="en-US" sz="1200" spc="-40" dirty="0">
                          <a:solidFill>
                            <a:srgbClr val="344451"/>
                          </a:solidFill>
                          <a:latin typeface="Arial"/>
                          <a:cs typeface="Arial"/>
                        </a:rPr>
                        <a:t> </a:t>
                      </a:r>
                      <a:r>
                        <a:rPr lang="en-US" sz="1200" spc="-10" dirty="0">
                          <a:solidFill>
                            <a:srgbClr val="344451"/>
                          </a:solidFill>
                          <a:latin typeface="Arial"/>
                          <a:cs typeface="Arial"/>
                        </a:rPr>
                        <a:t>systemic immunosuppression</a:t>
                      </a:r>
                      <a:r>
                        <a:rPr lang="en-US" sz="1200" spc="15" dirty="0">
                          <a:solidFill>
                            <a:srgbClr val="344451"/>
                          </a:solidFill>
                          <a:latin typeface="Arial"/>
                          <a:cs typeface="Arial"/>
                        </a:rPr>
                        <a:t> </a:t>
                      </a:r>
                      <a:r>
                        <a:rPr lang="en-US" sz="1200" dirty="0">
                          <a:solidFill>
                            <a:srgbClr val="344451"/>
                          </a:solidFill>
                          <a:latin typeface="Arial"/>
                          <a:cs typeface="Arial"/>
                        </a:rPr>
                        <a:t>and/or</a:t>
                      </a:r>
                      <a:r>
                        <a:rPr lang="en-US" sz="1200" spc="5" dirty="0">
                          <a:solidFill>
                            <a:srgbClr val="344451"/>
                          </a:solidFill>
                          <a:latin typeface="Arial"/>
                          <a:cs typeface="Arial"/>
                        </a:rPr>
                        <a:t> </a:t>
                      </a:r>
                      <a:r>
                        <a:rPr lang="en-US" sz="1200" dirty="0">
                          <a:solidFill>
                            <a:srgbClr val="344451"/>
                          </a:solidFill>
                          <a:latin typeface="Arial"/>
                          <a:cs typeface="Arial"/>
                        </a:rPr>
                        <a:t>systemic</a:t>
                      </a:r>
                      <a:r>
                        <a:rPr lang="en-US" sz="1200" spc="50" dirty="0">
                          <a:solidFill>
                            <a:srgbClr val="344451"/>
                          </a:solidFill>
                          <a:latin typeface="Arial"/>
                          <a:cs typeface="Arial"/>
                        </a:rPr>
                        <a:t> </a:t>
                      </a:r>
                      <a:r>
                        <a:rPr lang="en-US" sz="1200" spc="-10" dirty="0">
                          <a:solidFill>
                            <a:srgbClr val="344451"/>
                          </a:solidFill>
                          <a:latin typeface="Arial"/>
                          <a:cs typeface="Arial"/>
                        </a:rPr>
                        <a:t>disease-modifying</a:t>
                      </a:r>
                      <a:r>
                        <a:rPr lang="en-US" sz="1200" dirty="0">
                          <a:solidFill>
                            <a:srgbClr val="344451"/>
                          </a:solidFill>
                          <a:latin typeface="Arial"/>
                          <a:cs typeface="Arial"/>
                        </a:rPr>
                        <a:t> </a:t>
                      </a:r>
                      <a:r>
                        <a:rPr lang="en-US" sz="1200" spc="-10" dirty="0">
                          <a:solidFill>
                            <a:srgbClr val="344451"/>
                          </a:solidFill>
                          <a:latin typeface="Arial"/>
                          <a:cs typeface="Arial"/>
                        </a:rPr>
                        <a:t>agents </a:t>
                      </a:r>
                      <a:r>
                        <a:rPr lang="en-US" sz="1200" dirty="0">
                          <a:solidFill>
                            <a:srgbClr val="344451"/>
                          </a:solidFill>
                          <a:latin typeface="Arial"/>
                          <a:cs typeface="Arial"/>
                        </a:rPr>
                        <a:t>within</a:t>
                      </a:r>
                      <a:r>
                        <a:rPr lang="en-US" sz="1200" spc="-30" dirty="0">
                          <a:solidFill>
                            <a:srgbClr val="344451"/>
                          </a:solidFill>
                          <a:latin typeface="Arial"/>
                          <a:cs typeface="Arial"/>
                        </a:rPr>
                        <a:t> </a:t>
                      </a:r>
                      <a:r>
                        <a:rPr lang="en-US" sz="1200" dirty="0">
                          <a:solidFill>
                            <a:srgbClr val="344451"/>
                          </a:solidFill>
                          <a:latin typeface="Arial"/>
                          <a:cs typeface="Arial"/>
                        </a:rPr>
                        <a:t>the</a:t>
                      </a:r>
                      <a:r>
                        <a:rPr lang="en-US" sz="1200" spc="-15" dirty="0">
                          <a:solidFill>
                            <a:srgbClr val="344451"/>
                          </a:solidFill>
                          <a:latin typeface="Arial"/>
                          <a:cs typeface="Arial"/>
                        </a:rPr>
                        <a:t> </a:t>
                      </a:r>
                      <a:r>
                        <a:rPr lang="en-US" sz="1200" dirty="0">
                          <a:solidFill>
                            <a:srgbClr val="344451"/>
                          </a:solidFill>
                          <a:latin typeface="Arial"/>
                          <a:cs typeface="Arial"/>
                        </a:rPr>
                        <a:t>last</a:t>
                      </a:r>
                      <a:r>
                        <a:rPr lang="en-US" sz="1200" spc="-20" dirty="0">
                          <a:solidFill>
                            <a:srgbClr val="344451"/>
                          </a:solidFill>
                          <a:latin typeface="Arial"/>
                          <a:cs typeface="Arial"/>
                        </a:rPr>
                        <a:t> </a:t>
                      </a:r>
                      <a:r>
                        <a:rPr lang="en-US" sz="1200" dirty="0">
                          <a:solidFill>
                            <a:srgbClr val="344451"/>
                          </a:solidFill>
                          <a:latin typeface="Arial"/>
                          <a:cs typeface="Arial"/>
                        </a:rPr>
                        <a:t>2</a:t>
                      </a:r>
                      <a:r>
                        <a:rPr lang="en-US" sz="1200" spc="-5" dirty="0">
                          <a:solidFill>
                            <a:srgbClr val="344451"/>
                          </a:solidFill>
                          <a:latin typeface="Arial"/>
                          <a:cs typeface="Arial"/>
                        </a:rPr>
                        <a:t> </a:t>
                      </a:r>
                      <a:r>
                        <a:rPr lang="en-US" sz="1200" spc="-20" dirty="0">
                          <a:solidFill>
                            <a:srgbClr val="344451"/>
                          </a:solidFill>
                          <a:latin typeface="Arial"/>
                          <a:cs typeface="Arial"/>
                        </a:rPr>
                        <a:t>years</a:t>
                      </a:r>
                      <a:endParaRPr lang="en-US" sz="1200" dirty="0">
                        <a:latin typeface="Arial"/>
                        <a:cs typeface="Arial"/>
                      </a:endParaRPr>
                    </a:p>
                  </a:txBody>
                  <a:tcPr marL="0" marR="0" marT="86360" marB="0">
                    <a:lnL w="12700">
                      <a:solidFill>
                        <a:srgbClr val="FFFFFF"/>
                      </a:solidFill>
                      <a:prstDash val="solid"/>
                    </a:lnL>
                    <a:lnR w="12700">
                      <a:solidFill>
                        <a:srgbClr val="FFFFFF"/>
                      </a:solidFill>
                      <a:prstDash val="solid"/>
                    </a:lnR>
                    <a:lnT w="76200">
                      <a:solidFill>
                        <a:srgbClr val="FFFFFF"/>
                      </a:solidFill>
                      <a:prstDash val="solid"/>
                    </a:lnT>
                    <a:solidFill>
                      <a:srgbClr val="D2D7E1"/>
                    </a:solidFill>
                  </a:tcPr>
                </a:tc>
                <a:extLst>
                  <a:ext uri="{0D108BD9-81ED-4DB2-BD59-A6C34878D82A}">
                    <a16:rowId xmlns:a16="http://schemas.microsoft.com/office/drawing/2014/main" val="10001"/>
                  </a:ext>
                </a:extLst>
              </a:tr>
            </a:tbl>
          </a:graphicData>
        </a:graphic>
      </p:graphicFrame>
      <p:grpSp>
        <p:nvGrpSpPr>
          <p:cNvPr id="9" name="object 9"/>
          <p:cNvGrpSpPr/>
          <p:nvPr/>
        </p:nvGrpSpPr>
        <p:grpSpPr>
          <a:xfrm>
            <a:off x="5337793" y="1093785"/>
            <a:ext cx="320040" cy="320040"/>
            <a:chOff x="5337793" y="1253176"/>
            <a:chExt cx="320040" cy="320040"/>
          </a:xfrm>
        </p:grpSpPr>
        <p:sp>
          <p:nvSpPr>
            <p:cNvPr id="10" name="object 10"/>
            <p:cNvSpPr/>
            <p:nvPr/>
          </p:nvSpPr>
          <p:spPr>
            <a:xfrm>
              <a:off x="5337793" y="1253176"/>
              <a:ext cx="320040" cy="320040"/>
            </a:xfrm>
            <a:custGeom>
              <a:avLst/>
              <a:gdLst/>
              <a:ahLst/>
              <a:cxnLst/>
              <a:rect l="l" t="t" r="r" b="b"/>
              <a:pathLst>
                <a:path w="320039" h="320040">
                  <a:moveTo>
                    <a:pt x="160020" y="0"/>
                  </a:moveTo>
                  <a:lnTo>
                    <a:pt x="109440" y="8157"/>
                  </a:lnTo>
                  <a:lnTo>
                    <a:pt x="65513" y="30873"/>
                  </a:lnTo>
                  <a:lnTo>
                    <a:pt x="30873" y="65513"/>
                  </a:lnTo>
                  <a:lnTo>
                    <a:pt x="8157" y="109440"/>
                  </a:lnTo>
                  <a:lnTo>
                    <a:pt x="0" y="160020"/>
                  </a:lnTo>
                  <a:lnTo>
                    <a:pt x="8157" y="210599"/>
                  </a:lnTo>
                  <a:lnTo>
                    <a:pt x="30873" y="254526"/>
                  </a:lnTo>
                  <a:lnTo>
                    <a:pt x="65513" y="289166"/>
                  </a:lnTo>
                  <a:lnTo>
                    <a:pt x="109440" y="311882"/>
                  </a:lnTo>
                  <a:lnTo>
                    <a:pt x="160020" y="320040"/>
                  </a:lnTo>
                  <a:lnTo>
                    <a:pt x="210599" y="311882"/>
                  </a:lnTo>
                  <a:lnTo>
                    <a:pt x="254526" y="289166"/>
                  </a:lnTo>
                  <a:lnTo>
                    <a:pt x="289166" y="254526"/>
                  </a:lnTo>
                  <a:lnTo>
                    <a:pt x="311882" y="210599"/>
                  </a:lnTo>
                  <a:lnTo>
                    <a:pt x="320040" y="160020"/>
                  </a:lnTo>
                  <a:lnTo>
                    <a:pt x="311882" y="109440"/>
                  </a:lnTo>
                  <a:lnTo>
                    <a:pt x="289166" y="65513"/>
                  </a:lnTo>
                  <a:lnTo>
                    <a:pt x="254526" y="30873"/>
                  </a:lnTo>
                  <a:lnTo>
                    <a:pt x="210599" y="8157"/>
                  </a:lnTo>
                  <a:lnTo>
                    <a:pt x="160020"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1" name="object 11"/>
            <p:cNvSpPr/>
            <p:nvPr/>
          </p:nvSpPr>
          <p:spPr>
            <a:xfrm>
              <a:off x="5351708" y="1266371"/>
              <a:ext cx="292735" cy="294005"/>
            </a:xfrm>
            <a:custGeom>
              <a:avLst/>
              <a:gdLst/>
              <a:ahLst/>
              <a:cxnLst/>
              <a:rect l="l" t="t" r="r" b="b"/>
              <a:pathLst>
                <a:path w="292735" h="294005">
                  <a:moveTo>
                    <a:pt x="146100" y="0"/>
                  </a:moveTo>
                  <a:lnTo>
                    <a:pt x="99924" y="7485"/>
                  </a:lnTo>
                  <a:lnTo>
                    <a:pt x="59818" y="28328"/>
                  </a:lnTo>
                  <a:lnTo>
                    <a:pt x="28190" y="60111"/>
                  </a:lnTo>
                  <a:lnTo>
                    <a:pt x="7448" y="100416"/>
                  </a:lnTo>
                  <a:lnTo>
                    <a:pt x="0" y="146824"/>
                  </a:lnTo>
                  <a:lnTo>
                    <a:pt x="7448" y="193232"/>
                  </a:lnTo>
                  <a:lnTo>
                    <a:pt x="28190" y="233537"/>
                  </a:lnTo>
                  <a:lnTo>
                    <a:pt x="59818" y="265320"/>
                  </a:lnTo>
                  <a:lnTo>
                    <a:pt x="99924" y="286164"/>
                  </a:lnTo>
                  <a:lnTo>
                    <a:pt x="146100" y="293649"/>
                  </a:lnTo>
                  <a:lnTo>
                    <a:pt x="192283" y="286164"/>
                  </a:lnTo>
                  <a:lnTo>
                    <a:pt x="232393" y="265320"/>
                  </a:lnTo>
                  <a:lnTo>
                    <a:pt x="264022" y="233537"/>
                  </a:lnTo>
                  <a:lnTo>
                    <a:pt x="284765" y="193232"/>
                  </a:lnTo>
                  <a:lnTo>
                    <a:pt x="292214" y="146824"/>
                  </a:lnTo>
                  <a:lnTo>
                    <a:pt x="284765" y="100416"/>
                  </a:lnTo>
                  <a:lnTo>
                    <a:pt x="264022" y="60111"/>
                  </a:lnTo>
                  <a:lnTo>
                    <a:pt x="232393" y="28328"/>
                  </a:lnTo>
                  <a:lnTo>
                    <a:pt x="192283" y="7485"/>
                  </a:lnTo>
                  <a:lnTo>
                    <a:pt x="146100" y="0"/>
                  </a:lnTo>
                  <a:close/>
                </a:path>
              </a:pathLst>
            </a:custGeom>
            <a:solidFill>
              <a:srgbClr val="50698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pic>
          <p:nvPicPr>
            <p:cNvPr id="12" name="object 12"/>
            <p:cNvPicPr/>
            <p:nvPr/>
          </p:nvPicPr>
          <p:blipFill>
            <a:blip r:embed="rId3" cstate="print"/>
            <a:stretch>
              <a:fillRect/>
            </a:stretch>
          </p:blipFill>
          <p:spPr>
            <a:xfrm>
              <a:off x="5410399" y="1319546"/>
              <a:ext cx="176554" cy="191600"/>
            </a:xfrm>
            <a:prstGeom prst="rect">
              <a:avLst/>
            </a:prstGeom>
          </p:spPr>
        </p:pic>
      </p:grpSp>
      <p:grpSp>
        <p:nvGrpSpPr>
          <p:cNvPr id="13" name="object 13"/>
          <p:cNvGrpSpPr/>
          <p:nvPr/>
        </p:nvGrpSpPr>
        <p:grpSpPr>
          <a:xfrm>
            <a:off x="10706217" y="1093785"/>
            <a:ext cx="320040" cy="320040"/>
            <a:chOff x="10706217" y="1253176"/>
            <a:chExt cx="320040" cy="320040"/>
          </a:xfrm>
        </p:grpSpPr>
        <p:sp>
          <p:nvSpPr>
            <p:cNvPr id="14" name="object 14"/>
            <p:cNvSpPr/>
            <p:nvPr/>
          </p:nvSpPr>
          <p:spPr>
            <a:xfrm>
              <a:off x="10706217" y="1253176"/>
              <a:ext cx="320040" cy="320040"/>
            </a:xfrm>
            <a:custGeom>
              <a:avLst/>
              <a:gdLst/>
              <a:ahLst/>
              <a:cxnLst/>
              <a:rect l="l" t="t" r="r" b="b"/>
              <a:pathLst>
                <a:path w="320040" h="320040">
                  <a:moveTo>
                    <a:pt x="160020" y="0"/>
                  </a:moveTo>
                  <a:lnTo>
                    <a:pt x="109440" y="8157"/>
                  </a:lnTo>
                  <a:lnTo>
                    <a:pt x="65513" y="30873"/>
                  </a:lnTo>
                  <a:lnTo>
                    <a:pt x="30873" y="65513"/>
                  </a:lnTo>
                  <a:lnTo>
                    <a:pt x="8157" y="109440"/>
                  </a:lnTo>
                  <a:lnTo>
                    <a:pt x="0" y="160020"/>
                  </a:lnTo>
                  <a:lnTo>
                    <a:pt x="8157" y="210599"/>
                  </a:lnTo>
                  <a:lnTo>
                    <a:pt x="30873" y="254526"/>
                  </a:lnTo>
                  <a:lnTo>
                    <a:pt x="65513" y="289166"/>
                  </a:lnTo>
                  <a:lnTo>
                    <a:pt x="109440" y="311882"/>
                  </a:lnTo>
                  <a:lnTo>
                    <a:pt x="160020" y="320040"/>
                  </a:lnTo>
                  <a:lnTo>
                    <a:pt x="210599" y="311882"/>
                  </a:lnTo>
                  <a:lnTo>
                    <a:pt x="254526" y="289166"/>
                  </a:lnTo>
                  <a:lnTo>
                    <a:pt x="289166" y="254526"/>
                  </a:lnTo>
                  <a:lnTo>
                    <a:pt x="311882" y="210599"/>
                  </a:lnTo>
                  <a:lnTo>
                    <a:pt x="320040" y="160020"/>
                  </a:lnTo>
                  <a:lnTo>
                    <a:pt x="311882" y="109440"/>
                  </a:lnTo>
                  <a:lnTo>
                    <a:pt x="289166" y="65513"/>
                  </a:lnTo>
                  <a:lnTo>
                    <a:pt x="254526" y="30873"/>
                  </a:lnTo>
                  <a:lnTo>
                    <a:pt x="210599" y="8157"/>
                  </a:lnTo>
                  <a:lnTo>
                    <a:pt x="160020"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5" name="object 15"/>
            <p:cNvSpPr/>
            <p:nvPr/>
          </p:nvSpPr>
          <p:spPr>
            <a:xfrm>
              <a:off x="10720132" y="1266371"/>
              <a:ext cx="292735" cy="294005"/>
            </a:xfrm>
            <a:custGeom>
              <a:avLst/>
              <a:gdLst/>
              <a:ahLst/>
              <a:cxnLst/>
              <a:rect l="l" t="t" r="r" b="b"/>
              <a:pathLst>
                <a:path w="292734" h="294005">
                  <a:moveTo>
                    <a:pt x="146100" y="0"/>
                  </a:moveTo>
                  <a:lnTo>
                    <a:pt x="99924" y="7485"/>
                  </a:lnTo>
                  <a:lnTo>
                    <a:pt x="59818" y="28328"/>
                  </a:lnTo>
                  <a:lnTo>
                    <a:pt x="28190" y="60111"/>
                  </a:lnTo>
                  <a:lnTo>
                    <a:pt x="7448" y="100416"/>
                  </a:lnTo>
                  <a:lnTo>
                    <a:pt x="0" y="146824"/>
                  </a:lnTo>
                  <a:lnTo>
                    <a:pt x="7448" y="193232"/>
                  </a:lnTo>
                  <a:lnTo>
                    <a:pt x="28190" y="233537"/>
                  </a:lnTo>
                  <a:lnTo>
                    <a:pt x="59818" y="265320"/>
                  </a:lnTo>
                  <a:lnTo>
                    <a:pt x="99924" y="286164"/>
                  </a:lnTo>
                  <a:lnTo>
                    <a:pt x="146100" y="293649"/>
                  </a:lnTo>
                  <a:lnTo>
                    <a:pt x="192283" y="286164"/>
                  </a:lnTo>
                  <a:lnTo>
                    <a:pt x="232393" y="265320"/>
                  </a:lnTo>
                  <a:lnTo>
                    <a:pt x="264022" y="233537"/>
                  </a:lnTo>
                  <a:lnTo>
                    <a:pt x="284765" y="193232"/>
                  </a:lnTo>
                  <a:lnTo>
                    <a:pt x="292214" y="146824"/>
                  </a:lnTo>
                  <a:lnTo>
                    <a:pt x="284765" y="100416"/>
                  </a:lnTo>
                  <a:lnTo>
                    <a:pt x="264022" y="60111"/>
                  </a:lnTo>
                  <a:lnTo>
                    <a:pt x="232393" y="28328"/>
                  </a:lnTo>
                  <a:lnTo>
                    <a:pt x="192283" y="7485"/>
                  </a:lnTo>
                  <a:lnTo>
                    <a:pt x="146100" y="0"/>
                  </a:lnTo>
                  <a:close/>
                </a:path>
              </a:pathLst>
            </a:custGeom>
            <a:solidFill>
              <a:srgbClr val="50698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pic>
          <p:nvPicPr>
            <p:cNvPr id="16" name="object 16"/>
            <p:cNvPicPr/>
            <p:nvPr/>
          </p:nvPicPr>
          <p:blipFill>
            <a:blip r:embed="rId4" cstate="print"/>
            <a:stretch>
              <a:fillRect/>
            </a:stretch>
          </p:blipFill>
          <p:spPr>
            <a:xfrm>
              <a:off x="10778593" y="1322986"/>
              <a:ext cx="177555" cy="182890"/>
            </a:xfrm>
            <a:prstGeom prst="rect">
              <a:avLst/>
            </a:prstGeom>
          </p:spPr>
        </p:pic>
      </p:grpSp>
      <p:sp>
        <p:nvSpPr>
          <p:cNvPr id="20" name="TextBox 19">
            <a:extLst>
              <a:ext uri="{FF2B5EF4-FFF2-40B4-BE49-F238E27FC236}">
                <a16:creationId xmlns:a16="http://schemas.microsoft.com/office/drawing/2014/main" id="{9FE902AD-2CAB-5EA3-50CA-42366E888F13}"/>
              </a:ext>
            </a:extLst>
          </p:cNvPr>
          <p:cNvSpPr txBox="1"/>
          <p:nvPr/>
        </p:nvSpPr>
        <p:spPr>
          <a:xfrm>
            <a:off x="5526700" y="6526486"/>
            <a:ext cx="145438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B1B1B"/>
                </a:solidFill>
                <a:effectLst/>
                <a:uLnTx/>
                <a:uFillTx/>
                <a:latin typeface="Arial" panose="020B0604020202020204" pitchFamily="34" charset="0"/>
                <a:ea typeface="+mn-ea"/>
                <a:cs typeface="Arial" panose="020B0604020202020204" pitchFamily="34" charset="0"/>
              </a:rPr>
              <a:t>NCT05371093</a:t>
            </a: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EBC9E61-54E9-7AF8-0F9F-1FB7F42DFEFC}"/>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1676525" y="306729"/>
            <a:ext cx="9011049" cy="6127514"/>
          </a:xfrm>
          <a:prstGeom prst="rect">
            <a:avLst/>
          </a:prstGeom>
        </p:spPr>
      </p:pic>
      <p:sp>
        <p:nvSpPr>
          <p:cNvPr id="3" name="TextBox 2">
            <a:extLst>
              <a:ext uri="{FF2B5EF4-FFF2-40B4-BE49-F238E27FC236}">
                <a16:creationId xmlns:a16="http://schemas.microsoft.com/office/drawing/2014/main" id="{ECA5DCA0-3C3E-9B06-911B-1FA217E9249F}"/>
              </a:ext>
            </a:extLst>
          </p:cNvPr>
          <p:cNvSpPr txBox="1"/>
          <p:nvPr/>
        </p:nvSpPr>
        <p:spPr>
          <a:xfrm>
            <a:off x="5421777" y="6533332"/>
            <a:ext cx="134844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CT05888493</a:t>
            </a:r>
          </a:p>
        </p:txBody>
      </p:sp>
    </p:spTree>
    <p:extLst>
      <p:ext uri="{BB962C8B-B14F-4D97-AF65-F5344CB8AC3E}">
        <p14:creationId xmlns:p14="http://schemas.microsoft.com/office/powerpoint/2010/main" val="376063887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DFD0A2B-54FE-863F-087B-FF444F5DF168}"/>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1819053" y="293615"/>
            <a:ext cx="9248209" cy="3738638"/>
          </a:xfrm>
          <a:prstGeom prst="rect">
            <a:avLst/>
          </a:prstGeom>
        </p:spPr>
      </p:pic>
      <p:pic>
        <p:nvPicPr>
          <p:cNvPr id="3" name="Picture 2">
            <a:extLst>
              <a:ext uri="{FF2B5EF4-FFF2-40B4-BE49-F238E27FC236}">
                <a16:creationId xmlns:a16="http://schemas.microsoft.com/office/drawing/2014/main" id="{F4526E59-E958-EC85-D210-A3BA22F68ED6}"/>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Lst>
          </a:blip>
          <a:stretch>
            <a:fillRect/>
          </a:stretch>
        </p:blipFill>
        <p:spPr>
          <a:xfrm>
            <a:off x="1760330" y="4182420"/>
            <a:ext cx="9844061" cy="2252775"/>
          </a:xfrm>
          <a:prstGeom prst="rect">
            <a:avLst/>
          </a:prstGeom>
        </p:spPr>
      </p:pic>
      <p:sp>
        <p:nvSpPr>
          <p:cNvPr id="4" name="TextBox 3">
            <a:extLst>
              <a:ext uri="{FF2B5EF4-FFF2-40B4-BE49-F238E27FC236}">
                <a16:creationId xmlns:a16="http://schemas.microsoft.com/office/drawing/2014/main" id="{AC2CEDF9-C6A9-CC23-387E-3D7C5F233386}"/>
              </a:ext>
            </a:extLst>
          </p:cNvPr>
          <p:cNvSpPr txBox="1"/>
          <p:nvPr/>
        </p:nvSpPr>
        <p:spPr>
          <a:xfrm>
            <a:off x="5421777" y="6551062"/>
            <a:ext cx="134844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CT05888493</a:t>
            </a:r>
          </a:p>
        </p:txBody>
      </p:sp>
    </p:spTree>
    <p:extLst>
      <p:ext uri="{BB962C8B-B14F-4D97-AF65-F5344CB8AC3E}">
        <p14:creationId xmlns:p14="http://schemas.microsoft.com/office/powerpoint/2010/main" val="15002524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9FD886-5FE1-CD45-8796-9B22620E78B7}"/>
              </a:ext>
            </a:extLst>
          </p:cNvPr>
          <p:cNvSpPr>
            <a:spLocks noGrp="1"/>
          </p:cNvSpPr>
          <p:nvPr>
            <p:ph type="title"/>
          </p:nvPr>
        </p:nvSpPr>
        <p:spPr>
          <a:xfrm>
            <a:off x="462987" y="83127"/>
            <a:ext cx="11262167" cy="1061462"/>
          </a:xfrm>
        </p:spPr>
        <p:txBody>
          <a:bodyPr>
            <a:noAutofit/>
          </a:bodyPr>
          <a:lstStyle/>
          <a:p>
            <a:pPr>
              <a:lnSpc>
                <a:spcPct val="100000"/>
              </a:lnSpc>
            </a:pPr>
            <a:r>
              <a:rPr lang="en-US" sz="2800" dirty="0"/>
              <a:t>Keynote Session: </a:t>
            </a:r>
            <a:br>
              <a:rPr lang="en-US" sz="2800" dirty="0"/>
            </a:br>
            <a:r>
              <a:rPr lang="en-US" sz="2800" dirty="0"/>
              <a:t>Diffuse Large B-Cell Lymphoma and Follicular Lymphoma</a:t>
            </a:r>
            <a:endParaRPr lang="en-US" sz="2800" dirty="0">
              <a:solidFill>
                <a:srgbClr val="0070C0"/>
              </a:solidFill>
            </a:endParaRPr>
          </a:p>
        </p:txBody>
      </p:sp>
      <p:sp>
        <p:nvSpPr>
          <p:cNvPr id="7" name="Content Placeholder 6">
            <a:extLst>
              <a:ext uri="{FF2B5EF4-FFF2-40B4-BE49-F238E27FC236}">
                <a16:creationId xmlns:a16="http://schemas.microsoft.com/office/drawing/2014/main" id="{BFBBA4E9-44A1-3AB4-E6EF-41D1999FBD07}"/>
              </a:ext>
            </a:extLst>
          </p:cNvPr>
          <p:cNvSpPr>
            <a:spLocks noGrp="1"/>
          </p:cNvSpPr>
          <p:nvPr>
            <p:ph idx="1"/>
          </p:nvPr>
        </p:nvSpPr>
        <p:spPr>
          <a:xfrm>
            <a:off x="462987" y="1144587"/>
            <a:ext cx="11262167" cy="5257800"/>
          </a:xfrm>
        </p:spPr>
        <p:txBody>
          <a:bodyPr lIns="365760" tIns="274320" rIns="365760">
            <a:noAutofit/>
          </a:bodyPr>
          <a:lstStyle/>
          <a:p>
            <a:pPr>
              <a:lnSpc>
                <a:spcPct val="100000"/>
              </a:lnSpc>
              <a:spcBef>
                <a:spcPts val="1200"/>
              </a:spcBef>
            </a:pPr>
            <a:r>
              <a:rPr lang="en-US" sz="2200" dirty="0">
                <a:solidFill>
                  <a:srgbClr val="002656"/>
                </a:solidFill>
              </a:rPr>
              <a:t>Part 1 - Diffuse Large B-Cell Lymphoma:</a:t>
            </a:r>
          </a:p>
          <a:p>
            <a:pPr marL="457200" lvl="1" indent="0">
              <a:lnSpc>
                <a:spcPct val="100000"/>
              </a:lnSpc>
              <a:spcBef>
                <a:spcPts val="1200"/>
              </a:spcBef>
              <a:buNone/>
            </a:pPr>
            <a:r>
              <a:rPr lang="en-US" sz="2200" b="1" dirty="0"/>
              <a:t>Antibody-Drug Conjugates and Other Novel Strategies in the Management of DLBCL</a:t>
            </a:r>
            <a:r>
              <a:rPr lang="en-US" sz="2200" dirty="0"/>
              <a:t> — </a:t>
            </a:r>
            <a:r>
              <a:rPr lang="en-US" sz="2200" b="0" dirty="0"/>
              <a:t>Prof Salles</a:t>
            </a:r>
          </a:p>
          <a:p>
            <a:pPr marL="457200" lvl="1" indent="0">
              <a:lnSpc>
                <a:spcPct val="100000"/>
              </a:lnSpc>
              <a:spcBef>
                <a:spcPts val="1200"/>
              </a:spcBef>
              <a:buNone/>
            </a:pPr>
            <a:r>
              <a:rPr lang="en-US" sz="2200" b="1" dirty="0"/>
              <a:t>Current and Future Role of Monoclonal and Bispecific Antibodies in the Management of DLBCL </a:t>
            </a:r>
            <a:r>
              <a:rPr lang="en-US" sz="2200" dirty="0"/>
              <a:t>— </a:t>
            </a:r>
            <a:r>
              <a:rPr lang="en-US" sz="2200" b="0" dirty="0"/>
              <a:t>Dr Patel</a:t>
            </a:r>
          </a:p>
          <a:p>
            <a:pPr marL="457200" lvl="1" indent="0">
              <a:lnSpc>
                <a:spcPct val="100000"/>
              </a:lnSpc>
              <a:spcBef>
                <a:spcPts val="1200"/>
              </a:spcBef>
              <a:buNone/>
            </a:pPr>
            <a:r>
              <a:rPr lang="en-US" sz="2200" b="1" dirty="0"/>
              <a:t>Chimeric Antigen Receptor (CAR) T-Cell Therapy for DLBCL</a:t>
            </a:r>
            <a:r>
              <a:rPr lang="en-US" sz="2200" dirty="0"/>
              <a:t> — </a:t>
            </a:r>
            <a:r>
              <a:rPr lang="en-US" sz="2200" b="0" dirty="0"/>
              <a:t>Dr Kamdar </a:t>
            </a:r>
          </a:p>
          <a:p>
            <a:pPr>
              <a:lnSpc>
                <a:spcPct val="100000"/>
              </a:lnSpc>
              <a:spcBef>
                <a:spcPts val="1200"/>
              </a:spcBef>
            </a:pPr>
            <a:r>
              <a:rPr lang="en-US" sz="2200" dirty="0">
                <a:solidFill>
                  <a:srgbClr val="002656"/>
                </a:solidFill>
              </a:rPr>
              <a:t>Part 2 – Follicular Lymphoma:</a:t>
            </a:r>
            <a:endParaRPr lang="en-US" sz="2200" dirty="0"/>
          </a:p>
          <a:p>
            <a:pPr marL="457200" lvl="1" indent="0">
              <a:lnSpc>
                <a:spcPct val="100000"/>
              </a:lnSpc>
              <a:spcBef>
                <a:spcPts val="1200"/>
              </a:spcBef>
              <a:buNone/>
            </a:pPr>
            <a:r>
              <a:rPr lang="en-US" sz="2200" b="1" dirty="0"/>
              <a:t>CAR T-Cell Therapy for FL </a:t>
            </a:r>
            <a:r>
              <a:rPr lang="en-US" sz="2200" dirty="0"/>
              <a:t>— </a:t>
            </a:r>
            <a:r>
              <a:rPr lang="en-US" sz="2200" b="0" dirty="0"/>
              <a:t>Prof Salles </a:t>
            </a:r>
          </a:p>
          <a:p>
            <a:pPr marL="457200" lvl="1" indent="0">
              <a:lnSpc>
                <a:spcPct val="100000"/>
              </a:lnSpc>
              <a:spcBef>
                <a:spcPts val="1200"/>
              </a:spcBef>
              <a:buNone/>
            </a:pPr>
            <a:r>
              <a:rPr lang="en-US" sz="2200" b="1" dirty="0"/>
              <a:t>Other Approved and Emerging Novel Therapies for FL — </a:t>
            </a:r>
            <a:r>
              <a:rPr lang="en-US" sz="2200" dirty="0"/>
              <a:t>Dr Patel</a:t>
            </a:r>
          </a:p>
          <a:p>
            <a:pPr marL="457200" lvl="1" indent="0">
              <a:lnSpc>
                <a:spcPct val="100000"/>
              </a:lnSpc>
              <a:spcBef>
                <a:spcPts val="1200"/>
              </a:spcBef>
              <a:buNone/>
            </a:pPr>
            <a:r>
              <a:rPr lang="en-US" sz="2200" b="1" dirty="0"/>
              <a:t>Integrating Bispecific Antibodies into the Management of FL </a:t>
            </a:r>
            <a:r>
              <a:rPr lang="en-US" sz="2200" dirty="0"/>
              <a:t>— </a:t>
            </a:r>
            <a:r>
              <a:rPr lang="en-US" sz="2200" b="0" dirty="0"/>
              <a:t>Dr Kamdar </a:t>
            </a:r>
          </a:p>
        </p:txBody>
      </p:sp>
    </p:spTree>
    <p:extLst>
      <p:ext uri="{BB962C8B-B14F-4D97-AF65-F5344CB8AC3E}">
        <p14:creationId xmlns:p14="http://schemas.microsoft.com/office/powerpoint/2010/main" val="25441503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45CBF0-4287-F10C-A9B9-D6A07FE63370}"/>
              </a:ext>
            </a:extLst>
          </p:cNvPr>
          <p:cNvSpPr>
            <a:spLocks noGrp="1"/>
          </p:cNvSpPr>
          <p:nvPr>
            <p:ph type="title"/>
          </p:nvPr>
        </p:nvSpPr>
        <p:spPr>
          <a:xfrm>
            <a:off x="487892" y="176693"/>
            <a:ext cx="11216216" cy="1022350"/>
          </a:xfrm>
        </p:spPr>
        <p:txBody>
          <a:bodyPr/>
          <a:lstStyle/>
          <a:p>
            <a:r>
              <a:rPr lang="en-US" sz="3200" b="1" dirty="0">
                <a:solidFill>
                  <a:srgbClr val="002060"/>
                </a:solidFill>
                <a:latin typeface="Calibri" panose="020F0502020204030204" pitchFamily="34" charset="0"/>
                <a:cs typeface="Calibri" panose="020F0502020204030204" pitchFamily="34" charset="0"/>
              </a:rPr>
              <a:t>Are dual CD19/CD20 CAR T-cells better than CD19 CAR T?</a:t>
            </a:r>
          </a:p>
        </p:txBody>
      </p:sp>
      <p:pic>
        <p:nvPicPr>
          <p:cNvPr id="8" name="Content Placeholder 7" descr="A close-up of a computer&#10;&#10;AI-generated content may be incorrect.">
            <a:extLst>
              <a:ext uri="{FF2B5EF4-FFF2-40B4-BE49-F238E27FC236}">
                <a16:creationId xmlns:a16="http://schemas.microsoft.com/office/drawing/2014/main" id="{30435571-1AF4-45AA-33EF-8996FB20685D}"/>
              </a:ext>
            </a:extLst>
          </p:cNvPr>
          <p:cNvPicPr>
            <a:picLocks noGrp="1" noChangeAspect="1"/>
          </p:cNvPicPr>
          <p:nvPr>
            <p:ph sz="quarter" idx="14"/>
          </p:nvPr>
        </p:nvPicPr>
        <p:blipFill>
          <a:blip r:embed="rId3">
            <a:extLst>
              <a:ext uri="{28A0092B-C50C-407E-A947-70E740481C1C}">
                <a14:useLocalDpi xmlns:a14="http://schemas.microsoft.com/office/drawing/2010/main" val="0"/>
              </a:ext>
            </a:extLst>
          </a:blip>
          <a:srcRect r="56791"/>
          <a:stretch>
            <a:fillRect/>
          </a:stretch>
        </p:blipFill>
        <p:spPr>
          <a:xfrm>
            <a:off x="697212" y="2565245"/>
            <a:ext cx="3322323" cy="3284711"/>
          </a:xfrm>
        </p:spPr>
      </p:pic>
      <p:pic>
        <p:nvPicPr>
          <p:cNvPr id="10" name="Picture 9" descr="A diagram of a cell membrane&#10;&#10;AI-generated content may be incorrect.">
            <a:extLst>
              <a:ext uri="{FF2B5EF4-FFF2-40B4-BE49-F238E27FC236}">
                <a16:creationId xmlns:a16="http://schemas.microsoft.com/office/drawing/2014/main" id="{ACE30A1B-E979-B136-BCFA-B2CDF25A1820}"/>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val="0"/>
              </a:ext>
            </a:extLst>
          </a:blip>
          <a:stretch>
            <a:fillRect/>
          </a:stretch>
        </p:blipFill>
        <p:spPr>
          <a:xfrm>
            <a:off x="4285799" y="1447646"/>
            <a:ext cx="4275075" cy="4402310"/>
          </a:xfrm>
          <a:prstGeom prst="rect">
            <a:avLst/>
          </a:prstGeom>
        </p:spPr>
      </p:pic>
      <p:pic>
        <p:nvPicPr>
          <p:cNvPr id="11" name="Content Placeholder 7" descr="A close-up of a computer&#10;&#10;AI-generated content may be incorrect.">
            <a:extLst>
              <a:ext uri="{FF2B5EF4-FFF2-40B4-BE49-F238E27FC236}">
                <a16:creationId xmlns:a16="http://schemas.microsoft.com/office/drawing/2014/main" id="{BE45138A-8A81-52BC-8E4A-7E0798F9ACF5}"/>
              </a:ext>
            </a:extLst>
          </p:cNvPr>
          <p:cNvPicPr>
            <a:picLocks noChangeAspect="1"/>
          </p:cNvPicPr>
          <p:nvPr/>
        </p:nvPicPr>
        <p:blipFill>
          <a:blip r:embed="rId3">
            <a:extLst>
              <a:ext uri="{28A0092B-C50C-407E-A947-70E740481C1C}">
                <a14:useLocalDpi xmlns:a14="http://schemas.microsoft.com/office/drawing/2010/main" val="0"/>
              </a:ext>
            </a:extLst>
          </a:blip>
          <a:srcRect l="51605" t="27178" b="30638"/>
          <a:stretch>
            <a:fillRect/>
          </a:stretch>
        </p:blipFill>
        <p:spPr>
          <a:xfrm>
            <a:off x="890954" y="1439885"/>
            <a:ext cx="3001272" cy="1117600"/>
          </a:xfrm>
          <a:prstGeom prst="rect">
            <a:avLst/>
          </a:prstGeom>
        </p:spPr>
      </p:pic>
      <p:pic>
        <p:nvPicPr>
          <p:cNvPr id="12" name="Picture 11">
            <a:extLst>
              <a:ext uri="{FF2B5EF4-FFF2-40B4-BE49-F238E27FC236}">
                <a16:creationId xmlns:a16="http://schemas.microsoft.com/office/drawing/2014/main" id="{5898CB24-0709-3431-E2A2-AA49AAED9674}"/>
              </a:ext>
            </a:extLst>
          </p:cNvPr>
          <p:cNvPicPr>
            <a:picLocks noChangeAspect="1"/>
          </p:cNvPicPr>
          <p:nvPr/>
        </p:nvPicPr>
        <p:blipFill>
          <a:blip r:embed="rId6"/>
          <a:stretch>
            <a:fillRect/>
          </a:stretch>
        </p:blipFill>
        <p:spPr>
          <a:xfrm>
            <a:off x="8900443" y="1683464"/>
            <a:ext cx="2546560" cy="4166492"/>
          </a:xfrm>
          <a:prstGeom prst="rect">
            <a:avLst/>
          </a:prstGeom>
        </p:spPr>
      </p:pic>
      <p:sp>
        <p:nvSpPr>
          <p:cNvPr id="13" name="TextBox 12">
            <a:extLst>
              <a:ext uri="{FF2B5EF4-FFF2-40B4-BE49-F238E27FC236}">
                <a16:creationId xmlns:a16="http://schemas.microsoft.com/office/drawing/2014/main" id="{E4994919-AC56-DCE1-ED65-20B36B25D26D}"/>
              </a:ext>
            </a:extLst>
          </p:cNvPr>
          <p:cNvSpPr txBox="1"/>
          <p:nvPr/>
        </p:nvSpPr>
        <p:spPr>
          <a:xfrm>
            <a:off x="9679998" y="1309146"/>
            <a:ext cx="987450" cy="276999"/>
          </a:xfrm>
          <a:prstGeom prst="rect">
            <a:avLst/>
          </a:prstGeom>
        </p:spPr>
        <p:txBody>
          <a:bodyPr vert="horz"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a:ea typeface="+mn-ea"/>
                <a:cs typeface="+mn-cs"/>
              </a:rPr>
              <a:t>KITE-363</a:t>
            </a:r>
          </a:p>
        </p:txBody>
      </p:sp>
    </p:spTree>
    <p:extLst>
      <p:ext uri="{BB962C8B-B14F-4D97-AF65-F5344CB8AC3E}">
        <p14:creationId xmlns:p14="http://schemas.microsoft.com/office/powerpoint/2010/main" val="2835386345"/>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554A1E-3506-F037-015F-0E2CB9FCAAEC}"/>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9D50EBF5-4B46-4324-9BEC-FA46D5256B1A}"/>
              </a:ext>
            </a:extLst>
          </p:cNvPr>
          <p:cNvSpPr/>
          <p:nvPr/>
        </p:nvSpPr>
        <p:spPr bwMode="auto">
          <a:xfrm>
            <a:off x="684426" y="4962414"/>
            <a:ext cx="10731324" cy="459767"/>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FFFFFF"/>
              </a:solidFill>
              <a:effectLst/>
              <a:uLnTx/>
              <a:uFillTx/>
              <a:latin typeface="Times New Roman" pitchFamily="18" charset="0"/>
              <a:ea typeface="MS PGothic" charset="0"/>
              <a:cs typeface="+mn-cs"/>
            </a:endParaRPr>
          </a:p>
        </p:txBody>
      </p:sp>
      <p:sp>
        <p:nvSpPr>
          <p:cNvPr id="2" name="Title 1">
            <a:extLst>
              <a:ext uri="{FF2B5EF4-FFF2-40B4-BE49-F238E27FC236}">
                <a16:creationId xmlns:a16="http://schemas.microsoft.com/office/drawing/2014/main" id="{5CD690F4-5607-3A65-9D7D-F41E62CBFAA5}"/>
              </a:ext>
            </a:extLst>
          </p:cNvPr>
          <p:cNvSpPr>
            <a:spLocks noGrp="1"/>
          </p:cNvSpPr>
          <p:nvPr>
            <p:ph type="title"/>
          </p:nvPr>
        </p:nvSpPr>
        <p:spPr>
          <a:xfrm>
            <a:off x="462987" y="83127"/>
            <a:ext cx="11262167" cy="1061462"/>
          </a:xfrm>
        </p:spPr>
        <p:txBody>
          <a:bodyPr>
            <a:noAutofit/>
          </a:bodyPr>
          <a:lstStyle/>
          <a:p>
            <a:pPr>
              <a:lnSpc>
                <a:spcPct val="100000"/>
              </a:lnSpc>
            </a:pPr>
            <a:r>
              <a:rPr lang="en-US" sz="2800" dirty="0"/>
              <a:t>Keynote Session: </a:t>
            </a:r>
            <a:br>
              <a:rPr lang="en-US" sz="2800" dirty="0"/>
            </a:br>
            <a:r>
              <a:rPr lang="en-US" sz="2800" dirty="0"/>
              <a:t>Diffuse Large B-Cell Lymphoma and Follicular Lymphoma</a:t>
            </a:r>
            <a:endParaRPr lang="en-US" sz="2800" dirty="0">
              <a:solidFill>
                <a:srgbClr val="0070C0"/>
              </a:solidFill>
            </a:endParaRPr>
          </a:p>
        </p:txBody>
      </p:sp>
      <p:sp>
        <p:nvSpPr>
          <p:cNvPr id="7" name="Content Placeholder 6">
            <a:extLst>
              <a:ext uri="{FF2B5EF4-FFF2-40B4-BE49-F238E27FC236}">
                <a16:creationId xmlns:a16="http://schemas.microsoft.com/office/drawing/2014/main" id="{8CA60046-0D4A-6CE0-B9F6-748B36AB2EA9}"/>
              </a:ext>
            </a:extLst>
          </p:cNvPr>
          <p:cNvSpPr>
            <a:spLocks noGrp="1"/>
          </p:cNvSpPr>
          <p:nvPr>
            <p:ph idx="1"/>
          </p:nvPr>
        </p:nvSpPr>
        <p:spPr>
          <a:xfrm>
            <a:off x="462987" y="1144587"/>
            <a:ext cx="11262167" cy="5257800"/>
          </a:xfrm>
        </p:spPr>
        <p:txBody>
          <a:bodyPr lIns="365760" tIns="274320" rIns="365760">
            <a:noAutofit/>
          </a:bodyPr>
          <a:lstStyle/>
          <a:p>
            <a:pPr>
              <a:lnSpc>
                <a:spcPct val="100000"/>
              </a:lnSpc>
              <a:spcBef>
                <a:spcPts val="1200"/>
              </a:spcBef>
            </a:pPr>
            <a:r>
              <a:rPr lang="en-US" sz="2200" dirty="0">
                <a:solidFill>
                  <a:srgbClr val="002656"/>
                </a:solidFill>
              </a:rPr>
              <a:t>Part 1 - Diffuse Large B-Cell Lymphoma:</a:t>
            </a:r>
          </a:p>
          <a:p>
            <a:pPr marL="457200" lvl="1" indent="0">
              <a:lnSpc>
                <a:spcPct val="100000"/>
              </a:lnSpc>
              <a:spcBef>
                <a:spcPts val="1200"/>
              </a:spcBef>
              <a:buNone/>
            </a:pPr>
            <a:r>
              <a:rPr lang="en-US" sz="2200" b="1" dirty="0"/>
              <a:t>Antibody-Drug Conjugates and Other Novel Strategies in the Management of DLBCL</a:t>
            </a:r>
            <a:r>
              <a:rPr lang="en-US" sz="2200" dirty="0"/>
              <a:t> — </a:t>
            </a:r>
            <a:r>
              <a:rPr lang="en-US" sz="2200" b="0" dirty="0"/>
              <a:t>Prof Salles</a:t>
            </a:r>
          </a:p>
          <a:p>
            <a:pPr marL="457200" lvl="1" indent="0">
              <a:lnSpc>
                <a:spcPct val="100000"/>
              </a:lnSpc>
              <a:spcBef>
                <a:spcPts val="1200"/>
              </a:spcBef>
              <a:buNone/>
            </a:pPr>
            <a:r>
              <a:rPr lang="en-US" sz="2200" b="1" dirty="0"/>
              <a:t>Current and Future Role of Monoclonal and Bispecific Antibodies in the Management of DLBCL </a:t>
            </a:r>
            <a:r>
              <a:rPr lang="en-US" sz="2200" dirty="0"/>
              <a:t>— </a:t>
            </a:r>
            <a:r>
              <a:rPr lang="en-US" sz="2200" b="0" dirty="0"/>
              <a:t>Dr Patel</a:t>
            </a:r>
          </a:p>
          <a:p>
            <a:pPr marL="457200" lvl="1" indent="0">
              <a:lnSpc>
                <a:spcPct val="100000"/>
              </a:lnSpc>
              <a:spcBef>
                <a:spcPts val="1200"/>
              </a:spcBef>
              <a:buNone/>
            </a:pPr>
            <a:r>
              <a:rPr lang="en-US" sz="2200" b="1" dirty="0"/>
              <a:t>Chimeric Antigen Receptor (CAR) T-Cell Therapy for DLBCL</a:t>
            </a:r>
            <a:r>
              <a:rPr lang="en-US" sz="2200" dirty="0"/>
              <a:t> — </a:t>
            </a:r>
            <a:r>
              <a:rPr lang="en-US" sz="2200" b="0" dirty="0"/>
              <a:t>Dr Kamdar </a:t>
            </a:r>
          </a:p>
          <a:p>
            <a:pPr>
              <a:lnSpc>
                <a:spcPct val="100000"/>
              </a:lnSpc>
              <a:spcBef>
                <a:spcPts val="1200"/>
              </a:spcBef>
            </a:pPr>
            <a:r>
              <a:rPr lang="en-US" sz="2200" dirty="0">
                <a:solidFill>
                  <a:srgbClr val="002656"/>
                </a:solidFill>
              </a:rPr>
              <a:t>Part 2 – Follicular Lymphoma:</a:t>
            </a:r>
            <a:endParaRPr lang="en-US" sz="2200" dirty="0"/>
          </a:p>
          <a:p>
            <a:pPr marL="457200" lvl="1" indent="0">
              <a:lnSpc>
                <a:spcPct val="100000"/>
              </a:lnSpc>
              <a:spcBef>
                <a:spcPts val="1200"/>
              </a:spcBef>
              <a:buNone/>
            </a:pPr>
            <a:r>
              <a:rPr lang="en-US" sz="2200" b="1" dirty="0"/>
              <a:t>CAR T-Cell Therapy for FL </a:t>
            </a:r>
            <a:r>
              <a:rPr lang="en-US" sz="2200" dirty="0"/>
              <a:t>— </a:t>
            </a:r>
            <a:r>
              <a:rPr lang="en-US" sz="2200" b="0" dirty="0"/>
              <a:t>Prof Salles </a:t>
            </a:r>
          </a:p>
          <a:p>
            <a:pPr marL="457200" lvl="1" indent="0">
              <a:lnSpc>
                <a:spcPct val="100000"/>
              </a:lnSpc>
              <a:spcBef>
                <a:spcPts val="1200"/>
              </a:spcBef>
              <a:buNone/>
            </a:pPr>
            <a:r>
              <a:rPr lang="en-US" sz="2200" b="1" dirty="0">
                <a:solidFill>
                  <a:schemeClr val="bg1"/>
                </a:solidFill>
              </a:rPr>
              <a:t>Other Approved and Emerging Novel Therapies for FL — </a:t>
            </a:r>
            <a:r>
              <a:rPr lang="en-US" sz="2200" dirty="0">
                <a:solidFill>
                  <a:schemeClr val="bg1"/>
                </a:solidFill>
              </a:rPr>
              <a:t>Dr Patel</a:t>
            </a:r>
          </a:p>
          <a:p>
            <a:pPr marL="457200" lvl="1" indent="0">
              <a:lnSpc>
                <a:spcPct val="100000"/>
              </a:lnSpc>
              <a:spcBef>
                <a:spcPts val="1200"/>
              </a:spcBef>
              <a:buNone/>
            </a:pPr>
            <a:r>
              <a:rPr lang="en-US" sz="2200" b="1" dirty="0"/>
              <a:t>Integrating Bispecific Antibodies into the Management of FL </a:t>
            </a:r>
            <a:r>
              <a:rPr lang="en-US" sz="2200" dirty="0"/>
              <a:t>— </a:t>
            </a:r>
            <a:r>
              <a:rPr lang="en-US" sz="2200" b="0" dirty="0"/>
              <a:t>Dr Kamdar </a:t>
            </a:r>
          </a:p>
        </p:txBody>
      </p:sp>
    </p:spTree>
    <p:extLst>
      <p:ext uri="{BB962C8B-B14F-4D97-AF65-F5344CB8AC3E}">
        <p14:creationId xmlns:p14="http://schemas.microsoft.com/office/powerpoint/2010/main" val="38518229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1C40857-CCEE-E882-4751-BE88652D499A}"/>
              </a:ext>
            </a:extLst>
          </p:cNvPr>
          <p:cNvSpPr>
            <a:spLocks noGrp="1"/>
          </p:cNvSpPr>
          <p:nvPr>
            <p:ph type="body" sz="quarter" idx="10"/>
          </p:nvPr>
        </p:nvSpPr>
        <p:spPr/>
        <p:txBody>
          <a:bodyPr/>
          <a:lstStyle/>
          <a:p>
            <a:r>
              <a:rPr lang="en-US" dirty="0"/>
              <a:t>Other Approved and Emerging Novel Therapies for FL</a:t>
            </a:r>
          </a:p>
        </p:txBody>
      </p:sp>
      <p:sp>
        <p:nvSpPr>
          <p:cNvPr id="4" name="Text Placeholder 3">
            <a:extLst>
              <a:ext uri="{FF2B5EF4-FFF2-40B4-BE49-F238E27FC236}">
                <a16:creationId xmlns:a16="http://schemas.microsoft.com/office/drawing/2014/main" id="{90D223A5-59A8-E11A-5DC4-ABA2556D09B5}"/>
              </a:ext>
            </a:extLst>
          </p:cNvPr>
          <p:cNvSpPr txBox="1">
            <a:spLocks/>
          </p:cNvSpPr>
          <p:nvPr/>
        </p:nvSpPr>
        <p:spPr>
          <a:xfrm>
            <a:off x="421340" y="4501197"/>
            <a:ext cx="3057839" cy="338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400" b="0" kern="1200">
                <a:solidFill>
                  <a:schemeClr val="accent6"/>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637592"/>
                </a:solidFill>
                <a:effectLst/>
                <a:uLnTx/>
                <a:uFillTx/>
                <a:latin typeface="Arial" panose="020B0604020202020204"/>
                <a:ea typeface="+mn-ea"/>
                <a:cs typeface="+mn-cs"/>
              </a:rPr>
              <a:t>Krish Patel, MD</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637592"/>
                </a:solidFill>
                <a:effectLst/>
                <a:uLnTx/>
                <a:uFillTx/>
                <a:latin typeface="Arial" panose="020B0604020202020204"/>
                <a:ea typeface="+mn-ea"/>
                <a:cs typeface="+mn-cs"/>
              </a:rPr>
              <a:t>Director, Lymphoma Research</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637592"/>
                </a:solidFill>
                <a:effectLst/>
                <a:uLnTx/>
                <a:uFillTx/>
                <a:latin typeface="Arial" panose="020B0604020202020204"/>
                <a:ea typeface="+mn-ea"/>
                <a:cs typeface="+mn-cs"/>
              </a:rPr>
              <a:t>April 24</a:t>
            </a:r>
            <a:r>
              <a:rPr kumimoji="0" lang="en-US" sz="1400" b="0" i="0" u="none" strike="noStrike" kern="1200" cap="none" spc="0" normalizeH="0" baseline="30000" noProof="0" dirty="0">
                <a:ln>
                  <a:noFill/>
                </a:ln>
                <a:solidFill>
                  <a:srgbClr val="637592"/>
                </a:solidFill>
                <a:effectLst/>
                <a:uLnTx/>
                <a:uFillTx/>
                <a:latin typeface="Arial" panose="020B0604020202020204"/>
                <a:ea typeface="+mn-ea"/>
                <a:cs typeface="+mn-cs"/>
              </a:rPr>
              <a:t>th</a:t>
            </a:r>
            <a:r>
              <a:rPr kumimoji="0" lang="en-US" sz="1400" b="0" i="0" u="none" strike="noStrike" kern="1200" cap="none" spc="0" normalizeH="0" baseline="0" noProof="0" dirty="0">
                <a:ln>
                  <a:noFill/>
                </a:ln>
                <a:solidFill>
                  <a:srgbClr val="637592"/>
                </a:solidFill>
                <a:effectLst/>
                <a:uLnTx/>
                <a:uFillTx/>
                <a:latin typeface="Arial" panose="020B0604020202020204"/>
                <a:ea typeface="+mn-ea"/>
                <a:cs typeface="+mn-cs"/>
              </a:rPr>
              <a:t>, 2026</a:t>
            </a:r>
          </a:p>
        </p:txBody>
      </p:sp>
    </p:spTree>
    <p:extLst>
      <p:ext uri="{BB962C8B-B14F-4D97-AF65-F5344CB8AC3E}">
        <p14:creationId xmlns:p14="http://schemas.microsoft.com/office/powerpoint/2010/main" val="812759601"/>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5" name="Title 1">
            <a:extLst>
              <a:ext uri="{FF2B5EF4-FFF2-40B4-BE49-F238E27FC236}">
                <a16:creationId xmlns:a16="http://schemas.microsoft.com/office/drawing/2014/main" id="{42B91C6D-B018-DD10-6218-F0D662C93846}"/>
              </a:ext>
            </a:extLst>
          </p:cNvPr>
          <p:cNvSpPr>
            <a:spLocks noGrp="1"/>
          </p:cNvSpPr>
          <p:nvPr>
            <p:ph type="title"/>
          </p:nvPr>
        </p:nvSpPr>
        <p:spPr/>
        <p:txBody>
          <a:bodyPr/>
          <a:lstStyle/>
          <a:p>
            <a:r>
              <a:rPr lang="en-US" altLang="en-US" b="1" dirty="0"/>
              <a:t>Disclosures</a:t>
            </a:r>
          </a:p>
        </p:txBody>
      </p:sp>
      <p:graphicFrame>
        <p:nvGraphicFramePr>
          <p:cNvPr id="4" name="Table 3">
            <a:extLst>
              <a:ext uri="{FF2B5EF4-FFF2-40B4-BE49-F238E27FC236}">
                <a16:creationId xmlns:a16="http://schemas.microsoft.com/office/drawing/2014/main" id="{9F6A9C01-943C-2CE2-FA05-F54A0847CDDD}"/>
              </a:ext>
            </a:extLst>
          </p:cNvPr>
          <p:cNvGraphicFramePr>
            <a:graphicFrameLocks noGrp="1"/>
          </p:cNvGraphicFramePr>
          <p:nvPr/>
        </p:nvGraphicFramePr>
        <p:xfrm>
          <a:off x="421340" y="1400628"/>
          <a:ext cx="11233631" cy="4441371"/>
        </p:xfrm>
        <a:graphic>
          <a:graphicData uri="http://schemas.openxmlformats.org/drawingml/2006/table">
            <a:tbl>
              <a:tblPr firstRow="1" bandRow="1">
                <a:tableStyleId>{5C22544A-7EE6-4342-B048-85BDC9FD1C3A}</a:tableStyleId>
              </a:tblPr>
              <a:tblGrid>
                <a:gridCol w="2829860">
                  <a:extLst>
                    <a:ext uri="{9D8B030D-6E8A-4147-A177-3AD203B41FA5}">
                      <a16:colId xmlns:a16="http://schemas.microsoft.com/office/drawing/2014/main" val="20000"/>
                    </a:ext>
                  </a:extLst>
                </a:gridCol>
                <a:gridCol w="8403771">
                  <a:extLst>
                    <a:ext uri="{9D8B030D-6E8A-4147-A177-3AD203B41FA5}">
                      <a16:colId xmlns:a16="http://schemas.microsoft.com/office/drawing/2014/main" val="20001"/>
                    </a:ext>
                  </a:extLst>
                </a:gridCol>
              </a:tblGrid>
              <a:tr h="1355487">
                <a:tc>
                  <a:txBody>
                    <a:bodyPr/>
                    <a:lstStyle/>
                    <a:p>
                      <a:r>
                        <a:rPr lang="en-US" sz="1800" b="1" dirty="0">
                          <a:solidFill>
                            <a:schemeClr val="tx1"/>
                          </a:solidFill>
                        </a:rPr>
                        <a:t>Advisory Committees (All Paid to Institution)</a:t>
                      </a:r>
                    </a:p>
                  </a:txBody>
                  <a:tcPr marL="91430" marR="91430" marT="45705" marB="4570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b="0" dirty="0">
                          <a:solidFill>
                            <a:schemeClr val="tx1"/>
                          </a:solidFill>
                        </a:rPr>
                        <a:t>AbbVie Inc, AstraZeneca Pharmaceuticals LP, Bristol Myers Squibb, Genentech, a member of the Roche Group, Janssen Biotech Inc, Loxo Oncology Inc, a wholly owned subsidiary of Eli Lilly &amp; Company, Lyell, Merck</a:t>
                      </a:r>
                    </a:p>
                  </a:txBody>
                  <a:tcPr marL="91430" marR="91430" marT="45705" marB="4570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1542942">
                <a:tc>
                  <a:txBody>
                    <a:bodyPr/>
                    <a:lstStyle/>
                    <a:p>
                      <a:r>
                        <a:rPr lang="en-US" sz="1800" b="1" dirty="0">
                          <a:solidFill>
                            <a:schemeClr val="tx1"/>
                          </a:solidFill>
                        </a:rPr>
                        <a:t>Consulting Agreements (All Paid to Institution)</a:t>
                      </a:r>
                    </a:p>
                  </a:txBody>
                  <a:tcPr marL="91430" marR="91430" marT="45705" marB="4570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b="0" dirty="0">
                          <a:solidFill>
                            <a:schemeClr val="tx1"/>
                          </a:solidFill>
                        </a:rPr>
                        <a:t>AbbVie Inc, Adaptive Biotechnologies Corporation, AstraZeneca Pharmaceuticals LP, Bristol Myers Squibb, Genentech, a member of the Roche Group, Janssen Biotech Inc, Loxo Oncology Inc, a wholly owned subsidiary of Eli Lilly &amp; Company, Lyell, Merck, Pfizer Inc, Sanofi</a:t>
                      </a:r>
                    </a:p>
                  </a:txBody>
                  <a:tcPr marL="91430" marR="91430" marT="45705" marB="4570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1542942">
                <a:tc>
                  <a:txBody>
                    <a:bodyPr/>
                    <a:lstStyle/>
                    <a:p>
                      <a:r>
                        <a:rPr lang="en-US" sz="1800" b="1" dirty="0">
                          <a:solidFill>
                            <a:schemeClr val="tx1"/>
                          </a:solidFill>
                        </a:rPr>
                        <a:t>Contracted Research (All Paid to Institution)</a:t>
                      </a:r>
                    </a:p>
                  </a:txBody>
                  <a:tcPr marL="91430" marR="91430" marT="45705" marB="4570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b="0" dirty="0">
                          <a:solidFill>
                            <a:schemeClr val="tx1"/>
                          </a:solidFill>
                        </a:rPr>
                        <a:t>AbbVie Inc, AstraZeneca Pharmaceuticals LP, Bristol Myers Squibb, Genentech, a member of the Roche Group, Immunome, Janssen Biotech Inc, Loxo Oncology Inc, a wholly owned subsidiary of Eli Lilly &amp; Company, Lyell, Merck</a:t>
                      </a:r>
                    </a:p>
                  </a:txBody>
                  <a:tcPr marL="91430" marR="91430" marT="45705" marB="4570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89786675"/>
                  </a:ext>
                </a:extLst>
              </a:tr>
            </a:tbl>
          </a:graphicData>
        </a:graphic>
      </p:graphicFrame>
    </p:spTree>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D57D4AA-6DAC-C1C1-AA86-E42CFEF23ADC}"/>
              </a:ext>
            </a:extLst>
          </p:cNvPr>
          <p:cNvSpPr>
            <a:spLocks noGrp="1"/>
          </p:cNvSpPr>
          <p:nvPr>
            <p:ph type="title"/>
          </p:nvPr>
        </p:nvSpPr>
        <p:spPr/>
        <p:txBody>
          <a:bodyPr/>
          <a:lstStyle/>
          <a:p>
            <a:pPr algn="ctr"/>
            <a:r>
              <a:rPr lang="en-US" sz="3200" dirty="0"/>
              <a:t>Lenalidomide in R/R Follicular lymphoma</a:t>
            </a:r>
          </a:p>
        </p:txBody>
      </p:sp>
      <p:sp>
        <p:nvSpPr>
          <p:cNvPr id="5" name="Text Placeholder 3">
            <a:extLst>
              <a:ext uri="{FF2B5EF4-FFF2-40B4-BE49-F238E27FC236}">
                <a16:creationId xmlns:a16="http://schemas.microsoft.com/office/drawing/2014/main" id="{FFDC314A-26ED-9143-C091-B06743503DF7}"/>
              </a:ext>
            </a:extLst>
          </p:cNvPr>
          <p:cNvSpPr txBox="1">
            <a:spLocks/>
          </p:cNvSpPr>
          <p:nvPr/>
        </p:nvSpPr>
        <p:spPr>
          <a:xfrm>
            <a:off x="598316" y="1350894"/>
            <a:ext cx="4224407" cy="4563207"/>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8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srgbClr val="285698"/>
                </a:solidFill>
                <a:effectLst/>
                <a:uLnTx/>
                <a:uFillTx/>
                <a:latin typeface="Arial" panose="020B0604020202020204"/>
                <a:ea typeface="+mn-ea"/>
                <a:cs typeface="+mn-cs"/>
              </a:rPr>
              <a:t>5 yr AUGMENT OS 83%</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285698"/>
              </a:solidFill>
              <a:effectLst/>
              <a:uLnTx/>
              <a:uFillTx/>
              <a:latin typeface="Arial" panose="020B0604020202020204"/>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srgbClr val="285698"/>
                </a:solidFill>
                <a:effectLst/>
                <a:uLnTx/>
                <a:uFillTx/>
                <a:latin typeface="Arial" panose="020B0604020202020204"/>
                <a:ea typeface="+mn-ea"/>
                <a:cs typeface="+mn-cs"/>
              </a:rPr>
              <a:t>Median PFS 27.6 mths</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400" b="1" i="0" u="none" strike="noStrike" kern="1200" cap="none" spc="0" normalizeH="0" baseline="0" noProof="0" dirty="0">
              <a:ln>
                <a:noFill/>
              </a:ln>
              <a:solidFill>
                <a:srgbClr val="285698"/>
              </a:solidFill>
              <a:effectLst/>
              <a:uLnTx/>
              <a:uFillTx/>
              <a:latin typeface="Arial" panose="020B0604020202020204"/>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srgbClr val="285698"/>
                </a:solidFill>
                <a:effectLst/>
                <a:uLnTx/>
                <a:uFillTx/>
                <a:latin typeface="Arial" panose="020B0604020202020204"/>
                <a:ea typeface="+mn-ea"/>
                <a:cs typeface="+mn-cs"/>
              </a:rPr>
              <a:t>Len may</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285698"/>
                </a:solidFill>
                <a:effectLst/>
                <a:uLnTx/>
                <a:uFillTx/>
                <a:latin typeface="Arial" panose="020B0604020202020204"/>
                <a:ea typeface="+mn-ea"/>
                <a:cs typeface="+mn-cs"/>
              </a:rPr>
              <a:t>↑ T-cell # and activity</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285698"/>
                </a:solidFill>
                <a:effectLst/>
                <a:uLnTx/>
                <a:uFillTx/>
                <a:latin typeface="Arial" panose="020B0604020202020204"/>
                <a:ea typeface="+mn-ea"/>
                <a:cs typeface="+mn-cs"/>
              </a:rPr>
              <a:t>↑ NK cell # and activity</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285698"/>
                </a:solidFill>
                <a:effectLst/>
                <a:uLnTx/>
                <a:uFillTx/>
                <a:latin typeface="Arial" panose="020B0604020202020204"/>
                <a:ea typeface="+mn-ea"/>
                <a:cs typeface="+mn-cs"/>
              </a:rPr>
              <a:t>Directly kill B-cells</a:t>
            </a:r>
          </a:p>
        </p:txBody>
      </p:sp>
      <p:pic>
        <p:nvPicPr>
          <p:cNvPr id="6" name="Picture 4">
            <a:extLst>
              <a:ext uri="{FF2B5EF4-FFF2-40B4-BE49-F238E27FC236}">
                <a16:creationId xmlns:a16="http://schemas.microsoft.com/office/drawing/2014/main" id="{F2232BD1-B8DA-CD8A-F719-084153ABB71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75720" y="1574918"/>
            <a:ext cx="6085916" cy="3912957"/>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1F253851-BEC3-2213-2A55-70120F0B13F5}"/>
              </a:ext>
            </a:extLst>
          </p:cNvPr>
          <p:cNvSpPr txBox="1"/>
          <p:nvPr/>
        </p:nvSpPr>
        <p:spPr>
          <a:xfrm>
            <a:off x="6000882" y="6463366"/>
            <a:ext cx="6191118"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85698"/>
                </a:solidFill>
                <a:effectLst/>
                <a:uLnTx/>
                <a:uFillTx/>
                <a:latin typeface="Arial" panose="020B0604020202020204"/>
                <a:ea typeface="+mn-ea"/>
                <a:cs typeface="+mn-cs"/>
              </a:rPr>
              <a:t>Gribben J et al JCO 2015, Leonard J et al Blood 2022, Leonard J et al J Clin Oncol 2026</a:t>
            </a:r>
          </a:p>
        </p:txBody>
      </p:sp>
    </p:spTree>
    <p:extLst>
      <p:ext uri="{BB962C8B-B14F-4D97-AF65-F5344CB8AC3E}">
        <p14:creationId xmlns:p14="http://schemas.microsoft.com/office/powerpoint/2010/main" val="3017608305"/>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26720" y="146304"/>
            <a:ext cx="11338560"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1B3A6B"/>
                </a:solidFill>
                <a:effectLst/>
                <a:uLnTx/>
                <a:uFillTx/>
                <a:latin typeface="Arial" panose="020B0604020202020204"/>
                <a:ea typeface="+mn-ea"/>
                <a:cs typeface="+mn-cs"/>
              </a:rPr>
              <a:t>R/R </a:t>
            </a:r>
            <a:r>
              <a:rPr kumimoji="0" sz="3200" b="1" i="0" u="none" strike="noStrike" kern="1200" cap="none" spc="0" normalizeH="0" baseline="0" noProof="0" dirty="0">
                <a:ln>
                  <a:noFill/>
                </a:ln>
                <a:solidFill>
                  <a:srgbClr val="1B3A6B"/>
                </a:solidFill>
                <a:effectLst/>
                <a:uLnTx/>
                <a:uFillTx/>
                <a:latin typeface="Arial" panose="020B0604020202020204"/>
                <a:ea typeface="+mn-ea"/>
                <a:cs typeface="+mn-cs"/>
              </a:rPr>
              <a:t>Follicular Lymphoma: </a:t>
            </a:r>
            <a:r>
              <a:rPr kumimoji="0" lang="en-US" sz="3200" b="1" i="0" u="none" strike="noStrike" kern="1200" cap="none" spc="0" normalizeH="0" baseline="0" noProof="0" dirty="0">
                <a:ln>
                  <a:noFill/>
                </a:ln>
                <a:solidFill>
                  <a:srgbClr val="1B3A6B"/>
                </a:solidFill>
                <a:effectLst/>
                <a:uLnTx/>
                <a:uFillTx/>
                <a:latin typeface="Arial" panose="020B0604020202020204"/>
                <a:ea typeface="+mn-ea"/>
                <a:cs typeface="+mn-cs"/>
              </a:rPr>
              <a:t>My approach 2026</a:t>
            </a:r>
            <a:endParaRPr kumimoji="0" sz="3200" b="1" i="0" u="none" strike="noStrike" kern="1200" cap="none" spc="0" normalizeH="0" baseline="0" noProof="0" dirty="0">
              <a:ln>
                <a:noFill/>
              </a:ln>
              <a:solidFill>
                <a:srgbClr val="1B3A6B"/>
              </a:solidFill>
              <a:effectLst/>
              <a:uLnTx/>
              <a:uFillTx/>
              <a:latin typeface="Arial" panose="020B0604020202020204"/>
              <a:ea typeface="+mn-ea"/>
              <a:cs typeface="+mn-cs"/>
            </a:endParaRPr>
          </a:p>
        </p:txBody>
      </p:sp>
      <p:sp>
        <p:nvSpPr>
          <p:cNvPr id="4" name="Rectangle 3"/>
          <p:cNvSpPr/>
          <p:nvPr/>
        </p:nvSpPr>
        <p:spPr>
          <a:xfrm>
            <a:off x="3413760" y="1121664"/>
            <a:ext cx="5364480" cy="633984"/>
          </a:xfrm>
          <a:prstGeom prst="rect">
            <a:avLst/>
          </a:prstGeom>
          <a:solidFill>
            <a:srgbClr val="1B3A6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 name="TextBox 4"/>
          <p:cNvSpPr txBox="1"/>
          <p:nvPr/>
        </p:nvSpPr>
        <p:spPr>
          <a:xfrm>
            <a:off x="3535680" y="1121664"/>
            <a:ext cx="5120640"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400" b="1" i="0" u="none" strike="noStrike" kern="1200" cap="none" spc="0" normalizeH="0" baseline="0" noProof="0" dirty="0">
                <a:ln>
                  <a:noFill/>
                </a:ln>
                <a:solidFill>
                  <a:srgbClr val="FFFFFF"/>
                </a:solidFill>
                <a:effectLst/>
                <a:uLnTx/>
                <a:uFillTx/>
                <a:latin typeface="Arial" panose="020B0604020202020204"/>
                <a:ea typeface="+mn-ea"/>
                <a:cs typeface="+mn-cs"/>
              </a:rPr>
              <a:t>R/R Follicular Lymphoma (Grade 1–3A)</a:t>
            </a:r>
          </a:p>
        </p:txBody>
      </p:sp>
      <p:sp>
        <p:nvSpPr>
          <p:cNvPr id="6" name="Rectangle 5"/>
          <p:cNvSpPr/>
          <p:nvPr/>
        </p:nvSpPr>
        <p:spPr>
          <a:xfrm>
            <a:off x="5937504" y="1755648"/>
            <a:ext cx="316992" cy="365760"/>
          </a:xfrm>
          <a:prstGeom prst="rect">
            <a:avLst/>
          </a:prstGeom>
          <a:solidFill>
            <a:srgbClr val="1B3A6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 name="Rectangle 6"/>
          <p:cNvSpPr/>
          <p:nvPr/>
        </p:nvSpPr>
        <p:spPr>
          <a:xfrm>
            <a:off x="3413760" y="2121408"/>
            <a:ext cx="5364480" cy="585216"/>
          </a:xfrm>
          <a:prstGeom prst="rect">
            <a:avLst/>
          </a:prstGeom>
          <a:solidFill>
            <a:srgbClr val="F5F7FA"/>
          </a:solidFill>
          <a:ln w="12700">
            <a:solidFill>
              <a:srgbClr val="1B3A6B"/>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 name="TextBox 7"/>
          <p:cNvSpPr txBox="1"/>
          <p:nvPr/>
        </p:nvSpPr>
        <p:spPr>
          <a:xfrm>
            <a:off x="3535680" y="2121409"/>
            <a:ext cx="5120640" cy="31810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0" normalizeH="0" baseline="0" noProof="0" dirty="0">
                <a:ln>
                  <a:noFill/>
                </a:ln>
                <a:solidFill>
                  <a:srgbClr val="1B3A6B"/>
                </a:solidFill>
                <a:effectLst/>
                <a:uLnTx/>
                <a:uFillTx/>
                <a:latin typeface="Arial" panose="020B0604020202020204"/>
                <a:ea typeface="+mn-ea"/>
                <a:cs typeface="+mn-cs"/>
              </a:rPr>
              <a:t>Assess: prior lines, fitness, </a:t>
            </a:r>
            <a:r>
              <a:rPr kumimoji="0" lang="en-US" sz="1400" b="0" i="0" u="none" strike="noStrike" kern="1200" cap="none" spc="0" normalizeH="0" baseline="0" noProof="0" dirty="0">
                <a:ln>
                  <a:noFill/>
                </a:ln>
                <a:solidFill>
                  <a:srgbClr val="1B3A6B"/>
                </a:solidFill>
                <a:effectLst/>
                <a:uLnTx/>
                <a:uFillTx/>
                <a:latin typeface="Arial" panose="020B0604020202020204"/>
                <a:ea typeface="+mn-ea"/>
                <a:cs typeface="+mn-cs"/>
              </a:rPr>
              <a:t>duration of initial response</a:t>
            </a:r>
            <a:endParaRPr kumimoji="0" sz="1400" b="0" i="0" u="none" strike="noStrike" kern="1200" cap="none" spc="0" normalizeH="0" baseline="0" noProof="0" dirty="0">
              <a:ln>
                <a:noFill/>
              </a:ln>
              <a:solidFill>
                <a:srgbClr val="1B3A6B"/>
              </a:solidFill>
              <a:effectLst/>
              <a:uLnTx/>
              <a:uFillTx/>
              <a:latin typeface="Arial" panose="020B0604020202020204"/>
              <a:ea typeface="+mn-ea"/>
              <a:cs typeface="+mn-cs"/>
            </a:endParaRPr>
          </a:p>
        </p:txBody>
      </p:sp>
      <p:sp>
        <p:nvSpPr>
          <p:cNvPr id="9" name="Rectangle 8"/>
          <p:cNvSpPr/>
          <p:nvPr/>
        </p:nvSpPr>
        <p:spPr>
          <a:xfrm>
            <a:off x="1889760" y="2706624"/>
            <a:ext cx="268224" cy="365760"/>
          </a:xfrm>
          <a:prstGeom prst="rect">
            <a:avLst/>
          </a:prstGeom>
          <a:solidFill>
            <a:srgbClr val="1B3A6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 name="Rectangle 9"/>
          <p:cNvSpPr/>
          <p:nvPr/>
        </p:nvSpPr>
        <p:spPr>
          <a:xfrm>
            <a:off x="10034016" y="2706624"/>
            <a:ext cx="268224" cy="365760"/>
          </a:xfrm>
          <a:prstGeom prst="rect">
            <a:avLst/>
          </a:prstGeom>
          <a:solidFill>
            <a:srgbClr val="1B3A6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1" name="Rectangle 10"/>
          <p:cNvSpPr/>
          <p:nvPr/>
        </p:nvSpPr>
        <p:spPr>
          <a:xfrm>
            <a:off x="1889760" y="2706624"/>
            <a:ext cx="8412480" cy="60960"/>
          </a:xfrm>
          <a:prstGeom prst="rect">
            <a:avLst/>
          </a:prstGeom>
          <a:solidFill>
            <a:srgbClr val="1B3A6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2" name="Rectangle 11"/>
          <p:cNvSpPr/>
          <p:nvPr/>
        </p:nvSpPr>
        <p:spPr>
          <a:xfrm>
            <a:off x="426720" y="3072384"/>
            <a:ext cx="5242560" cy="560832"/>
          </a:xfrm>
          <a:prstGeom prst="rect">
            <a:avLst/>
          </a:prstGeom>
          <a:solidFill>
            <a:srgbClr val="F5F7FA"/>
          </a:solidFill>
          <a:ln w="19050">
            <a:solidFill>
              <a:srgbClr val="0D7A7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3" name="TextBox 12"/>
          <p:cNvSpPr txBox="1"/>
          <p:nvPr/>
        </p:nvSpPr>
        <p:spPr>
          <a:xfrm>
            <a:off x="609600" y="3072385"/>
            <a:ext cx="4876800"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600" b="1" i="0" u="none" strike="noStrike" kern="1200" cap="none" spc="0" normalizeH="0" baseline="0" noProof="0" dirty="0">
                <a:ln>
                  <a:noFill/>
                </a:ln>
                <a:solidFill>
                  <a:srgbClr val="0D7A78"/>
                </a:solidFill>
                <a:effectLst/>
                <a:uLnTx/>
                <a:uFillTx/>
                <a:latin typeface="Arial" panose="020B0604020202020204"/>
                <a:ea typeface="+mn-ea"/>
                <a:cs typeface="+mn-cs"/>
              </a:rPr>
              <a:t>2nd Line</a:t>
            </a:r>
          </a:p>
        </p:txBody>
      </p:sp>
      <p:sp>
        <p:nvSpPr>
          <p:cNvPr id="14" name="Rectangle 13"/>
          <p:cNvSpPr/>
          <p:nvPr/>
        </p:nvSpPr>
        <p:spPr>
          <a:xfrm>
            <a:off x="426720" y="3718560"/>
            <a:ext cx="5242560" cy="633984"/>
          </a:xfrm>
          <a:prstGeom prst="rect">
            <a:avLst/>
          </a:prstGeom>
          <a:solidFill>
            <a:srgbClr val="0D7A7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5" name="TextBox 14"/>
          <p:cNvSpPr txBox="1"/>
          <p:nvPr/>
        </p:nvSpPr>
        <p:spPr>
          <a:xfrm>
            <a:off x="548641" y="3742945"/>
            <a:ext cx="4998719" cy="54386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400" b="1" i="0" u="none" strike="noStrike" kern="1200" cap="none" spc="0" normalizeH="0" baseline="0" noProof="0" dirty="0">
                <a:ln>
                  <a:noFill/>
                </a:ln>
                <a:solidFill>
                  <a:srgbClr val="FFFFFF"/>
                </a:solidFill>
                <a:effectLst/>
                <a:uLnTx/>
                <a:uFillTx/>
                <a:latin typeface="Arial" panose="020B0604020202020204"/>
                <a:ea typeface="+mn-ea"/>
                <a:cs typeface="+mn-cs"/>
              </a:rPr>
              <a:t>Bispecific Antibody (PREFERRED)
Epcoritamab+R2 (FDA approved Nov 2025)</a:t>
            </a:r>
          </a:p>
        </p:txBody>
      </p:sp>
      <p:sp>
        <p:nvSpPr>
          <p:cNvPr id="16" name="Rectangle 15"/>
          <p:cNvSpPr/>
          <p:nvPr/>
        </p:nvSpPr>
        <p:spPr>
          <a:xfrm>
            <a:off x="426720" y="4425696"/>
            <a:ext cx="5242560" cy="487680"/>
          </a:xfrm>
          <a:prstGeom prst="rect">
            <a:avLst/>
          </a:prstGeom>
          <a:solidFill>
            <a:srgbClr val="F5F7FA"/>
          </a:solidFill>
          <a:ln w="6350">
            <a:solidFill>
              <a:srgbClr val="E2E8F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7" name="TextBox 16"/>
          <p:cNvSpPr txBox="1"/>
          <p:nvPr/>
        </p:nvSpPr>
        <p:spPr>
          <a:xfrm>
            <a:off x="548641" y="4450081"/>
            <a:ext cx="4998719"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200" b="0" i="1" u="none" strike="noStrike" kern="1200" cap="none" spc="0" normalizeH="0" baseline="0" noProof="0" dirty="0">
                <a:ln>
                  <a:noFill/>
                </a:ln>
                <a:solidFill>
                  <a:srgbClr val="5A6472"/>
                </a:solidFill>
                <a:effectLst/>
                <a:uLnTx/>
                <a:uFillTx/>
                <a:latin typeface="Arial" panose="020B0604020202020204"/>
                <a:ea typeface="+mn-ea"/>
                <a:cs typeface="+mn-cs"/>
              </a:rPr>
              <a:t>Alternative: </a:t>
            </a:r>
            <a:r>
              <a:rPr kumimoji="0" lang="en-US" sz="1200" b="0" i="1" u="none" strike="noStrike" kern="1200" cap="none" spc="0" normalizeH="0" baseline="0" noProof="0" dirty="0">
                <a:ln>
                  <a:noFill/>
                </a:ln>
                <a:solidFill>
                  <a:srgbClr val="5A6472"/>
                </a:solidFill>
                <a:effectLst/>
                <a:uLnTx/>
                <a:uFillTx/>
                <a:latin typeface="Arial" panose="020B0604020202020204"/>
                <a:ea typeface="+mn-ea"/>
                <a:cs typeface="+mn-cs"/>
              </a:rPr>
              <a:t>Tafa - </a:t>
            </a:r>
            <a:r>
              <a:rPr kumimoji="0" sz="1200" b="0" i="1" u="none" strike="noStrike" kern="1200" cap="none" spc="0" normalizeH="0" baseline="0" noProof="0" dirty="0">
                <a:ln>
                  <a:noFill/>
                </a:ln>
                <a:solidFill>
                  <a:srgbClr val="5A6472"/>
                </a:solidFill>
                <a:effectLst/>
                <a:uLnTx/>
                <a:uFillTx/>
                <a:latin typeface="Arial" panose="020B0604020202020204"/>
                <a:ea typeface="+mn-ea"/>
                <a:cs typeface="+mn-cs"/>
              </a:rPr>
              <a:t>R2  |  R-bendamustine  |  Obinutuzumab+chemo</a:t>
            </a:r>
          </a:p>
        </p:txBody>
      </p:sp>
      <p:sp>
        <p:nvSpPr>
          <p:cNvPr id="20" name="Rectangle 19"/>
          <p:cNvSpPr/>
          <p:nvPr/>
        </p:nvSpPr>
        <p:spPr>
          <a:xfrm>
            <a:off x="6522720" y="3072384"/>
            <a:ext cx="5242560" cy="560832"/>
          </a:xfrm>
          <a:prstGeom prst="rect">
            <a:avLst/>
          </a:prstGeom>
          <a:solidFill>
            <a:srgbClr val="F5F7FA"/>
          </a:solidFill>
          <a:ln w="19050">
            <a:solidFill>
              <a:srgbClr val="0D4F3D"/>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1" name="TextBox 20"/>
          <p:cNvSpPr txBox="1"/>
          <p:nvPr/>
        </p:nvSpPr>
        <p:spPr>
          <a:xfrm>
            <a:off x="6705600" y="3072385"/>
            <a:ext cx="4876800"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600" b="1" i="0" u="none" strike="noStrike" kern="1200" cap="none" spc="0" normalizeH="0" baseline="0" noProof="0" dirty="0">
                <a:ln>
                  <a:noFill/>
                </a:ln>
                <a:solidFill>
                  <a:srgbClr val="0D4F3D"/>
                </a:solidFill>
                <a:effectLst/>
                <a:uLnTx/>
                <a:uFillTx/>
                <a:latin typeface="Arial" panose="020B0604020202020204"/>
                <a:ea typeface="+mn-ea"/>
                <a:cs typeface="+mn-cs"/>
              </a:rPr>
              <a:t>3rd Line+</a:t>
            </a:r>
          </a:p>
        </p:txBody>
      </p:sp>
      <p:sp>
        <p:nvSpPr>
          <p:cNvPr id="22" name="Rectangle 21"/>
          <p:cNvSpPr/>
          <p:nvPr/>
        </p:nvSpPr>
        <p:spPr>
          <a:xfrm>
            <a:off x="6522720" y="3718560"/>
            <a:ext cx="5242560" cy="633984"/>
          </a:xfrm>
          <a:prstGeom prst="rect">
            <a:avLst/>
          </a:prstGeom>
          <a:solidFill>
            <a:srgbClr val="0D4F3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3" name="TextBox 22"/>
          <p:cNvSpPr txBox="1"/>
          <p:nvPr/>
        </p:nvSpPr>
        <p:spPr>
          <a:xfrm>
            <a:off x="6644641" y="3742945"/>
            <a:ext cx="4998719"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400" b="1" i="0" u="none" strike="noStrike" kern="1200" cap="none" spc="0" normalizeH="0" baseline="0" noProof="0" dirty="0">
                <a:ln>
                  <a:noFill/>
                </a:ln>
                <a:solidFill>
                  <a:srgbClr val="FFFFFF"/>
                </a:solidFill>
                <a:effectLst/>
                <a:uLnTx/>
                <a:uFillTx/>
                <a:latin typeface="Arial" panose="020B0604020202020204"/>
                <a:ea typeface="+mn-ea"/>
                <a:cs typeface="+mn-cs"/>
              </a:rPr>
              <a:t>Bispecific Ab (if not prior)</a:t>
            </a:r>
            <a:endPar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sz="1400" b="1" i="0" u="none" strike="noStrike" kern="1200" cap="none" spc="0" normalizeH="0" baseline="0" noProof="0" dirty="0">
                <a:ln>
                  <a:noFill/>
                </a:ln>
                <a:solidFill>
                  <a:srgbClr val="FFFFFF"/>
                </a:solidFill>
                <a:effectLst/>
                <a:uLnTx/>
                <a:uFillTx/>
                <a:latin typeface="Arial" panose="020B0604020202020204"/>
                <a:ea typeface="+mn-ea"/>
                <a:cs typeface="+mn-cs"/>
              </a:rPr>
              <a:t>CAR-T (axi-cel, </a:t>
            </a:r>
            <a:r>
              <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rPr>
              <a:t>liso-cel, tisacel)</a:t>
            </a:r>
            <a:endParaRPr kumimoji="0" sz="14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4" name="Rectangle 23"/>
          <p:cNvSpPr/>
          <p:nvPr/>
        </p:nvSpPr>
        <p:spPr>
          <a:xfrm>
            <a:off x="6522720" y="4425696"/>
            <a:ext cx="5242560" cy="487680"/>
          </a:xfrm>
          <a:prstGeom prst="rect">
            <a:avLst/>
          </a:prstGeom>
          <a:solidFill>
            <a:srgbClr val="F5F7FA"/>
          </a:solidFill>
          <a:ln w="6350">
            <a:solidFill>
              <a:srgbClr val="E2E8F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5" name="TextBox 24"/>
          <p:cNvSpPr txBox="1"/>
          <p:nvPr/>
        </p:nvSpPr>
        <p:spPr>
          <a:xfrm>
            <a:off x="6644641" y="4450080"/>
            <a:ext cx="4998719"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200" b="0" i="1" u="none" strike="noStrike" kern="1200" cap="none" spc="0" normalizeH="0" baseline="0" noProof="0" dirty="0">
                <a:ln>
                  <a:noFill/>
                </a:ln>
                <a:solidFill>
                  <a:srgbClr val="5A6472"/>
                </a:solidFill>
                <a:effectLst/>
                <a:uLnTx/>
                <a:uFillTx/>
                <a:latin typeface="Arial" panose="020B0604020202020204"/>
                <a:ea typeface="+mn-ea"/>
                <a:cs typeface="+mn-cs"/>
              </a:rPr>
              <a:t>Alternative: </a:t>
            </a:r>
            <a:r>
              <a:rPr kumimoji="0" lang="en-US" sz="1200" b="0" i="1" u="none" strike="noStrike" kern="1200" cap="none" spc="0" normalizeH="0" baseline="0" noProof="0" dirty="0">
                <a:ln>
                  <a:noFill/>
                </a:ln>
                <a:solidFill>
                  <a:srgbClr val="5A6472"/>
                </a:solidFill>
                <a:effectLst/>
                <a:uLnTx/>
                <a:uFillTx/>
                <a:latin typeface="Arial" panose="020B0604020202020204"/>
                <a:ea typeface="+mn-ea"/>
                <a:cs typeface="+mn-cs"/>
              </a:rPr>
              <a:t>Zanubrutinib + Obinutuzumab (3L+)</a:t>
            </a:r>
            <a:endParaRPr kumimoji="0" sz="1200" b="0" i="1" u="none" strike="noStrike" kern="1200" cap="none" spc="0" normalizeH="0" baseline="0" noProof="0" dirty="0">
              <a:ln>
                <a:noFill/>
              </a:ln>
              <a:solidFill>
                <a:srgbClr val="5A6472"/>
              </a:solidFill>
              <a:effectLst/>
              <a:uLnTx/>
              <a:uFillTx/>
              <a:latin typeface="Arial" panose="020B0604020202020204"/>
              <a:ea typeface="+mn-ea"/>
              <a:cs typeface="+mn-cs"/>
            </a:endParaRPr>
          </a:p>
        </p:txBody>
      </p:sp>
      <p:sp>
        <p:nvSpPr>
          <p:cNvPr id="26" name="Rectangle 25"/>
          <p:cNvSpPr/>
          <p:nvPr/>
        </p:nvSpPr>
        <p:spPr>
          <a:xfrm>
            <a:off x="6522720" y="4986528"/>
            <a:ext cx="5242560" cy="426720"/>
          </a:xfrm>
          <a:prstGeom prst="rect">
            <a:avLst/>
          </a:prstGeom>
          <a:solidFill>
            <a:srgbClr val="F5F7FA"/>
          </a:solidFill>
          <a:ln w="6350">
            <a:solidFill>
              <a:srgbClr val="E2E8F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7" name="TextBox 26"/>
          <p:cNvSpPr txBox="1"/>
          <p:nvPr/>
        </p:nvSpPr>
        <p:spPr>
          <a:xfrm>
            <a:off x="6644641" y="4986528"/>
            <a:ext cx="4998719"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baseline="0" noProof="0" dirty="0">
                <a:ln>
                  <a:noFill/>
                </a:ln>
                <a:solidFill>
                  <a:srgbClr val="1A1A1A"/>
                </a:solidFill>
                <a:effectLst/>
                <a:uLnTx/>
                <a:uFillTx/>
                <a:latin typeface="Arial" panose="020B0604020202020204"/>
                <a:ea typeface="+mn-ea"/>
                <a:cs typeface="+mn-cs"/>
              </a:rPr>
              <a:t>Consider clinical trial at all lines of therapy</a:t>
            </a:r>
          </a:p>
        </p:txBody>
      </p:sp>
      <p:sp>
        <p:nvSpPr>
          <p:cNvPr id="28" name="TextBox 27"/>
          <p:cNvSpPr txBox="1"/>
          <p:nvPr/>
        </p:nvSpPr>
        <p:spPr>
          <a:xfrm>
            <a:off x="5259275" y="6425185"/>
            <a:ext cx="6932725"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baseline="0" noProof="0" dirty="0">
                <a:ln>
                  <a:noFill/>
                </a:ln>
                <a:solidFill>
                  <a:srgbClr val="285698"/>
                </a:solidFill>
                <a:effectLst/>
                <a:uLnTx/>
                <a:uFillTx/>
                <a:latin typeface="Arial" panose="020B0604020202020204"/>
                <a:ea typeface="+mn-ea"/>
                <a:cs typeface="+mn-cs"/>
              </a:rPr>
              <a:t>NCCN Guidelines NHL v2.2025; Bartlett NL et al. Lancet Oncol. 2025; FDA Approvals 2023–2025</a:t>
            </a:r>
          </a:p>
        </p:txBody>
      </p:sp>
    </p:spTree>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8ADCB5-E8D6-C0EA-EE8A-CB6BDAA3B19E}"/>
              </a:ext>
            </a:extLst>
          </p:cNvPr>
          <p:cNvSpPr>
            <a:spLocks noGrp="1"/>
          </p:cNvSpPr>
          <p:nvPr>
            <p:ph type="title"/>
          </p:nvPr>
        </p:nvSpPr>
        <p:spPr/>
        <p:txBody>
          <a:bodyPr/>
          <a:lstStyle/>
          <a:p>
            <a:pPr algn="ctr"/>
            <a:r>
              <a:rPr lang="en-US" sz="3200" dirty="0"/>
              <a:t>Follicular Lymphoma: INMIND Ph 3 RCT</a:t>
            </a:r>
          </a:p>
        </p:txBody>
      </p:sp>
      <p:pic>
        <p:nvPicPr>
          <p:cNvPr id="5" name="Content Placeholder 4" descr="A diagram of a patient's study&#10;&#10;AI-generated content may be incorrect.">
            <a:extLst>
              <a:ext uri="{FF2B5EF4-FFF2-40B4-BE49-F238E27FC236}">
                <a16:creationId xmlns:a16="http://schemas.microsoft.com/office/drawing/2014/main" id="{A924DA67-95DE-4951-0DD5-1E7FB0EC312D}"/>
              </a:ext>
            </a:extLst>
          </p:cNvPr>
          <p:cNvPicPr>
            <a:picLocks noGrp="1" noChangeAspect="1"/>
          </p:cNvPicPr>
          <p:nvPr>
            <p:ph idx="1"/>
          </p:nvPr>
        </p:nvPicPr>
        <p:blipFill>
          <a:blip r:embed="rId2"/>
          <a:srcRect t="17114"/>
          <a:stretch/>
        </p:blipFill>
        <p:spPr>
          <a:xfrm>
            <a:off x="960281" y="1160753"/>
            <a:ext cx="10714586" cy="4758212"/>
          </a:xfrm>
        </p:spPr>
      </p:pic>
      <p:sp>
        <p:nvSpPr>
          <p:cNvPr id="4" name="TextBox 3">
            <a:extLst>
              <a:ext uri="{FF2B5EF4-FFF2-40B4-BE49-F238E27FC236}">
                <a16:creationId xmlns:a16="http://schemas.microsoft.com/office/drawing/2014/main" id="{08B153E4-6A9D-39C6-3683-83C65D15EC71}"/>
              </a:ext>
            </a:extLst>
          </p:cNvPr>
          <p:cNvSpPr txBox="1"/>
          <p:nvPr/>
        </p:nvSpPr>
        <p:spPr>
          <a:xfrm>
            <a:off x="9712960" y="6595115"/>
            <a:ext cx="173182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85698"/>
                </a:solidFill>
                <a:effectLst/>
                <a:uLnTx/>
                <a:uFillTx/>
                <a:latin typeface="Arial" panose="020B0604020202020204"/>
                <a:ea typeface="+mn-ea"/>
                <a:cs typeface="+mn-cs"/>
              </a:rPr>
              <a:t>Sehn L et al ASH 2024</a:t>
            </a:r>
          </a:p>
        </p:txBody>
      </p:sp>
    </p:spTree>
    <p:extLst>
      <p:ext uri="{BB962C8B-B14F-4D97-AF65-F5344CB8AC3E}">
        <p14:creationId xmlns:p14="http://schemas.microsoft.com/office/powerpoint/2010/main" val="2863240245"/>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7C4523-6E2D-4AA6-7C27-C40DFCB3B844}"/>
              </a:ext>
            </a:extLst>
          </p:cNvPr>
          <p:cNvSpPr>
            <a:spLocks noGrp="1"/>
          </p:cNvSpPr>
          <p:nvPr>
            <p:ph type="title"/>
          </p:nvPr>
        </p:nvSpPr>
        <p:spPr/>
        <p:txBody>
          <a:bodyPr/>
          <a:lstStyle/>
          <a:p>
            <a:pPr algn="ctr"/>
            <a:r>
              <a:rPr lang="en-US" sz="3200" dirty="0"/>
              <a:t>INMIND: Patient Characteristics</a:t>
            </a:r>
          </a:p>
        </p:txBody>
      </p:sp>
      <p:pic>
        <p:nvPicPr>
          <p:cNvPr id="5" name="Content Placeholder 4" descr="A screenshot of a table&#10;&#10;AI-generated content may be incorrect.">
            <a:extLst>
              <a:ext uri="{FF2B5EF4-FFF2-40B4-BE49-F238E27FC236}">
                <a16:creationId xmlns:a16="http://schemas.microsoft.com/office/drawing/2014/main" id="{80621678-CA07-EAF3-FDF6-C2F7FB317C56}"/>
              </a:ext>
            </a:extLst>
          </p:cNvPr>
          <p:cNvPicPr>
            <a:picLocks noGrp="1" noChangeAspect="1"/>
          </p:cNvPicPr>
          <p:nvPr>
            <p:ph idx="1"/>
          </p:nvPr>
        </p:nvPicPr>
        <p:blipFill>
          <a:blip r:embed="rId2"/>
          <a:srcRect t="14496"/>
          <a:stretch/>
        </p:blipFill>
        <p:spPr>
          <a:xfrm>
            <a:off x="1244698" y="1098891"/>
            <a:ext cx="9698118" cy="4324051"/>
          </a:xfrm>
        </p:spPr>
      </p:pic>
      <p:sp>
        <p:nvSpPr>
          <p:cNvPr id="4" name="TextBox 3">
            <a:extLst>
              <a:ext uri="{FF2B5EF4-FFF2-40B4-BE49-F238E27FC236}">
                <a16:creationId xmlns:a16="http://schemas.microsoft.com/office/drawing/2014/main" id="{F2687379-7136-E2E9-EE07-36053F5008DB}"/>
              </a:ext>
            </a:extLst>
          </p:cNvPr>
          <p:cNvSpPr txBox="1"/>
          <p:nvPr/>
        </p:nvSpPr>
        <p:spPr>
          <a:xfrm>
            <a:off x="9712960" y="6595115"/>
            <a:ext cx="173182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85698"/>
                </a:solidFill>
                <a:effectLst/>
                <a:uLnTx/>
                <a:uFillTx/>
                <a:latin typeface="Arial" panose="020B0604020202020204"/>
                <a:ea typeface="+mn-ea"/>
                <a:cs typeface="+mn-cs"/>
              </a:rPr>
              <a:t>Sehn L et al ASH 2024</a:t>
            </a:r>
          </a:p>
        </p:txBody>
      </p:sp>
      <p:sp>
        <p:nvSpPr>
          <p:cNvPr id="6" name="Rounded Rectangle 5">
            <a:extLst>
              <a:ext uri="{FF2B5EF4-FFF2-40B4-BE49-F238E27FC236}">
                <a16:creationId xmlns:a16="http://schemas.microsoft.com/office/drawing/2014/main" id="{83B043BA-D189-ED9C-167F-E64C5065C8B4}"/>
              </a:ext>
            </a:extLst>
          </p:cNvPr>
          <p:cNvSpPr/>
          <p:nvPr/>
        </p:nvSpPr>
        <p:spPr>
          <a:xfrm>
            <a:off x="1244698" y="4993528"/>
            <a:ext cx="9698118" cy="429413"/>
          </a:xfrm>
          <a:prstGeom prst="roundRect">
            <a:avLst/>
          </a:prstGeom>
          <a:solidFill>
            <a:schemeClr val="tx1">
              <a:alpha val="37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003FAAC9-988B-9E82-EF88-FD7A44473450}"/>
              </a:ext>
            </a:extLst>
          </p:cNvPr>
          <p:cNvSpPr txBox="1"/>
          <p:nvPr/>
        </p:nvSpPr>
        <p:spPr>
          <a:xfrm>
            <a:off x="3039427" y="5639696"/>
            <a:ext cx="610865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85698"/>
                </a:solidFill>
                <a:effectLst/>
                <a:uLnTx/>
                <a:uFillTx/>
                <a:latin typeface="Arial" panose="020B0604020202020204"/>
                <a:ea typeface="+mn-ea"/>
                <a:cs typeface="+mn-cs"/>
              </a:rPr>
              <a:t>~30% POD24 in both arms. ~40% Rituximab refractory</a:t>
            </a:r>
          </a:p>
        </p:txBody>
      </p:sp>
    </p:spTree>
    <p:extLst>
      <p:ext uri="{BB962C8B-B14F-4D97-AF65-F5344CB8AC3E}">
        <p14:creationId xmlns:p14="http://schemas.microsoft.com/office/powerpoint/2010/main" val="334061947"/>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521C4-217E-005F-A55F-E0FAFABD85C0}"/>
              </a:ext>
            </a:extLst>
          </p:cNvPr>
          <p:cNvSpPr>
            <a:spLocks noGrp="1"/>
          </p:cNvSpPr>
          <p:nvPr>
            <p:ph type="title"/>
          </p:nvPr>
        </p:nvSpPr>
        <p:spPr/>
        <p:txBody>
          <a:bodyPr/>
          <a:lstStyle/>
          <a:p>
            <a:pPr algn="ctr"/>
            <a:r>
              <a:rPr lang="en-US" sz="3200" dirty="0"/>
              <a:t>INMIND: PFS &amp; OS</a:t>
            </a:r>
          </a:p>
        </p:txBody>
      </p:sp>
      <p:pic>
        <p:nvPicPr>
          <p:cNvPr id="5" name="Content Placeholder 4" descr="A graph of a number of patients with probabilities&#10;&#10;AI-generated content may be incorrect.">
            <a:extLst>
              <a:ext uri="{FF2B5EF4-FFF2-40B4-BE49-F238E27FC236}">
                <a16:creationId xmlns:a16="http://schemas.microsoft.com/office/drawing/2014/main" id="{920D691F-F7AC-D0D7-FB2E-47B6178B794D}"/>
              </a:ext>
            </a:extLst>
          </p:cNvPr>
          <p:cNvPicPr>
            <a:picLocks noGrp="1" noChangeAspect="1"/>
          </p:cNvPicPr>
          <p:nvPr>
            <p:ph idx="1"/>
          </p:nvPr>
        </p:nvPicPr>
        <p:blipFill>
          <a:blip r:embed="rId2"/>
          <a:srcRect l="11914" t="13973" b="9697"/>
          <a:stretch>
            <a:fillRect/>
          </a:stretch>
        </p:blipFill>
        <p:spPr>
          <a:xfrm>
            <a:off x="421341" y="1629960"/>
            <a:ext cx="5522128" cy="2679315"/>
          </a:xfrm>
        </p:spPr>
      </p:pic>
      <p:sp>
        <p:nvSpPr>
          <p:cNvPr id="3" name="Rounded Rectangle 2">
            <a:extLst>
              <a:ext uri="{FF2B5EF4-FFF2-40B4-BE49-F238E27FC236}">
                <a16:creationId xmlns:a16="http://schemas.microsoft.com/office/drawing/2014/main" id="{0619AF4A-7EBA-801D-775F-1C38D2B8D67C}"/>
              </a:ext>
            </a:extLst>
          </p:cNvPr>
          <p:cNvSpPr/>
          <p:nvPr/>
        </p:nvSpPr>
        <p:spPr>
          <a:xfrm>
            <a:off x="2682240" y="6187440"/>
            <a:ext cx="2936240" cy="538480"/>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0F26480A-2C6A-5A47-D778-1AE61A46211C}"/>
              </a:ext>
            </a:extLst>
          </p:cNvPr>
          <p:cNvSpPr txBox="1"/>
          <p:nvPr/>
        </p:nvSpPr>
        <p:spPr>
          <a:xfrm>
            <a:off x="9712960" y="6595115"/>
            <a:ext cx="173182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85698"/>
                </a:solidFill>
                <a:effectLst/>
                <a:uLnTx/>
                <a:uFillTx/>
                <a:latin typeface="Arial" panose="020B0604020202020204"/>
                <a:ea typeface="+mn-ea"/>
                <a:cs typeface="+mn-cs"/>
              </a:rPr>
              <a:t>Sehn L et al ASH 2024</a:t>
            </a:r>
          </a:p>
        </p:txBody>
      </p:sp>
      <p:pic>
        <p:nvPicPr>
          <p:cNvPr id="6" name="Content Placeholder 4" descr="A graph with numbers and lines&#10;&#10;AI-generated content may be incorrect.">
            <a:extLst>
              <a:ext uri="{FF2B5EF4-FFF2-40B4-BE49-F238E27FC236}">
                <a16:creationId xmlns:a16="http://schemas.microsoft.com/office/drawing/2014/main" id="{3F6B79FD-C4D8-40DD-84DA-F9BDB411809F}"/>
              </a:ext>
            </a:extLst>
          </p:cNvPr>
          <p:cNvPicPr>
            <a:picLocks noChangeAspect="1"/>
          </p:cNvPicPr>
          <p:nvPr/>
        </p:nvPicPr>
        <p:blipFill>
          <a:blip r:embed="rId3"/>
          <a:srcRect l="12797" t="14910" r="8770" b="11350"/>
          <a:stretch>
            <a:fillRect/>
          </a:stretch>
        </p:blipFill>
        <p:spPr>
          <a:xfrm>
            <a:off x="5817121" y="1583518"/>
            <a:ext cx="5648279" cy="2840998"/>
          </a:xfrm>
          <a:prstGeom prst="rect">
            <a:avLst/>
          </a:prstGeom>
        </p:spPr>
      </p:pic>
      <p:sp>
        <p:nvSpPr>
          <p:cNvPr id="7" name="TextBox 6">
            <a:extLst>
              <a:ext uri="{FF2B5EF4-FFF2-40B4-BE49-F238E27FC236}">
                <a16:creationId xmlns:a16="http://schemas.microsoft.com/office/drawing/2014/main" id="{CF9B1D70-9873-69DE-5D00-32CA7112815B}"/>
              </a:ext>
            </a:extLst>
          </p:cNvPr>
          <p:cNvSpPr txBox="1"/>
          <p:nvPr/>
        </p:nvSpPr>
        <p:spPr>
          <a:xfrm>
            <a:off x="2966179" y="4858983"/>
            <a:ext cx="5954579" cy="1015663"/>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85698"/>
                </a:solidFill>
                <a:effectLst/>
                <a:uLnTx/>
                <a:uFillTx/>
                <a:latin typeface="Arial" panose="020B0604020202020204"/>
                <a:ea typeface="+mn-ea"/>
                <a:cs typeface="+mn-cs"/>
              </a:rPr>
              <a:t>Median PFS 22.4 mths Tafa-R</a:t>
            </a:r>
            <a:r>
              <a:rPr kumimoji="0" lang="en-US" sz="1800" b="0" i="0" u="none" strike="noStrike" kern="1200" cap="none" spc="0" normalizeH="0" baseline="30000" noProof="0" dirty="0">
                <a:ln>
                  <a:noFill/>
                </a:ln>
                <a:solidFill>
                  <a:srgbClr val="285698"/>
                </a:solidFill>
                <a:effectLst/>
                <a:uLnTx/>
                <a:uFillTx/>
                <a:latin typeface="Arial" panose="020B0604020202020204"/>
                <a:ea typeface="+mn-ea"/>
                <a:cs typeface="+mn-cs"/>
              </a:rPr>
              <a:t>2</a:t>
            </a:r>
            <a:r>
              <a:rPr kumimoji="0" lang="en-US" sz="1800" b="0" i="0" u="none" strike="noStrike" kern="1200" cap="none" spc="0" normalizeH="0" baseline="0" noProof="0" dirty="0">
                <a:ln>
                  <a:noFill/>
                </a:ln>
                <a:solidFill>
                  <a:srgbClr val="285698"/>
                </a:solidFill>
                <a:effectLst/>
                <a:uLnTx/>
                <a:uFillTx/>
                <a:latin typeface="Arial" panose="020B0604020202020204"/>
                <a:ea typeface="+mn-ea"/>
                <a:cs typeface="+mn-cs"/>
              </a:rPr>
              <a:t> vs 13.9 mths Placebo-R</a:t>
            </a:r>
            <a:r>
              <a:rPr kumimoji="0" lang="en-US" sz="1800" b="0" i="0" u="none" strike="noStrike" kern="1200" cap="none" spc="0" normalizeH="0" baseline="30000" noProof="0" dirty="0">
                <a:ln>
                  <a:noFill/>
                </a:ln>
                <a:solidFill>
                  <a:srgbClr val="285698"/>
                </a:solidFill>
                <a:effectLst/>
                <a:uLnTx/>
                <a:uFillTx/>
                <a:latin typeface="Arial" panose="020B0604020202020204"/>
                <a:ea typeface="+mn-ea"/>
                <a:cs typeface="+mn-cs"/>
              </a:rPr>
              <a:t>2</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30000" noProof="0" dirty="0">
              <a:ln>
                <a:noFill/>
              </a:ln>
              <a:solidFill>
                <a:srgbClr val="285698"/>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85698"/>
                </a:solidFill>
                <a:effectLst/>
                <a:uLnTx/>
                <a:uFillTx/>
                <a:latin typeface="Arial" panose="020B0604020202020204"/>
                <a:ea typeface="+mn-ea"/>
                <a:cs typeface="+mn-cs"/>
              </a:rPr>
              <a:t>Median OS NR Tafa-R</a:t>
            </a:r>
            <a:r>
              <a:rPr kumimoji="0" lang="en-US" sz="1800" b="0" i="0" u="none" strike="noStrike" kern="1200" cap="none" spc="0" normalizeH="0" baseline="30000" noProof="0" dirty="0">
                <a:ln>
                  <a:noFill/>
                </a:ln>
                <a:solidFill>
                  <a:srgbClr val="285698"/>
                </a:solidFill>
                <a:effectLst/>
                <a:uLnTx/>
                <a:uFillTx/>
                <a:latin typeface="Arial" panose="020B0604020202020204"/>
                <a:ea typeface="+mn-ea"/>
                <a:cs typeface="+mn-cs"/>
              </a:rPr>
              <a:t>2</a:t>
            </a:r>
            <a:r>
              <a:rPr kumimoji="0" lang="en-US" sz="1800" b="0" i="0" u="none" strike="noStrike" kern="1200" cap="none" spc="0" normalizeH="0" baseline="0" noProof="0" dirty="0">
                <a:ln>
                  <a:noFill/>
                </a:ln>
                <a:solidFill>
                  <a:srgbClr val="285698"/>
                </a:solidFill>
                <a:effectLst/>
                <a:uLnTx/>
                <a:uFillTx/>
                <a:latin typeface="Arial" panose="020B0604020202020204"/>
                <a:ea typeface="+mn-ea"/>
                <a:cs typeface="+mn-cs"/>
              </a:rPr>
              <a:t> vs NR Placebo-R</a:t>
            </a:r>
            <a:r>
              <a:rPr kumimoji="0" lang="en-US" sz="1800" b="0" i="0" u="none" strike="noStrike" kern="1200" cap="none" spc="0" normalizeH="0" baseline="30000" noProof="0" dirty="0">
                <a:ln>
                  <a:noFill/>
                </a:ln>
                <a:solidFill>
                  <a:srgbClr val="285698"/>
                </a:solidFill>
                <a:effectLst/>
                <a:uLnTx/>
                <a:uFillTx/>
                <a:latin typeface="Arial" panose="020B0604020202020204"/>
                <a:ea typeface="+mn-ea"/>
                <a:cs typeface="+mn-cs"/>
              </a:rPr>
              <a:t>2</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30000" noProof="0" dirty="0">
              <a:ln>
                <a:noFill/>
              </a:ln>
              <a:solidFill>
                <a:srgbClr val="285698"/>
              </a:solidFill>
              <a:effectLst/>
              <a:uLnTx/>
              <a:uFillTx/>
              <a:latin typeface="Arial" panose="020B0604020202020204"/>
              <a:ea typeface="+mn-ea"/>
              <a:cs typeface="+mn-cs"/>
            </a:endParaRPr>
          </a:p>
        </p:txBody>
      </p:sp>
    </p:spTree>
    <p:extLst>
      <p:ext uri="{BB962C8B-B14F-4D97-AF65-F5344CB8AC3E}">
        <p14:creationId xmlns:p14="http://schemas.microsoft.com/office/powerpoint/2010/main" val="1350842450"/>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DBAE6A-2C4B-A1A1-6A24-43F30FDD3617}"/>
              </a:ext>
            </a:extLst>
          </p:cNvPr>
          <p:cNvSpPr>
            <a:spLocks noGrp="1"/>
          </p:cNvSpPr>
          <p:nvPr>
            <p:ph type="title"/>
          </p:nvPr>
        </p:nvSpPr>
        <p:spPr/>
        <p:txBody>
          <a:bodyPr/>
          <a:lstStyle/>
          <a:p>
            <a:pPr algn="ctr"/>
            <a:r>
              <a:rPr lang="en-US" sz="3200" dirty="0"/>
              <a:t>INMIND: PFS in POD24 and CD20 refractory</a:t>
            </a:r>
          </a:p>
        </p:txBody>
      </p:sp>
      <p:pic>
        <p:nvPicPr>
          <p:cNvPr id="9" name="Content Placeholder 8" descr="A graph of a patient's life&#10;&#10;AI-generated content may be incorrect.">
            <a:extLst>
              <a:ext uri="{FF2B5EF4-FFF2-40B4-BE49-F238E27FC236}">
                <a16:creationId xmlns:a16="http://schemas.microsoft.com/office/drawing/2014/main" id="{A0AB12A6-59AF-CD7D-E093-43EDAC31D3A9}"/>
              </a:ext>
            </a:extLst>
          </p:cNvPr>
          <p:cNvPicPr>
            <a:picLocks noGrp="1" noChangeAspect="1"/>
          </p:cNvPicPr>
          <p:nvPr>
            <p:ph idx="1"/>
          </p:nvPr>
        </p:nvPicPr>
        <p:blipFill>
          <a:blip r:embed="rId2"/>
          <a:srcRect t="12615"/>
          <a:stretch/>
        </p:blipFill>
        <p:spPr>
          <a:xfrm>
            <a:off x="1442285" y="1152671"/>
            <a:ext cx="9302943" cy="4552658"/>
          </a:xfrm>
        </p:spPr>
      </p:pic>
      <p:sp>
        <p:nvSpPr>
          <p:cNvPr id="3" name="Rounded Rectangle 2">
            <a:extLst>
              <a:ext uri="{FF2B5EF4-FFF2-40B4-BE49-F238E27FC236}">
                <a16:creationId xmlns:a16="http://schemas.microsoft.com/office/drawing/2014/main" id="{C6AFA2DE-13AE-F5AF-F5E2-FD5B325A1CE3}"/>
              </a:ext>
            </a:extLst>
          </p:cNvPr>
          <p:cNvSpPr/>
          <p:nvPr/>
        </p:nvSpPr>
        <p:spPr>
          <a:xfrm>
            <a:off x="2682240" y="6187440"/>
            <a:ext cx="2936240" cy="538480"/>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EA7418F1-E4A3-A236-678A-260FD9EBA52E}"/>
              </a:ext>
            </a:extLst>
          </p:cNvPr>
          <p:cNvSpPr txBox="1"/>
          <p:nvPr/>
        </p:nvSpPr>
        <p:spPr>
          <a:xfrm>
            <a:off x="9712960" y="6595115"/>
            <a:ext cx="173182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85698"/>
                </a:solidFill>
                <a:effectLst/>
                <a:uLnTx/>
                <a:uFillTx/>
                <a:latin typeface="Arial" panose="020B0604020202020204"/>
                <a:ea typeface="+mn-ea"/>
                <a:cs typeface="+mn-cs"/>
              </a:rPr>
              <a:t>Sehn L et al ASH 2024</a:t>
            </a:r>
          </a:p>
        </p:txBody>
      </p:sp>
    </p:spTree>
    <p:extLst>
      <p:ext uri="{BB962C8B-B14F-4D97-AF65-F5344CB8AC3E}">
        <p14:creationId xmlns:p14="http://schemas.microsoft.com/office/powerpoint/2010/main" val="5339952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964AF4-86F0-AE34-C445-2CB22B40C154}"/>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F3EB411C-1AD8-E798-CC05-45E3A0F86BAD}"/>
              </a:ext>
            </a:extLst>
          </p:cNvPr>
          <p:cNvSpPr/>
          <p:nvPr/>
        </p:nvSpPr>
        <p:spPr bwMode="auto">
          <a:xfrm>
            <a:off x="684426" y="1859622"/>
            <a:ext cx="10731324" cy="804528"/>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FFFFFF"/>
              </a:solidFill>
              <a:effectLst/>
              <a:uLnTx/>
              <a:uFillTx/>
              <a:latin typeface="Times New Roman" pitchFamily="18" charset="0"/>
              <a:ea typeface="MS PGothic" charset="0"/>
              <a:cs typeface="+mn-cs"/>
            </a:endParaRPr>
          </a:p>
        </p:txBody>
      </p:sp>
      <p:sp>
        <p:nvSpPr>
          <p:cNvPr id="2" name="Title 1">
            <a:extLst>
              <a:ext uri="{FF2B5EF4-FFF2-40B4-BE49-F238E27FC236}">
                <a16:creationId xmlns:a16="http://schemas.microsoft.com/office/drawing/2014/main" id="{6D52B483-F200-5FB9-70CF-0908E941B304}"/>
              </a:ext>
            </a:extLst>
          </p:cNvPr>
          <p:cNvSpPr>
            <a:spLocks noGrp="1"/>
          </p:cNvSpPr>
          <p:nvPr>
            <p:ph type="title"/>
          </p:nvPr>
        </p:nvSpPr>
        <p:spPr>
          <a:xfrm>
            <a:off x="462987" y="83127"/>
            <a:ext cx="11262167" cy="1061462"/>
          </a:xfrm>
        </p:spPr>
        <p:txBody>
          <a:bodyPr>
            <a:noAutofit/>
          </a:bodyPr>
          <a:lstStyle/>
          <a:p>
            <a:pPr>
              <a:lnSpc>
                <a:spcPct val="100000"/>
              </a:lnSpc>
            </a:pPr>
            <a:r>
              <a:rPr lang="en-US" sz="2800" dirty="0"/>
              <a:t>Keynote Session: </a:t>
            </a:r>
            <a:br>
              <a:rPr lang="en-US" sz="2800" dirty="0"/>
            </a:br>
            <a:r>
              <a:rPr lang="en-US" sz="2800" dirty="0"/>
              <a:t>Diffuse Large B-Cell Lymphoma and Follicular Lymphoma</a:t>
            </a:r>
            <a:endParaRPr lang="en-US" sz="2800" dirty="0">
              <a:solidFill>
                <a:srgbClr val="0070C0"/>
              </a:solidFill>
            </a:endParaRPr>
          </a:p>
        </p:txBody>
      </p:sp>
      <p:sp>
        <p:nvSpPr>
          <p:cNvPr id="7" name="Content Placeholder 6">
            <a:extLst>
              <a:ext uri="{FF2B5EF4-FFF2-40B4-BE49-F238E27FC236}">
                <a16:creationId xmlns:a16="http://schemas.microsoft.com/office/drawing/2014/main" id="{FC777746-4CE9-8804-48AA-81DE4C386997}"/>
              </a:ext>
            </a:extLst>
          </p:cNvPr>
          <p:cNvSpPr>
            <a:spLocks noGrp="1"/>
          </p:cNvSpPr>
          <p:nvPr>
            <p:ph idx="1"/>
          </p:nvPr>
        </p:nvSpPr>
        <p:spPr>
          <a:xfrm>
            <a:off x="462987" y="1144587"/>
            <a:ext cx="11262167" cy="5257800"/>
          </a:xfrm>
        </p:spPr>
        <p:txBody>
          <a:bodyPr lIns="365760" tIns="274320" rIns="365760">
            <a:noAutofit/>
          </a:bodyPr>
          <a:lstStyle/>
          <a:p>
            <a:pPr>
              <a:lnSpc>
                <a:spcPct val="100000"/>
              </a:lnSpc>
              <a:spcBef>
                <a:spcPts val="1200"/>
              </a:spcBef>
            </a:pPr>
            <a:r>
              <a:rPr lang="en-US" sz="2200" dirty="0">
                <a:solidFill>
                  <a:srgbClr val="002656"/>
                </a:solidFill>
              </a:rPr>
              <a:t>Part 1 - Diffuse Large B-Cell Lymphoma:</a:t>
            </a:r>
          </a:p>
          <a:p>
            <a:pPr marL="457200" lvl="1" indent="0">
              <a:lnSpc>
                <a:spcPct val="100000"/>
              </a:lnSpc>
              <a:spcBef>
                <a:spcPts val="1200"/>
              </a:spcBef>
              <a:buNone/>
            </a:pPr>
            <a:r>
              <a:rPr lang="en-US" sz="2200" b="1" dirty="0">
                <a:solidFill>
                  <a:schemeClr val="bg1"/>
                </a:solidFill>
              </a:rPr>
              <a:t>Antibody-Drug Conjugates and Other Novel Strategies in the Management of DLBCL</a:t>
            </a:r>
            <a:r>
              <a:rPr lang="en-US" sz="2200" dirty="0">
                <a:solidFill>
                  <a:schemeClr val="bg1"/>
                </a:solidFill>
              </a:rPr>
              <a:t> — </a:t>
            </a:r>
            <a:r>
              <a:rPr lang="en-US" sz="2200" b="0" dirty="0">
                <a:solidFill>
                  <a:schemeClr val="bg1"/>
                </a:solidFill>
              </a:rPr>
              <a:t>Prof Salles</a:t>
            </a:r>
          </a:p>
          <a:p>
            <a:pPr marL="457200" lvl="1" indent="0">
              <a:lnSpc>
                <a:spcPct val="100000"/>
              </a:lnSpc>
              <a:spcBef>
                <a:spcPts val="1200"/>
              </a:spcBef>
              <a:buNone/>
            </a:pPr>
            <a:r>
              <a:rPr lang="en-US" sz="2200" b="1" dirty="0"/>
              <a:t>Current and Future Role of Monoclonal and Bispecific Antibodies in the Management of DLBCL </a:t>
            </a:r>
            <a:r>
              <a:rPr lang="en-US" sz="2200" dirty="0"/>
              <a:t>— </a:t>
            </a:r>
            <a:r>
              <a:rPr lang="en-US" sz="2200" b="0" dirty="0"/>
              <a:t>Dr Patel</a:t>
            </a:r>
          </a:p>
          <a:p>
            <a:pPr marL="457200" lvl="1" indent="0">
              <a:lnSpc>
                <a:spcPct val="100000"/>
              </a:lnSpc>
              <a:spcBef>
                <a:spcPts val="1200"/>
              </a:spcBef>
              <a:buNone/>
            </a:pPr>
            <a:r>
              <a:rPr lang="en-US" sz="2200" b="1" dirty="0"/>
              <a:t>Chimeric Antigen Receptor (CAR) T-Cell Therapy for DLBCL</a:t>
            </a:r>
            <a:r>
              <a:rPr lang="en-US" sz="2200" dirty="0"/>
              <a:t> — </a:t>
            </a:r>
            <a:r>
              <a:rPr lang="en-US" sz="2200" b="0" dirty="0"/>
              <a:t>Dr Kamdar </a:t>
            </a:r>
          </a:p>
          <a:p>
            <a:pPr>
              <a:lnSpc>
                <a:spcPct val="100000"/>
              </a:lnSpc>
              <a:spcBef>
                <a:spcPts val="1200"/>
              </a:spcBef>
            </a:pPr>
            <a:r>
              <a:rPr lang="en-US" sz="2200" dirty="0">
                <a:solidFill>
                  <a:srgbClr val="002656"/>
                </a:solidFill>
              </a:rPr>
              <a:t>Part 2 – Follicular Lymphoma:</a:t>
            </a:r>
            <a:endParaRPr lang="en-US" sz="2200" dirty="0"/>
          </a:p>
          <a:p>
            <a:pPr marL="457200" lvl="1" indent="0">
              <a:lnSpc>
                <a:spcPct val="100000"/>
              </a:lnSpc>
              <a:spcBef>
                <a:spcPts val="1200"/>
              </a:spcBef>
              <a:buNone/>
            </a:pPr>
            <a:r>
              <a:rPr lang="en-US" sz="2200" b="1" dirty="0"/>
              <a:t>CAR T-Cell Therapy for FL </a:t>
            </a:r>
            <a:r>
              <a:rPr lang="en-US" sz="2200" dirty="0"/>
              <a:t>— </a:t>
            </a:r>
            <a:r>
              <a:rPr lang="en-US" sz="2200" b="0" dirty="0"/>
              <a:t>Prof Salles </a:t>
            </a:r>
          </a:p>
          <a:p>
            <a:pPr marL="457200" lvl="1" indent="0">
              <a:lnSpc>
                <a:spcPct val="100000"/>
              </a:lnSpc>
              <a:spcBef>
                <a:spcPts val="1200"/>
              </a:spcBef>
              <a:buNone/>
            </a:pPr>
            <a:r>
              <a:rPr lang="en-US" sz="2200" b="1" dirty="0"/>
              <a:t>Other Approved and Emerging Novel Therapies for FL — </a:t>
            </a:r>
            <a:r>
              <a:rPr lang="en-US" sz="2200" dirty="0"/>
              <a:t>Dr Patel</a:t>
            </a:r>
          </a:p>
          <a:p>
            <a:pPr marL="457200" lvl="1" indent="0">
              <a:lnSpc>
                <a:spcPct val="100000"/>
              </a:lnSpc>
              <a:spcBef>
                <a:spcPts val="1200"/>
              </a:spcBef>
              <a:buNone/>
            </a:pPr>
            <a:r>
              <a:rPr lang="en-US" sz="2200" b="1" dirty="0"/>
              <a:t>Integrating Bispecific Antibodies into the Management of FL </a:t>
            </a:r>
            <a:r>
              <a:rPr lang="en-US" sz="2200" dirty="0"/>
              <a:t>— </a:t>
            </a:r>
            <a:r>
              <a:rPr lang="en-US" sz="2200" b="0" dirty="0"/>
              <a:t>Dr Kamdar </a:t>
            </a:r>
          </a:p>
        </p:txBody>
      </p:sp>
    </p:spTree>
    <p:extLst>
      <p:ext uri="{BB962C8B-B14F-4D97-AF65-F5344CB8AC3E}">
        <p14:creationId xmlns:p14="http://schemas.microsoft.com/office/powerpoint/2010/main" val="7776437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E4C339-77D8-101D-531B-1A38B9E9DFD7}"/>
              </a:ext>
            </a:extLst>
          </p:cNvPr>
          <p:cNvSpPr>
            <a:spLocks noGrp="1"/>
          </p:cNvSpPr>
          <p:nvPr>
            <p:ph type="title"/>
          </p:nvPr>
        </p:nvSpPr>
        <p:spPr/>
        <p:txBody>
          <a:bodyPr/>
          <a:lstStyle/>
          <a:p>
            <a:pPr algn="ctr"/>
            <a:r>
              <a:rPr lang="en-US" sz="3200" dirty="0"/>
              <a:t>INMIND: Time to Next Treatment</a:t>
            </a:r>
          </a:p>
        </p:txBody>
      </p:sp>
      <p:pic>
        <p:nvPicPr>
          <p:cNvPr id="5" name="Content Placeholder 4" descr="A graph of a patient treatment&#10;&#10;AI-generated content may be incorrect.">
            <a:extLst>
              <a:ext uri="{FF2B5EF4-FFF2-40B4-BE49-F238E27FC236}">
                <a16:creationId xmlns:a16="http://schemas.microsoft.com/office/drawing/2014/main" id="{926CC5EC-3E87-9CD5-DEB5-04333BDCF808}"/>
              </a:ext>
            </a:extLst>
          </p:cNvPr>
          <p:cNvPicPr>
            <a:picLocks noGrp="1" noChangeAspect="1"/>
          </p:cNvPicPr>
          <p:nvPr>
            <p:ph idx="1"/>
          </p:nvPr>
        </p:nvPicPr>
        <p:blipFill>
          <a:blip r:embed="rId2"/>
          <a:srcRect l="13611" t="15929" r="-200" b="764"/>
          <a:stretch/>
        </p:blipFill>
        <p:spPr>
          <a:xfrm>
            <a:off x="1426763" y="1359369"/>
            <a:ext cx="9095874" cy="4567592"/>
          </a:xfrm>
        </p:spPr>
      </p:pic>
      <p:sp>
        <p:nvSpPr>
          <p:cNvPr id="3" name="Rounded Rectangle 2">
            <a:extLst>
              <a:ext uri="{FF2B5EF4-FFF2-40B4-BE49-F238E27FC236}">
                <a16:creationId xmlns:a16="http://schemas.microsoft.com/office/drawing/2014/main" id="{9BA6620B-49BF-AC99-EBC3-7F89AACC2A53}"/>
              </a:ext>
            </a:extLst>
          </p:cNvPr>
          <p:cNvSpPr/>
          <p:nvPr/>
        </p:nvSpPr>
        <p:spPr>
          <a:xfrm>
            <a:off x="2682240" y="6187440"/>
            <a:ext cx="2936240" cy="538480"/>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E9D16A5D-DCA3-863B-DA1D-A9C28EA87E1B}"/>
              </a:ext>
            </a:extLst>
          </p:cNvPr>
          <p:cNvSpPr txBox="1"/>
          <p:nvPr/>
        </p:nvSpPr>
        <p:spPr>
          <a:xfrm>
            <a:off x="9712960" y="6516286"/>
            <a:ext cx="173182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85698"/>
                </a:solidFill>
                <a:effectLst/>
                <a:uLnTx/>
                <a:uFillTx/>
                <a:latin typeface="Arial" panose="020B0604020202020204"/>
                <a:ea typeface="+mn-ea"/>
                <a:cs typeface="+mn-cs"/>
              </a:rPr>
              <a:t>Sehn L et al ASH 2024</a:t>
            </a:r>
          </a:p>
        </p:txBody>
      </p:sp>
    </p:spTree>
    <p:extLst>
      <p:ext uri="{BB962C8B-B14F-4D97-AF65-F5344CB8AC3E}">
        <p14:creationId xmlns:p14="http://schemas.microsoft.com/office/powerpoint/2010/main" val="3630457048"/>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41170D-8CB6-6A33-27D4-CFE3C7047F25}"/>
              </a:ext>
            </a:extLst>
          </p:cNvPr>
          <p:cNvSpPr>
            <a:spLocks noGrp="1"/>
          </p:cNvSpPr>
          <p:nvPr>
            <p:ph type="title"/>
          </p:nvPr>
        </p:nvSpPr>
        <p:spPr/>
        <p:txBody>
          <a:bodyPr/>
          <a:lstStyle/>
          <a:p>
            <a:pPr algn="ctr"/>
            <a:r>
              <a:rPr lang="en-US" sz="3200" dirty="0"/>
              <a:t>INMIND: Adverse Events</a:t>
            </a:r>
          </a:p>
        </p:txBody>
      </p:sp>
      <p:pic>
        <p:nvPicPr>
          <p:cNvPr id="5" name="Content Placeholder 4" descr="A screenshot of a table&#10;&#10;AI-generated content may be incorrect.">
            <a:extLst>
              <a:ext uri="{FF2B5EF4-FFF2-40B4-BE49-F238E27FC236}">
                <a16:creationId xmlns:a16="http://schemas.microsoft.com/office/drawing/2014/main" id="{E672BA36-E60A-9851-ACB5-A1BF7B9862DA}"/>
              </a:ext>
            </a:extLst>
          </p:cNvPr>
          <p:cNvPicPr>
            <a:picLocks noGrp="1" noChangeAspect="1"/>
          </p:cNvPicPr>
          <p:nvPr>
            <p:ph idx="1"/>
          </p:nvPr>
        </p:nvPicPr>
        <p:blipFill>
          <a:blip r:embed="rId2"/>
          <a:srcRect t="15674"/>
          <a:stretch/>
        </p:blipFill>
        <p:spPr>
          <a:xfrm>
            <a:off x="1032107" y="1492315"/>
            <a:ext cx="10123300" cy="4301700"/>
          </a:xfrm>
        </p:spPr>
      </p:pic>
      <p:sp>
        <p:nvSpPr>
          <p:cNvPr id="3" name="Rounded Rectangle 2">
            <a:extLst>
              <a:ext uri="{FF2B5EF4-FFF2-40B4-BE49-F238E27FC236}">
                <a16:creationId xmlns:a16="http://schemas.microsoft.com/office/drawing/2014/main" id="{83983F8D-7150-F70D-EBAB-05C35B6260B5}"/>
              </a:ext>
            </a:extLst>
          </p:cNvPr>
          <p:cNvSpPr/>
          <p:nvPr/>
        </p:nvSpPr>
        <p:spPr>
          <a:xfrm>
            <a:off x="2682240" y="6187440"/>
            <a:ext cx="2936240" cy="538480"/>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434F0F23-80BE-B7BF-8428-C73B18A314D1}"/>
              </a:ext>
            </a:extLst>
          </p:cNvPr>
          <p:cNvSpPr txBox="1"/>
          <p:nvPr/>
        </p:nvSpPr>
        <p:spPr>
          <a:xfrm>
            <a:off x="9712960" y="6547817"/>
            <a:ext cx="173182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85698"/>
                </a:solidFill>
                <a:effectLst/>
                <a:uLnTx/>
                <a:uFillTx/>
                <a:latin typeface="Arial" panose="020B0604020202020204"/>
                <a:ea typeface="+mn-ea"/>
                <a:cs typeface="+mn-cs"/>
              </a:rPr>
              <a:t>Sehn L et al ASH 2024</a:t>
            </a:r>
          </a:p>
        </p:txBody>
      </p:sp>
    </p:spTree>
    <p:extLst>
      <p:ext uri="{BB962C8B-B14F-4D97-AF65-F5344CB8AC3E}">
        <p14:creationId xmlns:p14="http://schemas.microsoft.com/office/powerpoint/2010/main" val="2680061856"/>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968412-CB4F-46EC-5CCB-A748703D73AE}"/>
              </a:ext>
            </a:extLst>
          </p:cNvPr>
          <p:cNvSpPr>
            <a:spLocks noGrp="1"/>
          </p:cNvSpPr>
          <p:nvPr>
            <p:ph type="title"/>
          </p:nvPr>
        </p:nvSpPr>
        <p:spPr>
          <a:xfrm>
            <a:off x="421340" y="394634"/>
            <a:ext cx="11344835" cy="704257"/>
          </a:xfrm>
        </p:spPr>
        <p:txBody>
          <a:bodyPr anchor="t">
            <a:normAutofit/>
          </a:bodyPr>
          <a:lstStyle/>
          <a:p>
            <a:r>
              <a:rPr lang="en-US" sz="3200" dirty="0"/>
              <a:t>What about Bispecific Antibodies?</a:t>
            </a:r>
          </a:p>
        </p:txBody>
      </p:sp>
      <p:pic>
        <p:nvPicPr>
          <p:cNvPr id="1026" name="Picture 2">
            <a:extLst>
              <a:ext uri="{FF2B5EF4-FFF2-40B4-BE49-F238E27FC236}">
                <a16:creationId xmlns:a16="http://schemas.microsoft.com/office/drawing/2014/main" id="{F88A10DB-79EA-1AF6-07E8-855CDA8C0A60}"/>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t="9128" b="22685"/>
          <a:stretch>
            <a:fillRect/>
          </a:stretch>
        </p:blipFill>
        <p:spPr bwMode="auto">
          <a:xfrm>
            <a:off x="421340" y="1402567"/>
            <a:ext cx="11344835" cy="4351338"/>
          </a:xfrm>
          <a:prstGeom prst="rect">
            <a:avLst/>
          </a:prstGeom>
          <a:solidFill>
            <a:srgbClr val="FFFFFF"/>
          </a:solidFill>
        </p:spPr>
      </p:pic>
      <p:sp>
        <p:nvSpPr>
          <p:cNvPr id="8" name="TextBox 7">
            <a:extLst>
              <a:ext uri="{FF2B5EF4-FFF2-40B4-BE49-F238E27FC236}">
                <a16:creationId xmlns:a16="http://schemas.microsoft.com/office/drawing/2014/main" id="{AD7F265D-C364-75D0-481B-411ED2EDCBE0}"/>
              </a:ext>
            </a:extLst>
          </p:cNvPr>
          <p:cNvSpPr txBox="1"/>
          <p:nvPr/>
        </p:nvSpPr>
        <p:spPr>
          <a:xfrm>
            <a:off x="9613232" y="6526880"/>
            <a:ext cx="162897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85698"/>
                </a:solidFill>
                <a:effectLst/>
                <a:uLnTx/>
                <a:uFillTx/>
                <a:latin typeface="Arial" panose="020B0604020202020204"/>
                <a:ea typeface="+mn-ea"/>
                <a:cs typeface="+mn-cs"/>
              </a:rPr>
              <a:t>Image from DFCI.org</a:t>
            </a:r>
          </a:p>
        </p:txBody>
      </p:sp>
      <p:sp>
        <p:nvSpPr>
          <p:cNvPr id="9" name="Rounded Rectangle 8">
            <a:extLst>
              <a:ext uri="{FF2B5EF4-FFF2-40B4-BE49-F238E27FC236}">
                <a16:creationId xmlns:a16="http://schemas.microsoft.com/office/drawing/2014/main" id="{43029CF2-18B7-944F-CDA8-B3D17E6B1F63}"/>
              </a:ext>
            </a:extLst>
          </p:cNvPr>
          <p:cNvSpPr/>
          <p:nvPr/>
        </p:nvSpPr>
        <p:spPr>
          <a:xfrm>
            <a:off x="2682240" y="6187440"/>
            <a:ext cx="2936240" cy="538480"/>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4204758283"/>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283914-A40A-ECB0-F6EB-2F823032B2CC}"/>
              </a:ext>
            </a:extLst>
          </p:cNvPr>
          <p:cNvSpPr>
            <a:spLocks noGrp="1"/>
          </p:cNvSpPr>
          <p:nvPr>
            <p:ph type="title"/>
          </p:nvPr>
        </p:nvSpPr>
        <p:spPr>
          <a:xfrm>
            <a:off x="1000943" y="187121"/>
            <a:ext cx="10190112" cy="506257"/>
          </a:xfrm>
        </p:spPr>
        <p:txBody>
          <a:bodyPr/>
          <a:lstStyle/>
          <a:p>
            <a:pPr algn="ctr"/>
            <a:r>
              <a:rPr lang="en-US" sz="3200" dirty="0"/>
              <a:t>EPCORE FL-1 Ph3: Epco-R2 vs R2 in 2L+ FL</a:t>
            </a:r>
          </a:p>
        </p:txBody>
      </p:sp>
      <p:sp>
        <p:nvSpPr>
          <p:cNvPr id="3" name="Text Placeholder 2">
            <a:extLst>
              <a:ext uri="{FF2B5EF4-FFF2-40B4-BE49-F238E27FC236}">
                <a16:creationId xmlns:a16="http://schemas.microsoft.com/office/drawing/2014/main" id="{DCD24292-2193-6B3F-E9F9-EEFEDEB6789B}"/>
              </a:ext>
            </a:extLst>
          </p:cNvPr>
          <p:cNvSpPr>
            <a:spLocks noGrp="1"/>
          </p:cNvSpPr>
          <p:nvPr>
            <p:ph type="body" sz="quarter" idx="10"/>
          </p:nvPr>
        </p:nvSpPr>
        <p:spPr>
          <a:xfrm>
            <a:off x="8822759" y="6467997"/>
            <a:ext cx="2438082" cy="202882"/>
          </a:xfrm>
        </p:spPr>
        <p:txBody>
          <a:bodyPr/>
          <a:lstStyle/>
          <a:p>
            <a:r>
              <a:rPr lang="en-US" b="0" dirty="0"/>
              <a:t>Falchi, L et al ASH 2025</a:t>
            </a:r>
          </a:p>
        </p:txBody>
      </p:sp>
      <p:pic>
        <p:nvPicPr>
          <p:cNvPr id="6" name="Picture 5" descr="A screenshot of a medical chart&#10;&#10;AI-generated content may be incorrect.">
            <a:extLst>
              <a:ext uri="{FF2B5EF4-FFF2-40B4-BE49-F238E27FC236}">
                <a16:creationId xmlns:a16="http://schemas.microsoft.com/office/drawing/2014/main" id="{15E3AAE4-9F5E-6A93-0799-971B870A719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3621" y="1097257"/>
            <a:ext cx="11064757" cy="4350246"/>
          </a:xfrm>
          <a:prstGeom prst="rect">
            <a:avLst/>
          </a:prstGeom>
        </p:spPr>
      </p:pic>
      <p:sp>
        <p:nvSpPr>
          <p:cNvPr id="7" name="TextBox 6">
            <a:extLst>
              <a:ext uri="{FF2B5EF4-FFF2-40B4-BE49-F238E27FC236}">
                <a16:creationId xmlns:a16="http://schemas.microsoft.com/office/drawing/2014/main" id="{0FE2E45A-7B70-CB7C-0033-E7C119F4BE57}"/>
              </a:ext>
            </a:extLst>
          </p:cNvPr>
          <p:cNvSpPr txBox="1"/>
          <p:nvPr/>
        </p:nvSpPr>
        <p:spPr>
          <a:xfrm>
            <a:off x="4996070" y="5576077"/>
            <a:ext cx="382668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85698"/>
                </a:solidFill>
                <a:effectLst/>
                <a:uLnTx/>
                <a:uFillTx/>
                <a:latin typeface="Arial" panose="020B0604020202020204"/>
                <a:ea typeface="+mn-ea"/>
                <a:cs typeface="+mn-cs"/>
              </a:rPr>
              <a:t>3 dose SUD (0.16mg, 0.8mg, 3mg) </a:t>
            </a:r>
          </a:p>
        </p:txBody>
      </p:sp>
    </p:spTree>
    <p:extLst>
      <p:ext uri="{BB962C8B-B14F-4D97-AF65-F5344CB8AC3E}">
        <p14:creationId xmlns:p14="http://schemas.microsoft.com/office/powerpoint/2010/main" val="1277641104"/>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4FFD8C-DF65-8A65-8B5F-C3895F715AEF}"/>
              </a:ext>
            </a:extLst>
          </p:cNvPr>
          <p:cNvSpPr>
            <a:spLocks noGrp="1"/>
          </p:cNvSpPr>
          <p:nvPr>
            <p:ph type="title"/>
          </p:nvPr>
        </p:nvSpPr>
        <p:spPr>
          <a:xfrm>
            <a:off x="1000944" y="154142"/>
            <a:ext cx="10190112" cy="506257"/>
          </a:xfrm>
        </p:spPr>
        <p:txBody>
          <a:bodyPr/>
          <a:lstStyle/>
          <a:p>
            <a:pPr algn="ctr"/>
            <a:r>
              <a:rPr lang="en-US" sz="3200" dirty="0"/>
              <a:t>EPCORE FL-1: Patient Characteristics</a:t>
            </a:r>
          </a:p>
        </p:txBody>
      </p:sp>
      <p:pic>
        <p:nvPicPr>
          <p:cNvPr id="6" name="Picture 5" descr="A table with numbers and symbols&#10;&#10;AI-generated content may be incorrect.">
            <a:extLst>
              <a:ext uri="{FF2B5EF4-FFF2-40B4-BE49-F238E27FC236}">
                <a16:creationId xmlns:a16="http://schemas.microsoft.com/office/drawing/2014/main" id="{B2C6A84D-25A6-C5F5-C9E1-A01C74C5BC5C}"/>
              </a:ext>
            </a:extLst>
          </p:cNvPr>
          <p:cNvPicPr>
            <a:picLocks noChangeAspect="1"/>
          </p:cNvPicPr>
          <p:nvPr/>
        </p:nvPicPr>
        <p:blipFill>
          <a:blip r:embed="rId2">
            <a:extLst>
              <a:ext uri="{28A0092B-C50C-407E-A947-70E740481C1C}">
                <a14:useLocalDpi xmlns:a14="http://schemas.microsoft.com/office/drawing/2010/main" val="0"/>
              </a:ext>
            </a:extLst>
          </a:blip>
          <a:srcRect l="5472" r="2629"/>
          <a:stretch>
            <a:fillRect/>
          </a:stretch>
        </p:blipFill>
        <p:spPr>
          <a:xfrm>
            <a:off x="967409" y="791593"/>
            <a:ext cx="8719931" cy="4980491"/>
          </a:xfrm>
          <a:prstGeom prst="rect">
            <a:avLst/>
          </a:prstGeom>
        </p:spPr>
      </p:pic>
      <p:sp>
        <p:nvSpPr>
          <p:cNvPr id="8" name="Rounded Rectangle 7">
            <a:extLst>
              <a:ext uri="{FF2B5EF4-FFF2-40B4-BE49-F238E27FC236}">
                <a16:creationId xmlns:a16="http://schemas.microsoft.com/office/drawing/2014/main" id="{0115D9E8-9BAE-90AE-BDCC-DD8D07985C77}"/>
              </a:ext>
            </a:extLst>
          </p:cNvPr>
          <p:cNvSpPr/>
          <p:nvPr/>
        </p:nvSpPr>
        <p:spPr>
          <a:xfrm>
            <a:off x="967410" y="5230916"/>
            <a:ext cx="8534400" cy="321745"/>
          </a:xfrm>
          <a:prstGeom prst="roundRect">
            <a:avLst/>
          </a:prstGeom>
          <a:solidFill>
            <a:srgbClr val="D8664E">
              <a:alpha val="40684"/>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 name="Text Placeholder 2">
            <a:extLst>
              <a:ext uri="{FF2B5EF4-FFF2-40B4-BE49-F238E27FC236}">
                <a16:creationId xmlns:a16="http://schemas.microsoft.com/office/drawing/2014/main" id="{C5845DA9-A284-E18F-4510-9B410145F2C1}"/>
              </a:ext>
            </a:extLst>
          </p:cNvPr>
          <p:cNvSpPr txBox="1">
            <a:spLocks/>
          </p:cNvSpPr>
          <p:nvPr/>
        </p:nvSpPr>
        <p:spPr>
          <a:xfrm>
            <a:off x="8822759" y="6467997"/>
            <a:ext cx="2438082" cy="202882"/>
          </a:xfrm>
          <a:prstGeom prst="rect">
            <a:avLst/>
          </a:prstGeom>
        </p:spPr>
        <p:txBody>
          <a:bodyPr vert="horz" wrap="none"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2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285698"/>
                </a:solidFill>
                <a:effectLst/>
                <a:uLnTx/>
                <a:uFillTx/>
                <a:latin typeface="Arial" panose="020B0604020202020204"/>
                <a:ea typeface="+mn-ea"/>
                <a:cs typeface="+mn-cs"/>
              </a:rPr>
              <a:t>Falchi, L et al ASH 2025</a:t>
            </a:r>
          </a:p>
        </p:txBody>
      </p:sp>
    </p:spTree>
    <p:extLst>
      <p:ext uri="{BB962C8B-B14F-4D97-AF65-F5344CB8AC3E}">
        <p14:creationId xmlns:p14="http://schemas.microsoft.com/office/powerpoint/2010/main" val="2539099638"/>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7E4D7D-6CE9-E21B-808E-0F43C8438137}"/>
              </a:ext>
            </a:extLst>
          </p:cNvPr>
          <p:cNvSpPr>
            <a:spLocks noGrp="1"/>
          </p:cNvSpPr>
          <p:nvPr>
            <p:ph type="title"/>
          </p:nvPr>
        </p:nvSpPr>
        <p:spPr>
          <a:xfrm>
            <a:off x="996266" y="166868"/>
            <a:ext cx="10190112" cy="506257"/>
          </a:xfrm>
        </p:spPr>
        <p:txBody>
          <a:bodyPr/>
          <a:lstStyle/>
          <a:p>
            <a:pPr algn="ctr"/>
            <a:r>
              <a:rPr lang="en-US" sz="3200" dirty="0"/>
              <a:t>EPCORE FL-1: Prior Treatments</a:t>
            </a:r>
          </a:p>
        </p:txBody>
      </p:sp>
      <p:pic>
        <p:nvPicPr>
          <p:cNvPr id="6" name="Picture 5" descr="A table with numbers and text&#10;&#10;AI-generated content may be incorrect.">
            <a:extLst>
              <a:ext uri="{FF2B5EF4-FFF2-40B4-BE49-F238E27FC236}">
                <a16:creationId xmlns:a16="http://schemas.microsoft.com/office/drawing/2014/main" id="{A0CD29A3-831E-4EF5-F095-D770766BF8D2}"/>
              </a:ext>
            </a:extLst>
          </p:cNvPr>
          <p:cNvPicPr>
            <a:picLocks noChangeAspect="1"/>
          </p:cNvPicPr>
          <p:nvPr/>
        </p:nvPicPr>
        <p:blipFill>
          <a:blip r:embed="rId2">
            <a:extLst>
              <a:ext uri="{28A0092B-C50C-407E-A947-70E740481C1C}">
                <a14:useLocalDpi xmlns:a14="http://schemas.microsoft.com/office/drawing/2010/main" val="0"/>
              </a:ext>
            </a:extLst>
          </a:blip>
          <a:srcRect t="2216"/>
          <a:stretch>
            <a:fillRect/>
          </a:stretch>
        </p:blipFill>
        <p:spPr>
          <a:xfrm>
            <a:off x="834887" y="831439"/>
            <a:ext cx="10522226" cy="4983089"/>
          </a:xfrm>
          <a:prstGeom prst="rect">
            <a:avLst/>
          </a:prstGeom>
        </p:spPr>
      </p:pic>
      <p:sp>
        <p:nvSpPr>
          <p:cNvPr id="7" name="Rounded Rectangle 6">
            <a:extLst>
              <a:ext uri="{FF2B5EF4-FFF2-40B4-BE49-F238E27FC236}">
                <a16:creationId xmlns:a16="http://schemas.microsoft.com/office/drawing/2014/main" id="{EB75D03C-3F51-1C91-BB68-F31B92577DFF}"/>
              </a:ext>
            </a:extLst>
          </p:cNvPr>
          <p:cNvSpPr/>
          <p:nvPr/>
        </p:nvSpPr>
        <p:spPr>
          <a:xfrm>
            <a:off x="1037566" y="4214192"/>
            <a:ext cx="10107512" cy="278295"/>
          </a:xfrm>
          <a:prstGeom prst="roundRect">
            <a:avLst/>
          </a:prstGeom>
          <a:solidFill>
            <a:schemeClr val="accent1">
              <a:alpha val="27029"/>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 name="Rounded Rectangle 7">
            <a:extLst>
              <a:ext uri="{FF2B5EF4-FFF2-40B4-BE49-F238E27FC236}">
                <a16:creationId xmlns:a16="http://schemas.microsoft.com/office/drawing/2014/main" id="{37712680-9DAA-78F5-E453-62D65E527434}"/>
              </a:ext>
            </a:extLst>
          </p:cNvPr>
          <p:cNvSpPr/>
          <p:nvPr/>
        </p:nvSpPr>
        <p:spPr>
          <a:xfrm>
            <a:off x="1037566" y="4809114"/>
            <a:ext cx="10107512" cy="278295"/>
          </a:xfrm>
          <a:prstGeom prst="roundRect">
            <a:avLst/>
          </a:prstGeom>
          <a:solidFill>
            <a:schemeClr val="accent1">
              <a:alpha val="27029"/>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 name="Text Placeholder 2">
            <a:extLst>
              <a:ext uri="{FF2B5EF4-FFF2-40B4-BE49-F238E27FC236}">
                <a16:creationId xmlns:a16="http://schemas.microsoft.com/office/drawing/2014/main" id="{27EE25AD-FEC7-94EB-23CD-F1FCB260BC9F}"/>
              </a:ext>
            </a:extLst>
          </p:cNvPr>
          <p:cNvSpPr>
            <a:spLocks noGrp="1"/>
          </p:cNvSpPr>
          <p:nvPr>
            <p:ph type="body" sz="quarter" idx="10"/>
          </p:nvPr>
        </p:nvSpPr>
        <p:spPr>
          <a:xfrm>
            <a:off x="8822759" y="6467997"/>
            <a:ext cx="2438082" cy="202882"/>
          </a:xfrm>
        </p:spPr>
        <p:txBody>
          <a:bodyPr/>
          <a:lstStyle/>
          <a:p>
            <a:r>
              <a:rPr lang="en-US" b="0" dirty="0"/>
              <a:t>Falchi, L et al ASH 2025</a:t>
            </a:r>
          </a:p>
        </p:txBody>
      </p:sp>
    </p:spTree>
    <p:extLst>
      <p:ext uri="{BB962C8B-B14F-4D97-AF65-F5344CB8AC3E}">
        <p14:creationId xmlns:p14="http://schemas.microsoft.com/office/powerpoint/2010/main" val="1463567142"/>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203B60-18EE-6CE0-E8BD-EF2F996158D7}"/>
              </a:ext>
            </a:extLst>
          </p:cNvPr>
          <p:cNvSpPr>
            <a:spLocks noGrp="1"/>
          </p:cNvSpPr>
          <p:nvPr>
            <p:ph type="title"/>
          </p:nvPr>
        </p:nvSpPr>
        <p:spPr>
          <a:xfrm>
            <a:off x="1479918" y="245583"/>
            <a:ext cx="10190112" cy="506257"/>
          </a:xfrm>
        </p:spPr>
        <p:txBody>
          <a:bodyPr/>
          <a:lstStyle/>
          <a:p>
            <a:pPr algn="ctr"/>
            <a:r>
              <a:rPr lang="en-US" sz="3200" dirty="0"/>
              <a:t>EPCORE FL-1: PFS (IRC)</a:t>
            </a:r>
          </a:p>
        </p:txBody>
      </p:sp>
      <p:pic>
        <p:nvPicPr>
          <p:cNvPr id="6" name="Picture 5" descr="A graph of a patient's life&#10;&#10;AI-generated content may be incorrect.">
            <a:extLst>
              <a:ext uri="{FF2B5EF4-FFF2-40B4-BE49-F238E27FC236}">
                <a16:creationId xmlns:a16="http://schemas.microsoft.com/office/drawing/2014/main" id="{E3F64408-FB21-AEEF-8EA3-DA0A423F155C}"/>
              </a:ext>
            </a:extLst>
          </p:cNvPr>
          <p:cNvPicPr>
            <a:picLocks noChangeAspect="1"/>
          </p:cNvPicPr>
          <p:nvPr/>
        </p:nvPicPr>
        <p:blipFill>
          <a:blip r:embed="rId2">
            <a:extLst>
              <a:ext uri="{28A0092B-C50C-407E-A947-70E740481C1C}">
                <a14:useLocalDpi xmlns:a14="http://schemas.microsoft.com/office/drawing/2010/main" val="0"/>
              </a:ext>
            </a:extLst>
          </a:blip>
          <a:srcRect l="3288" t="8415" r="1494"/>
          <a:stretch>
            <a:fillRect/>
          </a:stretch>
        </p:blipFill>
        <p:spPr>
          <a:xfrm>
            <a:off x="347417" y="1451416"/>
            <a:ext cx="8720728" cy="3957647"/>
          </a:xfrm>
          <a:prstGeom prst="rect">
            <a:avLst/>
          </a:prstGeom>
        </p:spPr>
      </p:pic>
      <p:pic>
        <p:nvPicPr>
          <p:cNvPr id="4" name="Picture 3">
            <a:extLst>
              <a:ext uri="{FF2B5EF4-FFF2-40B4-BE49-F238E27FC236}">
                <a16:creationId xmlns:a16="http://schemas.microsoft.com/office/drawing/2014/main" id="{7AF4A1A4-B564-2C62-52B5-C5AEE2A42E96}"/>
              </a:ext>
            </a:extLst>
          </p:cNvPr>
          <p:cNvPicPr>
            <a:picLocks noChangeAspect="1"/>
          </p:cNvPicPr>
          <p:nvPr/>
        </p:nvPicPr>
        <p:blipFill>
          <a:blip r:embed="rId3"/>
          <a:stretch>
            <a:fillRect/>
          </a:stretch>
        </p:blipFill>
        <p:spPr>
          <a:xfrm>
            <a:off x="8521700" y="1673123"/>
            <a:ext cx="3670300" cy="3098800"/>
          </a:xfrm>
          <a:prstGeom prst="rect">
            <a:avLst/>
          </a:prstGeom>
        </p:spPr>
      </p:pic>
      <p:sp>
        <p:nvSpPr>
          <p:cNvPr id="9" name="Text Placeholder 2">
            <a:extLst>
              <a:ext uri="{FF2B5EF4-FFF2-40B4-BE49-F238E27FC236}">
                <a16:creationId xmlns:a16="http://schemas.microsoft.com/office/drawing/2014/main" id="{1F8FA095-31A4-DB32-F18C-AABBB826AD40}"/>
              </a:ext>
            </a:extLst>
          </p:cNvPr>
          <p:cNvSpPr>
            <a:spLocks noGrp="1"/>
          </p:cNvSpPr>
          <p:nvPr>
            <p:ph type="body" sz="quarter" idx="10"/>
          </p:nvPr>
        </p:nvSpPr>
        <p:spPr>
          <a:xfrm>
            <a:off x="8822759" y="6467997"/>
            <a:ext cx="2438082" cy="202882"/>
          </a:xfrm>
        </p:spPr>
        <p:txBody>
          <a:bodyPr/>
          <a:lstStyle/>
          <a:p>
            <a:r>
              <a:rPr lang="en-US" b="0" dirty="0"/>
              <a:t>Falchi, L et al ASH 2025</a:t>
            </a:r>
          </a:p>
        </p:txBody>
      </p:sp>
    </p:spTree>
    <p:extLst>
      <p:ext uri="{BB962C8B-B14F-4D97-AF65-F5344CB8AC3E}">
        <p14:creationId xmlns:p14="http://schemas.microsoft.com/office/powerpoint/2010/main" val="4156185328"/>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FDCB18-377A-FC85-B25C-49BC85831F11}"/>
              </a:ext>
            </a:extLst>
          </p:cNvPr>
          <p:cNvSpPr>
            <a:spLocks noGrp="1"/>
          </p:cNvSpPr>
          <p:nvPr>
            <p:ph type="title"/>
          </p:nvPr>
        </p:nvSpPr>
        <p:spPr>
          <a:xfrm>
            <a:off x="1000944" y="257305"/>
            <a:ext cx="10190112" cy="506257"/>
          </a:xfrm>
        </p:spPr>
        <p:txBody>
          <a:bodyPr/>
          <a:lstStyle/>
          <a:p>
            <a:pPr algn="ctr"/>
            <a:r>
              <a:rPr lang="en-US" sz="3200" dirty="0"/>
              <a:t>EPCORE FL-1: Prespecified Subgroups (PFS)</a:t>
            </a:r>
          </a:p>
        </p:txBody>
      </p:sp>
      <p:pic>
        <p:nvPicPr>
          <p:cNvPr id="6" name="Picture 5" descr="A graph with numbers and lines&#10;&#10;AI-generated content may be incorrect.">
            <a:extLst>
              <a:ext uri="{FF2B5EF4-FFF2-40B4-BE49-F238E27FC236}">
                <a16:creationId xmlns:a16="http://schemas.microsoft.com/office/drawing/2014/main" id="{C0067244-5AFA-374A-0FC4-9E29B86B5AF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1290" y="1312486"/>
            <a:ext cx="8281784" cy="4374522"/>
          </a:xfrm>
          <a:prstGeom prst="rect">
            <a:avLst/>
          </a:prstGeom>
        </p:spPr>
      </p:pic>
      <p:sp>
        <p:nvSpPr>
          <p:cNvPr id="7" name="TextBox 6">
            <a:extLst>
              <a:ext uri="{FF2B5EF4-FFF2-40B4-BE49-F238E27FC236}">
                <a16:creationId xmlns:a16="http://schemas.microsoft.com/office/drawing/2014/main" id="{B46CDCA9-6435-10D0-C5BD-4D3ABCBD5D58}"/>
              </a:ext>
            </a:extLst>
          </p:cNvPr>
          <p:cNvSpPr txBox="1"/>
          <p:nvPr/>
        </p:nvSpPr>
        <p:spPr>
          <a:xfrm>
            <a:off x="8543074" y="2556131"/>
            <a:ext cx="4019133"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85698"/>
                </a:solidFill>
                <a:effectLst/>
                <a:uLnTx/>
                <a:uFillTx/>
                <a:latin typeface="Arial" panose="020B0604020202020204"/>
                <a:ea typeface="+mn-ea"/>
                <a:cs typeface="+mn-cs"/>
              </a:rPr>
              <a:t>Consistent HR in favor of Epco-R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85698"/>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85698"/>
                </a:solidFill>
                <a:effectLst/>
                <a:uLnTx/>
                <a:uFillTx/>
                <a:latin typeface="Arial" panose="020B0604020202020204"/>
                <a:ea typeface="+mn-ea"/>
                <a:cs typeface="+mn-cs"/>
              </a:rPr>
              <a:t>Similar consistent HR for CR and DOR</a:t>
            </a:r>
          </a:p>
        </p:txBody>
      </p:sp>
      <p:sp>
        <p:nvSpPr>
          <p:cNvPr id="3" name="Text Placeholder 2">
            <a:extLst>
              <a:ext uri="{FF2B5EF4-FFF2-40B4-BE49-F238E27FC236}">
                <a16:creationId xmlns:a16="http://schemas.microsoft.com/office/drawing/2014/main" id="{6B26CF69-5070-F24C-7C99-0B511E1B5E34}"/>
              </a:ext>
            </a:extLst>
          </p:cNvPr>
          <p:cNvSpPr>
            <a:spLocks noGrp="1"/>
          </p:cNvSpPr>
          <p:nvPr>
            <p:ph type="body" sz="quarter" idx="10"/>
          </p:nvPr>
        </p:nvSpPr>
        <p:spPr>
          <a:xfrm>
            <a:off x="8822759" y="6467997"/>
            <a:ext cx="2438082" cy="202882"/>
          </a:xfrm>
        </p:spPr>
        <p:txBody>
          <a:bodyPr/>
          <a:lstStyle/>
          <a:p>
            <a:r>
              <a:rPr lang="en-US" b="0" dirty="0"/>
              <a:t>Falchi, L et al ASH 2025</a:t>
            </a:r>
          </a:p>
        </p:txBody>
      </p:sp>
    </p:spTree>
    <p:extLst>
      <p:ext uri="{BB962C8B-B14F-4D97-AF65-F5344CB8AC3E}">
        <p14:creationId xmlns:p14="http://schemas.microsoft.com/office/powerpoint/2010/main" val="1022206753"/>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32FF1B-A3E7-DB65-0131-98DFE5E74A72}"/>
              </a:ext>
            </a:extLst>
          </p:cNvPr>
          <p:cNvSpPr>
            <a:spLocks noGrp="1"/>
          </p:cNvSpPr>
          <p:nvPr>
            <p:ph type="title"/>
          </p:nvPr>
        </p:nvSpPr>
        <p:spPr>
          <a:xfrm>
            <a:off x="1205895" y="284854"/>
            <a:ext cx="10190112" cy="506257"/>
          </a:xfrm>
        </p:spPr>
        <p:txBody>
          <a:bodyPr/>
          <a:lstStyle/>
          <a:p>
            <a:pPr algn="ctr"/>
            <a:r>
              <a:rPr lang="en-US" sz="3200" dirty="0"/>
              <a:t>EPCORE FL-1: Overall Survival &amp; TTNT</a:t>
            </a:r>
          </a:p>
        </p:txBody>
      </p:sp>
      <p:pic>
        <p:nvPicPr>
          <p:cNvPr id="8" name="Picture 7" descr="A graph with numbers and a line&#10;&#10;AI-generated content may be incorrect.">
            <a:extLst>
              <a:ext uri="{FF2B5EF4-FFF2-40B4-BE49-F238E27FC236}">
                <a16:creationId xmlns:a16="http://schemas.microsoft.com/office/drawing/2014/main" id="{2104FF38-5EA9-EF30-3412-6F1648F412A2}"/>
              </a:ext>
            </a:extLst>
          </p:cNvPr>
          <p:cNvPicPr>
            <a:picLocks noChangeAspect="1"/>
          </p:cNvPicPr>
          <p:nvPr/>
        </p:nvPicPr>
        <p:blipFill>
          <a:blip r:embed="rId2">
            <a:extLst>
              <a:ext uri="{28A0092B-C50C-407E-A947-70E740481C1C}">
                <a14:useLocalDpi xmlns:a14="http://schemas.microsoft.com/office/drawing/2010/main" val="0"/>
              </a:ext>
            </a:extLst>
          </a:blip>
          <a:srcRect l="9615" r="1188" b="8024"/>
          <a:stretch>
            <a:fillRect/>
          </a:stretch>
        </p:blipFill>
        <p:spPr>
          <a:xfrm>
            <a:off x="193477" y="1334151"/>
            <a:ext cx="5902523" cy="3115264"/>
          </a:xfrm>
          <a:prstGeom prst="rect">
            <a:avLst/>
          </a:prstGeom>
        </p:spPr>
      </p:pic>
      <p:sp>
        <p:nvSpPr>
          <p:cNvPr id="9" name="Text Placeholder 2">
            <a:extLst>
              <a:ext uri="{FF2B5EF4-FFF2-40B4-BE49-F238E27FC236}">
                <a16:creationId xmlns:a16="http://schemas.microsoft.com/office/drawing/2014/main" id="{EE6768C0-AEC4-4762-12A1-3B829A52B5FE}"/>
              </a:ext>
            </a:extLst>
          </p:cNvPr>
          <p:cNvSpPr txBox="1">
            <a:spLocks/>
          </p:cNvSpPr>
          <p:nvPr/>
        </p:nvSpPr>
        <p:spPr>
          <a:xfrm>
            <a:off x="9534384" y="6509436"/>
            <a:ext cx="2438082" cy="202882"/>
          </a:xfrm>
          <a:prstGeom prst="rect">
            <a:avLst/>
          </a:prstGeom>
        </p:spPr>
        <p:txBody>
          <a:bodyPr vert="horz" wrap="none"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None/>
              <a:defRPr sz="1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285698"/>
                </a:solidFill>
                <a:effectLst/>
                <a:uLnTx/>
                <a:uFillTx/>
                <a:latin typeface="Arial" panose="020B0604020202020204"/>
                <a:ea typeface="+mn-ea"/>
                <a:cs typeface="+mn-cs"/>
              </a:rPr>
              <a:t>Falchi, L et al ASH 2025</a:t>
            </a:r>
          </a:p>
        </p:txBody>
      </p:sp>
      <p:pic>
        <p:nvPicPr>
          <p:cNvPr id="3" name="Picture 2" descr="A graph of a patient's life&#10;&#10;AI-generated content may be incorrect.">
            <a:extLst>
              <a:ext uri="{FF2B5EF4-FFF2-40B4-BE49-F238E27FC236}">
                <a16:creationId xmlns:a16="http://schemas.microsoft.com/office/drawing/2014/main" id="{3CC065B0-C65A-C60D-3D8C-3308EEA0C161}"/>
              </a:ext>
            </a:extLst>
          </p:cNvPr>
          <p:cNvPicPr>
            <a:picLocks noChangeAspect="1"/>
          </p:cNvPicPr>
          <p:nvPr/>
        </p:nvPicPr>
        <p:blipFill>
          <a:blip r:embed="rId3">
            <a:extLst>
              <a:ext uri="{28A0092B-C50C-407E-A947-70E740481C1C}">
                <a14:useLocalDpi xmlns:a14="http://schemas.microsoft.com/office/drawing/2010/main" val="0"/>
              </a:ext>
            </a:extLst>
          </a:blip>
          <a:srcRect l="8497" b="15436"/>
          <a:stretch>
            <a:fillRect/>
          </a:stretch>
        </p:blipFill>
        <p:spPr>
          <a:xfrm>
            <a:off x="6124636" y="1537033"/>
            <a:ext cx="5873888" cy="2769496"/>
          </a:xfrm>
          <a:prstGeom prst="rect">
            <a:avLst/>
          </a:prstGeom>
        </p:spPr>
      </p:pic>
      <p:sp>
        <p:nvSpPr>
          <p:cNvPr id="4" name="TextBox 3">
            <a:extLst>
              <a:ext uri="{FF2B5EF4-FFF2-40B4-BE49-F238E27FC236}">
                <a16:creationId xmlns:a16="http://schemas.microsoft.com/office/drawing/2014/main" id="{73363EFB-372D-7453-C61F-67A38B573FC7}"/>
              </a:ext>
            </a:extLst>
          </p:cNvPr>
          <p:cNvSpPr txBox="1"/>
          <p:nvPr/>
        </p:nvSpPr>
        <p:spPr>
          <a:xfrm>
            <a:off x="2714888" y="4692852"/>
            <a:ext cx="6819496"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285698"/>
                </a:solidFill>
                <a:effectLst/>
                <a:uLnTx/>
                <a:uFillTx/>
                <a:latin typeface="Arial" panose="020B0604020202020204"/>
                <a:ea typeface="+mn-ea"/>
                <a:cs typeface="+mn-cs"/>
              </a:rPr>
              <a:t>Improvement in OS and TT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285698"/>
                </a:solidFill>
                <a:effectLst/>
                <a:uLnTx/>
                <a:uFillTx/>
                <a:latin typeface="Arial" panose="020B0604020202020204"/>
                <a:ea typeface="+mn-ea"/>
                <a:cs typeface="+mn-cs"/>
              </a:rPr>
              <a:t>At 16 mths 93% free from next treatment vs 64%</a:t>
            </a:r>
          </a:p>
        </p:txBody>
      </p:sp>
    </p:spTree>
    <p:extLst>
      <p:ext uri="{BB962C8B-B14F-4D97-AF65-F5344CB8AC3E}">
        <p14:creationId xmlns:p14="http://schemas.microsoft.com/office/powerpoint/2010/main" val="3387262968"/>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3466A8-AC78-4984-8BF8-42FA2454C5E1}"/>
              </a:ext>
            </a:extLst>
          </p:cNvPr>
          <p:cNvSpPr>
            <a:spLocks noGrp="1"/>
          </p:cNvSpPr>
          <p:nvPr>
            <p:ph type="title"/>
          </p:nvPr>
        </p:nvSpPr>
        <p:spPr>
          <a:xfrm>
            <a:off x="1000944" y="93183"/>
            <a:ext cx="10190112" cy="506257"/>
          </a:xfrm>
        </p:spPr>
        <p:txBody>
          <a:bodyPr/>
          <a:lstStyle/>
          <a:p>
            <a:pPr algn="ctr"/>
            <a:r>
              <a:rPr lang="en-US" sz="3200" dirty="0"/>
              <a:t>EPCORE FL-1: Adverse Events</a:t>
            </a:r>
          </a:p>
        </p:txBody>
      </p:sp>
      <p:pic>
        <p:nvPicPr>
          <p:cNvPr id="6" name="Picture 5" descr="A table with numbers and text&#10;&#10;AI-generated content may be incorrect.">
            <a:extLst>
              <a:ext uri="{FF2B5EF4-FFF2-40B4-BE49-F238E27FC236}">
                <a16:creationId xmlns:a16="http://schemas.microsoft.com/office/drawing/2014/main" id="{CB803B76-AA98-6C84-D8C5-67812C41BE5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3068" y="1233099"/>
            <a:ext cx="6131432" cy="3903774"/>
          </a:xfrm>
          <a:prstGeom prst="rect">
            <a:avLst/>
          </a:prstGeom>
        </p:spPr>
      </p:pic>
      <p:sp>
        <p:nvSpPr>
          <p:cNvPr id="7" name="Rounded Rectangle 6">
            <a:extLst>
              <a:ext uri="{FF2B5EF4-FFF2-40B4-BE49-F238E27FC236}">
                <a16:creationId xmlns:a16="http://schemas.microsoft.com/office/drawing/2014/main" id="{19E4F7A4-C848-5C84-1362-7D83EE70E94C}"/>
              </a:ext>
            </a:extLst>
          </p:cNvPr>
          <p:cNvSpPr/>
          <p:nvPr/>
        </p:nvSpPr>
        <p:spPr>
          <a:xfrm>
            <a:off x="318876" y="3165828"/>
            <a:ext cx="6065623" cy="241708"/>
          </a:xfrm>
          <a:prstGeom prst="roundRect">
            <a:avLst/>
          </a:prstGeom>
          <a:solidFill>
            <a:schemeClr val="accent1">
              <a:alpha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 name="Rounded Rectangle 7">
            <a:extLst>
              <a:ext uri="{FF2B5EF4-FFF2-40B4-BE49-F238E27FC236}">
                <a16:creationId xmlns:a16="http://schemas.microsoft.com/office/drawing/2014/main" id="{523C93D2-3123-06C5-72C7-8E56341E9E00}"/>
              </a:ext>
            </a:extLst>
          </p:cNvPr>
          <p:cNvSpPr/>
          <p:nvPr/>
        </p:nvSpPr>
        <p:spPr>
          <a:xfrm>
            <a:off x="318877" y="3554368"/>
            <a:ext cx="6131432" cy="406548"/>
          </a:xfrm>
          <a:prstGeom prst="roundRect">
            <a:avLst/>
          </a:prstGeom>
          <a:solidFill>
            <a:schemeClr val="accent1">
              <a:alpha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90ADD711-FB4A-CA77-458F-5801A071A70C}"/>
              </a:ext>
            </a:extLst>
          </p:cNvPr>
          <p:cNvSpPr txBox="1"/>
          <p:nvPr/>
        </p:nvSpPr>
        <p:spPr>
          <a:xfrm>
            <a:off x="766482" y="5358177"/>
            <a:ext cx="462177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85698"/>
                </a:solidFill>
                <a:effectLst/>
                <a:uLnTx/>
                <a:uFillTx/>
                <a:latin typeface="Arial" panose="020B0604020202020204"/>
                <a:ea typeface="+mn-ea"/>
                <a:cs typeface="+mn-cs"/>
              </a:rPr>
              <a:t>Febrile Neutropenia Epco-R</a:t>
            </a:r>
            <a:r>
              <a:rPr kumimoji="0" lang="en-US" sz="1800" b="0" i="0" u="none" strike="noStrike" kern="1200" cap="none" spc="0" normalizeH="0" baseline="30000" noProof="0" dirty="0">
                <a:ln>
                  <a:noFill/>
                </a:ln>
                <a:solidFill>
                  <a:srgbClr val="285698"/>
                </a:solidFill>
                <a:effectLst/>
                <a:uLnTx/>
                <a:uFillTx/>
                <a:latin typeface="Arial" panose="020B0604020202020204"/>
                <a:ea typeface="+mn-ea"/>
                <a:cs typeface="+mn-cs"/>
              </a:rPr>
              <a:t>2</a:t>
            </a:r>
            <a:r>
              <a:rPr kumimoji="0" lang="en-US" sz="1800" b="0" i="0" u="none" strike="noStrike" kern="1200" cap="none" spc="0" normalizeH="0" baseline="0" noProof="0" dirty="0">
                <a:ln>
                  <a:noFill/>
                </a:ln>
                <a:solidFill>
                  <a:srgbClr val="285698"/>
                </a:solidFill>
                <a:effectLst/>
                <a:uLnTx/>
                <a:uFillTx/>
                <a:latin typeface="Arial" panose="020B0604020202020204"/>
                <a:ea typeface="+mn-ea"/>
                <a:cs typeface="+mn-cs"/>
              </a:rPr>
              <a:t> 6% vs R</a:t>
            </a:r>
            <a:r>
              <a:rPr kumimoji="0" lang="en-US" sz="1800" b="0" i="0" u="none" strike="noStrike" kern="1200" cap="none" spc="0" normalizeH="0" baseline="30000" noProof="0" dirty="0">
                <a:ln>
                  <a:noFill/>
                </a:ln>
                <a:solidFill>
                  <a:srgbClr val="285698"/>
                </a:solidFill>
                <a:effectLst/>
                <a:uLnTx/>
                <a:uFillTx/>
                <a:latin typeface="Arial" panose="020B0604020202020204"/>
                <a:ea typeface="+mn-ea"/>
                <a:cs typeface="+mn-cs"/>
              </a:rPr>
              <a:t>2</a:t>
            </a:r>
            <a:r>
              <a:rPr kumimoji="0" lang="en-US" sz="1800" b="0" i="0" u="none" strike="noStrike" kern="1200" cap="none" spc="0" normalizeH="0" baseline="0" noProof="0" dirty="0">
                <a:ln>
                  <a:noFill/>
                </a:ln>
                <a:solidFill>
                  <a:srgbClr val="285698"/>
                </a:solidFill>
                <a:effectLst/>
                <a:uLnTx/>
                <a:uFillTx/>
                <a:latin typeface="Arial" panose="020B0604020202020204"/>
                <a:ea typeface="+mn-ea"/>
                <a:cs typeface="+mn-cs"/>
              </a:rPr>
              <a:t> 2%</a:t>
            </a:r>
          </a:p>
        </p:txBody>
      </p:sp>
      <p:pic>
        <p:nvPicPr>
          <p:cNvPr id="11" name="Picture 10" descr="A graph with numbers and a bar chart&#10;&#10;AI-generated content may be incorrect.">
            <a:extLst>
              <a:ext uri="{FF2B5EF4-FFF2-40B4-BE49-F238E27FC236}">
                <a16:creationId xmlns:a16="http://schemas.microsoft.com/office/drawing/2014/main" id="{7954ABE7-B460-54AD-4B4B-3682D395C52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90295" y="1233099"/>
            <a:ext cx="4337754" cy="4071271"/>
          </a:xfrm>
          <a:prstGeom prst="rect">
            <a:avLst/>
          </a:prstGeom>
        </p:spPr>
      </p:pic>
      <p:sp>
        <p:nvSpPr>
          <p:cNvPr id="12" name="TextBox 11">
            <a:extLst>
              <a:ext uri="{FF2B5EF4-FFF2-40B4-BE49-F238E27FC236}">
                <a16:creationId xmlns:a16="http://schemas.microsoft.com/office/drawing/2014/main" id="{B3A7B87F-AD5A-2C05-E65C-F20B5C7D636C}"/>
              </a:ext>
            </a:extLst>
          </p:cNvPr>
          <p:cNvSpPr txBox="1"/>
          <p:nvPr/>
        </p:nvSpPr>
        <p:spPr>
          <a:xfrm>
            <a:off x="7691718" y="5358177"/>
            <a:ext cx="323678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85698"/>
                </a:solidFill>
                <a:effectLst/>
                <a:uLnTx/>
                <a:uFillTx/>
                <a:latin typeface="Arial" panose="020B0604020202020204"/>
                <a:ea typeface="+mn-ea"/>
                <a:cs typeface="+mn-cs"/>
              </a:rPr>
              <a:t>CRS 26% (21% Gr1, 5% Gr2)</a:t>
            </a:r>
          </a:p>
        </p:txBody>
      </p:sp>
      <p:sp>
        <p:nvSpPr>
          <p:cNvPr id="13" name="Text Placeholder 2">
            <a:extLst>
              <a:ext uri="{FF2B5EF4-FFF2-40B4-BE49-F238E27FC236}">
                <a16:creationId xmlns:a16="http://schemas.microsoft.com/office/drawing/2014/main" id="{51DCD8D3-D746-BFB8-0867-E3649289ADD5}"/>
              </a:ext>
            </a:extLst>
          </p:cNvPr>
          <p:cNvSpPr txBox="1">
            <a:spLocks/>
          </p:cNvSpPr>
          <p:nvPr/>
        </p:nvSpPr>
        <p:spPr>
          <a:xfrm>
            <a:off x="8361844" y="6442919"/>
            <a:ext cx="2438082" cy="202882"/>
          </a:xfrm>
          <a:prstGeom prst="rect">
            <a:avLst/>
          </a:prstGeom>
        </p:spPr>
        <p:txBody>
          <a:bodyPr vert="horz" wrap="none"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None/>
              <a:defRPr sz="1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285698"/>
                </a:solidFill>
                <a:effectLst/>
                <a:uLnTx/>
                <a:uFillTx/>
                <a:latin typeface="Arial" panose="020B0604020202020204"/>
                <a:ea typeface="+mn-ea"/>
                <a:cs typeface="+mn-cs"/>
              </a:rPr>
              <a:t>Falchi, L et al ASH 2025</a:t>
            </a:r>
          </a:p>
        </p:txBody>
      </p:sp>
    </p:spTree>
    <p:extLst>
      <p:ext uri="{BB962C8B-B14F-4D97-AF65-F5344CB8AC3E}">
        <p14:creationId xmlns:p14="http://schemas.microsoft.com/office/powerpoint/2010/main" val="18540576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E828C9-7A93-C411-E637-829A1FD4CE3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2109AB8-F522-AB1E-D1B7-90C2FB07441E}"/>
              </a:ext>
            </a:extLst>
          </p:cNvPr>
          <p:cNvSpPr txBox="1">
            <a:spLocks/>
          </p:cNvSpPr>
          <p:nvPr/>
        </p:nvSpPr>
        <p:spPr>
          <a:xfrm>
            <a:off x="2438400" y="2856706"/>
            <a:ext cx="7315200" cy="1143000"/>
          </a:xfrm>
          <a:prstGeom prst="rect">
            <a:avLst/>
          </a:prstGeom>
          <a:solidFill>
            <a:srgbClr val="367BB9"/>
          </a:solidFill>
          <a:ln w="25400">
            <a:solidFill>
              <a:schemeClr val="tx1"/>
            </a:solidFill>
          </a:ln>
          <a:effectLst>
            <a:glow rad="152400">
              <a:schemeClr val="tx1">
                <a:alpha val="10000"/>
              </a:schemeClr>
            </a:glow>
          </a:effectLst>
        </p:spPr>
        <p:txBody>
          <a:bodyPr vert="horz" lIns="91440" tIns="45720" rIns="91440" bIns="45720" rtlCol="0" anchor="ctr">
            <a:normAutofit/>
          </a:bodyPr>
          <a:lstStyle>
            <a:lvl1pPr algn="ctr" defTabSz="914400" rtl="0" eaLnBrk="1" latinLnBrk="0" hangingPunct="1">
              <a:lnSpc>
                <a:spcPct val="90000"/>
              </a:lnSpc>
              <a:spcBef>
                <a:spcPct val="0"/>
              </a:spcBef>
              <a:buNone/>
              <a:defRPr sz="3600" b="1" kern="1200">
                <a:solidFill>
                  <a:srgbClr val="002656"/>
                </a:solidFill>
                <a:latin typeface="Arial" charset="0"/>
                <a:ea typeface="Arial" charset="0"/>
                <a:cs typeface="Arial" charset="0"/>
              </a:defRPr>
            </a:lvl1pPr>
          </a:lstStyle>
          <a:p>
            <a:pPr marL="0" marR="0" lvl="0" indent="0" algn="ctr" defTabSz="914400" rtl="0" eaLnBrk="0" fontAlgn="auto" latinLnBrk="0" hangingPunct="0">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Arial" pitchFamily="-1" charset="0"/>
                <a:ea typeface="ＭＳ Ｐゴシック" pitchFamily="-1" charset="-128"/>
                <a:cs typeface="Arial" charset="0"/>
              </a:rPr>
              <a:t>QUESTIONS?</a:t>
            </a:r>
            <a:endParaRPr kumimoji="0" lang="en-US" sz="4000" b="1" i="1" u="none" strike="noStrike" kern="1200" cap="none" spc="0" normalizeH="0" baseline="0" noProof="0" dirty="0">
              <a:ln>
                <a:noFill/>
              </a:ln>
              <a:solidFill>
                <a:prstClr val="white"/>
              </a:solidFill>
              <a:effectLst/>
              <a:uLnTx/>
              <a:uFillTx/>
              <a:latin typeface="Arial" pitchFamily="-1" charset="0"/>
              <a:ea typeface="ＭＳ Ｐゴシック" pitchFamily="-1" charset="-128"/>
              <a:cs typeface="Arial" charset="0"/>
            </a:endParaRPr>
          </a:p>
        </p:txBody>
      </p:sp>
    </p:spTree>
    <p:extLst>
      <p:ext uri="{BB962C8B-B14F-4D97-AF65-F5344CB8AC3E}">
        <p14:creationId xmlns:p14="http://schemas.microsoft.com/office/powerpoint/2010/main" val="13447305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26720" y="146305"/>
            <a:ext cx="11338560"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2800" b="1" i="0" u="none" strike="noStrike" kern="1200" cap="none" spc="0" normalizeH="0" baseline="0" noProof="0" dirty="0">
                <a:ln>
                  <a:noFill/>
                </a:ln>
                <a:solidFill>
                  <a:srgbClr val="1B3A6B"/>
                </a:solidFill>
                <a:effectLst/>
                <a:uLnTx/>
                <a:uFillTx/>
                <a:latin typeface="Arial" panose="020B0604020202020204"/>
                <a:ea typeface="+mn-ea"/>
                <a:cs typeface="+mn-cs"/>
              </a:rPr>
              <a:t>Mosunetuzumab + Lenalidomide: CELESTIMO </a:t>
            </a:r>
            <a:r>
              <a:rPr kumimoji="0" lang="en-US" sz="2800" b="1" i="0" u="none" strike="noStrike" kern="1200" cap="none" spc="0" normalizeH="0" baseline="0" noProof="0" dirty="0">
                <a:ln>
                  <a:noFill/>
                </a:ln>
                <a:solidFill>
                  <a:srgbClr val="1B3A6B"/>
                </a:solidFill>
                <a:effectLst/>
                <a:uLnTx/>
                <a:uFillTx/>
                <a:latin typeface="Arial" panose="020B0604020202020204"/>
                <a:ea typeface="+mn-ea"/>
                <a:cs typeface="+mn-cs"/>
              </a:rPr>
              <a:t>ARM C </a:t>
            </a:r>
            <a:r>
              <a:rPr kumimoji="0" sz="2800" b="1" i="0" u="none" strike="noStrike" kern="1200" cap="none" spc="0" normalizeH="0" baseline="0" noProof="0" dirty="0">
                <a:ln>
                  <a:noFill/>
                </a:ln>
                <a:solidFill>
                  <a:srgbClr val="1B3A6B"/>
                </a:solidFill>
                <a:effectLst/>
                <a:uLnTx/>
                <a:uFillTx/>
                <a:latin typeface="Arial" panose="020B0604020202020204"/>
                <a:ea typeface="+mn-ea"/>
                <a:cs typeface="+mn-cs"/>
              </a:rPr>
              <a:t>(ASH 2025)</a:t>
            </a:r>
          </a:p>
        </p:txBody>
      </p:sp>
      <p:sp>
        <p:nvSpPr>
          <p:cNvPr id="3" name="Rectangle 2"/>
          <p:cNvSpPr/>
          <p:nvPr/>
        </p:nvSpPr>
        <p:spPr>
          <a:xfrm>
            <a:off x="426720" y="1146048"/>
            <a:ext cx="11338560" cy="24384"/>
          </a:xfrm>
          <a:prstGeom prst="rect">
            <a:avLst/>
          </a:prstGeom>
          <a:solidFill>
            <a:srgbClr val="0D7A7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 name="Rectangle 3"/>
          <p:cNvSpPr/>
          <p:nvPr/>
        </p:nvSpPr>
        <p:spPr>
          <a:xfrm>
            <a:off x="426720" y="1170432"/>
            <a:ext cx="3596640" cy="1341120"/>
          </a:xfrm>
          <a:prstGeom prst="rect">
            <a:avLst/>
          </a:prstGeom>
          <a:solidFill>
            <a:srgbClr val="1B3A6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 name="TextBox 4"/>
          <p:cNvSpPr txBox="1"/>
          <p:nvPr/>
        </p:nvSpPr>
        <p:spPr>
          <a:xfrm>
            <a:off x="524256" y="1255776"/>
            <a:ext cx="3401568" cy="2974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333" b="1" i="0" u="none" strike="noStrike" kern="1200" cap="none" spc="0" normalizeH="0" baseline="0" noProof="0" dirty="0">
                <a:ln>
                  <a:noFill/>
                </a:ln>
                <a:solidFill>
                  <a:srgbClr val="FFFFFF"/>
                </a:solidFill>
                <a:effectLst/>
                <a:uLnTx/>
                <a:uFillTx/>
                <a:latin typeface="Arial" panose="020B0604020202020204"/>
                <a:ea typeface="+mn-ea"/>
                <a:cs typeface="+mn-cs"/>
              </a:rPr>
              <a:t>Overall Response Rate</a:t>
            </a:r>
          </a:p>
        </p:txBody>
      </p:sp>
      <p:sp>
        <p:nvSpPr>
          <p:cNvPr id="6" name="TextBox 5"/>
          <p:cNvSpPr txBox="1"/>
          <p:nvPr/>
        </p:nvSpPr>
        <p:spPr>
          <a:xfrm>
            <a:off x="487679" y="1499616"/>
            <a:ext cx="3474720" cy="7489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4267" b="1" i="0" u="none" strike="noStrike" kern="1200" cap="none" spc="0" normalizeH="0" baseline="0" noProof="0" dirty="0">
                <a:ln>
                  <a:noFill/>
                </a:ln>
                <a:solidFill>
                  <a:srgbClr val="FFFFFF"/>
                </a:solidFill>
                <a:effectLst/>
                <a:uLnTx/>
                <a:uFillTx/>
                <a:latin typeface="Arial" panose="020B0604020202020204"/>
                <a:ea typeface="+mn-ea"/>
                <a:cs typeface="+mn-cs"/>
              </a:rPr>
              <a:t>96.3%</a:t>
            </a:r>
          </a:p>
        </p:txBody>
      </p:sp>
      <p:sp>
        <p:nvSpPr>
          <p:cNvPr id="7" name="TextBox 6"/>
          <p:cNvSpPr txBox="1"/>
          <p:nvPr/>
        </p:nvSpPr>
        <p:spPr>
          <a:xfrm>
            <a:off x="487679" y="2148054"/>
            <a:ext cx="3474720" cy="2974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333" b="0" i="0" u="none" strike="noStrike" kern="1200" cap="none" spc="0" normalizeH="0" baseline="0" noProof="0" dirty="0">
                <a:ln>
                  <a:noFill/>
                </a:ln>
                <a:solidFill>
                  <a:srgbClr val="FFFFFF"/>
                </a:solidFill>
                <a:effectLst/>
                <a:uLnTx/>
                <a:uFillTx/>
                <a:latin typeface="Arial" panose="020B0604020202020204"/>
                <a:ea typeface="+mn-ea"/>
                <a:cs typeface="+mn-cs"/>
              </a:rPr>
              <a:t>52/54 patients</a:t>
            </a:r>
          </a:p>
        </p:txBody>
      </p:sp>
      <p:sp>
        <p:nvSpPr>
          <p:cNvPr id="8" name="Rectangle 7"/>
          <p:cNvSpPr/>
          <p:nvPr/>
        </p:nvSpPr>
        <p:spPr>
          <a:xfrm>
            <a:off x="4291584" y="1170432"/>
            <a:ext cx="3596640" cy="1341120"/>
          </a:xfrm>
          <a:prstGeom prst="rect">
            <a:avLst/>
          </a:prstGeom>
          <a:solidFill>
            <a:srgbClr val="0D7A7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 name="TextBox 8"/>
          <p:cNvSpPr txBox="1"/>
          <p:nvPr/>
        </p:nvSpPr>
        <p:spPr>
          <a:xfrm>
            <a:off x="4389120" y="1255776"/>
            <a:ext cx="3401568" cy="2974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333" b="1" i="0" u="none" strike="noStrike" kern="1200" cap="none" spc="0" normalizeH="0" baseline="0" noProof="0" dirty="0">
                <a:ln>
                  <a:noFill/>
                </a:ln>
                <a:solidFill>
                  <a:srgbClr val="FFFFFF"/>
                </a:solidFill>
                <a:effectLst/>
                <a:uLnTx/>
                <a:uFillTx/>
                <a:latin typeface="Arial" panose="020B0604020202020204"/>
                <a:ea typeface="+mn-ea"/>
                <a:cs typeface="+mn-cs"/>
              </a:rPr>
              <a:t>Complete Response</a:t>
            </a:r>
          </a:p>
        </p:txBody>
      </p:sp>
      <p:sp>
        <p:nvSpPr>
          <p:cNvPr id="10" name="TextBox 9"/>
          <p:cNvSpPr txBox="1"/>
          <p:nvPr/>
        </p:nvSpPr>
        <p:spPr>
          <a:xfrm>
            <a:off x="4352544" y="1499616"/>
            <a:ext cx="3474720" cy="7489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4267" b="1" i="0" u="none" strike="noStrike" kern="1200" cap="none" spc="0" normalizeH="0" baseline="0" noProof="0" dirty="0">
                <a:ln>
                  <a:noFill/>
                </a:ln>
                <a:solidFill>
                  <a:srgbClr val="FFFFFF"/>
                </a:solidFill>
                <a:effectLst/>
                <a:uLnTx/>
                <a:uFillTx/>
                <a:latin typeface="Arial" panose="020B0604020202020204"/>
                <a:ea typeface="+mn-ea"/>
                <a:cs typeface="+mn-cs"/>
              </a:rPr>
              <a:t>87.0%</a:t>
            </a:r>
          </a:p>
        </p:txBody>
      </p:sp>
      <p:sp>
        <p:nvSpPr>
          <p:cNvPr id="11" name="TextBox 10"/>
          <p:cNvSpPr txBox="1"/>
          <p:nvPr/>
        </p:nvSpPr>
        <p:spPr>
          <a:xfrm>
            <a:off x="4352544" y="2194990"/>
            <a:ext cx="3474720" cy="2974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333" b="0" i="0" u="none" strike="noStrike" kern="1200" cap="none" spc="0" normalizeH="0" baseline="0" noProof="0" dirty="0">
                <a:ln>
                  <a:noFill/>
                </a:ln>
                <a:solidFill>
                  <a:srgbClr val="FFFFFF"/>
                </a:solidFill>
                <a:effectLst/>
                <a:uLnTx/>
                <a:uFillTx/>
                <a:latin typeface="Arial" panose="020B0604020202020204"/>
                <a:ea typeface="+mn-ea"/>
                <a:cs typeface="+mn-cs"/>
              </a:rPr>
              <a:t>US cohort (N=54)</a:t>
            </a:r>
          </a:p>
        </p:txBody>
      </p:sp>
      <p:sp>
        <p:nvSpPr>
          <p:cNvPr id="12" name="Rectangle 11"/>
          <p:cNvSpPr/>
          <p:nvPr/>
        </p:nvSpPr>
        <p:spPr>
          <a:xfrm>
            <a:off x="8156448" y="1170432"/>
            <a:ext cx="3596640" cy="1341120"/>
          </a:xfrm>
          <a:prstGeom prst="rect">
            <a:avLst/>
          </a:prstGeom>
          <a:solidFill>
            <a:srgbClr val="0D4F3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3" name="TextBox 12"/>
          <p:cNvSpPr txBox="1"/>
          <p:nvPr/>
        </p:nvSpPr>
        <p:spPr>
          <a:xfrm>
            <a:off x="8253984" y="1255776"/>
            <a:ext cx="3401568" cy="2974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333" b="1" i="0" u="none" strike="noStrike" kern="1200" cap="none" spc="0" normalizeH="0" baseline="0" noProof="0" dirty="0">
                <a:ln>
                  <a:noFill/>
                </a:ln>
                <a:solidFill>
                  <a:srgbClr val="FFFFFF"/>
                </a:solidFill>
                <a:effectLst/>
                <a:uLnTx/>
                <a:uFillTx/>
                <a:latin typeface="Arial" panose="020B0604020202020204"/>
                <a:ea typeface="+mn-ea"/>
                <a:cs typeface="+mn-cs"/>
              </a:rPr>
              <a:t>Setting</a:t>
            </a:r>
          </a:p>
        </p:txBody>
      </p:sp>
      <p:sp>
        <p:nvSpPr>
          <p:cNvPr id="14" name="TextBox 13"/>
          <p:cNvSpPr txBox="1"/>
          <p:nvPr/>
        </p:nvSpPr>
        <p:spPr>
          <a:xfrm>
            <a:off x="8217408" y="1499616"/>
            <a:ext cx="3474720" cy="50276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2667" b="1" i="0" u="none" strike="noStrike" kern="1200" cap="none" spc="0" normalizeH="0" baseline="0" noProof="0" dirty="0">
                <a:ln>
                  <a:noFill/>
                </a:ln>
                <a:solidFill>
                  <a:srgbClr val="FFFFFF"/>
                </a:solidFill>
                <a:effectLst/>
                <a:uLnTx/>
                <a:uFillTx/>
                <a:latin typeface="Arial" panose="020B0604020202020204"/>
                <a:ea typeface="+mn-ea"/>
                <a:cs typeface="+mn-cs"/>
              </a:rPr>
              <a:t>2L+ R/R FL</a:t>
            </a:r>
          </a:p>
        </p:txBody>
      </p:sp>
      <p:sp>
        <p:nvSpPr>
          <p:cNvPr id="15" name="TextBox 14"/>
          <p:cNvSpPr txBox="1"/>
          <p:nvPr/>
        </p:nvSpPr>
        <p:spPr>
          <a:xfrm>
            <a:off x="8217408" y="2191450"/>
            <a:ext cx="3474720" cy="2974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333" b="0" i="0" u="none" strike="noStrike" kern="1200" cap="none" spc="0" normalizeH="0" baseline="0" noProof="0" dirty="0">
                <a:ln>
                  <a:noFill/>
                </a:ln>
                <a:solidFill>
                  <a:srgbClr val="A8D8A8"/>
                </a:solidFill>
                <a:effectLst/>
                <a:uLnTx/>
                <a:uFillTx/>
                <a:latin typeface="Arial" panose="020B0604020202020204"/>
                <a:ea typeface="+mn-ea"/>
                <a:cs typeface="+mn-cs"/>
              </a:rPr>
              <a:t>CELESTIMO Phase 3</a:t>
            </a:r>
          </a:p>
        </p:txBody>
      </p:sp>
      <p:sp>
        <p:nvSpPr>
          <p:cNvPr id="16" name="Rectangle 15"/>
          <p:cNvSpPr/>
          <p:nvPr/>
        </p:nvSpPr>
        <p:spPr>
          <a:xfrm>
            <a:off x="426720" y="2609088"/>
            <a:ext cx="5547360" cy="3291840"/>
          </a:xfrm>
          <a:prstGeom prst="rect">
            <a:avLst/>
          </a:prstGeom>
          <a:solidFill>
            <a:srgbClr val="F5F7FA"/>
          </a:solidFill>
          <a:ln w="6350">
            <a:solidFill>
              <a:srgbClr val="1B3A6B"/>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7" name="TextBox 16"/>
          <p:cNvSpPr txBox="1"/>
          <p:nvPr/>
        </p:nvSpPr>
        <p:spPr>
          <a:xfrm>
            <a:off x="548641" y="2657856"/>
            <a:ext cx="5303519"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600" b="1" i="0" u="none" strike="noStrike" kern="1200" cap="none" spc="0" normalizeH="0" baseline="0" noProof="0" dirty="0">
                <a:ln>
                  <a:noFill/>
                </a:ln>
                <a:solidFill>
                  <a:srgbClr val="1B3A6B"/>
                </a:solidFill>
                <a:effectLst/>
                <a:uLnTx/>
                <a:uFillTx/>
                <a:latin typeface="Arial" panose="020B0604020202020204"/>
                <a:ea typeface="+mn-ea"/>
                <a:cs typeface="+mn-cs"/>
              </a:rPr>
              <a:t>Efficacy</a:t>
            </a:r>
          </a:p>
        </p:txBody>
      </p:sp>
      <p:sp>
        <p:nvSpPr>
          <p:cNvPr id="18" name="TextBox 17"/>
          <p:cNvSpPr txBox="1"/>
          <p:nvPr/>
        </p:nvSpPr>
        <p:spPr>
          <a:xfrm>
            <a:off x="585216" y="3048000"/>
            <a:ext cx="5242560" cy="3181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467" b="0" i="0" u="none" strike="noStrike" kern="1200" cap="none" spc="0" normalizeH="0" baseline="0" noProof="0" dirty="0">
                <a:ln>
                  <a:noFill/>
                </a:ln>
                <a:solidFill>
                  <a:srgbClr val="1A1A1A"/>
                </a:solidFill>
                <a:effectLst/>
                <a:uLnTx/>
                <a:uFillTx/>
                <a:latin typeface="Arial" panose="020B0604020202020204"/>
                <a:ea typeface="+mn-ea"/>
                <a:cs typeface="+mn-cs"/>
              </a:rPr>
              <a:t>• Mosunetuzumab+lenalidomide (fixed-duration)</a:t>
            </a:r>
          </a:p>
        </p:txBody>
      </p:sp>
      <p:sp>
        <p:nvSpPr>
          <p:cNvPr id="19" name="TextBox 18"/>
          <p:cNvSpPr txBox="1"/>
          <p:nvPr/>
        </p:nvSpPr>
        <p:spPr>
          <a:xfrm>
            <a:off x="585216" y="3584448"/>
            <a:ext cx="5242560" cy="3181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467" b="0" i="0" u="none" strike="noStrike" kern="1200" cap="none" spc="0" normalizeH="0" baseline="0" noProof="0" dirty="0">
                <a:ln>
                  <a:noFill/>
                </a:ln>
                <a:solidFill>
                  <a:srgbClr val="1A1A1A"/>
                </a:solidFill>
                <a:effectLst/>
                <a:uLnTx/>
                <a:uFillTx/>
                <a:latin typeface="Arial" panose="020B0604020202020204"/>
                <a:ea typeface="+mn-ea"/>
                <a:cs typeface="+mn-cs"/>
              </a:rPr>
              <a:t>• US extension cohort: ORR 96.3%, CR 87.0%</a:t>
            </a:r>
          </a:p>
        </p:txBody>
      </p:sp>
      <p:sp>
        <p:nvSpPr>
          <p:cNvPr id="20" name="TextBox 19"/>
          <p:cNvSpPr txBox="1"/>
          <p:nvPr/>
        </p:nvSpPr>
        <p:spPr>
          <a:xfrm>
            <a:off x="585216" y="4120896"/>
            <a:ext cx="5242560" cy="3181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467" b="0" i="0" u="none" strike="noStrike" kern="1200" cap="none" spc="0" normalizeH="0" baseline="0" noProof="0" dirty="0">
                <a:ln>
                  <a:noFill/>
                </a:ln>
                <a:solidFill>
                  <a:srgbClr val="1A1A1A"/>
                </a:solidFill>
                <a:effectLst/>
                <a:uLnTx/>
                <a:uFillTx/>
                <a:latin typeface="Arial" panose="020B0604020202020204"/>
                <a:ea typeface="+mn-ea"/>
                <a:cs typeface="+mn-cs"/>
              </a:rPr>
              <a:t>• Deep responses: 52/54 patients responded</a:t>
            </a:r>
          </a:p>
        </p:txBody>
      </p:sp>
      <p:sp>
        <p:nvSpPr>
          <p:cNvPr id="21" name="TextBox 20"/>
          <p:cNvSpPr txBox="1"/>
          <p:nvPr/>
        </p:nvSpPr>
        <p:spPr>
          <a:xfrm>
            <a:off x="585216" y="4657344"/>
            <a:ext cx="5242560" cy="3181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467" b="0" i="0" u="none" strike="noStrike" kern="1200" cap="none" spc="0" normalizeH="0" baseline="0" noProof="0" dirty="0">
                <a:ln>
                  <a:noFill/>
                </a:ln>
                <a:solidFill>
                  <a:srgbClr val="1A1A1A"/>
                </a:solidFill>
                <a:effectLst/>
                <a:uLnTx/>
                <a:uFillTx/>
                <a:latin typeface="Arial" panose="020B0604020202020204"/>
                <a:ea typeface="+mn-ea"/>
                <a:cs typeface="+mn-cs"/>
              </a:rPr>
              <a:t>• Full primary analysis anticipated 2026</a:t>
            </a:r>
          </a:p>
        </p:txBody>
      </p:sp>
      <p:sp>
        <p:nvSpPr>
          <p:cNvPr id="22" name="TextBox 21"/>
          <p:cNvSpPr txBox="1"/>
          <p:nvPr/>
        </p:nvSpPr>
        <p:spPr>
          <a:xfrm>
            <a:off x="585216" y="5193792"/>
            <a:ext cx="5242560" cy="3181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467" b="0" i="0" u="none" strike="noStrike" kern="1200" cap="none" spc="0" normalizeH="0" baseline="0" noProof="0" dirty="0">
                <a:ln>
                  <a:noFill/>
                </a:ln>
                <a:solidFill>
                  <a:srgbClr val="1A1A1A"/>
                </a:solidFill>
                <a:effectLst/>
                <a:uLnTx/>
                <a:uFillTx/>
                <a:latin typeface="Arial" panose="020B0604020202020204"/>
                <a:ea typeface="+mn-ea"/>
                <a:cs typeface="+mn-cs"/>
              </a:rPr>
              <a:t>• IV mosunetuzumab × 8 cycles (fixed-duration)</a:t>
            </a:r>
          </a:p>
        </p:txBody>
      </p:sp>
      <p:sp>
        <p:nvSpPr>
          <p:cNvPr id="23" name="Rectangle 22"/>
          <p:cNvSpPr/>
          <p:nvPr/>
        </p:nvSpPr>
        <p:spPr>
          <a:xfrm>
            <a:off x="6217920" y="2609088"/>
            <a:ext cx="5547360" cy="3291840"/>
          </a:xfrm>
          <a:prstGeom prst="rect">
            <a:avLst/>
          </a:prstGeom>
          <a:solidFill>
            <a:srgbClr val="F5F7FA"/>
          </a:solidFill>
          <a:ln w="6350">
            <a:solidFill>
              <a:srgbClr val="0D7A7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4" name="TextBox 23"/>
          <p:cNvSpPr txBox="1"/>
          <p:nvPr/>
        </p:nvSpPr>
        <p:spPr>
          <a:xfrm>
            <a:off x="6339841" y="2657856"/>
            <a:ext cx="5303519"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600" b="1" i="0" u="none" strike="noStrike" kern="1200" cap="none" spc="0" normalizeH="0" baseline="0" noProof="0" dirty="0">
                <a:ln>
                  <a:noFill/>
                </a:ln>
                <a:solidFill>
                  <a:srgbClr val="0D7A78"/>
                </a:solidFill>
                <a:effectLst/>
                <a:uLnTx/>
                <a:uFillTx/>
                <a:latin typeface="Arial" panose="020B0604020202020204"/>
                <a:ea typeface="+mn-ea"/>
                <a:cs typeface="+mn-cs"/>
              </a:rPr>
              <a:t>Safety Profile</a:t>
            </a:r>
          </a:p>
        </p:txBody>
      </p:sp>
      <p:sp>
        <p:nvSpPr>
          <p:cNvPr id="25" name="TextBox 24"/>
          <p:cNvSpPr txBox="1"/>
          <p:nvPr/>
        </p:nvSpPr>
        <p:spPr>
          <a:xfrm>
            <a:off x="6278880" y="3048001"/>
            <a:ext cx="5388864" cy="3181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467" b="0" i="0" u="none" strike="noStrike" kern="1200" cap="none" spc="0" normalizeH="0" baseline="0" noProof="0" dirty="0">
                <a:ln>
                  <a:noFill/>
                </a:ln>
                <a:solidFill>
                  <a:srgbClr val="1A1A1A"/>
                </a:solidFill>
                <a:effectLst/>
                <a:uLnTx/>
                <a:uFillTx/>
                <a:latin typeface="Arial" panose="020B0604020202020204"/>
                <a:ea typeface="+mn-ea"/>
                <a:cs typeface="+mn-cs"/>
              </a:rPr>
              <a:t>• CRS: 27.8%  (Gr1: 22.2%  |  Gr2: 3.7%  |  Gr3: 1.9%)</a:t>
            </a:r>
          </a:p>
        </p:txBody>
      </p:sp>
      <p:sp>
        <p:nvSpPr>
          <p:cNvPr id="26" name="TextBox 25"/>
          <p:cNvSpPr txBox="1"/>
          <p:nvPr/>
        </p:nvSpPr>
        <p:spPr>
          <a:xfrm>
            <a:off x="6278880" y="3584448"/>
            <a:ext cx="5388864" cy="3181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467" b="0" i="0" u="none" strike="noStrike" kern="1200" cap="none" spc="0" normalizeH="0" baseline="0" noProof="0" dirty="0">
                <a:ln>
                  <a:noFill/>
                </a:ln>
                <a:solidFill>
                  <a:srgbClr val="1A1A1A"/>
                </a:solidFill>
                <a:effectLst/>
                <a:uLnTx/>
                <a:uFillTx/>
                <a:latin typeface="Arial" panose="020B0604020202020204"/>
                <a:ea typeface="+mn-ea"/>
                <a:cs typeface="+mn-cs"/>
              </a:rPr>
              <a:t>• No grade 3–4 CRS in US cohort</a:t>
            </a:r>
          </a:p>
        </p:txBody>
      </p:sp>
      <p:sp>
        <p:nvSpPr>
          <p:cNvPr id="27" name="TextBox 26"/>
          <p:cNvSpPr txBox="1"/>
          <p:nvPr/>
        </p:nvSpPr>
        <p:spPr>
          <a:xfrm>
            <a:off x="6278880" y="4120896"/>
            <a:ext cx="5388864" cy="3181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467" b="0" i="0" u="none" strike="noStrike" kern="1200" cap="none" spc="0" normalizeH="0" baseline="0" noProof="0" dirty="0">
                <a:ln>
                  <a:noFill/>
                </a:ln>
                <a:solidFill>
                  <a:srgbClr val="1A1A1A"/>
                </a:solidFill>
                <a:effectLst/>
                <a:uLnTx/>
                <a:uFillTx/>
                <a:latin typeface="Arial" panose="020B0604020202020204"/>
                <a:ea typeface="+mn-ea"/>
                <a:cs typeface="+mn-cs"/>
              </a:rPr>
              <a:t>• Neutropenia grade ≥3: 35.2%</a:t>
            </a:r>
          </a:p>
        </p:txBody>
      </p:sp>
      <p:sp>
        <p:nvSpPr>
          <p:cNvPr id="28" name="TextBox 27"/>
          <p:cNvSpPr txBox="1"/>
          <p:nvPr/>
        </p:nvSpPr>
        <p:spPr>
          <a:xfrm>
            <a:off x="6278880" y="4657344"/>
            <a:ext cx="5388864" cy="3181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467" b="0" i="0" u="none" strike="noStrike" kern="1200" cap="none" spc="0" normalizeH="0" baseline="0" noProof="0" dirty="0">
                <a:ln>
                  <a:noFill/>
                </a:ln>
                <a:solidFill>
                  <a:srgbClr val="1A1A1A"/>
                </a:solidFill>
                <a:effectLst/>
                <a:uLnTx/>
                <a:uFillTx/>
                <a:latin typeface="Arial" panose="020B0604020202020204"/>
                <a:ea typeface="+mn-ea"/>
                <a:cs typeface="+mn-cs"/>
              </a:rPr>
              <a:t>• Infections: 57.4%  (grade ≥3: 11.1%)</a:t>
            </a:r>
          </a:p>
        </p:txBody>
      </p:sp>
      <p:sp>
        <p:nvSpPr>
          <p:cNvPr id="29" name="TextBox 28"/>
          <p:cNvSpPr txBox="1"/>
          <p:nvPr/>
        </p:nvSpPr>
        <p:spPr>
          <a:xfrm>
            <a:off x="6278880" y="5193792"/>
            <a:ext cx="5388864" cy="3181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467" b="0" i="0" u="none" strike="noStrike" kern="1200" cap="none" spc="0" normalizeH="0" baseline="0" noProof="0" dirty="0">
                <a:ln>
                  <a:noFill/>
                </a:ln>
                <a:solidFill>
                  <a:srgbClr val="1A1A1A"/>
                </a:solidFill>
                <a:effectLst/>
                <a:uLnTx/>
                <a:uFillTx/>
                <a:latin typeface="Arial" panose="020B0604020202020204"/>
                <a:ea typeface="+mn-ea"/>
                <a:cs typeface="+mn-cs"/>
              </a:rPr>
              <a:t>• No treatment-related deaths</a:t>
            </a:r>
          </a:p>
        </p:txBody>
      </p:sp>
      <p:sp>
        <p:nvSpPr>
          <p:cNvPr id="30" name="TextBox 29"/>
          <p:cNvSpPr txBox="1"/>
          <p:nvPr/>
        </p:nvSpPr>
        <p:spPr>
          <a:xfrm>
            <a:off x="5961888" y="6573195"/>
            <a:ext cx="5791200"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85698"/>
                </a:solidFill>
                <a:effectLst/>
                <a:uLnTx/>
                <a:uFillTx/>
                <a:latin typeface="Arial" panose="020B0604020202020204"/>
                <a:ea typeface="+mn-ea"/>
                <a:cs typeface="+mn-cs"/>
              </a:rPr>
              <a:t>Sano </a:t>
            </a:r>
            <a:r>
              <a:rPr kumimoji="0" sz="1200" b="0" i="0" u="none" strike="noStrike" kern="1200" cap="none" spc="0" normalizeH="0" baseline="0" noProof="0" dirty="0">
                <a:ln>
                  <a:noFill/>
                </a:ln>
                <a:solidFill>
                  <a:srgbClr val="285698"/>
                </a:solidFill>
                <a:effectLst/>
                <a:uLnTx/>
                <a:uFillTx/>
                <a:latin typeface="Arial" panose="020B0604020202020204"/>
                <a:ea typeface="+mn-ea"/>
                <a:cs typeface="+mn-cs"/>
              </a:rPr>
              <a:t>et al. Blood. 2025 (ASH 2025)</a:t>
            </a:r>
          </a:p>
        </p:txBody>
      </p:sp>
    </p:spTree>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6EBD9B1-6F8E-E5EE-8513-ECBF54B2E266}"/>
              </a:ext>
            </a:extLst>
          </p:cNvPr>
          <p:cNvSpPr txBox="1"/>
          <p:nvPr/>
        </p:nvSpPr>
        <p:spPr>
          <a:xfrm>
            <a:off x="426720" y="146305"/>
            <a:ext cx="11338560"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1B3A6B"/>
                </a:solidFill>
                <a:effectLst/>
                <a:uLnTx/>
                <a:uFillTx/>
                <a:latin typeface="Arial" panose="020B0604020202020204"/>
                <a:ea typeface="+mn-ea"/>
                <a:cs typeface="+mn-cs"/>
              </a:rPr>
              <a:t>Obinutuzumab</a:t>
            </a:r>
            <a:r>
              <a:rPr kumimoji="0" sz="3200" b="1" i="0" u="none" strike="noStrike" kern="1200" cap="none" spc="0" normalizeH="0" baseline="0" noProof="0" dirty="0">
                <a:ln>
                  <a:noFill/>
                </a:ln>
                <a:solidFill>
                  <a:srgbClr val="1B3A6B"/>
                </a:solidFill>
                <a:effectLst/>
                <a:uLnTx/>
                <a:uFillTx/>
                <a:latin typeface="Arial" panose="020B0604020202020204"/>
                <a:ea typeface="+mn-ea"/>
                <a:cs typeface="+mn-cs"/>
              </a:rPr>
              <a:t> + </a:t>
            </a:r>
            <a:r>
              <a:rPr kumimoji="0" lang="en-US" sz="3200" b="1" i="0" u="none" strike="noStrike" kern="1200" cap="none" spc="0" normalizeH="0" baseline="0" noProof="0" dirty="0">
                <a:ln>
                  <a:noFill/>
                </a:ln>
                <a:solidFill>
                  <a:srgbClr val="1B3A6B"/>
                </a:solidFill>
                <a:effectLst/>
                <a:uLnTx/>
                <a:uFillTx/>
                <a:latin typeface="Arial" panose="020B0604020202020204"/>
                <a:ea typeface="+mn-ea"/>
                <a:cs typeface="+mn-cs"/>
              </a:rPr>
              <a:t>Zanubrutinib</a:t>
            </a:r>
            <a:r>
              <a:rPr kumimoji="0" sz="3200" b="1" i="0" u="none" strike="noStrike" kern="1200" cap="none" spc="0" normalizeH="0" baseline="0" noProof="0" dirty="0">
                <a:ln>
                  <a:noFill/>
                </a:ln>
                <a:solidFill>
                  <a:srgbClr val="1B3A6B"/>
                </a:solidFill>
                <a:effectLst/>
                <a:uLnTx/>
                <a:uFillTx/>
                <a:latin typeface="Arial" panose="020B0604020202020204"/>
                <a:ea typeface="+mn-ea"/>
                <a:cs typeface="+mn-cs"/>
              </a:rPr>
              <a:t>: </a:t>
            </a:r>
            <a:r>
              <a:rPr kumimoji="0" lang="en-US" sz="3200" b="1" i="0" u="none" strike="noStrike" kern="1200" cap="none" spc="0" normalizeH="0" baseline="0" noProof="0" dirty="0">
                <a:ln>
                  <a:noFill/>
                </a:ln>
                <a:solidFill>
                  <a:srgbClr val="1B3A6B"/>
                </a:solidFill>
                <a:effectLst/>
                <a:uLnTx/>
                <a:uFillTx/>
                <a:latin typeface="Arial" panose="020B0604020202020204"/>
                <a:ea typeface="+mn-ea"/>
                <a:cs typeface="+mn-cs"/>
              </a:rPr>
              <a:t>Rosewood Ph2</a:t>
            </a:r>
            <a:r>
              <a:rPr kumimoji="0" sz="3200" b="1" i="0" u="none" strike="noStrike" kern="1200" cap="none" spc="0" normalizeH="0" baseline="0" noProof="0" dirty="0">
                <a:ln>
                  <a:noFill/>
                </a:ln>
                <a:solidFill>
                  <a:srgbClr val="1B3A6B"/>
                </a:solidFill>
                <a:effectLst/>
                <a:uLnTx/>
                <a:uFillTx/>
                <a:latin typeface="Arial" panose="020B0604020202020204"/>
                <a:ea typeface="+mn-ea"/>
                <a:cs typeface="+mn-cs"/>
              </a:rPr>
              <a:t> Trial</a:t>
            </a:r>
          </a:p>
        </p:txBody>
      </p:sp>
      <p:pic>
        <p:nvPicPr>
          <p:cNvPr id="4" name="Picture 3">
            <a:extLst>
              <a:ext uri="{FF2B5EF4-FFF2-40B4-BE49-F238E27FC236}">
                <a16:creationId xmlns:a16="http://schemas.microsoft.com/office/drawing/2014/main" id="{1E01C543-8AC9-BBBC-D9CC-B8B23DC5686B}"/>
              </a:ext>
            </a:extLst>
          </p:cNvPr>
          <p:cNvPicPr>
            <a:picLocks noChangeAspect="1"/>
          </p:cNvPicPr>
          <p:nvPr/>
        </p:nvPicPr>
        <p:blipFill>
          <a:blip r:embed="rId2"/>
          <a:stretch>
            <a:fillRect/>
          </a:stretch>
        </p:blipFill>
        <p:spPr>
          <a:xfrm>
            <a:off x="294968" y="1476656"/>
            <a:ext cx="7772400" cy="3904688"/>
          </a:xfrm>
          <a:prstGeom prst="rect">
            <a:avLst/>
          </a:prstGeom>
        </p:spPr>
      </p:pic>
      <p:sp>
        <p:nvSpPr>
          <p:cNvPr id="5" name="TextBox 4">
            <a:extLst>
              <a:ext uri="{FF2B5EF4-FFF2-40B4-BE49-F238E27FC236}">
                <a16:creationId xmlns:a16="http://schemas.microsoft.com/office/drawing/2014/main" id="{ADA16716-2CF2-1497-3F9B-8F0CD45158EE}"/>
              </a:ext>
            </a:extLst>
          </p:cNvPr>
          <p:cNvSpPr txBox="1"/>
          <p:nvPr/>
        </p:nvSpPr>
        <p:spPr>
          <a:xfrm>
            <a:off x="8480322" y="2462980"/>
            <a:ext cx="3568606" cy="1631216"/>
          </a:xfrm>
          <a:prstGeom prst="rect">
            <a:avLst/>
          </a:prstGeom>
          <a:noFill/>
        </p:spPr>
        <p:txBody>
          <a:bodyPr wrap="none" rtlCol="0">
            <a:spAutoFit/>
          </a:bodyPr>
          <a:lstStyle/>
          <a:p>
            <a:pPr marL="285750" marR="0" lvl="0" indent="-285750" algn="l" defTabSz="914400" rtl="0" eaLnBrk="1" fontAlgn="auto" latinLnBrk="0" hangingPunct="1">
              <a:lnSpc>
                <a:spcPct val="100000"/>
              </a:lnSpc>
              <a:spcBef>
                <a:spcPts val="0"/>
              </a:spcBef>
              <a:spcAft>
                <a:spcPts val="0"/>
              </a:spcAft>
              <a:buClr>
                <a:srgbClr val="285698"/>
              </a:buClr>
              <a:buSzTx/>
              <a:buFont typeface="Arial" panose="020B0604020202020204" pitchFamily="34" charset="0"/>
              <a:buChar char="•"/>
              <a:tabLst/>
              <a:defRPr/>
            </a:pPr>
            <a:r>
              <a:rPr kumimoji="0" lang="en-US" sz="2000" b="0" i="0" u="none" strike="noStrike" kern="1200" cap="none" spc="0" normalizeH="0" baseline="0" noProof="0" dirty="0">
                <a:ln>
                  <a:noFill/>
                </a:ln>
                <a:solidFill>
                  <a:srgbClr val="285698"/>
                </a:solidFill>
                <a:effectLst/>
                <a:uLnTx/>
                <a:uFillTx/>
                <a:latin typeface="Arial" panose="020B0604020202020204"/>
                <a:ea typeface="+mn-ea"/>
                <a:cs typeface="+mn-cs"/>
              </a:rPr>
              <a:t>~55% Bulky by GELF</a:t>
            </a:r>
            <a:br>
              <a:rPr kumimoji="0" lang="en-US" sz="2000" b="0" i="0" u="none" strike="noStrike" kern="1200" cap="none" spc="0" normalizeH="0" baseline="0" noProof="0" dirty="0">
                <a:ln>
                  <a:noFill/>
                </a:ln>
                <a:solidFill>
                  <a:srgbClr val="285698"/>
                </a:solidFill>
                <a:effectLst/>
                <a:uLnTx/>
                <a:uFillTx/>
                <a:latin typeface="Arial" panose="020B0604020202020204"/>
                <a:ea typeface="+mn-ea"/>
                <a:cs typeface="+mn-cs"/>
              </a:rPr>
            </a:br>
            <a:endParaRPr kumimoji="0" lang="en-US" sz="2000" b="0" i="0" u="none" strike="noStrike" kern="1200" cap="none" spc="0" normalizeH="0" baseline="0" noProof="0" dirty="0">
              <a:ln>
                <a:noFill/>
              </a:ln>
              <a:solidFill>
                <a:srgbClr val="285698"/>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
                <a:srgbClr val="285698"/>
              </a:buClr>
              <a:buSzTx/>
              <a:buFont typeface="Arial" panose="020B0604020202020204" pitchFamily="34" charset="0"/>
              <a:buChar char="•"/>
              <a:tabLst/>
              <a:defRPr/>
            </a:pPr>
            <a:r>
              <a:rPr kumimoji="0" lang="en-US" sz="2000" b="0" i="0" u="none" strike="noStrike" kern="1200" cap="none" spc="0" normalizeH="0" baseline="0" noProof="0" dirty="0">
                <a:ln>
                  <a:noFill/>
                </a:ln>
                <a:solidFill>
                  <a:srgbClr val="285698"/>
                </a:solidFill>
                <a:effectLst/>
                <a:uLnTx/>
                <a:uFillTx/>
                <a:latin typeface="Arial" panose="020B0604020202020204"/>
                <a:ea typeface="+mn-ea"/>
                <a:cs typeface="+mn-cs"/>
              </a:rPr>
              <a:t>~35-40% POD24</a:t>
            </a:r>
          </a:p>
          <a:p>
            <a:pPr marL="285750" marR="0" lvl="0" indent="-285750" algn="l" defTabSz="914400" rtl="0" eaLnBrk="1" fontAlgn="auto" latinLnBrk="0" hangingPunct="1">
              <a:lnSpc>
                <a:spcPct val="100000"/>
              </a:lnSpc>
              <a:spcBef>
                <a:spcPts val="0"/>
              </a:spcBef>
              <a:spcAft>
                <a:spcPts val="0"/>
              </a:spcAft>
              <a:buClr>
                <a:srgbClr val="285698"/>
              </a:buClr>
              <a:buSzTx/>
              <a:buFont typeface="Arial" panose="020B0604020202020204" pitchFamily="34" charset="0"/>
              <a:buChar char="•"/>
              <a:tabLst/>
              <a:defRPr/>
            </a:pPr>
            <a:endParaRPr kumimoji="0" lang="en-US" sz="2000" b="0" i="0" u="none" strike="noStrike" kern="1200" cap="none" spc="0" normalizeH="0" baseline="0" noProof="0" dirty="0">
              <a:ln>
                <a:noFill/>
              </a:ln>
              <a:solidFill>
                <a:srgbClr val="285698"/>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
                <a:srgbClr val="285698"/>
              </a:buClr>
              <a:buSzTx/>
              <a:buFont typeface="Arial" panose="020B0604020202020204" pitchFamily="34" charset="0"/>
              <a:buChar char="•"/>
              <a:tabLst/>
              <a:defRPr/>
            </a:pPr>
            <a:r>
              <a:rPr kumimoji="0" lang="en-US" sz="2000" b="0" i="0" u="none" strike="noStrike" kern="1200" cap="none" spc="0" normalizeH="0" baseline="0" noProof="0" dirty="0">
                <a:ln>
                  <a:noFill/>
                </a:ln>
                <a:solidFill>
                  <a:srgbClr val="285698"/>
                </a:solidFill>
                <a:effectLst/>
                <a:uLnTx/>
                <a:uFillTx/>
                <a:latin typeface="Arial" panose="020B0604020202020204"/>
                <a:ea typeface="+mn-ea"/>
                <a:cs typeface="+mn-cs"/>
              </a:rPr>
              <a:t>~50% Rituximab refractory </a:t>
            </a:r>
          </a:p>
        </p:txBody>
      </p:sp>
      <p:sp>
        <p:nvSpPr>
          <p:cNvPr id="6" name="TextBox 5">
            <a:extLst>
              <a:ext uri="{FF2B5EF4-FFF2-40B4-BE49-F238E27FC236}">
                <a16:creationId xmlns:a16="http://schemas.microsoft.com/office/drawing/2014/main" id="{58EF6AD8-2DAE-E1DE-8926-39953CF46D78}"/>
              </a:ext>
            </a:extLst>
          </p:cNvPr>
          <p:cNvSpPr txBox="1"/>
          <p:nvPr/>
        </p:nvSpPr>
        <p:spPr>
          <a:xfrm>
            <a:off x="8288594" y="6459794"/>
            <a:ext cx="274536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85698"/>
                </a:solidFill>
                <a:effectLst/>
                <a:uLnTx/>
                <a:uFillTx/>
                <a:latin typeface="Arial" panose="020B0604020202020204"/>
                <a:ea typeface="+mn-ea"/>
                <a:cs typeface="+mn-cs"/>
              </a:rPr>
              <a:t>Zinzani P et al ASH 2025</a:t>
            </a:r>
          </a:p>
        </p:txBody>
      </p:sp>
    </p:spTree>
    <p:extLst>
      <p:ext uri="{BB962C8B-B14F-4D97-AF65-F5344CB8AC3E}">
        <p14:creationId xmlns:p14="http://schemas.microsoft.com/office/powerpoint/2010/main" val="489849298"/>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7CCD5A4-69B8-6385-17DD-C0EDA59D1C2F}"/>
              </a:ext>
            </a:extLst>
          </p:cNvPr>
          <p:cNvPicPr>
            <a:picLocks noChangeAspect="1"/>
          </p:cNvPicPr>
          <p:nvPr/>
        </p:nvPicPr>
        <p:blipFill>
          <a:blip r:embed="rId2"/>
          <a:stretch>
            <a:fillRect/>
          </a:stretch>
        </p:blipFill>
        <p:spPr>
          <a:xfrm>
            <a:off x="1563327" y="1148854"/>
            <a:ext cx="8716297" cy="4058845"/>
          </a:xfrm>
          <a:prstGeom prst="rect">
            <a:avLst/>
          </a:prstGeom>
        </p:spPr>
      </p:pic>
      <p:sp>
        <p:nvSpPr>
          <p:cNvPr id="4" name="TextBox 3">
            <a:extLst>
              <a:ext uri="{FF2B5EF4-FFF2-40B4-BE49-F238E27FC236}">
                <a16:creationId xmlns:a16="http://schemas.microsoft.com/office/drawing/2014/main" id="{E20C7B9F-419D-0196-8E85-5BA18208931B}"/>
              </a:ext>
            </a:extLst>
          </p:cNvPr>
          <p:cNvSpPr txBox="1"/>
          <p:nvPr/>
        </p:nvSpPr>
        <p:spPr>
          <a:xfrm>
            <a:off x="426720" y="146305"/>
            <a:ext cx="11338560"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1B3A6B"/>
                </a:solidFill>
                <a:effectLst/>
                <a:uLnTx/>
                <a:uFillTx/>
                <a:latin typeface="Arial" panose="020B0604020202020204"/>
                <a:ea typeface="+mn-ea"/>
                <a:cs typeface="+mn-cs"/>
              </a:rPr>
              <a:t>Obinutuz</a:t>
            </a:r>
            <a:r>
              <a:rPr kumimoji="0" sz="3200" b="1" i="0" u="none" strike="noStrike" kern="1200" cap="none" spc="0" normalizeH="0" baseline="0" noProof="0" dirty="0">
                <a:ln>
                  <a:noFill/>
                </a:ln>
                <a:solidFill>
                  <a:srgbClr val="1B3A6B"/>
                </a:solidFill>
                <a:effectLst/>
                <a:uLnTx/>
                <a:uFillTx/>
                <a:latin typeface="Arial" panose="020B0604020202020204"/>
                <a:ea typeface="+mn-ea"/>
                <a:cs typeface="+mn-cs"/>
              </a:rPr>
              <a:t>umab + </a:t>
            </a:r>
            <a:r>
              <a:rPr kumimoji="0" lang="en-US" sz="3200" b="1" i="0" u="none" strike="noStrike" kern="1200" cap="none" spc="0" normalizeH="0" baseline="0" noProof="0" dirty="0">
                <a:ln>
                  <a:noFill/>
                </a:ln>
                <a:solidFill>
                  <a:srgbClr val="1B3A6B"/>
                </a:solidFill>
                <a:effectLst/>
                <a:uLnTx/>
                <a:uFillTx/>
                <a:latin typeface="Arial" panose="020B0604020202020204"/>
                <a:ea typeface="+mn-ea"/>
                <a:cs typeface="+mn-cs"/>
              </a:rPr>
              <a:t>Zanubrutinib</a:t>
            </a:r>
            <a:r>
              <a:rPr kumimoji="0" sz="3200" b="1" i="0" u="none" strike="noStrike" kern="1200" cap="none" spc="0" normalizeH="0" baseline="0" noProof="0" dirty="0">
                <a:ln>
                  <a:noFill/>
                </a:ln>
                <a:solidFill>
                  <a:srgbClr val="1B3A6B"/>
                </a:solidFill>
                <a:effectLst/>
                <a:uLnTx/>
                <a:uFillTx/>
                <a:latin typeface="Arial" panose="020B0604020202020204"/>
                <a:ea typeface="+mn-ea"/>
                <a:cs typeface="+mn-cs"/>
              </a:rPr>
              <a:t>: </a:t>
            </a:r>
            <a:r>
              <a:rPr kumimoji="0" lang="en-US" sz="3200" b="1" i="0" u="none" strike="noStrike" kern="1200" cap="none" spc="0" normalizeH="0" baseline="0" noProof="0" dirty="0">
                <a:ln>
                  <a:noFill/>
                </a:ln>
                <a:solidFill>
                  <a:srgbClr val="1B3A6B"/>
                </a:solidFill>
                <a:effectLst/>
                <a:uLnTx/>
                <a:uFillTx/>
                <a:latin typeface="Arial" panose="020B0604020202020204"/>
                <a:ea typeface="+mn-ea"/>
                <a:cs typeface="+mn-cs"/>
              </a:rPr>
              <a:t>PFS</a:t>
            </a:r>
            <a:endParaRPr kumimoji="0" sz="3200" b="1" i="0" u="none" strike="noStrike" kern="1200" cap="none" spc="0" normalizeH="0" baseline="0" noProof="0" dirty="0">
              <a:ln>
                <a:noFill/>
              </a:ln>
              <a:solidFill>
                <a:srgbClr val="1B3A6B"/>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AF6DAE4E-7EC7-3EF6-40B5-58F966723202}"/>
              </a:ext>
            </a:extLst>
          </p:cNvPr>
          <p:cNvSpPr txBox="1"/>
          <p:nvPr/>
        </p:nvSpPr>
        <p:spPr>
          <a:xfrm>
            <a:off x="3862023" y="5440807"/>
            <a:ext cx="446795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85698"/>
                </a:solidFill>
                <a:effectLst/>
                <a:uLnTx/>
                <a:uFillTx/>
                <a:latin typeface="Arial" panose="020B0604020202020204"/>
                <a:ea typeface="+mn-ea"/>
                <a:cs typeface="+mn-cs"/>
              </a:rPr>
              <a:t>Toxicity consistent with known tox of Zanu</a:t>
            </a:r>
          </a:p>
        </p:txBody>
      </p:sp>
    </p:spTree>
    <p:extLst>
      <p:ext uri="{BB962C8B-B14F-4D97-AF65-F5344CB8AC3E}">
        <p14:creationId xmlns:p14="http://schemas.microsoft.com/office/powerpoint/2010/main" val="2244840237"/>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DD2174A-F563-C7B8-C87F-A4AE9AD3DD53}"/>
              </a:ext>
            </a:extLst>
          </p:cNvPr>
          <p:cNvSpPr txBox="1"/>
          <p:nvPr/>
        </p:nvSpPr>
        <p:spPr>
          <a:xfrm>
            <a:off x="426720" y="146305"/>
            <a:ext cx="11338560"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1B3A6B"/>
                </a:solidFill>
                <a:effectLst/>
                <a:uLnTx/>
                <a:uFillTx/>
                <a:latin typeface="Arial" panose="020B0604020202020204"/>
                <a:ea typeface="+mn-ea"/>
                <a:cs typeface="+mn-cs"/>
              </a:rPr>
              <a:t>Loncastuxi</a:t>
            </a:r>
            <a:r>
              <a:rPr kumimoji="0" sz="3200" b="1" i="0" u="none" strike="noStrike" kern="1200" cap="none" spc="0" normalizeH="0" baseline="0" noProof="0" dirty="0">
                <a:ln>
                  <a:noFill/>
                </a:ln>
                <a:solidFill>
                  <a:srgbClr val="1B3A6B"/>
                </a:solidFill>
                <a:effectLst/>
                <a:uLnTx/>
                <a:uFillTx/>
                <a:latin typeface="Arial" panose="020B0604020202020204"/>
                <a:ea typeface="+mn-ea"/>
                <a:cs typeface="+mn-cs"/>
              </a:rPr>
              <a:t>mab</a:t>
            </a:r>
            <a:r>
              <a:rPr kumimoji="0" lang="en-US" sz="3200" b="1" i="0" u="none" strike="noStrike" kern="1200" cap="none" spc="0" normalizeH="0" baseline="0" noProof="0" dirty="0">
                <a:ln>
                  <a:noFill/>
                </a:ln>
                <a:solidFill>
                  <a:srgbClr val="1B3A6B"/>
                </a:solidFill>
                <a:effectLst/>
                <a:uLnTx/>
                <a:uFillTx/>
                <a:latin typeface="Arial" panose="020B0604020202020204"/>
                <a:ea typeface="+mn-ea"/>
                <a:cs typeface="+mn-cs"/>
              </a:rPr>
              <a:t> Tesirine</a:t>
            </a:r>
            <a:r>
              <a:rPr kumimoji="0" sz="3200" b="1" i="0" u="none" strike="noStrike" kern="1200" cap="none" spc="0" normalizeH="0" baseline="0" noProof="0" dirty="0">
                <a:ln>
                  <a:noFill/>
                </a:ln>
                <a:solidFill>
                  <a:srgbClr val="1B3A6B"/>
                </a:solidFill>
                <a:effectLst/>
                <a:uLnTx/>
                <a:uFillTx/>
                <a:latin typeface="Arial" panose="020B0604020202020204"/>
                <a:ea typeface="+mn-ea"/>
                <a:cs typeface="+mn-cs"/>
              </a:rPr>
              <a:t> + </a:t>
            </a:r>
            <a:r>
              <a:rPr kumimoji="0" lang="en-US" sz="3200" b="1" i="0" u="none" strike="noStrike" kern="1200" cap="none" spc="0" normalizeH="0" baseline="0" noProof="0" dirty="0">
                <a:ln>
                  <a:noFill/>
                </a:ln>
                <a:solidFill>
                  <a:srgbClr val="1B3A6B"/>
                </a:solidFill>
                <a:effectLst/>
                <a:uLnTx/>
                <a:uFillTx/>
                <a:latin typeface="Arial" panose="020B0604020202020204"/>
                <a:ea typeface="+mn-ea"/>
                <a:cs typeface="+mn-cs"/>
              </a:rPr>
              <a:t>Rituximab</a:t>
            </a:r>
            <a:endParaRPr kumimoji="0" sz="3200" b="1" i="0" u="none" strike="noStrike" kern="1200" cap="none" spc="0" normalizeH="0" baseline="0" noProof="0" dirty="0">
              <a:ln>
                <a:noFill/>
              </a:ln>
              <a:solidFill>
                <a:srgbClr val="1B3A6B"/>
              </a:solidFill>
              <a:effectLst/>
              <a:uLnTx/>
              <a:uFillTx/>
              <a:latin typeface="Arial" panose="020B0604020202020204"/>
              <a:ea typeface="+mn-ea"/>
              <a:cs typeface="+mn-cs"/>
            </a:endParaRPr>
          </a:p>
        </p:txBody>
      </p:sp>
      <p:pic>
        <p:nvPicPr>
          <p:cNvPr id="4" name="Picture 3">
            <a:extLst>
              <a:ext uri="{FF2B5EF4-FFF2-40B4-BE49-F238E27FC236}">
                <a16:creationId xmlns:a16="http://schemas.microsoft.com/office/drawing/2014/main" id="{F8162D83-0A3D-BF32-9695-7EDCF60EC050}"/>
              </a:ext>
            </a:extLst>
          </p:cNvPr>
          <p:cNvPicPr>
            <a:picLocks noChangeAspect="1"/>
          </p:cNvPicPr>
          <p:nvPr/>
        </p:nvPicPr>
        <p:blipFill>
          <a:blip r:embed="rId2"/>
          <a:srcRect l="2198" t="30984" r="3279" b="28245"/>
          <a:stretch>
            <a:fillRect/>
          </a:stretch>
        </p:blipFill>
        <p:spPr>
          <a:xfrm>
            <a:off x="1572826" y="1114401"/>
            <a:ext cx="9046347" cy="2601311"/>
          </a:xfrm>
          <a:prstGeom prst="rect">
            <a:avLst/>
          </a:prstGeom>
        </p:spPr>
      </p:pic>
      <p:sp>
        <p:nvSpPr>
          <p:cNvPr id="5" name="TextBox 4">
            <a:extLst>
              <a:ext uri="{FF2B5EF4-FFF2-40B4-BE49-F238E27FC236}">
                <a16:creationId xmlns:a16="http://schemas.microsoft.com/office/drawing/2014/main" id="{CD13AC45-3640-0996-0D22-36747164A0B7}"/>
              </a:ext>
            </a:extLst>
          </p:cNvPr>
          <p:cNvSpPr txBox="1"/>
          <p:nvPr/>
        </p:nvSpPr>
        <p:spPr>
          <a:xfrm>
            <a:off x="7504386" y="6400800"/>
            <a:ext cx="2691763"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85698"/>
                </a:solidFill>
                <a:effectLst/>
                <a:uLnTx/>
                <a:uFillTx/>
                <a:latin typeface="Arial" panose="020B0604020202020204"/>
                <a:ea typeface="+mn-ea"/>
                <a:cs typeface="+mn-cs"/>
              </a:rPr>
              <a:t>Alduruccio J et al Lancet Haem 2025</a:t>
            </a:r>
          </a:p>
        </p:txBody>
      </p:sp>
      <p:sp>
        <p:nvSpPr>
          <p:cNvPr id="6" name="TextBox 5">
            <a:extLst>
              <a:ext uri="{FF2B5EF4-FFF2-40B4-BE49-F238E27FC236}">
                <a16:creationId xmlns:a16="http://schemas.microsoft.com/office/drawing/2014/main" id="{8C1A459B-076D-BE5B-28CD-AB8EFB5C0714}"/>
              </a:ext>
            </a:extLst>
          </p:cNvPr>
          <p:cNvSpPr txBox="1"/>
          <p:nvPr/>
        </p:nvSpPr>
        <p:spPr>
          <a:xfrm>
            <a:off x="1383640" y="4099034"/>
            <a:ext cx="3856184" cy="166199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85698"/>
                </a:solidFill>
                <a:effectLst/>
                <a:uLnTx/>
                <a:uFillTx/>
                <a:latin typeface="Arial" panose="020B0604020202020204"/>
                <a:ea typeface="+mn-ea"/>
                <a:cs typeface="+mn-cs"/>
              </a:rPr>
              <a:t>Median f/u 18.2 mth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85698"/>
                </a:solidFill>
                <a:effectLst/>
                <a:uLnTx/>
                <a:uFillTx/>
                <a:latin typeface="Arial" panose="020B0604020202020204"/>
                <a:ea typeface="+mn-ea"/>
                <a:cs typeface="+mn-cs"/>
              </a:rPr>
              <a:t>1</a:t>
            </a:r>
            <a:r>
              <a:rPr kumimoji="0" lang="en-US" sz="1800" b="0" i="0" u="none" strike="noStrike" kern="1200" cap="none" spc="0" normalizeH="0" baseline="30000" noProof="0" dirty="0">
                <a:ln>
                  <a:noFill/>
                </a:ln>
                <a:solidFill>
                  <a:srgbClr val="285698"/>
                </a:solidFill>
                <a:effectLst/>
                <a:uLnTx/>
                <a:uFillTx/>
                <a:latin typeface="Arial" panose="020B0604020202020204"/>
                <a:ea typeface="+mn-ea"/>
                <a:cs typeface="+mn-cs"/>
              </a:rPr>
              <a:t>o</a:t>
            </a:r>
            <a:r>
              <a:rPr kumimoji="0" lang="en-US" sz="1800" b="0" i="0" u="none" strike="noStrike" kern="1200" cap="none" spc="0" normalizeH="0" baseline="0" noProof="0" dirty="0">
                <a:ln>
                  <a:noFill/>
                </a:ln>
                <a:solidFill>
                  <a:srgbClr val="285698"/>
                </a:solidFill>
                <a:effectLst/>
                <a:uLnTx/>
                <a:uFillTx/>
                <a:latin typeface="Arial" panose="020B0604020202020204"/>
                <a:ea typeface="+mn-ea"/>
                <a:cs typeface="+mn-cs"/>
              </a:rPr>
              <a:t> Endpoint Week 12 CR ( 4 cycl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85698"/>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85698"/>
                </a:solidFill>
                <a:effectLst/>
                <a:uLnTx/>
                <a:uFillTx/>
                <a:latin typeface="Arial" panose="020B0604020202020204"/>
                <a:ea typeface="+mn-ea"/>
                <a:cs typeface="+mn-cs"/>
              </a:rPr>
              <a:t>Week 12 CR 67% (ORR 9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85698"/>
                </a:solidFill>
                <a:effectLst/>
                <a:uLnTx/>
                <a:uFillTx/>
                <a:latin typeface="Arial" panose="020B0604020202020204"/>
                <a:ea typeface="+mn-ea"/>
                <a:cs typeface="+mn-cs"/>
              </a:rPr>
              <a:t>12 mth PFS 94.6%</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30000" noProof="0" dirty="0">
              <a:ln>
                <a:noFill/>
              </a:ln>
              <a:solidFill>
                <a:srgbClr val="285698"/>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B279BA4F-8A58-6DFF-F5BD-95624480090F}"/>
              </a:ext>
            </a:extLst>
          </p:cNvPr>
          <p:cNvSpPr txBox="1"/>
          <p:nvPr/>
        </p:nvSpPr>
        <p:spPr>
          <a:xfrm>
            <a:off x="6321558" y="4099033"/>
            <a:ext cx="5596404"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85698"/>
                </a:solidFill>
                <a:effectLst/>
                <a:uLnTx/>
                <a:uFillTx/>
                <a:latin typeface="Arial" panose="020B0604020202020204"/>
                <a:ea typeface="+mn-ea"/>
                <a:cs typeface="+mn-cs"/>
              </a:rPr>
              <a:t>Adverse Events consistent with component therap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85698"/>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85698"/>
                </a:solidFill>
                <a:effectLst/>
                <a:uLnTx/>
                <a:uFillTx/>
                <a:latin typeface="Arial" panose="020B0604020202020204"/>
                <a:ea typeface="+mn-ea"/>
                <a:cs typeface="+mn-cs"/>
              </a:rPr>
              <a:t>NCCN Category 2B listed for 3L+ F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30000" noProof="0" dirty="0">
              <a:ln>
                <a:noFill/>
              </a:ln>
              <a:solidFill>
                <a:srgbClr val="285698"/>
              </a:solidFill>
              <a:effectLst/>
              <a:uLnTx/>
              <a:uFillTx/>
              <a:latin typeface="Arial" panose="020B0604020202020204"/>
              <a:ea typeface="+mn-ea"/>
              <a:cs typeface="+mn-cs"/>
            </a:endParaRPr>
          </a:p>
        </p:txBody>
      </p:sp>
    </p:spTree>
    <p:extLst>
      <p:ext uri="{BB962C8B-B14F-4D97-AF65-F5344CB8AC3E}">
        <p14:creationId xmlns:p14="http://schemas.microsoft.com/office/powerpoint/2010/main" val="3453652410"/>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E28982-F553-71FC-E364-8BC897E3D040}"/>
              </a:ext>
            </a:extLst>
          </p:cNvPr>
          <p:cNvSpPr>
            <a:spLocks noGrp="1"/>
          </p:cNvSpPr>
          <p:nvPr>
            <p:ph type="title"/>
          </p:nvPr>
        </p:nvSpPr>
        <p:spPr>
          <a:xfrm>
            <a:off x="0" y="0"/>
            <a:ext cx="12192000" cy="872836"/>
          </a:xfrm>
        </p:spPr>
        <p:txBody>
          <a:bodyPr/>
          <a:lstStyle/>
          <a:p>
            <a:r>
              <a:rPr lang="en-US" dirty="0"/>
              <a:t>Phase II Trial of Loncastuximab Tesirine with Rituximab: Responses</a:t>
            </a:r>
          </a:p>
        </p:txBody>
      </p:sp>
      <p:pic>
        <p:nvPicPr>
          <p:cNvPr id="3" name="Picture 2">
            <a:extLst>
              <a:ext uri="{FF2B5EF4-FFF2-40B4-BE49-F238E27FC236}">
                <a16:creationId xmlns:a16="http://schemas.microsoft.com/office/drawing/2014/main" id="{F7926CB8-88ED-C65C-B653-F75A93D650EE}"/>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3876784" y="723681"/>
            <a:ext cx="4429970" cy="5487987"/>
          </a:xfrm>
          <a:prstGeom prst="rect">
            <a:avLst/>
          </a:prstGeom>
        </p:spPr>
      </p:pic>
      <p:sp>
        <p:nvSpPr>
          <p:cNvPr id="4" name="TextBox 3">
            <a:extLst>
              <a:ext uri="{FF2B5EF4-FFF2-40B4-BE49-F238E27FC236}">
                <a16:creationId xmlns:a16="http://schemas.microsoft.com/office/drawing/2014/main" id="{6BBF8F1B-1056-29E9-6F68-A9C21BF24514}"/>
              </a:ext>
            </a:extLst>
          </p:cNvPr>
          <p:cNvSpPr txBox="1"/>
          <p:nvPr/>
        </p:nvSpPr>
        <p:spPr>
          <a:xfrm>
            <a:off x="72736" y="6534835"/>
            <a:ext cx="5296771"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n-ea"/>
                <a:cs typeface="+mn-cs"/>
              </a:rPr>
              <a:t>Alderuccio JP et al. </a:t>
            </a:r>
            <a:r>
              <a:rPr kumimoji="0" lang="en-US" sz="1500" b="0" i="1" u="none" strike="noStrike" kern="1200" cap="none" spc="0" normalizeH="0" baseline="0" noProof="0" dirty="0">
                <a:ln>
                  <a:noFill/>
                </a:ln>
                <a:solidFill>
                  <a:srgbClr val="000000"/>
                </a:solidFill>
                <a:effectLst/>
                <a:uLnTx/>
                <a:uFillTx/>
                <a:latin typeface="Calibri"/>
                <a:ea typeface="+mn-ea"/>
                <a:cs typeface="+mn-cs"/>
              </a:rPr>
              <a:t>Lancet </a:t>
            </a:r>
            <a:r>
              <a:rPr kumimoji="0" lang="en-US" sz="1500" b="0" i="1" u="none" strike="noStrike" kern="1200" cap="none" spc="0" normalizeH="0" baseline="0" noProof="0" dirty="0" err="1">
                <a:ln>
                  <a:noFill/>
                </a:ln>
                <a:solidFill>
                  <a:srgbClr val="000000"/>
                </a:solidFill>
                <a:effectLst/>
                <a:uLnTx/>
                <a:uFillTx/>
                <a:latin typeface="Calibri"/>
                <a:ea typeface="+mn-ea"/>
                <a:cs typeface="+mn-cs"/>
              </a:rPr>
              <a:t>Haematol</a:t>
            </a:r>
            <a:r>
              <a:rPr kumimoji="0" lang="en-US" sz="1500" b="0" i="0" u="none" strike="noStrike" kern="1200" cap="none" spc="0" normalizeH="0" baseline="0" noProof="0" dirty="0">
                <a:ln>
                  <a:noFill/>
                </a:ln>
                <a:solidFill>
                  <a:srgbClr val="000000"/>
                </a:solidFill>
                <a:effectLst/>
                <a:uLnTx/>
                <a:uFillTx/>
                <a:latin typeface="Calibri"/>
                <a:ea typeface="+mn-ea"/>
                <a:cs typeface="+mn-cs"/>
              </a:rPr>
              <a:t> 2025 January;12(1):e23-34.</a:t>
            </a:r>
          </a:p>
        </p:txBody>
      </p:sp>
      <p:sp>
        <p:nvSpPr>
          <p:cNvPr id="6" name="TextBox 5">
            <a:extLst>
              <a:ext uri="{FF2B5EF4-FFF2-40B4-BE49-F238E27FC236}">
                <a16:creationId xmlns:a16="http://schemas.microsoft.com/office/drawing/2014/main" id="{CB874BF8-E09E-BF9F-ACED-13C4CF3F20F5}"/>
              </a:ext>
            </a:extLst>
          </p:cNvPr>
          <p:cNvSpPr txBox="1"/>
          <p:nvPr/>
        </p:nvSpPr>
        <p:spPr>
          <a:xfrm>
            <a:off x="8462618" y="3244333"/>
            <a:ext cx="3327305"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Week 12 complete response 67% </a:t>
            </a: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verall response rate 97%)</a:t>
            </a:r>
          </a:p>
        </p:txBody>
      </p:sp>
    </p:spTree>
    <p:extLst>
      <p:ext uri="{BB962C8B-B14F-4D97-AF65-F5344CB8AC3E}">
        <p14:creationId xmlns:p14="http://schemas.microsoft.com/office/powerpoint/2010/main" val="25634051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A5072A-DA2F-3DFC-F605-8BD59679050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C2F0BDA-5633-996E-34A5-427BD65556E3}"/>
              </a:ext>
            </a:extLst>
          </p:cNvPr>
          <p:cNvSpPr>
            <a:spLocks noGrp="1"/>
          </p:cNvSpPr>
          <p:nvPr>
            <p:ph type="title"/>
          </p:nvPr>
        </p:nvSpPr>
        <p:spPr/>
        <p:txBody>
          <a:bodyPr/>
          <a:lstStyle/>
          <a:p>
            <a:r>
              <a:rPr lang="en-US" dirty="0"/>
              <a:t>Phase II Trial of Loncastuximab Tesirine with Rituximab: Survival</a:t>
            </a:r>
          </a:p>
        </p:txBody>
      </p:sp>
      <p:pic>
        <p:nvPicPr>
          <p:cNvPr id="7" name="Picture 6">
            <a:extLst>
              <a:ext uri="{FF2B5EF4-FFF2-40B4-BE49-F238E27FC236}">
                <a16:creationId xmlns:a16="http://schemas.microsoft.com/office/drawing/2014/main" id="{F9AA7ADB-CE38-7920-4BB7-269DBBD03D6C}"/>
              </a:ext>
            </a:extLst>
          </p:cNvPr>
          <p:cNvPicPr>
            <a:picLocks noChangeAspect="1"/>
          </p:cNvPicPr>
          <p:nvPr/>
        </p:nvPicPr>
        <p:blipFill>
          <a:blip r:embed="rId2"/>
          <a:srcRect t="50689" b="6595"/>
          <a:stretch>
            <a:fillRect/>
          </a:stretch>
        </p:blipFill>
        <p:spPr>
          <a:xfrm>
            <a:off x="6075818" y="1713110"/>
            <a:ext cx="6116181" cy="3369083"/>
          </a:xfrm>
          <a:prstGeom prst="rect">
            <a:avLst/>
          </a:prstGeom>
        </p:spPr>
      </p:pic>
      <p:sp>
        <p:nvSpPr>
          <p:cNvPr id="9" name="TextBox 8">
            <a:extLst>
              <a:ext uri="{FF2B5EF4-FFF2-40B4-BE49-F238E27FC236}">
                <a16:creationId xmlns:a16="http://schemas.microsoft.com/office/drawing/2014/main" id="{8CA19B09-4909-6C79-7233-C0A682119897}"/>
              </a:ext>
            </a:extLst>
          </p:cNvPr>
          <p:cNvSpPr txBox="1"/>
          <p:nvPr/>
        </p:nvSpPr>
        <p:spPr>
          <a:xfrm>
            <a:off x="2096420" y="1295518"/>
            <a:ext cx="3082319"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rogression-free survival</a:t>
            </a:r>
          </a:p>
        </p:txBody>
      </p:sp>
      <p:sp>
        <p:nvSpPr>
          <p:cNvPr id="10" name="TextBox 9">
            <a:extLst>
              <a:ext uri="{FF2B5EF4-FFF2-40B4-BE49-F238E27FC236}">
                <a16:creationId xmlns:a16="http://schemas.microsoft.com/office/drawing/2014/main" id="{531DE367-D347-CBC4-81C9-8BB0E7D5E7CF}"/>
              </a:ext>
            </a:extLst>
          </p:cNvPr>
          <p:cNvSpPr txBox="1"/>
          <p:nvPr/>
        </p:nvSpPr>
        <p:spPr>
          <a:xfrm>
            <a:off x="8138699" y="1298910"/>
            <a:ext cx="1990418"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verall survival</a:t>
            </a:r>
          </a:p>
        </p:txBody>
      </p:sp>
      <p:grpSp>
        <p:nvGrpSpPr>
          <p:cNvPr id="12" name="Group 11">
            <a:extLst>
              <a:ext uri="{FF2B5EF4-FFF2-40B4-BE49-F238E27FC236}">
                <a16:creationId xmlns:a16="http://schemas.microsoft.com/office/drawing/2014/main" id="{35F6053D-7D00-1670-5F8B-78AC3CDDD077}"/>
              </a:ext>
            </a:extLst>
          </p:cNvPr>
          <p:cNvGrpSpPr/>
          <p:nvPr/>
        </p:nvGrpSpPr>
        <p:grpSpPr>
          <a:xfrm>
            <a:off x="-2" y="1695628"/>
            <a:ext cx="6075822" cy="3382241"/>
            <a:chOff x="-2" y="1922523"/>
            <a:chExt cx="6075822" cy="3297741"/>
          </a:xfrm>
        </p:grpSpPr>
        <p:pic>
          <p:nvPicPr>
            <p:cNvPr id="4" name="Picture 3">
              <a:extLst>
                <a:ext uri="{FF2B5EF4-FFF2-40B4-BE49-F238E27FC236}">
                  <a16:creationId xmlns:a16="http://schemas.microsoft.com/office/drawing/2014/main" id="{A66A0E97-C74C-5B8B-D5C1-23F31C4159F4}"/>
                </a:ext>
              </a:extLst>
            </p:cNvPr>
            <p:cNvPicPr>
              <a:picLocks noChangeAspect="1"/>
            </p:cNvPicPr>
            <p:nvPr/>
          </p:nvPicPr>
          <p:blipFill>
            <a:blip r:embed="rId2"/>
            <a:srcRect t="3422" b="57284"/>
            <a:stretch>
              <a:fillRect/>
            </a:stretch>
          </p:blipFill>
          <p:spPr>
            <a:xfrm>
              <a:off x="-1" y="1922523"/>
              <a:ext cx="6075821" cy="3078774"/>
            </a:xfrm>
            <a:prstGeom prst="rect">
              <a:avLst/>
            </a:prstGeom>
          </p:spPr>
        </p:pic>
        <p:pic>
          <p:nvPicPr>
            <p:cNvPr id="11" name="Picture 10">
              <a:extLst>
                <a:ext uri="{FF2B5EF4-FFF2-40B4-BE49-F238E27FC236}">
                  <a16:creationId xmlns:a16="http://schemas.microsoft.com/office/drawing/2014/main" id="{1D287A4F-2F2B-4CA8-D65F-9E5673F49D9F}"/>
                </a:ext>
              </a:extLst>
            </p:cNvPr>
            <p:cNvPicPr>
              <a:picLocks noChangeAspect="1"/>
            </p:cNvPicPr>
            <p:nvPr/>
          </p:nvPicPr>
          <p:blipFill>
            <a:blip r:embed="rId2"/>
            <a:srcRect t="90318" b="6595"/>
            <a:stretch>
              <a:fillRect/>
            </a:stretch>
          </p:blipFill>
          <p:spPr>
            <a:xfrm>
              <a:off x="-2" y="4978401"/>
              <a:ext cx="6075821" cy="241863"/>
            </a:xfrm>
            <a:prstGeom prst="rect">
              <a:avLst/>
            </a:prstGeom>
          </p:spPr>
        </p:pic>
      </p:grpSp>
      <p:sp>
        <p:nvSpPr>
          <p:cNvPr id="3" name="TextBox 2">
            <a:extLst>
              <a:ext uri="{FF2B5EF4-FFF2-40B4-BE49-F238E27FC236}">
                <a16:creationId xmlns:a16="http://schemas.microsoft.com/office/drawing/2014/main" id="{36FAC6E6-4E88-B30C-D531-82C238418DE1}"/>
              </a:ext>
            </a:extLst>
          </p:cNvPr>
          <p:cNvSpPr txBox="1"/>
          <p:nvPr/>
        </p:nvSpPr>
        <p:spPr>
          <a:xfrm>
            <a:off x="72736" y="6534835"/>
            <a:ext cx="5296771"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n-ea"/>
                <a:cs typeface="+mn-cs"/>
              </a:rPr>
              <a:t>Alderuccio JP et al. </a:t>
            </a:r>
            <a:r>
              <a:rPr kumimoji="0" lang="en-US" sz="1500" b="0" i="1" u="none" strike="noStrike" kern="1200" cap="none" spc="0" normalizeH="0" baseline="0" noProof="0" dirty="0">
                <a:ln>
                  <a:noFill/>
                </a:ln>
                <a:solidFill>
                  <a:srgbClr val="000000"/>
                </a:solidFill>
                <a:effectLst/>
                <a:uLnTx/>
                <a:uFillTx/>
                <a:latin typeface="Calibri"/>
                <a:ea typeface="+mn-ea"/>
                <a:cs typeface="+mn-cs"/>
              </a:rPr>
              <a:t>Lancet </a:t>
            </a:r>
            <a:r>
              <a:rPr kumimoji="0" lang="en-US" sz="1500" b="0" i="1" u="none" strike="noStrike" kern="1200" cap="none" spc="0" normalizeH="0" baseline="0" noProof="0" dirty="0" err="1">
                <a:ln>
                  <a:noFill/>
                </a:ln>
                <a:solidFill>
                  <a:srgbClr val="000000"/>
                </a:solidFill>
                <a:effectLst/>
                <a:uLnTx/>
                <a:uFillTx/>
                <a:latin typeface="Calibri"/>
                <a:ea typeface="+mn-ea"/>
                <a:cs typeface="+mn-cs"/>
              </a:rPr>
              <a:t>Haematol</a:t>
            </a:r>
            <a:r>
              <a:rPr kumimoji="0" lang="en-US" sz="1500" b="0" i="0" u="none" strike="noStrike" kern="1200" cap="none" spc="0" normalizeH="0" baseline="0" noProof="0" dirty="0">
                <a:ln>
                  <a:noFill/>
                </a:ln>
                <a:solidFill>
                  <a:srgbClr val="000000"/>
                </a:solidFill>
                <a:effectLst/>
                <a:uLnTx/>
                <a:uFillTx/>
                <a:latin typeface="Calibri"/>
                <a:ea typeface="+mn-ea"/>
                <a:cs typeface="+mn-cs"/>
              </a:rPr>
              <a:t> 2025 January;12(1):e23-34.</a:t>
            </a:r>
          </a:p>
        </p:txBody>
      </p:sp>
    </p:spTree>
    <p:extLst>
      <p:ext uri="{BB962C8B-B14F-4D97-AF65-F5344CB8AC3E}">
        <p14:creationId xmlns:p14="http://schemas.microsoft.com/office/powerpoint/2010/main" val="2896583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91E89A-E914-8296-31D9-2209F02C0F2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5A2B9F9-E2F3-579D-5FBC-8DC5757F510B}"/>
              </a:ext>
            </a:extLst>
          </p:cNvPr>
          <p:cNvSpPr>
            <a:spLocks noGrp="1"/>
          </p:cNvSpPr>
          <p:nvPr>
            <p:ph type="title"/>
          </p:nvPr>
        </p:nvSpPr>
        <p:spPr>
          <a:xfrm>
            <a:off x="912287" y="228283"/>
            <a:ext cx="10118880" cy="1143000"/>
          </a:xfrm>
        </p:spPr>
        <p:txBody>
          <a:bodyPr/>
          <a:lstStyle/>
          <a:p>
            <a:pPr algn="l"/>
            <a:r>
              <a:rPr lang="en-US" dirty="0"/>
              <a:t>Phase II Trial of Loncastuximab Tesirine with Rituximab: Common Treatment-Emergent Adverse Events (TEAEs) </a:t>
            </a:r>
            <a:br>
              <a:rPr lang="en-US" dirty="0"/>
            </a:br>
            <a:r>
              <a:rPr lang="en-US" dirty="0"/>
              <a:t>(Safety Population, n = 39)</a:t>
            </a:r>
          </a:p>
        </p:txBody>
      </p:sp>
      <p:pic>
        <p:nvPicPr>
          <p:cNvPr id="3" name="Picture 2">
            <a:extLst>
              <a:ext uri="{FF2B5EF4-FFF2-40B4-BE49-F238E27FC236}">
                <a16:creationId xmlns:a16="http://schemas.microsoft.com/office/drawing/2014/main" id="{41E12084-B0AC-6F5F-E961-3198DC684FC2}"/>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rcRect b="58519"/>
          <a:stretch>
            <a:fillRect/>
          </a:stretch>
        </p:blipFill>
        <p:spPr>
          <a:xfrm>
            <a:off x="3132306" y="1469443"/>
            <a:ext cx="6344330" cy="4967232"/>
          </a:xfrm>
          <a:prstGeom prst="rect">
            <a:avLst/>
          </a:prstGeom>
        </p:spPr>
      </p:pic>
      <p:sp>
        <p:nvSpPr>
          <p:cNvPr id="4" name="TextBox 3">
            <a:extLst>
              <a:ext uri="{FF2B5EF4-FFF2-40B4-BE49-F238E27FC236}">
                <a16:creationId xmlns:a16="http://schemas.microsoft.com/office/drawing/2014/main" id="{7415AD54-607F-3FD1-69DD-A2CD5A233794}"/>
              </a:ext>
            </a:extLst>
          </p:cNvPr>
          <p:cNvSpPr txBox="1"/>
          <p:nvPr/>
        </p:nvSpPr>
        <p:spPr>
          <a:xfrm>
            <a:off x="72736" y="6534835"/>
            <a:ext cx="5296771"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n-ea"/>
                <a:cs typeface="+mn-cs"/>
              </a:rPr>
              <a:t>Alderuccio JP et al. </a:t>
            </a:r>
            <a:r>
              <a:rPr kumimoji="0" lang="en-US" sz="1500" b="0" i="1" u="none" strike="noStrike" kern="1200" cap="none" spc="0" normalizeH="0" baseline="0" noProof="0" dirty="0">
                <a:ln>
                  <a:noFill/>
                </a:ln>
                <a:solidFill>
                  <a:srgbClr val="000000"/>
                </a:solidFill>
                <a:effectLst/>
                <a:uLnTx/>
                <a:uFillTx/>
                <a:latin typeface="Calibri"/>
                <a:ea typeface="+mn-ea"/>
                <a:cs typeface="+mn-cs"/>
              </a:rPr>
              <a:t>Lancet </a:t>
            </a:r>
            <a:r>
              <a:rPr kumimoji="0" lang="en-US" sz="1500" b="0" i="1" u="none" strike="noStrike" kern="1200" cap="none" spc="0" normalizeH="0" baseline="0" noProof="0" dirty="0" err="1">
                <a:ln>
                  <a:noFill/>
                </a:ln>
                <a:solidFill>
                  <a:srgbClr val="000000"/>
                </a:solidFill>
                <a:effectLst/>
                <a:uLnTx/>
                <a:uFillTx/>
                <a:latin typeface="Calibri"/>
                <a:ea typeface="+mn-ea"/>
                <a:cs typeface="+mn-cs"/>
              </a:rPr>
              <a:t>Haematol</a:t>
            </a:r>
            <a:r>
              <a:rPr kumimoji="0" lang="en-US" sz="1500" b="0" i="0" u="none" strike="noStrike" kern="1200" cap="none" spc="0" normalizeH="0" baseline="0" noProof="0" dirty="0">
                <a:ln>
                  <a:noFill/>
                </a:ln>
                <a:solidFill>
                  <a:srgbClr val="000000"/>
                </a:solidFill>
                <a:effectLst/>
                <a:uLnTx/>
                <a:uFillTx/>
                <a:latin typeface="Calibri"/>
                <a:ea typeface="+mn-ea"/>
                <a:cs typeface="+mn-cs"/>
              </a:rPr>
              <a:t> 2025 January;12(1):e23-34.</a:t>
            </a:r>
          </a:p>
        </p:txBody>
      </p:sp>
    </p:spTree>
    <p:extLst>
      <p:ext uri="{BB962C8B-B14F-4D97-AF65-F5344CB8AC3E}">
        <p14:creationId xmlns:p14="http://schemas.microsoft.com/office/powerpoint/2010/main" val="40187035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304800" y="2006798"/>
            <a:ext cx="5524500" cy="887610"/>
          </a:xfrm>
          <a:prstGeom prst="roundRect">
            <a:avLst>
              <a:gd name="adj" fmla="val 8584"/>
            </a:avLst>
          </a:prstGeom>
          <a:solidFill>
            <a:srgbClr val="F5F5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 name="Rounded Rectangle 2"/>
          <p:cNvSpPr/>
          <p:nvPr/>
        </p:nvSpPr>
        <p:spPr>
          <a:xfrm>
            <a:off x="304800" y="3016299"/>
            <a:ext cx="5524500" cy="887610"/>
          </a:xfrm>
          <a:prstGeom prst="roundRect">
            <a:avLst>
              <a:gd name="adj" fmla="val 8584"/>
            </a:avLst>
          </a:prstGeom>
          <a:solidFill>
            <a:srgbClr val="F5F5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 name="Rounded Rectangle 3"/>
          <p:cNvSpPr/>
          <p:nvPr/>
        </p:nvSpPr>
        <p:spPr>
          <a:xfrm>
            <a:off x="304800" y="4025800"/>
            <a:ext cx="5524500" cy="887610"/>
          </a:xfrm>
          <a:prstGeom prst="roundRect">
            <a:avLst>
              <a:gd name="adj" fmla="val 8584"/>
            </a:avLst>
          </a:prstGeom>
          <a:solidFill>
            <a:srgbClr val="F5F5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 name="TextBox 4"/>
          <p:cNvSpPr txBox="1"/>
          <p:nvPr/>
        </p:nvSpPr>
        <p:spPr>
          <a:xfrm>
            <a:off x="304792" y="333366"/>
            <a:ext cx="10798549" cy="397929"/>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2586" b="1" i="0" u="none" strike="noStrike" kern="1200" cap="none" spc="0" normalizeH="0" baseline="0" noProof="0" dirty="0">
                <a:ln>
                  <a:noFill/>
                </a:ln>
                <a:solidFill>
                  <a:srgbClr val="285698"/>
                </a:solidFill>
                <a:effectLst/>
                <a:uLnTx/>
                <a:uFillTx/>
                <a:latin typeface="Arial"/>
                <a:ea typeface="+mn-ea"/>
                <a:cs typeface="+mn-cs"/>
              </a:rPr>
              <a:t>Golcad</a:t>
            </a:r>
            <a:r>
              <a:rPr kumimoji="0" lang="en-US" sz="2586" b="1" i="0" u="none" strike="noStrike" kern="1200" cap="none" spc="0" normalizeH="0" baseline="0" noProof="0" dirty="0">
                <a:ln>
                  <a:noFill/>
                </a:ln>
                <a:solidFill>
                  <a:srgbClr val="285698"/>
                </a:solidFill>
                <a:effectLst/>
                <a:uLnTx/>
                <a:uFillTx/>
                <a:latin typeface="Arial"/>
                <a:ea typeface="+mn-ea"/>
                <a:cs typeface="+mn-cs"/>
              </a:rPr>
              <a:t>o</a:t>
            </a:r>
            <a:r>
              <a:rPr kumimoji="0" sz="2586" b="1" i="0" u="none" strike="noStrike" kern="1200" cap="none" spc="0" normalizeH="0" baseline="0" noProof="0" dirty="0">
                <a:ln>
                  <a:noFill/>
                </a:ln>
                <a:solidFill>
                  <a:srgbClr val="285698"/>
                </a:solidFill>
                <a:effectLst/>
                <a:uLnTx/>
                <a:uFillTx/>
                <a:latin typeface="Arial"/>
                <a:ea typeface="+mn-ea"/>
                <a:cs typeface="+mn-cs"/>
              </a:rPr>
              <a:t>mide + Rituximab in R/R Follicular Lymphoma</a:t>
            </a:r>
          </a:p>
        </p:txBody>
      </p:sp>
      <p:sp>
        <p:nvSpPr>
          <p:cNvPr id="6" name="TextBox 5"/>
          <p:cNvSpPr txBox="1"/>
          <p:nvPr/>
        </p:nvSpPr>
        <p:spPr>
          <a:xfrm>
            <a:off x="304792" y="1423951"/>
            <a:ext cx="1435857" cy="257168"/>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763" b="1" i="0" u="none" strike="noStrike" kern="1200" cap="none" spc="0" normalizeH="0" baseline="0" noProof="0" dirty="0">
                <a:ln>
                  <a:noFill/>
                </a:ln>
                <a:solidFill>
                  <a:srgbClr val="285698"/>
                </a:solidFill>
                <a:effectLst/>
                <a:uLnTx/>
                <a:uFillTx/>
                <a:latin typeface="Arial"/>
                <a:ea typeface="+mn-ea"/>
                <a:cs typeface="+mn-cs"/>
              </a:rPr>
              <a:t>Efficacy Data</a:t>
            </a:r>
          </a:p>
        </p:txBody>
      </p:sp>
      <p:sp>
        <p:nvSpPr>
          <p:cNvPr id="7" name="TextBox 6"/>
          <p:cNvSpPr txBox="1"/>
          <p:nvPr/>
        </p:nvSpPr>
        <p:spPr>
          <a:xfrm>
            <a:off x="466713" y="2149619"/>
            <a:ext cx="1357744" cy="361766"/>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2351" b="1" i="0" u="none" strike="noStrike" kern="1200" cap="none" spc="0" normalizeH="0" baseline="0" noProof="0" dirty="0">
                <a:ln>
                  <a:noFill/>
                </a:ln>
                <a:solidFill>
                  <a:srgbClr val="285698"/>
                </a:solidFill>
                <a:effectLst/>
                <a:uLnTx/>
                <a:uFillTx/>
                <a:latin typeface="Arial"/>
                <a:ea typeface="+mn-ea"/>
                <a:cs typeface="+mn-cs"/>
              </a:rPr>
              <a:t>9</a:t>
            </a:r>
            <a:r>
              <a:rPr kumimoji="0" lang="en-US" sz="2351" b="1" i="0" u="none" strike="noStrike" kern="1200" cap="none" spc="0" normalizeH="0" baseline="0" noProof="0" dirty="0">
                <a:ln>
                  <a:noFill/>
                </a:ln>
                <a:solidFill>
                  <a:srgbClr val="285698"/>
                </a:solidFill>
                <a:effectLst/>
                <a:uLnTx/>
                <a:uFillTx/>
                <a:latin typeface="Arial"/>
                <a:ea typeface="+mn-ea"/>
                <a:cs typeface="+mn-cs"/>
              </a:rPr>
              <a:t>7</a:t>
            </a:r>
            <a:r>
              <a:rPr kumimoji="0" sz="2351" b="1" i="0" u="none" strike="noStrike" kern="1200" cap="none" spc="0" normalizeH="0" baseline="0" noProof="0" dirty="0">
                <a:ln>
                  <a:noFill/>
                </a:ln>
                <a:solidFill>
                  <a:srgbClr val="285698"/>
                </a:solidFill>
                <a:effectLst/>
                <a:uLnTx/>
                <a:uFillTx/>
                <a:latin typeface="Arial"/>
                <a:ea typeface="+mn-ea"/>
                <a:cs typeface="+mn-cs"/>
              </a:rPr>
              <a:t>% ORR</a:t>
            </a:r>
          </a:p>
        </p:txBody>
      </p:sp>
      <p:sp>
        <p:nvSpPr>
          <p:cNvPr id="8" name="TextBox 7"/>
          <p:cNvSpPr txBox="1"/>
          <p:nvPr/>
        </p:nvSpPr>
        <p:spPr>
          <a:xfrm>
            <a:off x="466713" y="2538200"/>
            <a:ext cx="2426946" cy="180819"/>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175" b="0" i="0" u="none" strike="noStrike" kern="1200" cap="none" spc="0" normalizeH="0" baseline="0" noProof="0" dirty="0">
                <a:ln>
                  <a:noFill/>
                </a:ln>
                <a:solidFill>
                  <a:srgbClr val="333333"/>
                </a:solidFill>
                <a:effectLst/>
                <a:uLnTx/>
                <a:uFillTx/>
                <a:latin typeface="Arial"/>
                <a:ea typeface="+mn-ea"/>
                <a:cs typeface="+mn-cs"/>
              </a:rPr>
              <a:t>0.4 mg dose</a:t>
            </a:r>
            <a:r>
              <a:rPr kumimoji="0" lang="en-US" sz="1175" b="0" i="0" u="none" strike="noStrike" kern="1200" cap="none" spc="0" normalizeH="0" baseline="0" noProof="0" dirty="0">
                <a:ln>
                  <a:noFill/>
                </a:ln>
                <a:solidFill>
                  <a:srgbClr val="333333"/>
                </a:solidFill>
                <a:effectLst/>
                <a:uLnTx/>
                <a:uFillTx/>
                <a:latin typeface="Arial"/>
                <a:ea typeface="+mn-ea"/>
                <a:cs typeface="+mn-cs"/>
              </a:rPr>
              <a:t> day 1-14 every 28 days</a:t>
            </a:r>
            <a:endParaRPr kumimoji="0" sz="881" b="0" i="0" u="none" strike="noStrike" kern="1200" cap="none" spc="0" normalizeH="0" baseline="0" noProof="0" dirty="0">
              <a:ln>
                <a:noFill/>
              </a:ln>
              <a:solidFill>
                <a:srgbClr val="285698"/>
              </a:solidFill>
              <a:effectLst/>
              <a:uLnTx/>
              <a:uFillTx/>
              <a:latin typeface="Arial"/>
              <a:ea typeface="+mn-ea"/>
              <a:cs typeface="+mn-cs"/>
              <a:hlinkClick r:id="rId2" tooltip="623. Mantle Cell, Follicular, Waldenstrom ́s, and Oth...">
                <a:extLst>
                  <a:ext uri="{A12FA001-AC4F-418D-AE19-62706E023703}">
                    <ahyp:hlinkClr xmlns:ahyp="http://schemas.microsoft.com/office/drawing/2018/hyperlinkcolor" val="tx"/>
                  </a:ext>
                </a:extLst>
              </a:hlinkClick>
            </a:endParaRPr>
          </a:p>
        </p:txBody>
      </p:sp>
      <p:sp>
        <p:nvSpPr>
          <p:cNvPr id="9" name="TextBox 8"/>
          <p:cNvSpPr txBox="1"/>
          <p:nvPr/>
        </p:nvSpPr>
        <p:spPr>
          <a:xfrm>
            <a:off x="466713" y="3159095"/>
            <a:ext cx="1341714" cy="361766"/>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351" b="1" i="0" u="none" strike="noStrike" kern="1200" cap="none" spc="0" normalizeH="0" baseline="0" noProof="0" dirty="0">
                <a:ln>
                  <a:noFill/>
                </a:ln>
                <a:solidFill>
                  <a:srgbClr val="285698"/>
                </a:solidFill>
                <a:effectLst/>
                <a:uLnTx/>
                <a:uFillTx/>
                <a:latin typeface="Arial"/>
                <a:ea typeface="+mn-ea"/>
                <a:cs typeface="+mn-cs"/>
              </a:rPr>
              <a:t>7</a:t>
            </a:r>
            <a:r>
              <a:rPr kumimoji="0" sz="2351" b="1" i="0" u="none" strike="noStrike" kern="1200" cap="none" spc="0" normalizeH="0" baseline="0" noProof="0" dirty="0">
                <a:ln>
                  <a:noFill/>
                </a:ln>
                <a:solidFill>
                  <a:srgbClr val="285698"/>
                </a:solidFill>
                <a:effectLst/>
                <a:uLnTx/>
                <a:uFillTx/>
                <a:latin typeface="Arial"/>
                <a:ea typeface="+mn-ea"/>
                <a:cs typeface="+mn-cs"/>
              </a:rPr>
              <a:t>8% CRR</a:t>
            </a:r>
          </a:p>
        </p:txBody>
      </p:sp>
      <p:sp>
        <p:nvSpPr>
          <p:cNvPr id="10" name="TextBox 9"/>
          <p:cNvSpPr txBox="1"/>
          <p:nvPr/>
        </p:nvSpPr>
        <p:spPr>
          <a:xfrm>
            <a:off x="466713" y="3547676"/>
            <a:ext cx="857607" cy="180819"/>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175" b="0" i="0" u="none" strike="noStrike" kern="1200" cap="none" spc="0" normalizeH="0" baseline="0" noProof="0" dirty="0">
                <a:ln>
                  <a:noFill/>
                </a:ln>
                <a:solidFill>
                  <a:srgbClr val="333333"/>
                </a:solidFill>
                <a:effectLst/>
                <a:uLnTx/>
                <a:uFillTx/>
                <a:latin typeface="Arial"/>
                <a:ea typeface="+mn-ea"/>
                <a:cs typeface="+mn-cs"/>
              </a:rPr>
              <a:t>0.4 mg dose</a:t>
            </a:r>
            <a:endParaRPr kumimoji="0" sz="881" b="0" i="0" u="none" strike="noStrike" kern="1200" cap="none" spc="0" normalizeH="0" baseline="0" noProof="0" dirty="0">
              <a:ln>
                <a:noFill/>
              </a:ln>
              <a:solidFill>
                <a:srgbClr val="285698"/>
              </a:solidFill>
              <a:effectLst/>
              <a:uLnTx/>
              <a:uFillTx/>
              <a:latin typeface="Arial"/>
              <a:ea typeface="+mn-ea"/>
              <a:cs typeface="+mn-cs"/>
              <a:hlinkClick r:id="rId2" tooltip="623. Mantle Cell, Follicular, Waldenstrom ́s, and Oth...">
                <a:extLst>
                  <a:ext uri="{A12FA001-AC4F-418D-AE19-62706E023703}">
                    <ahyp:hlinkClr xmlns:ahyp="http://schemas.microsoft.com/office/drawing/2018/hyperlinkcolor" val="tx"/>
                  </a:ext>
                </a:extLst>
              </a:hlinkClick>
            </a:endParaRPr>
          </a:p>
        </p:txBody>
      </p:sp>
      <p:sp>
        <p:nvSpPr>
          <p:cNvPr id="11" name="TextBox 10"/>
          <p:cNvSpPr txBox="1"/>
          <p:nvPr/>
        </p:nvSpPr>
        <p:spPr>
          <a:xfrm>
            <a:off x="466713" y="4168571"/>
            <a:ext cx="2832507" cy="361766"/>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2351" b="1" i="0" u="none" strike="noStrike" kern="1200" cap="none" spc="0" normalizeH="0" baseline="0" noProof="0" dirty="0">
                <a:ln>
                  <a:noFill/>
                </a:ln>
                <a:solidFill>
                  <a:srgbClr val="285698"/>
                </a:solidFill>
                <a:effectLst/>
                <a:uLnTx/>
                <a:uFillTx/>
                <a:latin typeface="Arial"/>
                <a:ea typeface="+mn-ea"/>
                <a:cs typeface="+mn-cs"/>
              </a:rPr>
              <a:t>Median </a:t>
            </a:r>
            <a:r>
              <a:rPr kumimoji="0" lang="en-US" sz="2351" b="1" i="0" u="none" strike="noStrike" kern="1200" cap="none" spc="0" normalizeH="0" baseline="0" noProof="0" dirty="0">
                <a:ln>
                  <a:noFill/>
                </a:ln>
                <a:solidFill>
                  <a:srgbClr val="285698"/>
                </a:solidFill>
                <a:effectLst/>
                <a:uLnTx/>
                <a:uFillTx/>
                <a:latin typeface="Arial"/>
                <a:ea typeface="+mn-ea"/>
                <a:cs typeface="+mn-cs"/>
              </a:rPr>
              <a:t>3</a:t>
            </a:r>
            <a:r>
              <a:rPr kumimoji="0" sz="2351" b="1" i="0" u="none" strike="noStrike" kern="1200" cap="none" spc="0" normalizeH="0" baseline="0" noProof="0" dirty="0">
                <a:ln>
                  <a:noFill/>
                </a:ln>
                <a:solidFill>
                  <a:srgbClr val="285698"/>
                </a:solidFill>
                <a:effectLst/>
                <a:uLnTx/>
                <a:uFillTx/>
                <a:latin typeface="Arial"/>
                <a:ea typeface="+mn-ea"/>
                <a:cs typeface="+mn-cs"/>
              </a:rPr>
              <a:t> prior lines</a:t>
            </a:r>
          </a:p>
        </p:txBody>
      </p:sp>
      <p:sp>
        <p:nvSpPr>
          <p:cNvPr id="13" name="TextBox 12"/>
          <p:cNvSpPr txBox="1"/>
          <p:nvPr/>
        </p:nvSpPr>
        <p:spPr>
          <a:xfrm>
            <a:off x="6133946" y="1423951"/>
            <a:ext cx="1245213" cy="257168"/>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763" b="1" i="0" u="none" strike="noStrike" kern="1200" cap="none" spc="0" normalizeH="0" baseline="0" noProof="0" dirty="0">
                <a:ln>
                  <a:noFill/>
                </a:ln>
                <a:solidFill>
                  <a:srgbClr val="285698"/>
                </a:solidFill>
                <a:effectLst/>
                <a:uLnTx/>
                <a:uFillTx/>
                <a:latin typeface="Arial"/>
                <a:ea typeface="+mn-ea"/>
                <a:cs typeface="+mn-cs"/>
              </a:rPr>
              <a:t>Safety Data</a:t>
            </a:r>
          </a:p>
        </p:txBody>
      </p:sp>
      <p:sp>
        <p:nvSpPr>
          <p:cNvPr id="15" name="TextBox 14"/>
          <p:cNvSpPr txBox="1"/>
          <p:nvPr/>
        </p:nvSpPr>
        <p:spPr>
          <a:xfrm>
            <a:off x="6096000" y="2269080"/>
            <a:ext cx="5791200" cy="2141612"/>
          </a:xfrm>
          <a:prstGeom prst="rect">
            <a:avLst/>
          </a:prstGeom>
          <a:noFill/>
        </p:spPr>
        <p:txBody>
          <a:bodyPr wrap="square" lIns="0" tIns="0" rIns="0" bIns="0">
            <a:spAutoFit/>
          </a:bodyPr>
          <a:lstStyle/>
          <a:p>
            <a:pPr marL="342900" marR="0" lvl="0" indent="-342900" algn="l" defTabSz="914400" rtl="0" eaLnBrk="1" fontAlgn="auto" latinLnBrk="0" hangingPunct="1">
              <a:lnSpc>
                <a:spcPts val="2069"/>
              </a:lnSpc>
              <a:spcBef>
                <a:spcPts val="0"/>
              </a:spcBef>
              <a:spcAft>
                <a:spcPts val="0"/>
              </a:spcAft>
              <a:buClr>
                <a:srgbClr val="285698"/>
              </a:buClr>
              <a:buSzPct val="100000"/>
              <a:buFont typeface="Arial" panose="020B0604020202020204" pitchFamily="34" charset="0"/>
              <a:buChar char="•"/>
              <a:tabLst/>
              <a:defRPr/>
            </a:pPr>
            <a:r>
              <a:rPr kumimoji="0" sz="2000" b="0" i="0" u="none" strike="noStrike" kern="1200" cap="none" spc="0" normalizeH="0" baseline="0" noProof="0" dirty="0">
                <a:ln>
                  <a:noFill/>
                </a:ln>
                <a:solidFill>
                  <a:srgbClr val="285698"/>
                </a:solidFill>
                <a:effectLst/>
                <a:uLnTx/>
                <a:uFillTx/>
                <a:latin typeface="Arial"/>
                <a:ea typeface="+mn-ea"/>
                <a:cs typeface="+mn-cs"/>
              </a:rPr>
              <a:t>Most common Grade 3/4 </a:t>
            </a:r>
            <a:r>
              <a:rPr kumimoji="0" lang="en-US" sz="2000" b="0" i="0" u="none" strike="noStrike" kern="1200" cap="none" spc="0" normalizeH="0" baseline="0" noProof="0" dirty="0">
                <a:ln>
                  <a:noFill/>
                </a:ln>
                <a:solidFill>
                  <a:srgbClr val="285698"/>
                </a:solidFill>
                <a:effectLst/>
                <a:uLnTx/>
                <a:uFillTx/>
                <a:latin typeface="Arial"/>
                <a:ea typeface="+mn-ea"/>
                <a:cs typeface="+mn-cs"/>
              </a:rPr>
              <a:t>AEs</a:t>
            </a:r>
            <a:r>
              <a:rPr kumimoji="0" sz="2000" b="0" i="0" u="none" strike="noStrike" kern="1200" cap="none" spc="0" normalizeH="0" baseline="0" noProof="0" dirty="0">
                <a:ln>
                  <a:noFill/>
                </a:ln>
                <a:solidFill>
                  <a:srgbClr val="285698"/>
                </a:solidFill>
                <a:effectLst/>
                <a:uLnTx/>
                <a:uFillTx/>
                <a:latin typeface="Arial"/>
                <a:ea typeface="+mn-ea"/>
                <a:cs typeface="+mn-cs"/>
              </a:rPr>
              <a:t>: neutropenia in &gt;50% of patients, managed with G-CSF</a:t>
            </a:r>
            <a:endParaRPr kumimoji="0" lang="en-US" sz="2000" b="0" i="0" u="none" strike="noStrike" kern="1200" cap="none" spc="0" normalizeH="0" baseline="0" noProof="0" dirty="0">
              <a:ln>
                <a:noFill/>
              </a:ln>
              <a:solidFill>
                <a:srgbClr val="285698"/>
              </a:solidFill>
              <a:effectLst/>
              <a:uLnTx/>
              <a:uFillTx/>
              <a:latin typeface="Arial"/>
              <a:ea typeface="+mn-ea"/>
              <a:cs typeface="+mn-cs"/>
            </a:endParaRPr>
          </a:p>
          <a:p>
            <a:pPr marL="342900" marR="0" lvl="0" indent="-342900" algn="l" defTabSz="914400" rtl="0" eaLnBrk="1" fontAlgn="auto" latinLnBrk="0" hangingPunct="1">
              <a:lnSpc>
                <a:spcPts val="2069"/>
              </a:lnSpc>
              <a:spcBef>
                <a:spcPts val="0"/>
              </a:spcBef>
              <a:spcAft>
                <a:spcPts val="0"/>
              </a:spcAft>
              <a:buClr>
                <a:srgbClr val="285698"/>
              </a:buClr>
              <a:buSzPct val="100000"/>
              <a:buFont typeface="Arial" panose="020B0604020202020204" pitchFamily="34" charset="0"/>
              <a:buChar char="•"/>
              <a:tabLst/>
              <a:defRPr/>
            </a:pPr>
            <a:endParaRPr kumimoji="0" sz="1100" b="0" i="0" u="none" strike="noStrike" kern="1200" cap="none" spc="0" normalizeH="0" baseline="0" noProof="0" dirty="0">
              <a:ln>
                <a:noFill/>
              </a:ln>
              <a:solidFill>
                <a:srgbClr val="285698"/>
              </a:solidFill>
              <a:effectLst/>
              <a:uLnTx/>
              <a:uFillTx/>
              <a:latin typeface="Arial"/>
              <a:ea typeface="+mn-ea"/>
              <a:cs typeface="+mn-cs"/>
              <a:hlinkClick r:id="rId3" tooltip="EHA 2025: Golcadomide Shows Deep Responses in High-Ri...">
                <a:extLst>
                  <a:ext uri="{A12FA001-AC4F-418D-AE19-62706E023703}">
                    <ahyp:hlinkClr xmlns:ahyp="http://schemas.microsoft.com/office/drawing/2018/hyperlinkcolor" val="tx"/>
                  </a:ext>
                </a:extLst>
              </a:hlinkClick>
            </a:endParaRPr>
          </a:p>
          <a:p>
            <a:pPr marL="342900" marR="0" lvl="0" indent="-342900" algn="l" defTabSz="914400" rtl="0" eaLnBrk="1" fontAlgn="auto" latinLnBrk="0" hangingPunct="1">
              <a:lnSpc>
                <a:spcPts val="2069"/>
              </a:lnSpc>
              <a:spcBef>
                <a:spcPts val="959"/>
              </a:spcBef>
              <a:spcAft>
                <a:spcPts val="0"/>
              </a:spcAft>
              <a:buClr>
                <a:srgbClr val="285698"/>
              </a:buClr>
              <a:buSzPct val="100000"/>
              <a:buFont typeface="Arial" panose="020B0604020202020204" pitchFamily="34" charset="0"/>
              <a:buChar char="•"/>
              <a:tabLst/>
              <a:defRPr/>
            </a:pPr>
            <a:r>
              <a:rPr kumimoji="0" lang="en-US" sz="2000" b="0" i="0" u="none" strike="noStrike" kern="1200" cap="none" spc="0" normalizeH="0" baseline="0" noProof="0" dirty="0">
                <a:ln>
                  <a:noFill/>
                </a:ln>
                <a:solidFill>
                  <a:srgbClr val="285698"/>
                </a:solidFill>
                <a:effectLst/>
                <a:uLnTx/>
                <a:uFillTx/>
                <a:latin typeface="Arial"/>
                <a:ea typeface="+mn-ea"/>
                <a:cs typeface="+mn-cs"/>
              </a:rPr>
              <a:t>Non-heme AEs:  </a:t>
            </a:r>
            <a:r>
              <a:rPr kumimoji="0" sz="2000" b="0" i="0" u="none" strike="noStrike" kern="1200" cap="none" spc="0" normalizeH="0" baseline="0" noProof="0" dirty="0">
                <a:ln>
                  <a:noFill/>
                </a:ln>
                <a:solidFill>
                  <a:srgbClr val="285698"/>
                </a:solidFill>
                <a:effectLst/>
                <a:uLnTx/>
                <a:uFillTx/>
                <a:latin typeface="Arial"/>
                <a:ea typeface="+mn-ea"/>
                <a:cs typeface="+mn-cs"/>
              </a:rPr>
              <a:t>fatigue, diarrhea, and rash, generally mild to moderate severity, no treatment discontinuation</a:t>
            </a:r>
            <a:endParaRPr kumimoji="0" lang="en-US" sz="2000" b="0" i="0" u="none" strike="noStrike" kern="1200" cap="none" spc="0" normalizeH="0" baseline="0" noProof="0" dirty="0">
              <a:ln>
                <a:noFill/>
              </a:ln>
              <a:solidFill>
                <a:srgbClr val="285698"/>
              </a:solidFill>
              <a:effectLst/>
              <a:uLnTx/>
              <a:uFillTx/>
              <a:latin typeface="Arial"/>
              <a:ea typeface="+mn-ea"/>
              <a:cs typeface="+mn-cs"/>
            </a:endParaRPr>
          </a:p>
          <a:p>
            <a:pPr marL="0" marR="0" lvl="0" indent="0" algn="l" defTabSz="914400" rtl="0" eaLnBrk="1" fontAlgn="auto" latinLnBrk="0" hangingPunct="1">
              <a:lnSpc>
                <a:spcPts val="2069"/>
              </a:lnSpc>
              <a:spcBef>
                <a:spcPts val="959"/>
              </a:spcBef>
              <a:spcAft>
                <a:spcPts val="0"/>
              </a:spcAft>
              <a:buClr>
                <a:srgbClr val="285698"/>
              </a:buClr>
              <a:buSzPct val="100000"/>
              <a:buFontTx/>
              <a:buNone/>
              <a:tabLst/>
              <a:defRPr/>
            </a:pPr>
            <a:endParaRPr kumimoji="0" lang="en-US" sz="2000" b="0" i="0" u="none" strike="noStrike" kern="1200" cap="none" spc="0" normalizeH="0" baseline="0" noProof="0" dirty="0">
              <a:ln>
                <a:noFill/>
              </a:ln>
              <a:solidFill>
                <a:srgbClr val="285698"/>
              </a:solidFill>
              <a:effectLst/>
              <a:uLnTx/>
              <a:uFillTx/>
              <a:latin typeface="Arial"/>
              <a:ea typeface="+mn-ea"/>
              <a:cs typeface="+mn-cs"/>
            </a:endParaRPr>
          </a:p>
        </p:txBody>
      </p:sp>
      <p:sp>
        <p:nvSpPr>
          <p:cNvPr id="17" name="TextBox 16">
            <a:extLst>
              <a:ext uri="{FF2B5EF4-FFF2-40B4-BE49-F238E27FC236}">
                <a16:creationId xmlns:a16="http://schemas.microsoft.com/office/drawing/2014/main" id="{08B1F8F5-16CA-1BD8-4C33-3C16A1D4C988}"/>
              </a:ext>
            </a:extLst>
          </p:cNvPr>
          <p:cNvSpPr txBox="1"/>
          <p:nvPr/>
        </p:nvSpPr>
        <p:spPr>
          <a:xfrm>
            <a:off x="1324320" y="5253230"/>
            <a:ext cx="9136117" cy="361637"/>
          </a:xfrm>
          <a:prstGeom prst="rect">
            <a:avLst/>
          </a:prstGeom>
          <a:noFill/>
        </p:spPr>
        <p:txBody>
          <a:bodyPr wrap="square">
            <a:spAutoFit/>
          </a:bodyPr>
          <a:lstStyle/>
          <a:p>
            <a:pPr marL="0" marR="0" lvl="0" indent="0" algn="ctr" defTabSz="914400" rtl="0" eaLnBrk="1" fontAlgn="auto" latinLnBrk="0" hangingPunct="1">
              <a:lnSpc>
                <a:spcPts val="2069"/>
              </a:lnSpc>
              <a:spcBef>
                <a:spcPts val="959"/>
              </a:spcBef>
              <a:spcAft>
                <a:spcPts val="0"/>
              </a:spcAft>
              <a:buClr>
                <a:srgbClr val="285698"/>
              </a:buClr>
              <a:buSzPct val="100000"/>
              <a:buFontTx/>
              <a:buNone/>
              <a:tabLst/>
              <a:defRPr/>
            </a:pPr>
            <a:r>
              <a:rPr kumimoji="0" lang="en-US" sz="2000" b="1" i="1" u="none" strike="noStrike" kern="1200" cap="none" spc="0" normalizeH="0" baseline="0" noProof="0" dirty="0">
                <a:ln>
                  <a:noFill/>
                </a:ln>
                <a:solidFill>
                  <a:srgbClr val="285698"/>
                </a:solidFill>
                <a:effectLst/>
                <a:uLnTx/>
                <a:uFillTx/>
                <a:latin typeface="Arial"/>
                <a:ea typeface="+mn-ea"/>
                <a:cs typeface="+mn-cs"/>
              </a:rPr>
              <a:t>Golseek-4: Ph3 RCT Golca-R vs IC (Len-R/CIT) in 2L+ FL now enrolling</a:t>
            </a:r>
          </a:p>
        </p:txBody>
      </p:sp>
      <p:sp>
        <p:nvSpPr>
          <p:cNvPr id="18" name="TextBox 17">
            <a:extLst>
              <a:ext uri="{FF2B5EF4-FFF2-40B4-BE49-F238E27FC236}">
                <a16:creationId xmlns:a16="http://schemas.microsoft.com/office/drawing/2014/main" id="{1D259940-057E-B3BF-A194-D49ECC34036A}"/>
              </a:ext>
            </a:extLst>
          </p:cNvPr>
          <p:cNvSpPr txBox="1"/>
          <p:nvPr/>
        </p:nvSpPr>
        <p:spPr>
          <a:xfrm>
            <a:off x="9211926" y="6492515"/>
            <a:ext cx="189141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85698"/>
                </a:solidFill>
                <a:effectLst/>
                <a:uLnTx/>
                <a:uFillTx/>
                <a:latin typeface="Arial" panose="020B0604020202020204"/>
                <a:ea typeface="+mn-ea"/>
                <a:cs typeface="+mn-cs"/>
              </a:rPr>
              <a:t>Chavez J et al ASH 2025</a:t>
            </a:r>
          </a:p>
        </p:txBody>
      </p:sp>
    </p:spTree>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7E4851-3FD0-593F-74FA-E11A6C8B07F9}"/>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E3C4AC69-1AEC-4BD4-8B18-56F9AD1F3D4C}"/>
              </a:ext>
            </a:extLst>
          </p:cNvPr>
          <p:cNvSpPr>
            <a:spLocks noGrp="1"/>
          </p:cNvSpPr>
          <p:nvPr>
            <p:ph type="title"/>
          </p:nvPr>
        </p:nvSpPr>
        <p:spPr>
          <a:xfrm>
            <a:off x="912286" y="62617"/>
            <a:ext cx="10358967" cy="823215"/>
          </a:xfrm>
        </p:spPr>
        <p:txBody>
          <a:bodyPr/>
          <a:lstStyle/>
          <a:p>
            <a:r>
              <a:rPr lang="en-US" dirty="0"/>
              <a:t>Phase III GOLSEEK-4 Study Design</a:t>
            </a:r>
          </a:p>
        </p:txBody>
      </p:sp>
      <p:pic>
        <p:nvPicPr>
          <p:cNvPr id="9" name="Picture 8" descr="A close-up of a poster&#10;&#10;AI-generated content may be incorrect.">
            <a:extLst>
              <a:ext uri="{FF2B5EF4-FFF2-40B4-BE49-F238E27FC236}">
                <a16:creationId xmlns:a16="http://schemas.microsoft.com/office/drawing/2014/main" id="{13F8138F-AD35-88C3-5624-C0D028E2C668}"/>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41000"/>
                    </a14:imgEffect>
                    <a14:imgEffect>
                      <a14:saturation sat="176000"/>
                    </a14:imgEffect>
                  </a14:imgLayer>
                </a14:imgProps>
              </a:ext>
            </a:extLst>
          </a:blip>
          <a:srcRect l="51741" t="27718" r="24084" b="51596"/>
          <a:stretch>
            <a:fillRect/>
          </a:stretch>
        </p:blipFill>
        <p:spPr>
          <a:xfrm>
            <a:off x="1530984" y="817733"/>
            <a:ext cx="9130031" cy="4961986"/>
          </a:xfrm>
          <a:prstGeom prst="rect">
            <a:avLst/>
          </a:prstGeom>
        </p:spPr>
      </p:pic>
      <p:sp>
        <p:nvSpPr>
          <p:cNvPr id="2" name="TextBox 1">
            <a:extLst>
              <a:ext uri="{FF2B5EF4-FFF2-40B4-BE49-F238E27FC236}">
                <a16:creationId xmlns:a16="http://schemas.microsoft.com/office/drawing/2014/main" id="{54648FA8-AAC5-AD31-9643-8E0696D1F6A7}"/>
              </a:ext>
            </a:extLst>
          </p:cNvPr>
          <p:cNvSpPr txBox="1"/>
          <p:nvPr/>
        </p:nvSpPr>
        <p:spPr>
          <a:xfrm>
            <a:off x="72736" y="6534835"/>
            <a:ext cx="3333285"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n-ea"/>
                <a:cs typeface="+mn-cs"/>
              </a:rPr>
              <a:t>Hawkes E et al. ASH 2025;Abstract 3615.</a:t>
            </a:r>
          </a:p>
        </p:txBody>
      </p:sp>
      <p:pic>
        <p:nvPicPr>
          <p:cNvPr id="3" name="Picture 2" descr="A close-up of a poster&#10;&#10;AI-generated content may be incorrect.">
            <a:extLst>
              <a:ext uri="{FF2B5EF4-FFF2-40B4-BE49-F238E27FC236}">
                <a16:creationId xmlns:a16="http://schemas.microsoft.com/office/drawing/2014/main" id="{20D478C8-7ECE-4D6F-A3F4-476E4ADDA610}"/>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45000"/>
                    </a14:imgEffect>
                  </a14:imgLayer>
                </a14:imgProps>
              </a:ext>
            </a:extLst>
          </a:blip>
          <a:srcRect l="50760" t="48939" r="24084" b="48292"/>
          <a:stretch>
            <a:fillRect/>
          </a:stretch>
        </p:blipFill>
        <p:spPr>
          <a:xfrm>
            <a:off x="1530983" y="5838543"/>
            <a:ext cx="9130031" cy="637468"/>
          </a:xfrm>
          <a:prstGeom prst="rect">
            <a:avLst/>
          </a:prstGeom>
        </p:spPr>
      </p:pic>
    </p:spTree>
    <p:extLst>
      <p:ext uri="{BB962C8B-B14F-4D97-AF65-F5344CB8AC3E}">
        <p14:creationId xmlns:p14="http://schemas.microsoft.com/office/powerpoint/2010/main" val="32504141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5D5264C-0CAB-6BAB-945E-CCBCE96571DA}"/>
              </a:ext>
            </a:extLst>
          </p:cNvPr>
          <p:cNvSpPr>
            <a:spLocks noGrp="1"/>
          </p:cNvSpPr>
          <p:nvPr>
            <p:ph type="title"/>
          </p:nvPr>
        </p:nvSpPr>
        <p:spPr>
          <a:xfrm>
            <a:off x="421340" y="394634"/>
            <a:ext cx="11344835" cy="704257"/>
          </a:xfrm>
        </p:spPr>
        <p:txBody>
          <a:bodyPr/>
          <a:lstStyle/>
          <a:p>
            <a:pPr algn="ctr"/>
            <a:r>
              <a:rPr lang="en-US" dirty="0"/>
              <a:t>Key Takeaways</a:t>
            </a:r>
          </a:p>
        </p:txBody>
      </p:sp>
      <p:sp>
        <p:nvSpPr>
          <p:cNvPr id="8" name="Content Placeholder 2">
            <a:extLst>
              <a:ext uri="{FF2B5EF4-FFF2-40B4-BE49-F238E27FC236}">
                <a16:creationId xmlns:a16="http://schemas.microsoft.com/office/drawing/2014/main" id="{05AB832A-F28E-1F75-B6B3-7C11A0AC261C}"/>
              </a:ext>
            </a:extLst>
          </p:cNvPr>
          <p:cNvSpPr>
            <a:spLocks noGrp="1"/>
          </p:cNvSpPr>
          <p:nvPr>
            <p:ph idx="1"/>
          </p:nvPr>
        </p:nvSpPr>
        <p:spPr>
          <a:xfrm>
            <a:off x="421340" y="1209250"/>
            <a:ext cx="11363325" cy="4720103"/>
          </a:xfrm>
        </p:spPr>
        <p:txBody>
          <a:bodyPr/>
          <a:lstStyle/>
          <a:p>
            <a:pPr marL="457200" indent="-457200">
              <a:buFont typeface="Arial" panose="020B0604020202020204" pitchFamily="34" charset="0"/>
              <a:buChar char="•"/>
            </a:pPr>
            <a:r>
              <a:rPr lang="en-US" dirty="0">
                <a:solidFill>
                  <a:schemeClr val="tx2"/>
                </a:solidFill>
              </a:rPr>
              <a:t>Epco +R2 or Tafa + R2 preferred 2L regimens for FL</a:t>
            </a:r>
          </a:p>
          <a:p>
            <a:pPr marL="457200" indent="-457200">
              <a:buFont typeface="Arial" panose="020B0604020202020204" pitchFamily="34" charset="0"/>
              <a:buChar char="•"/>
            </a:pPr>
            <a:endParaRPr lang="en-US" dirty="0">
              <a:solidFill>
                <a:schemeClr val="tx2"/>
              </a:solidFill>
            </a:endParaRPr>
          </a:p>
          <a:p>
            <a:pPr marL="457200" indent="-457200">
              <a:buFont typeface="Arial" panose="020B0604020202020204" pitchFamily="34" charset="0"/>
              <a:buChar char="•"/>
            </a:pPr>
            <a:r>
              <a:rPr lang="en-US" dirty="0">
                <a:solidFill>
                  <a:schemeClr val="tx2"/>
                </a:solidFill>
              </a:rPr>
              <a:t>3L+ options include</a:t>
            </a:r>
          </a:p>
          <a:p>
            <a:pPr marL="1143000" lvl="1" indent="-457200"/>
            <a:r>
              <a:rPr lang="en-US" sz="2000" dirty="0">
                <a:solidFill>
                  <a:schemeClr val="tx2"/>
                </a:solidFill>
              </a:rPr>
              <a:t>Epco or Mosun mono (if no prior)</a:t>
            </a:r>
          </a:p>
          <a:p>
            <a:pPr marL="1143000" lvl="1" indent="-457200"/>
            <a:r>
              <a:rPr lang="en-US" sz="2000" dirty="0">
                <a:solidFill>
                  <a:schemeClr val="tx2"/>
                </a:solidFill>
              </a:rPr>
              <a:t>Zanu-Obin</a:t>
            </a:r>
          </a:p>
          <a:p>
            <a:pPr marL="1143000" lvl="1" indent="-457200"/>
            <a:r>
              <a:rPr lang="en-US" sz="2000" dirty="0">
                <a:solidFill>
                  <a:schemeClr val="tx2"/>
                </a:solidFill>
              </a:rPr>
              <a:t>Lonca-T + Rituximab</a:t>
            </a:r>
          </a:p>
          <a:p>
            <a:pPr marL="1143000" lvl="1" indent="-457200"/>
            <a:r>
              <a:rPr lang="en-US" sz="2000" dirty="0">
                <a:solidFill>
                  <a:schemeClr val="tx2"/>
                </a:solidFill>
              </a:rPr>
              <a:t>CAR –T-cell therapy (Axi-cel, Liso-cel, Tisacel)</a:t>
            </a:r>
          </a:p>
          <a:p>
            <a:pPr marL="1143000" lvl="1" indent="-457200"/>
            <a:endParaRPr lang="en-US" i="1" dirty="0">
              <a:solidFill>
                <a:schemeClr val="tx2"/>
              </a:solidFill>
            </a:endParaRPr>
          </a:p>
          <a:p>
            <a:pPr marL="457200" indent="-457200">
              <a:buFont typeface="Arial" panose="020B0604020202020204" pitchFamily="34" charset="0"/>
              <a:buChar char="•"/>
            </a:pPr>
            <a:r>
              <a:rPr lang="en-US" dirty="0">
                <a:solidFill>
                  <a:schemeClr val="tx2"/>
                </a:solidFill>
              </a:rPr>
              <a:t>Additional agents under investigation</a:t>
            </a:r>
          </a:p>
          <a:p>
            <a:pPr marL="1143000" lvl="1" indent="-457200"/>
            <a:r>
              <a:rPr lang="en-US" sz="2000" i="1" dirty="0">
                <a:solidFill>
                  <a:schemeClr val="tx2"/>
                </a:solidFill>
              </a:rPr>
              <a:t>Golcadomide + Rituximab</a:t>
            </a:r>
          </a:p>
          <a:p>
            <a:pPr marL="1143000" lvl="1" indent="-457200"/>
            <a:r>
              <a:rPr lang="en-US" sz="2000" i="1" dirty="0">
                <a:solidFill>
                  <a:schemeClr val="tx2"/>
                </a:solidFill>
              </a:rPr>
              <a:t>Surovatamig (CD19 BsAb), MK-1045 (CD19 BsAb)</a:t>
            </a:r>
          </a:p>
          <a:p>
            <a:pPr marL="1143000" lvl="1" indent="-457200"/>
            <a:r>
              <a:rPr lang="en-US" sz="2000" i="1" dirty="0">
                <a:solidFill>
                  <a:schemeClr val="tx2"/>
                </a:solidFill>
              </a:rPr>
              <a:t>BCL6 degraders</a:t>
            </a:r>
          </a:p>
          <a:p>
            <a:pPr marL="457200" indent="-457200">
              <a:buFont typeface="Arial" panose="020B0604020202020204" pitchFamily="34" charset="0"/>
              <a:buChar char="•"/>
            </a:pPr>
            <a:endParaRPr lang="en-US" dirty="0">
              <a:solidFill>
                <a:schemeClr val="tx2"/>
              </a:solidFill>
            </a:endParaRPr>
          </a:p>
        </p:txBody>
      </p:sp>
    </p:spTree>
    <p:extLst>
      <p:ext uri="{BB962C8B-B14F-4D97-AF65-F5344CB8AC3E}">
        <p14:creationId xmlns:p14="http://schemas.microsoft.com/office/powerpoint/2010/main" val="39355196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304263-7B1A-E511-6FA6-63199BCC813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601F5F9-3845-5DDB-7F77-90DBB646F07B}"/>
              </a:ext>
            </a:extLst>
          </p:cNvPr>
          <p:cNvSpPr>
            <a:spLocks noGrp="1"/>
          </p:cNvSpPr>
          <p:nvPr>
            <p:ph type="title"/>
          </p:nvPr>
        </p:nvSpPr>
        <p:spPr>
          <a:xfrm>
            <a:off x="838200" y="1"/>
            <a:ext cx="10515600" cy="1144588"/>
          </a:xfrm>
        </p:spPr>
        <p:txBody>
          <a:bodyPr>
            <a:normAutofit fontScale="90000"/>
          </a:bodyPr>
          <a:lstStyle/>
          <a:p>
            <a:r>
              <a:rPr lang="en-US" sz="3000" dirty="0"/>
              <a:t>Keynote Session: </a:t>
            </a:r>
            <a:br>
              <a:rPr lang="en-US" sz="3000" dirty="0"/>
            </a:br>
            <a:r>
              <a:rPr lang="en-US" sz="3000" dirty="0"/>
              <a:t>Diffuse Large B-Cell Lymphoma and Follicular Lymphoma</a:t>
            </a:r>
            <a:endParaRPr lang="en-US" sz="3000" dirty="0">
              <a:solidFill>
                <a:srgbClr val="0070C0"/>
              </a:solidFill>
            </a:endParaRPr>
          </a:p>
        </p:txBody>
      </p:sp>
      <p:sp>
        <p:nvSpPr>
          <p:cNvPr id="7" name="Content Placeholder 6">
            <a:extLst>
              <a:ext uri="{FF2B5EF4-FFF2-40B4-BE49-F238E27FC236}">
                <a16:creationId xmlns:a16="http://schemas.microsoft.com/office/drawing/2014/main" id="{97F152CD-48BF-2251-DFCE-A2EAB2825748}"/>
              </a:ext>
            </a:extLst>
          </p:cNvPr>
          <p:cNvSpPr>
            <a:spLocks noGrp="1"/>
          </p:cNvSpPr>
          <p:nvPr>
            <p:ph idx="1"/>
          </p:nvPr>
        </p:nvSpPr>
        <p:spPr>
          <a:xfrm>
            <a:off x="462987" y="1144587"/>
            <a:ext cx="11262167" cy="5257800"/>
          </a:xfrm>
        </p:spPr>
        <p:txBody>
          <a:bodyPr>
            <a:noAutofit/>
          </a:bodyPr>
          <a:lstStyle/>
          <a:p>
            <a:pPr>
              <a:lnSpc>
                <a:spcPts val="3800"/>
              </a:lnSpc>
              <a:spcBef>
                <a:spcPts val="2000"/>
              </a:spcBef>
              <a:spcAft>
                <a:spcPts val="2000"/>
              </a:spcAft>
            </a:pPr>
            <a:endParaRPr lang="en-US" sz="2800" noProof="0" dirty="0"/>
          </a:p>
          <a:p>
            <a:pPr>
              <a:lnSpc>
                <a:spcPts val="3800"/>
              </a:lnSpc>
              <a:spcBef>
                <a:spcPts val="2000"/>
              </a:spcBef>
              <a:spcAft>
                <a:spcPts val="2000"/>
              </a:spcAft>
            </a:pPr>
            <a:r>
              <a:rPr lang="en-US" sz="3600" noProof="0" dirty="0">
                <a:latin typeface="Calibri" panose="020F0502020204030204" pitchFamily="34" charset="0"/>
                <a:cs typeface="Calibri" panose="020F0502020204030204" pitchFamily="34" charset="0"/>
              </a:rPr>
              <a:t>We would like to do a “best paper or presentation of the year” activity. Please suggest one “paper of the year” and 2 other worthy papers based on the value in treatment of current and future patients</a:t>
            </a:r>
            <a:r>
              <a:rPr lang="en-US" sz="3200" noProof="0" dirty="0"/>
              <a:t>.</a:t>
            </a:r>
            <a:endParaRPr lang="en-US" sz="3200" b="0" noProof="0" dirty="0"/>
          </a:p>
        </p:txBody>
      </p:sp>
    </p:spTree>
    <p:extLst>
      <p:ext uri="{BB962C8B-B14F-4D97-AF65-F5344CB8AC3E}">
        <p14:creationId xmlns:p14="http://schemas.microsoft.com/office/powerpoint/2010/main" val="15662216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88C392-D42A-A8DD-3B5F-43178C09E3E4}"/>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5CC3A6B2-A62C-4DF7-8C0D-3E91253EB349}"/>
              </a:ext>
            </a:extLst>
          </p:cNvPr>
          <p:cNvSpPr/>
          <p:nvPr/>
        </p:nvSpPr>
        <p:spPr bwMode="auto">
          <a:xfrm>
            <a:off x="684426" y="5445298"/>
            <a:ext cx="10731324" cy="459767"/>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FFFFFF"/>
              </a:solidFill>
              <a:effectLst/>
              <a:uLnTx/>
              <a:uFillTx/>
              <a:latin typeface="Times New Roman" pitchFamily="18" charset="0"/>
              <a:ea typeface="MS PGothic" charset="0"/>
              <a:cs typeface="+mn-cs"/>
            </a:endParaRPr>
          </a:p>
        </p:txBody>
      </p:sp>
      <p:sp>
        <p:nvSpPr>
          <p:cNvPr id="2" name="Title 1">
            <a:extLst>
              <a:ext uri="{FF2B5EF4-FFF2-40B4-BE49-F238E27FC236}">
                <a16:creationId xmlns:a16="http://schemas.microsoft.com/office/drawing/2014/main" id="{E25C19DE-CACD-020A-A3FC-7FBA33791D46}"/>
              </a:ext>
            </a:extLst>
          </p:cNvPr>
          <p:cNvSpPr>
            <a:spLocks noGrp="1"/>
          </p:cNvSpPr>
          <p:nvPr>
            <p:ph type="title"/>
          </p:nvPr>
        </p:nvSpPr>
        <p:spPr>
          <a:xfrm>
            <a:off x="462987" y="83127"/>
            <a:ext cx="11262167" cy="1061462"/>
          </a:xfrm>
        </p:spPr>
        <p:txBody>
          <a:bodyPr>
            <a:noAutofit/>
          </a:bodyPr>
          <a:lstStyle/>
          <a:p>
            <a:pPr>
              <a:lnSpc>
                <a:spcPct val="100000"/>
              </a:lnSpc>
            </a:pPr>
            <a:r>
              <a:rPr lang="en-US" sz="2800" dirty="0"/>
              <a:t>Keynote Session: </a:t>
            </a:r>
            <a:br>
              <a:rPr lang="en-US" sz="2800" dirty="0"/>
            </a:br>
            <a:r>
              <a:rPr lang="en-US" sz="2800" dirty="0"/>
              <a:t>Diffuse Large B-Cell Lymphoma and Follicular Lymphoma</a:t>
            </a:r>
            <a:endParaRPr lang="en-US" sz="2800" dirty="0">
              <a:solidFill>
                <a:srgbClr val="0070C0"/>
              </a:solidFill>
            </a:endParaRPr>
          </a:p>
        </p:txBody>
      </p:sp>
      <p:sp>
        <p:nvSpPr>
          <p:cNvPr id="7" name="Content Placeholder 6">
            <a:extLst>
              <a:ext uri="{FF2B5EF4-FFF2-40B4-BE49-F238E27FC236}">
                <a16:creationId xmlns:a16="http://schemas.microsoft.com/office/drawing/2014/main" id="{3FE97AE7-C647-62D3-CC9E-1E82D4673D2B}"/>
              </a:ext>
            </a:extLst>
          </p:cNvPr>
          <p:cNvSpPr>
            <a:spLocks noGrp="1"/>
          </p:cNvSpPr>
          <p:nvPr>
            <p:ph idx="1"/>
          </p:nvPr>
        </p:nvSpPr>
        <p:spPr>
          <a:xfrm>
            <a:off x="462987" y="1144587"/>
            <a:ext cx="11262167" cy="5257800"/>
          </a:xfrm>
        </p:spPr>
        <p:txBody>
          <a:bodyPr lIns="365760" tIns="274320" rIns="365760">
            <a:noAutofit/>
          </a:bodyPr>
          <a:lstStyle/>
          <a:p>
            <a:pPr>
              <a:lnSpc>
                <a:spcPct val="100000"/>
              </a:lnSpc>
              <a:spcBef>
                <a:spcPts val="1200"/>
              </a:spcBef>
            </a:pPr>
            <a:r>
              <a:rPr lang="en-US" sz="2200" dirty="0">
                <a:solidFill>
                  <a:srgbClr val="002656"/>
                </a:solidFill>
              </a:rPr>
              <a:t>Part 1 - Diffuse Large B-Cell Lymphoma:</a:t>
            </a:r>
          </a:p>
          <a:p>
            <a:pPr marL="457200" lvl="1" indent="0">
              <a:lnSpc>
                <a:spcPct val="100000"/>
              </a:lnSpc>
              <a:spcBef>
                <a:spcPts val="1200"/>
              </a:spcBef>
              <a:buNone/>
            </a:pPr>
            <a:r>
              <a:rPr lang="en-US" sz="2200" b="1" dirty="0"/>
              <a:t>Antibody-Drug Conjugates and Other Novel Strategies in the Management of DLBCL</a:t>
            </a:r>
            <a:r>
              <a:rPr lang="en-US" sz="2200" dirty="0"/>
              <a:t> — </a:t>
            </a:r>
            <a:r>
              <a:rPr lang="en-US" sz="2200" b="0" dirty="0"/>
              <a:t>Prof Salles</a:t>
            </a:r>
          </a:p>
          <a:p>
            <a:pPr marL="457200" lvl="1" indent="0">
              <a:lnSpc>
                <a:spcPct val="100000"/>
              </a:lnSpc>
              <a:spcBef>
                <a:spcPts val="1200"/>
              </a:spcBef>
              <a:buNone/>
            </a:pPr>
            <a:r>
              <a:rPr lang="en-US" sz="2200" b="1" dirty="0"/>
              <a:t>Current and Future Role of Monoclonal and Bispecific Antibodies in the Management of DLBCL </a:t>
            </a:r>
            <a:r>
              <a:rPr lang="en-US" sz="2200" dirty="0"/>
              <a:t>— </a:t>
            </a:r>
            <a:r>
              <a:rPr lang="en-US" sz="2200" b="0" dirty="0"/>
              <a:t>Dr Patel</a:t>
            </a:r>
          </a:p>
          <a:p>
            <a:pPr marL="457200" lvl="1" indent="0">
              <a:lnSpc>
                <a:spcPct val="100000"/>
              </a:lnSpc>
              <a:spcBef>
                <a:spcPts val="1200"/>
              </a:spcBef>
              <a:buNone/>
            </a:pPr>
            <a:r>
              <a:rPr lang="en-US" sz="2200" b="1" dirty="0"/>
              <a:t>Chimeric Antigen Receptor (CAR) T-Cell Therapy for DLBCL</a:t>
            </a:r>
            <a:r>
              <a:rPr lang="en-US" sz="2200" dirty="0"/>
              <a:t> — </a:t>
            </a:r>
            <a:r>
              <a:rPr lang="en-US" sz="2200" b="0" dirty="0"/>
              <a:t>Dr Kamdar </a:t>
            </a:r>
          </a:p>
          <a:p>
            <a:pPr>
              <a:lnSpc>
                <a:spcPct val="100000"/>
              </a:lnSpc>
              <a:spcBef>
                <a:spcPts val="1200"/>
              </a:spcBef>
            </a:pPr>
            <a:r>
              <a:rPr lang="en-US" sz="2200" dirty="0">
                <a:solidFill>
                  <a:srgbClr val="002656"/>
                </a:solidFill>
              </a:rPr>
              <a:t>Part 2 – Follicular Lymphoma:</a:t>
            </a:r>
            <a:endParaRPr lang="en-US" sz="2200" dirty="0"/>
          </a:p>
          <a:p>
            <a:pPr marL="457200" lvl="1" indent="0">
              <a:lnSpc>
                <a:spcPct val="100000"/>
              </a:lnSpc>
              <a:spcBef>
                <a:spcPts val="1200"/>
              </a:spcBef>
              <a:buNone/>
            </a:pPr>
            <a:r>
              <a:rPr lang="en-US" sz="2200" b="1" dirty="0"/>
              <a:t>CAR T-Cell Therapy for FL </a:t>
            </a:r>
            <a:r>
              <a:rPr lang="en-US" sz="2200" dirty="0"/>
              <a:t>— </a:t>
            </a:r>
            <a:r>
              <a:rPr lang="en-US" sz="2200" b="0" dirty="0"/>
              <a:t>Prof Salles </a:t>
            </a:r>
          </a:p>
          <a:p>
            <a:pPr marL="457200" lvl="1" indent="0">
              <a:lnSpc>
                <a:spcPct val="100000"/>
              </a:lnSpc>
              <a:spcBef>
                <a:spcPts val="1200"/>
              </a:spcBef>
              <a:buNone/>
            </a:pPr>
            <a:r>
              <a:rPr lang="en-US" sz="2200" b="1" dirty="0"/>
              <a:t>Other Approved and Emerging Novel Therapies for FL — </a:t>
            </a:r>
            <a:r>
              <a:rPr lang="en-US" sz="2200" dirty="0"/>
              <a:t>Dr Patel</a:t>
            </a:r>
          </a:p>
          <a:p>
            <a:pPr marL="457200" lvl="1" indent="0">
              <a:lnSpc>
                <a:spcPct val="100000"/>
              </a:lnSpc>
              <a:spcBef>
                <a:spcPts val="1200"/>
              </a:spcBef>
              <a:buNone/>
            </a:pPr>
            <a:r>
              <a:rPr lang="en-US" sz="2200" b="1" dirty="0">
                <a:solidFill>
                  <a:schemeClr val="bg1"/>
                </a:solidFill>
              </a:rPr>
              <a:t>Integrating Bispecific Antibodies into the Management of FL </a:t>
            </a:r>
            <a:r>
              <a:rPr lang="en-US" sz="2200" dirty="0">
                <a:solidFill>
                  <a:schemeClr val="bg1"/>
                </a:solidFill>
              </a:rPr>
              <a:t>— </a:t>
            </a:r>
            <a:r>
              <a:rPr lang="en-US" sz="2200" b="0" dirty="0">
                <a:solidFill>
                  <a:schemeClr val="bg1"/>
                </a:solidFill>
              </a:rPr>
              <a:t>Dr Kamdar </a:t>
            </a:r>
          </a:p>
        </p:txBody>
      </p:sp>
    </p:spTree>
    <p:extLst>
      <p:ext uri="{BB962C8B-B14F-4D97-AF65-F5344CB8AC3E}">
        <p14:creationId xmlns:p14="http://schemas.microsoft.com/office/powerpoint/2010/main" val="6484021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7F5193-BAF9-44BD-B3F2-26663D8EE4BB}"/>
              </a:ext>
            </a:extLst>
          </p:cNvPr>
          <p:cNvSpPr>
            <a:spLocks noGrp="1"/>
          </p:cNvSpPr>
          <p:nvPr>
            <p:ph type="ctrTitle"/>
          </p:nvPr>
        </p:nvSpPr>
        <p:spPr>
          <a:xfrm>
            <a:off x="1210056" y="4196041"/>
            <a:ext cx="9771888" cy="778744"/>
          </a:xfrm>
        </p:spPr>
        <p:txBody>
          <a:bodyPr>
            <a:noAutofit/>
          </a:bodyPr>
          <a:lstStyle/>
          <a:p>
            <a:r>
              <a:rPr lang="en-US" sz="3600" dirty="0">
                <a:latin typeface="Arial" panose="020B0604020202020204" pitchFamily="34" charset="0"/>
                <a:cs typeface="Arial" panose="020B0604020202020204" pitchFamily="34" charset="0"/>
              </a:rPr>
              <a:t> </a:t>
            </a:r>
            <a:br>
              <a:rPr lang="en-US" sz="3600" dirty="0">
                <a:latin typeface="Arial" panose="020B0604020202020204" pitchFamily="34" charset="0"/>
                <a:cs typeface="Arial" panose="020B0604020202020204" pitchFamily="34" charset="0"/>
              </a:rPr>
            </a:br>
            <a:r>
              <a:rPr lang="en-US" sz="3200" dirty="0">
                <a:latin typeface="Arial" panose="020B0604020202020204" pitchFamily="34" charset="0"/>
                <a:cs typeface="Arial" panose="020B0604020202020204" pitchFamily="34" charset="0"/>
              </a:rPr>
              <a:t>Integrating Bispecific Antibodies into the Management of Follicular Lymphoma</a:t>
            </a:r>
            <a:br>
              <a:rPr lang="en-US" sz="3200" dirty="0"/>
            </a:br>
            <a:br>
              <a:rPr lang="en-US" sz="3200" spc="-30" dirty="0">
                <a:solidFill>
                  <a:srgbClr val="5A5454"/>
                </a:solidFill>
                <a:latin typeface="Arial" panose="020B0604020202020204" pitchFamily="34" charset="0"/>
                <a:cs typeface="Arial" panose="020B0604020202020204" pitchFamily="34" charset="0"/>
              </a:rPr>
            </a:br>
            <a:br>
              <a:rPr lang="en-US" sz="3600" dirty="0">
                <a:latin typeface="Arial" panose="020B0604020202020204" pitchFamily="34" charset="0"/>
                <a:cs typeface="Arial" panose="020B0604020202020204" pitchFamily="34" charset="0"/>
              </a:rPr>
            </a:br>
            <a:endParaRPr lang="en-US" sz="2800" dirty="0">
              <a:latin typeface="Arial" panose="020B0604020202020204" pitchFamily="34" charset="0"/>
              <a:cs typeface="Arial" panose="020B0604020202020204" pitchFamily="34" charset="0"/>
            </a:endParaRPr>
          </a:p>
        </p:txBody>
      </p:sp>
      <p:sp>
        <p:nvSpPr>
          <p:cNvPr id="3" name="Subtitle 2">
            <a:extLst>
              <a:ext uri="{FF2B5EF4-FFF2-40B4-BE49-F238E27FC236}">
                <a16:creationId xmlns:a16="http://schemas.microsoft.com/office/drawing/2014/main" id="{41A1750B-AD0F-457A-A8AA-B9A505856612}"/>
              </a:ext>
            </a:extLst>
          </p:cNvPr>
          <p:cNvSpPr>
            <a:spLocks noGrp="1"/>
          </p:cNvSpPr>
          <p:nvPr>
            <p:ph type="subTitle" idx="1"/>
          </p:nvPr>
        </p:nvSpPr>
        <p:spPr>
          <a:xfrm>
            <a:off x="1524000" y="4053353"/>
            <a:ext cx="8615004" cy="1064121"/>
          </a:xfrm>
        </p:spPr>
        <p:txBody>
          <a:bodyPr>
            <a:noAutofit/>
          </a:bodyPr>
          <a:lstStyle/>
          <a:p>
            <a:pPr>
              <a:lnSpc>
                <a:spcPct val="100000"/>
              </a:lnSpc>
            </a:pPr>
            <a:r>
              <a:rPr lang="en-US" sz="2000" dirty="0">
                <a:solidFill>
                  <a:srgbClr val="000000"/>
                </a:solidFill>
                <a:latin typeface="Arial" panose="020B0604020202020204" pitchFamily="34" charset="0"/>
                <a:cs typeface="Arial" panose="020B0604020202020204" pitchFamily="34" charset="0"/>
              </a:rPr>
              <a:t>Manali Kamdar, MD, MBBS</a:t>
            </a:r>
          </a:p>
          <a:p>
            <a:pPr>
              <a:lnSpc>
                <a:spcPct val="100000"/>
              </a:lnSpc>
            </a:pPr>
            <a:r>
              <a:rPr lang="en-US" sz="2000" dirty="0">
                <a:latin typeface="Arial" panose="020B0604020202020204" pitchFamily="34" charset="0"/>
                <a:cs typeface="Arial" panose="020B0604020202020204" pitchFamily="34" charset="0"/>
              </a:rPr>
              <a:t>Associate Professor of Medicine, Clinical Director of Lymphoma Services, </a:t>
            </a:r>
          </a:p>
          <a:p>
            <a:pPr>
              <a:lnSpc>
                <a:spcPct val="100000"/>
              </a:lnSpc>
            </a:pPr>
            <a:r>
              <a:rPr lang="en-US" sz="2000" dirty="0">
                <a:latin typeface="Arial" panose="020B0604020202020204" pitchFamily="34" charset="0"/>
                <a:cs typeface="Arial" panose="020B0604020202020204" pitchFamily="34" charset="0"/>
              </a:rPr>
              <a:t>Morton and Sandra Saffer Endowed Chair in Hematology Research, Division of Hematology,</a:t>
            </a:r>
          </a:p>
          <a:p>
            <a:pPr>
              <a:lnSpc>
                <a:spcPct val="100000"/>
              </a:lnSpc>
            </a:pPr>
            <a:r>
              <a:rPr lang="en-US" sz="2000" dirty="0">
                <a:latin typeface="Arial" panose="020B0604020202020204" pitchFamily="34" charset="0"/>
                <a:cs typeface="Arial" panose="020B0604020202020204" pitchFamily="34" charset="0"/>
              </a:rPr>
              <a:t>University of Colorado</a:t>
            </a:r>
          </a:p>
        </p:txBody>
      </p:sp>
      <p:pic>
        <p:nvPicPr>
          <p:cNvPr id="5" name="Picture 4">
            <a:extLst>
              <a:ext uri="{FF2B5EF4-FFF2-40B4-BE49-F238E27FC236}">
                <a16:creationId xmlns:a16="http://schemas.microsoft.com/office/drawing/2014/main" id="{CBB83940-1319-48FB-A99A-3EE6CB43D307}"/>
              </a:ext>
            </a:extLst>
          </p:cNvPr>
          <p:cNvPicPr>
            <a:picLocks noChangeAspect="1"/>
          </p:cNvPicPr>
          <p:nvPr/>
        </p:nvPicPr>
        <p:blipFill rotWithShape="1">
          <a:blip r:embed="rId3">
            <a:extLst>
              <a:ext uri="{28A0092B-C50C-407E-A947-70E740481C1C}">
                <a14:useLocalDpi xmlns:a14="http://schemas.microsoft.com/office/drawing/2010/main" val="0"/>
              </a:ext>
            </a:extLst>
          </a:blip>
          <a:srcRect l="28058" r="399" b="1"/>
          <a:stretch/>
        </p:blipFill>
        <p:spPr>
          <a:xfrm>
            <a:off x="0" y="0"/>
            <a:ext cx="4440449" cy="1598206"/>
          </a:xfrm>
          <a:custGeom>
            <a:avLst/>
            <a:gdLst>
              <a:gd name="connsiteX0" fmla="*/ 0 w 5920618"/>
              <a:gd name="connsiteY0" fmla="*/ 0 h 2130951"/>
              <a:gd name="connsiteX1" fmla="*/ 5920618 w 5920618"/>
              <a:gd name="connsiteY1" fmla="*/ 0 h 2130951"/>
              <a:gd name="connsiteX2" fmla="*/ 4933709 w 5920618"/>
              <a:gd name="connsiteY2" fmla="*/ 2130951 h 2130951"/>
              <a:gd name="connsiteX3" fmla="*/ 0 w 5920618"/>
              <a:gd name="connsiteY3" fmla="*/ 2130951 h 2130951"/>
            </a:gdLst>
            <a:ahLst/>
            <a:cxnLst>
              <a:cxn ang="0">
                <a:pos x="connsiteX0" y="connsiteY0"/>
              </a:cxn>
              <a:cxn ang="0">
                <a:pos x="connsiteX1" y="connsiteY1"/>
              </a:cxn>
              <a:cxn ang="0">
                <a:pos x="connsiteX2" y="connsiteY2"/>
              </a:cxn>
              <a:cxn ang="0">
                <a:pos x="connsiteX3" y="connsiteY3"/>
              </a:cxn>
            </a:cxnLst>
            <a:rect l="l" t="t" r="r" b="b"/>
            <a:pathLst>
              <a:path w="5920618" h="2130951">
                <a:moveTo>
                  <a:pt x="0" y="0"/>
                </a:moveTo>
                <a:lnTo>
                  <a:pt x="5920618" y="0"/>
                </a:lnTo>
                <a:lnTo>
                  <a:pt x="4933709" y="2130951"/>
                </a:lnTo>
                <a:lnTo>
                  <a:pt x="0" y="2130951"/>
                </a:lnTo>
                <a:close/>
              </a:path>
            </a:pathLst>
          </a:custGeom>
        </p:spPr>
      </p:pic>
      <p:sp>
        <p:nvSpPr>
          <p:cNvPr id="8" name="Freeform: Shape 7">
            <a:extLst>
              <a:ext uri="{FF2B5EF4-FFF2-40B4-BE49-F238E27FC236}">
                <a16:creationId xmlns:a16="http://schemas.microsoft.com/office/drawing/2014/main" id="{B9031F62-1CB3-324D-205D-333F9A47A74C}"/>
              </a:ext>
            </a:extLst>
          </p:cNvPr>
          <p:cNvSpPr/>
          <p:nvPr/>
        </p:nvSpPr>
        <p:spPr>
          <a:xfrm>
            <a:off x="3948704" y="0"/>
            <a:ext cx="8243296" cy="1598206"/>
          </a:xfrm>
          <a:custGeom>
            <a:avLst/>
            <a:gdLst>
              <a:gd name="connsiteX0" fmla="*/ 765317 w 8243296"/>
              <a:gd name="connsiteY0" fmla="*/ 0 h 1598206"/>
              <a:gd name="connsiteX1" fmla="*/ 8243296 w 8243296"/>
              <a:gd name="connsiteY1" fmla="*/ 0 h 1598206"/>
              <a:gd name="connsiteX2" fmla="*/ 8243296 w 8243296"/>
              <a:gd name="connsiteY2" fmla="*/ 1598206 h 1598206"/>
              <a:gd name="connsiteX3" fmla="*/ 0 w 8243296"/>
              <a:gd name="connsiteY3" fmla="*/ 1598206 h 1598206"/>
            </a:gdLst>
            <a:ahLst/>
            <a:cxnLst>
              <a:cxn ang="0">
                <a:pos x="connsiteX0" y="connsiteY0"/>
              </a:cxn>
              <a:cxn ang="0">
                <a:pos x="connsiteX1" y="connsiteY1"/>
              </a:cxn>
              <a:cxn ang="0">
                <a:pos x="connsiteX2" y="connsiteY2"/>
              </a:cxn>
              <a:cxn ang="0">
                <a:pos x="connsiteX3" y="connsiteY3"/>
              </a:cxn>
            </a:cxnLst>
            <a:rect l="l" t="t" r="r" b="b"/>
            <a:pathLst>
              <a:path w="8243296" h="1598206">
                <a:moveTo>
                  <a:pt x="765317" y="0"/>
                </a:moveTo>
                <a:lnTo>
                  <a:pt x="8243296" y="0"/>
                </a:lnTo>
                <a:lnTo>
                  <a:pt x="8243296" y="1598206"/>
                </a:lnTo>
                <a:lnTo>
                  <a:pt x="0" y="1598206"/>
                </a:lnTo>
                <a:close/>
              </a:path>
            </a:pathLst>
          </a:cu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75BFF158-8702-2A86-1018-C8B3EF17B23C}"/>
              </a:ext>
            </a:extLst>
          </p:cNvPr>
          <p:cNvSpPr txBox="1"/>
          <p:nvPr/>
        </p:nvSpPr>
        <p:spPr>
          <a:xfrm>
            <a:off x="10289300" y="6488668"/>
            <a:ext cx="1978683"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TP, Orlando, 2026</a:t>
            </a:r>
          </a:p>
        </p:txBody>
      </p:sp>
    </p:spTree>
    <p:extLst>
      <p:ext uri="{BB962C8B-B14F-4D97-AF65-F5344CB8AC3E}">
        <p14:creationId xmlns:p14="http://schemas.microsoft.com/office/powerpoint/2010/main" val="1083228329"/>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DD86D7-590B-5B5E-22E2-7F08A49075A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375148F-B0B0-1991-7518-2E8C320EBF33}"/>
              </a:ext>
            </a:extLst>
          </p:cNvPr>
          <p:cNvSpPr>
            <a:spLocks noGrp="1"/>
          </p:cNvSpPr>
          <p:nvPr>
            <p:ph type="title"/>
          </p:nvPr>
        </p:nvSpPr>
        <p:spPr/>
        <p:txBody>
          <a:bodyPr>
            <a:normAutofit/>
          </a:bodyPr>
          <a:lstStyle/>
          <a:p>
            <a:r>
              <a:rPr lang="en-US" sz="2800" dirty="0">
                <a:latin typeface="Arial" panose="020B0604020202020204" pitchFamily="34" charset="0"/>
                <a:cs typeface="Arial" panose="020B0604020202020204" pitchFamily="34" charset="0"/>
              </a:rPr>
              <a:t>               Relapsed/refractory follicular lymphoma unmet needs</a:t>
            </a:r>
          </a:p>
        </p:txBody>
      </p:sp>
      <p:sp>
        <p:nvSpPr>
          <p:cNvPr id="3" name="Content Placeholder 2">
            <a:extLst>
              <a:ext uri="{FF2B5EF4-FFF2-40B4-BE49-F238E27FC236}">
                <a16:creationId xmlns:a16="http://schemas.microsoft.com/office/drawing/2014/main" id="{F74F3B38-5C6D-EC33-33D0-37943DDA73EA}"/>
              </a:ext>
            </a:extLst>
          </p:cNvPr>
          <p:cNvSpPr>
            <a:spLocks noGrp="1"/>
          </p:cNvSpPr>
          <p:nvPr>
            <p:ph idx="1"/>
          </p:nvPr>
        </p:nvSpPr>
        <p:spPr/>
        <p:txBody>
          <a:bodyPr/>
          <a:lstStyle/>
          <a:p>
            <a:endParaRPr lang="en-US" dirty="0"/>
          </a:p>
          <a:p>
            <a:endParaRPr lang="en-US" dirty="0"/>
          </a:p>
          <a:p>
            <a:endParaRPr lang="en-US" dirty="0"/>
          </a:p>
        </p:txBody>
      </p:sp>
      <p:sp>
        <p:nvSpPr>
          <p:cNvPr id="7" name="Footer Placeholder 6">
            <a:extLst>
              <a:ext uri="{FF2B5EF4-FFF2-40B4-BE49-F238E27FC236}">
                <a16:creationId xmlns:a16="http://schemas.microsoft.com/office/drawing/2014/main" id="{8043C03D-018B-3B84-6D3C-220F34E31486}"/>
              </a:ext>
            </a:extLst>
          </p:cNvPr>
          <p:cNvSpPr>
            <a:spLocks noGrp="1"/>
          </p:cNvSpPr>
          <p:nvPr>
            <p:ph type="ftr" sz="quarter" idx="11"/>
          </p:nvPr>
        </p:nvSpPr>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L, follicular lymphoma; OS, overall survival; POD24, progression of disease within 24 months; R/R, relapsed/refractory.</a:t>
            </a:r>
            <a:b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 Sarkozy C, et al. J Clin Oncol. 2019;37:144–152; 2. </a:t>
            </a:r>
            <a:r>
              <a:rPr kumimoji="0" lang="en-US" sz="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Batlevi</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CL, et al. Blood Cancer J. 2020;10:74; 3. </a:t>
            </a:r>
            <a:r>
              <a:rPr kumimoji="0" lang="en-US" sz="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asulo</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C, et al. J Clin Oncol. 2015;33:2516–2522.</a:t>
            </a:r>
          </a:p>
        </p:txBody>
      </p:sp>
      <p:sp>
        <p:nvSpPr>
          <p:cNvPr id="22" name="Rectangle 21">
            <a:extLst>
              <a:ext uri="{FF2B5EF4-FFF2-40B4-BE49-F238E27FC236}">
                <a16:creationId xmlns:a16="http://schemas.microsoft.com/office/drawing/2014/main" id="{80687BCD-2B90-5753-0199-0BBFF8AAD732}"/>
              </a:ext>
            </a:extLst>
          </p:cNvPr>
          <p:cNvSpPr/>
          <p:nvPr/>
        </p:nvSpPr>
        <p:spPr>
          <a:xfrm>
            <a:off x="293717" y="4759983"/>
            <a:ext cx="11571944" cy="1290430"/>
          </a:xfrm>
          <a:prstGeom prst="rect">
            <a:avLst/>
          </a:prstGeom>
          <a:solidFill>
            <a:srgbClr val="E5EBF7"/>
          </a:solidFill>
          <a:ln w="1905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Treatment goals for R/R FL</a:t>
            </a:r>
          </a:p>
        </p:txBody>
      </p:sp>
      <p:sp>
        <p:nvSpPr>
          <p:cNvPr id="26" name="Rectangle 25">
            <a:extLst>
              <a:ext uri="{FF2B5EF4-FFF2-40B4-BE49-F238E27FC236}">
                <a16:creationId xmlns:a16="http://schemas.microsoft.com/office/drawing/2014/main" id="{CADFC656-0C55-5D2E-62A8-0704C0DD3F4E}"/>
              </a:ext>
            </a:extLst>
          </p:cNvPr>
          <p:cNvSpPr/>
          <p:nvPr/>
        </p:nvSpPr>
        <p:spPr>
          <a:xfrm>
            <a:off x="502894" y="5326448"/>
            <a:ext cx="1896036" cy="39428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fficacious and </a:t>
            </a:r>
            <a:b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urable</a:t>
            </a:r>
          </a:p>
        </p:txBody>
      </p:sp>
      <p:sp>
        <p:nvSpPr>
          <p:cNvPr id="6" name="Rectangle 5">
            <a:extLst>
              <a:ext uri="{FF2B5EF4-FFF2-40B4-BE49-F238E27FC236}">
                <a16:creationId xmlns:a16="http://schemas.microsoft.com/office/drawing/2014/main" id="{4355E07D-3C36-1F7A-EB61-E6109C3C07C8}"/>
              </a:ext>
            </a:extLst>
          </p:cNvPr>
          <p:cNvSpPr/>
          <p:nvPr/>
        </p:nvSpPr>
        <p:spPr>
          <a:xfrm>
            <a:off x="8085661" y="1384878"/>
            <a:ext cx="3780000" cy="3318206"/>
          </a:xfrm>
          <a:prstGeom prst="rect">
            <a:avLst/>
          </a:prstGeom>
          <a:noFill/>
          <a:ln w="19050">
            <a:solidFill>
              <a:schemeClr val="tx2"/>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288D61F6-3878-1042-52C4-C3845C8D896C}"/>
              </a:ext>
            </a:extLst>
          </p:cNvPr>
          <p:cNvSpPr/>
          <p:nvPr/>
        </p:nvSpPr>
        <p:spPr>
          <a:xfrm>
            <a:off x="293717" y="1384878"/>
            <a:ext cx="3780000" cy="3318206"/>
          </a:xfrm>
          <a:prstGeom prst="rect">
            <a:avLst/>
          </a:prstGeom>
          <a:noFill/>
          <a:ln w="19050">
            <a:solidFill>
              <a:schemeClr val="tx2"/>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1EE8FF4E-864E-9BB8-BF82-B1C87D14BC7F}"/>
              </a:ext>
            </a:extLst>
          </p:cNvPr>
          <p:cNvSpPr/>
          <p:nvPr/>
        </p:nvSpPr>
        <p:spPr>
          <a:xfrm>
            <a:off x="4189689" y="1384878"/>
            <a:ext cx="3780000" cy="3318206"/>
          </a:xfrm>
          <a:prstGeom prst="rect">
            <a:avLst/>
          </a:prstGeom>
          <a:noFill/>
          <a:ln w="19050">
            <a:solidFill>
              <a:schemeClr val="tx2"/>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1" name="Rectangle 60">
            <a:extLst>
              <a:ext uri="{FF2B5EF4-FFF2-40B4-BE49-F238E27FC236}">
                <a16:creationId xmlns:a16="http://schemas.microsoft.com/office/drawing/2014/main" id="{BC6CB4EE-28F5-9A62-0375-04F046B11C47}"/>
              </a:ext>
            </a:extLst>
          </p:cNvPr>
          <p:cNvSpPr/>
          <p:nvPr/>
        </p:nvSpPr>
        <p:spPr>
          <a:xfrm>
            <a:off x="293717" y="1384877"/>
            <a:ext cx="3780000" cy="713141"/>
          </a:xfrm>
          <a:prstGeom prst="rect">
            <a:avLst/>
          </a:prstGeom>
          <a:solidFill>
            <a:srgbClr val="E5EBF7"/>
          </a:solidFill>
          <a:ln w="1905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Lymphoma-related death:</a:t>
            </a:r>
            <a:br>
              <a:rPr kumimoji="0" lang="en-US" sz="1800" b="1"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br>
            <a:r>
              <a:rPr kumimoji="0" lang="en-US" sz="1800" b="1"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10.3% at 10 years</a:t>
            </a:r>
            <a:r>
              <a:rPr kumimoji="0" lang="en-US" sz="1800" b="1" i="0" u="none" strike="noStrike" kern="1200" cap="none" spc="0" normalizeH="0" baseline="30000" noProof="0" dirty="0">
                <a:ln>
                  <a:noFill/>
                </a:ln>
                <a:solidFill>
                  <a:srgbClr val="44546A"/>
                </a:solidFill>
                <a:effectLst/>
                <a:uLnTx/>
                <a:uFillTx/>
                <a:latin typeface="Arial" panose="020B0604020202020204" pitchFamily="34" charset="0"/>
                <a:ea typeface="+mn-ea"/>
                <a:cs typeface="Arial" panose="020B0604020202020204" pitchFamily="34" charset="0"/>
              </a:rPr>
              <a:t>1</a:t>
            </a:r>
            <a:endParaRPr kumimoji="0" lang="en-US" sz="18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endParaRPr>
          </a:p>
        </p:txBody>
      </p:sp>
      <p:sp>
        <p:nvSpPr>
          <p:cNvPr id="62" name="Rectangle 61">
            <a:extLst>
              <a:ext uri="{FF2B5EF4-FFF2-40B4-BE49-F238E27FC236}">
                <a16:creationId xmlns:a16="http://schemas.microsoft.com/office/drawing/2014/main" id="{DEA96AA0-2E20-8B4F-CD09-0D1363C6F4C5}"/>
              </a:ext>
            </a:extLst>
          </p:cNvPr>
          <p:cNvSpPr/>
          <p:nvPr/>
        </p:nvSpPr>
        <p:spPr>
          <a:xfrm>
            <a:off x="4189689" y="1384877"/>
            <a:ext cx="3780000" cy="713141"/>
          </a:xfrm>
          <a:prstGeom prst="rect">
            <a:avLst/>
          </a:prstGeom>
          <a:solidFill>
            <a:srgbClr val="E5EBF7"/>
          </a:solidFill>
          <a:ln w="1905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OS by line of therapy</a:t>
            </a:r>
            <a:r>
              <a:rPr kumimoji="0" lang="en-US" sz="1800" b="1" i="0" u="none" strike="noStrike" kern="1200" cap="none" spc="0" normalizeH="0" baseline="30000" noProof="0" dirty="0">
                <a:ln>
                  <a:noFill/>
                </a:ln>
                <a:solidFill>
                  <a:srgbClr val="44546A"/>
                </a:solidFill>
                <a:effectLst/>
                <a:uLnTx/>
                <a:uFillTx/>
                <a:latin typeface="Arial" panose="020B0604020202020204" pitchFamily="34" charset="0"/>
                <a:ea typeface="+mn-ea"/>
                <a:cs typeface="Arial" panose="020B0604020202020204" pitchFamily="34" charset="0"/>
              </a:rPr>
              <a:t>2</a:t>
            </a:r>
            <a:endParaRPr kumimoji="0" lang="en-US" sz="12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endParaRPr>
          </a:p>
        </p:txBody>
      </p:sp>
      <p:sp>
        <p:nvSpPr>
          <p:cNvPr id="66" name="Rectangle 65">
            <a:extLst>
              <a:ext uri="{FF2B5EF4-FFF2-40B4-BE49-F238E27FC236}">
                <a16:creationId xmlns:a16="http://schemas.microsoft.com/office/drawing/2014/main" id="{05356434-9ED9-2A93-484F-5CE2BC2BC41A}"/>
              </a:ext>
            </a:extLst>
          </p:cNvPr>
          <p:cNvSpPr/>
          <p:nvPr/>
        </p:nvSpPr>
        <p:spPr>
          <a:xfrm>
            <a:off x="8085661" y="1384877"/>
            <a:ext cx="3780000" cy="713141"/>
          </a:xfrm>
          <a:prstGeom prst="rect">
            <a:avLst/>
          </a:prstGeom>
          <a:solidFill>
            <a:srgbClr val="E5EBF7"/>
          </a:solidFill>
          <a:ln w="1905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OS based on POD24</a:t>
            </a:r>
            <a:r>
              <a:rPr kumimoji="0" lang="en-US" sz="1800" b="1" i="0" u="none" strike="noStrike" kern="1200" cap="none" spc="0" normalizeH="0" baseline="30000" noProof="0" dirty="0">
                <a:ln>
                  <a:noFill/>
                </a:ln>
                <a:solidFill>
                  <a:srgbClr val="44546A"/>
                </a:solidFill>
                <a:effectLst/>
                <a:uLnTx/>
                <a:uFillTx/>
                <a:latin typeface="Arial" panose="020B0604020202020204" pitchFamily="34" charset="0"/>
                <a:ea typeface="+mn-ea"/>
                <a:cs typeface="Arial" panose="020B0604020202020204" pitchFamily="34" charset="0"/>
              </a:rPr>
              <a:t>3</a:t>
            </a:r>
            <a:endParaRPr kumimoji="0" lang="en-US" sz="12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endParaRPr>
          </a:p>
        </p:txBody>
      </p:sp>
      <p:cxnSp>
        <p:nvCxnSpPr>
          <p:cNvPr id="68" name="Straight Connector 67">
            <a:extLst>
              <a:ext uri="{FF2B5EF4-FFF2-40B4-BE49-F238E27FC236}">
                <a16:creationId xmlns:a16="http://schemas.microsoft.com/office/drawing/2014/main" id="{402D9347-EB11-0EC5-3309-BC9812543117}"/>
              </a:ext>
            </a:extLst>
          </p:cNvPr>
          <p:cNvCxnSpPr>
            <a:cxnSpLocks/>
          </p:cNvCxnSpPr>
          <p:nvPr/>
        </p:nvCxnSpPr>
        <p:spPr>
          <a:xfrm>
            <a:off x="2608106" y="5265826"/>
            <a:ext cx="0" cy="54000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B50A94E0-EE15-F3C6-6981-300197082509}"/>
              </a:ext>
            </a:extLst>
          </p:cNvPr>
          <p:cNvCxnSpPr>
            <a:cxnSpLocks/>
          </p:cNvCxnSpPr>
          <p:nvPr/>
        </p:nvCxnSpPr>
        <p:spPr>
          <a:xfrm>
            <a:off x="4922495" y="5265826"/>
            <a:ext cx="0" cy="54000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4B6CF0E8-D059-BD81-7782-24023F2F362F}"/>
              </a:ext>
            </a:extLst>
          </p:cNvPr>
          <p:cNvCxnSpPr>
            <a:cxnSpLocks/>
          </p:cNvCxnSpPr>
          <p:nvPr/>
        </p:nvCxnSpPr>
        <p:spPr>
          <a:xfrm>
            <a:off x="7236884" y="5265826"/>
            <a:ext cx="0" cy="54000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1AE6F18-2C6F-3EC6-9B3A-D5F1E692ACEC}"/>
              </a:ext>
            </a:extLst>
          </p:cNvPr>
          <p:cNvCxnSpPr>
            <a:cxnSpLocks/>
          </p:cNvCxnSpPr>
          <p:nvPr/>
        </p:nvCxnSpPr>
        <p:spPr>
          <a:xfrm>
            <a:off x="9551273" y="5265826"/>
            <a:ext cx="0" cy="54000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E46DE0C9-E8A9-24A1-654C-BB6A414FA4AF}"/>
              </a:ext>
            </a:extLst>
          </p:cNvPr>
          <p:cNvSpPr/>
          <p:nvPr/>
        </p:nvSpPr>
        <p:spPr>
          <a:xfrm>
            <a:off x="2817283" y="5326448"/>
            <a:ext cx="1896036" cy="39428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ime-limited</a:t>
            </a:r>
          </a:p>
        </p:txBody>
      </p:sp>
      <p:sp>
        <p:nvSpPr>
          <p:cNvPr id="92" name="Rectangle 91">
            <a:extLst>
              <a:ext uri="{FF2B5EF4-FFF2-40B4-BE49-F238E27FC236}">
                <a16:creationId xmlns:a16="http://schemas.microsoft.com/office/drawing/2014/main" id="{1E300C9C-02E8-0304-6339-81C383E4A03A}"/>
              </a:ext>
            </a:extLst>
          </p:cNvPr>
          <p:cNvSpPr/>
          <p:nvPr/>
        </p:nvSpPr>
        <p:spPr>
          <a:xfrm>
            <a:off x="5131672" y="5326448"/>
            <a:ext cx="1896036" cy="39428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otential cure</a:t>
            </a:r>
          </a:p>
        </p:txBody>
      </p:sp>
      <p:sp>
        <p:nvSpPr>
          <p:cNvPr id="93" name="Rectangle 92">
            <a:extLst>
              <a:ext uri="{FF2B5EF4-FFF2-40B4-BE49-F238E27FC236}">
                <a16:creationId xmlns:a16="http://schemas.microsoft.com/office/drawing/2014/main" id="{A87E95F5-EFCA-2FDF-FA5E-2C08BBA62FF7}"/>
              </a:ext>
            </a:extLst>
          </p:cNvPr>
          <p:cNvSpPr/>
          <p:nvPr/>
        </p:nvSpPr>
        <p:spPr>
          <a:xfrm>
            <a:off x="7446061" y="5326448"/>
            <a:ext cx="1896036" cy="39428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mproves QoL</a:t>
            </a:r>
          </a:p>
        </p:txBody>
      </p:sp>
      <p:sp>
        <p:nvSpPr>
          <p:cNvPr id="99" name="Rectangle 98">
            <a:extLst>
              <a:ext uri="{FF2B5EF4-FFF2-40B4-BE49-F238E27FC236}">
                <a16:creationId xmlns:a16="http://schemas.microsoft.com/office/drawing/2014/main" id="{69DA9CDB-8C8C-B1DE-7311-F6DB49327572}"/>
              </a:ext>
            </a:extLst>
          </p:cNvPr>
          <p:cNvSpPr/>
          <p:nvPr/>
        </p:nvSpPr>
        <p:spPr>
          <a:xfrm>
            <a:off x="9760449" y="5326448"/>
            <a:ext cx="1896036" cy="39428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anageable short- and long-term toxicity</a:t>
            </a:r>
          </a:p>
        </p:txBody>
      </p:sp>
      <p:sp>
        <p:nvSpPr>
          <p:cNvPr id="36" name="TextBox 35">
            <a:extLst>
              <a:ext uri="{FF2B5EF4-FFF2-40B4-BE49-F238E27FC236}">
                <a16:creationId xmlns:a16="http://schemas.microsoft.com/office/drawing/2014/main" id="{CA6C17AB-B0F9-CD10-B4B6-05207D4A8C40}"/>
              </a:ext>
            </a:extLst>
          </p:cNvPr>
          <p:cNvSpPr txBox="1"/>
          <p:nvPr/>
        </p:nvSpPr>
        <p:spPr>
          <a:xfrm>
            <a:off x="1285453" y="4465506"/>
            <a:ext cx="2041072" cy="184666"/>
          </a:xfrm>
          <a:prstGeom prst="rect">
            <a:avLst/>
          </a:prstGeom>
          <a:solidFill>
            <a:schemeClr val="bg1"/>
          </a:solidFill>
        </p:spPr>
        <p:txBody>
          <a:bodyPr wrap="none" lIns="0" tIns="0" rIns="0" bIns="0"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ime since diagnosis, years</a:t>
            </a:r>
          </a:p>
        </p:txBody>
      </p:sp>
      <p:sp>
        <p:nvSpPr>
          <p:cNvPr id="120" name="Freeform: Shape 119">
            <a:extLst>
              <a:ext uri="{FF2B5EF4-FFF2-40B4-BE49-F238E27FC236}">
                <a16:creationId xmlns:a16="http://schemas.microsoft.com/office/drawing/2014/main" id="{A68CEDCF-D441-B2D3-419F-DD70D0B2B003}"/>
              </a:ext>
            </a:extLst>
          </p:cNvPr>
          <p:cNvSpPr/>
          <p:nvPr/>
        </p:nvSpPr>
        <p:spPr>
          <a:xfrm>
            <a:off x="1392317" y="4096671"/>
            <a:ext cx="2565503" cy="92699"/>
          </a:xfrm>
          <a:custGeom>
            <a:avLst/>
            <a:gdLst>
              <a:gd name="connsiteX0" fmla="*/ 0 w 1921382"/>
              <a:gd name="connsiteY0" fmla="*/ 68104 h 68103"/>
              <a:gd name="connsiteX1" fmla="*/ 31147 w 1921382"/>
              <a:gd name="connsiteY1" fmla="*/ 68104 h 68103"/>
              <a:gd name="connsiteX2" fmla="*/ 37719 w 1921382"/>
              <a:gd name="connsiteY2" fmla="*/ 68104 h 68103"/>
              <a:gd name="connsiteX3" fmla="*/ 37719 w 1921382"/>
              <a:gd name="connsiteY3" fmla="*/ 59912 h 68103"/>
              <a:gd name="connsiteX4" fmla="*/ 52578 w 1921382"/>
              <a:gd name="connsiteY4" fmla="*/ 59912 h 68103"/>
              <a:gd name="connsiteX5" fmla="*/ 52578 w 1921382"/>
              <a:gd name="connsiteY5" fmla="*/ 56674 h 68103"/>
              <a:gd name="connsiteX6" fmla="*/ 97726 w 1921382"/>
              <a:gd name="connsiteY6" fmla="*/ 56674 h 68103"/>
              <a:gd name="connsiteX7" fmla="*/ 97726 w 1921382"/>
              <a:gd name="connsiteY7" fmla="*/ 50197 h 68103"/>
              <a:gd name="connsiteX8" fmla="*/ 222218 w 1921382"/>
              <a:gd name="connsiteY8" fmla="*/ 50197 h 68103"/>
              <a:gd name="connsiteX9" fmla="*/ 303276 w 1921382"/>
              <a:gd name="connsiteY9" fmla="*/ 50197 h 68103"/>
              <a:gd name="connsiteX10" fmla="*/ 440245 w 1921382"/>
              <a:gd name="connsiteY10" fmla="*/ 50197 h 68103"/>
              <a:gd name="connsiteX11" fmla="*/ 440245 w 1921382"/>
              <a:gd name="connsiteY11" fmla="*/ 37529 h 68103"/>
              <a:gd name="connsiteX12" fmla="*/ 474154 w 1921382"/>
              <a:gd name="connsiteY12" fmla="*/ 37529 h 68103"/>
              <a:gd name="connsiteX13" fmla="*/ 517779 w 1921382"/>
              <a:gd name="connsiteY13" fmla="*/ 37529 h 68103"/>
              <a:gd name="connsiteX14" fmla="*/ 517779 w 1921382"/>
              <a:gd name="connsiteY14" fmla="*/ 52769 h 68103"/>
              <a:gd name="connsiteX15" fmla="*/ 563308 w 1921382"/>
              <a:gd name="connsiteY15" fmla="*/ 52769 h 68103"/>
              <a:gd name="connsiteX16" fmla="*/ 563308 w 1921382"/>
              <a:gd name="connsiteY16" fmla="*/ 38195 h 68103"/>
              <a:gd name="connsiteX17" fmla="*/ 764572 w 1921382"/>
              <a:gd name="connsiteY17" fmla="*/ 38195 h 68103"/>
              <a:gd name="connsiteX18" fmla="*/ 764572 w 1921382"/>
              <a:gd name="connsiteY18" fmla="*/ 48101 h 68103"/>
              <a:gd name="connsiteX19" fmla="*/ 813054 w 1921382"/>
              <a:gd name="connsiteY19" fmla="*/ 48101 h 68103"/>
              <a:gd name="connsiteX20" fmla="*/ 819721 w 1921382"/>
              <a:gd name="connsiteY20" fmla="*/ 48101 h 68103"/>
              <a:gd name="connsiteX21" fmla="*/ 819721 w 1921382"/>
              <a:gd name="connsiteY21" fmla="*/ 44577 h 68103"/>
              <a:gd name="connsiteX22" fmla="*/ 860393 w 1921382"/>
              <a:gd name="connsiteY22" fmla="*/ 44577 h 68103"/>
              <a:gd name="connsiteX23" fmla="*/ 860393 w 1921382"/>
              <a:gd name="connsiteY23" fmla="*/ 42196 h 68103"/>
              <a:gd name="connsiteX24" fmla="*/ 911447 w 1921382"/>
              <a:gd name="connsiteY24" fmla="*/ 42196 h 68103"/>
              <a:gd name="connsiteX25" fmla="*/ 1003554 w 1921382"/>
              <a:gd name="connsiteY25" fmla="*/ 42196 h 68103"/>
              <a:gd name="connsiteX26" fmla="*/ 1003554 w 1921382"/>
              <a:gd name="connsiteY26" fmla="*/ 38386 h 68103"/>
              <a:gd name="connsiteX27" fmla="*/ 1040035 w 1921382"/>
              <a:gd name="connsiteY27" fmla="*/ 38386 h 68103"/>
              <a:gd name="connsiteX28" fmla="*/ 1057847 w 1921382"/>
              <a:gd name="connsiteY28" fmla="*/ 38386 h 68103"/>
              <a:gd name="connsiteX29" fmla="*/ 1057847 w 1921382"/>
              <a:gd name="connsiteY29" fmla="*/ 36385 h 68103"/>
              <a:gd name="connsiteX30" fmla="*/ 1093470 w 1921382"/>
              <a:gd name="connsiteY30" fmla="*/ 36385 h 68103"/>
              <a:gd name="connsiteX31" fmla="*/ 1095661 w 1921382"/>
              <a:gd name="connsiteY31" fmla="*/ 36385 h 68103"/>
              <a:gd name="connsiteX32" fmla="*/ 1095661 w 1921382"/>
              <a:gd name="connsiteY32" fmla="*/ 14002 h 68103"/>
              <a:gd name="connsiteX33" fmla="*/ 1130808 w 1921382"/>
              <a:gd name="connsiteY33" fmla="*/ 14002 h 68103"/>
              <a:gd name="connsiteX34" fmla="*/ 1203293 w 1921382"/>
              <a:gd name="connsiteY34" fmla="*/ 14002 h 68103"/>
              <a:gd name="connsiteX35" fmla="*/ 1203293 w 1921382"/>
              <a:gd name="connsiteY35" fmla="*/ 6382 h 68103"/>
              <a:gd name="connsiteX36" fmla="*/ 1268921 w 1921382"/>
              <a:gd name="connsiteY36" fmla="*/ 6382 h 68103"/>
              <a:gd name="connsiteX37" fmla="*/ 1370838 w 1921382"/>
              <a:gd name="connsiteY37" fmla="*/ 6382 h 68103"/>
              <a:gd name="connsiteX38" fmla="*/ 1372838 w 1921382"/>
              <a:gd name="connsiteY38" fmla="*/ 6382 h 68103"/>
              <a:gd name="connsiteX39" fmla="*/ 1372838 w 1921382"/>
              <a:gd name="connsiteY39" fmla="*/ 0 h 68103"/>
              <a:gd name="connsiteX40" fmla="*/ 1410748 w 1921382"/>
              <a:gd name="connsiteY40" fmla="*/ 0 h 68103"/>
              <a:gd name="connsiteX41" fmla="*/ 1509046 w 1921382"/>
              <a:gd name="connsiteY41" fmla="*/ 0 h 68103"/>
              <a:gd name="connsiteX42" fmla="*/ 1509046 w 1921382"/>
              <a:gd name="connsiteY42" fmla="*/ 6953 h 68103"/>
              <a:gd name="connsiteX43" fmla="*/ 1541621 w 1921382"/>
              <a:gd name="connsiteY43" fmla="*/ 6953 h 68103"/>
              <a:gd name="connsiteX44" fmla="*/ 1625727 w 1921382"/>
              <a:gd name="connsiteY44" fmla="*/ 6953 h 68103"/>
              <a:gd name="connsiteX45" fmla="*/ 1694498 w 1921382"/>
              <a:gd name="connsiteY45" fmla="*/ 6953 h 68103"/>
              <a:gd name="connsiteX46" fmla="*/ 1694498 w 1921382"/>
              <a:gd name="connsiteY46" fmla="*/ 3810 h 68103"/>
              <a:gd name="connsiteX47" fmla="*/ 1921383 w 1921382"/>
              <a:gd name="connsiteY47" fmla="*/ 3810 h 68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921382" h="68103">
                <a:moveTo>
                  <a:pt x="0" y="68104"/>
                </a:moveTo>
                <a:lnTo>
                  <a:pt x="31147" y="68104"/>
                </a:lnTo>
                <a:lnTo>
                  <a:pt x="37719" y="68104"/>
                </a:lnTo>
                <a:lnTo>
                  <a:pt x="37719" y="59912"/>
                </a:lnTo>
                <a:lnTo>
                  <a:pt x="52578" y="59912"/>
                </a:lnTo>
                <a:lnTo>
                  <a:pt x="52578" y="56674"/>
                </a:lnTo>
                <a:lnTo>
                  <a:pt x="97726" y="56674"/>
                </a:lnTo>
                <a:lnTo>
                  <a:pt x="97726" y="50197"/>
                </a:lnTo>
                <a:lnTo>
                  <a:pt x="222218" y="50197"/>
                </a:lnTo>
                <a:lnTo>
                  <a:pt x="303276" y="50197"/>
                </a:lnTo>
                <a:lnTo>
                  <a:pt x="440245" y="50197"/>
                </a:lnTo>
                <a:lnTo>
                  <a:pt x="440245" y="37529"/>
                </a:lnTo>
                <a:lnTo>
                  <a:pt x="474154" y="37529"/>
                </a:lnTo>
                <a:lnTo>
                  <a:pt x="517779" y="37529"/>
                </a:lnTo>
                <a:lnTo>
                  <a:pt x="517779" y="52769"/>
                </a:lnTo>
                <a:lnTo>
                  <a:pt x="563308" y="52769"/>
                </a:lnTo>
                <a:lnTo>
                  <a:pt x="563308" y="38195"/>
                </a:lnTo>
                <a:lnTo>
                  <a:pt x="764572" y="38195"/>
                </a:lnTo>
                <a:lnTo>
                  <a:pt x="764572" y="48101"/>
                </a:lnTo>
                <a:lnTo>
                  <a:pt x="813054" y="48101"/>
                </a:lnTo>
                <a:lnTo>
                  <a:pt x="819721" y="48101"/>
                </a:lnTo>
                <a:lnTo>
                  <a:pt x="819721" y="44577"/>
                </a:lnTo>
                <a:lnTo>
                  <a:pt x="860393" y="44577"/>
                </a:lnTo>
                <a:lnTo>
                  <a:pt x="860393" y="42196"/>
                </a:lnTo>
                <a:lnTo>
                  <a:pt x="911447" y="42196"/>
                </a:lnTo>
                <a:lnTo>
                  <a:pt x="1003554" y="42196"/>
                </a:lnTo>
                <a:lnTo>
                  <a:pt x="1003554" y="38386"/>
                </a:lnTo>
                <a:lnTo>
                  <a:pt x="1040035" y="38386"/>
                </a:lnTo>
                <a:lnTo>
                  <a:pt x="1057847" y="38386"/>
                </a:lnTo>
                <a:lnTo>
                  <a:pt x="1057847" y="36385"/>
                </a:lnTo>
                <a:lnTo>
                  <a:pt x="1093470" y="36385"/>
                </a:lnTo>
                <a:lnTo>
                  <a:pt x="1095661" y="36385"/>
                </a:lnTo>
                <a:lnTo>
                  <a:pt x="1095661" y="14002"/>
                </a:lnTo>
                <a:lnTo>
                  <a:pt x="1130808" y="14002"/>
                </a:lnTo>
                <a:lnTo>
                  <a:pt x="1203293" y="14002"/>
                </a:lnTo>
                <a:lnTo>
                  <a:pt x="1203293" y="6382"/>
                </a:lnTo>
                <a:lnTo>
                  <a:pt x="1268921" y="6382"/>
                </a:lnTo>
                <a:lnTo>
                  <a:pt x="1370838" y="6382"/>
                </a:lnTo>
                <a:lnTo>
                  <a:pt x="1372838" y="6382"/>
                </a:lnTo>
                <a:lnTo>
                  <a:pt x="1372838" y="0"/>
                </a:lnTo>
                <a:lnTo>
                  <a:pt x="1410748" y="0"/>
                </a:lnTo>
                <a:lnTo>
                  <a:pt x="1509046" y="0"/>
                </a:lnTo>
                <a:lnTo>
                  <a:pt x="1509046" y="6953"/>
                </a:lnTo>
                <a:lnTo>
                  <a:pt x="1541621" y="6953"/>
                </a:lnTo>
                <a:lnTo>
                  <a:pt x="1625727" y="6953"/>
                </a:lnTo>
                <a:lnTo>
                  <a:pt x="1694498" y="6953"/>
                </a:lnTo>
                <a:lnTo>
                  <a:pt x="1694498" y="3810"/>
                </a:lnTo>
                <a:lnTo>
                  <a:pt x="1921383" y="3810"/>
                </a:lnTo>
              </a:path>
            </a:pathLst>
          </a:custGeom>
          <a:ln w="25400">
            <a:solidFill>
              <a:srgbClr val="00999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TextBox 30">
            <a:extLst>
              <a:ext uri="{FF2B5EF4-FFF2-40B4-BE49-F238E27FC236}">
                <a16:creationId xmlns:a16="http://schemas.microsoft.com/office/drawing/2014/main" id="{CD7F96D3-F25E-D10C-8AFE-7234FBBA8097}"/>
              </a:ext>
            </a:extLst>
          </p:cNvPr>
          <p:cNvSpPr txBox="1"/>
          <p:nvPr/>
        </p:nvSpPr>
        <p:spPr>
          <a:xfrm rot="16200000">
            <a:off x="-168681" y="3240704"/>
            <a:ext cx="1179811" cy="184666"/>
          </a:xfrm>
          <a:prstGeom prst="rect">
            <a:avLst/>
          </a:prstGeom>
          <a:solidFill>
            <a:schemeClr val="bg1"/>
          </a:solidFill>
        </p:spPr>
        <p:txBody>
          <a:bodyPr wrap="none" lIns="0" tIns="0" rIns="0" bIns="0"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isk of event, %</a:t>
            </a:r>
          </a:p>
        </p:txBody>
      </p:sp>
      <p:cxnSp>
        <p:nvCxnSpPr>
          <p:cNvPr id="21" name="Straight Connector 20">
            <a:extLst>
              <a:ext uri="{FF2B5EF4-FFF2-40B4-BE49-F238E27FC236}">
                <a16:creationId xmlns:a16="http://schemas.microsoft.com/office/drawing/2014/main" id="{642394E9-A91A-4C2D-6351-8218FA37347F}"/>
              </a:ext>
            </a:extLst>
          </p:cNvPr>
          <p:cNvCxnSpPr>
            <a:cxnSpLocks/>
          </p:cNvCxnSpPr>
          <p:nvPr/>
        </p:nvCxnSpPr>
        <p:spPr>
          <a:xfrm>
            <a:off x="847916" y="2439283"/>
            <a:ext cx="0" cy="1759573"/>
          </a:xfrm>
          <a:prstGeom prst="line">
            <a:avLst/>
          </a:prstGeom>
          <a:ln w="19050" cap="sq">
            <a:solidFill>
              <a:schemeClr val="tx1"/>
            </a:solidFill>
            <a:prstDash val="solid"/>
            <a:miter/>
          </a:ln>
        </p:spPr>
      </p:cxnSp>
      <p:cxnSp>
        <p:nvCxnSpPr>
          <p:cNvPr id="24" name="Straight Connector 23">
            <a:extLst>
              <a:ext uri="{FF2B5EF4-FFF2-40B4-BE49-F238E27FC236}">
                <a16:creationId xmlns:a16="http://schemas.microsoft.com/office/drawing/2014/main" id="{13D5717D-0074-0576-1633-268530C1F55F}"/>
              </a:ext>
            </a:extLst>
          </p:cNvPr>
          <p:cNvCxnSpPr>
            <a:cxnSpLocks/>
          </p:cNvCxnSpPr>
          <p:nvPr/>
        </p:nvCxnSpPr>
        <p:spPr>
          <a:xfrm>
            <a:off x="847916" y="4198856"/>
            <a:ext cx="3100990" cy="0"/>
          </a:xfrm>
          <a:prstGeom prst="line">
            <a:avLst/>
          </a:prstGeom>
          <a:ln w="19050" cap="sq">
            <a:solidFill>
              <a:schemeClr val="tx1"/>
            </a:solidFill>
            <a:prstDash val="solid"/>
            <a:miter/>
          </a:ln>
        </p:spPr>
      </p:cxnSp>
      <p:sp>
        <p:nvSpPr>
          <p:cNvPr id="79" name="TextBox 78">
            <a:extLst>
              <a:ext uri="{FF2B5EF4-FFF2-40B4-BE49-F238E27FC236}">
                <a16:creationId xmlns:a16="http://schemas.microsoft.com/office/drawing/2014/main" id="{24307EFA-3286-9F73-551E-1108D6CEFE8A}"/>
              </a:ext>
            </a:extLst>
          </p:cNvPr>
          <p:cNvSpPr txBox="1"/>
          <p:nvPr/>
        </p:nvSpPr>
        <p:spPr>
          <a:xfrm>
            <a:off x="808642" y="4286737"/>
            <a:ext cx="78548" cy="169277"/>
          </a:xfrm>
          <a:prstGeom prst="rect">
            <a:avLst/>
          </a:prstGeom>
          <a:noFill/>
        </p:spPr>
        <p:txBody>
          <a:bodyPr wrap="none" lIns="0" tIns="0" rIns="0" bIns="0"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0</a:t>
            </a:r>
          </a:p>
        </p:txBody>
      </p:sp>
      <p:cxnSp>
        <p:nvCxnSpPr>
          <p:cNvPr id="80" name="Straight Connector 79">
            <a:extLst>
              <a:ext uri="{FF2B5EF4-FFF2-40B4-BE49-F238E27FC236}">
                <a16:creationId xmlns:a16="http://schemas.microsoft.com/office/drawing/2014/main" id="{EC5D8EFE-730C-8251-57C2-907AB0186F3E}"/>
              </a:ext>
            </a:extLst>
          </p:cNvPr>
          <p:cNvCxnSpPr>
            <a:cxnSpLocks/>
          </p:cNvCxnSpPr>
          <p:nvPr/>
        </p:nvCxnSpPr>
        <p:spPr>
          <a:xfrm>
            <a:off x="847916" y="4208380"/>
            <a:ext cx="0" cy="45248"/>
          </a:xfrm>
          <a:prstGeom prst="line">
            <a:avLst/>
          </a:prstGeom>
          <a:ln w="19050" cap="sq">
            <a:solidFill>
              <a:schemeClr val="tx1"/>
            </a:solidFill>
            <a:prstDash val="solid"/>
            <a:miter/>
          </a:ln>
        </p:spPr>
      </p:cxnSp>
      <p:sp>
        <p:nvSpPr>
          <p:cNvPr id="43" name="TextBox 42">
            <a:extLst>
              <a:ext uri="{FF2B5EF4-FFF2-40B4-BE49-F238E27FC236}">
                <a16:creationId xmlns:a16="http://schemas.microsoft.com/office/drawing/2014/main" id="{E7FBB4D5-1577-D49D-1AC1-26FA48B9BDFD}"/>
              </a:ext>
            </a:extLst>
          </p:cNvPr>
          <p:cNvSpPr txBox="1"/>
          <p:nvPr/>
        </p:nvSpPr>
        <p:spPr>
          <a:xfrm>
            <a:off x="1060017" y="4286737"/>
            <a:ext cx="78548" cy="169277"/>
          </a:xfrm>
          <a:prstGeom prst="rect">
            <a:avLst/>
          </a:prstGeom>
          <a:noFill/>
        </p:spPr>
        <p:txBody>
          <a:bodyPr wrap="none" lIns="0" tIns="0" rIns="0" bIns="0"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1</a:t>
            </a:r>
          </a:p>
        </p:txBody>
      </p:sp>
      <p:cxnSp>
        <p:nvCxnSpPr>
          <p:cNvPr id="81" name="Straight Connector 80">
            <a:extLst>
              <a:ext uri="{FF2B5EF4-FFF2-40B4-BE49-F238E27FC236}">
                <a16:creationId xmlns:a16="http://schemas.microsoft.com/office/drawing/2014/main" id="{DA10F178-2A56-044D-9499-F2927E2CC0C7}"/>
              </a:ext>
            </a:extLst>
          </p:cNvPr>
          <p:cNvCxnSpPr>
            <a:cxnSpLocks/>
          </p:cNvCxnSpPr>
          <p:nvPr/>
        </p:nvCxnSpPr>
        <p:spPr>
          <a:xfrm>
            <a:off x="1099291" y="4208380"/>
            <a:ext cx="0" cy="45248"/>
          </a:xfrm>
          <a:prstGeom prst="line">
            <a:avLst/>
          </a:prstGeom>
          <a:ln w="19050" cap="sq">
            <a:solidFill>
              <a:schemeClr val="tx1"/>
            </a:solidFill>
            <a:prstDash val="solid"/>
            <a:miter/>
          </a:ln>
        </p:spPr>
      </p:cxnSp>
      <p:sp>
        <p:nvSpPr>
          <p:cNvPr id="85" name="TextBox 84">
            <a:extLst>
              <a:ext uri="{FF2B5EF4-FFF2-40B4-BE49-F238E27FC236}">
                <a16:creationId xmlns:a16="http://schemas.microsoft.com/office/drawing/2014/main" id="{0859D973-9D76-AB52-DFBB-9C141B536685}"/>
              </a:ext>
            </a:extLst>
          </p:cNvPr>
          <p:cNvSpPr txBox="1"/>
          <p:nvPr/>
        </p:nvSpPr>
        <p:spPr>
          <a:xfrm>
            <a:off x="1304202" y="4286737"/>
            <a:ext cx="78548" cy="169277"/>
          </a:xfrm>
          <a:prstGeom prst="rect">
            <a:avLst/>
          </a:prstGeom>
          <a:noFill/>
        </p:spPr>
        <p:txBody>
          <a:bodyPr wrap="none" lIns="0" tIns="0" rIns="0" bIns="0"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2</a:t>
            </a:r>
          </a:p>
        </p:txBody>
      </p:sp>
      <p:cxnSp>
        <p:nvCxnSpPr>
          <p:cNvPr id="94" name="Straight Connector 93">
            <a:extLst>
              <a:ext uri="{FF2B5EF4-FFF2-40B4-BE49-F238E27FC236}">
                <a16:creationId xmlns:a16="http://schemas.microsoft.com/office/drawing/2014/main" id="{9F4F84AE-462A-3B17-E966-259D6A902DBF}"/>
              </a:ext>
            </a:extLst>
          </p:cNvPr>
          <p:cNvCxnSpPr>
            <a:cxnSpLocks/>
          </p:cNvCxnSpPr>
          <p:nvPr/>
        </p:nvCxnSpPr>
        <p:spPr>
          <a:xfrm>
            <a:off x="1343476" y="4208380"/>
            <a:ext cx="0" cy="45248"/>
          </a:xfrm>
          <a:prstGeom prst="line">
            <a:avLst/>
          </a:prstGeom>
          <a:ln w="19050" cap="sq">
            <a:solidFill>
              <a:schemeClr val="tx1"/>
            </a:solidFill>
            <a:prstDash val="solid"/>
            <a:miter/>
          </a:ln>
        </p:spPr>
      </p:cxnSp>
      <p:sp>
        <p:nvSpPr>
          <p:cNvPr id="96" name="TextBox 95">
            <a:extLst>
              <a:ext uri="{FF2B5EF4-FFF2-40B4-BE49-F238E27FC236}">
                <a16:creationId xmlns:a16="http://schemas.microsoft.com/office/drawing/2014/main" id="{73832F74-ED63-A32E-A7A6-60CA82A71AFB}"/>
              </a:ext>
            </a:extLst>
          </p:cNvPr>
          <p:cNvSpPr txBox="1"/>
          <p:nvPr/>
        </p:nvSpPr>
        <p:spPr>
          <a:xfrm>
            <a:off x="1555577" y="4286737"/>
            <a:ext cx="78548" cy="169277"/>
          </a:xfrm>
          <a:prstGeom prst="rect">
            <a:avLst/>
          </a:prstGeom>
          <a:noFill/>
        </p:spPr>
        <p:txBody>
          <a:bodyPr wrap="none" lIns="0" tIns="0" rIns="0" bIns="0"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3</a:t>
            </a:r>
          </a:p>
        </p:txBody>
      </p:sp>
      <p:cxnSp>
        <p:nvCxnSpPr>
          <p:cNvPr id="97" name="Straight Connector 96">
            <a:extLst>
              <a:ext uri="{FF2B5EF4-FFF2-40B4-BE49-F238E27FC236}">
                <a16:creationId xmlns:a16="http://schemas.microsoft.com/office/drawing/2014/main" id="{D5AC80F0-82FF-9718-522D-390FA64BE543}"/>
              </a:ext>
            </a:extLst>
          </p:cNvPr>
          <p:cNvCxnSpPr>
            <a:cxnSpLocks/>
          </p:cNvCxnSpPr>
          <p:nvPr/>
        </p:nvCxnSpPr>
        <p:spPr>
          <a:xfrm>
            <a:off x="1594851" y="4208380"/>
            <a:ext cx="0" cy="45248"/>
          </a:xfrm>
          <a:prstGeom prst="line">
            <a:avLst/>
          </a:prstGeom>
          <a:ln w="19050" cap="sq">
            <a:solidFill>
              <a:schemeClr val="tx1"/>
            </a:solidFill>
            <a:prstDash val="solid"/>
            <a:miter/>
          </a:ln>
        </p:spPr>
      </p:cxnSp>
      <p:sp>
        <p:nvSpPr>
          <p:cNvPr id="98" name="TextBox 97">
            <a:extLst>
              <a:ext uri="{FF2B5EF4-FFF2-40B4-BE49-F238E27FC236}">
                <a16:creationId xmlns:a16="http://schemas.microsoft.com/office/drawing/2014/main" id="{97F41B2C-D38B-7E0C-828F-B6F60C00ADD1}"/>
              </a:ext>
            </a:extLst>
          </p:cNvPr>
          <p:cNvSpPr txBox="1"/>
          <p:nvPr/>
        </p:nvSpPr>
        <p:spPr>
          <a:xfrm>
            <a:off x="1798660" y="4286737"/>
            <a:ext cx="78548" cy="169277"/>
          </a:xfrm>
          <a:prstGeom prst="rect">
            <a:avLst/>
          </a:prstGeom>
          <a:noFill/>
        </p:spPr>
        <p:txBody>
          <a:bodyPr wrap="none" lIns="0" tIns="0" rIns="0" bIns="0"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4</a:t>
            </a:r>
          </a:p>
        </p:txBody>
      </p:sp>
      <p:cxnSp>
        <p:nvCxnSpPr>
          <p:cNvPr id="100" name="Straight Connector 99">
            <a:extLst>
              <a:ext uri="{FF2B5EF4-FFF2-40B4-BE49-F238E27FC236}">
                <a16:creationId xmlns:a16="http://schemas.microsoft.com/office/drawing/2014/main" id="{9A67685E-E5D0-9DB5-3CA3-5794101FC5F2}"/>
              </a:ext>
            </a:extLst>
          </p:cNvPr>
          <p:cNvCxnSpPr>
            <a:cxnSpLocks/>
          </p:cNvCxnSpPr>
          <p:nvPr/>
        </p:nvCxnSpPr>
        <p:spPr>
          <a:xfrm>
            <a:off x="1837934" y="4208380"/>
            <a:ext cx="0" cy="45248"/>
          </a:xfrm>
          <a:prstGeom prst="line">
            <a:avLst/>
          </a:prstGeom>
          <a:ln w="19050" cap="sq">
            <a:solidFill>
              <a:schemeClr val="tx1"/>
            </a:solidFill>
            <a:prstDash val="solid"/>
            <a:miter/>
          </a:ln>
        </p:spPr>
      </p:cxnSp>
      <p:sp>
        <p:nvSpPr>
          <p:cNvPr id="67" name="TextBox 66">
            <a:extLst>
              <a:ext uri="{FF2B5EF4-FFF2-40B4-BE49-F238E27FC236}">
                <a16:creationId xmlns:a16="http://schemas.microsoft.com/office/drawing/2014/main" id="{44445D47-AA6E-4BD9-1F22-AFD8DDF15743}"/>
              </a:ext>
            </a:extLst>
          </p:cNvPr>
          <p:cNvSpPr txBox="1"/>
          <p:nvPr/>
        </p:nvSpPr>
        <p:spPr>
          <a:xfrm>
            <a:off x="2054590" y="4286737"/>
            <a:ext cx="78548" cy="169277"/>
          </a:xfrm>
          <a:prstGeom prst="rect">
            <a:avLst/>
          </a:prstGeom>
          <a:noFill/>
        </p:spPr>
        <p:txBody>
          <a:bodyPr wrap="none" lIns="0" tIns="0" rIns="0" bIns="0"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5</a:t>
            </a:r>
          </a:p>
        </p:txBody>
      </p:sp>
      <p:cxnSp>
        <p:nvCxnSpPr>
          <p:cNvPr id="69" name="Straight Connector 68">
            <a:extLst>
              <a:ext uri="{FF2B5EF4-FFF2-40B4-BE49-F238E27FC236}">
                <a16:creationId xmlns:a16="http://schemas.microsoft.com/office/drawing/2014/main" id="{496C3E49-B780-413F-5917-9BD5E7BA1EDA}"/>
              </a:ext>
            </a:extLst>
          </p:cNvPr>
          <p:cNvCxnSpPr>
            <a:cxnSpLocks/>
          </p:cNvCxnSpPr>
          <p:nvPr/>
        </p:nvCxnSpPr>
        <p:spPr>
          <a:xfrm>
            <a:off x="2093864" y="4208380"/>
            <a:ext cx="0" cy="45248"/>
          </a:xfrm>
          <a:prstGeom prst="line">
            <a:avLst/>
          </a:prstGeom>
          <a:ln w="19050" cap="sq">
            <a:solidFill>
              <a:schemeClr val="tx1"/>
            </a:solidFill>
            <a:prstDash val="solid"/>
            <a:miter/>
          </a:ln>
        </p:spPr>
      </p:cxnSp>
      <p:sp>
        <p:nvSpPr>
          <p:cNvPr id="101" name="TextBox 100">
            <a:extLst>
              <a:ext uri="{FF2B5EF4-FFF2-40B4-BE49-F238E27FC236}">
                <a16:creationId xmlns:a16="http://schemas.microsoft.com/office/drawing/2014/main" id="{2F3A468E-4D80-F654-A41D-69B5C3971C16}"/>
              </a:ext>
            </a:extLst>
          </p:cNvPr>
          <p:cNvSpPr txBox="1"/>
          <p:nvPr/>
        </p:nvSpPr>
        <p:spPr>
          <a:xfrm>
            <a:off x="2304327" y="4286737"/>
            <a:ext cx="78548" cy="169277"/>
          </a:xfrm>
          <a:prstGeom prst="rect">
            <a:avLst/>
          </a:prstGeom>
          <a:noFill/>
        </p:spPr>
        <p:txBody>
          <a:bodyPr wrap="none" lIns="0" tIns="0" rIns="0" bIns="0"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6</a:t>
            </a:r>
          </a:p>
        </p:txBody>
      </p:sp>
      <p:cxnSp>
        <p:nvCxnSpPr>
          <p:cNvPr id="102" name="Straight Connector 101">
            <a:extLst>
              <a:ext uri="{FF2B5EF4-FFF2-40B4-BE49-F238E27FC236}">
                <a16:creationId xmlns:a16="http://schemas.microsoft.com/office/drawing/2014/main" id="{CBD00F93-84BF-D8A3-6273-471C07524557}"/>
              </a:ext>
            </a:extLst>
          </p:cNvPr>
          <p:cNvCxnSpPr>
            <a:cxnSpLocks/>
          </p:cNvCxnSpPr>
          <p:nvPr/>
        </p:nvCxnSpPr>
        <p:spPr>
          <a:xfrm>
            <a:off x="2343601" y="4208380"/>
            <a:ext cx="0" cy="45248"/>
          </a:xfrm>
          <a:prstGeom prst="line">
            <a:avLst/>
          </a:prstGeom>
          <a:ln w="19050" cap="sq">
            <a:solidFill>
              <a:schemeClr val="tx1"/>
            </a:solidFill>
            <a:prstDash val="solid"/>
            <a:miter/>
          </a:ln>
        </p:spPr>
      </p:cxnSp>
      <p:sp>
        <p:nvSpPr>
          <p:cNvPr id="103" name="TextBox 102">
            <a:extLst>
              <a:ext uri="{FF2B5EF4-FFF2-40B4-BE49-F238E27FC236}">
                <a16:creationId xmlns:a16="http://schemas.microsoft.com/office/drawing/2014/main" id="{05FD58D7-C923-06E6-B681-2E5D9BA4A04C}"/>
              </a:ext>
            </a:extLst>
          </p:cNvPr>
          <p:cNvSpPr txBox="1"/>
          <p:nvPr/>
        </p:nvSpPr>
        <p:spPr>
          <a:xfrm>
            <a:off x="2554358" y="4286737"/>
            <a:ext cx="78548" cy="169277"/>
          </a:xfrm>
          <a:prstGeom prst="rect">
            <a:avLst/>
          </a:prstGeom>
          <a:noFill/>
        </p:spPr>
        <p:txBody>
          <a:bodyPr wrap="none" lIns="0" tIns="0" rIns="0" bIns="0"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7</a:t>
            </a:r>
          </a:p>
        </p:txBody>
      </p:sp>
      <p:cxnSp>
        <p:nvCxnSpPr>
          <p:cNvPr id="104" name="Straight Connector 103">
            <a:extLst>
              <a:ext uri="{FF2B5EF4-FFF2-40B4-BE49-F238E27FC236}">
                <a16:creationId xmlns:a16="http://schemas.microsoft.com/office/drawing/2014/main" id="{90B9A2F6-EF6D-5BBF-5AB9-08A3EC7404DF}"/>
              </a:ext>
            </a:extLst>
          </p:cNvPr>
          <p:cNvCxnSpPr>
            <a:cxnSpLocks/>
          </p:cNvCxnSpPr>
          <p:nvPr/>
        </p:nvCxnSpPr>
        <p:spPr>
          <a:xfrm>
            <a:off x="2593632" y="4208380"/>
            <a:ext cx="0" cy="45248"/>
          </a:xfrm>
          <a:prstGeom prst="line">
            <a:avLst/>
          </a:prstGeom>
          <a:ln w="19050" cap="sq">
            <a:solidFill>
              <a:schemeClr val="tx1"/>
            </a:solidFill>
            <a:prstDash val="solid"/>
            <a:miter/>
          </a:ln>
        </p:spPr>
      </p:cxnSp>
      <p:sp>
        <p:nvSpPr>
          <p:cNvPr id="105" name="TextBox 104">
            <a:extLst>
              <a:ext uri="{FF2B5EF4-FFF2-40B4-BE49-F238E27FC236}">
                <a16:creationId xmlns:a16="http://schemas.microsoft.com/office/drawing/2014/main" id="{94C30D30-390F-95D8-87C7-212973F2CFFC}"/>
              </a:ext>
            </a:extLst>
          </p:cNvPr>
          <p:cNvSpPr txBox="1"/>
          <p:nvPr/>
        </p:nvSpPr>
        <p:spPr>
          <a:xfrm>
            <a:off x="2797246" y="4286737"/>
            <a:ext cx="78548" cy="169277"/>
          </a:xfrm>
          <a:prstGeom prst="rect">
            <a:avLst/>
          </a:prstGeom>
          <a:noFill/>
        </p:spPr>
        <p:txBody>
          <a:bodyPr wrap="none" lIns="0" tIns="0" rIns="0" bIns="0"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8</a:t>
            </a:r>
          </a:p>
        </p:txBody>
      </p:sp>
      <p:cxnSp>
        <p:nvCxnSpPr>
          <p:cNvPr id="106" name="Straight Connector 105">
            <a:extLst>
              <a:ext uri="{FF2B5EF4-FFF2-40B4-BE49-F238E27FC236}">
                <a16:creationId xmlns:a16="http://schemas.microsoft.com/office/drawing/2014/main" id="{0205CC7E-CAC9-6D4A-8E09-8872D3986BA8}"/>
              </a:ext>
            </a:extLst>
          </p:cNvPr>
          <p:cNvCxnSpPr>
            <a:cxnSpLocks/>
          </p:cNvCxnSpPr>
          <p:nvPr/>
        </p:nvCxnSpPr>
        <p:spPr>
          <a:xfrm>
            <a:off x="2836520" y="4208380"/>
            <a:ext cx="0" cy="45248"/>
          </a:xfrm>
          <a:prstGeom prst="line">
            <a:avLst/>
          </a:prstGeom>
          <a:ln w="19050" cap="sq">
            <a:solidFill>
              <a:schemeClr val="tx1"/>
            </a:solidFill>
            <a:prstDash val="solid"/>
            <a:miter/>
          </a:ln>
        </p:spPr>
      </p:cxnSp>
      <p:sp>
        <p:nvSpPr>
          <p:cNvPr id="107" name="TextBox 106">
            <a:extLst>
              <a:ext uri="{FF2B5EF4-FFF2-40B4-BE49-F238E27FC236}">
                <a16:creationId xmlns:a16="http://schemas.microsoft.com/office/drawing/2014/main" id="{D466CEA1-F357-3A8E-AB63-7A7336443D6F}"/>
              </a:ext>
            </a:extLst>
          </p:cNvPr>
          <p:cNvSpPr txBox="1"/>
          <p:nvPr/>
        </p:nvSpPr>
        <p:spPr>
          <a:xfrm>
            <a:off x="3047278" y="4286737"/>
            <a:ext cx="78548" cy="169277"/>
          </a:xfrm>
          <a:prstGeom prst="rect">
            <a:avLst/>
          </a:prstGeom>
          <a:noFill/>
        </p:spPr>
        <p:txBody>
          <a:bodyPr wrap="none" lIns="0" tIns="0" rIns="0" bIns="0"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9</a:t>
            </a:r>
          </a:p>
        </p:txBody>
      </p:sp>
      <p:cxnSp>
        <p:nvCxnSpPr>
          <p:cNvPr id="108" name="Straight Connector 107">
            <a:extLst>
              <a:ext uri="{FF2B5EF4-FFF2-40B4-BE49-F238E27FC236}">
                <a16:creationId xmlns:a16="http://schemas.microsoft.com/office/drawing/2014/main" id="{4F729FD1-8E3F-39C6-EB13-23D9DD7F3775}"/>
              </a:ext>
            </a:extLst>
          </p:cNvPr>
          <p:cNvCxnSpPr>
            <a:cxnSpLocks/>
          </p:cNvCxnSpPr>
          <p:nvPr/>
        </p:nvCxnSpPr>
        <p:spPr>
          <a:xfrm>
            <a:off x="3086552" y="4208380"/>
            <a:ext cx="0" cy="45248"/>
          </a:xfrm>
          <a:prstGeom prst="line">
            <a:avLst/>
          </a:prstGeom>
          <a:ln w="19050" cap="sq">
            <a:solidFill>
              <a:schemeClr val="tx1"/>
            </a:solidFill>
            <a:prstDash val="solid"/>
            <a:miter/>
          </a:ln>
        </p:spPr>
      </p:cxnSp>
      <p:sp>
        <p:nvSpPr>
          <p:cNvPr id="64" name="TextBox 63">
            <a:extLst>
              <a:ext uri="{FF2B5EF4-FFF2-40B4-BE49-F238E27FC236}">
                <a16:creationId xmlns:a16="http://schemas.microsoft.com/office/drawing/2014/main" id="{BF9F9501-4838-20C9-0C02-135A2FE8B310}"/>
              </a:ext>
            </a:extLst>
          </p:cNvPr>
          <p:cNvSpPr txBox="1"/>
          <p:nvPr/>
        </p:nvSpPr>
        <p:spPr>
          <a:xfrm>
            <a:off x="3260489" y="4286737"/>
            <a:ext cx="157094" cy="169277"/>
          </a:xfrm>
          <a:prstGeom prst="rect">
            <a:avLst/>
          </a:prstGeom>
          <a:noFill/>
        </p:spPr>
        <p:txBody>
          <a:bodyPr wrap="none" lIns="0" tIns="0" rIns="0" bIns="0"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10</a:t>
            </a:r>
          </a:p>
        </p:txBody>
      </p:sp>
      <p:cxnSp>
        <p:nvCxnSpPr>
          <p:cNvPr id="65" name="Straight Connector 64">
            <a:extLst>
              <a:ext uri="{FF2B5EF4-FFF2-40B4-BE49-F238E27FC236}">
                <a16:creationId xmlns:a16="http://schemas.microsoft.com/office/drawing/2014/main" id="{FC2B040D-7957-9AEF-B68B-AB69657DB6F8}"/>
              </a:ext>
            </a:extLst>
          </p:cNvPr>
          <p:cNvCxnSpPr>
            <a:cxnSpLocks/>
          </p:cNvCxnSpPr>
          <p:nvPr/>
        </p:nvCxnSpPr>
        <p:spPr>
          <a:xfrm>
            <a:off x="3339036" y="4208380"/>
            <a:ext cx="0" cy="45248"/>
          </a:xfrm>
          <a:prstGeom prst="line">
            <a:avLst/>
          </a:prstGeom>
          <a:ln w="19050" cap="sq">
            <a:solidFill>
              <a:schemeClr val="tx1"/>
            </a:solidFill>
            <a:prstDash val="solid"/>
            <a:miter/>
          </a:ln>
        </p:spPr>
      </p:cxnSp>
      <p:sp>
        <p:nvSpPr>
          <p:cNvPr id="109" name="TextBox 108">
            <a:extLst>
              <a:ext uri="{FF2B5EF4-FFF2-40B4-BE49-F238E27FC236}">
                <a16:creationId xmlns:a16="http://schemas.microsoft.com/office/drawing/2014/main" id="{F45EB7FD-4A39-9E8A-BD42-FF5A24FA4F81}"/>
              </a:ext>
            </a:extLst>
          </p:cNvPr>
          <p:cNvSpPr txBox="1"/>
          <p:nvPr/>
        </p:nvSpPr>
        <p:spPr>
          <a:xfrm>
            <a:off x="3508139" y="4286737"/>
            <a:ext cx="157094" cy="169277"/>
          </a:xfrm>
          <a:prstGeom prst="rect">
            <a:avLst/>
          </a:prstGeom>
          <a:noFill/>
        </p:spPr>
        <p:txBody>
          <a:bodyPr wrap="none" lIns="0" tIns="0" rIns="0" bIns="0"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11</a:t>
            </a:r>
          </a:p>
        </p:txBody>
      </p:sp>
      <p:cxnSp>
        <p:nvCxnSpPr>
          <p:cNvPr id="110" name="Straight Connector 109">
            <a:extLst>
              <a:ext uri="{FF2B5EF4-FFF2-40B4-BE49-F238E27FC236}">
                <a16:creationId xmlns:a16="http://schemas.microsoft.com/office/drawing/2014/main" id="{606A74B4-C31D-DAE0-89B2-E41C1ECD8696}"/>
              </a:ext>
            </a:extLst>
          </p:cNvPr>
          <p:cNvCxnSpPr>
            <a:cxnSpLocks/>
          </p:cNvCxnSpPr>
          <p:nvPr/>
        </p:nvCxnSpPr>
        <p:spPr>
          <a:xfrm>
            <a:off x="3586686" y="4208380"/>
            <a:ext cx="0" cy="45248"/>
          </a:xfrm>
          <a:prstGeom prst="line">
            <a:avLst/>
          </a:prstGeom>
          <a:ln w="19050" cap="sq">
            <a:solidFill>
              <a:schemeClr val="tx1"/>
            </a:solidFill>
            <a:prstDash val="solid"/>
            <a:miter/>
          </a:ln>
        </p:spPr>
      </p:cxnSp>
      <p:sp>
        <p:nvSpPr>
          <p:cNvPr id="111" name="TextBox 110">
            <a:extLst>
              <a:ext uri="{FF2B5EF4-FFF2-40B4-BE49-F238E27FC236}">
                <a16:creationId xmlns:a16="http://schemas.microsoft.com/office/drawing/2014/main" id="{58C4660C-43F3-0908-C3D6-84AB138D6AFF}"/>
              </a:ext>
            </a:extLst>
          </p:cNvPr>
          <p:cNvSpPr txBox="1"/>
          <p:nvPr/>
        </p:nvSpPr>
        <p:spPr>
          <a:xfrm>
            <a:off x="3753408" y="4286737"/>
            <a:ext cx="157094" cy="169277"/>
          </a:xfrm>
          <a:prstGeom prst="rect">
            <a:avLst/>
          </a:prstGeom>
          <a:noFill/>
        </p:spPr>
        <p:txBody>
          <a:bodyPr wrap="none" lIns="0" tIns="0" rIns="0" bIns="0"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12</a:t>
            </a:r>
          </a:p>
        </p:txBody>
      </p:sp>
      <p:cxnSp>
        <p:nvCxnSpPr>
          <p:cNvPr id="112" name="Straight Connector 111">
            <a:extLst>
              <a:ext uri="{FF2B5EF4-FFF2-40B4-BE49-F238E27FC236}">
                <a16:creationId xmlns:a16="http://schemas.microsoft.com/office/drawing/2014/main" id="{5974E9B6-396D-A440-2E91-C64060201FA0}"/>
              </a:ext>
            </a:extLst>
          </p:cNvPr>
          <p:cNvCxnSpPr>
            <a:cxnSpLocks/>
          </p:cNvCxnSpPr>
          <p:nvPr/>
        </p:nvCxnSpPr>
        <p:spPr>
          <a:xfrm>
            <a:off x="3831955" y="4208380"/>
            <a:ext cx="0" cy="45248"/>
          </a:xfrm>
          <a:prstGeom prst="line">
            <a:avLst/>
          </a:prstGeom>
          <a:ln w="19050" cap="sq">
            <a:solidFill>
              <a:schemeClr val="tx1"/>
            </a:solidFill>
            <a:prstDash val="solid"/>
            <a:miter/>
          </a:ln>
        </p:spPr>
      </p:cxnSp>
      <p:sp>
        <p:nvSpPr>
          <p:cNvPr id="52" name="TextBox 51">
            <a:extLst>
              <a:ext uri="{FF2B5EF4-FFF2-40B4-BE49-F238E27FC236}">
                <a16:creationId xmlns:a16="http://schemas.microsoft.com/office/drawing/2014/main" id="{8918997B-9B8A-5F1D-5571-B86A4F2F88DD}"/>
              </a:ext>
            </a:extLst>
          </p:cNvPr>
          <p:cNvSpPr txBox="1"/>
          <p:nvPr/>
        </p:nvSpPr>
        <p:spPr>
          <a:xfrm>
            <a:off x="604754" y="3769972"/>
            <a:ext cx="157095" cy="169277"/>
          </a:xfrm>
          <a:prstGeom prst="rect">
            <a:avLst/>
          </a:prstGeom>
          <a:noFill/>
        </p:spPr>
        <p:txBody>
          <a:bodyPr wrap="none" lIns="0" tIns="0" rIns="0" bIns="0" rtlCol="0" anchor="ctr">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10</a:t>
            </a:r>
          </a:p>
        </p:txBody>
      </p:sp>
      <p:cxnSp>
        <p:nvCxnSpPr>
          <p:cNvPr id="53" name="Straight Connector 52">
            <a:extLst>
              <a:ext uri="{FF2B5EF4-FFF2-40B4-BE49-F238E27FC236}">
                <a16:creationId xmlns:a16="http://schemas.microsoft.com/office/drawing/2014/main" id="{96330513-7AF7-1B13-1407-8BA0FA3D69B6}"/>
              </a:ext>
            </a:extLst>
          </p:cNvPr>
          <p:cNvCxnSpPr>
            <a:cxnSpLocks/>
          </p:cNvCxnSpPr>
          <p:nvPr/>
        </p:nvCxnSpPr>
        <p:spPr>
          <a:xfrm rot="16200000">
            <a:off x="818149" y="3831988"/>
            <a:ext cx="0" cy="45248"/>
          </a:xfrm>
          <a:prstGeom prst="line">
            <a:avLst/>
          </a:prstGeom>
          <a:ln w="19050" cap="sq">
            <a:solidFill>
              <a:schemeClr val="tx1"/>
            </a:solidFill>
            <a:prstDash val="solid"/>
            <a:miter/>
          </a:ln>
        </p:spPr>
      </p:cxnSp>
      <p:sp>
        <p:nvSpPr>
          <p:cNvPr id="50" name="TextBox 49">
            <a:extLst>
              <a:ext uri="{FF2B5EF4-FFF2-40B4-BE49-F238E27FC236}">
                <a16:creationId xmlns:a16="http://schemas.microsoft.com/office/drawing/2014/main" id="{7FD56551-B9B8-C10B-F0DD-1E1C7ADDB905}"/>
              </a:ext>
            </a:extLst>
          </p:cNvPr>
          <p:cNvSpPr txBox="1"/>
          <p:nvPr/>
        </p:nvSpPr>
        <p:spPr>
          <a:xfrm>
            <a:off x="604754" y="3429920"/>
            <a:ext cx="157095" cy="169277"/>
          </a:xfrm>
          <a:prstGeom prst="rect">
            <a:avLst/>
          </a:prstGeom>
          <a:noFill/>
        </p:spPr>
        <p:txBody>
          <a:bodyPr wrap="none" lIns="0" tIns="0" rIns="0" bIns="0" rtlCol="0" anchor="ctr">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20</a:t>
            </a:r>
          </a:p>
        </p:txBody>
      </p:sp>
      <p:cxnSp>
        <p:nvCxnSpPr>
          <p:cNvPr id="51" name="Straight Connector 50">
            <a:extLst>
              <a:ext uri="{FF2B5EF4-FFF2-40B4-BE49-F238E27FC236}">
                <a16:creationId xmlns:a16="http://schemas.microsoft.com/office/drawing/2014/main" id="{F2FCBB75-902E-E50F-347C-7F1589745DE5}"/>
              </a:ext>
            </a:extLst>
          </p:cNvPr>
          <p:cNvCxnSpPr>
            <a:cxnSpLocks/>
          </p:cNvCxnSpPr>
          <p:nvPr/>
        </p:nvCxnSpPr>
        <p:spPr>
          <a:xfrm rot="16200000">
            <a:off x="818149" y="3491936"/>
            <a:ext cx="0" cy="45248"/>
          </a:xfrm>
          <a:prstGeom prst="line">
            <a:avLst/>
          </a:prstGeom>
          <a:ln w="19050" cap="sq">
            <a:solidFill>
              <a:schemeClr val="tx1"/>
            </a:solidFill>
            <a:prstDash val="solid"/>
            <a:miter/>
          </a:ln>
        </p:spPr>
      </p:cxnSp>
      <p:sp>
        <p:nvSpPr>
          <p:cNvPr id="48" name="TextBox 47">
            <a:extLst>
              <a:ext uri="{FF2B5EF4-FFF2-40B4-BE49-F238E27FC236}">
                <a16:creationId xmlns:a16="http://schemas.microsoft.com/office/drawing/2014/main" id="{B0C71977-095D-DACD-D3F9-241DFC44D929}"/>
              </a:ext>
            </a:extLst>
          </p:cNvPr>
          <p:cNvSpPr txBox="1"/>
          <p:nvPr/>
        </p:nvSpPr>
        <p:spPr>
          <a:xfrm>
            <a:off x="604754" y="2740271"/>
            <a:ext cx="157095" cy="169277"/>
          </a:xfrm>
          <a:prstGeom prst="rect">
            <a:avLst/>
          </a:prstGeom>
          <a:noFill/>
        </p:spPr>
        <p:txBody>
          <a:bodyPr wrap="none" lIns="0" tIns="0" rIns="0" bIns="0" rtlCol="0" anchor="ctr">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40</a:t>
            </a:r>
          </a:p>
        </p:txBody>
      </p:sp>
      <p:cxnSp>
        <p:nvCxnSpPr>
          <p:cNvPr id="49" name="Straight Connector 48">
            <a:extLst>
              <a:ext uri="{FF2B5EF4-FFF2-40B4-BE49-F238E27FC236}">
                <a16:creationId xmlns:a16="http://schemas.microsoft.com/office/drawing/2014/main" id="{D8A23505-BD03-EEC5-23C4-5E2A65F1363B}"/>
              </a:ext>
            </a:extLst>
          </p:cNvPr>
          <p:cNvCxnSpPr>
            <a:cxnSpLocks/>
          </p:cNvCxnSpPr>
          <p:nvPr/>
        </p:nvCxnSpPr>
        <p:spPr>
          <a:xfrm rot="16200000">
            <a:off x="818149" y="2802287"/>
            <a:ext cx="0" cy="45248"/>
          </a:xfrm>
          <a:prstGeom prst="line">
            <a:avLst/>
          </a:prstGeom>
          <a:ln w="19050" cap="sq">
            <a:solidFill>
              <a:schemeClr val="tx1"/>
            </a:solidFill>
            <a:prstDash val="solid"/>
            <a:miter/>
          </a:ln>
        </p:spPr>
      </p:cxnSp>
      <p:sp>
        <p:nvSpPr>
          <p:cNvPr id="19" name="TextBox 18">
            <a:extLst>
              <a:ext uri="{FF2B5EF4-FFF2-40B4-BE49-F238E27FC236}">
                <a16:creationId xmlns:a16="http://schemas.microsoft.com/office/drawing/2014/main" id="{C6A2716D-C150-6356-D718-C420FD4AEA1E}"/>
              </a:ext>
            </a:extLst>
          </p:cNvPr>
          <p:cNvSpPr txBox="1"/>
          <p:nvPr/>
        </p:nvSpPr>
        <p:spPr>
          <a:xfrm>
            <a:off x="604754" y="3085889"/>
            <a:ext cx="157095" cy="169277"/>
          </a:xfrm>
          <a:prstGeom prst="rect">
            <a:avLst/>
          </a:prstGeom>
          <a:noFill/>
        </p:spPr>
        <p:txBody>
          <a:bodyPr wrap="none" lIns="0" tIns="0" rIns="0" bIns="0" rtlCol="0" anchor="ctr">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30</a:t>
            </a:r>
          </a:p>
        </p:txBody>
      </p:sp>
      <p:cxnSp>
        <p:nvCxnSpPr>
          <p:cNvPr id="42" name="Straight Connector 41">
            <a:extLst>
              <a:ext uri="{FF2B5EF4-FFF2-40B4-BE49-F238E27FC236}">
                <a16:creationId xmlns:a16="http://schemas.microsoft.com/office/drawing/2014/main" id="{E62D217A-A704-A67A-5464-B1702F3FB5E2}"/>
              </a:ext>
            </a:extLst>
          </p:cNvPr>
          <p:cNvCxnSpPr>
            <a:cxnSpLocks/>
          </p:cNvCxnSpPr>
          <p:nvPr/>
        </p:nvCxnSpPr>
        <p:spPr>
          <a:xfrm rot="16200000">
            <a:off x="818149" y="3147905"/>
            <a:ext cx="0" cy="45248"/>
          </a:xfrm>
          <a:prstGeom prst="line">
            <a:avLst/>
          </a:prstGeom>
          <a:ln w="19050" cap="sq">
            <a:solidFill>
              <a:schemeClr val="tx1"/>
            </a:solidFill>
            <a:prstDash val="solid"/>
            <a:miter/>
          </a:ln>
        </p:spPr>
      </p:cxnSp>
      <p:sp>
        <p:nvSpPr>
          <p:cNvPr id="46" name="TextBox 45">
            <a:extLst>
              <a:ext uri="{FF2B5EF4-FFF2-40B4-BE49-F238E27FC236}">
                <a16:creationId xmlns:a16="http://schemas.microsoft.com/office/drawing/2014/main" id="{3E24E8B8-16C1-C649-BBD7-E84BFFC56939}"/>
              </a:ext>
            </a:extLst>
          </p:cNvPr>
          <p:cNvSpPr txBox="1"/>
          <p:nvPr/>
        </p:nvSpPr>
        <p:spPr>
          <a:xfrm>
            <a:off x="604754" y="2400345"/>
            <a:ext cx="157095" cy="169277"/>
          </a:xfrm>
          <a:prstGeom prst="rect">
            <a:avLst/>
          </a:prstGeom>
          <a:noFill/>
        </p:spPr>
        <p:txBody>
          <a:bodyPr wrap="none" lIns="0" tIns="0" rIns="0" bIns="0" rtlCol="0" anchor="ctr">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50</a:t>
            </a:r>
          </a:p>
        </p:txBody>
      </p:sp>
      <p:cxnSp>
        <p:nvCxnSpPr>
          <p:cNvPr id="47" name="Straight Connector 46">
            <a:extLst>
              <a:ext uri="{FF2B5EF4-FFF2-40B4-BE49-F238E27FC236}">
                <a16:creationId xmlns:a16="http://schemas.microsoft.com/office/drawing/2014/main" id="{230AE533-ED80-B427-EF10-5C5236A57755}"/>
              </a:ext>
            </a:extLst>
          </p:cNvPr>
          <p:cNvCxnSpPr>
            <a:cxnSpLocks/>
          </p:cNvCxnSpPr>
          <p:nvPr/>
        </p:nvCxnSpPr>
        <p:spPr>
          <a:xfrm rot="16200000">
            <a:off x="818149" y="2462361"/>
            <a:ext cx="0" cy="45248"/>
          </a:xfrm>
          <a:prstGeom prst="line">
            <a:avLst/>
          </a:prstGeom>
          <a:ln w="19050" cap="sq">
            <a:solidFill>
              <a:schemeClr val="tx1"/>
            </a:solidFill>
            <a:prstDash val="solid"/>
            <a:miter/>
          </a:ln>
        </p:spPr>
      </p:cxnSp>
      <p:sp>
        <p:nvSpPr>
          <p:cNvPr id="116" name="Freeform: Shape 115">
            <a:extLst>
              <a:ext uri="{FF2B5EF4-FFF2-40B4-BE49-F238E27FC236}">
                <a16:creationId xmlns:a16="http://schemas.microsoft.com/office/drawing/2014/main" id="{15A018F4-3D30-AC43-AD67-B469308F65C1}"/>
              </a:ext>
            </a:extLst>
          </p:cNvPr>
          <p:cNvSpPr/>
          <p:nvPr/>
        </p:nvSpPr>
        <p:spPr>
          <a:xfrm>
            <a:off x="851668" y="4067240"/>
            <a:ext cx="3106152" cy="137688"/>
          </a:xfrm>
          <a:custGeom>
            <a:avLst/>
            <a:gdLst>
              <a:gd name="connsiteX0" fmla="*/ 0 w 2326290"/>
              <a:gd name="connsiteY0" fmla="*/ 101155 h 101155"/>
              <a:gd name="connsiteX1" fmla="*/ 25146 w 2326290"/>
              <a:gd name="connsiteY1" fmla="*/ 101155 h 101155"/>
              <a:gd name="connsiteX2" fmla="*/ 25146 w 2326290"/>
              <a:gd name="connsiteY2" fmla="*/ 93440 h 101155"/>
              <a:gd name="connsiteX3" fmla="*/ 79724 w 2326290"/>
              <a:gd name="connsiteY3" fmla="*/ 93440 h 101155"/>
              <a:gd name="connsiteX4" fmla="*/ 79724 w 2326290"/>
              <a:gd name="connsiteY4" fmla="*/ 88202 h 101155"/>
              <a:gd name="connsiteX5" fmla="*/ 104108 w 2326290"/>
              <a:gd name="connsiteY5" fmla="*/ 88202 h 101155"/>
              <a:gd name="connsiteX6" fmla="*/ 104108 w 2326290"/>
              <a:gd name="connsiteY6" fmla="*/ 85249 h 101155"/>
              <a:gd name="connsiteX7" fmla="*/ 177641 w 2326290"/>
              <a:gd name="connsiteY7" fmla="*/ 85249 h 101155"/>
              <a:gd name="connsiteX8" fmla="*/ 251936 w 2326290"/>
              <a:gd name="connsiteY8" fmla="*/ 85249 h 101155"/>
              <a:gd name="connsiteX9" fmla="*/ 251936 w 2326290"/>
              <a:gd name="connsiteY9" fmla="*/ 82010 h 101155"/>
              <a:gd name="connsiteX10" fmla="*/ 344043 w 2326290"/>
              <a:gd name="connsiteY10" fmla="*/ 82010 h 101155"/>
              <a:gd name="connsiteX11" fmla="*/ 364427 w 2326290"/>
              <a:gd name="connsiteY11" fmla="*/ 82010 h 101155"/>
              <a:gd name="connsiteX12" fmla="*/ 364427 w 2326290"/>
              <a:gd name="connsiteY12" fmla="*/ 78296 h 101155"/>
              <a:gd name="connsiteX13" fmla="*/ 449104 w 2326290"/>
              <a:gd name="connsiteY13" fmla="*/ 78296 h 101155"/>
              <a:gd name="connsiteX14" fmla="*/ 533495 w 2326290"/>
              <a:gd name="connsiteY14" fmla="*/ 78296 h 101155"/>
              <a:gd name="connsiteX15" fmla="*/ 533495 w 2326290"/>
              <a:gd name="connsiteY15" fmla="*/ 74486 h 101155"/>
              <a:gd name="connsiteX16" fmla="*/ 585407 w 2326290"/>
              <a:gd name="connsiteY16" fmla="*/ 74486 h 101155"/>
              <a:gd name="connsiteX17" fmla="*/ 648176 w 2326290"/>
              <a:gd name="connsiteY17" fmla="*/ 74486 h 101155"/>
              <a:gd name="connsiteX18" fmla="*/ 685610 w 2326290"/>
              <a:gd name="connsiteY18" fmla="*/ 74486 h 101155"/>
              <a:gd name="connsiteX19" fmla="*/ 708184 w 2326290"/>
              <a:gd name="connsiteY19" fmla="*/ 74486 h 101155"/>
              <a:gd name="connsiteX20" fmla="*/ 708184 w 2326290"/>
              <a:gd name="connsiteY20" fmla="*/ 82391 h 101155"/>
              <a:gd name="connsiteX21" fmla="*/ 888968 w 2326290"/>
              <a:gd name="connsiteY21" fmla="*/ 82391 h 101155"/>
              <a:gd name="connsiteX22" fmla="*/ 888968 w 2326290"/>
              <a:gd name="connsiteY22" fmla="*/ 76676 h 101155"/>
              <a:gd name="connsiteX23" fmla="*/ 903732 w 2326290"/>
              <a:gd name="connsiteY23" fmla="*/ 76676 h 101155"/>
              <a:gd name="connsiteX24" fmla="*/ 903732 w 2326290"/>
              <a:gd name="connsiteY24" fmla="*/ 59531 h 101155"/>
              <a:gd name="connsiteX25" fmla="*/ 931545 w 2326290"/>
              <a:gd name="connsiteY25" fmla="*/ 59531 h 101155"/>
              <a:gd name="connsiteX26" fmla="*/ 931545 w 2326290"/>
              <a:gd name="connsiteY26" fmla="*/ 54007 h 101155"/>
              <a:gd name="connsiteX27" fmla="*/ 974408 w 2326290"/>
              <a:gd name="connsiteY27" fmla="*/ 54007 h 101155"/>
              <a:gd name="connsiteX28" fmla="*/ 974408 w 2326290"/>
              <a:gd name="connsiteY28" fmla="*/ 51054 h 101155"/>
              <a:gd name="connsiteX29" fmla="*/ 984790 w 2326290"/>
              <a:gd name="connsiteY29" fmla="*/ 51054 h 101155"/>
              <a:gd name="connsiteX30" fmla="*/ 1098899 w 2326290"/>
              <a:gd name="connsiteY30" fmla="*/ 51054 h 101155"/>
              <a:gd name="connsiteX31" fmla="*/ 1120426 w 2326290"/>
              <a:gd name="connsiteY31" fmla="*/ 51054 h 101155"/>
              <a:gd name="connsiteX32" fmla="*/ 1120426 w 2326290"/>
              <a:gd name="connsiteY32" fmla="*/ 44768 h 101155"/>
              <a:gd name="connsiteX33" fmla="*/ 1269492 w 2326290"/>
              <a:gd name="connsiteY33" fmla="*/ 44768 h 101155"/>
              <a:gd name="connsiteX34" fmla="*/ 1269492 w 2326290"/>
              <a:gd name="connsiteY34" fmla="*/ 39529 h 101155"/>
              <a:gd name="connsiteX35" fmla="*/ 1337786 w 2326290"/>
              <a:gd name="connsiteY35" fmla="*/ 39529 h 101155"/>
              <a:gd name="connsiteX36" fmla="*/ 1549622 w 2326290"/>
              <a:gd name="connsiteY36" fmla="*/ 39529 h 101155"/>
              <a:gd name="connsiteX37" fmla="*/ 1688592 w 2326290"/>
              <a:gd name="connsiteY37" fmla="*/ 39529 h 101155"/>
              <a:gd name="connsiteX38" fmla="*/ 1688592 w 2326290"/>
              <a:gd name="connsiteY38" fmla="*/ 49149 h 101155"/>
              <a:gd name="connsiteX39" fmla="*/ 1765078 w 2326290"/>
              <a:gd name="connsiteY39" fmla="*/ 49149 h 101155"/>
              <a:gd name="connsiteX40" fmla="*/ 1803844 w 2326290"/>
              <a:gd name="connsiteY40" fmla="*/ 49149 h 101155"/>
              <a:gd name="connsiteX41" fmla="*/ 1803844 w 2326290"/>
              <a:gd name="connsiteY41" fmla="*/ 46101 h 101155"/>
              <a:gd name="connsiteX42" fmla="*/ 1854041 w 2326290"/>
              <a:gd name="connsiteY42" fmla="*/ 46101 h 101155"/>
              <a:gd name="connsiteX43" fmla="*/ 1854041 w 2326290"/>
              <a:gd name="connsiteY43" fmla="*/ 40386 h 101155"/>
              <a:gd name="connsiteX44" fmla="*/ 1955864 w 2326290"/>
              <a:gd name="connsiteY44" fmla="*/ 40386 h 101155"/>
              <a:gd name="connsiteX45" fmla="*/ 1955864 w 2326290"/>
              <a:gd name="connsiteY45" fmla="*/ 34385 h 101155"/>
              <a:gd name="connsiteX46" fmla="*/ 2031206 w 2326290"/>
              <a:gd name="connsiteY46" fmla="*/ 34385 h 101155"/>
              <a:gd name="connsiteX47" fmla="*/ 2031206 w 2326290"/>
              <a:gd name="connsiteY47" fmla="*/ 27527 h 101155"/>
              <a:gd name="connsiteX48" fmla="*/ 2166938 w 2326290"/>
              <a:gd name="connsiteY48" fmla="*/ 27527 h 101155"/>
              <a:gd name="connsiteX49" fmla="*/ 2166938 w 2326290"/>
              <a:gd name="connsiteY49" fmla="*/ 23146 h 101155"/>
              <a:gd name="connsiteX50" fmla="*/ 2290286 w 2326290"/>
              <a:gd name="connsiteY50" fmla="*/ 23146 h 101155"/>
              <a:gd name="connsiteX51" fmla="*/ 2290286 w 2326290"/>
              <a:gd name="connsiteY51" fmla="*/ 0 h 101155"/>
              <a:gd name="connsiteX52" fmla="*/ 2326291 w 2326290"/>
              <a:gd name="connsiteY52" fmla="*/ 0 h 101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2326290" h="101155">
                <a:moveTo>
                  <a:pt x="0" y="101155"/>
                </a:moveTo>
                <a:lnTo>
                  <a:pt x="25146" y="101155"/>
                </a:lnTo>
                <a:lnTo>
                  <a:pt x="25146" y="93440"/>
                </a:lnTo>
                <a:lnTo>
                  <a:pt x="79724" y="93440"/>
                </a:lnTo>
                <a:lnTo>
                  <a:pt x="79724" y="88202"/>
                </a:lnTo>
                <a:lnTo>
                  <a:pt x="104108" y="88202"/>
                </a:lnTo>
                <a:lnTo>
                  <a:pt x="104108" y="85249"/>
                </a:lnTo>
                <a:lnTo>
                  <a:pt x="177641" y="85249"/>
                </a:lnTo>
                <a:lnTo>
                  <a:pt x="251936" y="85249"/>
                </a:lnTo>
                <a:lnTo>
                  <a:pt x="251936" y="82010"/>
                </a:lnTo>
                <a:lnTo>
                  <a:pt x="344043" y="82010"/>
                </a:lnTo>
                <a:lnTo>
                  <a:pt x="364427" y="82010"/>
                </a:lnTo>
                <a:lnTo>
                  <a:pt x="364427" y="78296"/>
                </a:lnTo>
                <a:lnTo>
                  <a:pt x="449104" y="78296"/>
                </a:lnTo>
                <a:lnTo>
                  <a:pt x="533495" y="78296"/>
                </a:lnTo>
                <a:lnTo>
                  <a:pt x="533495" y="74486"/>
                </a:lnTo>
                <a:lnTo>
                  <a:pt x="585407" y="74486"/>
                </a:lnTo>
                <a:lnTo>
                  <a:pt x="648176" y="74486"/>
                </a:lnTo>
                <a:lnTo>
                  <a:pt x="685610" y="74486"/>
                </a:lnTo>
                <a:lnTo>
                  <a:pt x="708184" y="74486"/>
                </a:lnTo>
                <a:lnTo>
                  <a:pt x="708184" y="82391"/>
                </a:lnTo>
                <a:lnTo>
                  <a:pt x="888968" y="82391"/>
                </a:lnTo>
                <a:lnTo>
                  <a:pt x="888968" y="76676"/>
                </a:lnTo>
                <a:lnTo>
                  <a:pt x="903732" y="76676"/>
                </a:lnTo>
                <a:lnTo>
                  <a:pt x="903732" y="59531"/>
                </a:lnTo>
                <a:lnTo>
                  <a:pt x="931545" y="59531"/>
                </a:lnTo>
                <a:lnTo>
                  <a:pt x="931545" y="54007"/>
                </a:lnTo>
                <a:lnTo>
                  <a:pt x="974408" y="54007"/>
                </a:lnTo>
                <a:lnTo>
                  <a:pt x="974408" y="51054"/>
                </a:lnTo>
                <a:lnTo>
                  <a:pt x="984790" y="51054"/>
                </a:lnTo>
                <a:lnTo>
                  <a:pt x="1098899" y="51054"/>
                </a:lnTo>
                <a:lnTo>
                  <a:pt x="1120426" y="51054"/>
                </a:lnTo>
                <a:lnTo>
                  <a:pt x="1120426" y="44768"/>
                </a:lnTo>
                <a:lnTo>
                  <a:pt x="1269492" y="44768"/>
                </a:lnTo>
                <a:lnTo>
                  <a:pt x="1269492" y="39529"/>
                </a:lnTo>
                <a:lnTo>
                  <a:pt x="1337786" y="39529"/>
                </a:lnTo>
                <a:lnTo>
                  <a:pt x="1549622" y="39529"/>
                </a:lnTo>
                <a:lnTo>
                  <a:pt x="1688592" y="39529"/>
                </a:lnTo>
                <a:lnTo>
                  <a:pt x="1688592" y="49149"/>
                </a:lnTo>
                <a:lnTo>
                  <a:pt x="1765078" y="49149"/>
                </a:lnTo>
                <a:lnTo>
                  <a:pt x="1803844" y="49149"/>
                </a:lnTo>
                <a:lnTo>
                  <a:pt x="1803844" y="46101"/>
                </a:lnTo>
                <a:lnTo>
                  <a:pt x="1854041" y="46101"/>
                </a:lnTo>
                <a:lnTo>
                  <a:pt x="1854041" y="40386"/>
                </a:lnTo>
                <a:lnTo>
                  <a:pt x="1955864" y="40386"/>
                </a:lnTo>
                <a:lnTo>
                  <a:pt x="1955864" y="34385"/>
                </a:lnTo>
                <a:lnTo>
                  <a:pt x="2031206" y="34385"/>
                </a:lnTo>
                <a:lnTo>
                  <a:pt x="2031206" y="27527"/>
                </a:lnTo>
                <a:lnTo>
                  <a:pt x="2166938" y="27527"/>
                </a:lnTo>
                <a:lnTo>
                  <a:pt x="2166938" y="23146"/>
                </a:lnTo>
                <a:lnTo>
                  <a:pt x="2290286" y="23146"/>
                </a:lnTo>
                <a:lnTo>
                  <a:pt x="2290286" y="0"/>
                </a:lnTo>
                <a:lnTo>
                  <a:pt x="2326291" y="0"/>
                </a:lnTo>
              </a:path>
            </a:pathLst>
          </a:cu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 name="Freeform: Shape 117">
            <a:extLst>
              <a:ext uri="{FF2B5EF4-FFF2-40B4-BE49-F238E27FC236}">
                <a16:creationId xmlns:a16="http://schemas.microsoft.com/office/drawing/2014/main" id="{30298F6B-8833-06DD-A016-ED3D4585E0FD}"/>
              </a:ext>
            </a:extLst>
          </p:cNvPr>
          <p:cNvSpPr/>
          <p:nvPr/>
        </p:nvSpPr>
        <p:spPr>
          <a:xfrm>
            <a:off x="848362" y="3760877"/>
            <a:ext cx="3114038" cy="433550"/>
          </a:xfrm>
          <a:custGeom>
            <a:avLst/>
            <a:gdLst>
              <a:gd name="connsiteX0" fmla="*/ 0 w 2332196"/>
              <a:gd name="connsiteY0" fmla="*/ 318516 h 318516"/>
              <a:gd name="connsiteX1" fmla="*/ 73914 w 2332196"/>
              <a:gd name="connsiteY1" fmla="*/ 318516 h 318516"/>
              <a:gd name="connsiteX2" fmla="*/ 73914 w 2332196"/>
              <a:gd name="connsiteY2" fmla="*/ 313373 h 318516"/>
              <a:gd name="connsiteX3" fmla="*/ 99060 w 2332196"/>
              <a:gd name="connsiteY3" fmla="*/ 313373 h 318516"/>
              <a:gd name="connsiteX4" fmla="*/ 99060 w 2332196"/>
              <a:gd name="connsiteY4" fmla="*/ 306038 h 318516"/>
              <a:gd name="connsiteX5" fmla="*/ 116015 w 2332196"/>
              <a:gd name="connsiteY5" fmla="*/ 306038 h 318516"/>
              <a:gd name="connsiteX6" fmla="*/ 116015 w 2332196"/>
              <a:gd name="connsiteY6" fmla="*/ 302800 h 318516"/>
              <a:gd name="connsiteX7" fmla="*/ 131064 w 2332196"/>
              <a:gd name="connsiteY7" fmla="*/ 302800 h 318516"/>
              <a:gd name="connsiteX8" fmla="*/ 131064 w 2332196"/>
              <a:gd name="connsiteY8" fmla="*/ 298418 h 318516"/>
              <a:gd name="connsiteX9" fmla="*/ 146876 w 2332196"/>
              <a:gd name="connsiteY9" fmla="*/ 298418 h 318516"/>
              <a:gd name="connsiteX10" fmla="*/ 146876 w 2332196"/>
              <a:gd name="connsiteY10" fmla="*/ 292418 h 318516"/>
              <a:gd name="connsiteX11" fmla="*/ 153448 w 2332196"/>
              <a:gd name="connsiteY11" fmla="*/ 292418 h 318516"/>
              <a:gd name="connsiteX12" fmla="*/ 153448 w 2332196"/>
              <a:gd name="connsiteY12" fmla="*/ 289179 h 318516"/>
              <a:gd name="connsiteX13" fmla="*/ 220599 w 2332196"/>
              <a:gd name="connsiteY13" fmla="*/ 289179 h 318516"/>
              <a:gd name="connsiteX14" fmla="*/ 220599 w 2332196"/>
              <a:gd name="connsiteY14" fmla="*/ 283178 h 318516"/>
              <a:gd name="connsiteX15" fmla="*/ 233458 w 2332196"/>
              <a:gd name="connsiteY15" fmla="*/ 283178 h 318516"/>
              <a:gd name="connsiteX16" fmla="*/ 233458 w 2332196"/>
              <a:gd name="connsiteY16" fmla="*/ 277463 h 318516"/>
              <a:gd name="connsiteX17" fmla="*/ 267081 w 2332196"/>
              <a:gd name="connsiteY17" fmla="*/ 277463 h 318516"/>
              <a:gd name="connsiteX18" fmla="*/ 267081 w 2332196"/>
              <a:gd name="connsiteY18" fmla="*/ 267938 h 318516"/>
              <a:gd name="connsiteX19" fmla="*/ 306419 w 2332196"/>
              <a:gd name="connsiteY19" fmla="*/ 267938 h 318516"/>
              <a:gd name="connsiteX20" fmla="*/ 306419 w 2332196"/>
              <a:gd name="connsiteY20" fmla="*/ 263843 h 318516"/>
              <a:gd name="connsiteX21" fmla="*/ 338614 w 2332196"/>
              <a:gd name="connsiteY21" fmla="*/ 263843 h 318516"/>
              <a:gd name="connsiteX22" fmla="*/ 338614 w 2332196"/>
              <a:gd name="connsiteY22" fmla="*/ 261366 h 318516"/>
              <a:gd name="connsiteX23" fmla="*/ 391287 w 2332196"/>
              <a:gd name="connsiteY23" fmla="*/ 261366 h 318516"/>
              <a:gd name="connsiteX24" fmla="*/ 391287 w 2332196"/>
              <a:gd name="connsiteY24" fmla="*/ 258604 h 318516"/>
              <a:gd name="connsiteX25" fmla="*/ 406813 w 2332196"/>
              <a:gd name="connsiteY25" fmla="*/ 258604 h 318516"/>
              <a:gd name="connsiteX26" fmla="*/ 406813 w 2332196"/>
              <a:gd name="connsiteY26" fmla="*/ 252032 h 318516"/>
              <a:gd name="connsiteX27" fmla="*/ 442817 w 2332196"/>
              <a:gd name="connsiteY27" fmla="*/ 252032 h 318516"/>
              <a:gd name="connsiteX28" fmla="*/ 442817 w 2332196"/>
              <a:gd name="connsiteY28" fmla="*/ 246317 h 318516"/>
              <a:gd name="connsiteX29" fmla="*/ 484823 w 2332196"/>
              <a:gd name="connsiteY29" fmla="*/ 246317 h 318516"/>
              <a:gd name="connsiteX30" fmla="*/ 484823 w 2332196"/>
              <a:gd name="connsiteY30" fmla="*/ 242221 h 318516"/>
              <a:gd name="connsiteX31" fmla="*/ 517017 w 2332196"/>
              <a:gd name="connsiteY31" fmla="*/ 242221 h 318516"/>
              <a:gd name="connsiteX32" fmla="*/ 517017 w 2332196"/>
              <a:gd name="connsiteY32" fmla="*/ 238697 h 318516"/>
              <a:gd name="connsiteX33" fmla="*/ 532352 w 2332196"/>
              <a:gd name="connsiteY33" fmla="*/ 238697 h 318516"/>
              <a:gd name="connsiteX34" fmla="*/ 532352 w 2332196"/>
              <a:gd name="connsiteY34" fmla="*/ 235649 h 318516"/>
              <a:gd name="connsiteX35" fmla="*/ 623507 w 2332196"/>
              <a:gd name="connsiteY35" fmla="*/ 235649 h 318516"/>
              <a:gd name="connsiteX36" fmla="*/ 623507 w 2332196"/>
              <a:gd name="connsiteY36" fmla="*/ 228791 h 318516"/>
              <a:gd name="connsiteX37" fmla="*/ 641223 w 2332196"/>
              <a:gd name="connsiteY37" fmla="*/ 228791 h 318516"/>
              <a:gd name="connsiteX38" fmla="*/ 641223 w 2332196"/>
              <a:gd name="connsiteY38" fmla="*/ 224980 h 318516"/>
              <a:gd name="connsiteX39" fmla="*/ 658178 w 2332196"/>
              <a:gd name="connsiteY39" fmla="*/ 224980 h 318516"/>
              <a:gd name="connsiteX40" fmla="*/ 658178 w 2332196"/>
              <a:gd name="connsiteY40" fmla="*/ 220599 h 318516"/>
              <a:gd name="connsiteX41" fmla="*/ 687134 w 2332196"/>
              <a:gd name="connsiteY41" fmla="*/ 220599 h 318516"/>
              <a:gd name="connsiteX42" fmla="*/ 687134 w 2332196"/>
              <a:gd name="connsiteY42" fmla="*/ 215932 h 318516"/>
              <a:gd name="connsiteX43" fmla="*/ 710375 w 2332196"/>
              <a:gd name="connsiteY43" fmla="*/ 215932 h 318516"/>
              <a:gd name="connsiteX44" fmla="*/ 710375 w 2332196"/>
              <a:gd name="connsiteY44" fmla="*/ 212122 h 318516"/>
              <a:gd name="connsiteX45" fmla="*/ 726186 w 2332196"/>
              <a:gd name="connsiteY45" fmla="*/ 212122 h 318516"/>
              <a:gd name="connsiteX46" fmla="*/ 726186 w 2332196"/>
              <a:gd name="connsiteY46" fmla="*/ 207455 h 318516"/>
              <a:gd name="connsiteX47" fmla="*/ 771525 w 2332196"/>
              <a:gd name="connsiteY47" fmla="*/ 207455 h 318516"/>
              <a:gd name="connsiteX48" fmla="*/ 771525 w 2332196"/>
              <a:gd name="connsiteY48" fmla="*/ 198406 h 318516"/>
              <a:gd name="connsiteX49" fmla="*/ 795814 w 2332196"/>
              <a:gd name="connsiteY49" fmla="*/ 198406 h 318516"/>
              <a:gd name="connsiteX50" fmla="*/ 795814 w 2332196"/>
              <a:gd name="connsiteY50" fmla="*/ 189929 h 318516"/>
              <a:gd name="connsiteX51" fmla="*/ 828008 w 2332196"/>
              <a:gd name="connsiteY51" fmla="*/ 189929 h 318516"/>
              <a:gd name="connsiteX52" fmla="*/ 828008 w 2332196"/>
              <a:gd name="connsiteY52" fmla="*/ 188595 h 318516"/>
              <a:gd name="connsiteX53" fmla="*/ 843820 w 2332196"/>
              <a:gd name="connsiteY53" fmla="*/ 188595 h 318516"/>
              <a:gd name="connsiteX54" fmla="*/ 843820 w 2332196"/>
              <a:gd name="connsiteY54" fmla="*/ 184499 h 318516"/>
              <a:gd name="connsiteX55" fmla="*/ 869442 w 2332196"/>
              <a:gd name="connsiteY55" fmla="*/ 184499 h 318516"/>
              <a:gd name="connsiteX56" fmla="*/ 869442 w 2332196"/>
              <a:gd name="connsiteY56" fmla="*/ 179546 h 318516"/>
              <a:gd name="connsiteX57" fmla="*/ 895922 w 2332196"/>
              <a:gd name="connsiteY57" fmla="*/ 179546 h 318516"/>
              <a:gd name="connsiteX58" fmla="*/ 895922 w 2332196"/>
              <a:gd name="connsiteY58" fmla="*/ 176308 h 318516"/>
              <a:gd name="connsiteX59" fmla="*/ 934117 w 2332196"/>
              <a:gd name="connsiteY59" fmla="*/ 176308 h 318516"/>
              <a:gd name="connsiteX60" fmla="*/ 934117 w 2332196"/>
              <a:gd name="connsiteY60" fmla="*/ 172784 h 318516"/>
              <a:gd name="connsiteX61" fmla="*/ 965549 w 2332196"/>
              <a:gd name="connsiteY61" fmla="*/ 172784 h 318516"/>
              <a:gd name="connsiteX62" fmla="*/ 965549 w 2332196"/>
              <a:gd name="connsiteY62" fmla="*/ 165640 h 318516"/>
              <a:gd name="connsiteX63" fmla="*/ 1004030 w 2332196"/>
              <a:gd name="connsiteY63" fmla="*/ 165640 h 318516"/>
              <a:gd name="connsiteX64" fmla="*/ 1004030 w 2332196"/>
              <a:gd name="connsiteY64" fmla="*/ 158305 h 318516"/>
              <a:gd name="connsiteX65" fmla="*/ 1035177 w 2332196"/>
              <a:gd name="connsiteY65" fmla="*/ 158305 h 318516"/>
              <a:gd name="connsiteX66" fmla="*/ 1035177 w 2332196"/>
              <a:gd name="connsiteY66" fmla="*/ 154210 h 318516"/>
              <a:gd name="connsiteX67" fmla="*/ 1063562 w 2332196"/>
              <a:gd name="connsiteY67" fmla="*/ 154210 h 318516"/>
              <a:gd name="connsiteX68" fmla="*/ 1063562 w 2332196"/>
              <a:gd name="connsiteY68" fmla="*/ 149257 h 318516"/>
              <a:gd name="connsiteX69" fmla="*/ 1089184 w 2332196"/>
              <a:gd name="connsiteY69" fmla="*/ 149257 h 318516"/>
              <a:gd name="connsiteX70" fmla="*/ 1089184 w 2332196"/>
              <a:gd name="connsiteY70" fmla="*/ 146209 h 318516"/>
              <a:gd name="connsiteX71" fmla="*/ 1126903 w 2332196"/>
              <a:gd name="connsiteY71" fmla="*/ 146209 h 318516"/>
              <a:gd name="connsiteX72" fmla="*/ 1126903 w 2332196"/>
              <a:gd name="connsiteY72" fmla="*/ 140780 h 318516"/>
              <a:gd name="connsiteX73" fmla="*/ 1158050 w 2332196"/>
              <a:gd name="connsiteY73" fmla="*/ 140780 h 318516"/>
              <a:gd name="connsiteX74" fmla="*/ 1158050 w 2332196"/>
              <a:gd name="connsiteY74" fmla="*/ 134493 h 318516"/>
              <a:gd name="connsiteX75" fmla="*/ 1176623 w 2332196"/>
              <a:gd name="connsiteY75" fmla="*/ 134493 h 318516"/>
              <a:gd name="connsiteX76" fmla="*/ 1176623 w 2332196"/>
              <a:gd name="connsiteY76" fmla="*/ 129064 h 318516"/>
              <a:gd name="connsiteX77" fmla="*/ 1198150 w 2332196"/>
              <a:gd name="connsiteY77" fmla="*/ 129064 h 318516"/>
              <a:gd name="connsiteX78" fmla="*/ 1198150 w 2332196"/>
              <a:gd name="connsiteY78" fmla="*/ 124397 h 318516"/>
              <a:gd name="connsiteX79" fmla="*/ 1224344 w 2332196"/>
              <a:gd name="connsiteY79" fmla="*/ 124397 h 318516"/>
              <a:gd name="connsiteX80" fmla="*/ 1224344 w 2332196"/>
              <a:gd name="connsiteY80" fmla="*/ 120587 h 318516"/>
              <a:gd name="connsiteX81" fmla="*/ 1268825 w 2332196"/>
              <a:gd name="connsiteY81" fmla="*/ 120587 h 318516"/>
              <a:gd name="connsiteX82" fmla="*/ 1268825 w 2332196"/>
              <a:gd name="connsiteY82" fmla="*/ 116491 h 318516"/>
              <a:gd name="connsiteX83" fmla="*/ 1302449 w 2332196"/>
              <a:gd name="connsiteY83" fmla="*/ 116491 h 318516"/>
              <a:gd name="connsiteX84" fmla="*/ 1302449 w 2332196"/>
              <a:gd name="connsiteY84" fmla="*/ 111062 h 318516"/>
              <a:gd name="connsiteX85" fmla="*/ 1361408 w 2332196"/>
              <a:gd name="connsiteY85" fmla="*/ 111062 h 318516"/>
              <a:gd name="connsiteX86" fmla="*/ 1361408 w 2332196"/>
              <a:gd name="connsiteY86" fmla="*/ 105918 h 318516"/>
              <a:gd name="connsiteX87" fmla="*/ 1374553 w 2332196"/>
              <a:gd name="connsiteY87" fmla="*/ 105918 h 318516"/>
              <a:gd name="connsiteX88" fmla="*/ 1374553 w 2332196"/>
              <a:gd name="connsiteY88" fmla="*/ 96393 h 318516"/>
              <a:gd name="connsiteX89" fmla="*/ 1393984 w 2332196"/>
              <a:gd name="connsiteY89" fmla="*/ 96393 h 318516"/>
              <a:gd name="connsiteX90" fmla="*/ 1393984 w 2332196"/>
              <a:gd name="connsiteY90" fmla="*/ 92297 h 318516"/>
              <a:gd name="connsiteX91" fmla="*/ 1413891 w 2332196"/>
              <a:gd name="connsiteY91" fmla="*/ 92297 h 318516"/>
              <a:gd name="connsiteX92" fmla="*/ 1413891 w 2332196"/>
              <a:gd name="connsiteY92" fmla="*/ 87916 h 318516"/>
              <a:gd name="connsiteX93" fmla="*/ 1579912 w 2332196"/>
              <a:gd name="connsiteY93" fmla="*/ 87916 h 318516"/>
              <a:gd name="connsiteX94" fmla="*/ 1579912 w 2332196"/>
              <a:gd name="connsiteY94" fmla="*/ 82201 h 318516"/>
              <a:gd name="connsiteX95" fmla="*/ 1605534 w 2332196"/>
              <a:gd name="connsiteY95" fmla="*/ 82201 h 318516"/>
              <a:gd name="connsiteX96" fmla="*/ 1605534 w 2332196"/>
              <a:gd name="connsiteY96" fmla="*/ 78962 h 318516"/>
              <a:gd name="connsiteX97" fmla="*/ 1636967 w 2332196"/>
              <a:gd name="connsiteY97" fmla="*/ 78962 h 318516"/>
              <a:gd name="connsiteX98" fmla="*/ 1636967 w 2332196"/>
              <a:gd name="connsiteY98" fmla="*/ 75724 h 318516"/>
              <a:gd name="connsiteX99" fmla="*/ 1758410 w 2332196"/>
              <a:gd name="connsiteY99" fmla="*/ 75724 h 318516"/>
              <a:gd name="connsiteX100" fmla="*/ 1758410 w 2332196"/>
              <a:gd name="connsiteY100" fmla="*/ 70009 h 318516"/>
              <a:gd name="connsiteX101" fmla="*/ 1769364 w 2332196"/>
              <a:gd name="connsiteY101" fmla="*/ 70009 h 318516"/>
              <a:gd name="connsiteX102" fmla="*/ 1769364 w 2332196"/>
              <a:gd name="connsiteY102" fmla="*/ 67247 h 318516"/>
              <a:gd name="connsiteX103" fmla="*/ 1793653 w 2332196"/>
              <a:gd name="connsiteY103" fmla="*/ 67247 h 318516"/>
              <a:gd name="connsiteX104" fmla="*/ 1793653 w 2332196"/>
              <a:gd name="connsiteY104" fmla="*/ 61246 h 318516"/>
              <a:gd name="connsiteX105" fmla="*/ 1933194 w 2332196"/>
              <a:gd name="connsiteY105" fmla="*/ 61246 h 318516"/>
              <a:gd name="connsiteX106" fmla="*/ 1933194 w 2332196"/>
              <a:gd name="connsiteY106" fmla="*/ 53912 h 318516"/>
              <a:gd name="connsiteX107" fmla="*/ 1981486 w 2332196"/>
              <a:gd name="connsiteY107" fmla="*/ 53912 h 318516"/>
              <a:gd name="connsiteX108" fmla="*/ 1981486 w 2332196"/>
              <a:gd name="connsiteY108" fmla="*/ 47054 h 318516"/>
              <a:gd name="connsiteX109" fmla="*/ 2012633 w 2332196"/>
              <a:gd name="connsiteY109" fmla="*/ 47054 h 318516"/>
              <a:gd name="connsiteX110" fmla="*/ 2012633 w 2332196"/>
              <a:gd name="connsiteY110" fmla="*/ 37243 h 318516"/>
              <a:gd name="connsiteX111" fmla="*/ 2019491 w 2332196"/>
              <a:gd name="connsiteY111" fmla="*/ 37243 h 318516"/>
              <a:gd name="connsiteX112" fmla="*/ 2019491 w 2332196"/>
              <a:gd name="connsiteY112" fmla="*/ 26003 h 318516"/>
              <a:gd name="connsiteX113" fmla="*/ 2063210 w 2332196"/>
              <a:gd name="connsiteY113" fmla="*/ 26003 h 318516"/>
              <a:gd name="connsiteX114" fmla="*/ 2063210 w 2332196"/>
              <a:gd name="connsiteY114" fmla="*/ 17240 h 318516"/>
              <a:gd name="connsiteX115" fmla="*/ 2080165 w 2332196"/>
              <a:gd name="connsiteY115" fmla="*/ 17240 h 318516"/>
              <a:gd name="connsiteX116" fmla="*/ 2080165 w 2332196"/>
              <a:gd name="connsiteY116" fmla="*/ 8763 h 318516"/>
              <a:gd name="connsiteX117" fmla="*/ 2210943 w 2332196"/>
              <a:gd name="connsiteY117" fmla="*/ 8763 h 318516"/>
              <a:gd name="connsiteX118" fmla="*/ 2210943 w 2332196"/>
              <a:gd name="connsiteY118" fmla="*/ 0 h 318516"/>
              <a:gd name="connsiteX119" fmla="*/ 2332196 w 2332196"/>
              <a:gd name="connsiteY119" fmla="*/ 0 h 318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2332196" h="318516">
                <a:moveTo>
                  <a:pt x="0" y="318516"/>
                </a:moveTo>
                <a:lnTo>
                  <a:pt x="73914" y="318516"/>
                </a:lnTo>
                <a:lnTo>
                  <a:pt x="73914" y="313373"/>
                </a:lnTo>
                <a:lnTo>
                  <a:pt x="99060" y="313373"/>
                </a:lnTo>
                <a:lnTo>
                  <a:pt x="99060" y="306038"/>
                </a:lnTo>
                <a:lnTo>
                  <a:pt x="116015" y="306038"/>
                </a:lnTo>
                <a:lnTo>
                  <a:pt x="116015" y="302800"/>
                </a:lnTo>
                <a:lnTo>
                  <a:pt x="131064" y="302800"/>
                </a:lnTo>
                <a:lnTo>
                  <a:pt x="131064" y="298418"/>
                </a:lnTo>
                <a:lnTo>
                  <a:pt x="146876" y="298418"/>
                </a:lnTo>
                <a:lnTo>
                  <a:pt x="146876" y="292418"/>
                </a:lnTo>
                <a:lnTo>
                  <a:pt x="153448" y="292418"/>
                </a:lnTo>
                <a:lnTo>
                  <a:pt x="153448" y="289179"/>
                </a:lnTo>
                <a:lnTo>
                  <a:pt x="220599" y="289179"/>
                </a:lnTo>
                <a:lnTo>
                  <a:pt x="220599" y="283178"/>
                </a:lnTo>
                <a:lnTo>
                  <a:pt x="233458" y="283178"/>
                </a:lnTo>
                <a:lnTo>
                  <a:pt x="233458" y="277463"/>
                </a:lnTo>
                <a:lnTo>
                  <a:pt x="267081" y="277463"/>
                </a:lnTo>
                <a:lnTo>
                  <a:pt x="267081" y="267938"/>
                </a:lnTo>
                <a:lnTo>
                  <a:pt x="306419" y="267938"/>
                </a:lnTo>
                <a:lnTo>
                  <a:pt x="306419" y="263843"/>
                </a:lnTo>
                <a:lnTo>
                  <a:pt x="338614" y="263843"/>
                </a:lnTo>
                <a:lnTo>
                  <a:pt x="338614" y="261366"/>
                </a:lnTo>
                <a:lnTo>
                  <a:pt x="391287" y="261366"/>
                </a:lnTo>
                <a:lnTo>
                  <a:pt x="391287" y="258604"/>
                </a:lnTo>
                <a:lnTo>
                  <a:pt x="406813" y="258604"/>
                </a:lnTo>
                <a:lnTo>
                  <a:pt x="406813" y="252032"/>
                </a:lnTo>
                <a:lnTo>
                  <a:pt x="442817" y="252032"/>
                </a:lnTo>
                <a:lnTo>
                  <a:pt x="442817" y="246317"/>
                </a:lnTo>
                <a:lnTo>
                  <a:pt x="484823" y="246317"/>
                </a:lnTo>
                <a:lnTo>
                  <a:pt x="484823" y="242221"/>
                </a:lnTo>
                <a:lnTo>
                  <a:pt x="517017" y="242221"/>
                </a:lnTo>
                <a:lnTo>
                  <a:pt x="517017" y="238697"/>
                </a:lnTo>
                <a:lnTo>
                  <a:pt x="532352" y="238697"/>
                </a:lnTo>
                <a:lnTo>
                  <a:pt x="532352" y="235649"/>
                </a:lnTo>
                <a:lnTo>
                  <a:pt x="623507" y="235649"/>
                </a:lnTo>
                <a:lnTo>
                  <a:pt x="623507" y="228791"/>
                </a:lnTo>
                <a:lnTo>
                  <a:pt x="641223" y="228791"/>
                </a:lnTo>
                <a:lnTo>
                  <a:pt x="641223" y="224980"/>
                </a:lnTo>
                <a:lnTo>
                  <a:pt x="658178" y="224980"/>
                </a:lnTo>
                <a:lnTo>
                  <a:pt x="658178" y="220599"/>
                </a:lnTo>
                <a:lnTo>
                  <a:pt x="687134" y="220599"/>
                </a:lnTo>
                <a:lnTo>
                  <a:pt x="687134" y="215932"/>
                </a:lnTo>
                <a:lnTo>
                  <a:pt x="710375" y="215932"/>
                </a:lnTo>
                <a:lnTo>
                  <a:pt x="710375" y="212122"/>
                </a:lnTo>
                <a:lnTo>
                  <a:pt x="726186" y="212122"/>
                </a:lnTo>
                <a:lnTo>
                  <a:pt x="726186" y="207455"/>
                </a:lnTo>
                <a:lnTo>
                  <a:pt x="771525" y="207455"/>
                </a:lnTo>
                <a:lnTo>
                  <a:pt x="771525" y="198406"/>
                </a:lnTo>
                <a:lnTo>
                  <a:pt x="795814" y="198406"/>
                </a:lnTo>
                <a:lnTo>
                  <a:pt x="795814" y="189929"/>
                </a:lnTo>
                <a:lnTo>
                  <a:pt x="828008" y="189929"/>
                </a:lnTo>
                <a:lnTo>
                  <a:pt x="828008" y="188595"/>
                </a:lnTo>
                <a:lnTo>
                  <a:pt x="843820" y="188595"/>
                </a:lnTo>
                <a:lnTo>
                  <a:pt x="843820" y="184499"/>
                </a:lnTo>
                <a:lnTo>
                  <a:pt x="869442" y="184499"/>
                </a:lnTo>
                <a:lnTo>
                  <a:pt x="869442" y="179546"/>
                </a:lnTo>
                <a:lnTo>
                  <a:pt x="895922" y="179546"/>
                </a:lnTo>
                <a:lnTo>
                  <a:pt x="895922" y="176308"/>
                </a:lnTo>
                <a:lnTo>
                  <a:pt x="934117" y="176308"/>
                </a:lnTo>
                <a:lnTo>
                  <a:pt x="934117" y="172784"/>
                </a:lnTo>
                <a:lnTo>
                  <a:pt x="965549" y="172784"/>
                </a:lnTo>
                <a:lnTo>
                  <a:pt x="965549" y="165640"/>
                </a:lnTo>
                <a:lnTo>
                  <a:pt x="1004030" y="165640"/>
                </a:lnTo>
                <a:lnTo>
                  <a:pt x="1004030" y="158305"/>
                </a:lnTo>
                <a:lnTo>
                  <a:pt x="1035177" y="158305"/>
                </a:lnTo>
                <a:lnTo>
                  <a:pt x="1035177" y="154210"/>
                </a:lnTo>
                <a:lnTo>
                  <a:pt x="1063562" y="154210"/>
                </a:lnTo>
                <a:lnTo>
                  <a:pt x="1063562" y="149257"/>
                </a:lnTo>
                <a:lnTo>
                  <a:pt x="1089184" y="149257"/>
                </a:lnTo>
                <a:lnTo>
                  <a:pt x="1089184" y="146209"/>
                </a:lnTo>
                <a:lnTo>
                  <a:pt x="1126903" y="146209"/>
                </a:lnTo>
                <a:lnTo>
                  <a:pt x="1126903" y="140780"/>
                </a:lnTo>
                <a:lnTo>
                  <a:pt x="1158050" y="140780"/>
                </a:lnTo>
                <a:lnTo>
                  <a:pt x="1158050" y="134493"/>
                </a:lnTo>
                <a:lnTo>
                  <a:pt x="1176623" y="134493"/>
                </a:lnTo>
                <a:lnTo>
                  <a:pt x="1176623" y="129064"/>
                </a:lnTo>
                <a:lnTo>
                  <a:pt x="1198150" y="129064"/>
                </a:lnTo>
                <a:lnTo>
                  <a:pt x="1198150" y="124397"/>
                </a:lnTo>
                <a:lnTo>
                  <a:pt x="1224344" y="124397"/>
                </a:lnTo>
                <a:lnTo>
                  <a:pt x="1224344" y="120587"/>
                </a:lnTo>
                <a:lnTo>
                  <a:pt x="1268825" y="120587"/>
                </a:lnTo>
                <a:lnTo>
                  <a:pt x="1268825" y="116491"/>
                </a:lnTo>
                <a:lnTo>
                  <a:pt x="1302449" y="116491"/>
                </a:lnTo>
                <a:lnTo>
                  <a:pt x="1302449" y="111062"/>
                </a:lnTo>
                <a:lnTo>
                  <a:pt x="1361408" y="111062"/>
                </a:lnTo>
                <a:lnTo>
                  <a:pt x="1361408" y="105918"/>
                </a:lnTo>
                <a:lnTo>
                  <a:pt x="1374553" y="105918"/>
                </a:lnTo>
                <a:cubicBezTo>
                  <a:pt x="1374553" y="105918"/>
                  <a:pt x="1373981" y="96393"/>
                  <a:pt x="1374553" y="96393"/>
                </a:cubicBezTo>
                <a:lnTo>
                  <a:pt x="1393984" y="96393"/>
                </a:lnTo>
                <a:lnTo>
                  <a:pt x="1393984" y="92297"/>
                </a:lnTo>
                <a:lnTo>
                  <a:pt x="1413891" y="92297"/>
                </a:lnTo>
                <a:lnTo>
                  <a:pt x="1413891" y="87916"/>
                </a:lnTo>
                <a:lnTo>
                  <a:pt x="1579912" y="87916"/>
                </a:lnTo>
                <a:lnTo>
                  <a:pt x="1579912" y="82201"/>
                </a:lnTo>
                <a:lnTo>
                  <a:pt x="1605534" y="82201"/>
                </a:lnTo>
                <a:lnTo>
                  <a:pt x="1605534" y="78962"/>
                </a:lnTo>
                <a:lnTo>
                  <a:pt x="1636967" y="78962"/>
                </a:lnTo>
                <a:lnTo>
                  <a:pt x="1636967" y="75724"/>
                </a:lnTo>
                <a:lnTo>
                  <a:pt x="1758410" y="75724"/>
                </a:lnTo>
                <a:lnTo>
                  <a:pt x="1758410" y="70009"/>
                </a:lnTo>
                <a:lnTo>
                  <a:pt x="1769364" y="70009"/>
                </a:lnTo>
                <a:lnTo>
                  <a:pt x="1769364" y="67247"/>
                </a:lnTo>
                <a:lnTo>
                  <a:pt x="1793653" y="67247"/>
                </a:lnTo>
                <a:lnTo>
                  <a:pt x="1793653" y="61246"/>
                </a:lnTo>
                <a:lnTo>
                  <a:pt x="1933194" y="61246"/>
                </a:lnTo>
                <a:lnTo>
                  <a:pt x="1933194" y="53912"/>
                </a:lnTo>
                <a:lnTo>
                  <a:pt x="1981486" y="53912"/>
                </a:lnTo>
                <a:lnTo>
                  <a:pt x="1981486" y="47054"/>
                </a:lnTo>
                <a:lnTo>
                  <a:pt x="2012633" y="47054"/>
                </a:lnTo>
                <a:lnTo>
                  <a:pt x="2012633" y="37243"/>
                </a:lnTo>
                <a:lnTo>
                  <a:pt x="2019491" y="37243"/>
                </a:lnTo>
                <a:lnTo>
                  <a:pt x="2019491" y="26003"/>
                </a:lnTo>
                <a:lnTo>
                  <a:pt x="2063210" y="26003"/>
                </a:lnTo>
                <a:lnTo>
                  <a:pt x="2063210" y="17240"/>
                </a:lnTo>
                <a:lnTo>
                  <a:pt x="2080165" y="17240"/>
                </a:lnTo>
                <a:lnTo>
                  <a:pt x="2080165" y="8763"/>
                </a:lnTo>
                <a:lnTo>
                  <a:pt x="2210943" y="8763"/>
                </a:lnTo>
                <a:lnTo>
                  <a:pt x="2210943" y="0"/>
                </a:lnTo>
                <a:lnTo>
                  <a:pt x="2332196" y="0"/>
                </a:lnTo>
              </a:path>
            </a:pathLst>
          </a:custGeom>
          <a:ln w="254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 name="Freeform: Shape 118">
            <a:extLst>
              <a:ext uri="{FF2B5EF4-FFF2-40B4-BE49-F238E27FC236}">
                <a16:creationId xmlns:a16="http://schemas.microsoft.com/office/drawing/2014/main" id="{1616C979-19D9-2CCA-C37F-4CF213F1F099}"/>
              </a:ext>
            </a:extLst>
          </p:cNvPr>
          <p:cNvSpPr/>
          <p:nvPr/>
        </p:nvSpPr>
        <p:spPr>
          <a:xfrm>
            <a:off x="851668" y="4059851"/>
            <a:ext cx="3106152" cy="140151"/>
          </a:xfrm>
          <a:custGeom>
            <a:avLst/>
            <a:gdLst>
              <a:gd name="connsiteX0" fmla="*/ 0 w 2326290"/>
              <a:gd name="connsiteY0" fmla="*/ 102965 h 102965"/>
              <a:gd name="connsiteX1" fmla="*/ 16193 w 2326290"/>
              <a:gd name="connsiteY1" fmla="*/ 102965 h 102965"/>
              <a:gd name="connsiteX2" fmla="*/ 18955 w 2326290"/>
              <a:gd name="connsiteY2" fmla="*/ 102965 h 102965"/>
              <a:gd name="connsiteX3" fmla="*/ 18955 w 2326290"/>
              <a:gd name="connsiteY3" fmla="*/ 97727 h 102965"/>
              <a:gd name="connsiteX4" fmla="*/ 36957 w 2326290"/>
              <a:gd name="connsiteY4" fmla="*/ 97727 h 102965"/>
              <a:gd name="connsiteX5" fmla="*/ 36957 w 2326290"/>
              <a:gd name="connsiteY5" fmla="*/ 93917 h 102965"/>
              <a:gd name="connsiteX6" fmla="*/ 76295 w 2326290"/>
              <a:gd name="connsiteY6" fmla="*/ 93917 h 102965"/>
              <a:gd name="connsiteX7" fmla="*/ 76295 w 2326290"/>
              <a:gd name="connsiteY7" fmla="*/ 90964 h 102965"/>
              <a:gd name="connsiteX8" fmla="*/ 130874 w 2326290"/>
              <a:gd name="connsiteY8" fmla="*/ 90964 h 102965"/>
              <a:gd name="connsiteX9" fmla="*/ 130874 w 2326290"/>
              <a:gd name="connsiteY9" fmla="*/ 87630 h 102965"/>
              <a:gd name="connsiteX10" fmla="*/ 170498 w 2326290"/>
              <a:gd name="connsiteY10" fmla="*/ 87630 h 102965"/>
              <a:gd name="connsiteX11" fmla="*/ 170498 w 2326290"/>
              <a:gd name="connsiteY11" fmla="*/ 84392 h 102965"/>
              <a:gd name="connsiteX12" fmla="*/ 244793 w 2326290"/>
              <a:gd name="connsiteY12" fmla="*/ 84392 h 102965"/>
              <a:gd name="connsiteX13" fmla="*/ 252413 w 2326290"/>
              <a:gd name="connsiteY13" fmla="*/ 84392 h 102965"/>
              <a:gd name="connsiteX14" fmla="*/ 252413 w 2326290"/>
              <a:gd name="connsiteY14" fmla="*/ 80010 h 102965"/>
              <a:gd name="connsiteX15" fmla="*/ 308896 w 2326290"/>
              <a:gd name="connsiteY15" fmla="*/ 80010 h 102965"/>
              <a:gd name="connsiteX16" fmla="*/ 308896 w 2326290"/>
              <a:gd name="connsiteY16" fmla="*/ 77819 h 102965"/>
              <a:gd name="connsiteX17" fmla="*/ 370618 w 2326290"/>
              <a:gd name="connsiteY17" fmla="*/ 77819 h 102965"/>
              <a:gd name="connsiteX18" fmla="*/ 370618 w 2326290"/>
              <a:gd name="connsiteY18" fmla="*/ 74009 h 102965"/>
              <a:gd name="connsiteX19" fmla="*/ 437769 w 2326290"/>
              <a:gd name="connsiteY19" fmla="*/ 74009 h 102965"/>
              <a:gd name="connsiteX20" fmla="*/ 437769 w 2326290"/>
              <a:gd name="connsiteY20" fmla="*/ 71057 h 102965"/>
              <a:gd name="connsiteX21" fmla="*/ 502158 w 2326290"/>
              <a:gd name="connsiteY21" fmla="*/ 71057 h 102965"/>
              <a:gd name="connsiteX22" fmla="*/ 600170 w 2326290"/>
              <a:gd name="connsiteY22" fmla="*/ 71057 h 102965"/>
              <a:gd name="connsiteX23" fmla="*/ 600170 w 2326290"/>
              <a:gd name="connsiteY23" fmla="*/ 67151 h 102965"/>
              <a:gd name="connsiteX24" fmla="*/ 638461 w 2326290"/>
              <a:gd name="connsiteY24" fmla="*/ 67151 h 102965"/>
              <a:gd name="connsiteX25" fmla="*/ 638461 w 2326290"/>
              <a:gd name="connsiteY25" fmla="*/ 64198 h 102965"/>
              <a:gd name="connsiteX26" fmla="*/ 738854 w 2326290"/>
              <a:gd name="connsiteY26" fmla="*/ 64198 h 102965"/>
              <a:gd name="connsiteX27" fmla="*/ 738854 w 2326290"/>
              <a:gd name="connsiteY27" fmla="*/ 61436 h 102965"/>
              <a:gd name="connsiteX28" fmla="*/ 828675 w 2326290"/>
              <a:gd name="connsiteY28" fmla="*/ 61436 h 102965"/>
              <a:gd name="connsiteX29" fmla="*/ 857155 w 2326290"/>
              <a:gd name="connsiteY29" fmla="*/ 61436 h 102965"/>
              <a:gd name="connsiteX30" fmla="*/ 857155 w 2326290"/>
              <a:gd name="connsiteY30" fmla="*/ 56579 h 102965"/>
              <a:gd name="connsiteX31" fmla="*/ 948023 w 2326290"/>
              <a:gd name="connsiteY31" fmla="*/ 56579 h 102965"/>
              <a:gd name="connsiteX32" fmla="*/ 948023 w 2326290"/>
              <a:gd name="connsiteY32" fmla="*/ 53245 h 102965"/>
              <a:gd name="connsiteX33" fmla="*/ 1013555 w 2326290"/>
              <a:gd name="connsiteY33" fmla="*/ 53245 h 102965"/>
              <a:gd name="connsiteX34" fmla="*/ 1013555 w 2326290"/>
              <a:gd name="connsiteY34" fmla="*/ 49435 h 102965"/>
              <a:gd name="connsiteX35" fmla="*/ 1120045 w 2326290"/>
              <a:gd name="connsiteY35" fmla="*/ 49435 h 102965"/>
              <a:gd name="connsiteX36" fmla="*/ 1120045 w 2326290"/>
              <a:gd name="connsiteY36" fmla="*/ 45910 h 102965"/>
              <a:gd name="connsiteX37" fmla="*/ 1132808 w 2326290"/>
              <a:gd name="connsiteY37" fmla="*/ 45910 h 102965"/>
              <a:gd name="connsiteX38" fmla="*/ 1132808 w 2326290"/>
              <a:gd name="connsiteY38" fmla="*/ 43720 h 102965"/>
              <a:gd name="connsiteX39" fmla="*/ 1141571 w 2326290"/>
              <a:gd name="connsiteY39" fmla="*/ 43720 h 102965"/>
              <a:gd name="connsiteX40" fmla="*/ 1141571 w 2326290"/>
              <a:gd name="connsiteY40" fmla="*/ 39624 h 102965"/>
              <a:gd name="connsiteX41" fmla="*/ 1243679 w 2326290"/>
              <a:gd name="connsiteY41" fmla="*/ 39624 h 102965"/>
              <a:gd name="connsiteX42" fmla="*/ 1243679 w 2326290"/>
              <a:gd name="connsiteY42" fmla="*/ 38005 h 102965"/>
              <a:gd name="connsiteX43" fmla="*/ 1325594 w 2326290"/>
              <a:gd name="connsiteY43" fmla="*/ 38005 h 102965"/>
              <a:gd name="connsiteX44" fmla="*/ 1325594 w 2326290"/>
              <a:gd name="connsiteY44" fmla="*/ 33909 h 102965"/>
              <a:gd name="connsiteX45" fmla="*/ 1370076 w 2326290"/>
              <a:gd name="connsiteY45" fmla="*/ 33909 h 102965"/>
              <a:gd name="connsiteX46" fmla="*/ 1370076 w 2326290"/>
              <a:gd name="connsiteY46" fmla="*/ 31433 h 102965"/>
              <a:gd name="connsiteX47" fmla="*/ 1489901 w 2326290"/>
              <a:gd name="connsiteY47" fmla="*/ 31433 h 102965"/>
              <a:gd name="connsiteX48" fmla="*/ 1489901 w 2326290"/>
              <a:gd name="connsiteY48" fmla="*/ 28384 h 102965"/>
              <a:gd name="connsiteX49" fmla="*/ 1519428 w 2326290"/>
              <a:gd name="connsiteY49" fmla="*/ 28384 h 102965"/>
              <a:gd name="connsiteX50" fmla="*/ 1620203 w 2326290"/>
              <a:gd name="connsiteY50" fmla="*/ 28384 h 102965"/>
              <a:gd name="connsiteX51" fmla="*/ 1620203 w 2326290"/>
              <a:gd name="connsiteY51" fmla="*/ 23813 h 102965"/>
              <a:gd name="connsiteX52" fmla="*/ 1752600 w 2326290"/>
              <a:gd name="connsiteY52" fmla="*/ 23813 h 102965"/>
              <a:gd name="connsiteX53" fmla="*/ 1860137 w 2326290"/>
              <a:gd name="connsiteY53" fmla="*/ 23813 h 102965"/>
              <a:gd name="connsiteX54" fmla="*/ 1922431 w 2326290"/>
              <a:gd name="connsiteY54" fmla="*/ 23813 h 102965"/>
              <a:gd name="connsiteX55" fmla="*/ 1989868 w 2326290"/>
              <a:gd name="connsiteY55" fmla="*/ 23813 h 102965"/>
              <a:gd name="connsiteX56" fmla="*/ 1989868 w 2326290"/>
              <a:gd name="connsiteY56" fmla="*/ 10382 h 102965"/>
              <a:gd name="connsiteX57" fmla="*/ 2119217 w 2326290"/>
              <a:gd name="connsiteY57" fmla="*/ 10382 h 102965"/>
              <a:gd name="connsiteX58" fmla="*/ 2119217 w 2326290"/>
              <a:gd name="connsiteY58" fmla="*/ 3810 h 102965"/>
              <a:gd name="connsiteX59" fmla="*/ 2119217 w 2326290"/>
              <a:gd name="connsiteY59" fmla="*/ 0 h 102965"/>
              <a:gd name="connsiteX60" fmla="*/ 2326291 w 2326290"/>
              <a:gd name="connsiteY60" fmla="*/ 0 h 102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2326290" h="102965">
                <a:moveTo>
                  <a:pt x="0" y="102965"/>
                </a:moveTo>
                <a:lnTo>
                  <a:pt x="16193" y="102965"/>
                </a:lnTo>
                <a:lnTo>
                  <a:pt x="18955" y="102965"/>
                </a:lnTo>
                <a:lnTo>
                  <a:pt x="18955" y="97727"/>
                </a:lnTo>
                <a:lnTo>
                  <a:pt x="36957" y="97727"/>
                </a:lnTo>
                <a:lnTo>
                  <a:pt x="36957" y="93917"/>
                </a:lnTo>
                <a:lnTo>
                  <a:pt x="76295" y="93917"/>
                </a:lnTo>
                <a:lnTo>
                  <a:pt x="76295" y="90964"/>
                </a:lnTo>
                <a:lnTo>
                  <a:pt x="130874" y="90964"/>
                </a:lnTo>
                <a:lnTo>
                  <a:pt x="130874" y="87630"/>
                </a:lnTo>
                <a:lnTo>
                  <a:pt x="170498" y="87630"/>
                </a:lnTo>
                <a:lnTo>
                  <a:pt x="170498" y="84392"/>
                </a:lnTo>
                <a:lnTo>
                  <a:pt x="244793" y="84392"/>
                </a:lnTo>
                <a:lnTo>
                  <a:pt x="252413" y="84392"/>
                </a:lnTo>
                <a:lnTo>
                  <a:pt x="252413" y="80010"/>
                </a:lnTo>
                <a:lnTo>
                  <a:pt x="308896" y="80010"/>
                </a:lnTo>
                <a:lnTo>
                  <a:pt x="308896" y="77819"/>
                </a:lnTo>
                <a:lnTo>
                  <a:pt x="370618" y="77819"/>
                </a:lnTo>
                <a:lnTo>
                  <a:pt x="370618" y="74009"/>
                </a:lnTo>
                <a:lnTo>
                  <a:pt x="437769" y="74009"/>
                </a:lnTo>
                <a:lnTo>
                  <a:pt x="437769" y="71057"/>
                </a:lnTo>
                <a:lnTo>
                  <a:pt x="502158" y="71057"/>
                </a:lnTo>
                <a:lnTo>
                  <a:pt x="600170" y="71057"/>
                </a:lnTo>
                <a:lnTo>
                  <a:pt x="600170" y="67151"/>
                </a:lnTo>
                <a:lnTo>
                  <a:pt x="638461" y="67151"/>
                </a:lnTo>
                <a:lnTo>
                  <a:pt x="638461" y="64198"/>
                </a:lnTo>
                <a:lnTo>
                  <a:pt x="738854" y="64198"/>
                </a:lnTo>
                <a:lnTo>
                  <a:pt x="738854" y="61436"/>
                </a:lnTo>
                <a:lnTo>
                  <a:pt x="828675" y="61436"/>
                </a:lnTo>
                <a:lnTo>
                  <a:pt x="857155" y="61436"/>
                </a:lnTo>
                <a:lnTo>
                  <a:pt x="857155" y="56579"/>
                </a:lnTo>
                <a:lnTo>
                  <a:pt x="948023" y="56579"/>
                </a:lnTo>
                <a:lnTo>
                  <a:pt x="948023" y="53245"/>
                </a:lnTo>
                <a:lnTo>
                  <a:pt x="1013555" y="53245"/>
                </a:lnTo>
                <a:lnTo>
                  <a:pt x="1013555" y="49435"/>
                </a:lnTo>
                <a:lnTo>
                  <a:pt x="1120045" y="49435"/>
                </a:lnTo>
                <a:lnTo>
                  <a:pt x="1120045" y="45910"/>
                </a:lnTo>
                <a:lnTo>
                  <a:pt x="1132808" y="45910"/>
                </a:lnTo>
                <a:lnTo>
                  <a:pt x="1132808" y="43720"/>
                </a:lnTo>
                <a:lnTo>
                  <a:pt x="1141571" y="43720"/>
                </a:lnTo>
                <a:lnTo>
                  <a:pt x="1141571" y="39624"/>
                </a:lnTo>
                <a:lnTo>
                  <a:pt x="1243679" y="39624"/>
                </a:lnTo>
                <a:lnTo>
                  <a:pt x="1243679" y="38005"/>
                </a:lnTo>
                <a:lnTo>
                  <a:pt x="1325594" y="38005"/>
                </a:lnTo>
                <a:lnTo>
                  <a:pt x="1325594" y="33909"/>
                </a:lnTo>
                <a:lnTo>
                  <a:pt x="1370076" y="33909"/>
                </a:lnTo>
                <a:lnTo>
                  <a:pt x="1370076" y="31433"/>
                </a:lnTo>
                <a:lnTo>
                  <a:pt x="1489901" y="31433"/>
                </a:lnTo>
                <a:lnTo>
                  <a:pt x="1489901" y="28384"/>
                </a:lnTo>
                <a:lnTo>
                  <a:pt x="1519428" y="28384"/>
                </a:lnTo>
                <a:lnTo>
                  <a:pt x="1620203" y="28384"/>
                </a:lnTo>
                <a:lnTo>
                  <a:pt x="1620203" y="23813"/>
                </a:lnTo>
                <a:lnTo>
                  <a:pt x="1752600" y="23813"/>
                </a:lnTo>
                <a:lnTo>
                  <a:pt x="1860137" y="23813"/>
                </a:lnTo>
                <a:lnTo>
                  <a:pt x="1922431" y="23813"/>
                </a:lnTo>
                <a:lnTo>
                  <a:pt x="1989868" y="23813"/>
                </a:lnTo>
                <a:lnTo>
                  <a:pt x="1989868" y="10382"/>
                </a:lnTo>
                <a:lnTo>
                  <a:pt x="2119217" y="10382"/>
                </a:lnTo>
                <a:lnTo>
                  <a:pt x="2119217" y="3810"/>
                </a:lnTo>
                <a:lnTo>
                  <a:pt x="2119217" y="0"/>
                </a:lnTo>
                <a:lnTo>
                  <a:pt x="2326291" y="0"/>
                </a:lnTo>
              </a:path>
            </a:pathLst>
          </a:custGeom>
          <a:noFill/>
          <a:ln w="25400" cap="flat">
            <a:solidFill>
              <a:srgbClr val="AB162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2760" name="Group 2759">
            <a:extLst>
              <a:ext uri="{FF2B5EF4-FFF2-40B4-BE49-F238E27FC236}">
                <a16:creationId xmlns:a16="http://schemas.microsoft.com/office/drawing/2014/main" id="{5D51795C-468F-A32D-F203-CB53B1EC547D}"/>
              </a:ext>
            </a:extLst>
          </p:cNvPr>
          <p:cNvGrpSpPr/>
          <p:nvPr/>
        </p:nvGrpSpPr>
        <p:grpSpPr>
          <a:xfrm>
            <a:off x="959164" y="2444680"/>
            <a:ext cx="1234512" cy="215444"/>
            <a:chOff x="959164" y="2444680"/>
            <a:chExt cx="1234512" cy="215444"/>
          </a:xfrm>
        </p:grpSpPr>
        <p:sp>
          <p:nvSpPr>
            <p:cNvPr id="122" name="TextBox 121">
              <a:extLst>
                <a:ext uri="{FF2B5EF4-FFF2-40B4-BE49-F238E27FC236}">
                  <a16:creationId xmlns:a16="http://schemas.microsoft.com/office/drawing/2014/main" id="{AC9A383A-34B5-CE90-22C7-C9B4F061354B}"/>
                </a:ext>
              </a:extLst>
            </p:cNvPr>
            <p:cNvSpPr txBox="1"/>
            <p:nvPr/>
          </p:nvSpPr>
          <p:spPr>
            <a:xfrm>
              <a:off x="1265793" y="2444680"/>
              <a:ext cx="927883" cy="215444"/>
            </a:xfrm>
            <a:prstGeom prst="rect">
              <a:avLst/>
            </a:prstGeom>
            <a:noFill/>
          </p:spPr>
          <p:txBody>
            <a:bodyPr wrap="none" lIns="0" tIns="0" rIns="0" bIns="0"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Lymphoma </a:t>
              </a:r>
            </a:p>
          </p:txBody>
        </p:sp>
        <p:cxnSp>
          <p:nvCxnSpPr>
            <p:cNvPr id="129" name="Straight Connector 128">
              <a:extLst>
                <a:ext uri="{FF2B5EF4-FFF2-40B4-BE49-F238E27FC236}">
                  <a16:creationId xmlns:a16="http://schemas.microsoft.com/office/drawing/2014/main" id="{1DB7F89C-AE94-F256-9C97-BAD6F5A3BC0E}"/>
                </a:ext>
              </a:extLst>
            </p:cNvPr>
            <p:cNvCxnSpPr>
              <a:cxnSpLocks/>
            </p:cNvCxnSpPr>
            <p:nvPr/>
          </p:nvCxnSpPr>
          <p:spPr>
            <a:xfrm>
              <a:off x="959164" y="2552401"/>
              <a:ext cx="228138"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759" name="Group 2758">
            <a:extLst>
              <a:ext uri="{FF2B5EF4-FFF2-40B4-BE49-F238E27FC236}">
                <a16:creationId xmlns:a16="http://schemas.microsoft.com/office/drawing/2014/main" id="{F2AE29E0-EAEE-7565-29E5-3F54DA61B65D}"/>
              </a:ext>
            </a:extLst>
          </p:cNvPr>
          <p:cNvGrpSpPr/>
          <p:nvPr/>
        </p:nvGrpSpPr>
        <p:grpSpPr>
          <a:xfrm>
            <a:off x="959164" y="2707894"/>
            <a:ext cx="2217152" cy="215444"/>
            <a:chOff x="959164" y="2634076"/>
            <a:chExt cx="2217152" cy="215444"/>
          </a:xfrm>
        </p:grpSpPr>
        <p:sp>
          <p:nvSpPr>
            <p:cNvPr id="123" name="TextBox 122">
              <a:extLst>
                <a:ext uri="{FF2B5EF4-FFF2-40B4-BE49-F238E27FC236}">
                  <a16:creationId xmlns:a16="http://schemas.microsoft.com/office/drawing/2014/main" id="{C0944516-ADDC-F095-ABF3-EA4E9BB8A916}"/>
                </a:ext>
              </a:extLst>
            </p:cNvPr>
            <p:cNvSpPr txBox="1"/>
            <p:nvPr/>
          </p:nvSpPr>
          <p:spPr>
            <a:xfrm>
              <a:off x="1265793" y="2634076"/>
              <a:ext cx="1910523" cy="215444"/>
            </a:xfrm>
            <a:prstGeom prst="rect">
              <a:avLst/>
            </a:prstGeom>
            <a:noFill/>
          </p:spPr>
          <p:txBody>
            <a:bodyPr wrap="none" lIns="0" tIns="0" rIns="0" bIns="0"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Treatment-related death</a:t>
              </a:r>
            </a:p>
          </p:txBody>
        </p:sp>
        <p:cxnSp>
          <p:nvCxnSpPr>
            <p:cNvPr id="130" name="Straight Connector 129">
              <a:extLst>
                <a:ext uri="{FF2B5EF4-FFF2-40B4-BE49-F238E27FC236}">
                  <a16:creationId xmlns:a16="http://schemas.microsoft.com/office/drawing/2014/main" id="{3114DA64-9AD5-DBD6-0A64-C72E9CB21534}"/>
                </a:ext>
              </a:extLst>
            </p:cNvPr>
            <p:cNvCxnSpPr>
              <a:cxnSpLocks/>
            </p:cNvCxnSpPr>
            <p:nvPr/>
          </p:nvCxnSpPr>
          <p:spPr>
            <a:xfrm>
              <a:off x="959164" y="2741797"/>
              <a:ext cx="228138" cy="0"/>
            </a:xfrm>
            <a:prstGeom prst="line">
              <a:avLst/>
            </a:prstGeom>
            <a:ln w="25400">
              <a:solidFill>
                <a:srgbClr val="AB162B"/>
              </a:solidFill>
            </a:ln>
          </p:spPr>
          <p:style>
            <a:lnRef idx="1">
              <a:schemeClr val="accent1"/>
            </a:lnRef>
            <a:fillRef idx="0">
              <a:schemeClr val="accent1"/>
            </a:fillRef>
            <a:effectRef idx="0">
              <a:schemeClr val="accent1"/>
            </a:effectRef>
            <a:fontRef idx="minor">
              <a:schemeClr val="tx1"/>
            </a:fontRef>
          </p:style>
        </p:cxnSp>
      </p:grpSp>
      <p:grpSp>
        <p:nvGrpSpPr>
          <p:cNvPr id="2758" name="Group 2757">
            <a:extLst>
              <a:ext uri="{FF2B5EF4-FFF2-40B4-BE49-F238E27FC236}">
                <a16:creationId xmlns:a16="http://schemas.microsoft.com/office/drawing/2014/main" id="{389FB220-441B-D299-344E-532A294300AD}"/>
              </a:ext>
            </a:extLst>
          </p:cNvPr>
          <p:cNvGrpSpPr/>
          <p:nvPr/>
        </p:nvGrpSpPr>
        <p:grpSpPr>
          <a:xfrm>
            <a:off x="959164" y="2971108"/>
            <a:ext cx="1609871" cy="215444"/>
            <a:chOff x="959164" y="2823472"/>
            <a:chExt cx="1609871" cy="215444"/>
          </a:xfrm>
        </p:grpSpPr>
        <p:sp>
          <p:nvSpPr>
            <p:cNvPr id="124" name="TextBox 123">
              <a:extLst>
                <a:ext uri="{FF2B5EF4-FFF2-40B4-BE49-F238E27FC236}">
                  <a16:creationId xmlns:a16="http://schemas.microsoft.com/office/drawing/2014/main" id="{85325BF0-1EC2-29C3-B707-A94ED574BE6A}"/>
                </a:ext>
              </a:extLst>
            </p:cNvPr>
            <p:cNvSpPr txBox="1"/>
            <p:nvPr/>
          </p:nvSpPr>
          <p:spPr>
            <a:xfrm>
              <a:off x="1265793" y="2823472"/>
              <a:ext cx="1303242" cy="215444"/>
            </a:xfrm>
            <a:prstGeom prst="rect">
              <a:avLst/>
            </a:prstGeom>
            <a:noFill/>
          </p:spPr>
          <p:txBody>
            <a:bodyPr wrap="none" lIns="0" tIns="0" rIns="0" bIns="0"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Other maligancy</a:t>
              </a:r>
            </a:p>
          </p:txBody>
        </p:sp>
        <p:cxnSp>
          <p:nvCxnSpPr>
            <p:cNvPr id="131" name="Straight Connector 130">
              <a:extLst>
                <a:ext uri="{FF2B5EF4-FFF2-40B4-BE49-F238E27FC236}">
                  <a16:creationId xmlns:a16="http://schemas.microsoft.com/office/drawing/2014/main" id="{A329594D-4A33-4735-443C-AFF829D7A289}"/>
                </a:ext>
              </a:extLst>
            </p:cNvPr>
            <p:cNvCxnSpPr>
              <a:cxnSpLocks/>
            </p:cNvCxnSpPr>
            <p:nvPr/>
          </p:nvCxnSpPr>
          <p:spPr>
            <a:xfrm>
              <a:off x="959164" y="2931193"/>
              <a:ext cx="228138" cy="0"/>
            </a:xfrm>
            <a:prstGeom prst="line">
              <a:avLst/>
            </a:prstGeom>
            <a:ln w="25400">
              <a:solidFill>
                <a:srgbClr val="009992"/>
              </a:solidFill>
            </a:ln>
          </p:spPr>
          <p:style>
            <a:lnRef idx="1">
              <a:schemeClr val="accent1"/>
            </a:lnRef>
            <a:fillRef idx="0">
              <a:schemeClr val="accent1"/>
            </a:fillRef>
            <a:effectRef idx="0">
              <a:schemeClr val="accent1"/>
            </a:effectRef>
            <a:fontRef idx="minor">
              <a:schemeClr val="tx1"/>
            </a:fontRef>
          </p:style>
        </p:cxnSp>
      </p:grpSp>
      <p:grpSp>
        <p:nvGrpSpPr>
          <p:cNvPr id="2757" name="Group 2756">
            <a:extLst>
              <a:ext uri="{FF2B5EF4-FFF2-40B4-BE49-F238E27FC236}">
                <a16:creationId xmlns:a16="http://schemas.microsoft.com/office/drawing/2014/main" id="{17C98F20-ADE5-E342-645A-B8C9004ED1E2}"/>
              </a:ext>
            </a:extLst>
          </p:cNvPr>
          <p:cNvGrpSpPr/>
          <p:nvPr/>
        </p:nvGrpSpPr>
        <p:grpSpPr>
          <a:xfrm>
            <a:off x="959164" y="3234323"/>
            <a:ext cx="1371023" cy="215444"/>
            <a:chOff x="959164" y="3136693"/>
            <a:chExt cx="1371023" cy="215444"/>
          </a:xfrm>
        </p:grpSpPr>
        <p:sp>
          <p:nvSpPr>
            <p:cNvPr id="125" name="TextBox 124">
              <a:extLst>
                <a:ext uri="{FF2B5EF4-FFF2-40B4-BE49-F238E27FC236}">
                  <a16:creationId xmlns:a16="http://schemas.microsoft.com/office/drawing/2014/main" id="{6191A6CB-FE16-2081-4DD1-B83B9596F2D8}"/>
                </a:ext>
              </a:extLst>
            </p:cNvPr>
            <p:cNvSpPr txBox="1"/>
            <p:nvPr/>
          </p:nvSpPr>
          <p:spPr>
            <a:xfrm>
              <a:off x="1265793" y="3136693"/>
              <a:ext cx="1064394" cy="215444"/>
            </a:xfrm>
            <a:prstGeom prst="rect">
              <a:avLst/>
            </a:prstGeom>
            <a:noFill/>
          </p:spPr>
          <p:txBody>
            <a:bodyPr wrap="none" lIns="0" tIns="0" rIns="0" bIns="0"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Other causes</a:t>
              </a:r>
            </a:p>
          </p:txBody>
        </p:sp>
        <p:cxnSp>
          <p:nvCxnSpPr>
            <p:cNvPr id="132" name="Straight Connector 131">
              <a:extLst>
                <a:ext uri="{FF2B5EF4-FFF2-40B4-BE49-F238E27FC236}">
                  <a16:creationId xmlns:a16="http://schemas.microsoft.com/office/drawing/2014/main" id="{AF3E6CBF-0DD3-9E05-152A-B711C88EE7E7}"/>
                </a:ext>
              </a:extLst>
            </p:cNvPr>
            <p:cNvCxnSpPr>
              <a:cxnSpLocks/>
            </p:cNvCxnSpPr>
            <p:nvPr/>
          </p:nvCxnSpPr>
          <p:spPr>
            <a:xfrm>
              <a:off x="959164" y="3244414"/>
              <a:ext cx="228138"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756" name="Group 2755">
            <a:extLst>
              <a:ext uri="{FF2B5EF4-FFF2-40B4-BE49-F238E27FC236}">
                <a16:creationId xmlns:a16="http://schemas.microsoft.com/office/drawing/2014/main" id="{D9C4B636-B13E-263E-0D70-E6E36E3AF06D}"/>
              </a:ext>
            </a:extLst>
          </p:cNvPr>
          <p:cNvGrpSpPr/>
          <p:nvPr/>
        </p:nvGrpSpPr>
        <p:grpSpPr>
          <a:xfrm>
            <a:off x="959164" y="3497538"/>
            <a:ext cx="1053628" cy="215444"/>
            <a:chOff x="959164" y="3402288"/>
            <a:chExt cx="1053628" cy="215444"/>
          </a:xfrm>
        </p:grpSpPr>
        <p:sp>
          <p:nvSpPr>
            <p:cNvPr id="126" name="TextBox 125">
              <a:extLst>
                <a:ext uri="{FF2B5EF4-FFF2-40B4-BE49-F238E27FC236}">
                  <a16:creationId xmlns:a16="http://schemas.microsoft.com/office/drawing/2014/main" id="{3AF84CDB-B5A2-40B0-4805-3D1E1D1B97ED}"/>
                </a:ext>
              </a:extLst>
            </p:cNvPr>
            <p:cNvSpPr txBox="1"/>
            <p:nvPr/>
          </p:nvSpPr>
          <p:spPr>
            <a:xfrm>
              <a:off x="1265793" y="3402288"/>
              <a:ext cx="746999" cy="215444"/>
            </a:xfrm>
            <a:prstGeom prst="rect">
              <a:avLst/>
            </a:prstGeom>
            <a:noFill/>
          </p:spPr>
          <p:txBody>
            <a:bodyPr wrap="none" lIns="0" tIns="0" rIns="0" bIns="0"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Unknown</a:t>
              </a:r>
            </a:p>
          </p:txBody>
        </p:sp>
        <p:cxnSp>
          <p:nvCxnSpPr>
            <p:cNvPr id="133" name="Straight Connector 132">
              <a:extLst>
                <a:ext uri="{FF2B5EF4-FFF2-40B4-BE49-F238E27FC236}">
                  <a16:creationId xmlns:a16="http://schemas.microsoft.com/office/drawing/2014/main" id="{DCE13BEF-22AD-8D7B-269B-1E54E4CDF556}"/>
                </a:ext>
              </a:extLst>
            </p:cNvPr>
            <p:cNvCxnSpPr>
              <a:cxnSpLocks/>
            </p:cNvCxnSpPr>
            <p:nvPr/>
          </p:nvCxnSpPr>
          <p:spPr>
            <a:xfrm>
              <a:off x="959164" y="3500484"/>
              <a:ext cx="228138" cy="0"/>
            </a:xfrm>
            <a:prstGeom prst="line">
              <a:avLst/>
            </a:prstGeom>
            <a:ln w="25400">
              <a:solidFill>
                <a:srgbClr val="902283"/>
              </a:solidFill>
            </a:ln>
          </p:spPr>
          <p:style>
            <a:lnRef idx="1">
              <a:schemeClr val="accent1"/>
            </a:lnRef>
            <a:fillRef idx="0">
              <a:schemeClr val="accent1"/>
            </a:fillRef>
            <a:effectRef idx="0">
              <a:schemeClr val="accent1"/>
            </a:effectRef>
            <a:fontRef idx="minor">
              <a:schemeClr val="tx1"/>
            </a:fontRef>
          </p:style>
        </p:cxnSp>
      </p:grpSp>
      <p:sp>
        <p:nvSpPr>
          <p:cNvPr id="117" name="Freeform: Shape 116">
            <a:extLst>
              <a:ext uri="{FF2B5EF4-FFF2-40B4-BE49-F238E27FC236}">
                <a16:creationId xmlns:a16="http://schemas.microsoft.com/office/drawing/2014/main" id="{AF900302-10B6-346E-22DA-2A08852F6300}"/>
              </a:ext>
            </a:extLst>
          </p:cNvPr>
          <p:cNvSpPr/>
          <p:nvPr/>
        </p:nvSpPr>
        <p:spPr>
          <a:xfrm>
            <a:off x="844674" y="4079687"/>
            <a:ext cx="3113147" cy="125241"/>
          </a:xfrm>
          <a:custGeom>
            <a:avLst/>
            <a:gdLst>
              <a:gd name="connsiteX0" fmla="*/ 0 w 2331529"/>
              <a:gd name="connsiteY0" fmla="*/ 92011 h 92011"/>
              <a:gd name="connsiteX1" fmla="*/ 109728 w 2331529"/>
              <a:gd name="connsiteY1" fmla="*/ 92011 h 92011"/>
              <a:gd name="connsiteX2" fmla="*/ 109728 w 2331529"/>
              <a:gd name="connsiteY2" fmla="*/ 86582 h 92011"/>
              <a:gd name="connsiteX3" fmla="*/ 198215 w 2331529"/>
              <a:gd name="connsiteY3" fmla="*/ 86582 h 92011"/>
              <a:gd name="connsiteX4" fmla="*/ 198215 w 2331529"/>
              <a:gd name="connsiteY4" fmla="*/ 84391 h 92011"/>
              <a:gd name="connsiteX5" fmla="*/ 355187 w 2331529"/>
              <a:gd name="connsiteY5" fmla="*/ 84391 h 92011"/>
              <a:gd name="connsiteX6" fmla="*/ 355187 w 2331529"/>
              <a:gd name="connsiteY6" fmla="*/ 79724 h 92011"/>
              <a:gd name="connsiteX7" fmla="*/ 377571 w 2331529"/>
              <a:gd name="connsiteY7" fmla="*/ 79724 h 92011"/>
              <a:gd name="connsiteX8" fmla="*/ 377571 w 2331529"/>
              <a:gd name="connsiteY8" fmla="*/ 76771 h 92011"/>
              <a:gd name="connsiteX9" fmla="*/ 456152 w 2331529"/>
              <a:gd name="connsiteY9" fmla="*/ 76771 h 92011"/>
              <a:gd name="connsiteX10" fmla="*/ 510254 w 2331529"/>
              <a:gd name="connsiteY10" fmla="*/ 76771 h 92011"/>
              <a:gd name="connsiteX11" fmla="*/ 510254 w 2331529"/>
              <a:gd name="connsiteY11" fmla="*/ 74009 h 92011"/>
              <a:gd name="connsiteX12" fmla="*/ 601980 w 2331529"/>
              <a:gd name="connsiteY12" fmla="*/ 74009 h 92011"/>
              <a:gd name="connsiteX13" fmla="*/ 601980 w 2331529"/>
              <a:gd name="connsiteY13" fmla="*/ 69342 h 92011"/>
              <a:gd name="connsiteX14" fmla="*/ 701326 w 2331529"/>
              <a:gd name="connsiteY14" fmla="*/ 69342 h 92011"/>
              <a:gd name="connsiteX15" fmla="*/ 701326 w 2331529"/>
              <a:gd name="connsiteY15" fmla="*/ 64198 h 92011"/>
              <a:gd name="connsiteX16" fmla="*/ 721043 w 2331529"/>
              <a:gd name="connsiteY16" fmla="*/ 64198 h 92011"/>
              <a:gd name="connsiteX17" fmla="*/ 721043 w 2331529"/>
              <a:gd name="connsiteY17" fmla="*/ 61722 h 92011"/>
              <a:gd name="connsiteX18" fmla="*/ 830199 w 2331529"/>
              <a:gd name="connsiteY18" fmla="*/ 61722 h 92011"/>
              <a:gd name="connsiteX19" fmla="*/ 887825 w 2331529"/>
              <a:gd name="connsiteY19" fmla="*/ 61722 h 92011"/>
              <a:gd name="connsiteX20" fmla="*/ 887825 w 2331529"/>
              <a:gd name="connsiteY20" fmla="*/ 56579 h 92011"/>
              <a:gd name="connsiteX21" fmla="*/ 933450 w 2331529"/>
              <a:gd name="connsiteY21" fmla="*/ 56579 h 92011"/>
              <a:gd name="connsiteX22" fmla="*/ 933450 w 2331529"/>
              <a:gd name="connsiteY22" fmla="*/ 54388 h 92011"/>
              <a:gd name="connsiteX23" fmla="*/ 1035558 w 2331529"/>
              <a:gd name="connsiteY23" fmla="*/ 54388 h 92011"/>
              <a:gd name="connsiteX24" fmla="*/ 1107281 w 2331529"/>
              <a:gd name="connsiteY24" fmla="*/ 54388 h 92011"/>
              <a:gd name="connsiteX25" fmla="*/ 1107281 w 2331529"/>
              <a:gd name="connsiteY25" fmla="*/ 51054 h 92011"/>
              <a:gd name="connsiteX26" fmla="*/ 1199864 w 2331529"/>
              <a:gd name="connsiteY26" fmla="*/ 51054 h 92011"/>
              <a:gd name="connsiteX27" fmla="*/ 1199864 w 2331529"/>
              <a:gd name="connsiteY27" fmla="*/ 47816 h 92011"/>
              <a:gd name="connsiteX28" fmla="*/ 1257776 w 2331529"/>
              <a:gd name="connsiteY28" fmla="*/ 47816 h 92011"/>
              <a:gd name="connsiteX29" fmla="*/ 1257776 w 2331529"/>
              <a:gd name="connsiteY29" fmla="*/ 46196 h 92011"/>
              <a:gd name="connsiteX30" fmla="*/ 1290257 w 2331529"/>
              <a:gd name="connsiteY30" fmla="*/ 46196 h 92011"/>
              <a:gd name="connsiteX31" fmla="*/ 1316164 w 2331529"/>
              <a:gd name="connsiteY31" fmla="*/ 46196 h 92011"/>
              <a:gd name="connsiteX32" fmla="*/ 1316164 w 2331529"/>
              <a:gd name="connsiteY32" fmla="*/ 38005 h 92011"/>
              <a:gd name="connsiteX33" fmla="*/ 1336358 w 2331529"/>
              <a:gd name="connsiteY33" fmla="*/ 38005 h 92011"/>
              <a:gd name="connsiteX34" fmla="*/ 1400937 w 2331529"/>
              <a:gd name="connsiteY34" fmla="*/ 38005 h 92011"/>
              <a:gd name="connsiteX35" fmla="*/ 1400937 w 2331529"/>
              <a:gd name="connsiteY35" fmla="*/ 34385 h 92011"/>
              <a:gd name="connsiteX36" fmla="*/ 1561338 w 2331529"/>
              <a:gd name="connsiteY36" fmla="*/ 34385 h 92011"/>
              <a:gd name="connsiteX37" fmla="*/ 1561338 w 2331529"/>
              <a:gd name="connsiteY37" fmla="*/ 30575 h 92011"/>
              <a:gd name="connsiteX38" fmla="*/ 1683353 w 2331529"/>
              <a:gd name="connsiteY38" fmla="*/ 30575 h 92011"/>
              <a:gd name="connsiteX39" fmla="*/ 1683353 w 2331529"/>
              <a:gd name="connsiteY39" fmla="*/ 25717 h 92011"/>
              <a:gd name="connsiteX40" fmla="*/ 1755172 w 2331529"/>
              <a:gd name="connsiteY40" fmla="*/ 25717 h 92011"/>
              <a:gd name="connsiteX41" fmla="*/ 1755172 w 2331529"/>
              <a:gd name="connsiteY41" fmla="*/ 24003 h 92011"/>
              <a:gd name="connsiteX42" fmla="*/ 1795272 w 2331529"/>
              <a:gd name="connsiteY42" fmla="*/ 24003 h 92011"/>
              <a:gd name="connsiteX43" fmla="*/ 1795272 w 2331529"/>
              <a:gd name="connsiteY43" fmla="*/ 19431 h 92011"/>
              <a:gd name="connsiteX44" fmla="*/ 1841754 w 2331529"/>
              <a:gd name="connsiteY44" fmla="*/ 19431 h 92011"/>
              <a:gd name="connsiteX45" fmla="*/ 1841754 w 2331529"/>
              <a:gd name="connsiteY45" fmla="*/ 13144 h 92011"/>
              <a:gd name="connsiteX46" fmla="*/ 1907286 w 2331529"/>
              <a:gd name="connsiteY46" fmla="*/ 13144 h 92011"/>
              <a:gd name="connsiteX47" fmla="*/ 1907286 w 2331529"/>
              <a:gd name="connsiteY47" fmla="*/ 7620 h 92011"/>
              <a:gd name="connsiteX48" fmla="*/ 2019205 w 2331529"/>
              <a:gd name="connsiteY48" fmla="*/ 7620 h 92011"/>
              <a:gd name="connsiteX49" fmla="*/ 2019205 w 2331529"/>
              <a:gd name="connsiteY49" fmla="*/ 0 h 92011"/>
              <a:gd name="connsiteX50" fmla="*/ 2331530 w 2331529"/>
              <a:gd name="connsiteY50" fmla="*/ 0 h 92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331529" h="92011">
                <a:moveTo>
                  <a:pt x="0" y="92011"/>
                </a:moveTo>
                <a:lnTo>
                  <a:pt x="109728" y="92011"/>
                </a:lnTo>
                <a:lnTo>
                  <a:pt x="109728" y="86582"/>
                </a:lnTo>
                <a:lnTo>
                  <a:pt x="198215" y="86582"/>
                </a:lnTo>
                <a:lnTo>
                  <a:pt x="198215" y="84391"/>
                </a:lnTo>
                <a:lnTo>
                  <a:pt x="355187" y="84391"/>
                </a:lnTo>
                <a:lnTo>
                  <a:pt x="355187" y="79724"/>
                </a:lnTo>
                <a:lnTo>
                  <a:pt x="377571" y="79724"/>
                </a:lnTo>
                <a:lnTo>
                  <a:pt x="377571" y="76771"/>
                </a:lnTo>
                <a:lnTo>
                  <a:pt x="456152" y="76771"/>
                </a:lnTo>
                <a:lnTo>
                  <a:pt x="510254" y="76771"/>
                </a:lnTo>
                <a:lnTo>
                  <a:pt x="510254" y="74009"/>
                </a:lnTo>
                <a:lnTo>
                  <a:pt x="601980" y="74009"/>
                </a:lnTo>
                <a:lnTo>
                  <a:pt x="601980" y="69342"/>
                </a:lnTo>
                <a:lnTo>
                  <a:pt x="701326" y="69342"/>
                </a:lnTo>
                <a:lnTo>
                  <a:pt x="701326" y="64198"/>
                </a:lnTo>
                <a:lnTo>
                  <a:pt x="721043" y="64198"/>
                </a:lnTo>
                <a:lnTo>
                  <a:pt x="721043" y="61722"/>
                </a:lnTo>
                <a:lnTo>
                  <a:pt x="830199" y="61722"/>
                </a:lnTo>
                <a:lnTo>
                  <a:pt x="887825" y="61722"/>
                </a:lnTo>
                <a:lnTo>
                  <a:pt x="887825" y="56579"/>
                </a:lnTo>
                <a:lnTo>
                  <a:pt x="933450" y="56579"/>
                </a:lnTo>
                <a:lnTo>
                  <a:pt x="933450" y="54388"/>
                </a:lnTo>
                <a:lnTo>
                  <a:pt x="1035558" y="54388"/>
                </a:lnTo>
                <a:lnTo>
                  <a:pt x="1107281" y="54388"/>
                </a:lnTo>
                <a:lnTo>
                  <a:pt x="1107281" y="51054"/>
                </a:lnTo>
                <a:lnTo>
                  <a:pt x="1199864" y="51054"/>
                </a:lnTo>
                <a:lnTo>
                  <a:pt x="1199864" y="47816"/>
                </a:lnTo>
                <a:lnTo>
                  <a:pt x="1257776" y="47816"/>
                </a:lnTo>
                <a:lnTo>
                  <a:pt x="1257776" y="46196"/>
                </a:lnTo>
                <a:lnTo>
                  <a:pt x="1290257" y="46196"/>
                </a:lnTo>
                <a:lnTo>
                  <a:pt x="1316164" y="46196"/>
                </a:lnTo>
                <a:lnTo>
                  <a:pt x="1316164" y="38005"/>
                </a:lnTo>
                <a:lnTo>
                  <a:pt x="1336358" y="38005"/>
                </a:lnTo>
                <a:lnTo>
                  <a:pt x="1400937" y="38005"/>
                </a:lnTo>
                <a:lnTo>
                  <a:pt x="1400937" y="34385"/>
                </a:lnTo>
                <a:lnTo>
                  <a:pt x="1561338" y="34385"/>
                </a:lnTo>
                <a:lnTo>
                  <a:pt x="1561338" y="30575"/>
                </a:lnTo>
                <a:lnTo>
                  <a:pt x="1683353" y="30575"/>
                </a:lnTo>
                <a:lnTo>
                  <a:pt x="1683353" y="25717"/>
                </a:lnTo>
                <a:lnTo>
                  <a:pt x="1755172" y="25717"/>
                </a:lnTo>
                <a:lnTo>
                  <a:pt x="1755172" y="24003"/>
                </a:lnTo>
                <a:lnTo>
                  <a:pt x="1795272" y="24003"/>
                </a:lnTo>
                <a:lnTo>
                  <a:pt x="1795272" y="19431"/>
                </a:lnTo>
                <a:lnTo>
                  <a:pt x="1841754" y="19431"/>
                </a:lnTo>
                <a:lnTo>
                  <a:pt x="1841754" y="13144"/>
                </a:lnTo>
                <a:lnTo>
                  <a:pt x="1907286" y="13144"/>
                </a:lnTo>
                <a:lnTo>
                  <a:pt x="1907286" y="7620"/>
                </a:lnTo>
                <a:lnTo>
                  <a:pt x="2019205" y="7620"/>
                </a:lnTo>
                <a:lnTo>
                  <a:pt x="2019205" y="0"/>
                </a:lnTo>
                <a:lnTo>
                  <a:pt x="2331530" y="0"/>
                </a:lnTo>
              </a:path>
            </a:pathLst>
          </a:custGeom>
          <a:ln w="25400">
            <a:solidFill>
              <a:srgbClr val="902283"/>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TextBox 19">
            <a:extLst>
              <a:ext uri="{FF2B5EF4-FFF2-40B4-BE49-F238E27FC236}">
                <a16:creationId xmlns:a16="http://schemas.microsoft.com/office/drawing/2014/main" id="{E8D6684F-C972-A0EC-14B8-4D00E2830255}"/>
              </a:ext>
            </a:extLst>
          </p:cNvPr>
          <p:cNvSpPr txBox="1"/>
          <p:nvPr/>
        </p:nvSpPr>
        <p:spPr>
          <a:xfrm rot="16200000">
            <a:off x="4125065" y="3089235"/>
            <a:ext cx="445635" cy="184666"/>
          </a:xfrm>
          <a:prstGeom prst="rect">
            <a:avLst/>
          </a:prstGeom>
          <a:solidFill>
            <a:schemeClr val="bg1"/>
          </a:solidFill>
        </p:spPr>
        <p:txBody>
          <a:bodyPr wrap="none" lIns="0" tIns="0" rIns="0" bIns="0" rtlCol="0">
            <a:spAutoFit/>
          </a:bodyPr>
          <a:lstStyle>
            <a:defPPr>
              <a:defRPr lang="en-US"/>
            </a:defPPr>
            <a:lvl1pPr marR="0" lvl="0" indent="0" algn="ctr" defTabSz="457200" fontAlgn="base">
              <a:lnSpc>
                <a:spcPct val="100000"/>
              </a:lnSpc>
              <a:spcBef>
                <a:spcPct val="0"/>
              </a:spcBef>
              <a:spcAft>
                <a:spcPct val="0"/>
              </a:spcAft>
              <a:buClrTx/>
              <a:buSzTx/>
              <a:buFontTx/>
              <a:buNone/>
              <a:tabLst/>
              <a:defRPr kumimoji="0" sz="1200" b="1" i="0" u="none" strike="noStrike" cap="none" spc="0" normalizeH="0" baseline="0">
                <a:ln>
                  <a:noFill/>
                </a:ln>
                <a:solidFill>
                  <a:prstClr val="black"/>
                </a:solidFill>
                <a:effectLst/>
                <a:uLnTx/>
                <a:uFillTx/>
                <a:latin typeface="Arial" panose="020B0604020202020204" pitchFamily="34" charset="0"/>
                <a:cs typeface="Arial" panose="020B0604020202020204" pitchFamily="34" charset="0"/>
              </a:defRPr>
            </a:lvl1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S, %</a:t>
            </a:r>
          </a:p>
        </p:txBody>
      </p:sp>
      <p:sp>
        <p:nvSpPr>
          <p:cNvPr id="29" name="TextBox 28">
            <a:extLst>
              <a:ext uri="{FF2B5EF4-FFF2-40B4-BE49-F238E27FC236}">
                <a16:creationId xmlns:a16="http://schemas.microsoft.com/office/drawing/2014/main" id="{E337C5DB-3F35-3793-8FD9-1AB5E6B9B18F}"/>
              </a:ext>
            </a:extLst>
          </p:cNvPr>
          <p:cNvSpPr txBox="1"/>
          <p:nvPr/>
        </p:nvSpPr>
        <p:spPr>
          <a:xfrm>
            <a:off x="5901166" y="4483216"/>
            <a:ext cx="842025" cy="184666"/>
          </a:xfrm>
          <a:prstGeom prst="rect">
            <a:avLst/>
          </a:prstGeom>
          <a:solidFill>
            <a:schemeClr val="bg1"/>
          </a:solidFill>
        </p:spPr>
        <p:txBody>
          <a:bodyPr wrap="none" lIns="0" tIns="0" rIns="0" bIns="0" rtlCol="0">
            <a:spAutoFit/>
          </a:bodyPr>
          <a:lstStyle>
            <a:defPPr>
              <a:defRPr lang="en-US"/>
            </a:defPPr>
            <a:lvl1pPr marR="0" lvl="0" indent="0" algn="ctr" defTabSz="457200" fontAlgn="base">
              <a:lnSpc>
                <a:spcPct val="100000"/>
              </a:lnSpc>
              <a:spcBef>
                <a:spcPct val="0"/>
              </a:spcBef>
              <a:spcAft>
                <a:spcPct val="0"/>
              </a:spcAft>
              <a:buClrTx/>
              <a:buSzTx/>
              <a:buFontTx/>
              <a:buNone/>
              <a:tabLst/>
              <a:defRPr kumimoji="0" sz="1200" b="1" i="0" u="none" strike="noStrike" cap="none" spc="0" normalizeH="0" baseline="0">
                <a:ln>
                  <a:noFill/>
                </a:ln>
                <a:solidFill>
                  <a:prstClr val="black"/>
                </a:solidFill>
                <a:effectLst/>
                <a:uLnTx/>
                <a:uFillTx/>
                <a:latin typeface="Arial" panose="020B0604020202020204" pitchFamily="34" charset="0"/>
                <a:cs typeface="Arial" panose="020B0604020202020204" pitchFamily="34" charset="0"/>
              </a:defRPr>
            </a:lvl1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ime, years</a:t>
            </a:r>
          </a:p>
        </p:txBody>
      </p:sp>
      <p:sp>
        <p:nvSpPr>
          <p:cNvPr id="9" name="TextBox 8">
            <a:extLst>
              <a:ext uri="{FF2B5EF4-FFF2-40B4-BE49-F238E27FC236}">
                <a16:creationId xmlns:a16="http://schemas.microsoft.com/office/drawing/2014/main" id="{745B7C00-415F-0BFD-497E-72AD7984A399}"/>
              </a:ext>
            </a:extLst>
          </p:cNvPr>
          <p:cNvSpPr txBox="1"/>
          <p:nvPr/>
        </p:nvSpPr>
        <p:spPr>
          <a:xfrm rot="16200000">
            <a:off x="7983753" y="3062698"/>
            <a:ext cx="445636" cy="184666"/>
          </a:xfrm>
          <a:prstGeom prst="rect">
            <a:avLst/>
          </a:prstGeom>
          <a:solidFill>
            <a:schemeClr val="bg1"/>
          </a:solidFill>
        </p:spPr>
        <p:txBody>
          <a:bodyPr wrap="none" lIns="0" tIns="0" rIns="0" bIns="0" rtlCol="0">
            <a:spAutoFit/>
          </a:bodyPr>
          <a:lstStyle>
            <a:defPPr>
              <a:defRPr lang="en-US"/>
            </a:defPPr>
            <a:lvl1pPr marR="0" lvl="0" indent="0" algn="ctr" defTabSz="457200" fontAlgn="base">
              <a:lnSpc>
                <a:spcPct val="100000"/>
              </a:lnSpc>
              <a:spcBef>
                <a:spcPct val="0"/>
              </a:spcBef>
              <a:spcAft>
                <a:spcPct val="0"/>
              </a:spcAft>
              <a:buClrTx/>
              <a:buSzTx/>
              <a:buFontTx/>
              <a:buNone/>
              <a:tabLst/>
              <a:defRPr kumimoji="0" sz="1200" b="1" i="0" u="none" strike="noStrike" cap="none" spc="0" normalizeH="0" baseline="0">
                <a:ln>
                  <a:noFill/>
                </a:ln>
                <a:solidFill>
                  <a:prstClr val="black"/>
                </a:solidFill>
                <a:effectLst/>
                <a:uLnTx/>
                <a:uFillTx/>
                <a:latin typeface="Arial" panose="020B0604020202020204" pitchFamily="34" charset="0"/>
                <a:cs typeface="Arial" panose="020B0604020202020204" pitchFamily="34" charset="0"/>
              </a:defRPr>
            </a:lvl1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S, %</a:t>
            </a:r>
          </a:p>
        </p:txBody>
      </p:sp>
      <p:sp>
        <p:nvSpPr>
          <p:cNvPr id="11" name="TextBox 10">
            <a:extLst>
              <a:ext uri="{FF2B5EF4-FFF2-40B4-BE49-F238E27FC236}">
                <a16:creationId xmlns:a16="http://schemas.microsoft.com/office/drawing/2014/main" id="{384954B5-95CB-8D9D-4FB0-297B138D0462}"/>
              </a:ext>
            </a:extLst>
          </p:cNvPr>
          <p:cNvSpPr txBox="1"/>
          <p:nvPr/>
        </p:nvSpPr>
        <p:spPr>
          <a:xfrm>
            <a:off x="9492437" y="4474422"/>
            <a:ext cx="999121" cy="184666"/>
          </a:xfrm>
          <a:prstGeom prst="rect">
            <a:avLst/>
          </a:prstGeom>
          <a:solidFill>
            <a:schemeClr val="bg1"/>
          </a:solidFill>
        </p:spPr>
        <p:txBody>
          <a:bodyPr wrap="none" lIns="0" tIns="0" rIns="0" bIns="0" rtlCol="0">
            <a:spAutoFit/>
          </a:bodyPr>
          <a:lstStyle>
            <a:defPPr>
              <a:defRPr lang="en-US"/>
            </a:defPPr>
            <a:lvl1pPr marR="0" lvl="0" indent="0" algn="ctr" defTabSz="457200" fontAlgn="base">
              <a:lnSpc>
                <a:spcPct val="100000"/>
              </a:lnSpc>
              <a:spcBef>
                <a:spcPct val="0"/>
              </a:spcBef>
              <a:spcAft>
                <a:spcPct val="0"/>
              </a:spcAft>
              <a:buClrTx/>
              <a:buSzTx/>
              <a:buFontTx/>
              <a:buNone/>
              <a:tabLst/>
              <a:defRPr kumimoji="0" sz="1200" b="1" i="0" u="none" strike="noStrike" cap="none" spc="0" normalizeH="0" baseline="0">
                <a:ln>
                  <a:noFill/>
                </a:ln>
                <a:solidFill>
                  <a:prstClr val="black"/>
                </a:solidFill>
                <a:effectLst/>
                <a:uLnTx/>
                <a:uFillTx/>
                <a:latin typeface="Arial" panose="020B0604020202020204" pitchFamily="34" charset="0"/>
                <a:cs typeface="Arial" panose="020B0604020202020204" pitchFamily="34" charset="0"/>
              </a:defRPr>
            </a:lvl1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ime, months</a:t>
            </a:r>
          </a:p>
        </p:txBody>
      </p:sp>
      <p:cxnSp>
        <p:nvCxnSpPr>
          <p:cNvPr id="136" name="Straight Connector 135">
            <a:extLst>
              <a:ext uri="{FF2B5EF4-FFF2-40B4-BE49-F238E27FC236}">
                <a16:creationId xmlns:a16="http://schemas.microsoft.com/office/drawing/2014/main" id="{98605961-4F2D-1154-C1AA-F45E43C97580}"/>
              </a:ext>
            </a:extLst>
          </p:cNvPr>
          <p:cNvCxnSpPr>
            <a:cxnSpLocks/>
          </p:cNvCxnSpPr>
          <p:nvPr/>
        </p:nvCxnSpPr>
        <p:spPr>
          <a:xfrm>
            <a:off x="4768985" y="2155030"/>
            <a:ext cx="0" cy="2110018"/>
          </a:xfrm>
          <a:prstGeom prst="line">
            <a:avLst/>
          </a:prstGeom>
          <a:ln w="19050" cap="sq">
            <a:solidFill>
              <a:schemeClr val="tx1"/>
            </a:solidFill>
            <a:prstDash val="solid"/>
            <a:miter/>
          </a:ln>
        </p:spPr>
      </p:cxnSp>
      <p:cxnSp>
        <p:nvCxnSpPr>
          <p:cNvPr id="137" name="Straight Connector 136">
            <a:extLst>
              <a:ext uri="{FF2B5EF4-FFF2-40B4-BE49-F238E27FC236}">
                <a16:creationId xmlns:a16="http://schemas.microsoft.com/office/drawing/2014/main" id="{52DF9DF6-1368-AFE3-049B-E2A30810BCA2}"/>
              </a:ext>
            </a:extLst>
          </p:cNvPr>
          <p:cNvCxnSpPr>
            <a:cxnSpLocks/>
          </p:cNvCxnSpPr>
          <p:nvPr/>
        </p:nvCxnSpPr>
        <p:spPr>
          <a:xfrm>
            <a:off x="4768985" y="4265048"/>
            <a:ext cx="3111364" cy="0"/>
          </a:xfrm>
          <a:prstGeom prst="line">
            <a:avLst/>
          </a:prstGeom>
          <a:ln w="19050" cap="sq">
            <a:solidFill>
              <a:schemeClr val="tx1"/>
            </a:solidFill>
            <a:prstDash val="solid"/>
            <a:miter/>
          </a:ln>
        </p:spPr>
      </p:cxnSp>
      <p:grpSp>
        <p:nvGrpSpPr>
          <p:cNvPr id="37" name="Group 36">
            <a:extLst>
              <a:ext uri="{FF2B5EF4-FFF2-40B4-BE49-F238E27FC236}">
                <a16:creationId xmlns:a16="http://schemas.microsoft.com/office/drawing/2014/main" id="{F992159D-7BBE-8942-D780-600BD8396793}"/>
              </a:ext>
            </a:extLst>
          </p:cNvPr>
          <p:cNvGrpSpPr/>
          <p:nvPr/>
        </p:nvGrpSpPr>
        <p:grpSpPr>
          <a:xfrm>
            <a:off x="7186254" y="4274865"/>
            <a:ext cx="195415" cy="240530"/>
            <a:chOff x="7088212" y="4211569"/>
            <a:chExt cx="157094" cy="233348"/>
          </a:xfrm>
        </p:grpSpPr>
        <p:sp>
          <p:nvSpPr>
            <p:cNvPr id="138" name="TextBox 137">
              <a:extLst>
                <a:ext uri="{FF2B5EF4-FFF2-40B4-BE49-F238E27FC236}">
                  <a16:creationId xmlns:a16="http://schemas.microsoft.com/office/drawing/2014/main" id="{665EDD4F-32C1-12A4-D63F-53C40EE0D9DA}"/>
                </a:ext>
              </a:extLst>
            </p:cNvPr>
            <p:cNvSpPr txBox="1"/>
            <p:nvPr/>
          </p:nvSpPr>
          <p:spPr>
            <a:xfrm>
              <a:off x="7088212" y="4275640"/>
              <a:ext cx="157094" cy="169277"/>
            </a:xfrm>
            <a:prstGeom prst="rect">
              <a:avLst/>
            </a:prstGeom>
            <a:noFill/>
          </p:spPr>
          <p:txBody>
            <a:bodyPr wrap="none" lIns="0" tIns="0" rIns="0" bIns="0"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15</a:t>
              </a:r>
            </a:p>
          </p:txBody>
        </p:sp>
        <p:cxnSp>
          <p:nvCxnSpPr>
            <p:cNvPr id="139" name="Straight Connector 138">
              <a:extLst>
                <a:ext uri="{FF2B5EF4-FFF2-40B4-BE49-F238E27FC236}">
                  <a16:creationId xmlns:a16="http://schemas.microsoft.com/office/drawing/2014/main" id="{574BD494-340A-F73F-BF60-D15AFFFE2351}"/>
                </a:ext>
              </a:extLst>
            </p:cNvPr>
            <p:cNvCxnSpPr>
              <a:cxnSpLocks/>
            </p:cNvCxnSpPr>
            <p:nvPr/>
          </p:nvCxnSpPr>
          <p:spPr>
            <a:xfrm>
              <a:off x="7166759" y="4211569"/>
              <a:ext cx="0" cy="45248"/>
            </a:xfrm>
            <a:prstGeom prst="line">
              <a:avLst/>
            </a:prstGeom>
            <a:ln w="19050" cap="sq">
              <a:solidFill>
                <a:schemeClr val="tx1"/>
              </a:solidFill>
              <a:prstDash val="solid"/>
              <a:miter/>
            </a:ln>
          </p:spPr>
        </p:cxnSp>
      </p:grpSp>
      <p:grpSp>
        <p:nvGrpSpPr>
          <p:cNvPr id="15" name="Group 14">
            <a:extLst>
              <a:ext uri="{FF2B5EF4-FFF2-40B4-BE49-F238E27FC236}">
                <a16:creationId xmlns:a16="http://schemas.microsoft.com/office/drawing/2014/main" id="{74F934F0-AF7A-03AD-8023-E55A55ACA8E1}"/>
              </a:ext>
            </a:extLst>
          </p:cNvPr>
          <p:cNvGrpSpPr/>
          <p:nvPr/>
        </p:nvGrpSpPr>
        <p:grpSpPr>
          <a:xfrm>
            <a:off x="4564216" y="4179615"/>
            <a:ext cx="195884" cy="174487"/>
            <a:chOff x="4980360" y="4025374"/>
            <a:chExt cx="157471" cy="169277"/>
          </a:xfrm>
        </p:grpSpPr>
        <p:sp>
          <p:nvSpPr>
            <p:cNvPr id="140" name="TextBox 139">
              <a:extLst>
                <a:ext uri="{FF2B5EF4-FFF2-40B4-BE49-F238E27FC236}">
                  <a16:creationId xmlns:a16="http://schemas.microsoft.com/office/drawing/2014/main" id="{041E311E-7D0C-A12E-5E77-ABD0576F614B}"/>
                </a:ext>
              </a:extLst>
            </p:cNvPr>
            <p:cNvSpPr txBox="1"/>
            <p:nvPr/>
          </p:nvSpPr>
          <p:spPr>
            <a:xfrm>
              <a:off x="4980360" y="4025374"/>
              <a:ext cx="78547" cy="169277"/>
            </a:xfrm>
            <a:prstGeom prst="rect">
              <a:avLst/>
            </a:prstGeom>
            <a:noFill/>
          </p:spPr>
          <p:txBody>
            <a:bodyPr wrap="none" lIns="0" tIns="0" rIns="0" bIns="0" rtlCol="0" anchor="ctr">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0</a:t>
              </a:r>
            </a:p>
          </p:txBody>
        </p:sp>
        <p:cxnSp>
          <p:nvCxnSpPr>
            <p:cNvPr id="141" name="Straight Connector 140">
              <a:extLst>
                <a:ext uri="{FF2B5EF4-FFF2-40B4-BE49-F238E27FC236}">
                  <a16:creationId xmlns:a16="http://schemas.microsoft.com/office/drawing/2014/main" id="{D1494B1C-9A12-A706-479D-FE16B3A998E4}"/>
                </a:ext>
              </a:extLst>
            </p:cNvPr>
            <p:cNvCxnSpPr>
              <a:cxnSpLocks/>
            </p:cNvCxnSpPr>
            <p:nvPr/>
          </p:nvCxnSpPr>
          <p:spPr>
            <a:xfrm rot="16200000">
              <a:off x="5115207" y="4087390"/>
              <a:ext cx="0" cy="45248"/>
            </a:xfrm>
            <a:prstGeom prst="line">
              <a:avLst/>
            </a:prstGeom>
            <a:ln w="19050" cap="sq">
              <a:solidFill>
                <a:schemeClr val="tx1"/>
              </a:solidFill>
              <a:prstDash val="solid"/>
              <a:miter/>
            </a:ln>
          </p:spPr>
        </p:cxnSp>
      </p:grpSp>
      <p:grpSp>
        <p:nvGrpSpPr>
          <p:cNvPr id="14" name="Group 13">
            <a:extLst>
              <a:ext uri="{FF2B5EF4-FFF2-40B4-BE49-F238E27FC236}">
                <a16:creationId xmlns:a16="http://schemas.microsoft.com/office/drawing/2014/main" id="{9C2A4010-269D-DD34-0566-DFBCFB21CDF9}"/>
              </a:ext>
            </a:extLst>
          </p:cNvPr>
          <p:cNvGrpSpPr/>
          <p:nvPr/>
        </p:nvGrpSpPr>
        <p:grpSpPr>
          <a:xfrm>
            <a:off x="4466507" y="3774921"/>
            <a:ext cx="293593" cy="174487"/>
            <a:chOff x="4901812" y="3556538"/>
            <a:chExt cx="236019" cy="169277"/>
          </a:xfrm>
        </p:grpSpPr>
        <p:sp>
          <p:nvSpPr>
            <p:cNvPr id="145" name="TextBox 144">
              <a:extLst>
                <a:ext uri="{FF2B5EF4-FFF2-40B4-BE49-F238E27FC236}">
                  <a16:creationId xmlns:a16="http://schemas.microsoft.com/office/drawing/2014/main" id="{B21510B9-A259-17DB-2094-FDCED52EBF4E}"/>
                </a:ext>
              </a:extLst>
            </p:cNvPr>
            <p:cNvSpPr txBox="1"/>
            <p:nvPr/>
          </p:nvSpPr>
          <p:spPr>
            <a:xfrm>
              <a:off x="4901812" y="3556538"/>
              <a:ext cx="157095" cy="169277"/>
            </a:xfrm>
            <a:prstGeom prst="rect">
              <a:avLst/>
            </a:prstGeom>
            <a:noFill/>
          </p:spPr>
          <p:txBody>
            <a:bodyPr wrap="none" lIns="0" tIns="0" rIns="0" bIns="0" rtlCol="0" anchor="ctr">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20</a:t>
              </a:r>
            </a:p>
          </p:txBody>
        </p:sp>
        <p:cxnSp>
          <p:nvCxnSpPr>
            <p:cNvPr id="146" name="Straight Connector 145">
              <a:extLst>
                <a:ext uri="{FF2B5EF4-FFF2-40B4-BE49-F238E27FC236}">
                  <a16:creationId xmlns:a16="http://schemas.microsoft.com/office/drawing/2014/main" id="{2C0E8B48-25F5-3D9F-49FF-0DD98A3AAC49}"/>
                </a:ext>
              </a:extLst>
            </p:cNvPr>
            <p:cNvCxnSpPr>
              <a:cxnSpLocks/>
            </p:cNvCxnSpPr>
            <p:nvPr/>
          </p:nvCxnSpPr>
          <p:spPr>
            <a:xfrm rot="16200000">
              <a:off x="5115207" y="3618554"/>
              <a:ext cx="0" cy="45248"/>
            </a:xfrm>
            <a:prstGeom prst="line">
              <a:avLst/>
            </a:prstGeom>
            <a:ln w="19050" cap="sq">
              <a:solidFill>
                <a:schemeClr val="tx1"/>
              </a:solidFill>
              <a:prstDash val="solid"/>
              <a:miter/>
            </a:ln>
          </p:spPr>
        </p:cxnSp>
      </p:grpSp>
      <p:grpSp>
        <p:nvGrpSpPr>
          <p:cNvPr id="13" name="Group 12">
            <a:extLst>
              <a:ext uri="{FF2B5EF4-FFF2-40B4-BE49-F238E27FC236}">
                <a16:creationId xmlns:a16="http://schemas.microsoft.com/office/drawing/2014/main" id="{5D0E8F1C-C4F2-C971-9C84-C773C47FE700}"/>
              </a:ext>
            </a:extLst>
          </p:cNvPr>
          <p:cNvGrpSpPr/>
          <p:nvPr/>
        </p:nvGrpSpPr>
        <p:grpSpPr>
          <a:xfrm>
            <a:off x="4466507" y="3370228"/>
            <a:ext cx="293593" cy="174487"/>
            <a:chOff x="4901812" y="3087808"/>
            <a:chExt cx="236019" cy="169277"/>
          </a:xfrm>
        </p:grpSpPr>
        <p:sp>
          <p:nvSpPr>
            <p:cNvPr id="147" name="TextBox 146">
              <a:extLst>
                <a:ext uri="{FF2B5EF4-FFF2-40B4-BE49-F238E27FC236}">
                  <a16:creationId xmlns:a16="http://schemas.microsoft.com/office/drawing/2014/main" id="{CC5C07D1-505F-62D5-73AB-D9B49F47EF59}"/>
                </a:ext>
              </a:extLst>
            </p:cNvPr>
            <p:cNvSpPr txBox="1"/>
            <p:nvPr/>
          </p:nvSpPr>
          <p:spPr>
            <a:xfrm>
              <a:off x="4901812" y="3087808"/>
              <a:ext cx="157095" cy="169277"/>
            </a:xfrm>
            <a:prstGeom prst="rect">
              <a:avLst/>
            </a:prstGeom>
            <a:noFill/>
          </p:spPr>
          <p:txBody>
            <a:bodyPr wrap="none" lIns="0" tIns="0" rIns="0" bIns="0" rtlCol="0" anchor="ctr">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40</a:t>
              </a:r>
            </a:p>
          </p:txBody>
        </p:sp>
        <p:cxnSp>
          <p:nvCxnSpPr>
            <p:cNvPr id="148" name="Straight Connector 147">
              <a:extLst>
                <a:ext uri="{FF2B5EF4-FFF2-40B4-BE49-F238E27FC236}">
                  <a16:creationId xmlns:a16="http://schemas.microsoft.com/office/drawing/2014/main" id="{5DE794CF-8E5B-60B3-FC9C-C4F10E2D459C}"/>
                </a:ext>
              </a:extLst>
            </p:cNvPr>
            <p:cNvCxnSpPr>
              <a:cxnSpLocks/>
            </p:cNvCxnSpPr>
            <p:nvPr/>
          </p:nvCxnSpPr>
          <p:spPr>
            <a:xfrm rot="16200000">
              <a:off x="5115207" y="3149824"/>
              <a:ext cx="0" cy="45248"/>
            </a:xfrm>
            <a:prstGeom prst="line">
              <a:avLst/>
            </a:prstGeom>
            <a:ln w="19050" cap="sq">
              <a:solidFill>
                <a:schemeClr val="tx1"/>
              </a:solidFill>
              <a:prstDash val="solid"/>
              <a:miter/>
            </a:ln>
          </p:spPr>
        </p:cxnSp>
      </p:grpSp>
      <p:grpSp>
        <p:nvGrpSpPr>
          <p:cNvPr id="12" name="Group 11">
            <a:extLst>
              <a:ext uri="{FF2B5EF4-FFF2-40B4-BE49-F238E27FC236}">
                <a16:creationId xmlns:a16="http://schemas.microsoft.com/office/drawing/2014/main" id="{25094CC8-B388-991C-0033-A9567B6EA8BD}"/>
              </a:ext>
            </a:extLst>
          </p:cNvPr>
          <p:cNvGrpSpPr/>
          <p:nvPr/>
        </p:nvGrpSpPr>
        <p:grpSpPr>
          <a:xfrm>
            <a:off x="4466507" y="2965535"/>
            <a:ext cx="293593" cy="174487"/>
            <a:chOff x="4901812" y="2624003"/>
            <a:chExt cx="236019" cy="169277"/>
          </a:xfrm>
        </p:grpSpPr>
        <p:sp>
          <p:nvSpPr>
            <p:cNvPr id="149" name="TextBox 148">
              <a:extLst>
                <a:ext uri="{FF2B5EF4-FFF2-40B4-BE49-F238E27FC236}">
                  <a16:creationId xmlns:a16="http://schemas.microsoft.com/office/drawing/2014/main" id="{C68E8B5C-5236-0A0D-AA12-031C0EF06D90}"/>
                </a:ext>
              </a:extLst>
            </p:cNvPr>
            <p:cNvSpPr txBox="1"/>
            <p:nvPr/>
          </p:nvSpPr>
          <p:spPr>
            <a:xfrm>
              <a:off x="4901812" y="2624003"/>
              <a:ext cx="157095" cy="169277"/>
            </a:xfrm>
            <a:prstGeom prst="rect">
              <a:avLst/>
            </a:prstGeom>
            <a:noFill/>
          </p:spPr>
          <p:txBody>
            <a:bodyPr wrap="none" lIns="0" tIns="0" rIns="0" bIns="0" rtlCol="0" anchor="ctr">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60</a:t>
              </a:r>
            </a:p>
          </p:txBody>
        </p:sp>
        <p:cxnSp>
          <p:nvCxnSpPr>
            <p:cNvPr id="150" name="Straight Connector 149">
              <a:extLst>
                <a:ext uri="{FF2B5EF4-FFF2-40B4-BE49-F238E27FC236}">
                  <a16:creationId xmlns:a16="http://schemas.microsoft.com/office/drawing/2014/main" id="{54E13492-1A4D-C9C1-78D0-AABA4E45945E}"/>
                </a:ext>
              </a:extLst>
            </p:cNvPr>
            <p:cNvCxnSpPr>
              <a:cxnSpLocks/>
            </p:cNvCxnSpPr>
            <p:nvPr/>
          </p:nvCxnSpPr>
          <p:spPr>
            <a:xfrm rot="16200000">
              <a:off x="5115207" y="2686019"/>
              <a:ext cx="0" cy="45248"/>
            </a:xfrm>
            <a:prstGeom prst="line">
              <a:avLst/>
            </a:prstGeom>
            <a:ln w="19050" cap="sq">
              <a:solidFill>
                <a:schemeClr val="tx1"/>
              </a:solidFill>
              <a:prstDash val="solid"/>
              <a:miter/>
            </a:ln>
          </p:spPr>
        </p:cxnSp>
      </p:grpSp>
      <p:grpSp>
        <p:nvGrpSpPr>
          <p:cNvPr id="10" name="Group 9">
            <a:extLst>
              <a:ext uri="{FF2B5EF4-FFF2-40B4-BE49-F238E27FC236}">
                <a16:creationId xmlns:a16="http://schemas.microsoft.com/office/drawing/2014/main" id="{869BEB29-8C1C-B301-F611-F4FB85A82016}"/>
              </a:ext>
            </a:extLst>
          </p:cNvPr>
          <p:cNvGrpSpPr/>
          <p:nvPr/>
        </p:nvGrpSpPr>
        <p:grpSpPr>
          <a:xfrm>
            <a:off x="4368799" y="2156149"/>
            <a:ext cx="391301" cy="174487"/>
            <a:chOff x="4823265" y="2156117"/>
            <a:chExt cx="314566" cy="169277"/>
          </a:xfrm>
        </p:grpSpPr>
        <p:sp>
          <p:nvSpPr>
            <p:cNvPr id="151" name="TextBox 150">
              <a:extLst>
                <a:ext uri="{FF2B5EF4-FFF2-40B4-BE49-F238E27FC236}">
                  <a16:creationId xmlns:a16="http://schemas.microsoft.com/office/drawing/2014/main" id="{4643093A-4D79-00AA-51C1-2B7AE519760D}"/>
                </a:ext>
              </a:extLst>
            </p:cNvPr>
            <p:cNvSpPr txBox="1"/>
            <p:nvPr/>
          </p:nvSpPr>
          <p:spPr>
            <a:xfrm>
              <a:off x="4823265" y="2156117"/>
              <a:ext cx="235642" cy="169277"/>
            </a:xfrm>
            <a:prstGeom prst="rect">
              <a:avLst/>
            </a:prstGeom>
            <a:noFill/>
          </p:spPr>
          <p:txBody>
            <a:bodyPr wrap="none" lIns="0" tIns="0" rIns="0" bIns="0" rtlCol="0" anchor="ctr">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100</a:t>
              </a:r>
            </a:p>
          </p:txBody>
        </p:sp>
        <p:cxnSp>
          <p:nvCxnSpPr>
            <p:cNvPr id="152" name="Straight Connector 151">
              <a:extLst>
                <a:ext uri="{FF2B5EF4-FFF2-40B4-BE49-F238E27FC236}">
                  <a16:creationId xmlns:a16="http://schemas.microsoft.com/office/drawing/2014/main" id="{F8D920DB-E8E4-D833-B73B-9BD0A77EFF98}"/>
                </a:ext>
              </a:extLst>
            </p:cNvPr>
            <p:cNvCxnSpPr>
              <a:cxnSpLocks/>
            </p:cNvCxnSpPr>
            <p:nvPr/>
          </p:nvCxnSpPr>
          <p:spPr>
            <a:xfrm rot="16200000">
              <a:off x="5115207" y="2218133"/>
              <a:ext cx="0" cy="45248"/>
            </a:xfrm>
            <a:prstGeom prst="line">
              <a:avLst/>
            </a:prstGeom>
            <a:ln w="19050" cap="sq">
              <a:solidFill>
                <a:schemeClr val="tx1"/>
              </a:solidFill>
              <a:prstDash val="solid"/>
              <a:miter/>
            </a:ln>
          </p:spPr>
        </p:cxnSp>
      </p:grpSp>
      <p:grpSp>
        <p:nvGrpSpPr>
          <p:cNvPr id="35" name="Group 34">
            <a:extLst>
              <a:ext uri="{FF2B5EF4-FFF2-40B4-BE49-F238E27FC236}">
                <a16:creationId xmlns:a16="http://schemas.microsoft.com/office/drawing/2014/main" id="{52FB83B9-46B4-946F-5986-DB3C60FC8014}"/>
              </a:ext>
            </a:extLst>
          </p:cNvPr>
          <p:cNvGrpSpPr/>
          <p:nvPr/>
        </p:nvGrpSpPr>
        <p:grpSpPr>
          <a:xfrm>
            <a:off x="6404252" y="4274865"/>
            <a:ext cx="195415" cy="240530"/>
            <a:chOff x="6459562" y="4211569"/>
            <a:chExt cx="157094" cy="233348"/>
          </a:xfrm>
        </p:grpSpPr>
        <p:sp>
          <p:nvSpPr>
            <p:cNvPr id="153" name="TextBox 152">
              <a:extLst>
                <a:ext uri="{FF2B5EF4-FFF2-40B4-BE49-F238E27FC236}">
                  <a16:creationId xmlns:a16="http://schemas.microsoft.com/office/drawing/2014/main" id="{AD678153-3D63-FB87-1DC8-582D4B381319}"/>
                </a:ext>
              </a:extLst>
            </p:cNvPr>
            <p:cNvSpPr txBox="1"/>
            <p:nvPr/>
          </p:nvSpPr>
          <p:spPr>
            <a:xfrm>
              <a:off x="6459562" y="4275640"/>
              <a:ext cx="157094" cy="169277"/>
            </a:xfrm>
            <a:prstGeom prst="rect">
              <a:avLst/>
            </a:prstGeom>
            <a:noFill/>
          </p:spPr>
          <p:txBody>
            <a:bodyPr wrap="none" lIns="0" tIns="0" rIns="0" bIns="0"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10</a:t>
              </a:r>
            </a:p>
          </p:txBody>
        </p:sp>
        <p:cxnSp>
          <p:nvCxnSpPr>
            <p:cNvPr id="154" name="Straight Connector 153">
              <a:extLst>
                <a:ext uri="{FF2B5EF4-FFF2-40B4-BE49-F238E27FC236}">
                  <a16:creationId xmlns:a16="http://schemas.microsoft.com/office/drawing/2014/main" id="{B24F5B98-FD84-2D6A-F4A2-208B357BE207}"/>
                </a:ext>
              </a:extLst>
            </p:cNvPr>
            <p:cNvCxnSpPr>
              <a:cxnSpLocks/>
            </p:cNvCxnSpPr>
            <p:nvPr/>
          </p:nvCxnSpPr>
          <p:spPr>
            <a:xfrm>
              <a:off x="6538109" y="4211569"/>
              <a:ext cx="0" cy="45248"/>
            </a:xfrm>
            <a:prstGeom prst="line">
              <a:avLst/>
            </a:prstGeom>
            <a:ln w="19050" cap="sq">
              <a:solidFill>
                <a:schemeClr val="tx1"/>
              </a:solidFill>
              <a:prstDash val="solid"/>
              <a:miter/>
            </a:ln>
          </p:spPr>
        </p:cxnSp>
      </p:grpSp>
      <p:grpSp>
        <p:nvGrpSpPr>
          <p:cNvPr id="33" name="Group 32">
            <a:extLst>
              <a:ext uri="{FF2B5EF4-FFF2-40B4-BE49-F238E27FC236}">
                <a16:creationId xmlns:a16="http://schemas.microsoft.com/office/drawing/2014/main" id="{D6D50C0D-8C94-8343-5A70-A7DF1F70113F}"/>
              </a:ext>
            </a:extLst>
          </p:cNvPr>
          <p:cNvGrpSpPr/>
          <p:nvPr/>
        </p:nvGrpSpPr>
        <p:grpSpPr>
          <a:xfrm>
            <a:off x="5679990" y="4274865"/>
            <a:ext cx="97709" cy="240530"/>
            <a:chOff x="5877329" y="4211569"/>
            <a:chExt cx="78548" cy="233348"/>
          </a:xfrm>
        </p:grpSpPr>
        <p:sp>
          <p:nvSpPr>
            <p:cNvPr id="155" name="TextBox 154">
              <a:extLst>
                <a:ext uri="{FF2B5EF4-FFF2-40B4-BE49-F238E27FC236}">
                  <a16:creationId xmlns:a16="http://schemas.microsoft.com/office/drawing/2014/main" id="{AE2DE63F-2F3B-5236-7D69-C50F0603FBFB}"/>
                </a:ext>
              </a:extLst>
            </p:cNvPr>
            <p:cNvSpPr txBox="1"/>
            <p:nvPr/>
          </p:nvSpPr>
          <p:spPr>
            <a:xfrm>
              <a:off x="5877329" y="4275640"/>
              <a:ext cx="78548" cy="169277"/>
            </a:xfrm>
            <a:prstGeom prst="rect">
              <a:avLst/>
            </a:prstGeom>
            <a:noFill/>
          </p:spPr>
          <p:txBody>
            <a:bodyPr wrap="none" lIns="0" tIns="0" rIns="0" bIns="0"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5</a:t>
              </a:r>
            </a:p>
          </p:txBody>
        </p:sp>
        <p:cxnSp>
          <p:nvCxnSpPr>
            <p:cNvPr id="156" name="Straight Connector 155">
              <a:extLst>
                <a:ext uri="{FF2B5EF4-FFF2-40B4-BE49-F238E27FC236}">
                  <a16:creationId xmlns:a16="http://schemas.microsoft.com/office/drawing/2014/main" id="{73066F64-389C-9CB4-5F48-9E9B6488169F}"/>
                </a:ext>
              </a:extLst>
            </p:cNvPr>
            <p:cNvCxnSpPr>
              <a:cxnSpLocks/>
            </p:cNvCxnSpPr>
            <p:nvPr/>
          </p:nvCxnSpPr>
          <p:spPr>
            <a:xfrm>
              <a:off x="5916603" y="4211569"/>
              <a:ext cx="0" cy="45248"/>
            </a:xfrm>
            <a:prstGeom prst="line">
              <a:avLst/>
            </a:prstGeom>
            <a:ln w="19050" cap="sq">
              <a:solidFill>
                <a:schemeClr val="tx1"/>
              </a:solidFill>
              <a:prstDash val="solid"/>
              <a:miter/>
            </a:ln>
          </p:spPr>
        </p:cxnSp>
      </p:grpSp>
      <p:grpSp>
        <p:nvGrpSpPr>
          <p:cNvPr id="30" name="Group 29">
            <a:extLst>
              <a:ext uri="{FF2B5EF4-FFF2-40B4-BE49-F238E27FC236}">
                <a16:creationId xmlns:a16="http://schemas.microsoft.com/office/drawing/2014/main" id="{341A6683-0BCF-AE7A-5434-586426088809}"/>
              </a:ext>
            </a:extLst>
          </p:cNvPr>
          <p:cNvGrpSpPr/>
          <p:nvPr/>
        </p:nvGrpSpPr>
        <p:grpSpPr>
          <a:xfrm>
            <a:off x="4724868" y="4274865"/>
            <a:ext cx="97709" cy="240530"/>
            <a:chOff x="5250191" y="4211569"/>
            <a:chExt cx="78548" cy="233348"/>
          </a:xfrm>
        </p:grpSpPr>
        <p:sp>
          <p:nvSpPr>
            <p:cNvPr id="157" name="TextBox 156">
              <a:extLst>
                <a:ext uri="{FF2B5EF4-FFF2-40B4-BE49-F238E27FC236}">
                  <a16:creationId xmlns:a16="http://schemas.microsoft.com/office/drawing/2014/main" id="{AAD8BB85-8A68-989B-BF16-8739A4BA211B}"/>
                </a:ext>
              </a:extLst>
            </p:cNvPr>
            <p:cNvSpPr txBox="1"/>
            <p:nvPr/>
          </p:nvSpPr>
          <p:spPr>
            <a:xfrm>
              <a:off x="5250191" y="4275640"/>
              <a:ext cx="78548" cy="169277"/>
            </a:xfrm>
            <a:prstGeom prst="rect">
              <a:avLst/>
            </a:prstGeom>
            <a:noFill/>
          </p:spPr>
          <p:txBody>
            <a:bodyPr wrap="none" lIns="0" tIns="0" rIns="0" bIns="0"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0</a:t>
              </a:r>
            </a:p>
          </p:txBody>
        </p:sp>
        <p:cxnSp>
          <p:nvCxnSpPr>
            <p:cNvPr id="158" name="Straight Connector 157">
              <a:extLst>
                <a:ext uri="{FF2B5EF4-FFF2-40B4-BE49-F238E27FC236}">
                  <a16:creationId xmlns:a16="http://schemas.microsoft.com/office/drawing/2014/main" id="{8CCFBD59-39E0-19EB-0622-AC9B6AAAECED}"/>
                </a:ext>
              </a:extLst>
            </p:cNvPr>
            <p:cNvCxnSpPr>
              <a:cxnSpLocks/>
            </p:cNvCxnSpPr>
            <p:nvPr/>
          </p:nvCxnSpPr>
          <p:spPr>
            <a:xfrm>
              <a:off x="5289465" y="4211569"/>
              <a:ext cx="0" cy="45248"/>
            </a:xfrm>
            <a:prstGeom prst="line">
              <a:avLst/>
            </a:prstGeom>
            <a:ln w="19050" cap="sq">
              <a:solidFill>
                <a:schemeClr val="tx1"/>
              </a:solidFill>
              <a:prstDash val="solid"/>
              <a:miter/>
            </a:ln>
          </p:spPr>
        </p:cxnSp>
      </p:grpSp>
      <p:sp>
        <p:nvSpPr>
          <p:cNvPr id="8" name="TextBox 7">
            <a:extLst>
              <a:ext uri="{FF2B5EF4-FFF2-40B4-BE49-F238E27FC236}">
                <a16:creationId xmlns:a16="http://schemas.microsoft.com/office/drawing/2014/main" id="{F8A3CAE7-624A-4930-225E-276E11B92665}"/>
              </a:ext>
            </a:extLst>
          </p:cNvPr>
          <p:cNvSpPr txBox="1"/>
          <p:nvPr/>
        </p:nvSpPr>
        <p:spPr>
          <a:xfrm>
            <a:off x="5025901" y="3646491"/>
            <a:ext cx="165600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L, n = 922</a:t>
            </a:r>
          </a:p>
        </p:txBody>
      </p:sp>
      <p:sp>
        <p:nvSpPr>
          <p:cNvPr id="23" name="TextBox 22">
            <a:extLst>
              <a:ext uri="{FF2B5EF4-FFF2-40B4-BE49-F238E27FC236}">
                <a16:creationId xmlns:a16="http://schemas.microsoft.com/office/drawing/2014/main" id="{21C1857F-4E2A-0AD2-F166-C72E45C404A5}"/>
              </a:ext>
            </a:extLst>
          </p:cNvPr>
          <p:cNvSpPr txBox="1"/>
          <p:nvPr/>
        </p:nvSpPr>
        <p:spPr>
          <a:xfrm>
            <a:off x="5025901" y="3835906"/>
            <a:ext cx="165600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L, n = 457</a:t>
            </a:r>
          </a:p>
        </p:txBody>
      </p:sp>
      <p:sp>
        <p:nvSpPr>
          <p:cNvPr id="25" name="TextBox 24">
            <a:extLst>
              <a:ext uri="{FF2B5EF4-FFF2-40B4-BE49-F238E27FC236}">
                <a16:creationId xmlns:a16="http://schemas.microsoft.com/office/drawing/2014/main" id="{8F223D64-1A38-E5AD-9994-5FBBB162AE51}"/>
              </a:ext>
            </a:extLst>
          </p:cNvPr>
          <p:cNvSpPr txBox="1"/>
          <p:nvPr/>
        </p:nvSpPr>
        <p:spPr>
          <a:xfrm>
            <a:off x="5025899" y="4051704"/>
            <a:ext cx="165600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L, n = 299</a:t>
            </a:r>
          </a:p>
        </p:txBody>
      </p:sp>
      <p:sp>
        <p:nvSpPr>
          <p:cNvPr id="87" name="Rectangle 86">
            <a:extLst>
              <a:ext uri="{FF2B5EF4-FFF2-40B4-BE49-F238E27FC236}">
                <a16:creationId xmlns:a16="http://schemas.microsoft.com/office/drawing/2014/main" id="{DB8C5D98-0816-4563-AE10-109F8BBF1194}"/>
              </a:ext>
            </a:extLst>
          </p:cNvPr>
          <p:cNvSpPr/>
          <p:nvPr/>
        </p:nvSpPr>
        <p:spPr>
          <a:xfrm>
            <a:off x="4786793" y="3579080"/>
            <a:ext cx="192655" cy="55270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57" name="Group 56">
            <a:extLst>
              <a:ext uri="{FF2B5EF4-FFF2-40B4-BE49-F238E27FC236}">
                <a16:creationId xmlns:a16="http://schemas.microsoft.com/office/drawing/2014/main" id="{2DD30821-9A56-EE8D-B3EE-E6E712530804}"/>
              </a:ext>
            </a:extLst>
          </p:cNvPr>
          <p:cNvGrpSpPr/>
          <p:nvPr/>
        </p:nvGrpSpPr>
        <p:grpSpPr>
          <a:xfrm>
            <a:off x="4815948" y="3870196"/>
            <a:ext cx="134345" cy="111324"/>
            <a:chOff x="5001307" y="3850550"/>
            <a:chExt cx="108000" cy="108000"/>
          </a:xfrm>
        </p:grpSpPr>
        <p:cxnSp>
          <p:nvCxnSpPr>
            <p:cNvPr id="58" name="Straight Connector 57">
              <a:extLst>
                <a:ext uri="{FF2B5EF4-FFF2-40B4-BE49-F238E27FC236}">
                  <a16:creationId xmlns:a16="http://schemas.microsoft.com/office/drawing/2014/main" id="{6D3ACE02-1B31-9C8C-8723-4EFB8CF20274}"/>
                </a:ext>
              </a:extLst>
            </p:cNvPr>
            <p:cNvCxnSpPr/>
            <p:nvPr/>
          </p:nvCxnSpPr>
          <p:spPr>
            <a:xfrm>
              <a:off x="5052928" y="3850550"/>
              <a:ext cx="0" cy="108000"/>
            </a:xfrm>
            <a:prstGeom prst="line">
              <a:avLst/>
            </a:prstGeom>
            <a:ln w="19050">
              <a:solidFill>
                <a:srgbClr val="4282A9"/>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04538231-2E06-C396-62D5-824D8F111084}"/>
                </a:ext>
              </a:extLst>
            </p:cNvPr>
            <p:cNvCxnSpPr>
              <a:cxnSpLocks/>
            </p:cNvCxnSpPr>
            <p:nvPr/>
          </p:nvCxnSpPr>
          <p:spPr>
            <a:xfrm rot="5400000">
              <a:off x="5055307" y="3848403"/>
              <a:ext cx="0" cy="108000"/>
            </a:xfrm>
            <a:prstGeom prst="line">
              <a:avLst/>
            </a:prstGeom>
            <a:ln w="19050">
              <a:solidFill>
                <a:srgbClr val="4282A9"/>
              </a:solidFill>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C147F8DA-42B1-C90C-DC5E-0B0E35BB2EEB}"/>
              </a:ext>
            </a:extLst>
          </p:cNvPr>
          <p:cNvGrpSpPr/>
          <p:nvPr/>
        </p:nvGrpSpPr>
        <p:grpSpPr>
          <a:xfrm>
            <a:off x="4815948" y="4072027"/>
            <a:ext cx="134345" cy="111324"/>
            <a:chOff x="5001307" y="3850550"/>
            <a:chExt cx="108000" cy="108000"/>
          </a:xfrm>
        </p:grpSpPr>
        <p:cxnSp>
          <p:nvCxnSpPr>
            <p:cNvPr id="89" name="Straight Connector 88">
              <a:extLst>
                <a:ext uri="{FF2B5EF4-FFF2-40B4-BE49-F238E27FC236}">
                  <a16:creationId xmlns:a16="http://schemas.microsoft.com/office/drawing/2014/main" id="{10F4D63D-5E66-B91A-CC45-034180F435DD}"/>
                </a:ext>
              </a:extLst>
            </p:cNvPr>
            <p:cNvCxnSpPr/>
            <p:nvPr/>
          </p:nvCxnSpPr>
          <p:spPr>
            <a:xfrm>
              <a:off x="5052928" y="3850550"/>
              <a:ext cx="0" cy="108000"/>
            </a:xfrm>
            <a:prstGeom prst="line">
              <a:avLst/>
            </a:prstGeom>
            <a:ln w="19050">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C0C34917-FEEB-9167-30CD-5A3282101D5E}"/>
                </a:ext>
              </a:extLst>
            </p:cNvPr>
            <p:cNvCxnSpPr>
              <a:cxnSpLocks/>
            </p:cNvCxnSpPr>
            <p:nvPr/>
          </p:nvCxnSpPr>
          <p:spPr>
            <a:xfrm rot="5400000">
              <a:off x="5055307" y="3848403"/>
              <a:ext cx="0" cy="108000"/>
            </a:xfrm>
            <a:prstGeom prst="line">
              <a:avLst/>
            </a:prstGeom>
            <a:ln w="19050">
              <a:solidFill>
                <a:srgbClr val="4FAD51"/>
              </a:solidFill>
            </a:ln>
          </p:spPr>
          <p:style>
            <a:lnRef idx="1">
              <a:schemeClr val="accent1"/>
            </a:lnRef>
            <a:fillRef idx="0">
              <a:schemeClr val="accent1"/>
            </a:fillRef>
            <a:effectRef idx="0">
              <a:schemeClr val="accent1"/>
            </a:effectRef>
            <a:fontRef idx="minor">
              <a:schemeClr val="tx1"/>
            </a:fontRef>
          </p:style>
        </p:cxnSp>
      </p:grpSp>
      <p:sp>
        <p:nvSpPr>
          <p:cNvPr id="91" name="Rectangle 90">
            <a:extLst>
              <a:ext uri="{FF2B5EF4-FFF2-40B4-BE49-F238E27FC236}">
                <a16:creationId xmlns:a16="http://schemas.microsoft.com/office/drawing/2014/main" id="{636C4813-80C3-23CE-D9E0-4451759C5F87}"/>
              </a:ext>
            </a:extLst>
          </p:cNvPr>
          <p:cNvSpPr/>
          <p:nvPr/>
        </p:nvSpPr>
        <p:spPr>
          <a:xfrm>
            <a:off x="5992150" y="3599673"/>
            <a:ext cx="294239" cy="55270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72" name="Group 71">
            <a:extLst>
              <a:ext uri="{FF2B5EF4-FFF2-40B4-BE49-F238E27FC236}">
                <a16:creationId xmlns:a16="http://schemas.microsoft.com/office/drawing/2014/main" id="{20745743-7561-D83E-D3EB-1BBFED11B1CB}"/>
              </a:ext>
            </a:extLst>
          </p:cNvPr>
          <p:cNvGrpSpPr/>
          <p:nvPr/>
        </p:nvGrpSpPr>
        <p:grpSpPr>
          <a:xfrm>
            <a:off x="6072097" y="3688401"/>
            <a:ext cx="134345" cy="111324"/>
            <a:chOff x="4998132" y="3850550"/>
            <a:chExt cx="108000" cy="108000"/>
          </a:xfrm>
        </p:grpSpPr>
        <p:cxnSp>
          <p:nvCxnSpPr>
            <p:cNvPr id="73" name="Straight Connector 72">
              <a:extLst>
                <a:ext uri="{FF2B5EF4-FFF2-40B4-BE49-F238E27FC236}">
                  <a16:creationId xmlns:a16="http://schemas.microsoft.com/office/drawing/2014/main" id="{7A67054E-F1F4-6475-C84A-7AAC8F05097F}"/>
                </a:ext>
              </a:extLst>
            </p:cNvPr>
            <p:cNvCxnSpPr/>
            <p:nvPr/>
          </p:nvCxnSpPr>
          <p:spPr>
            <a:xfrm>
              <a:off x="5052928" y="3850550"/>
              <a:ext cx="0" cy="108000"/>
            </a:xfrm>
            <a:prstGeom prst="line">
              <a:avLst/>
            </a:prstGeom>
            <a:ln w="19050">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E85CCA06-A89B-6FA2-D7A8-BC0EC19B760C}"/>
                </a:ext>
              </a:extLst>
            </p:cNvPr>
            <p:cNvCxnSpPr>
              <a:cxnSpLocks/>
            </p:cNvCxnSpPr>
            <p:nvPr/>
          </p:nvCxnSpPr>
          <p:spPr>
            <a:xfrm rot="5400000">
              <a:off x="5052132" y="3848403"/>
              <a:ext cx="0" cy="108000"/>
            </a:xfrm>
            <a:prstGeom prst="line">
              <a:avLst/>
            </a:prstGeom>
            <a:ln w="19050">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75" name="Group 74">
            <a:extLst>
              <a:ext uri="{FF2B5EF4-FFF2-40B4-BE49-F238E27FC236}">
                <a16:creationId xmlns:a16="http://schemas.microsoft.com/office/drawing/2014/main" id="{65C6921E-1DB1-264C-3F7E-B92F814E17D3}"/>
              </a:ext>
            </a:extLst>
          </p:cNvPr>
          <p:cNvGrpSpPr/>
          <p:nvPr/>
        </p:nvGrpSpPr>
        <p:grpSpPr>
          <a:xfrm>
            <a:off x="6072097" y="3893056"/>
            <a:ext cx="134345" cy="111324"/>
            <a:chOff x="4998132" y="3850550"/>
            <a:chExt cx="108000" cy="108000"/>
          </a:xfrm>
        </p:grpSpPr>
        <p:cxnSp>
          <p:nvCxnSpPr>
            <p:cNvPr id="76" name="Straight Connector 75">
              <a:extLst>
                <a:ext uri="{FF2B5EF4-FFF2-40B4-BE49-F238E27FC236}">
                  <a16:creationId xmlns:a16="http://schemas.microsoft.com/office/drawing/2014/main" id="{5D574C93-C431-5B89-1690-581269F53B9D}"/>
                </a:ext>
              </a:extLst>
            </p:cNvPr>
            <p:cNvCxnSpPr/>
            <p:nvPr/>
          </p:nvCxnSpPr>
          <p:spPr>
            <a:xfrm>
              <a:off x="5052928" y="3850550"/>
              <a:ext cx="0" cy="108000"/>
            </a:xfrm>
            <a:prstGeom prst="line">
              <a:avLst/>
            </a:prstGeom>
            <a:ln w="19050">
              <a:solidFill>
                <a:srgbClr val="FB7D0B"/>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C2312534-4C6A-E750-3107-E66240B29F93}"/>
                </a:ext>
              </a:extLst>
            </p:cNvPr>
            <p:cNvCxnSpPr>
              <a:cxnSpLocks/>
            </p:cNvCxnSpPr>
            <p:nvPr/>
          </p:nvCxnSpPr>
          <p:spPr>
            <a:xfrm rot="5400000">
              <a:off x="5052132" y="3848403"/>
              <a:ext cx="0" cy="108000"/>
            </a:xfrm>
            <a:prstGeom prst="line">
              <a:avLst/>
            </a:prstGeom>
            <a:ln w="19050">
              <a:solidFill>
                <a:srgbClr val="FB7D0B"/>
              </a:solidFill>
            </a:ln>
          </p:spPr>
          <p:style>
            <a:lnRef idx="1">
              <a:schemeClr val="accent1"/>
            </a:lnRef>
            <a:fillRef idx="0">
              <a:schemeClr val="accent1"/>
            </a:fillRef>
            <a:effectRef idx="0">
              <a:schemeClr val="accent1"/>
            </a:effectRef>
            <a:fontRef idx="minor">
              <a:schemeClr val="tx1"/>
            </a:fontRef>
          </p:style>
        </p:cxnSp>
      </p:grpSp>
      <p:grpSp>
        <p:nvGrpSpPr>
          <p:cNvPr id="82" name="Group 81">
            <a:extLst>
              <a:ext uri="{FF2B5EF4-FFF2-40B4-BE49-F238E27FC236}">
                <a16:creationId xmlns:a16="http://schemas.microsoft.com/office/drawing/2014/main" id="{55A38A2B-30CA-C8BE-638C-5E1750710183}"/>
              </a:ext>
            </a:extLst>
          </p:cNvPr>
          <p:cNvGrpSpPr/>
          <p:nvPr/>
        </p:nvGrpSpPr>
        <p:grpSpPr>
          <a:xfrm>
            <a:off x="6072097" y="4075837"/>
            <a:ext cx="134345" cy="111324"/>
            <a:chOff x="4998132" y="3850550"/>
            <a:chExt cx="108000" cy="108000"/>
          </a:xfrm>
        </p:grpSpPr>
        <p:cxnSp>
          <p:nvCxnSpPr>
            <p:cNvPr id="83" name="Straight Connector 82">
              <a:extLst>
                <a:ext uri="{FF2B5EF4-FFF2-40B4-BE49-F238E27FC236}">
                  <a16:creationId xmlns:a16="http://schemas.microsoft.com/office/drawing/2014/main" id="{26087B3B-0ECD-B8D0-C574-43DDBF7658B3}"/>
                </a:ext>
              </a:extLst>
            </p:cNvPr>
            <p:cNvCxnSpPr/>
            <p:nvPr/>
          </p:nvCxnSpPr>
          <p:spPr>
            <a:xfrm>
              <a:off x="5052928" y="3850550"/>
              <a:ext cx="0" cy="108000"/>
            </a:xfrm>
            <a:prstGeom prst="line">
              <a:avLst/>
            </a:prstGeom>
            <a:ln w="19050">
              <a:solidFill>
                <a:srgbClr val="FFFB3B"/>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557E123C-2AB9-FAA2-F26E-10103AA01965}"/>
                </a:ext>
              </a:extLst>
            </p:cNvPr>
            <p:cNvCxnSpPr>
              <a:cxnSpLocks/>
            </p:cNvCxnSpPr>
            <p:nvPr/>
          </p:nvCxnSpPr>
          <p:spPr>
            <a:xfrm rot="5400000">
              <a:off x="5052132" y="3848403"/>
              <a:ext cx="0" cy="108000"/>
            </a:xfrm>
            <a:prstGeom prst="line">
              <a:avLst/>
            </a:prstGeom>
            <a:ln w="19050">
              <a:solidFill>
                <a:srgbClr val="FFFB3B"/>
              </a:solidFill>
            </a:ln>
          </p:spPr>
          <p:style>
            <a:lnRef idx="1">
              <a:schemeClr val="accent1"/>
            </a:lnRef>
            <a:fillRef idx="0">
              <a:schemeClr val="accent1"/>
            </a:fillRef>
            <a:effectRef idx="0">
              <a:schemeClr val="accent1"/>
            </a:effectRef>
            <a:fontRef idx="minor">
              <a:schemeClr val="tx1"/>
            </a:fontRef>
          </p:style>
        </p:cxnSp>
      </p:grpSp>
      <p:sp>
        <p:nvSpPr>
          <p:cNvPr id="27" name="TextBox 26">
            <a:extLst>
              <a:ext uri="{FF2B5EF4-FFF2-40B4-BE49-F238E27FC236}">
                <a16:creationId xmlns:a16="http://schemas.microsoft.com/office/drawing/2014/main" id="{5D196B42-1285-5978-D07A-15169D802E72}"/>
              </a:ext>
            </a:extLst>
          </p:cNvPr>
          <p:cNvSpPr txBox="1"/>
          <p:nvPr/>
        </p:nvSpPr>
        <p:spPr>
          <a:xfrm>
            <a:off x="6278916" y="3646491"/>
            <a:ext cx="165600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L, n = 198</a:t>
            </a:r>
          </a:p>
        </p:txBody>
      </p:sp>
      <p:sp>
        <p:nvSpPr>
          <p:cNvPr id="32" name="TextBox 31">
            <a:extLst>
              <a:ext uri="{FF2B5EF4-FFF2-40B4-BE49-F238E27FC236}">
                <a16:creationId xmlns:a16="http://schemas.microsoft.com/office/drawing/2014/main" id="{2E58C989-1372-F028-2B2E-6EA59022DF21}"/>
              </a:ext>
            </a:extLst>
          </p:cNvPr>
          <p:cNvSpPr txBox="1"/>
          <p:nvPr/>
        </p:nvSpPr>
        <p:spPr>
          <a:xfrm>
            <a:off x="6278916" y="3835906"/>
            <a:ext cx="165600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5L, n = 128</a:t>
            </a:r>
          </a:p>
        </p:txBody>
      </p:sp>
      <p:sp>
        <p:nvSpPr>
          <p:cNvPr id="34" name="TextBox 33">
            <a:extLst>
              <a:ext uri="{FF2B5EF4-FFF2-40B4-BE49-F238E27FC236}">
                <a16:creationId xmlns:a16="http://schemas.microsoft.com/office/drawing/2014/main" id="{E67A506D-AF42-8866-08B9-E129B9EC597C}"/>
              </a:ext>
            </a:extLst>
          </p:cNvPr>
          <p:cNvSpPr txBox="1"/>
          <p:nvPr/>
        </p:nvSpPr>
        <p:spPr>
          <a:xfrm>
            <a:off x="6278916" y="4038345"/>
            <a:ext cx="165600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6L, n = 81</a:t>
            </a:r>
          </a:p>
        </p:txBody>
      </p:sp>
      <p:sp>
        <p:nvSpPr>
          <p:cNvPr id="95" name="TextBox 94">
            <a:extLst>
              <a:ext uri="{FF2B5EF4-FFF2-40B4-BE49-F238E27FC236}">
                <a16:creationId xmlns:a16="http://schemas.microsoft.com/office/drawing/2014/main" id="{33E87993-D925-8EFB-3F74-3A3BF82E0390}"/>
              </a:ext>
            </a:extLst>
          </p:cNvPr>
          <p:cNvSpPr txBox="1"/>
          <p:nvPr/>
        </p:nvSpPr>
        <p:spPr>
          <a:xfrm>
            <a:off x="6634953" y="2267062"/>
            <a:ext cx="1143696" cy="215444"/>
          </a:xfrm>
          <a:prstGeom prst="rect">
            <a:avLst/>
          </a:prstGeom>
          <a:solidFill>
            <a:schemeClr val="bg1"/>
          </a:solid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p &lt; 0.001</a:t>
            </a:r>
          </a:p>
        </p:txBody>
      </p:sp>
      <p:grpSp>
        <p:nvGrpSpPr>
          <p:cNvPr id="174" name="Group 173">
            <a:extLst>
              <a:ext uri="{FF2B5EF4-FFF2-40B4-BE49-F238E27FC236}">
                <a16:creationId xmlns:a16="http://schemas.microsoft.com/office/drawing/2014/main" id="{CD6A3B94-2C79-C8E4-8D05-5861545B6126}"/>
              </a:ext>
            </a:extLst>
          </p:cNvPr>
          <p:cNvGrpSpPr/>
          <p:nvPr/>
        </p:nvGrpSpPr>
        <p:grpSpPr>
          <a:xfrm>
            <a:off x="4815948" y="3673161"/>
            <a:ext cx="134345" cy="111324"/>
            <a:chOff x="5001307" y="3850550"/>
            <a:chExt cx="108000" cy="108000"/>
          </a:xfrm>
        </p:grpSpPr>
        <p:cxnSp>
          <p:nvCxnSpPr>
            <p:cNvPr id="175" name="Straight Connector 174">
              <a:extLst>
                <a:ext uri="{FF2B5EF4-FFF2-40B4-BE49-F238E27FC236}">
                  <a16:creationId xmlns:a16="http://schemas.microsoft.com/office/drawing/2014/main" id="{1C85D586-385E-F65F-2DEE-02559761F870}"/>
                </a:ext>
              </a:extLst>
            </p:cNvPr>
            <p:cNvCxnSpPr/>
            <p:nvPr/>
          </p:nvCxnSpPr>
          <p:spPr>
            <a:xfrm>
              <a:off x="5052928" y="3850550"/>
              <a:ext cx="0" cy="108000"/>
            </a:xfrm>
            <a:prstGeom prst="line">
              <a:avLst/>
            </a:prstGeom>
            <a:ln w="19050">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A52FBB7E-FF37-E3BD-6748-3DDD451664A6}"/>
                </a:ext>
              </a:extLst>
            </p:cNvPr>
            <p:cNvCxnSpPr>
              <a:cxnSpLocks/>
            </p:cNvCxnSpPr>
            <p:nvPr/>
          </p:nvCxnSpPr>
          <p:spPr>
            <a:xfrm rot="5400000">
              <a:off x="5055307" y="3848403"/>
              <a:ext cx="0" cy="108000"/>
            </a:xfrm>
            <a:prstGeom prst="line">
              <a:avLst/>
            </a:prstGeom>
            <a:ln w="19050">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38" name="Group 37">
            <a:extLst>
              <a:ext uri="{FF2B5EF4-FFF2-40B4-BE49-F238E27FC236}">
                <a16:creationId xmlns:a16="http://schemas.microsoft.com/office/drawing/2014/main" id="{8593A343-6D01-3C18-2FE5-87DFBD6754F3}"/>
              </a:ext>
            </a:extLst>
          </p:cNvPr>
          <p:cNvGrpSpPr/>
          <p:nvPr/>
        </p:nvGrpSpPr>
        <p:grpSpPr>
          <a:xfrm>
            <a:off x="4747699" y="2202408"/>
            <a:ext cx="2926952" cy="1442631"/>
            <a:chOff x="5246251" y="2201651"/>
            <a:chExt cx="2175997" cy="1343476"/>
          </a:xfrm>
        </p:grpSpPr>
        <p:sp>
          <p:nvSpPr>
            <p:cNvPr id="163" name="Freeform: Shape 162">
              <a:extLst>
                <a:ext uri="{FF2B5EF4-FFF2-40B4-BE49-F238E27FC236}">
                  <a16:creationId xmlns:a16="http://schemas.microsoft.com/office/drawing/2014/main" id="{CBD5C2C6-A58C-9A23-F137-68F8D3EB0AB9}"/>
                </a:ext>
              </a:extLst>
            </p:cNvPr>
            <p:cNvSpPr/>
            <p:nvPr/>
          </p:nvSpPr>
          <p:spPr>
            <a:xfrm>
              <a:off x="5274959" y="2234425"/>
              <a:ext cx="1745090" cy="1181493"/>
            </a:xfrm>
            <a:custGeom>
              <a:avLst/>
              <a:gdLst>
                <a:gd name="connsiteX0" fmla="*/ 0 w 1316259"/>
                <a:gd name="connsiteY0" fmla="*/ 0 h 891158"/>
                <a:gd name="connsiteX1" fmla="*/ 7334 w 1316259"/>
                <a:gd name="connsiteY1" fmla="*/ 23336 h 891158"/>
                <a:gd name="connsiteX2" fmla="*/ 14764 w 1316259"/>
                <a:gd name="connsiteY2" fmla="*/ 55912 h 891158"/>
                <a:gd name="connsiteX3" fmla="*/ 20383 w 1316259"/>
                <a:gd name="connsiteY3" fmla="*/ 80867 h 891158"/>
                <a:gd name="connsiteX4" fmla="*/ 20383 w 1316259"/>
                <a:gd name="connsiteY4" fmla="*/ 93917 h 891158"/>
                <a:gd name="connsiteX5" fmla="*/ 26194 w 1316259"/>
                <a:gd name="connsiteY5" fmla="*/ 112871 h 891158"/>
                <a:gd name="connsiteX6" fmla="*/ 30575 w 1316259"/>
                <a:gd name="connsiteY6" fmla="*/ 139065 h 891158"/>
                <a:gd name="connsiteX7" fmla="*/ 30575 w 1316259"/>
                <a:gd name="connsiteY7" fmla="*/ 154305 h 891158"/>
                <a:gd name="connsiteX8" fmla="*/ 40005 w 1316259"/>
                <a:gd name="connsiteY8" fmla="*/ 154305 h 891158"/>
                <a:gd name="connsiteX9" fmla="*/ 40005 w 1316259"/>
                <a:gd name="connsiteY9" fmla="*/ 174784 h 891158"/>
                <a:gd name="connsiteX10" fmla="*/ 40005 w 1316259"/>
                <a:gd name="connsiteY10" fmla="*/ 189262 h 891158"/>
                <a:gd name="connsiteX11" fmla="*/ 47244 w 1316259"/>
                <a:gd name="connsiteY11" fmla="*/ 189262 h 891158"/>
                <a:gd name="connsiteX12" fmla="*/ 47244 w 1316259"/>
                <a:gd name="connsiteY12" fmla="*/ 206788 h 891158"/>
                <a:gd name="connsiteX13" fmla="*/ 47244 w 1316259"/>
                <a:gd name="connsiteY13" fmla="*/ 224981 h 891158"/>
                <a:gd name="connsiteX14" fmla="*/ 58960 w 1316259"/>
                <a:gd name="connsiteY14" fmla="*/ 228600 h 891158"/>
                <a:gd name="connsiteX15" fmla="*/ 58960 w 1316259"/>
                <a:gd name="connsiteY15" fmla="*/ 250412 h 891158"/>
                <a:gd name="connsiteX16" fmla="*/ 58960 w 1316259"/>
                <a:gd name="connsiteY16" fmla="*/ 270796 h 891158"/>
                <a:gd name="connsiteX17" fmla="*/ 71342 w 1316259"/>
                <a:gd name="connsiteY17" fmla="*/ 301371 h 891158"/>
                <a:gd name="connsiteX18" fmla="*/ 71342 w 1316259"/>
                <a:gd name="connsiteY18" fmla="*/ 318135 h 891158"/>
                <a:gd name="connsiteX19" fmla="*/ 77153 w 1316259"/>
                <a:gd name="connsiteY19" fmla="*/ 327660 h 891158"/>
                <a:gd name="connsiteX20" fmla="*/ 85916 w 1316259"/>
                <a:gd name="connsiteY20" fmla="*/ 342138 h 891158"/>
                <a:gd name="connsiteX21" fmla="*/ 85916 w 1316259"/>
                <a:gd name="connsiteY21" fmla="*/ 349472 h 891158"/>
                <a:gd name="connsiteX22" fmla="*/ 88773 w 1316259"/>
                <a:gd name="connsiteY22" fmla="*/ 367665 h 891158"/>
                <a:gd name="connsiteX23" fmla="*/ 97536 w 1316259"/>
                <a:gd name="connsiteY23" fmla="*/ 367665 h 891158"/>
                <a:gd name="connsiteX24" fmla="*/ 101918 w 1316259"/>
                <a:gd name="connsiteY24" fmla="*/ 388811 h 891158"/>
                <a:gd name="connsiteX25" fmla="*/ 101918 w 1316259"/>
                <a:gd name="connsiteY25" fmla="*/ 408432 h 891158"/>
                <a:gd name="connsiteX26" fmla="*/ 116491 w 1316259"/>
                <a:gd name="connsiteY26" fmla="*/ 408432 h 891158"/>
                <a:gd name="connsiteX27" fmla="*/ 116491 w 1316259"/>
                <a:gd name="connsiteY27" fmla="*/ 457200 h 891158"/>
                <a:gd name="connsiteX28" fmla="*/ 139065 w 1316259"/>
                <a:gd name="connsiteY28" fmla="*/ 465201 h 891158"/>
                <a:gd name="connsiteX29" fmla="*/ 139065 w 1316259"/>
                <a:gd name="connsiteY29" fmla="*/ 487775 h 891158"/>
                <a:gd name="connsiteX30" fmla="*/ 144113 w 1316259"/>
                <a:gd name="connsiteY30" fmla="*/ 511112 h 891158"/>
                <a:gd name="connsiteX31" fmla="*/ 157258 w 1316259"/>
                <a:gd name="connsiteY31" fmla="*/ 517684 h 891158"/>
                <a:gd name="connsiteX32" fmla="*/ 157258 w 1316259"/>
                <a:gd name="connsiteY32" fmla="*/ 556927 h 891158"/>
                <a:gd name="connsiteX33" fmla="*/ 175451 w 1316259"/>
                <a:gd name="connsiteY33" fmla="*/ 556927 h 891158"/>
                <a:gd name="connsiteX34" fmla="*/ 183452 w 1316259"/>
                <a:gd name="connsiteY34" fmla="*/ 573691 h 891158"/>
                <a:gd name="connsiteX35" fmla="*/ 193643 w 1316259"/>
                <a:gd name="connsiteY35" fmla="*/ 585311 h 891158"/>
                <a:gd name="connsiteX36" fmla="*/ 199454 w 1316259"/>
                <a:gd name="connsiteY36" fmla="*/ 593312 h 891158"/>
                <a:gd name="connsiteX37" fmla="*/ 208883 w 1316259"/>
                <a:gd name="connsiteY37" fmla="*/ 605695 h 891158"/>
                <a:gd name="connsiteX38" fmla="*/ 208883 w 1316259"/>
                <a:gd name="connsiteY38" fmla="*/ 613696 h 891158"/>
                <a:gd name="connsiteX39" fmla="*/ 216218 w 1316259"/>
                <a:gd name="connsiteY39" fmla="*/ 613696 h 891158"/>
                <a:gd name="connsiteX40" fmla="*/ 216218 w 1316259"/>
                <a:gd name="connsiteY40" fmla="*/ 634079 h 891158"/>
                <a:gd name="connsiteX41" fmla="*/ 221266 w 1316259"/>
                <a:gd name="connsiteY41" fmla="*/ 634079 h 891158"/>
                <a:gd name="connsiteX42" fmla="*/ 221266 w 1316259"/>
                <a:gd name="connsiteY42" fmla="*/ 650843 h 891158"/>
                <a:gd name="connsiteX43" fmla="*/ 274415 w 1316259"/>
                <a:gd name="connsiteY43" fmla="*/ 650843 h 891158"/>
                <a:gd name="connsiteX44" fmla="*/ 280226 w 1316259"/>
                <a:gd name="connsiteY44" fmla="*/ 690944 h 891158"/>
                <a:gd name="connsiteX45" fmla="*/ 289751 w 1316259"/>
                <a:gd name="connsiteY45" fmla="*/ 699611 h 891158"/>
                <a:gd name="connsiteX46" fmla="*/ 304991 w 1316259"/>
                <a:gd name="connsiteY46" fmla="*/ 724376 h 891158"/>
                <a:gd name="connsiteX47" fmla="*/ 316706 w 1316259"/>
                <a:gd name="connsiteY47" fmla="*/ 730949 h 891158"/>
                <a:gd name="connsiteX48" fmla="*/ 329756 w 1316259"/>
                <a:gd name="connsiteY48" fmla="*/ 735997 h 891158"/>
                <a:gd name="connsiteX49" fmla="*/ 339185 w 1316259"/>
                <a:gd name="connsiteY49" fmla="*/ 744760 h 891158"/>
                <a:gd name="connsiteX50" fmla="*/ 348710 w 1316259"/>
                <a:gd name="connsiteY50" fmla="*/ 758571 h 891158"/>
                <a:gd name="connsiteX51" fmla="*/ 360331 w 1316259"/>
                <a:gd name="connsiteY51" fmla="*/ 758571 h 891158"/>
                <a:gd name="connsiteX52" fmla="*/ 360331 w 1316259"/>
                <a:gd name="connsiteY52" fmla="*/ 800100 h 891158"/>
                <a:gd name="connsiteX53" fmla="*/ 472440 w 1316259"/>
                <a:gd name="connsiteY53" fmla="*/ 800100 h 891158"/>
                <a:gd name="connsiteX54" fmla="*/ 475393 w 1316259"/>
                <a:gd name="connsiteY54" fmla="*/ 827627 h 891158"/>
                <a:gd name="connsiteX55" fmla="*/ 480441 w 1316259"/>
                <a:gd name="connsiteY55" fmla="*/ 856202 h 891158"/>
                <a:gd name="connsiteX56" fmla="*/ 524828 w 1316259"/>
                <a:gd name="connsiteY56" fmla="*/ 856202 h 891158"/>
                <a:gd name="connsiteX57" fmla="*/ 575882 w 1316259"/>
                <a:gd name="connsiteY57" fmla="*/ 856202 h 891158"/>
                <a:gd name="connsiteX58" fmla="*/ 575882 w 1316259"/>
                <a:gd name="connsiteY58" fmla="*/ 891159 h 891158"/>
                <a:gd name="connsiteX59" fmla="*/ 810959 w 1316259"/>
                <a:gd name="connsiteY59" fmla="*/ 891159 h 891158"/>
                <a:gd name="connsiteX60" fmla="*/ 1316260 w 1316259"/>
                <a:gd name="connsiteY60" fmla="*/ 891159 h 891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316259" h="891158">
                  <a:moveTo>
                    <a:pt x="0" y="0"/>
                  </a:moveTo>
                  <a:lnTo>
                    <a:pt x="7334" y="23336"/>
                  </a:lnTo>
                  <a:lnTo>
                    <a:pt x="14764" y="55912"/>
                  </a:lnTo>
                  <a:lnTo>
                    <a:pt x="20383" y="80867"/>
                  </a:lnTo>
                  <a:lnTo>
                    <a:pt x="20383" y="93917"/>
                  </a:lnTo>
                  <a:lnTo>
                    <a:pt x="26194" y="112871"/>
                  </a:lnTo>
                  <a:lnTo>
                    <a:pt x="30575" y="139065"/>
                  </a:lnTo>
                  <a:lnTo>
                    <a:pt x="30575" y="154305"/>
                  </a:lnTo>
                  <a:lnTo>
                    <a:pt x="40005" y="154305"/>
                  </a:lnTo>
                  <a:lnTo>
                    <a:pt x="40005" y="174784"/>
                  </a:lnTo>
                  <a:lnTo>
                    <a:pt x="40005" y="189262"/>
                  </a:lnTo>
                  <a:lnTo>
                    <a:pt x="47244" y="189262"/>
                  </a:lnTo>
                  <a:lnTo>
                    <a:pt x="47244" y="206788"/>
                  </a:lnTo>
                  <a:lnTo>
                    <a:pt x="47244" y="224981"/>
                  </a:lnTo>
                  <a:lnTo>
                    <a:pt x="58960" y="228600"/>
                  </a:lnTo>
                  <a:lnTo>
                    <a:pt x="58960" y="250412"/>
                  </a:lnTo>
                  <a:lnTo>
                    <a:pt x="58960" y="270796"/>
                  </a:lnTo>
                  <a:lnTo>
                    <a:pt x="71342" y="301371"/>
                  </a:lnTo>
                  <a:lnTo>
                    <a:pt x="71342" y="318135"/>
                  </a:lnTo>
                  <a:lnTo>
                    <a:pt x="77153" y="327660"/>
                  </a:lnTo>
                  <a:lnTo>
                    <a:pt x="85916" y="342138"/>
                  </a:lnTo>
                  <a:lnTo>
                    <a:pt x="85916" y="349472"/>
                  </a:lnTo>
                  <a:lnTo>
                    <a:pt x="88773" y="367665"/>
                  </a:lnTo>
                  <a:lnTo>
                    <a:pt x="97536" y="367665"/>
                  </a:lnTo>
                  <a:lnTo>
                    <a:pt x="101918" y="388811"/>
                  </a:lnTo>
                  <a:lnTo>
                    <a:pt x="101918" y="408432"/>
                  </a:lnTo>
                  <a:lnTo>
                    <a:pt x="116491" y="408432"/>
                  </a:lnTo>
                  <a:lnTo>
                    <a:pt x="116491" y="457200"/>
                  </a:lnTo>
                  <a:lnTo>
                    <a:pt x="139065" y="465201"/>
                  </a:lnTo>
                  <a:lnTo>
                    <a:pt x="139065" y="487775"/>
                  </a:lnTo>
                  <a:lnTo>
                    <a:pt x="144113" y="511112"/>
                  </a:lnTo>
                  <a:lnTo>
                    <a:pt x="157258" y="517684"/>
                  </a:lnTo>
                  <a:lnTo>
                    <a:pt x="157258" y="556927"/>
                  </a:lnTo>
                  <a:lnTo>
                    <a:pt x="175451" y="556927"/>
                  </a:lnTo>
                  <a:lnTo>
                    <a:pt x="183452" y="573691"/>
                  </a:lnTo>
                  <a:lnTo>
                    <a:pt x="193643" y="585311"/>
                  </a:lnTo>
                  <a:lnTo>
                    <a:pt x="199454" y="593312"/>
                  </a:lnTo>
                  <a:lnTo>
                    <a:pt x="208883" y="605695"/>
                  </a:lnTo>
                  <a:lnTo>
                    <a:pt x="208883" y="613696"/>
                  </a:lnTo>
                  <a:lnTo>
                    <a:pt x="216218" y="613696"/>
                  </a:lnTo>
                  <a:lnTo>
                    <a:pt x="216218" y="634079"/>
                  </a:lnTo>
                  <a:lnTo>
                    <a:pt x="221266" y="634079"/>
                  </a:lnTo>
                  <a:lnTo>
                    <a:pt x="221266" y="650843"/>
                  </a:lnTo>
                  <a:lnTo>
                    <a:pt x="274415" y="650843"/>
                  </a:lnTo>
                  <a:lnTo>
                    <a:pt x="280226" y="690944"/>
                  </a:lnTo>
                  <a:lnTo>
                    <a:pt x="289751" y="699611"/>
                  </a:lnTo>
                  <a:lnTo>
                    <a:pt x="304991" y="724376"/>
                  </a:lnTo>
                  <a:lnTo>
                    <a:pt x="316706" y="730949"/>
                  </a:lnTo>
                  <a:lnTo>
                    <a:pt x="329756" y="735997"/>
                  </a:lnTo>
                  <a:lnTo>
                    <a:pt x="339185" y="744760"/>
                  </a:lnTo>
                  <a:lnTo>
                    <a:pt x="348710" y="758571"/>
                  </a:lnTo>
                  <a:lnTo>
                    <a:pt x="360331" y="758571"/>
                  </a:lnTo>
                  <a:lnTo>
                    <a:pt x="360331" y="800100"/>
                  </a:lnTo>
                  <a:lnTo>
                    <a:pt x="472440" y="800100"/>
                  </a:lnTo>
                  <a:lnTo>
                    <a:pt x="475393" y="827627"/>
                  </a:lnTo>
                  <a:lnTo>
                    <a:pt x="480441" y="856202"/>
                  </a:lnTo>
                  <a:lnTo>
                    <a:pt x="524828" y="856202"/>
                  </a:lnTo>
                  <a:lnTo>
                    <a:pt x="575882" y="856202"/>
                  </a:lnTo>
                  <a:lnTo>
                    <a:pt x="575882" y="891159"/>
                  </a:lnTo>
                  <a:lnTo>
                    <a:pt x="810959" y="891159"/>
                  </a:lnTo>
                  <a:lnTo>
                    <a:pt x="1316260" y="891159"/>
                  </a:lnTo>
                </a:path>
              </a:pathLst>
            </a:custGeom>
            <a:noFill/>
            <a:ln w="25400" cap="flat">
              <a:solidFill>
                <a:srgbClr val="FB7D0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Shape 163">
              <a:extLst>
                <a:ext uri="{FF2B5EF4-FFF2-40B4-BE49-F238E27FC236}">
                  <a16:creationId xmlns:a16="http://schemas.microsoft.com/office/drawing/2014/main" id="{FE634405-119D-79FB-193B-8D619F3F0123}"/>
                </a:ext>
              </a:extLst>
            </p:cNvPr>
            <p:cNvSpPr/>
            <p:nvPr/>
          </p:nvSpPr>
          <p:spPr>
            <a:xfrm>
              <a:off x="5274959" y="2252358"/>
              <a:ext cx="1872004" cy="1100295"/>
            </a:xfrm>
            <a:custGeom>
              <a:avLst/>
              <a:gdLst>
                <a:gd name="connsiteX0" fmla="*/ 0 w 1411986"/>
                <a:gd name="connsiteY0" fmla="*/ 0 h 829913"/>
                <a:gd name="connsiteX1" fmla="*/ 7334 w 1411986"/>
                <a:gd name="connsiteY1" fmla="*/ 9811 h 829913"/>
                <a:gd name="connsiteX2" fmla="*/ 7334 w 1411986"/>
                <a:gd name="connsiteY2" fmla="*/ 25622 h 829913"/>
                <a:gd name="connsiteX3" fmla="*/ 21812 w 1411986"/>
                <a:gd name="connsiteY3" fmla="*/ 58388 h 829913"/>
                <a:gd name="connsiteX4" fmla="*/ 32195 w 1411986"/>
                <a:gd name="connsiteY4" fmla="*/ 70961 h 829913"/>
                <a:gd name="connsiteX5" fmla="*/ 36576 w 1411986"/>
                <a:gd name="connsiteY5" fmla="*/ 91154 h 829913"/>
                <a:gd name="connsiteX6" fmla="*/ 45815 w 1411986"/>
                <a:gd name="connsiteY6" fmla="*/ 124968 h 829913"/>
                <a:gd name="connsiteX7" fmla="*/ 52388 w 1411986"/>
                <a:gd name="connsiteY7" fmla="*/ 141923 h 829913"/>
                <a:gd name="connsiteX8" fmla="*/ 54578 w 1411986"/>
                <a:gd name="connsiteY8" fmla="*/ 161068 h 829913"/>
                <a:gd name="connsiteX9" fmla="*/ 60008 w 1411986"/>
                <a:gd name="connsiteY9" fmla="*/ 192119 h 829913"/>
                <a:gd name="connsiteX10" fmla="*/ 70390 w 1411986"/>
                <a:gd name="connsiteY10" fmla="*/ 205264 h 829913"/>
                <a:gd name="connsiteX11" fmla="*/ 83534 w 1411986"/>
                <a:gd name="connsiteY11" fmla="*/ 214503 h 829913"/>
                <a:gd name="connsiteX12" fmla="*/ 87916 w 1411986"/>
                <a:gd name="connsiteY12" fmla="*/ 226028 h 829913"/>
                <a:gd name="connsiteX13" fmla="*/ 90107 w 1411986"/>
                <a:gd name="connsiteY13" fmla="*/ 252794 h 829913"/>
                <a:gd name="connsiteX14" fmla="*/ 97727 w 1411986"/>
                <a:gd name="connsiteY14" fmla="*/ 252794 h 829913"/>
                <a:gd name="connsiteX15" fmla="*/ 103156 w 1411986"/>
                <a:gd name="connsiteY15" fmla="*/ 286036 h 829913"/>
                <a:gd name="connsiteX16" fmla="*/ 106490 w 1411986"/>
                <a:gd name="connsiteY16" fmla="*/ 286036 h 829913"/>
                <a:gd name="connsiteX17" fmla="*/ 116300 w 1411986"/>
                <a:gd name="connsiteY17" fmla="*/ 312230 h 829913"/>
                <a:gd name="connsiteX18" fmla="*/ 122301 w 1411986"/>
                <a:gd name="connsiteY18" fmla="*/ 325374 h 829913"/>
                <a:gd name="connsiteX19" fmla="*/ 137541 w 1411986"/>
                <a:gd name="connsiteY19" fmla="*/ 328136 h 829913"/>
                <a:gd name="connsiteX20" fmla="*/ 139732 w 1411986"/>
                <a:gd name="connsiteY20" fmla="*/ 335185 h 829913"/>
                <a:gd name="connsiteX21" fmla="*/ 143066 w 1411986"/>
                <a:gd name="connsiteY21" fmla="*/ 359188 h 829913"/>
                <a:gd name="connsiteX22" fmla="*/ 148495 w 1411986"/>
                <a:gd name="connsiteY22" fmla="*/ 366332 h 829913"/>
                <a:gd name="connsiteX23" fmla="*/ 153924 w 1411986"/>
                <a:gd name="connsiteY23" fmla="*/ 371285 h 829913"/>
                <a:gd name="connsiteX24" fmla="*/ 153924 w 1411986"/>
                <a:gd name="connsiteY24" fmla="*/ 397955 h 829913"/>
                <a:gd name="connsiteX25" fmla="*/ 175260 w 1411986"/>
                <a:gd name="connsiteY25" fmla="*/ 397955 h 829913"/>
                <a:gd name="connsiteX26" fmla="*/ 179070 w 1411986"/>
                <a:gd name="connsiteY26" fmla="*/ 447675 h 829913"/>
                <a:gd name="connsiteX27" fmla="*/ 186119 w 1411986"/>
                <a:gd name="connsiteY27" fmla="*/ 456438 h 829913"/>
                <a:gd name="connsiteX28" fmla="*/ 203073 w 1411986"/>
                <a:gd name="connsiteY28" fmla="*/ 475012 h 829913"/>
                <a:gd name="connsiteX29" fmla="*/ 206407 w 1411986"/>
                <a:gd name="connsiteY29" fmla="*/ 490252 h 829913"/>
                <a:gd name="connsiteX30" fmla="*/ 222790 w 1411986"/>
                <a:gd name="connsiteY30" fmla="*/ 504444 h 829913"/>
                <a:gd name="connsiteX31" fmla="*/ 253365 w 1411986"/>
                <a:gd name="connsiteY31" fmla="*/ 511016 h 829913"/>
                <a:gd name="connsiteX32" fmla="*/ 268605 w 1411986"/>
                <a:gd name="connsiteY32" fmla="*/ 519208 h 829913"/>
                <a:gd name="connsiteX33" fmla="*/ 274606 w 1411986"/>
                <a:gd name="connsiteY33" fmla="*/ 529019 h 829913"/>
                <a:gd name="connsiteX34" fmla="*/ 281178 w 1411986"/>
                <a:gd name="connsiteY34" fmla="*/ 552545 h 829913"/>
                <a:gd name="connsiteX35" fmla="*/ 299752 w 1411986"/>
                <a:gd name="connsiteY35" fmla="*/ 556355 h 829913"/>
                <a:gd name="connsiteX36" fmla="*/ 318802 w 1411986"/>
                <a:gd name="connsiteY36" fmla="*/ 569405 h 829913"/>
                <a:gd name="connsiteX37" fmla="*/ 323755 w 1411986"/>
                <a:gd name="connsiteY37" fmla="*/ 586359 h 829913"/>
                <a:gd name="connsiteX38" fmla="*/ 335185 w 1411986"/>
                <a:gd name="connsiteY38" fmla="*/ 607695 h 829913"/>
                <a:gd name="connsiteX39" fmla="*/ 351092 w 1411986"/>
                <a:gd name="connsiteY39" fmla="*/ 620744 h 829913"/>
                <a:gd name="connsiteX40" fmla="*/ 371285 w 1411986"/>
                <a:gd name="connsiteY40" fmla="*/ 624554 h 829913"/>
                <a:gd name="connsiteX41" fmla="*/ 383858 w 1411986"/>
                <a:gd name="connsiteY41" fmla="*/ 641509 h 829913"/>
                <a:gd name="connsiteX42" fmla="*/ 399669 w 1411986"/>
                <a:gd name="connsiteY42" fmla="*/ 656273 h 829913"/>
                <a:gd name="connsiteX43" fmla="*/ 404527 w 1411986"/>
                <a:gd name="connsiteY43" fmla="*/ 665036 h 829913"/>
                <a:gd name="connsiteX44" fmla="*/ 411099 w 1411986"/>
                <a:gd name="connsiteY44" fmla="*/ 671513 h 829913"/>
                <a:gd name="connsiteX45" fmla="*/ 434626 w 1411986"/>
                <a:gd name="connsiteY45" fmla="*/ 671513 h 829913"/>
                <a:gd name="connsiteX46" fmla="*/ 434626 w 1411986"/>
                <a:gd name="connsiteY46" fmla="*/ 686276 h 829913"/>
                <a:gd name="connsiteX47" fmla="*/ 477774 w 1411986"/>
                <a:gd name="connsiteY47" fmla="*/ 690086 h 829913"/>
                <a:gd name="connsiteX48" fmla="*/ 506159 w 1411986"/>
                <a:gd name="connsiteY48" fmla="*/ 690086 h 829913"/>
                <a:gd name="connsiteX49" fmla="*/ 514350 w 1411986"/>
                <a:gd name="connsiteY49" fmla="*/ 699992 h 829913"/>
                <a:gd name="connsiteX50" fmla="*/ 538353 w 1411986"/>
                <a:gd name="connsiteY50" fmla="*/ 704279 h 829913"/>
                <a:gd name="connsiteX51" fmla="*/ 571691 w 1411986"/>
                <a:gd name="connsiteY51" fmla="*/ 704279 h 829913"/>
                <a:gd name="connsiteX52" fmla="*/ 606076 w 1411986"/>
                <a:gd name="connsiteY52" fmla="*/ 704279 h 829913"/>
                <a:gd name="connsiteX53" fmla="*/ 606076 w 1411986"/>
                <a:gd name="connsiteY53" fmla="*/ 727805 h 829913"/>
                <a:gd name="connsiteX54" fmla="*/ 610457 w 1411986"/>
                <a:gd name="connsiteY54" fmla="*/ 727805 h 829913"/>
                <a:gd name="connsiteX55" fmla="*/ 620840 w 1411986"/>
                <a:gd name="connsiteY55" fmla="*/ 727805 h 829913"/>
                <a:gd name="connsiteX56" fmla="*/ 624650 w 1411986"/>
                <a:gd name="connsiteY56" fmla="*/ 757238 h 829913"/>
                <a:gd name="connsiteX57" fmla="*/ 631127 w 1411986"/>
                <a:gd name="connsiteY57" fmla="*/ 757238 h 829913"/>
                <a:gd name="connsiteX58" fmla="*/ 633889 w 1411986"/>
                <a:gd name="connsiteY58" fmla="*/ 780193 h 829913"/>
                <a:gd name="connsiteX59" fmla="*/ 643700 w 1411986"/>
                <a:gd name="connsiteY59" fmla="*/ 780193 h 829913"/>
                <a:gd name="connsiteX60" fmla="*/ 643700 w 1411986"/>
                <a:gd name="connsiteY60" fmla="*/ 784574 h 829913"/>
                <a:gd name="connsiteX61" fmla="*/ 695039 w 1411986"/>
                <a:gd name="connsiteY61" fmla="*/ 784574 h 829913"/>
                <a:gd name="connsiteX62" fmla="*/ 695039 w 1411986"/>
                <a:gd name="connsiteY62" fmla="*/ 806958 h 829913"/>
                <a:gd name="connsiteX63" fmla="*/ 704374 w 1411986"/>
                <a:gd name="connsiteY63" fmla="*/ 806958 h 829913"/>
                <a:gd name="connsiteX64" fmla="*/ 704374 w 1411986"/>
                <a:gd name="connsiteY64" fmla="*/ 829913 h 829913"/>
                <a:gd name="connsiteX65" fmla="*/ 1045083 w 1411986"/>
                <a:gd name="connsiteY65" fmla="*/ 829913 h 829913"/>
                <a:gd name="connsiteX66" fmla="*/ 1411986 w 1411986"/>
                <a:gd name="connsiteY66" fmla="*/ 829913 h 829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1411986" h="829913">
                  <a:moveTo>
                    <a:pt x="0" y="0"/>
                  </a:moveTo>
                  <a:lnTo>
                    <a:pt x="7334" y="9811"/>
                  </a:lnTo>
                  <a:lnTo>
                    <a:pt x="7334" y="25622"/>
                  </a:lnTo>
                  <a:lnTo>
                    <a:pt x="21812" y="58388"/>
                  </a:lnTo>
                  <a:lnTo>
                    <a:pt x="32195" y="70961"/>
                  </a:lnTo>
                  <a:lnTo>
                    <a:pt x="36576" y="91154"/>
                  </a:lnTo>
                  <a:lnTo>
                    <a:pt x="45815" y="124968"/>
                  </a:lnTo>
                  <a:lnTo>
                    <a:pt x="52388" y="141923"/>
                  </a:lnTo>
                  <a:lnTo>
                    <a:pt x="54578" y="161068"/>
                  </a:lnTo>
                  <a:lnTo>
                    <a:pt x="60008" y="192119"/>
                  </a:lnTo>
                  <a:lnTo>
                    <a:pt x="70390" y="205264"/>
                  </a:lnTo>
                  <a:lnTo>
                    <a:pt x="83534" y="214503"/>
                  </a:lnTo>
                  <a:lnTo>
                    <a:pt x="87916" y="226028"/>
                  </a:lnTo>
                  <a:lnTo>
                    <a:pt x="90107" y="252794"/>
                  </a:lnTo>
                  <a:lnTo>
                    <a:pt x="97727" y="252794"/>
                  </a:lnTo>
                  <a:lnTo>
                    <a:pt x="103156" y="286036"/>
                  </a:lnTo>
                  <a:lnTo>
                    <a:pt x="106490" y="286036"/>
                  </a:lnTo>
                  <a:lnTo>
                    <a:pt x="116300" y="312230"/>
                  </a:lnTo>
                  <a:lnTo>
                    <a:pt x="122301" y="325374"/>
                  </a:lnTo>
                  <a:lnTo>
                    <a:pt x="137541" y="328136"/>
                  </a:lnTo>
                  <a:lnTo>
                    <a:pt x="139732" y="335185"/>
                  </a:lnTo>
                  <a:lnTo>
                    <a:pt x="143066" y="359188"/>
                  </a:lnTo>
                  <a:lnTo>
                    <a:pt x="148495" y="366332"/>
                  </a:lnTo>
                  <a:lnTo>
                    <a:pt x="153924" y="371285"/>
                  </a:lnTo>
                  <a:lnTo>
                    <a:pt x="153924" y="397955"/>
                  </a:lnTo>
                  <a:lnTo>
                    <a:pt x="175260" y="397955"/>
                  </a:lnTo>
                  <a:lnTo>
                    <a:pt x="179070" y="447675"/>
                  </a:lnTo>
                  <a:lnTo>
                    <a:pt x="186119" y="456438"/>
                  </a:lnTo>
                  <a:lnTo>
                    <a:pt x="203073" y="475012"/>
                  </a:lnTo>
                  <a:lnTo>
                    <a:pt x="206407" y="490252"/>
                  </a:lnTo>
                  <a:lnTo>
                    <a:pt x="222790" y="504444"/>
                  </a:lnTo>
                  <a:lnTo>
                    <a:pt x="253365" y="511016"/>
                  </a:lnTo>
                  <a:lnTo>
                    <a:pt x="268605" y="519208"/>
                  </a:lnTo>
                  <a:lnTo>
                    <a:pt x="274606" y="529019"/>
                  </a:lnTo>
                  <a:lnTo>
                    <a:pt x="281178" y="552545"/>
                  </a:lnTo>
                  <a:lnTo>
                    <a:pt x="299752" y="556355"/>
                  </a:lnTo>
                  <a:lnTo>
                    <a:pt x="318802" y="569405"/>
                  </a:lnTo>
                  <a:lnTo>
                    <a:pt x="323755" y="586359"/>
                  </a:lnTo>
                  <a:lnTo>
                    <a:pt x="335185" y="607695"/>
                  </a:lnTo>
                  <a:lnTo>
                    <a:pt x="351092" y="620744"/>
                  </a:lnTo>
                  <a:lnTo>
                    <a:pt x="371285" y="624554"/>
                  </a:lnTo>
                  <a:lnTo>
                    <a:pt x="383858" y="641509"/>
                  </a:lnTo>
                  <a:lnTo>
                    <a:pt x="399669" y="656273"/>
                  </a:lnTo>
                  <a:lnTo>
                    <a:pt x="404527" y="665036"/>
                  </a:lnTo>
                  <a:lnTo>
                    <a:pt x="411099" y="671513"/>
                  </a:lnTo>
                  <a:lnTo>
                    <a:pt x="434626" y="671513"/>
                  </a:lnTo>
                  <a:lnTo>
                    <a:pt x="434626" y="686276"/>
                  </a:lnTo>
                  <a:lnTo>
                    <a:pt x="477774" y="690086"/>
                  </a:lnTo>
                  <a:lnTo>
                    <a:pt x="506159" y="690086"/>
                  </a:lnTo>
                  <a:lnTo>
                    <a:pt x="514350" y="699992"/>
                  </a:lnTo>
                  <a:lnTo>
                    <a:pt x="538353" y="704279"/>
                  </a:lnTo>
                  <a:lnTo>
                    <a:pt x="571691" y="704279"/>
                  </a:lnTo>
                  <a:lnTo>
                    <a:pt x="606076" y="704279"/>
                  </a:lnTo>
                  <a:lnTo>
                    <a:pt x="606076" y="727805"/>
                  </a:lnTo>
                  <a:lnTo>
                    <a:pt x="610457" y="727805"/>
                  </a:lnTo>
                  <a:lnTo>
                    <a:pt x="620840" y="727805"/>
                  </a:lnTo>
                  <a:lnTo>
                    <a:pt x="624650" y="757238"/>
                  </a:lnTo>
                  <a:lnTo>
                    <a:pt x="631127" y="757238"/>
                  </a:lnTo>
                  <a:lnTo>
                    <a:pt x="633889" y="780193"/>
                  </a:lnTo>
                  <a:lnTo>
                    <a:pt x="643700" y="780193"/>
                  </a:lnTo>
                  <a:lnTo>
                    <a:pt x="643700" y="784574"/>
                  </a:lnTo>
                  <a:lnTo>
                    <a:pt x="695039" y="784574"/>
                  </a:lnTo>
                  <a:lnTo>
                    <a:pt x="695039" y="806958"/>
                  </a:lnTo>
                  <a:lnTo>
                    <a:pt x="704374" y="806958"/>
                  </a:lnTo>
                  <a:lnTo>
                    <a:pt x="704374" y="829913"/>
                  </a:lnTo>
                  <a:lnTo>
                    <a:pt x="1045083" y="829913"/>
                  </a:lnTo>
                  <a:lnTo>
                    <a:pt x="1411986" y="829913"/>
                  </a:lnTo>
                </a:path>
              </a:pathLst>
            </a:custGeom>
            <a:noFill/>
            <a:ln w="25400" cap="flat">
              <a:solidFill>
                <a:srgbClr val="C696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Shape 164">
              <a:extLst>
                <a:ext uri="{FF2B5EF4-FFF2-40B4-BE49-F238E27FC236}">
                  <a16:creationId xmlns:a16="http://schemas.microsoft.com/office/drawing/2014/main" id="{3516F47E-C89E-A1E4-50F7-9ECF31D81D77}"/>
                </a:ext>
              </a:extLst>
            </p:cNvPr>
            <p:cNvSpPr/>
            <p:nvPr/>
          </p:nvSpPr>
          <p:spPr>
            <a:xfrm>
              <a:off x="5284684" y="2245791"/>
              <a:ext cx="1900164" cy="1085898"/>
            </a:xfrm>
            <a:custGeom>
              <a:avLst/>
              <a:gdLst>
                <a:gd name="connsiteX0" fmla="*/ 0 w 1433226"/>
                <a:gd name="connsiteY0" fmla="*/ 0 h 819054"/>
                <a:gd name="connsiteX1" fmla="*/ 40862 w 1433226"/>
                <a:gd name="connsiteY1" fmla="*/ 77534 h 819054"/>
                <a:gd name="connsiteX2" fmla="*/ 61055 w 1433226"/>
                <a:gd name="connsiteY2" fmla="*/ 110871 h 819054"/>
                <a:gd name="connsiteX3" fmla="*/ 75248 w 1433226"/>
                <a:gd name="connsiteY3" fmla="*/ 130493 h 819054"/>
                <a:gd name="connsiteX4" fmla="*/ 80201 w 1433226"/>
                <a:gd name="connsiteY4" fmla="*/ 162116 h 819054"/>
                <a:gd name="connsiteX5" fmla="*/ 87249 w 1433226"/>
                <a:gd name="connsiteY5" fmla="*/ 180689 h 819054"/>
                <a:gd name="connsiteX6" fmla="*/ 98203 w 1433226"/>
                <a:gd name="connsiteY6" fmla="*/ 196025 h 819054"/>
                <a:gd name="connsiteX7" fmla="*/ 111824 w 1433226"/>
                <a:gd name="connsiteY7" fmla="*/ 214027 h 819054"/>
                <a:gd name="connsiteX8" fmla="*/ 135827 w 1433226"/>
                <a:gd name="connsiteY8" fmla="*/ 252222 h 819054"/>
                <a:gd name="connsiteX9" fmla="*/ 150114 w 1433226"/>
                <a:gd name="connsiteY9" fmla="*/ 269748 h 819054"/>
                <a:gd name="connsiteX10" fmla="*/ 160973 w 1433226"/>
                <a:gd name="connsiteY10" fmla="*/ 282321 h 819054"/>
                <a:gd name="connsiteX11" fmla="*/ 204121 w 1433226"/>
                <a:gd name="connsiteY11" fmla="*/ 325374 h 819054"/>
                <a:gd name="connsiteX12" fmla="*/ 224885 w 1433226"/>
                <a:gd name="connsiteY12" fmla="*/ 342900 h 819054"/>
                <a:gd name="connsiteX13" fmla="*/ 229267 w 1433226"/>
                <a:gd name="connsiteY13" fmla="*/ 356521 h 819054"/>
                <a:gd name="connsiteX14" fmla="*/ 254318 w 1433226"/>
                <a:gd name="connsiteY14" fmla="*/ 387096 h 819054"/>
                <a:gd name="connsiteX15" fmla="*/ 264224 w 1433226"/>
                <a:gd name="connsiteY15" fmla="*/ 402431 h 819054"/>
                <a:gd name="connsiteX16" fmla="*/ 282797 w 1433226"/>
                <a:gd name="connsiteY16" fmla="*/ 405098 h 819054"/>
                <a:gd name="connsiteX17" fmla="*/ 301276 w 1433226"/>
                <a:gd name="connsiteY17" fmla="*/ 422624 h 819054"/>
                <a:gd name="connsiteX18" fmla="*/ 301276 w 1433226"/>
                <a:gd name="connsiteY18" fmla="*/ 429673 h 819054"/>
                <a:gd name="connsiteX19" fmla="*/ 318802 w 1433226"/>
                <a:gd name="connsiteY19" fmla="*/ 435197 h 819054"/>
                <a:gd name="connsiteX20" fmla="*/ 318802 w 1433226"/>
                <a:gd name="connsiteY20" fmla="*/ 457581 h 819054"/>
                <a:gd name="connsiteX21" fmla="*/ 362998 w 1433226"/>
                <a:gd name="connsiteY21" fmla="*/ 457581 h 819054"/>
                <a:gd name="connsiteX22" fmla="*/ 362998 w 1433226"/>
                <a:gd name="connsiteY22" fmla="*/ 478822 h 819054"/>
                <a:gd name="connsiteX23" fmla="*/ 384334 w 1433226"/>
                <a:gd name="connsiteY23" fmla="*/ 478822 h 819054"/>
                <a:gd name="connsiteX24" fmla="*/ 390906 w 1433226"/>
                <a:gd name="connsiteY24" fmla="*/ 495776 h 819054"/>
                <a:gd name="connsiteX25" fmla="*/ 399574 w 1433226"/>
                <a:gd name="connsiteY25" fmla="*/ 498539 h 819054"/>
                <a:gd name="connsiteX26" fmla="*/ 433483 w 1433226"/>
                <a:gd name="connsiteY26" fmla="*/ 538353 h 819054"/>
                <a:gd name="connsiteX27" fmla="*/ 435674 w 1433226"/>
                <a:gd name="connsiteY27" fmla="*/ 550355 h 819054"/>
                <a:gd name="connsiteX28" fmla="*/ 443294 w 1433226"/>
                <a:gd name="connsiteY28" fmla="*/ 554736 h 819054"/>
                <a:gd name="connsiteX29" fmla="*/ 468916 w 1433226"/>
                <a:gd name="connsiteY29" fmla="*/ 554736 h 819054"/>
                <a:gd name="connsiteX30" fmla="*/ 471107 w 1433226"/>
                <a:gd name="connsiteY30" fmla="*/ 559689 h 819054"/>
                <a:gd name="connsiteX31" fmla="*/ 483108 w 1433226"/>
                <a:gd name="connsiteY31" fmla="*/ 576548 h 819054"/>
                <a:gd name="connsiteX32" fmla="*/ 497300 w 1433226"/>
                <a:gd name="connsiteY32" fmla="*/ 582073 h 819054"/>
                <a:gd name="connsiteX33" fmla="*/ 502825 w 1433226"/>
                <a:gd name="connsiteY33" fmla="*/ 585883 h 819054"/>
                <a:gd name="connsiteX34" fmla="*/ 575405 w 1433226"/>
                <a:gd name="connsiteY34" fmla="*/ 585883 h 819054"/>
                <a:gd name="connsiteX35" fmla="*/ 575405 w 1433226"/>
                <a:gd name="connsiteY35" fmla="*/ 592455 h 819054"/>
                <a:gd name="connsiteX36" fmla="*/ 605981 w 1433226"/>
                <a:gd name="connsiteY36" fmla="*/ 592455 h 819054"/>
                <a:gd name="connsiteX37" fmla="*/ 605981 w 1433226"/>
                <a:gd name="connsiteY37" fmla="*/ 612648 h 819054"/>
                <a:gd name="connsiteX38" fmla="*/ 634365 w 1433226"/>
                <a:gd name="connsiteY38" fmla="*/ 612648 h 819054"/>
                <a:gd name="connsiteX39" fmla="*/ 634365 w 1433226"/>
                <a:gd name="connsiteY39" fmla="*/ 621316 h 819054"/>
                <a:gd name="connsiteX40" fmla="*/ 670941 w 1433226"/>
                <a:gd name="connsiteY40" fmla="*/ 621316 h 819054"/>
                <a:gd name="connsiteX41" fmla="*/ 670941 w 1433226"/>
                <a:gd name="connsiteY41" fmla="*/ 642080 h 819054"/>
                <a:gd name="connsiteX42" fmla="*/ 711422 w 1433226"/>
                <a:gd name="connsiteY42" fmla="*/ 642080 h 819054"/>
                <a:gd name="connsiteX43" fmla="*/ 719614 w 1433226"/>
                <a:gd name="connsiteY43" fmla="*/ 642080 h 819054"/>
                <a:gd name="connsiteX44" fmla="*/ 719614 w 1433226"/>
                <a:gd name="connsiteY44" fmla="*/ 657416 h 819054"/>
                <a:gd name="connsiteX45" fmla="*/ 767048 w 1433226"/>
                <a:gd name="connsiteY45" fmla="*/ 657416 h 819054"/>
                <a:gd name="connsiteX46" fmla="*/ 787241 w 1433226"/>
                <a:gd name="connsiteY46" fmla="*/ 657416 h 819054"/>
                <a:gd name="connsiteX47" fmla="*/ 787241 w 1433226"/>
                <a:gd name="connsiteY47" fmla="*/ 682562 h 819054"/>
                <a:gd name="connsiteX48" fmla="*/ 810197 w 1433226"/>
                <a:gd name="connsiteY48" fmla="*/ 682562 h 819054"/>
                <a:gd name="connsiteX49" fmla="*/ 816197 w 1433226"/>
                <a:gd name="connsiteY49" fmla="*/ 682562 h 819054"/>
                <a:gd name="connsiteX50" fmla="*/ 816197 w 1433226"/>
                <a:gd name="connsiteY50" fmla="*/ 709232 h 819054"/>
                <a:gd name="connsiteX51" fmla="*/ 835914 w 1433226"/>
                <a:gd name="connsiteY51" fmla="*/ 709232 h 819054"/>
                <a:gd name="connsiteX52" fmla="*/ 835914 w 1433226"/>
                <a:gd name="connsiteY52" fmla="*/ 739807 h 819054"/>
                <a:gd name="connsiteX53" fmla="*/ 860965 w 1433226"/>
                <a:gd name="connsiteY53" fmla="*/ 739807 h 819054"/>
                <a:gd name="connsiteX54" fmla="*/ 860965 w 1433226"/>
                <a:gd name="connsiteY54" fmla="*/ 767144 h 819054"/>
                <a:gd name="connsiteX55" fmla="*/ 860965 w 1433226"/>
                <a:gd name="connsiteY55" fmla="*/ 778097 h 819054"/>
                <a:gd name="connsiteX56" fmla="*/ 933069 w 1433226"/>
                <a:gd name="connsiteY56" fmla="*/ 778097 h 819054"/>
                <a:gd name="connsiteX57" fmla="*/ 933069 w 1433226"/>
                <a:gd name="connsiteY57" fmla="*/ 815245 h 819054"/>
                <a:gd name="connsiteX58" fmla="*/ 1023747 w 1433226"/>
                <a:gd name="connsiteY58" fmla="*/ 815245 h 819054"/>
                <a:gd name="connsiteX59" fmla="*/ 1023747 w 1433226"/>
                <a:gd name="connsiteY59" fmla="*/ 819055 h 819054"/>
                <a:gd name="connsiteX60" fmla="*/ 1261205 w 1433226"/>
                <a:gd name="connsiteY60" fmla="*/ 819055 h 819054"/>
                <a:gd name="connsiteX61" fmla="*/ 1433227 w 1433226"/>
                <a:gd name="connsiteY61" fmla="*/ 819055 h 819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433226" h="819054">
                  <a:moveTo>
                    <a:pt x="0" y="0"/>
                  </a:moveTo>
                  <a:lnTo>
                    <a:pt x="40862" y="77534"/>
                  </a:lnTo>
                  <a:lnTo>
                    <a:pt x="61055" y="110871"/>
                  </a:lnTo>
                  <a:lnTo>
                    <a:pt x="75248" y="130493"/>
                  </a:lnTo>
                  <a:lnTo>
                    <a:pt x="80201" y="162116"/>
                  </a:lnTo>
                  <a:lnTo>
                    <a:pt x="87249" y="180689"/>
                  </a:lnTo>
                  <a:lnTo>
                    <a:pt x="98203" y="196025"/>
                  </a:lnTo>
                  <a:lnTo>
                    <a:pt x="111824" y="214027"/>
                  </a:lnTo>
                  <a:lnTo>
                    <a:pt x="135827" y="252222"/>
                  </a:lnTo>
                  <a:lnTo>
                    <a:pt x="150114" y="269748"/>
                  </a:lnTo>
                  <a:lnTo>
                    <a:pt x="160973" y="282321"/>
                  </a:lnTo>
                  <a:lnTo>
                    <a:pt x="204121" y="325374"/>
                  </a:lnTo>
                  <a:lnTo>
                    <a:pt x="224885" y="342900"/>
                  </a:lnTo>
                  <a:lnTo>
                    <a:pt x="229267" y="356521"/>
                  </a:lnTo>
                  <a:lnTo>
                    <a:pt x="254318" y="387096"/>
                  </a:lnTo>
                  <a:lnTo>
                    <a:pt x="264224" y="402431"/>
                  </a:lnTo>
                  <a:lnTo>
                    <a:pt x="282797" y="405098"/>
                  </a:lnTo>
                  <a:lnTo>
                    <a:pt x="301276" y="422624"/>
                  </a:lnTo>
                  <a:lnTo>
                    <a:pt x="301276" y="429673"/>
                  </a:lnTo>
                  <a:lnTo>
                    <a:pt x="318802" y="435197"/>
                  </a:lnTo>
                  <a:lnTo>
                    <a:pt x="318802" y="457581"/>
                  </a:lnTo>
                  <a:lnTo>
                    <a:pt x="362998" y="457581"/>
                  </a:lnTo>
                  <a:lnTo>
                    <a:pt x="362998" y="478822"/>
                  </a:lnTo>
                  <a:lnTo>
                    <a:pt x="384334" y="478822"/>
                  </a:lnTo>
                  <a:lnTo>
                    <a:pt x="390906" y="495776"/>
                  </a:lnTo>
                  <a:lnTo>
                    <a:pt x="399574" y="498539"/>
                  </a:lnTo>
                  <a:lnTo>
                    <a:pt x="433483" y="538353"/>
                  </a:lnTo>
                  <a:lnTo>
                    <a:pt x="435674" y="550355"/>
                  </a:lnTo>
                  <a:lnTo>
                    <a:pt x="443294" y="554736"/>
                  </a:lnTo>
                  <a:lnTo>
                    <a:pt x="468916" y="554736"/>
                  </a:lnTo>
                  <a:lnTo>
                    <a:pt x="471107" y="559689"/>
                  </a:lnTo>
                  <a:lnTo>
                    <a:pt x="483108" y="576548"/>
                  </a:lnTo>
                  <a:lnTo>
                    <a:pt x="497300" y="582073"/>
                  </a:lnTo>
                  <a:lnTo>
                    <a:pt x="502825" y="585883"/>
                  </a:lnTo>
                  <a:lnTo>
                    <a:pt x="575405" y="585883"/>
                  </a:lnTo>
                  <a:lnTo>
                    <a:pt x="575405" y="592455"/>
                  </a:lnTo>
                  <a:lnTo>
                    <a:pt x="605981" y="592455"/>
                  </a:lnTo>
                  <a:lnTo>
                    <a:pt x="605981" y="612648"/>
                  </a:lnTo>
                  <a:lnTo>
                    <a:pt x="634365" y="612648"/>
                  </a:lnTo>
                  <a:lnTo>
                    <a:pt x="634365" y="621316"/>
                  </a:lnTo>
                  <a:lnTo>
                    <a:pt x="670941" y="621316"/>
                  </a:lnTo>
                  <a:lnTo>
                    <a:pt x="670941" y="642080"/>
                  </a:lnTo>
                  <a:lnTo>
                    <a:pt x="711422" y="642080"/>
                  </a:lnTo>
                  <a:lnTo>
                    <a:pt x="719614" y="642080"/>
                  </a:lnTo>
                  <a:lnTo>
                    <a:pt x="719614" y="657416"/>
                  </a:lnTo>
                  <a:lnTo>
                    <a:pt x="767048" y="657416"/>
                  </a:lnTo>
                  <a:lnTo>
                    <a:pt x="787241" y="657416"/>
                  </a:lnTo>
                  <a:lnTo>
                    <a:pt x="787241" y="682562"/>
                  </a:lnTo>
                  <a:lnTo>
                    <a:pt x="810197" y="682562"/>
                  </a:lnTo>
                  <a:lnTo>
                    <a:pt x="816197" y="682562"/>
                  </a:lnTo>
                  <a:lnTo>
                    <a:pt x="816197" y="709232"/>
                  </a:lnTo>
                  <a:lnTo>
                    <a:pt x="835914" y="709232"/>
                  </a:lnTo>
                  <a:lnTo>
                    <a:pt x="835914" y="739807"/>
                  </a:lnTo>
                  <a:lnTo>
                    <a:pt x="860965" y="739807"/>
                  </a:lnTo>
                  <a:lnTo>
                    <a:pt x="860965" y="767144"/>
                  </a:lnTo>
                  <a:lnTo>
                    <a:pt x="860965" y="778097"/>
                  </a:lnTo>
                  <a:lnTo>
                    <a:pt x="933069" y="778097"/>
                  </a:lnTo>
                  <a:lnTo>
                    <a:pt x="933069" y="815245"/>
                  </a:lnTo>
                  <a:lnTo>
                    <a:pt x="1023747" y="815245"/>
                  </a:lnTo>
                  <a:lnTo>
                    <a:pt x="1023747" y="819055"/>
                  </a:lnTo>
                  <a:lnTo>
                    <a:pt x="1261205" y="819055"/>
                  </a:lnTo>
                  <a:lnTo>
                    <a:pt x="1433227" y="819055"/>
                  </a:lnTo>
                </a:path>
              </a:pathLst>
            </a:custGeom>
            <a:noFill/>
            <a:ln w="25400" cap="flat">
              <a:solidFill>
                <a:srgbClr val="4FAD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Shape 165">
              <a:extLst>
                <a:ext uri="{FF2B5EF4-FFF2-40B4-BE49-F238E27FC236}">
                  <a16:creationId xmlns:a16="http://schemas.microsoft.com/office/drawing/2014/main" id="{2FAE2DC2-C307-3D45-DB43-1463CEB01B12}"/>
                </a:ext>
              </a:extLst>
            </p:cNvPr>
            <p:cNvSpPr/>
            <p:nvPr/>
          </p:nvSpPr>
          <p:spPr>
            <a:xfrm>
              <a:off x="5284684" y="2240361"/>
              <a:ext cx="1998664" cy="947998"/>
            </a:xfrm>
            <a:custGeom>
              <a:avLst/>
              <a:gdLst>
                <a:gd name="connsiteX0" fmla="*/ 0 w 1507521"/>
                <a:gd name="connsiteY0" fmla="*/ 0 h 715041"/>
                <a:gd name="connsiteX1" fmla="*/ 7144 w 1507521"/>
                <a:gd name="connsiteY1" fmla="*/ 0 h 715041"/>
                <a:gd name="connsiteX2" fmla="*/ 18860 w 1507521"/>
                <a:gd name="connsiteY2" fmla="*/ 9811 h 715041"/>
                <a:gd name="connsiteX3" fmla="*/ 24575 w 1507521"/>
                <a:gd name="connsiteY3" fmla="*/ 16955 h 715041"/>
                <a:gd name="connsiteX4" fmla="*/ 31147 w 1507521"/>
                <a:gd name="connsiteY4" fmla="*/ 27813 h 715041"/>
                <a:gd name="connsiteX5" fmla="*/ 38767 w 1507521"/>
                <a:gd name="connsiteY5" fmla="*/ 39815 h 715041"/>
                <a:gd name="connsiteX6" fmla="*/ 45911 w 1507521"/>
                <a:gd name="connsiteY6" fmla="*/ 47244 h 715041"/>
                <a:gd name="connsiteX7" fmla="*/ 48101 w 1507521"/>
                <a:gd name="connsiteY7" fmla="*/ 56007 h 715041"/>
                <a:gd name="connsiteX8" fmla="*/ 50006 w 1507521"/>
                <a:gd name="connsiteY8" fmla="*/ 81058 h 715041"/>
                <a:gd name="connsiteX9" fmla="*/ 58388 w 1507521"/>
                <a:gd name="connsiteY9" fmla="*/ 82487 h 715041"/>
                <a:gd name="connsiteX10" fmla="*/ 71819 w 1507521"/>
                <a:gd name="connsiteY10" fmla="*/ 105918 h 715041"/>
                <a:gd name="connsiteX11" fmla="*/ 81344 w 1507521"/>
                <a:gd name="connsiteY11" fmla="*/ 108966 h 715041"/>
                <a:gd name="connsiteX12" fmla="*/ 84392 w 1507521"/>
                <a:gd name="connsiteY12" fmla="*/ 118491 h 715041"/>
                <a:gd name="connsiteX13" fmla="*/ 90392 w 1507521"/>
                <a:gd name="connsiteY13" fmla="*/ 122015 h 715041"/>
                <a:gd name="connsiteX14" fmla="*/ 93631 w 1507521"/>
                <a:gd name="connsiteY14" fmla="*/ 132398 h 715041"/>
                <a:gd name="connsiteX15" fmla="*/ 111157 w 1507521"/>
                <a:gd name="connsiteY15" fmla="*/ 131064 h 715041"/>
                <a:gd name="connsiteX16" fmla="*/ 111157 w 1507521"/>
                <a:gd name="connsiteY16" fmla="*/ 149066 h 715041"/>
                <a:gd name="connsiteX17" fmla="*/ 129921 w 1507521"/>
                <a:gd name="connsiteY17" fmla="*/ 149066 h 715041"/>
                <a:gd name="connsiteX18" fmla="*/ 129921 w 1507521"/>
                <a:gd name="connsiteY18" fmla="*/ 157544 h 715041"/>
                <a:gd name="connsiteX19" fmla="*/ 144685 w 1507521"/>
                <a:gd name="connsiteY19" fmla="*/ 158877 h 715041"/>
                <a:gd name="connsiteX20" fmla="*/ 151829 w 1507521"/>
                <a:gd name="connsiteY20" fmla="*/ 173069 h 715041"/>
                <a:gd name="connsiteX21" fmla="*/ 157544 w 1507521"/>
                <a:gd name="connsiteY21" fmla="*/ 173069 h 715041"/>
                <a:gd name="connsiteX22" fmla="*/ 169831 w 1507521"/>
                <a:gd name="connsiteY22" fmla="*/ 189738 h 715041"/>
                <a:gd name="connsiteX23" fmla="*/ 182118 w 1507521"/>
                <a:gd name="connsiteY23" fmla="*/ 193548 h 715041"/>
                <a:gd name="connsiteX24" fmla="*/ 184880 w 1507521"/>
                <a:gd name="connsiteY24" fmla="*/ 202597 h 715041"/>
                <a:gd name="connsiteX25" fmla="*/ 194691 w 1507521"/>
                <a:gd name="connsiteY25" fmla="*/ 206693 h 715041"/>
                <a:gd name="connsiteX26" fmla="*/ 201168 w 1507521"/>
                <a:gd name="connsiteY26" fmla="*/ 217075 h 715041"/>
                <a:gd name="connsiteX27" fmla="*/ 216503 w 1507521"/>
                <a:gd name="connsiteY27" fmla="*/ 234220 h 715041"/>
                <a:gd name="connsiteX28" fmla="*/ 229076 w 1507521"/>
                <a:gd name="connsiteY28" fmla="*/ 242697 h 715041"/>
                <a:gd name="connsiteX29" fmla="*/ 239459 w 1507521"/>
                <a:gd name="connsiteY29" fmla="*/ 250603 h 715041"/>
                <a:gd name="connsiteX30" fmla="*/ 264795 w 1507521"/>
                <a:gd name="connsiteY30" fmla="*/ 269748 h 715041"/>
                <a:gd name="connsiteX31" fmla="*/ 278225 w 1507521"/>
                <a:gd name="connsiteY31" fmla="*/ 278225 h 715041"/>
                <a:gd name="connsiteX32" fmla="*/ 289941 w 1507521"/>
                <a:gd name="connsiteY32" fmla="*/ 287179 h 715041"/>
                <a:gd name="connsiteX33" fmla="*/ 304991 w 1507521"/>
                <a:gd name="connsiteY33" fmla="*/ 297275 h 715041"/>
                <a:gd name="connsiteX34" fmla="*/ 323279 w 1507521"/>
                <a:gd name="connsiteY34" fmla="*/ 305753 h 715041"/>
                <a:gd name="connsiteX35" fmla="*/ 336899 w 1507521"/>
                <a:gd name="connsiteY35" fmla="*/ 306896 h 715041"/>
                <a:gd name="connsiteX36" fmla="*/ 353568 w 1507521"/>
                <a:gd name="connsiteY36" fmla="*/ 310991 h 715041"/>
                <a:gd name="connsiteX37" fmla="*/ 360140 w 1507521"/>
                <a:gd name="connsiteY37" fmla="*/ 309848 h 715041"/>
                <a:gd name="connsiteX38" fmla="*/ 369380 w 1507521"/>
                <a:gd name="connsiteY38" fmla="*/ 329470 h 715041"/>
                <a:gd name="connsiteX39" fmla="*/ 395288 w 1507521"/>
                <a:gd name="connsiteY39" fmla="*/ 340709 h 715041"/>
                <a:gd name="connsiteX40" fmla="*/ 404336 w 1507521"/>
                <a:gd name="connsiteY40" fmla="*/ 345853 h 715041"/>
                <a:gd name="connsiteX41" fmla="*/ 449104 w 1507521"/>
                <a:gd name="connsiteY41" fmla="*/ 376714 h 715041"/>
                <a:gd name="connsiteX42" fmla="*/ 467106 w 1507521"/>
                <a:gd name="connsiteY42" fmla="*/ 394811 h 715041"/>
                <a:gd name="connsiteX43" fmla="*/ 497110 w 1507521"/>
                <a:gd name="connsiteY43" fmla="*/ 408146 h 715041"/>
                <a:gd name="connsiteX44" fmla="*/ 512445 w 1507521"/>
                <a:gd name="connsiteY44" fmla="*/ 411385 h 715041"/>
                <a:gd name="connsiteX45" fmla="*/ 525780 w 1507521"/>
                <a:gd name="connsiteY45" fmla="*/ 423386 h 715041"/>
                <a:gd name="connsiteX46" fmla="*/ 557784 w 1507521"/>
                <a:gd name="connsiteY46" fmla="*/ 425863 h 715041"/>
                <a:gd name="connsiteX47" fmla="*/ 568643 w 1507521"/>
                <a:gd name="connsiteY47" fmla="*/ 430530 h 715041"/>
                <a:gd name="connsiteX48" fmla="*/ 582359 w 1507521"/>
                <a:gd name="connsiteY48" fmla="*/ 439769 h 715041"/>
                <a:gd name="connsiteX49" fmla="*/ 599789 w 1507521"/>
                <a:gd name="connsiteY49" fmla="*/ 447199 h 715041"/>
                <a:gd name="connsiteX50" fmla="*/ 627412 w 1507521"/>
                <a:gd name="connsiteY50" fmla="*/ 448532 h 715041"/>
                <a:gd name="connsiteX51" fmla="*/ 639413 w 1507521"/>
                <a:gd name="connsiteY51" fmla="*/ 463010 h 715041"/>
                <a:gd name="connsiteX52" fmla="*/ 645414 w 1507521"/>
                <a:gd name="connsiteY52" fmla="*/ 479679 h 715041"/>
                <a:gd name="connsiteX53" fmla="*/ 647033 w 1507521"/>
                <a:gd name="connsiteY53" fmla="*/ 489490 h 715041"/>
                <a:gd name="connsiteX54" fmla="*/ 660178 w 1507521"/>
                <a:gd name="connsiteY54" fmla="*/ 496634 h 715041"/>
                <a:gd name="connsiteX55" fmla="*/ 679513 w 1507521"/>
                <a:gd name="connsiteY55" fmla="*/ 508921 h 715041"/>
                <a:gd name="connsiteX56" fmla="*/ 696754 w 1507521"/>
                <a:gd name="connsiteY56" fmla="*/ 513017 h 715041"/>
                <a:gd name="connsiteX57" fmla="*/ 697802 w 1507521"/>
                <a:gd name="connsiteY57" fmla="*/ 521399 h 715041"/>
                <a:gd name="connsiteX58" fmla="*/ 726472 w 1507521"/>
                <a:gd name="connsiteY58" fmla="*/ 521399 h 715041"/>
                <a:gd name="connsiteX59" fmla="*/ 726472 w 1507521"/>
                <a:gd name="connsiteY59" fmla="*/ 530162 h 715041"/>
                <a:gd name="connsiteX60" fmla="*/ 742283 w 1507521"/>
                <a:gd name="connsiteY60" fmla="*/ 530162 h 715041"/>
                <a:gd name="connsiteX61" fmla="*/ 744760 w 1507521"/>
                <a:gd name="connsiteY61" fmla="*/ 539210 h 715041"/>
                <a:gd name="connsiteX62" fmla="*/ 760381 w 1507521"/>
                <a:gd name="connsiteY62" fmla="*/ 543020 h 715041"/>
                <a:gd name="connsiteX63" fmla="*/ 766096 w 1507521"/>
                <a:gd name="connsiteY63" fmla="*/ 561308 h 715041"/>
                <a:gd name="connsiteX64" fmla="*/ 774287 w 1507521"/>
                <a:gd name="connsiteY64" fmla="*/ 565404 h 715041"/>
                <a:gd name="connsiteX65" fmla="*/ 788956 w 1507521"/>
                <a:gd name="connsiteY65" fmla="*/ 576548 h 715041"/>
                <a:gd name="connsiteX66" fmla="*/ 802958 w 1507521"/>
                <a:gd name="connsiteY66" fmla="*/ 579596 h 715041"/>
                <a:gd name="connsiteX67" fmla="*/ 821246 w 1507521"/>
                <a:gd name="connsiteY67" fmla="*/ 588074 h 715041"/>
                <a:gd name="connsiteX68" fmla="*/ 819817 w 1507521"/>
                <a:gd name="connsiteY68" fmla="*/ 594836 h 715041"/>
                <a:gd name="connsiteX69" fmla="*/ 863822 w 1507521"/>
                <a:gd name="connsiteY69" fmla="*/ 594836 h 715041"/>
                <a:gd name="connsiteX70" fmla="*/ 863822 w 1507521"/>
                <a:gd name="connsiteY70" fmla="*/ 601409 h 715041"/>
                <a:gd name="connsiteX71" fmla="*/ 894969 w 1507521"/>
                <a:gd name="connsiteY71" fmla="*/ 601409 h 715041"/>
                <a:gd name="connsiteX72" fmla="*/ 894969 w 1507521"/>
                <a:gd name="connsiteY72" fmla="*/ 630650 h 715041"/>
                <a:gd name="connsiteX73" fmla="*/ 918972 w 1507521"/>
                <a:gd name="connsiteY73" fmla="*/ 630650 h 715041"/>
                <a:gd name="connsiteX74" fmla="*/ 922211 w 1507521"/>
                <a:gd name="connsiteY74" fmla="*/ 630650 h 715041"/>
                <a:gd name="connsiteX75" fmla="*/ 922211 w 1507521"/>
                <a:gd name="connsiteY75" fmla="*/ 662083 h 715041"/>
                <a:gd name="connsiteX76" fmla="*/ 940499 w 1507521"/>
                <a:gd name="connsiteY76" fmla="*/ 662083 h 715041"/>
                <a:gd name="connsiteX77" fmla="*/ 940499 w 1507521"/>
                <a:gd name="connsiteY77" fmla="*/ 681419 h 715041"/>
                <a:gd name="connsiteX78" fmla="*/ 1052703 w 1507521"/>
                <a:gd name="connsiteY78" fmla="*/ 681419 h 715041"/>
                <a:gd name="connsiteX79" fmla="*/ 1089851 w 1507521"/>
                <a:gd name="connsiteY79" fmla="*/ 681419 h 715041"/>
                <a:gd name="connsiteX80" fmla="*/ 1089851 w 1507521"/>
                <a:gd name="connsiteY80" fmla="*/ 715042 h 715041"/>
                <a:gd name="connsiteX81" fmla="*/ 1255300 w 1507521"/>
                <a:gd name="connsiteY81" fmla="*/ 715042 h 715041"/>
                <a:gd name="connsiteX82" fmla="*/ 1507522 w 1507521"/>
                <a:gd name="connsiteY82" fmla="*/ 715042 h 715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507521" h="715041">
                  <a:moveTo>
                    <a:pt x="0" y="0"/>
                  </a:moveTo>
                  <a:lnTo>
                    <a:pt x="7144" y="0"/>
                  </a:lnTo>
                  <a:lnTo>
                    <a:pt x="18860" y="9811"/>
                  </a:lnTo>
                  <a:lnTo>
                    <a:pt x="24575" y="16955"/>
                  </a:lnTo>
                  <a:lnTo>
                    <a:pt x="31147" y="27813"/>
                  </a:lnTo>
                  <a:lnTo>
                    <a:pt x="38767" y="39815"/>
                  </a:lnTo>
                  <a:lnTo>
                    <a:pt x="45911" y="47244"/>
                  </a:lnTo>
                  <a:lnTo>
                    <a:pt x="48101" y="56007"/>
                  </a:lnTo>
                  <a:lnTo>
                    <a:pt x="50006" y="81058"/>
                  </a:lnTo>
                  <a:lnTo>
                    <a:pt x="58388" y="82487"/>
                  </a:lnTo>
                  <a:lnTo>
                    <a:pt x="71819" y="105918"/>
                  </a:lnTo>
                  <a:lnTo>
                    <a:pt x="81344" y="108966"/>
                  </a:lnTo>
                  <a:lnTo>
                    <a:pt x="84392" y="118491"/>
                  </a:lnTo>
                  <a:lnTo>
                    <a:pt x="90392" y="122015"/>
                  </a:lnTo>
                  <a:lnTo>
                    <a:pt x="93631" y="132398"/>
                  </a:lnTo>
                  <a:lnTo>
                    <a:pt x="111157" y="131064"/>
                  </a:lnTo>
                  <a:lnTo>
                    <a:pt x="111157" y="149066"/>
                  </a:lnTo>
                  <a:lnTo>
                    <a:pt x="129921" y="149066"/>
                  </a:lnTo>
                  <a:lnTo>
                    <a:pt x="129921" y="157544"/>
                  </a:lnTo>
                  <a:lnTo>
                    <a:pt x="144685" y="158877"/>
                  </a:lnTo>
                  <a:lnTo>
                    <a:pt x="151829" y="173069"/>
                  </a:lnTo>
                  <a:lnTo>
                    <a:pt x="157544" y="173069"/>
                  </a:lnTo>
                  <a:lnTo>
                    <a:pt x="169831" y="189738"/>
                  </a:lnTo>
                  <a:lnTo>
                    <a:pt x="182118" y="193548"/>
                  </a:lnTo>
                  <a:lnTo>
                    <a:pt x="184880" y="202597"/>
                  </a:lnTo>
                  <a:lnTo>
                    <a:pt x="194691" y="206693"/>
                  </a:lnTo>
                  <a:lnTo>
                    <a:pt x="201168" y="217075"/>
                  </a:lnTo>
                  <a:lnTo>
                    <a:pt x="216503" y="234220"/>
                  </a:lnTo>
                  <a:lnTo>
                    <a:pt x="229076" y="242697"/>
                  </a:lnTo>
                  <a:lnTo>
                    <a:pt x="239459" y="250603"/>
                  </a:lnTo>
                  <a:lnTo>
                    <a:pt x="264795" y="269748"/>
                  </a:lnTo>
                  <a:lnTo>
                    <a:pt x="278225" y="278225"/>
                  </a:lnTo>
                  <a:lnTo>
                    <a:pt x="289941" y="287179"/>
                  </a:lnTo>
                  <a:lnTo>
                    <a:pt x="304991" y="297275"/>
                  </a:lnTo>
                  <a:lnTo>
                    <a:pt x="323279" y="305753"/>
                  </a:lnTo>
                  <a:lnTo>
                    <a:pt x="336899" y="306896"/>
                  </a:lnTo>
                  <a:lnTo>
                    <a:pt x="353568" y="310991"/>
                  </a:lnTo>
                  <a:lnTo>
                    <a:pt x="360140" y="309848"/>
                  </a:lnTo>
                  <a:lnTo>
                    <a:pt x="369380" y="329470"/>
                  </a:lnTo>
                  <a:lnTo>
                    <a:pt x="395288" y="340709"/>
                  </a:lnTo>
                  <a:lnTo>
                    <a:pt x="404336" y="345853"/>
                  </a:lnTo>
                  <a:lnTo>
                    <a:pt x="449104" y="376714"/>
                  </a:lnTo>
                  <a:lnTo>
                    <a:pt x="467106" y="394811"/>
                  </a:lnTo>
                  <a:lnTo>
                    <a:pt x="497110" y="408146"/>
                  </a:lnTo>
                  <a:lnTo>
                    <a:pt x="512445" y="411385"/>
                  </a:lnTo>
                  <a:lnTo>
                    <a:pt x="525780" y="423386"/>
                  </a:lnTo>
                  <a:lnTo>
                    <a:pt x="557784" y="425863"/>
                  </a:lnTo>
                  <a:lnTo>
                    <a:pt x="568643" y="430530"/>
                  </a:lnTo>
                  <a:lnTo>
                    <a:pt x="582359" y="439769"/>
                  </a:lnTo>
                  <a:lnTo>
                    <a:pt x="599789" y="447199"/>
                  </a:lnTo>
                  <a:lnTo>
                    <a:pt x="627412" y="448532"/>
                  </a:lnTo>
                  <a:lnTo>
                    <a:pt x="639413" y="463010"/>
                  </a:lnTo>
                  <a:lnTo>
                    <a:pt x="645414" y="479679"/>
                  </a:lnTo>
                  <a:lnTo>
                    <a:pt x="647033" y="489490"/>
                  </a:lnTo>
                  <a:lnTo>
                    <a:pt x="660178" y="496634"/>
                  </a:lnTo>
                  <a:lnTo>
                    <a:pt x="679513" y="508921"/>
                  </a:lnTo>
                  <a:lnTo>
                    <a:pt x="696754" y="513017"/>
                  </a:lnTo>
                  <a:lnTo>
                    <a:pt x="697802" y="521399"/>
                  </a:lnTo>
                  <a:lnTo>
                    <a:pt x="726472" y="521399"/>
                  </a:lnTo>
                  <a:lnTo>
                    <a:pt x="726472" y="530162"/>
                  </a:lnTo>
                  <a:lnTo>
                    <a:pt x="742283" y="530162"/>
                  </a:lnTo>
                  <a:lnTo>
                    <a:pt x="744760" y="539210"/>
                  </a:lnTo>
                  <a:lnTo>
                    <a:pt x="760381" y="543020"/>
                  </a:lnTo>
                  <a:lnTo>
                    <a:pt x="766096" y="561308"/>
                  </a:lnTo>
                  <a:lnTo>
                    <a:pt x="774287" y="565404"/>
                  </a:lnTo>
                  <a:lnTo>
                    <a:pt x="788956" y="576548"/>
                  </a:lnTo>
                  <a:lnTo>
                    <a:pt x="802958" y="579596"/>
                  </a:lnTo>
                  <a:lnTo>
                    <a:pt x="821246" y="588074"/>
                  </a:lnTo>
                  <a:lnTo>
                    <a:pt x="819817" y="594836"/>
                  </a:lnTo>
                  <a:lnTo>
                    <a:pt x="863822" y="594836"/>
                  </a:lnTo>
                  <a:lnTo>
                    <a:pt x="863822" y="601409"/>
                  </a:lnTo>
                  <a:lnTo>
                    <a:pt x="894969" y="601409"/>
                  </a:lnTo>
                  <a:lnTo>
                    <a:pt x="894969" y="630650"/>
                  </a:lnTo>
                  <a:lnTo>
                    <a:pt x="918972" y="630650"/>
                  </a:lnTo>
                  <a:lnTo>
                    <a:pt x="922211" y="630650"/>
                  </a:lnTo>
                  <a:lnTo>
                    <a:pt x="922211" y="662083"/>
                  </a:lnTo>
                  <a:lnTo>
                    <a:pt x="940499" y="662083"/>
                  </a:lnTo>
                  <a:lnTo>
                    <a:pt x="940499" y="681419"/>
                  </a:lnTo>
                  <a:lnTo>
                    <a:pt x="1052703" y="681419"/>
                  </a:lnTo>
                  <a:lnTo>
                    <a:pt x="1089851" y="681419"/>
                  </a:lnTo>
                  <a:lnTo>
                    <a:pt x="1089851" y="715042"/>
                  </a:lnTo>
                  <a:lnTo>
                    <a:pt x="1255300" y="715042"/>
                  </a:lnTo>
                  <a:lnTo>
                    <a:pt x="1507522" y="715042"/>
                  </a:lnTo>
                </a:path>
              </a:pathLst>
            </a:custGeom>
            <a:noFill/>
            <a:ln w="25400" cap="flat">
              <a:solidFill>
                <a:srgbClr val="388DC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Shape 166">
              <a:extLst>
                <a:ext uri="{FF2B5EF4-FFF2-40B4-BE49-F238E27FC236}">
                  <a16:creationId xmlns:a16="http://schemas.microsoft.com/office/drawing/2014/main" id="{14B95527-6239-FA61-E178-C070591E0E52}"/>
                </a:ext>
              </a:extLst>
            </p:cNvPr>
            <p:cNvSpPr/>
            <p:nvPr/>
          </p:nvSpPr>
          <p:spPr>
            <a:xfrm>
              <a:off x="5297817" y="2226469"/>
              <a:ext cx="2100826" cy="695939"/>
            </a:xfrm>
            <a:custGeom>
              <a:avLst/>
              <a:gdLst>
                <a:gd name="connsiteX0" fmla="*/ 0 w 1584578"/>
                <a:gd name="connsiteY0" fmla="*/ 0 h 524922"/>
                <a:gd name="connsiteX1" fmla="*/ 19622 w 1584578"/>
                <a:gd name="connsiteY1" fmla="*/ 10573 h 524922"/>
                <a:gd name="connsiteX2" fmla="*/ 48006 w 1584578"/>
                <a:gd name="connsiteY2" fmla="*/ 24765 h 524922"/>
                <a:gd name="connsiteX3" fmla="*/ 70580 w 1584578"/>
                <a:gd name="connsiteY3" fmla="*/ 34195 h 524922"/>
                <a:gd name="connsiteX4" fmla="*/ 92012 w 1584578"/>
                <a:gd name="connsiteY4" fmla="*/ 52769 h 524922"/>
                <a:gd name="connsiteX5" fmla="*/ 111347 w 1584578"/>
                <a:gd name="connsiteY5" fmla="*/ 63722 h 524922"/>
                <a:gd name="connsiteX6" fmla="*/ 134969 w 1584578"/>
                <a:gd name="connsiteY6" fmla="*/ 70676 h 524922"/>
                <a:gd name="connsiteX7" fmla="*/ 165925 w 1584578"/>
                <a:gd name="connsiteY7" fmla="*/ 84106 h 524922"/>
                <a:gd name="connsiteX8" fmla="*/ 204883 w 1584578"/>
                <a:gd name="connsiteY8" fmla="*/ 91059 h 524922"/>
                <a:gd name="connsiteX9" fmla="*/ 244221 w 1584578"/>
                <a:gd name="connsiteY9" fmla="*/ 99822 h 524922"/>
                <a:gd name="connsiteX10" fmla="*/ 265367 w 1584578"/>
                <a:gd name="connsiteY10" fmla="*/ 109633 h 524922"/>
                <a:gd name="connsiteX11" fmla="*/ 282512 w 1584578"/>
                <a:gd name="connsiteY11" fmla="*/ 118015 h 524922"/>
                <a:gd name="connsiteX12" fmla="*/ 302895 w 1584578"/>
                <a:gd name="connsiteY12" fmla="*/ 123825 h 524922"/>
                <a:gd name="connsiteX13" fmla="*/ 331661 w 1584578"/>
                <a:gd name="connsiteY13" fmla="*/ 130016 h 524922"/>
                <a:gd name="connsiteX14" fmla="*/ 360807 w 1584578"/>
                <a:gd name="connsiteY14" fmla="*/ 143161 h 524922"/>
                <a:gd name="connsiteX15" fmla="*/ 383762 w 1584578"/>
                <a:gd name="connsiteY15" fmla="*/ 153353 h 524922"/>
                <a:gd name="connsiteX16" fmla="*/ 412909 w 1584578"/>
                <a:gd name="connsiteY16" fmla="*/ 162782 h 524922"/>
                <a:gd name="connsiteX17" fmla="*/ 447485 w 1584578"/>
                <a:gd name="connsiteY17" fmla="*/ 172212 h 524922"/>
                <a:gd name="connsiteX18" fmla="*/ 470059 w 1584578"/>
                <a:gd name="connsiteY18" fmla="*/ 176594 h 524922"/>
                <a:gd name="connsiteX19" fmla="*/ 498062 w 1584578"/>
                <a:gd name="connsiteY19" fmla="*/ 192977 h 524922"/>
                <a:gd name="connsiteX20" fmla="*/ 516636 w 1584578"/>
                <a:gd name="connsiteY20" fmla="*/ 202121 h 524922"/>
                <a:gd name="connsiteX21" fmla="*/ 550164 w 1584578"/>
                <a:gd name="connsiteY21" fmla="*/ 215265 h 524922"/>
                <a:gd name="connsiteX22" fmla="*/ 593503 w 1584578"/>
                <a:gd name="connsiteY22" fmla="*/ 222885 h 524922"/>
                <a:gd name="connsiteX23" fmla="*/ 612077 w 1584578"/>
                <a:gd name="connsiteY23" fmla="*/ 230124 h 524922"/>
                <a:gd name="connsiteX24" fmla="*/ 637604 w 1584578"/>
                <a:gd name="connsiteY24" fmla="*/ 242126 h 524922"/>
                <a:gd name="connsiteX25" fmla="*/ 668179 w 1584578"/>
                <a:gd name="connsiteY25" fmla="*/ 251555 h 524922"/>
                <a:gd name="connsiteX26" fmla="*/ 699516 w 1584578"/>
                <a:gd name="connsiteY26" fmla="*/ 264319 h 524922"/>
                <a:gd name="connsiteX27" fmla="*/ 714851 w 1584578"/>
                <a:gd name="connsiteY27" fmla="*/ 268700 h 524922"/>
                <a:gd name="connsiteX28" fmla="*/ 752666 w 1584578"/>
                <a:gd name="connsiteY28" fmla="*/ 276320 h 524922"/>
                <a:gd name="connsiteX29" fmla="*/ 774097 w 1584578"/>
                <a:gd name="connsiteY29" fmla="*/ 282131 h 524922"/>
                <a:gd name="connsiteX30" fmla="*/ 803910 w 1584578"/>
                <a:gd name="connsiteY30" fmla="*/ 297466 h 524922"/>
                <a:gd name="connsiteX31" fmla="*/ 865442 w 1584578"/>
                <a:gd name="connsiteY31" fmla="*/ 300419 h 524922"/>
                <a:gd name="connsiteX32" fmla="*/ 893064 w 1584578"/>
                <a:gd name="connsiteY32" fmla="*/ 328422 h 524922"/>
                <a:gd name="connsiteX33" fmla="*/ 919639 w 1584578"/>
                <a:gd name="connsiteY33" fmla="*/ 352425 h 524922"/>
                <a:gd name="connsiteX34" fmla="*/ 956405 w 1584578"/>
                <a:gd name="connsiteY34" fmla="*/ 364427 h 524922"/>
                <a:gd name="connsiteX35" fmla="*/ 975741 w 1584578"/>
                <a:gd name="connsiteY35" fmla="*/ 377857 h 524922"/>
                <a:gd name="connsiteX36" fmla="*/ 1019080 w 1584578"/>
                <a:gd name="connsiteY36" fmla="*/ 390239 h 524922"/>
                <a:gd name="connsiteX37" fmla="*/ 1030319 w 1584578"/>
                <a:gd name="connsiteY37" fmla="*/ 400050 h 524922"/>
                <a:gd name="connsiteX38" fmla="*/ 1078706 w 1584578"/>
                <a:gd name="connsiteY38" fmla="*/ 406622 h 524922"/>
                <a:gd name="connsiteX39" fmla="*/ 1100138 w 1584578"/>
                <a:gd name="connsiteY39" fmla="*/ 416433 h 524922"/>
                <a:gd name="connsiteX40" fmla="*/ 1106329 w 1584578"/>
                <a:gd name="connsiteY40" fmla="*/ 422624 h 524922"/>
                <a:gd name="connsiteX41" fmla="*/ 1133951 w 1584578"/>
                <a:gd name="connsiteY41" fmla="*/ 422624 h 524922"/>
                <a:gd name="connsiteX42" fmla="*/ 1139095 w 1584578"/>
                <a:gd name="connsiteY42" fmla="*/ 437579 h 524922"/>
                <a:gd name="connsiteX43" fmla="*/ 1150334 w 1584578"/>
                <a:gd name="connsiteY43" fmla="*/ 447770 h 524922"/>
                <a:gd name="connsiteX44" fmla="*/ 1167098 w 1584578"/>
                <a:gd name="connsiteY44" fmla="*/ 461201 h 524922"/>
                <a:gd name="connsiteX45" fmla="*/ 1173290 w 1584578"/>
                <a:gd name="connsiteY45" fmla="*/ 470630 h 524922"/>
                <a:gd name="connsiteX46" fmla="*/ 1217295 w 1584578"/>
                <a:gd name="connsiteY46" fmla="*/ 470630 h 524922"/>
                <a:gd name="connsiteX47" fmla="*/ 1217295 w 1584578"/>
                <a:gd name="connsiteY47" fmla="*/ 510350 h 524922"/>
                <a:gd name="connsiteX48" fmla="*/ 1259110 w 1584578"/>
                <a:gd name="connsiteY48" fmla="*/ 510350 h 524922"/>
                <a:gd name="connsiteX49" fmla="*/ 1259110 w 1584578"/>
                <a:gd name="connsiteY49" fmla="*/ 524923 h 524922"/>
                <a:gd name="connsiteX50" fmla="*/ 1584579 w 1584578"/>
                <a:gd name="connsiteY50" fmla="*/ 524923 h 524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584578" h="524922">
                  <a:moveTo>
                    <a:pt x="0" y="0"/>
                  </a:moveTo>
                  <a:lnTo>
                    <a:pt x="19622" y="10573"/>
                  </a:lnTo>
                  <a:lnTo>
                    <a:pt x="48006" y="24765"/>
                  </a:lnTo>
                  <a:lnTo>
                    <a:pt x="70580" y="34195"/>
                  </a:lnTo>
                  <a:lnTo>
                    <a:pt x="92012" y="52769"/>
                  </a:lnTo>
                  <a:lnTo>
                    <a:pt x="111347" y="63722"/>
                  </a:lnTo>
                  <a:lnTo>
                    <a:pt x="134969" y="70676"/>
                  </a:lnTo>
                  <a:lnTo>
                    <a:pt x="165925" y="84106"/>
                  </a:lnTo>
                  <a:lnTo>
                    <a:pt x="204883" y="91059"/>
                  </a:lnTo>
                  <a:lnTo>
                    <a:pt x="244221" y="99822"/>
                  </a:lnTo>
                  <a:lnTo>
                    <a:pt x="265367" y="109633"/>
                  </a:lnTo>
                  <a:lnTo>
                    <a:pt x="282512" y="118015"/>
                  </a:lnTo>
                  <a:lnTo>
                    <a:pt x="302895" y="123825"/>
                  </a:lnTo>
                  <a:lnTo>
                    <a:pt x="331661" y="130016"/>
                  </a:lnTo>
                  <a:lnTo>
                    <a:pt x="360807" y="143161"/>
                  </a:lnTo>
                  <a:lnTo>
                    <a:pt x="383762" y="153353"/>
                  </a:lnTo>
                  <a:lnTo>
                    <a:pt x="412909" y="162782"/>
                  </a:lnTo>
                  <a:lnTo>
                    <a:pt x="447485" y="172212"/>
                  </a:lnTo>
                  <a:lnTo>
                    <a:pt x="470059" y="176594"/>
                  </a:lnTo>
                  <a:lnTo>
                    <a:pt x="498062" y="192977"/>
                  </a:lnTo>
                  <a:lnTo>
                    <a:pt x="516636" y="202121"/>
                  </a:lnTo>
                  <a:lnTo>
                    <a:pt x="550164" y="215265"/>
                  </a:lnTo>
                  <a:lnTo>
                    <a:pt x="593503" y="222885"/>
                  </a:lnTo>
                  <a:lnTo>
                    <a:pt x="612077" y="230124"/>
                  </a:lnTo>
                  <a:lnTo>
                    <a:pt x="637604" y="242126"/>
                  </a:lnTo>
                  <a:lnTo>
                    <a:pt x="668179" y="251555"/>
                  </a:lnTo>
                  <a:lnTo>
                    <a:pt x="699516" y="264319"/>
                  </a:lnTo>
                  <a:lnTo>
                    <a:pt x="714851" y="268700"/>
                  </a:lnTo>
                  <a:lnTo>
                    <a:pt x="752666" y="276320"/>
                  </a:lnTo>
                  <a:lnTo>
                    <a:pt x="774097" y="282131"/>
                  </a:lnTo>
                  <a:lnTo>
                    <a:pt x="803910" y="297466"/>
                  </a:lnTo>
                  <a:lnTo>
                    <a:pt x="865442" y="300419"/>
                  </a:lnTo>
                  <a:lnTo>
                    <a:pt x="893064" y="328422"/>
                  </a:lnTo>
                  <a:lnTo>
                    <a:pt x="919639" y="352425"/>
                  </a:lnTo>
                  <a:lnTo>
                    <a:pt x="956405" y="364427"/>
                  </a:lnTo>
                  <a:lnTo>
                    <a:pt x="975741" y="377857"/>
                  </a:lnTo>
                  <a:lnTo>
                    <a:pt x="1019080" y="390239"/>
                  </a:lnTo>
                  <a:cubicBezTo>
                    <a:pt x="1019080" y="390239"/>
                    <a:pt x="1029653" y="398621"/>
                    <a:pt x="1030319" y="400050"/>
                  </a:cubicBezTo>
                  <a:cubicBezTo>
                    <a:pt x="1030986" y="401479"/>
                    <a:pt x="1078706" y="406622"/>
                    <a:pt x="1078706" y="406622"/>
                  </a:cubicBezTo>
                  <a:lnTo>
                    <a:pt x="1100138" y="416433"/>
                  </a:lnTo>
                  <a:lnTo>
                    <a:pt x="1106329" y="422624"/>
                  </a:lnTo>
                  <a:lnTo>
                    <a:pt x="1133951" y="422624"/>
                  </a:lnTo>
                  <a:lnTo>
                    <a:pt x="1139095" y="437579"/>
                  </a:lnTo>
                  <a:lnTo>
                    <a:pt x="1150334" y="447770"/>
                  </a:lnTo>
                  <a:lnTo>
                    <a:pt x="1167098" y="461201"/>
                  </a:lnTo>
                  <a:lnTo>
                    <a:pt x="1173290" y="470630"/>
                  </a:lnTo>
                  <a:lnTo>
                    <a:pt x="1217295" y="470630"/>
                  </a:lnTo>
                  <a:lnTo>
                    <a:pt x="1217295" y="510350"/>
                  </a:lnTo>
                  <a:lnTo>
                    <a:pt x="1259110" y="510350"/>
                  </a:lnTo>
                  <a:lnTo>
                    <a:pt x="1259110" y="524923"/>
                  </a:lnTo>
                  <a:lnTo>
                    <a:pt x="1584579" y="524923"/>
                  </a:lnTo>
                </a:path>
              </a:pathLst>
            </a:custGeom>
            <a:noFill/>
            <a:ln w="25400" cap="flat">
              <a:solidFill>
                <a:srgbClr val="D82B1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Shape 167">
              <a:extLst>
                <a:ext uri="{FF2B5EF4-FFF2-40B4-BE49-F238E27FC236}">
                  <a16:creationId xmlns:a16="http://schemas.microsoft.com/office/drawing/2014/main" id="{C2598A91-4ADB-4DD7-26B7-F8D9DE08D2E2}"/>
                </a:ext>
              </a:extLst>
            </p:cNvPr>
            <p:cNvSpPr/>
            <p:nvPr/>
          </p:nvSpPr>
          <p:spPr>
            <a:xfrm>
              <a:off x="5291123" y="2293399"/>
              <a:ext cx="1691926" cy="1211801"/>
            </a:xfrm>
            <a:custGeom>
              <a:avLst/>
              <a:gdLst>
                <a:gd name="connsiteX0" fmla="*/ 0 w 1276159"/>
                <a:gd name="connsiteY0" fmla="*/ 0 h 914018"/>
                <a:gd name="connsiteX1" fmla="*/ 5048 w 1276159"/>
                <a:gd name="connsiteY1" fmla="*/ 10287 h 914018"/>
                <a:gd name="connsiteX2" fmla="*/ 8858 w 1276159"/>
                <a:gd name="connsiteY2" fmla="*/ 74200 h 914018"/>
                <a:gd name="connsiteX3" fmla="*/ 17621 w 1276159"/>
                <a:gd name="connsiteY3" fmla="*/ 74200 h 914018"/>
                <a:gd name="connsiteX4" fmla="*/ 27813 w 1276159"/>
                <a:gd name="connsiteY4" fmla="*/ 127730 h 914018"/>
                <a:gd name="connsiteX5" fmla="*/ 35052 w 1276159"/>
                <a:gd name="connsiteY5" fmla="*/ 153924 h 914018"/>
                <a:gd name="connsiteX6" fmla="*/ 30194 w 1276159"/>
                <a:gd name="connsiteY6" fmla="*/ 196501 h 914018"/>
                <a:gd name="connsiteX7" fmla="*/ 46768 w 1276159"/>
                <a:gd name="connsiteY7" fmla="*/ 215646 h 914018"/>
                <a:gd name="connsiteX8" fmla="*/ 56959 w 1276159"/>
                <a:gd name="connsiteY8" fmla="*/ 251555 h 914018"/>
                <a:gd name="connsiteX9" fmla="*/ 59150 w 1276159"/>
                <a:gd name="connsiteY9" fmla="*/ 270224 h 914018"/>
                <a:gd name="connsiteX10" fmla="*/ 59150 w 1276159"/>
                <a:gd name="connsiteY10" fmla="*/ 279464 h 914018"/>
                <a:gd name="connsiteX11" fmla="*/ 68390 w 1276159"/>
                <a:gd name="connsiteY11" fmla="*/ 293656 h 914018"/>
                <a:gd name="connsiteX12" fmla="*/ 68390 w 1276159"/>
                <a:gd name="connsiteY12" fmla="*/ 317183 h 914018"/>
                <a:gd name="connsiteX13" fmla="*/ 68390 w 1276159"/>
                <a:gd name="connsiteY13" fmla="*/ 334137 h 914018"/>
                <a:gd name="connsiteX14" fmla="*/ 72771 w 1276159"/>
                <a:gd name="connsiteY14" fmla="*/ 353187 h 914018"/>
                <a:gd name="connsiteX15" fmla="*/ 72771 w 1276159"/>
                <a:gd name="connsiteY15" fmla="*/ 368522 h 914018"/>
                <a:gd name="connsiteX16" fmla="*/ 85916 w 1276159"/>
                <a:gd name="connsiteY16" fmla="*/ 411099 h 914018"/>
                <a:gd name="connsiteX17" fmla="*/ 85916 w 1276159"/>
                <a:gd name="connsiteY17" fmla="*/ 452628 h 914018"/>
                <a:gd name="connsiteX18" fmla="*/ 91345 w 1276159"/>
                <a:gd name="connsiteY18" fmla="*/ 473869 h 914018"/>
                <a:gd name="connsiteX19" fmla="*/ 108299 w 1276159"/>
                <a:gd name="connsiteY19" fmla="*/ 517589 h 914018"/>
                <a:gd name="connsiteX20" fmla="*/ 108299 w 1276159"/>
                <a:gd name="connsiteY20" fmla="*/ 574929 h 914018"/>
                <a:gd name="connsiteX21" fmla="*/ 115348 w 1276159"/>
                <a:gd name="connsiteY21" fmla="*/ 578739 h 914018"/>
                <a:gd name="connsiteX22" fmla="*/ 120301 w 1276159"/>
                <a:gd name="connsiteY22" fmla="*/ 598932 h 914018"/>
                <a:gd name="connsiteX23" fmla="*/ 120301 w 1276159"/>
                <a:gd name="connsiteY23" fmla="*/ 619125 h 914018"/>
                <a:gd name="connsiteX24" fmla="*/ 127921 w 1276159"/>
                <a:gd name="connsiteY24" fmla="*/ 629507 h 914018"/>
                <a:gd name="connsiteX25" fmla="*/ 139351 w 1276159"/>
                <a:gd name="connsiteY25" fmla="*/ 635508 h 914018"/>
                <a:gd name="connsiteX26" fmla="*/ 148114 w 1276159"/>
                <a:gd name="connsiteY26" fmla="*/ 644747 h 914018"/>
                <a:gd name="connsiteX27" fmla="*/ 150876 w 1276159"/>
                <a:gd name="connsiteY27" fmla="*/ 651891 h 914018"/>
                <a:gd name="connsiteX28" fmla="*/ 169450 w 1276159"/>
                <a:gd name="connsiteY28" fmla="*/ 655130 h 914018"/>
                <a:gd name="connsiteX29" fmla="*/ 171641 w 1276159"/>
                <a:gd name="connsiteY29" fmla="*/ 697706 h 914018"/>
                <a:gd name="connsiteX30" fmla="*/ 178117 w 1276159"/>
                <a:gd name="connsiteY30" fmla="*/ 702659 h 914018"/>
                <a:gd name="connsiteX31" fmla="*/ 178117 w 1276159"/>
                <a:gd name="connsiteY31" fmla="*/ 723424 h 914018"/>
                <a:gd name="connsiteX32" fmla="*/ 189071 w 1276159"/>
                <a:gd name="connsiteY32" fmla="*/ 726186 h 914018"/>
                <a:gd name="connsiteX33" fmla="*/ 189071 w 1276159"/>
                <a:gd name="connsiteY33" fmla="*/ 744665 h 914018"/>
                <a:gd name="connsiteX34" fmla="*/ 207074 w 1276159"/>
                <a:gd name="connsiteY34" fmla="*/ 748570 h 914018"/>
                <a:gd name="connsiteX35" fmla="*/ 207074 w 1276159"/>
                <a:gd name="connsiteY35" fmla="*/ 770954 h 914018"/>
                <a:gd name="connsiteX36" fmla="*/ 225076 w 1276159"/>
                <a:gd name="connsiteY36" fmla="*/ 770954 h 914018"/>
                <a:gd name="connsiteX37" fmla="*/ 228410 w 1276159"/>
                <a:gd name="connsiteY37" fmla="*/ 793337 h 914018"/>
                <a:gd name="connsiteX38" fmla="*/ 359950 w 1276159"/>
                <a:gd name="connsiteY38" fmla="*/ 796576 h 914018"/>
                <a:gd name="connsiteX39" fmla="*/ 359950 w 1276159"/>
                <a:gd name="connsiteY39" fmla="*/ 823913 h 914018"/>
                <a:gd name="connsiteX40" fmla="*/ 374714 w 1276159"/>
                <a:gd name="connsiteY40" fmla="*/ 823913 h 914018"/>
                <a:gd name="connsiteX41" fmla="*/ 379667 w 1276159"/>
                <a:gd name="connsiteY41" fmla="*/ 859346 h 914018"/>
                <a:gd name="connsiteX42" fmla="*/ 509016 w 1276159"/>
                <a:gd name="connsiteY42" fmla="*/ 859346 h 914018"/>
                <a:gd name="connsiteX43" fmla="*/ 509016 w 1276159"/>
                <a:gd name="connsiteY43" fmla="*/ 914019 h 914018"/>
                <a:gd name="connsiteX44" fmla="*/ 860108 w 1276159"/>
                <a:gd name="connsiteY44" fmla="*/ 914019 h 914018"/>
                <a:gd name="connsiteX45" fmla="*/ 1276160 w 1276159"/>
                <a:gd name="connsiteY45" fmla="*/ 914019 h 914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276159" h="914018">
                  <a:moveTo>
                    <a:pt x="0" y="0"/>
                  </a:moveTo>
                  <a:lnTo>
                    <a:pt x="5048" y="10287"/>
                  </a:lnTo>
                  <a:lnTo>
                    <a:pt x="8858" y="74200"/>
                  </a:lnTo>
                  <a:lnTo>
                    <a:pt x="17621" y="74200"/>
                  </a:lnTo>
                  <a:lnTo>
                    <a:pt x="27813" y="127730"/>
                  </a:lnTo>
                  <a:lnTo>
                    <a:pt x="35052" y="153924"/>
                  </a:lnTo>
                  <a:lnTo>
                    <a:pt x="30194" y="196501"/>
                  </a:lnTo>
                  <a:lnTo>
                    <a:pt x="46768" y="215646"/>
                  </a:lnTo>
                  <a:lnTo>
                    <a:pt x="56959" y="251555"/>
                  </a:lnTo>
                  <a:lnTo>
                    <a:pt x="59150" y="270224"/>
                  </a:lnTo>
                  <a:lnTo>
                    <a:pt x="59150" y="279464"/>
                  </a:lnTo>
                  <a:lnTo>
                    <a:pt x="68390" y="293656"/>
                  </a:lnTo>
                  <a:lnTo>
                    <a:pt x="68390" y="317183"/>
                  </a:lnTo>
                  <a:lnTo>
                    <a:pt x="68390" y="334137"/>
                  </a:lnTo>
                  <a:lnTo>
                    <a:pt x="72771" y="353187"/>
                  </a:lnTo>
                  <a:lnTo>
                    <a:pt x="72771" y="368522"/>
                  </a:lnTo>
                  <a:lnTo>
                    <a:pt x="85916" y="411099"/>
                  </a:lnTo>
                  <a:lnTo>
                    <a:pt x="85916" y="452628"/>
                  </a:lnTo>
                  <a:lnTo>
                    <a:pt x="91345" y="473869"/>
                  </a:lnTo>
                  <a:lnTo>
                    <a:pt x="108299" y="517589"/>
                  </a:lnTo>
                  <a:lnTo>
                    <a:pt x="108299" y="574929"/>
                  </a:lnTo>
                  <a:lnTo>
                    <a:pt x="115348" y="578739"/>
                  </a:lnTo>
                  <a:lnTo>
                    <a:pt x="120301" y="598932"/>
                  </a:lnTo>
                  <a:lnTo>
                    <a:pt x="120301" y="619125"/>
                  </a:lnTo>
                  <a:lnTo>
                    <a:pt x="127921" y="629507"/>
                  </a:lnTo>
                  <a:lnTo>
                    <a:pt x="139351" y="635508"/>
                  </a:lnTo>
                  <a:lnTo>
                    <a:pt x="148114" y="644747"/>
                  </a:lnTo>
                  <a:lnTo>
                    <a:pt x="150876" y="651891"/>
                  </a:lnTo>
                  <a:lnTo>
                    <a:pt x="169450" y="655130"/>
                  </a:lnTo>
                  <a:lnTo>
                    <a:pt x="171641" y="697706"/>
                  </a:lnTo>
                  <a:lnTo>
                    <a:pt x="178117" y="702659"/>
                  </a:lnTo>
                  <a:lnTo>
                    <a:pt x="178117" y="723424"/>
                  </a:lnTo>
                  <a:lnTo>
                    <a:pt x="189071" y="726186"/>
                  </a:lnTo>
                  <a:lnTo>
                    <a:pt x="189071" y="744665"/>
                  </a:lnTo>
                  <a:lnTo>
                    <a:pt x="207074" y="748570"/>
                  </a:lnTo>
                  <a:lnTo>
                    <a:pt x="207074" y="770954"/>
                  </a:lnTo>
                  <a:lnTo>
                    <a:pt x="225076" y="770954"/>
                  </a:lnTo>
                  <a:lnTo>
                    <a:pt x="228410" y="793337"/>
                  </a:lnTo>
                  <a:lnTo>
                    <a:pt x="359950" y="796576"/>
                  </a:lnTo>
                  <a:lnTo>
                    <a:pt x="359950" y="823913"/>
                  </a:lnTo>
                  <a:lnTo>
                    <a:pt x="374714" y="823913"/>
                  </a:lnTo>
                  <a:lnTo>
                    <a:pt x="379667" y="859346"/>
                  </a:lnTo>
                  <a:lnTo>
                    <a:pt x="509016" y="859346"/>
                  </a:lnTo>
                  <a:lnTo>
                    <a:pt x="509016" y="914019"/>
                  </a:lnTo>
                  <a:lnTo>
                    <a:pt x="860108" y="914019"/>
                  </a:lnTo>
                  <a:lnTo>
                    <a:pt x="1276160" y="914019"/>
                  </a:lnTo>
                </a:path>
              </a:pathLst>
            </a:custGeom>
            <a:noFill/>
            <a:ln w="25400" cap="flat">
              <a:solidFill>
                <a:srgbClr val="FFFB3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552" name="Group 551">
              <a:extLst>
                <a:ext uri="{FF2B5EF4-FFF2-40B4-BE49-F238E27FC236}">
                  <a16:creationId xmlns:a16="http://schemas.microsoft.com/office/drawing/2014/main" id="{6B9F28EF-AB2A-306C-0B90-DD277DAED965}"/>
                </a:ext>
              </a:extLst>
            </p:cNvPr>
            <p:cNvGrpSpPr/>
            <p:nvPr/>
          </p:nvGrpSpPr>
          <p:grpSpPr>
            <a:xfrm>
              <a:off x="5258784" y="2206753"/>
              <a:ext cx="2163464" cy="755923"/>
              <a:chOff x="5258784" y="2244853"/>
              <a:chExt cx="2163464" cy="755923"/>
            </a:xfrm>
          </p:grpSpPr>
          <p:grpSp>
            <p:nvGrpSpPr>
              <p:cNvPr id="173" name="Group 172">
                <a:extLst>
                  <a:ext uri="{FF2B5EF4-FFF2-40B4-BE49-F238E27FC236}">
                    <a16:creationId xmlns:a16="http://schemas.microsoft.com/office/drawing/2014/main" id="{19DC4996-2849-0DE9-8A5B-759D698184B0}"/>
                  </a:ext>
                </a:extLst>
              </p:cNvPr>
              <p:cNvGrpSpPr/>
              <p:nvPr/>
            </p:nvGrpSpPr>
            <p:grpSpPr>
              <a:xfrm>
                <a:off x="7339277" y="2917805"/>
                <a:ext cx="82971" cy="82971"/>
                <a:chOff x="7236884" y="3439984"/>
                <a:chExt cx="108000" cy="108000"/>
              </a:xfrm>
            </p:grpSpPr>
            <p:cxnSp>
              <p:nvCxnSpPr>
                <p:cNvPr id="55" name="Straight Connector 54">
                  <a:extLst>
                    <a:ext uri="{FF2B5EF4-FFF2-40B4-BE49-F238E27FC236}">
                      <a16:creationId xmlns:a16="http://schemas.microsoft.com/office/drawing/2014/main" id="{D269D226-C585-C86F-4409-A294A9034A46}"/>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CAA9930D-748A-8789-3FE3-F0D3E41C1539}"/>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177" name="Group 176">
                <a:extLst>
                  <a:ext uri="{FF2B5EF4-FFF2-40B4-BE49-F238E27FC236}">
                    <a16:creationId xmlns:a16="http://schemas.microsoft.com/office/drawing/2014/main" id="{0C109D89-94F2-A65A-7DD4-536990E85F1A}"/>
                  </a:ext>
                </a:extLst>
              </p:cNvPr>
              <p:cNvGrpSpPr/>
              <p:nvPr/>
            </p:nvGrpSpPr>
            <p:grpSpPr>
              <a:xfrm>
                <a:off x="7313083" y="2917805"/>
                <a:ext cx="82971" cy="82971"/>
                <a:chOff x="7236884" y="3439984"/>
                <a:chExt cx="108000" cy="108000"/>
              </a:xfrm>
            </p:grpSpPr>
            <p:cxnSp>
              <p:nvCxnSpPr>
                <p:cNvPr id="178" name="Straight Connector 177">
                  <a:extLst>
                    <a:ext uri="{FF2B5EF4-FFF2-40B4-BE49-F238E27FC236}">
                      <a16:creationId xmlns:a16="http://schemas.microsoft.com/office/drawing/2014/main" id="{0FE75398-AFD7-0206-2503-D77F69E82293}"/>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6589B643-07E5-2A02-67D9-C401FC34465D}"/>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180" name="Group 179">
                <a:extLst>
                  <a:ext uri="{FF2B5EF4-FFF2-40B4-BE49-F238E27FC236}">
                    <a16:creationId xmlns:a16="http://schemas.microsoft.com/office/drawing/2014/main" id="{51105F15-7161-9250-D1F5-E9D7F0DE99F8}"/>
                  </a:ext>
                </a:extLst>
              </p:cNvPr>
              <p:cNvGrpSpPr/>
              <p:nvPr/>
            </p:nvGrpSpPr>
            <p:grpSpPr>
              <a:xfrm>
                <a:off x="7270220" y="2917805"/>
                <a:ext cx="82971" cy="82971"/>
                <a:chOff x="7236884" y="3439984"/>
                <a:chExt cx="108000" cy="108000"/>
              </a:xfrm>
            </p:grpSpPr>
            <p:cxnSp>
              <p:nvCxnSpPr>
                <p:cNvPr id="181" name="Straight Connector 180">
                  <a:extLst>
                    <a:ext uri="{FF2B5EF4-FFF2-40B4-BE49-F238E27FC236}">
                      <a16:creationId xmlns:a16="http://schemas.microsoft.com/office/drawing/2014/main" id="{AA15F3CE-2C7F-5607-0EC9-C31304064DEA}"/>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F6D1802D-04FC-6018-E8C4-4BDA632A6349}"/>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183" name="Group 182">
                <a:extLst>
                  <a:ext uri="{FF2B5EF4-FFF2-40B4-BE49-F238E27FC236}">
                    <a16:creationId xmlns:a16="http://schemas.microsoft.com/office/drawing/2014/main" id="{0E245357-84F9-03BD-5975-43F83C0A716A}"/>
                  </a:ext>
                </a:extLst>
              </p:cNvPr>
              <p:cNvGrpSpPr/>
              <p:nvPr/>
            </p:nvGrpSpPr>
            <p:grpSpPr>
              <a:xfrm>
                <a:off x="7227358" y="2917805"/>
                <a:ext cx="82971" cy="82971"/>
                <a:chOff x="7236884" y="3439984"/>
                <a:chExt cx="108000" cy="108000"/>
              </a:xfrm>
            </p:grpSpPr>
            <p:cxnSp>
              <p:nvCxnSpPr>
                <p:cNvPr id="184" name="Straight Connector 183">
                  <a:extLst>
                    <a:ext uri="{FF2B5EF4-FFF2-40B4-BE49-F238E27FC236}">
                      <a16:creationId xmlns:a16="http://schemas.microsoft.com/office/drawing/2014/main" id="{0CB77B7A-A00F-BD37-1DEB-528E125FBADE}"/>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52558F48-C52F-6D92-46F1-C90C541D2E20}"/>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186" name="Group 185">
                <a:extLst>
                  <a:ext uri="{FF2B5EF4-FFF2-40B4-BE49-F238E27FC236}">
                    <a16:creationId xmlns:a16="http://schemas.microsoft.com/office/drawing/2014/main" id="{1791DDFC-D2CB-516A-40F7-D648EEDD3CE2}"/>
                  </a:ext>
                </a:extLst>
              </p:cNvPr>
              <p:cNvGrpSpPr/>
              <p:nvPr/>
            </p:nvGrpSpPr>
            <p:grpSpPr>
              <a:xfrm>
                <a:off x="7244027" y="2917805"/>
                <a:ext cx="82971" cy="82971"/>
                <a:chOff x="7236884" y="3439984"/>
                <a:chExt cx="108000" cy="108000"/>
              </a:xfrm>
            </p:grpSpPr>
            <p:cxnSp>
              <p:nvCxnSpPr>
                <p:cNvPr id="187" name="Straight Connector 186">
                  <a:extLst>
                    <a:ext uri="{FF2B5EF4-FFF2-40B4-BE49-F238E27FC236}">
                      <a16:creationId xmlns:a16="http://schemas.microsoft.com/office/drawing/2014/main" id="{08DE7936-6C14-00EF-3A92-9BE69939BD50}"/>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8311EC94-1410-46E8-1291-543B728EB92F}"/>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189" name="Group 188">
                <a:extLst>
                  <a:ext uri="{FF2B5EF4-FFF2-40B4-BE49-F238E27FC236}">
                    <a16:creationId xmlns:a16="http://schemas.microsoft.com/office/drawing/2014/main" id="{9A50C6AC-2426-3CEA-BCB0-1DC45844CBEE}"/>
                  </a:ext>
                </a:extLst>
              </p:cNvPr>
              <p:cNvGrpSpPr/>
              <p:nvPr/>
            </p:nvGrpSpPr>
            <p:grpSpPr>
              <a:xfrm>
                <a:off x="7255932" y="2917805"/>
                <a:ext cx="82971" cy="82971"/>
                <a:chOff x="7236884" y="3439984"/>
                <a:chExt cx="108000" cy="108000"/>
              </a:xfrm>
            </p:grpSpPr>
            <p:cxnSp>
              <p:nvCxnSpPr>
                <p:cNvPr id="190" name="Straight Connector 189">
                  <a:extLst>
                    <a:ext uri="{FF2B5EF4-FFF2-40B4-BE49-F238E27FC236}">
                      <a16:creationId xmlns:a16="http://schemas.microsoft.com/office/drawing/2014/main" id="{B3786898-073B-E9F6-BFF8-E09AFD60F9F7}"/>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543757A2-85A0-9227-B038-6C03907D5131}"/>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192" name="Group 191">
                <a:extLst>
                  <a:ext uri="{FF2B5EF4-FFF2-40B4-BE49-F238E27FC236}">
                    <a16:creationId xmlns:a16="http://schemas.microsoft.com/office/drawing/2014/main" id="{F0F5F044-4BA1-EE5A-304E-E9901C99920E}"/>
                  </a:ext>
                </a:extLst>
              </p:cNvPr>
              <p:cNvGrpSpPr/>
              <p:nvPr/>
            </p:nvGrpSpPr>
            <p:grpSpPr>
              <a:xfrm>
                <a:off x="7196400" y="2917805"/>
                <a:ext cx="82971" cy="82971"/>
                <a:chOff x="7236884" y="3439984"/>
                <a:chExt cx="108000" cy="108000"/>
              </a:xfrm>
            </p:grpSpPr>
            <p:cxnSp>
              <p:nvCxnSpPr>
                <p:cNvPr id="193" name="Straight Connector 192">
                  <a:extLst>
                    <a:ext uri="{FF2B5EF4-FFF2-40B4-BE49-F238E27FC236}">
                      <a16:creationId xmlns:a16="http://schemas.microsoft.com/office/drawing/2014/main" id="{1455AB49-9AD3-C1F9-E55F-3795EF4A963F}"/>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8BD95EFA-1432-6481-5632-E63E39681A5D}"/>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195" name="Group 194">
                <a:extLst>
                  <a:ext uri="{FF2B5EF4-FFF2-40B4-BE49-F238E27FC236}">
                    <a16:creationId xmlns:a16="http://schemas.microsoft.com/office/drawing/2014/main" id="{F9C36A76-392C-305C-B6D1-63C9627501BA}"/>
                  </a:ext>
                </a:extLst>
              </p:cNvPr>
              <p:cNvGrpSpPr/>
              <p:nvPr/>
            </p:nvGrpSpPr>
            <p:grpSpPr>
              <a:xfrm>
                <a:off x="7136869" y="2917805"/>
                <a:ext cx="82971" cy="82971"/>
                <a:chOff x="7236884" y="3439984"/>
                <a:chExt cx="108000" cy="108000"/>
              </a:xfrm>
            </p:grpSpPr>
            <p:cxnSp>
              <p:nvCxnSpPr>
                <p:cNvPr id="196" name="Straight Connector 195">
                  <a:extLst>
                    <a:ext uri="{FF2B5EF4-FFF2-40B4-BE49-F238E27FC236}">
                      <a16:creationId xmlns:a16="http://schemas.microsoft.com/office/drawing/2014/main" id="{7C6F2D18-4E64-98B1-65A1-714ED23725F8}"/>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A76BF607-2E5E-442E-8B39-79D90A60F199}"/>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198" name="Group 197">
                <a:extLst>
                  <a:ext uri="{FF2B5EF4-FFF2-40B4-BE49-F238E27FC236}">
                    <a16:creationId xmlns:a16="http://schemas.microsoft.com/office/drawing/2014/main" id="{EB441C2A-6847-7FC7-B659-34F4A32CCE3B}"/>
                  </a:ext>
                </a:extLst>
              </p:cNvPr>
              <p:cNvGrpSpPr/>
              <p:nvPr/>
            </p:nvGrpSpPr>
            <p:grpSpPr>
              <a:xfrm>
                <a:off x="7153538" y="2917805"/>
                <a:ext cx="82971" cy="82971"/>
                <a:chOff x="7236884" y="3439984"/>
                <a:chExt cx="108000" cy="108000"/>
              </a:xfrm>
            </p:grpSpPr>
            <p:cxnSp>
              <p:nvCxnSpPr>
                <p:cNvPr id="199" name="Straight Connector 198">
                  <a:extLst>
                    <a:ext uri="{FF2B5EF4-FFF2-40B4-BE49-F238E27FC236}">
                      <a16:creationId xmlns:a16="http://schemas.microsoft.com/office/drawing/2014/main" id="{FC07CAAC-66E9-6D28-0354-147F8C3E56F2}"/>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761E7B0C-85CF-2C2F-31C8-6A6C78323A43}"/>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201" name="Group 200">
                <a:extLst>
                  <a:ext uri="{FF2B5EF4-FFF2-40B4-BE49-F238E27FC236}">
                    <a16:creationId xmlns:a16="http://schemas.microsoft.com/office/drawing/2014/main" id="{F2FF1C1E-6A7B-1256-3884-EC8DA50C30B6}"/>
                  </a:ext>
                </a:extLst>
              </p:cNvPr>
              <p:cNvGrpSpPr/>
              <p:nvPr/>
            </p:nvGrpSpPr>
            <p:grpSpPr>
              <a:xfrm>
                <a:off x="7170206" y="2917805"/>
                <a:ext cx="82971" cy="82971"/>
                <a:chOff x="7236884" y="3439984"/>
                <a:chExt cx="108000" cy="108000"/>
              </a:xfrm>
            </p:grpSpPr>
            <p:cxnSp>
              <p:nvCxnSpPr>
                <p:cNvPr id="202" name="Straight Connector 201">
                  <a:extLst>
                    <a:ext uri="{FF2B5EF4-FFF2-40B4-BE49-F238E27FC236}">
                      <a16:creationId xmlns:a16="http://schemas.microsoft.com/office/drawing/2014/main" id="{C5A6549B-DA12-B4BF-EC27-3DE6D5E5ACFA}"/>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a:extLst>
                    <a:ext uri="{FF2B5EF4-FFF2-40B4-BE49-F238E27FC236}">
                      <a16:creationId xmlns:a16="http://schemas.microsoft.com/office/drawing/2014/main" id="{C74FD2ED-969E-D2D3-C623-CEA89B8A3E6A}"/>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204" name="Group 203">
                <a:extLst>
                  <a:ext uri="{FF2B5EF4-FFF2-40B4-BE49-F238E27FC236}">
                    <a16:creationId xmlns:a16="http://schemas.microsoft.com/office/drawing/2014/main" id="{42F9C037-A592-7BAC-FFF3-454886917D1C}"/>
                  </a:ext>
                </a:extLst>
              </p:cNvPr>
              <p:cNvGrpSpPr/>
              <p:nvPr/>
            </p:nvGrpSpPr>
            <p:grpSpPr>
              <a:xfrm>
                <a:off x="7182111" y="2917805"/>
                <a:ext cx="82971" cy="82971"/>
                <a:chOff x="7236884" y="3439984"/>
                <a:chExt cx="108000" cy="108000"/>
              </a:xfrm>
            </p:grpSpPr>
            <p:cxnSp>
              <p:nvCxnSpPr>
                <p:cNvPr id="205" name="Straight Connector 204">
                  <a:extLst>
                    <a:ext uri="{FF2B5EF4-FFF2-40B4-BE49-F238E27FC236}">
                      <a16:creationId xmlns:a16="http://schemas.microsoft.com/office/drawing/2014/main" id="{5E4280D5-C88E-B5B6-5180-35DB3A1D8B60}"/>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a:extLst>
                    <a:ext uri="{FF2B5EF4-FFF2-40B4-BE49-F238E27FC236}">
                      <a16:creationId xmlns:a16="http://schemas.microsoft.com/office/drawing/2014/main" id="{F8DEE9BB-990F-C27E-E27F-B1D9282DC131}"/>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207" name="Group 206">
                <a:extLst>
                  <a:ext uri="{FF2B5EF4-FFF2-40B4-BE49-F238E27FC236}">
                    <a16:creationId xmlns:a16="http://schemas.microsoft.com/office/drawing/2014/main" id="{0F2BFD2D-F80B-9346-7424-9B1E928B00A3}"/>
                  </a:ext>
                </a:extLst>
              </p:cNvPr>
              <p:cNvGrpSpPr/>
              <p:nvPr/>
            </p:nvGrpSpPr>
            <p:grpSpPr>
              <a:xfrm>
                <a:off x="7110673" y="2917805"/>
                <a:ext cx="82971" cy="82971"/>
                <a:chOff x="7236884" y="3439984"/>
                <a:chExt cx="108000" cy="108000"/>
              </a:xfrm>
            </p:grpSpPr>
            <p:cxnSp>
              <p:nvCxnSpPr>
                <p:cNvPr id="208" name="Straight Connector 207">
                  <a:extLst>
                    <a:ext uri="{FF2B5EF4-FFF2-40B4-BE49-F238E27FC236}">
                      <a16:creationId xmlns:a16="http://schemas.microsoft.com/office/drawing/2014/main" id="{35B68FAE-B56D-1A62-8058-5163E4F83C8A}"/>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209" name="Straight Connector 208">
                  <a:extLst>
                    <a:ext uri="{FF2B5EF4-FFF2-40B4-BE49-F238E27FC236}">
                      <a16:creationId xmlns:a16="http://schemas.microsoft.com/office/drawing/2014/main" id="{104F5B7B-AD4B-AD72-7FF5-D64FF6E66A1C}"/>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210" name="Group 209">
                <a:extLst>
                  <a:ext uri="{FF2B5EF4-FFF2-40B4-BE49-F238E27FC236}">
                    <a16:creationId xmlns:a16="http://schemas.microsoft.com/office/drawing/2014/main" id="{181B0444-F30A-B4D6-0F16-97D7A9CAFF31}"/>
                  </a:ext>
                </a:extLst>
              </p:cNvPr>
              <p:cNvGrpSpPr/>
              <p:nvPr/>
            </p:nvGrpSpPr>
            <p:grpSpPr>
              <a:xfrm>
                <a:off x="7094004" y="2917805"/>
                <a:ext cx="82971" cy="82971"/>
                <a:chOff x="7236884" y="3439984"/>
                <a:chExt cx="108000" cy="108000"/>
              </a:xfrm>
            </p:grpSpPr>
            <p:cxnSp>
              <p:nvCxnSpPr>
                <p:cNvPr id="211" name="Straight Connector 210">
                  <a:extLst>
                    <a:ext uri="{FF2B5EF4-FFF2-40B4-BE49-F238E27FC236}">
                      <a16:creationId xmlns:a16="http://schemas.microsoft.com/office/drawing/2014/main" id="{467074FF-18E5-048C-BD8E-EC73A67F38FC}"/>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212" name="Straight Connector 211">
                  <a:extLst>
                    <a:ext uri="{FF2B5EF4-FFF2-40B4-BE49-F238E27FC236}">
                      <a16:creationId xmlns:a16="http://schemas.microsoft.com/office/drawing/2014/main" id="{F96B173A-FB29-B3D2-A4F8-29B5424D2344}"/>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213" name="Group 212">
                <a:extLst>
                  <a:ext uri="{FF2B5EF4-FFF2-40B4-BE49-F238E27FC236}">
                    <a16:creationId xmlns:a16="http://schemas.microsoft.com/office/drawing/2014/main" id="{3CC8D830-059E-E2CF-8757-960EDE1DDE0C}"/>
                  </a:ext>
                </a:extLst>
              </p:cNvPr>
              <p:cNvGrpSpPr/>
              <p:nvPr/>
            </p:nvGrpSpPr>
            <p:grpSpPr>
              <a:xfrm>
                <a:off x="7072573" y="2917805"/>
                <a:ext cx="82971" cy="82971"/>
                <a:chOff x="7236884" y="3439984"/>
                <a:chExt cx="108000" cy="108000"/>
              </a:xfrm>
            </p:grpSpPr>
            <p:cxnSp>
              <p:nvCxnSpPr>
                <p:cNvPr id="214" name="Straight Connector 213">
                  <a:extLst>
                    <a:ext uri="{FF2B5EF4-FFF2-40B4-BE49-F238E27FC236}">
                      <a16:creationId xmlns:a16="http://schemas.microsoft.com/office/drawing/2014/main" id="{947E9771-994C-BF02-9D74-1CF929F5CBA0}"/>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215" name="Straight Connector 214">
                  <a:extLst>
                    <a:ext uri="{FF2B5EF4-FFF2-40B4-BE49-F238E27FC236}">
                      <a16:creationId xmlns:a16="http://schemas.microsoft.com/office/drawing/2014/main" id="{3ACA3881-91AC-277E-471D-A2DC3E2C8884}"/>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216" name="Group 215">
                <a:extLst>
                  <a:ext uri="{FF2B5EF4-FFF2-40B4-BE49-F238E27FC236}">
                    <a16:creationId xmlns:a16="http://schemas.microsoft.com/office/drawing/2014/main" id="{6DB40CA0-C737-13B1-0112-627FF587721B}"/>
                  </a:ext>
                </a:extLst>
              </p:cNvPr>
              <p:cNvGrpSpPr/>
              <p:nvPr/>
            </p:nvGrpSpPr>
            <p:grpSpPr>
              <a:xfrm>
                <a:off x="7060666" y="2917805"/>
                <a:ext cx="82971" cy="82971"/>
                <a:chOff x="7236884" y="3439984"/>
                <a:chExt cx="108000" cy="108000"/>
              </a:xfrm>
            </p:grpSpPr>
            <p:cxnSp>
              <p:nvCxnSpPr>
                <p:cNvPr id="217" name="Straight Connector 216">
                  <a:extLst>
                    <a:ext uri="{FF2B5EF4-FFF2-40B4-BE49-F238E27FC236}">
                      <a16:creationId xmlns:a16="http://schemas.microsoft.com/office/drawing/2014/main" id="{5F5F1817-A750-C063-118C-1D15698E7B6B}"/>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218" name="Straight Connector 217">
                  <a:extLst>
                    <a:ext uri="{FF2B5EF4-FFF2-40B4-BE49-F238E27FC236}">
                      <a16:creationId xmlns:a16="http://schemas.microsoft.com/office/drawing/2014/main" id="{56A257E7-C824-A500-E3FE-A188A8C904E3}"/>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219" name="Group 218">
                <a:extLst>
                  <a:ext uri="{FF2B5EF4-FFF2-40B4-BE49-F238E27FC236}">
                    <a16:creationId xmlns:a16="http://schemas.microsoft.com/office/drawing/2014/main" id="{5D5B9238-28C5-85D5-9240-CD8964407F9E}"/>
                  </a:ext>
                </a:extLst>
              </p:cNvPr>
              <p:cNvGrpSpPr/>
              <p:nvPr/>
            </p:nvGrpSpPr>
            <p:grpSpPr>
              <a:xfrm>
                <a:off x="7043997" y="2917805"/>
                <a:ext cx="82971" cy="82971"/>
                <a:chOff x="7236884" y="3439984"/>
                <a:chExt cx="108000" cy="108000"/>
              </a:xfrm>
            </p:grpSpPr>
            <p:cxnSp>
              <p:nvCxnSpPr>
                <p:cNvPr id="220" name="Straight Connector 219">
                  <a:extLst>
                    <a:ext uri="{FF2B5EF4-FFF2-40B4-BE49-F238E27FC236}">
                      <a16:creationId xmlns:a16="http://schemas.microsoft.com/office/drawing/2014/main" id="{116C1215-B9C8-C3C3-8558-AE8E6BB9B2AA}"/>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95C1B1DD-BFA9-E076-AB76-A38BC063DB6B}"/>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222" name="Group 221">
                <a:extLst>
                  <a:ext uri="{FF2B5EF4-FFF2-40B4-BE49-F238E27FC236}">
                    <a16:creationId xmlns:a16="http://schemas.microsoft.com/office/drawing/2014/main" id="{BE2555DF-AD18-8F20-9111-93080AE73497}"/>
                  </a:ext>
                </a:extLst>
              </p:cNvPr>
              <p:cNvGrpSpPr/>
              <p:nvPr/>
            </p:nvGrpSpPr>
            <p:grpSpPr>
              <a:xfrm>
                <a:off x="7034472" y="2917805"/>
                <a:ext cx="82971" cy="82971"/>
                <a:chOff x="7236884" y="3439984"/>
                <a:chExt cx="108000" cy="108000"/>
              </a:xfrm>
            </p:grpSpPr>
            <p:cxnSp>
              <p:nvCxnSpPr>
                <p:cNvPr id="223" name="Straight Connector 222">
                  <a:extLst>
                    <a:ext uri="{FF2B5EF4-FFF2-40B4-BE49-F238E27FC236}">
                      <a16:creationId xmlns:a16="http://schemas.microsoft.com/office/drawing/2014/main" id="{512CB317-FD74-6408-9980-BC871C90E4FF}"/>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E168B19A-CFA5-EAF4-9B1C-6052BBA56E93}"/>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225" name="Group 224">
                <a:extLst>
                  <a:ext uri="{FF2B5EF4-FFF2-40B4-BE49-F238E27FC236}">
                    <a16:creationId xmlns:a16="http://schemas.microsoft.com/office/drawing/2014/main" id="{E5390382-D8A1-963E-F599-3425FC8EE865}"/>
                  </a:ext>
                </a:extLst>
              </p:cNvPr>
              <p:cNvGrpSpPr/>
              <p:nvPr/>
            </p:nvGrpSpPr>
            <p:grpSpPr>
              <a:xfrm>
                <a:off x="7010660" y="2917805"/>
                <a:ext cx="82971" cy="82971"/>
                <a:chOff x="7236884" y="3439984"/>
                <a:chExt cx="108000" cy="108000"/>
              </a:xfrm>
            </p:grpSpPr>
            <p:cxnSp>
              <p:nvCxnSpPr>
                <p:cNvPr id="226" name="Straight Connector 225">
                  <a:extLst>
                    <a:ext uri="{FF2B5EF4-FFF2-40B4-BE49-F238E27FC236}">
                      <a16:creationId xmlns:a16="http://schemas.microsoft.com/office/drawing/2014/main" id="{9CFAEC65-8C22-1AC0-BF3A-1451D00FA6B1}"/>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457299A5-A917-5B1D-2AA9-793DAD331CFA}"/>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228" name="Group 227">
                <a:extLst>
                  <a:ext uri="{FF2B5EF4-FFF2-40B4-BE49-F238E27FC236}">
                    <a16:creationId xmlns:a16="http://schemas.microsoft.com/office/drawing/2014/main" id="{59106738-7C40-5B12-4EA5-FF7D85A514A3}"/>
                  </a:ext>
                </a:extLst>
              </p:cNvPr>
              <p:cNvGrpSpPr/>
              <p:nvPr/>
            </p:nvGrpSpPr>
            <p:grpSpPr>
              <a:xfrm>
                <a:off x="6993991" y="2917805"/>
                <a:ext cx="82971" cy="82971"/>
                <a:chOff x="7236884" y="3439984"/>
                <a:chExt cx="108000" cy="108000"/>
              </a:xfrm>
            </p:grpSpPr>
            <p:cxnSp>
              <p:nvCxnSpPr>
                <p:cNvPr id="229" name="Straight Connector 228">
                  <a:extLst>
                    <a:ext uri="{FF2B5EF4-FFF2-40B4-BE49-F238E27FC236}">
                      <a16:creationId xmlns:a16="http://schemas.microsoft.com/office/drawing/2014/main" id="{DBAB78FE-108B-4F3A-6914-846EBA2FB953}"/>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0813B8DB-0895-EEA1-AA41-81636C2BA4EE}"/>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231" name="Group 230">
                <a:extLst>
                  <a:ext uri="{FF2B5EF4-FFF2-40B4-BE49-F238E27FC236}">
                    <a16:creationId xmlns:a16="http://schemas.microsoft.com/office/drawing/2014/main" id="{84567D72-FFCE-1048-A373-AEE864CE66C7}"/>
                  </a:ext>
                </a:extLst>
              </p:cNvPr>
              <p:cNvGrpSpPr/>
              <p:nvPr/>
            </p:nvGrpSpPr>
            <p:grpSpPr>
              <a:xfrm>
                <a:off x="6979703" y="2917805"/>
                <a:ext cx="82971" cy="82971"/>
                <a:chOff x="7236884" y="3439984"/>
                <a:chExt cx="108000" cy="108000"/>
              </a:xfrm>
            </p:grpSpPr>
            <p:cxnSp>
              <p:nvCxnSpPr>
                <p:cNvPr id="232" name="Straight Connector 231">
                  <a:extLst>
                    <a:ext uri="{FF2B5EF4-FFF2-40B4-BE49-F238E27FC236}">
                      <a16:creationId xmlns:a16="http://schemas.microsoft.com/office/drawing/2014/main" id="{0B617B74-E838-3F6E-F763-DEA9FD614C1A}"/>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1CC0AEC9-D555-7C3F-BE3E-1A3573F0AC98}"/>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234" name="Group 233">
                <a:extLst>
                  <a:ext uri="{FF2B5EF4-FFF2-40B4-BE49-F238E27FC236}">
                    <a16:creationId xmlns:a16="http://schemas.microsoft.com/office/drawing/2014/main" id="{FE3482C8-431E-A83F-8760-45B68940DE28}"/>
                  </a:ext>
                </a:extLst>
              </p:cNvPr>
              <p:cNvGrpSpPr/>
              <p:nvPr/>
            </p:nvGrpSpPr>
            <p:grpSpPr>
              <a:xfrm>
                <a:off x="6963035" y="2917805"/>
                <a:ext cx="82971" cy="82971"/>
                <a:chOff x="7236884" y="3439984"/>
                <a:chExt cx="108000" cy="108000"/>
              </a:xfrm>
            </p:grpSpPr>
            <p:cxnSp>
              <p:nvCxnSpPr>
                <p:cNvPr id="235" name="Straight Connector 234">
                  <a:extLst>
                    <a:ext uri="{FF2B5EF4-FFF2-40B4-BE49-F238E27FC236}">
                      <a16:creationId xmlns:a16="http://schemas.microsoft.com/office/drawing/2014/main" id="{80A80695-4AAA-8FEC-44D0-C5B7F5865973}"/>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1A5E9DA7-C357-E85B-A794-BA30A2B3113B}"/>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237" name="Group 236">
                <a:extLst>
                  <a:ext uri="{FF2B5EF4-FFF2-40B4-BE49-F238E27FC236}">
                    <a16:creationId xmlns:a16="http://schemas.microsoft.com/office/drawing/2014/main" id="{543AC70B-BE95-0E48-4DBE-13C5AA7093DE}"/>
                  </a:ext>
                </a:extLst>
              </p:cNvPr>
              <p:cNvGrpSpPr/>
              <p:nvPr/>
            </p:nvGrpSpPr>
            <p:grpSpPr>
              <a:xfrm>
                <a:off x="6947118" y="2909012"/>
                <a:ext cx="82971" cy="82971"/>
                <a:chOff x="7236884" y="3439984"/>
                <a:chExt cx="108000" cy="108000"/>
              </a:xfrm>
            </p:grpSpPr>
            <p:cxnSp>
              <p:nvCxnSpPr>
                <p:cNvPr id="238" name="Straight Connector 237">
                  <a:extLst>
                    <a:ext uri="{FF2B5EF4-FFF2-40B4-BE49-F238E27FC236}">
                      <a16:creationId xmlns:a16="http://schemas.microsoft.com/office/drawing/2014/main" id="{3EC90527-09A4-4C9D-1CFB-3E083F80D3D7}"/>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9140D9BE-972B-5A57-7027-E26D38F6A202}"/>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240" name="Group 239">
                <a:extLst>
                  <a:ext uri="{FF2B5EF4-FFF2-40B4-BE49-F238E27FC236}">
                    <a16:creationId xmlns:a16="http://schemas.microsoft.com/office/drawing/2014/main" id="{60A1B563-948F-420F-BF4F-55ED201BECE5}"/>
                  </a:ext>
                </a:extLst>
              </p:cNvPr>
              <p:cNvGrpSpPr/>
              <p:nvPr/>
            </p:nvGrpSpPr>
            <p:grpSpPr>
              <a:xfrm>
                <a:off x="6932830" y="2891119"/>
                <a:ext cx="82971" cy="82971"/>
                <a:chOff x="7236884" y="3439984"/>
                <a:chExt cx="108000" cy="108000"/>
              </a:xfrm>
            </p:grpSpPr>
            <p:cxnSp>
              <p:nvCxnSpPr>
                <p:cNvPr id="241" name="Straight Connector 240">
                  <a:extLst>
                    <a:ext uri="{FF2B5EF4-FFF2-40B4-BE49-F238E27FC236}">
                      <a16:creationId xmlns:a16="http://schemas.microsoft.com/office/drawing/2014/main" id="{206D7F33-4116-4979-ED6A-BECB9EA81A38}"/>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FDBB0CEE-F14F-926B-BF9C-18636D728EE2}"/>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243" name="Group 242">
                <a:extLst>
                  <a:ext uri="{FF2B5EF4-FFF2-40B4-BE49-F238E27FC236}">
                    <a16:creationId xmlns:a16="http://schemas.microsoft.com/office/drawing/2014/main" id="{5B8048EC-E0F8-CDD7-8439-133529420468}"/>
                  </a:ext>
                </a:extLst>
              </p:cNvPr>
              <p:cNvGrpSpPr/>
              <p:nvPr/>
            </p:nvGrpSpPr>
            <p:grpSpPr>
              <a:xfrm>
                <a:off x="6913780" y="2882787"/>
                <a:ext cx="82971" cy="82971"/>
                <a:chOff x="7236884" y="3439984"/>
                <a:chExt cx="108000" cy="108000"/>
              </a:xfrm>
            </p:grpSpPr>
            <p:cxnSp>
              <p:nvCxnSpPr>
                <p:cNvPr id="244" name="Straight Connector 243">
                  <a:extLst>
                    <a:ext uri="{FF2B5EF4-FFF2-40B4-BE49-F238E27FC236}">
                      <a16:creationId xmlns:a16="http://schemas.microsoft.com/office/drawing/2014/main" id="{9725D88C-F251-6466-C7C1-4D7F9F5DCD92}"/>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9CE5819C-C88A-B33B-169A-8FE57BBFBAFA}"/>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246" name="Group 245">
                <a:extLst>
                  <a:ext uri="{FF2B5EF4-FFF2-40B4-BE49-F238E27FC236}">
                    <a16:creationId xmlns:a16="http://schemas.microsoft.com/office/drawing/2014/main" id="{963BBB3E-D22A-8605-C104-ABAFCD839D39}"/>
                  </a:ext>
                </a:extLst>
              </p:cNvPr>
              <p:cNvGrpSpPr/>
              <p:nvPr/>
            </p:nvGrpSpPr>
            <p:grpSpPr>
              <a:xfrm>
                <a:off x="6887586" y="2858003"/>
                <a:ext cx="82971" cy="82971"/>
                <a:chOff x="7236884" y="3439984"/>
                <a:chExt cx="108000" cy="108000"/>
              </a:xfrm>
            </p:grpSpPr>
            <p:cxnSp>
              <p:nvCxnSpPr>
                <p:cNvPr id="247" name="Straight Connector 246">
                  <a:extLst>
                    <a:ext uri="{FF2B5EF4-FFF2-40B4-BE49-F238E27FC236}">
                      <a16:creationId xmlns:a16="http://schemas.microsoft.com/office/drawing/2014/main" id="{A9247776-FD82-ACA1-B5E1-00A8CA6111BD}"/>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FD2728F3-BCDB-C8C3-B9DF-80CFD0573DE1}"/>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249" name="Group 248">
                <a:extLst>
                  <a:ext uri="{FF2B5EF4-FFF2-40B4-BE49-F238E27FC236}">
                    <a16:creationId xmlns:a16="http://schemas.microsoft.com/office/drawing/2014/main" id="{2BABB203-AD73-4C5B-5CF2-C8A7C8D763B7}"/>
                  </a:ext>
                </a:extLst>
              </p:cNvPr>
              <p:cNvGrpSpPr/>
              <p:nvPr/>
            </p:nvGrpSpPr>
            <p:grpSpPr>
              <a:xfrm>
                <a:off x="6861392" y="2842491"/>
                <a:ext cx="82971" cy="82971"/>
                <a:chOff x="7236884" y="3439984"/>
                <a:chExt cx="108000" cy="108000"/>
              </a:xfrm>
            </p:grpSpPr>
            <p:cxnSp>
              <p:nvCxnSpPr>
                <p:cNvPr id="250" name="Straight Connector 249">
                  <a:extLst>
                    <a:ext uri="{FF2B5EF4-FFF2-40B4-BE49-F238E27FC236}">
                      <a16:creationId xmlns:a16="http://schemas.microsoft.com/office/drawing/2014/main" id="{46C18BD0-B20C-DEA6-15BC-DC1A8871750A}"/>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8CFDBA09-6396-D3B4-A026-1B9C72B8FF3D}"/>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252" name="Group 251">
                <a:extLst>
                  <a:ext uri="{FF2B5EF4-FFF2-40B4-BE49-F238E27FC236}">
                    <a16:creationId xmlns:a16="http://schemas.microsoft.com/office/drawing/2014/main" id="{1B0F46DE-4564-69E9-D639-E8F25E3F4CB3}"/>
                  </a:ext>
                </a:extLst>
              </p:cNvPr>
              <p:cNvGrpSpPr/>
              <p:nvPr/>
            </p:nvGrpSpPr>
            <p:grpSpPr>
              <a:xfrm>
                <a:off x="6844723" y="2837729"/>
                <a:ext cx="82971" cy="82971"/>
                <a:chOff x="7236884" y="3439984"/>
                <a:chExt cx="108000" cy="108000"/>
              </a:xfrm>
            </p:grpSpPr>
            <p:cxnSp>
              <p:nvCxnSpPr>
                <p:cNvPr id="253" name="Straight Connector 252">
                  <a:extLst>
                    <a:ext uri="{FF2B5EF4-FFF2-40B4-BE49-F238E27FC236}">
                      <a16:creationId xmlns:a16="http://schemas.microsoft.com/office/drawing/2014/main" id="{D5CF7EA2-6D3C-CDE3-F2B2-A1A92A408FB8}"/>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CB9A958F-CF3A-F124-3D02-4EB52D549FB7}"/>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255" name="Group 254">
                <a:extLst>
                  <a:ext uri="{FF2B5EF4-FFF2-40B4-BE49-F238E27FC236}">
                    <a16:creationId xmlns:a16="http://schemas.microsoft.com/office/drawing/2014/main" id="{EE4DEB43-54EB-0A23-F348-43307811BA29}"/>
                  </a:ext>
                </a:extLst>
              </p:cNvPr>
              <p:cNvGrpSpPr/>
              <p:nvPr/>
            </p:nvGrpSpPr>
            <p:grpSpPr>
              <a:xfrm>
                <a:off x="6835198" y="2837729"/>
                <a:ext cx="82971" cy="82971"/>
                <a:chOff x="7236884" y="3439984"/>
                <a:chExt cx="108000" cy="108000"/>
              </a:xfrm>
            </p:grpSpPr>
            <p:cxnSp>
              <p:nvCxnSpPr>
                <p:cNvPr id="256" name="Straight Connector 255">
                  <a:extLst>
                    <a:ext uri="{FF2B5EF4-FFF2-40B4-BE49-F238E27FC236}">
                      <a16:creationId xmlns:a16="http://schemas.microsoft.com/office/drawing/2014/main" id="{541E2E74-CDF9-55B9-6703-647AD33612CB}"/>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1FB62340-2B5B-DFD6-DF50-24713E7D011B}"/>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258" name="Group 257">
                <a:extLst>
                  <a:ext uri="{FF2B5EF4-FFF2-40B4-BE49-F238E27FC236}">
                    <a16:creationId xmlns:a16="http://schemas.microsoft.com/office/drawing/2014/main" id="{ED471C5B-170A-883C-9051-8747AF0D7620}"/>
                  </a:ext>
                </a:extLst>
              </p:cNvPr>
              <p:cNvGrpSpPr/>
              <p:nvPr/>
            </p:nvGrpSpPr>
            <p:grpSpPr>
              <a:xfrm>
                <a:off x="6823292" y="2830586"/>
                <a:ext cx="82971" cy="82971"/>
                <a:chOff x="7236884" y="3439984"/>
                <a:chExt cx="108000" cy="108000"/>
              </a:xfrm>
            </p:grpSpPr>
            <p:cxnSp>
              <p:nvCxnSpPr>
                <p:cNvPr id="259" name="Straight Connector 258">
                  <a:extLst>
                    <a:ext uri="{FF2B5EF4-FFF2-40B4-BE49-F238E27FC236}">
                      <a16:creationId xmlns:a16="http://schemas.microsoft.com/office/drawing/2014/main" id="{C415B5A6-9E2F-9809-2921-A8E1D7CAD7B5}"/>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CA7D9AF4-7755-B1EE-4758-8469EE0B070D}"/>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261" name="Group 260">
                <a:extLst>
                  <a:ext uri="{FF2B5EF4-FFF2-40B4-BE49-F238E27FC236}">
                    <a16:creationId xmlns:a16="http://schemas.microsoft.com/office/drawing/2014/main" id="{5B32E701-3813-D475-6EF4-E8F6BF57FFAA}"/>
                  </a:ext>
                </a:extLst>
              </p:cNvPr>
              <p:cNvGrpSpPr/>
              <p:nvPr/>
            </p:nvGrpSpPr>
            <p:grpSpPr>
              <a:xfrm>
                <a:off x="6811386" y="2815372"/>
                <a:ext cx="82971" cy="82971"/>
                <a:chOff x="7236884" y="3439984"/>
                <a:chExt cx="108000" cy="108000"/>
              </a:xfrm>
            </p:grpSpPr>
            <p:cxnSp>
              <p:nvCxnSpPr>
                <p:cNvPr id="262" name="Straight Connector 261">
                  <a:extLst>
                    <a:ext uri="{FF2B5EF4-FFF2-40B4-BE49-F238E27FC236}">
                      <a16:creationId xmlns:a16="http://schemas.microsoft.com/office/drawing/2014/main" id="{0159A192-8551-C557-0008-4EEED0D593CE}"/>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3F4B94A3-5A82-8B15-2994-F5B155F8A168}"/>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264" name="Group 263">
                <a:extLst>
                  <a:ext uri="{FF2B5EF4-FFF2-40B4-BE49-F238E27FC236}">
                    <a16:creationId xmlns:a16="http://schemas.microsoft.com/office/drawing/2014/main" id="{4FE77135-5237-1F97-8230-C46D263A3CB9}"/>
                  </a:ext>
                </a:extLst>
              </p:cNvPr>
              <p:cNvGrpSpPr/>
              <p:nvPr/>
            </p:nvGrpSpPr>
            <p:grpSpPr>
              <a:xfrm>
                <a:off x="6792336" y="2796917"/>
                <a:ext cx="82971" cy="82971"/>
                <a:chOff x="7236884" y="3439984"/>
                <a:chExt cx="108000" cy="108000"/>
              </a:xfrm>
            </p:grpSpPr>
            <p:cxnSp>
              <p:nvCxnSpPr>
                <p:cNvPr id="265" name="Straight Connector 264">
                  <a:extLst>
                    <a:ext uri="{FF2B5EF4-FFF2-40B4-BE49-F238E27FC236}">
                      <a16:creationId xmlns:a16="http://schemas.microsoft.com/office/drawing/2014/main" id="{EA099556-AB5D-EBB3-94C8-CEE9CFC693E2}"/>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310A24ED-232B-34A1-0A52-96C4211A89DE}"/>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267" name="Group 266">
                <a:extLst>
                  <a:ext uri="{FF2B5EF4-FFF2-40B4-BE49-F238E27FC236}">
                    <a16:creationId xmlns:a16="http://schemas.microsoft.com/office/drawing/2014/main" id="{D86EA7BF-233F-E52D-20FF-999F3310BCF7}"/>
                  </a:ext>
                </a:extLst>
              </p:cNvPr>
              <p:cNvGrpSpPr/>
              <p:nvPr/>
            </p:nvGrpSpPr>
            <p:grpSpPr>
              <a:xfrm>
                <a:off x="6778049" y="2780256"/>
                <a:ext cx="82971" cy="82971"/>
                <a:chOff x="7236884" y="3439984"/>
                <a:chExt cx="108000" cy="108000"/>
              </a:xfrm>
            </p:grpSpPr>
            <p:cxnSp>
              <p:nvCxnSpPr>
                <p:cNvPr id="268" name="Straight Connector 267">
                  <a:extLst>
                    <a:ext uri="{FF2B5EF4-FFF2-40B4-BE49-F238E27FC236}">
                      <a16:creationId xmlns:a16="http://schemas.microsoft.com/office/drawing/2014/main" id="{687CAA57-D8D5-52E3-AFED-6B7C16F9F45F}"/>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2518C30B-1551-CF4E-7436-C3A335BCAE49}"/>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270" name="Group 269">
                <a:extLst>
                  <a:ext uri="{FF2B5EF4-FFF2-40B4-BE49-F238E27FC236}">
                    <a16:creationId xmlns:a16="http://schemas.microsoft.com/office/drawing/2014/main" id="{14441F4D-331B-4505-9CC4-C5CA964BC29D}"/>
                  </a:ext>
                </a:extLst>
              </p:cNvPr>
              <p:cNvGrpSpPr/>
              <p:nvPr/>
            </p:nvGrpSpPr>
            <p:grpSpPr>
              <a:xfrm>
                <a:off x="6758999" y="2780256"/>
                <a:ext cx="82971" cy="82971"/>
                <a:chOff x="7236884" y="3439984"/>
                <a:chExt cx="108000" cy="108000"/>
              </a:xfrm>
            </p:grpSpPr>
            <p:cxnSp>
              <p:nvCxnSpPr>
                <p:cNvPr id="271" name="Straight Connector 270">
                  <a:extLst>
                    <a:ext uri="{FF2B5EF4-FFF2-40B4-BE49-F238E27FC236}">
                      <a16:creationId xmlns:a16="http://schemas.microsoft.com/office/drawing/2014/main" id="{D98FE15B-B9EA-AB0A-D884-AB8E9A8A0366}"/>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272" name="Straight Connector 271">
                  <a:extLst>
                    <a:ext uri="{FF2B5EF4-FFF2-40B4-BE49-F238E27FC236}">
                      <a16:creationId xmlns:a16="http://schemas.microsoft.com/office/drawing/2014/main" id="{852DB449-6498-0502-01C4-AA7496F98F09}"/>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273" name="Group 272">
                <a:extLst>
                  <a:ext uri="{FF2B5EF4-FFF2-40B4-BE49-F238E27FC236}">
                    <a16:creationId xmlns:a16="http://schemas.microsoft.com/office/drawing/2014/main" id="{86BE2DB3-36C5-0FD8-E9EC-FEEC47B4D1D6}"/>
                  </a:ext>
                </a:extLst>
              </p:cNvPr>
              <p:cNvGrpSpPr/>
              <p:nvPr/>
            </p:nvGrpSpPr>
            <p:grpSpPr>
              <a:xfrm>
                <a:off x="6732806" y="2780256"/>
                <a:ext cx="82971" cy="82971"/>
                <a:chOff x="7236884" y="3439984"/>
                <a:chExt cx="108000" cy="108000"/>
              </a:xfrm>
            </p:grpSpPr>
            <p:cxnSp>
              <p:nvCxnSpPr>
                <p:cNvPr id="274" name="Straight Connector 273">
                  <a:extLst>
                    <a:ext uri="{FF2B5EF4-FFF2-40B4-BE49-F238E27FC236}">
                      <a16:creationId xmlns:a16="http://schemas.microsoft.com/office/drawing/2014/main" id="{76781552-9C3B-1BCD-598A-0EA75024FD31}"/>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275" name="Straight Connector 274">
                  <a:extLst>
                    <a:ext uri="{FF2B5EF4-FFF2-40B4-BE49-F238E27FC236}">
                      <a16:creationId xmlns:a16="http://schemas.microsoft.com/office/drawing/2014/main" id="{44F58764-2ACB-FE14-E217-9148A6EDCCEA}"/>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276" name="Group 275">
                <a:extLst>
                  <a:ext uri="{FF2B5EF4-FFF2-40B4-BE49-F238E27FC236}">
                    <a16:creationId xmlns:a16="http://schemas.microsoft.com/office/drawing/2014/main" id="{1E120630-051C-687E-657F-3F968459037F}"/>
                  </a:ext>
                </a:extLst>
              </p:cNvPr>
              <p:cNvGrpSpPr/>
              <p:nvPr/>
            </p:nvGrpSpPr>
            <p:grpSpPr>
              <a:xfrm>
                <a:off x="6713756" y="2775494"/>
                <a:ext cx="82971" cy="82971"/>
                <a:chOff x="7236884" y="3439984"/>
                <a:chExt cx="108000" cy="108000"/>
              </a:xfrm>
            </p:grpSpPr>
            <p:cxnSp>
              <p:nvCxnSpPr>
                <p:cNvPr id="277" name="Straight Connector 276">
                  <a:extLst>
                    <a:ext uri="{FF2B5EF4-FFF2-40B4-BE49-F238E27FC236}">
                      <a16:creationId xmlns:a16="http://schemas.microsoft.com/office/drawing/2014/main" id="{D2A43E10-2711-73F5-F4DF-23E6B753651F}"/>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278" name="Straight Connector 277">
                  <a:extLst>
                    <a:ext uri="{FF2B5EF4-FFF2-40B4-BE49-F238E27FC236}">
                      <a16:creationId xmlns:a16="http://schemas.microsoft.com/office/drawing/2014/main" id="{D123B93E-57A3-1D14-AB86-5FA02B51B438}"/>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279" name="Group 278">
                <a:extLst>
                  <a:ext uri="{FF2B5EF4-FFF2-40B4-BE49-F238E27FC236}">
                    <a16:creationId xmlns:a16="http://schemas.microsoft.com/office/drawing/2014/main" id="{156462DA-A29A-B3C5-B2A7-9D222F605B7A}"/>
                  </a:ext>
                </a:extLst>
              </p:cNvPr>
              <p:cNvGrpSpPr/>
              <p:nvPr/>
            </p:nvGrpSpPr>
            <p:grpSpPr>
              <a:xfrm>
                <a:off x="6701849" y="2755431"/>
                <a:ext cx="82971" cy="82971"/>
                <a:chOff x="7236884" y="3439984"/>
                <a:chExt cx="108000" cy="108000"/>
              </a:xfrm>
            </p:grpSpPr>
            <p:cxnSp>
              <p:nvCxnSpPr>
                <p:cNvPr id="280" name="Straight Connector 279">
                  <a:extLst>
                    <a:ext uri="{FF2B5EF4-FFF2-40B4-BE49-F238E27FC236}">
                      <a16:creationId xmlns:a16="http://schemas.microsoft.com/office/drawing/2014/main" id="{954D6D68-A063-FEBE-056F-5577D4A10465}"/>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281" name="Straight Connector 280">
                  <a:extLst>
                    <a:ext uri="{FF2B5EF4-FFF2-40B4-BE49-F238E27FC236}">
                      <a16:creationId xmlns:a16="http://schemas.microsoft.com/office/drawing/2014/main" id="{F6F20789-C9AD-9842-822A-139748721C3C}"/>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282" name="Group 281">
                <a:extLst>
                  <a:ext uri="{FF2B5EF4-FFF2-40B4-BE49-F238E27FC236}">
                    <a16:creationId xmlns:a16="http://schemas.microsoft.com/office/drawing/2014/main" id="{B8360854-4656-D8E7-A345-DEE2E7214171}"/>
                  </a:ext>
                </a:extLst>
              </p:cNvPr>
              <p:cNvGrpSpPr/>
              <p:nvPr/>
            </p:nvGrpSpPr>
            <p:grpSpPr>
              <a:xfrm>
                <a:off x="6685181" y="2755431"/>
                <a:ext cx="82971" cy="82971"/>
                <a:chOff x="7236884" y="3439984"/>
                <a:chExt cx="108000" cy="108000"/>
              </a:xfrm>
            </p:grpSpPr>
            <p:cxnSp>
              <p:nvCxnSpPr>
                <p:cNvPr id="283" name="Straight Connector 282">
                  <a:extLst>
                    <a:ext uri="{FF2B5EF4-FFF2-40B4-BE49-F238E27FC236}">
                      <a16:creationId xmlns:a16="http://schemas.microsoft.com/office/drawing/2014/main" id="{1AE73B72-3DC6-08C7-C98A-C68387B9F9F2}"/>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284" name="Straight Connector 283">
                  <a:extLst>
                    <a:ext uri="{FF2B5EF4-FFF2-40B4-BE49-F238E27FC236}">
                      <a16:creationId xmlns:a16="http://schemas.microsoft.com/office/drawing/2014/main" id="{E9F43F36-52D7-BCA7-BE0C-C2244EC9D6BC}"/>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285" name="Group 284">
                <a:extLst>
                  <a:ext uri="{FF2B5EF4-FFF2-40B4-BE49-F238E27FC236}">
                    <a16:creationId xmlns:a16="http://schemas.microsoft.com/office/drawing/2014/main" id="{B1B444E4-4810-0E10-B915-5CB000F0C66B}"/>
                  </a:ext>
                </a:extLst>
              </p:cNvPr>
              <p:cNvGrpSpPr/>
              <p:nvPr/>
            </p:nvGrpSpPr>
            <p:grpSpPr>
              <a:xfrm>
                <a:off x="6670893" y="2755431"/>
                <a:ext cx="82971" cy="82971"/>
                <a:chOff x="7236884" y="3439984"/>
                <a:chExt cx="108000" cy="108000"/>
              </a:xfrm>
            </p:grpSpPr>
            <p:cxnSp>
              <p:nvCxnSpPr>
                <p:cNvPr id="286" name="Straight Connector 285">
                  <a:extLst>
                    <a:ext uri="{FF2B5EF4-FFF2-40B4-BE49-F238E27FC236}">
                      <a16:creationId xmlns:a16="http://schemas.microsoft.com/office/drawing/2014/main" id="{1C5A137D-C1D8-99D2-3A76-54E8F0520941}"/>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287" name="Straight Connector 286">
                  <a:extLst>
                    <a:ext uri="{FF2B5EF4-FFF2-40B4-BE49-F238E27FC236}">
                      <a16:creationId xmlns:a16="http://schemas.microsoft.com/office/drawing/2014/main" id="{7884936C-2A64-43F8-C55C-7019B1BCA968}"/>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288" name="Group 287">
                <a:extLst>
                  <a:ext uri="{FF2B5EF4-FFF2-40B4-BE49-F238E27FC236}">
                    <a16:creationId xmlns:a16="http://schemas.microsoft.com/office/drawing/2014/main" id="{D4E7D792-B898-22E9-601A-F3AE81D6DC0B}"/>
                  </a:ext>
                </a:extLst>
              </p:cNvPr>
              <p:cNvGrpSpPr/>
              <p:nvPr/>
            </p:nvGrpSpPr>
            <p:grpSpPr>
              <a:xfrm>
                <a:off x="6654224" y="2755431"/>
                <a:ext cx="82971" cy="82971"/>
                <a:chOff x="7236884" y="3439984"/>
                <a:chExt cx="108000" cy="108000"/>
              </a:xfrm>
            </p:grpSpPr>
            <p:cxnSp>
              <p:nvCxnSpPr>
                <p:cNvPr id="289" name="Straight Connector 288">
                  <a:extLst>
                    <a:ext uri="{FF2B5EF4-FFF2-40B4-BE49-F238E27FC236}">
                      <a16:creationId xmlns:a16="http://schemas.microsoft.com/office/drawing/2014/main" id="{4BA47067-CF5D-A37B-6BE3-B7BA29DE34DB}"/>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290" name="Straight Connector 289">
                  <a:extLst>
                    <a:ext uri="{FF2B5EF4-FFF2-40B4-BE49-F238E27FC236}">
                      <a16:creationId xmlns:a16="http://schemas.microsoft.com/office/drawing/2014/main" id="{05E2C20D-920F-25EB-B19B-2FC1F4A9A6D2}"/>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291" name="Group 290">
                <a:extLst>
                  <a:ext uri="{FF2B5EF4-FFF2-40B4-BE49-F238E27FC236}">
                    <a16:creationId xmlns:a16="http://schemas.microsoft.com/office/drawing/2014/main" id="{72F4B634-7CAA-1CAD-822F-8D48DF7DE1B4}"/>
                  </a:ext>
                </a:extLst>
              </p:cNvPr>
              <p:cNvGrpSpPr/>
              <p:nvPr/>
            </p:nvGrpSpPr>
            <p:grpSpPr>
              <a:xfrm>
                <a:off x="6637555" y="2749121"/>
                <a:ext cx="82971" cy="82971"/>
                <a:chOff x="7236884" y="3439984"/>
                <a:chExt cx="108000" cy="108000"/>
              </a:xfrm>
            </p:grpSpPr>
            <p:cxnSp>
              <p:nvCxnSpPr>
                <p:cNvPr id="292" name="Straight Connector 291">
                  <a:extLst>
                    <a:ext uri="{FF2B5EF4-FFF2-40B4-BE49-F238E27FC236}">
                      <a16:creationId xmlns:a16="http://schemas.microsoft.com/office/drawing/2014/main" id="{1F940441-7745-7C78-5705-DE8C3948D0AA}"/>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293" name="Straight Connector 292">
                  <a:extLst>
                    <a:ext uri="{FF2B5EF4-FFF2-40B4-BE49-F238E27FC236}">
                      <a16:creationId xmlns:a16="http://schemas.microsoft.com/office/drawing/2014/main" id="{9055AE26-9F20-D224-AED8-033560E50169}"/>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294" name="Group 293">
                <a:extLst>
                  <a:ext uri="{FF2B5EF4-FFF2-40B4-BE49-F238E27FC236}">
                    <a16:creationId xmlns:a16="http://schemas.microsoft.com/office/drawing/2014/main" id="{8C84B766-4D9F-8A2D-EC62-3F416B7B3D9C}"/>
                  </a:ext>
                </a:extLst>
              </p:cNvPr>
              <p:cNvGrpSpPr/>
              <p:nvPr/>
            </p:nvGrpSpPr>
            <p:grpSpPr>
              <a:xfrm>
                <a:off x="6620886" y="2731627"/>
                <a:ext cx="82971" cy="82971"/>
                <a:chOff x="7236884" y="3439984"/>
                <a:chExt cx="108000" cy="108000"/>
              </a:xfrm>
            </p:grpSpPr>
            <p:cxnSp>
              <p:nvCxnSpPr>
                <p:cNvPr id="295" name="Straight Connector 294">
                  <a:extLst>
                    <a:ext uri="{FF2B5EF4-FFF2-40B4-BE49-F238E27FC236}">
                      <a16:creationId xmlns:a16="http://schemas.microsoft.com/office/drawing/2014/main" id="{46D09D51-44FF-7B5A-6FE0-DE542FC894BA}"/>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296" name="Straight Connector 295">
                  <a:extLst>
                    <a:ext uri="{FF2B5EF4-FFF2-40B4-BE49-F238E27FC236}">
                      <a16:creationId xmlns:a16="http://schemas.microsoft.com/office/drawing/2014/main" id="{6819B46F-E7AA-82F2-A68F-AB9FA7328298}"/>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297" name="Group 296">
                <a:extLst>
                  <a:ext uri="{FF2B5EF4-FFF2-40B4-BE49-F238E27FC236}">
                    <a16:creationId xmlns:a16="http://schemas.microsoft.com/office/drawing/2014/main" id="{41FBE5A5-20D4-125C-21D6-E119EC726153}"/>
                  </a:ext>
                </a:extLst>
              </p:cNvPr>
              <p:cNvGrpSpPr/>
              <p:nvPr/>
            </p:nvGrpSpPr>
            <p:grpSpPr>
              <a:xfrm>
                <a:off x="6604216" y="2731627"/>
                <a:ext cx="82971" cy="82971"/>
                <a:chOff x="7236884" y="3439984"/>
                <a:chExt cx="108000" cy="108000"/>
              </a:xfrm>
            </p:grpSpPr>
            <p:cxnSp>
              <p:nvCxnSpPr>
                <p:cNvPr id="298" name="Straight Connector 297">
                  <a:extLst>
                    <a:ext uri="{FF2B5EF4-FFF2-40B4-BE49-F238E27FC236}">
                      <a16:creationId xmlns:a16="http://schemas.microsoft.com/office/drawing/2014/main" id="{0BAC0FB5-67A2-9122-FCC5-95D5DEE90BA2}"/>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299" name="Straight Connector 298">
                  <a:extLst>
                    <a:ext uri="{FF2B5EF4-FFF2-40B4-BE49-F238E27FC236}">
                      <a16:creationId xmlns:a16="http://schemas.microsoft.com/office/drawing/2014/main" id="{F6137771-9119-BCC3-809A-2A1F68EE0A6A}"/>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300" name="Group 299">
                <a:extLst>
                  <a:ext uri="{FF2B5EF4-FFF2-40B4-BE49-F238E27FC236}">
                    <a16:creationId xmlns:a16="http://schemas.microsoft.com/office/drawing/2014/main" id="{0575CA12-CF96-265E-BE97-C107C4BE4780}"/>
                  </a:ext>
                </a:extLst>
              </p:cNvPr>
              <p:cNvGrpSpPr/>
              <p:nvPr/>
            </p:nvGrpSpPr>
            <p:grpSpPr>
              <a:xfrm>
                <a:off x="6585165" y="2729246"/>
                <a:ext cx="82971" cy="82971"/>
                <a:chOff x="7236884" y="3439984"/>
                <a:chExt cx="108000" cy="108000"/>
              </a:xfrm>
            </p:grpSpPr>
            <p:cxnSp>
              <p:nvCxnSpPr>
                <p:cNvPr id="301" name="Straight Connector 300">
                  <a:extLst>
                    <a:ext uri="{FF2B5EF4-FFF2-40B4-BE49-F238E27FC236}">
                      <a16:creationId xmlns:a16="http://schemas.microsoft.com/office/drawing/2014/main" id="{4E5FAA13-4543-A75E-5E18-A39789D93E63}"/>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302" name="Straight Connector 301">
                  <a:extLst>
                    <a:ext uri="{FF2B5EF4-FFF2-40B4-BE49-F238E27FC236}">
                      <a16:creationId xmlns:a16="http://schemas.microsoft.com/office/drawing/2014/main" id="{AA8FF976-6079-6F26-FD25-9D7E6201F7C4}"/>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303" name="Group 302">
                <a:extLst>
                  <a:ext uri="{FF2B5EF4-FFF2-40B4-BE49-F238E27FC236}">
                    <a16:creationId xmlns:a16="http://schemas.microsoft.com/office/drawing/2014/main" id="{DA69AA1B-0A24-994D-EB31-742D1A035295}"/>
                  </a:ext>
                </a:extLst>
              </p:cNvPr>
              <p:cNvGrpSpPr/>
              <p:nvPr/>
            </p:nvGrpSpPr>
            <p:grpSpPr>
              <a:xfrm>
                <a:off x="6568497" y="2719722"/>
                <a:ext cx="82971" cy="82971"/>
                <a:chOff x="7236884" y="3439984"/>
                <a:chExt cx="108000" cy="108000"/>
              </a:xfrm>
            </p:grpSpPr>
            <p:cxnSp>
              <p:nvCxnSpPr>
                <p:cNvPr id="304" name="Straight Connector 303">
                  <a:extLst>
                    <a:ext uri="{FF2B5EF4-FFF2-40B4-BE49-F238E27FC236}">
                      <a16:creationId xmlns:a16="http://schemas.microsoft.com/office/drawing/2014/main" id="{439E1CA4-8FA5-9719-415E-BB88175167FB}"/>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305" name="Straight Connector 304">
                  <a:extLst>
                    <a:ext uri="{FF2B5EF4-FFF2-40B4-BE49-F238E27FC236}">
                      <a16:creationId xmlns:a16="http://schemas.microsoft.com/office/drawing/2014/main" id="{A524882D-4F94-A3C8-2BAF-5D3A3236BFC2}"/>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306" name="Group 305">
                <a:extLst>
                  <a:ext uri="{FF2B5EF4-FFF2-40B4-BE49-F238E27FC236}">
                    <a16:creationId xmlns:a16="http://schemas.microsoft.com/office/drawing/2014/main" id="{71D6B34C-F448-D335-1A2E-D45D616D2EDD}"/>
                  </a:ext>
                </a:extLst>
              </p:cNvPr>
              <p:cNvGrpSpPr/>
              <p:nvPr/>
            </p:nvGrpSpPr>
            <p:grpSpPr>
              <a:xfrm>
                <a:off x="6549447" y="2710198"/>
                <a:ext cx="82971" cy="82971"/>
                <a:chOff x="7236884" y="3439984"/>
                <a:chExt cx="108000" cy="108000"/>
              </a:xfrm>
            </p:grpSpPr>
            <p:cxnSp>
              <p:nvCxnSpPr>
                <p:cNvPr id="307" name="Straight Connector 306">
                  <a:extLst>
                    <a:ext uri="{FF2B5EF4-FFF2-40B4-BE49-F238E27FC236}">
                      <a16:creationId xmlns:a16="http://schemas.microsoft.com/office/drawing/2014/main" id="{F3DD172D-1D95-4EA4-0DCC-E7248CEB18C5}"/>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308" name="Straight Connector 307">
                  <a:extLst>
                    <a:ext uri="{FF2B5EF4-FFF2-40B4-BE49-F238E27FC236}">
                      <a16:creationId xmlns:a16="http://schemas.microsoft.com/office/drawing/2014/main" id="{8AACE457-FDC0-143B-F46E-FCB319B75DF9}"/>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309" name="Group 308">
                <a:extLst>
                  <a:ext uri="{FF2B5EF4-FFF2-40B4-BE49-F238E27FC236}">
                    <a16:creationId xmlns:a16="http://schemas.microsoft.com/office/drawing/2014/main" id="{9EB0C129-CD61-826A-1BA0-6FD92895CE71}"/>
                  </a:ext>
                </a:extLst>
              </p:cNvPr>
              <p:cNvGrpSpPr/>
              <p:nvPr/>
            </p:nvGrpSpPr>
            <p:grpSpPr>
              <a:xfrm>
                <a:off x="6530398" y="2699666"/>
                <a:ext cx="82971" cy="82971"/>
                <a:chOff x="7236884" y="3439984"/>
                <a:chExt cx="108000" cy="108000"/>
              </a:xfrm>
            </p:grpSpPr>
            <p:cxnSp>
              <p:nvCxnSpPr>
                <p:cNvPr id="310" name="Straight Connector 309">
                  <a:extLst>
                    <a:ext uri="{FF2B5EF4-FFF2-40B4-BE49-F238E27FC236}">
                      <a16:creationId xmlns:a16="http://schemas.microsoft.com/office/drawing/2014/main" id="{752C3014-D74A-E1BC-78AF-22B5935BD379}"/>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311" name="Straight Connector 310">
                  <a:extLst>
                    <a:ext uri="{FF2B5EF4-FFF2-40B4-BE49-F238E27FC236}">
                      <a16:creationId xmlns:a16="http://schemas.microsoft.com/office/drawing/2014/main" id="{8A915861-3FDE-47A0-B978-60AC90E2C782}"/>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312" name="Group 311">
                <a:extLst>
                  <a:ext uri="{FF2B5EF4-FFF2-40B4-BE49-F238E27FC236}">
                    <a16:creationId xmlns:a16="http://schemas.microsoft.com/office/drawing/2014/main" id="{6D766582-7044-D16C-6749-EA7269E6CEBB}"/>
                  </a:ext>
                </a:extLst>
              </p:cNvPr>
              <p:cNvGrpSpPr/>
              <p:nvPr/>
            </p:nvGrpSpPr>
            <p:grpSpPr>
              <a:xfrm>
                <a:off x="6511348" y="2690142"/>
                <a:ext cx="82971" cy="82971"/>
                <a:chOff x="7236884" y="3439984"/>
                <a:chExt cx="108000" cy="108000"/>
              </a:xfrm>
            </p:grpSpPr>
            <p:cxnSp>
              <p:nvCxnSpPr>
                <p:cNvPr id="313" name="Straight Connector 312">
                  <a:extLst>
                    <a:ext uri="{FF2B5EF4-FFF2-40B4-BE49-F238E27FC236}">
                      <a16:creationId xmlns:a16="http://schemas.microsoft.com/office/drawing/2014/main" id="{BA09966A-140A-BE77-ABB4-0A99C05F77A7}"/>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314" name="Straight Connector 313">
                  <a:extLst>
                    <a:ext uri="{FF2B5EF4-FFF2-40B4-BE49-F238E27FC236}">
                      <a16:creationId xmlns:a16="http://schemas.microsoft.com/office/drawing/2014/main" id="{B7E40AD7-4E50-48F6-E09D-DBA1F890E7BA}"/>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315" name="Group 314">
                <a:extLst>
                  <a:ext uri="{FF2B5EF4-FFF2-40B4-BE49-F238E27FC236}">
                    <a16:creationId xmlns:a16="http://schemas.microsoft.com/office/drawing/2014/main" id="{7ECE09AA-B41A-F6C6-E9F7-25D6203DC6AB}"/>
                  </a:ext>
                </a:extLst>
              </p:cNvPr>
              <p:cNvGrpSpPr/>
              <p:nvPr/>
            </p:nvGrpSpPr>
            <p:grpSpPr>
              <a:xfrm>
                <a:off x="6494679" y="2678237"/>
                <a:ext cx="82971" cy="82971"/>
                <a:chOff x="7236884" y="3439984"/>
                <a:chExt cx="108000" cy="108000"/>
              </a:xfrm>
            </p:grpSpPr>
            <p:cxnSp>
              <p:nvCxnSpPr>
                <p:cNvPr id="316" name="Straight Connector 315">
                  <a:extLst>
                    <a:ext uri="{FF2B5EF4-FFF2-40B4-BE49-F238E27FC236}">
                      <a16:creationId xmlns:a16="http://schemas.microsoft.com/office/drawing/2014/main" id="{B7D87AEC-CF7C-06C1-FC04-299B1F6E39CC}"/>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317" name="Straight Connector 316">
                  <a:extLst>
                    <a:ext uri="{FF2B5EF4-FFF2-40B4-BE49-F238E27FC236}">
                      <a16:creationId xmlns:a16="http://schemas.microsoft.com/office/drawing/2014/main" id="{4C243FA9-7CA6-AADC-0DB1-6BE2EDC229E0}"/>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318" name="Group 317">
                <a:extLst>
                  <a:ext uri="{FF2B5EF4-FFF2-40B4-BE49-F238E27FC236}">
                    <a16:creationId xmlns:a16="http://schemas.microsoft.com/office/drawing/2014/main" id="{E670ADBE-E40E-FC1A-F679-199D3470BDF2}"/>
                  </a:ext>
                </a:extLst>
              </p:cNvPr>
              <p:cNvGrpSpPr/>
              <p:nvPr/>
            </p:nvGrpSpPr>
            <p:grpSpPr>
              <a:xfrm>
                <a:off x="6475627" y="2666329"/>
                <a:ext cx="82971" cy="82971"/>
                <a:chOff x="7236884" y="3439984"/>
                <a:chExt cx="108000" cy="108000"/>
              </a:xfrm>
            </p:grpSpPr>
            <p:cxnSp>
              <p:nvCxnSpPr>
                <p:cNvPr id="319" name="Straight Connector 318">
                  <a:extLst>
                    <a:ext uri="{FF2B5EF4-FFF2-40B4-BE49-F238E27FC236}">
                      <a16:creationId xmlns:a16="http://schemas.microsoft.com/office/drawing/2014/main" id="{62F77BF6-D43F-6B14-91A6-3037886D3D27}"/>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320" name="Straight Connector 319">
                  <a:extLst>
                    <a:ext uri="{FF2B5EF4-FFF2-40B4-BE49-F238E27FC236}">
                      <a16:creationId xmlns:a16="http://schemas.microsoft.com/office/drawing/2014/main" id="{A76B6380-694A-6BE7-61DB-2439671D2B99}"/>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321" name="Group 320">
                <a:extLst>
                  <a:ext uri="{FF2B5EF4-FFF2-40B4-BE49-F238E27FC236}">
                    <a16:creationId xmlns:a16="http://schemas.microsoft.com/office/drawing/2014/main" id="{9FF0851A-9AB8-D5AA-DC59-64AB29B37247}"/>
                  </a:ext>
                </a:extLst>
              </p:cNvPr>
              <p:cNvGrpSpPr/>
              <p:nvPr/>
            </p:nvGrpSpPr>
            <p:grpSpPr>
              <a:xfrm>
                <a:off x="6456578" y="2652040"/>
                <a:ext cx="82971" cy="82971"/>
                <a:chOff x="7236884" y="3439984"/>
                <a:chExt cx="108000" cy="108000"/>
              </a:xfrm>
            </p:grpSpPr>
            <p:cxnSp>
              <p:nvCxnSpPr>
                <p:cNvPr id="322" name="Straight Connector 321">
                  <a:extLst>
                    <a:ext uri="{FF2B5EF4-FFF2-40B4-BE49-F238E27FC236}">
                      <a16:creationId xmlns:a16="http://schemas.microsoft.com/office/drawing/2014/main" id="{58E9DF06-4872-DACA-C514-5DDDEFF619A7}"/>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323" name="Straight Connector 322">
                  <a:extLst>
                    <a:ext uri="{FF2B5EF4-FFF2-40B4-BE49-F238E27FC236}">
                      <a16:creationId xmlns:a16="http://schemas.microsoft.com/office/drawing/2014/main" id="{AF71124A-5B5B-C972-0028-76CD87E6153F}"/>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324" name="Group 323">
                <a:extLst>
                  <a:ext uri="{FF2B5EF4-FFF2-40B4-BE49-F238E27FC236}">
                    <a16:creationId xmlns:a16="http://schemas.microsoft.com/office/drawing/2014/main" id="{CD858098-4AD8-98A3-ECE8-683F3C06AA47}"/>
                  </a:ext>
                </a:extLst>
              </p:cNvPr>
              <p:cNvGrpSpPr/>
              <p:nvPr/>
            </p:nvGrpSpPr>
            <p:grpSpPr>
              <a:xfrm>
                <a:off x="6437528" y="2637752"/>
                <a:ext cx="82971" cy="82971"/>
                <a:chOff x="7236884" y="3439984"/>
                <a:chExt cx="108000" cy="108000"/>
              </a:xfrm>
            </p:grpSpPr>
            <p:cxnSp>
              <p:nvCxnSpPr>
                <p:cNvPr id="325" name="Straight Connector 324">
                  <a:extLst>
                    <a:ext uri="{FF2B5EF4-FFF2-40B4-BE49-F238E27FC236}">
                      <a16:creationId xmlns:a16="http://schemas.microsoft.com/office/drawing/2014/main" id="{D4EAFC2F-73B0-68A6-E96B-F49294563801}"/>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326" name="Straight Connector 325">
                  <a:extLst>
                    <a:ext uri="{FF2B5EF4-FFF2-40B4-BE49-F238E27FC236}">
                      <a16:creationId xmlns:a16="http://schemas.microsoft.com/office/drawing/2014/main" id="{BC1B0AFD-3A03-8C6A-A546-C83CBBBD01A0}"/>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327" name="Group 326">
                <a:extLst>
                  <a:ext uri="{FF2B5EF4-FFF2-40B4-BE49-F238E27FC236}">
                    <a16:creationId xmlns:a16="http://schemas.microsoft.com/office/drawing/2014/main" id="{FB4726A1-CBEA-350E-CB0C-73DAFF7EDD6A}"/>
                  </a:ext>
                </a:extLst>
              </p:cNvPr>
              <p:cNvGrpSpPr/>
              <p:nvPr/>
            </p:nvGrpSpPr>
            <p:grpSpPr>
              <a:xfrm>
                <a:off x="6423239" y="2623465"/>
                <a:ext cx="82971" cy="82971"/>
                <a:chOff x="7236884" y="3439984"/>
                <a:chExt cx="108000" cy="108000"/>
              </a:xfrm>
            </p:grpSpPr>
            <p:cxnSp>
              <p:nvCxnSpPr>
                <p:cNvPr id="328" name="Straight Connector 327">
                  <a:extLst>
                    <a:ext uri="{FF2B5EF4-FFF2-40B4-BE49-F238E27FC236}">
                      <a16:creationId xmlns:a16="http://schemas.microsoft.com/office/drawing/2014/main" id="{FF348544-474E-9041-0E4C-A75D796A6735}"/>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329" name="Straight Connector 328">
                  <a:extLst>
                    <a:ext uri="{FF2B5EF4-FFF2-40B4-BE49-F238E27FC236}">
                      <a16:creationId xmlns:a16="http://schemas.microsoft.com/office/drawing/2014/main" id="{893EEE6A-70CE-909B-E6FE-B09C9AF78209}"/>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330" name="Group 329">
                <a:extLst>
                  <a:ext uri="{FF2B5EF4-FFF2-40B4-BE49-F238E27FC236}">
                    <a16:creationId xmlns:a16="http://schemas.microsoft.com/office/drawing/2014/main" id="{88E1F42C-AD9C-1D18-289E-095423123F4E}"/>
                  </a:ext>
                </a:extLst>
              </p:cNvPr>
              <p:cNvGrpSpPr/>
              <p:nvPr/>
            </p:nvGrpSpPr>
            <p:grpSpPr>
              <a:xfrm>
                <a:off x="6413714" y="2623465"/>
                <a:ext cx="82971" cy="82971"/>
                <a:chOff x="7236884" y="3439984"/>
                <a:chExt cx="108000" cy="108000"/>
              </a:xfrm>
            </p:grpSpPr>
            <p:cxnSp>
              <p:nvCxnSpPr>
                <p:cNvPr id="331" name="Straight Connector 330">
                  <a:extLst>
                    <a:ext uri="{FF2B5EF4-FFF2-40B4-BE49-F238E27FC236}">
                      <a16:creationId xmlns:a16="http://schemas.microsoft.com/office/drawing/2014/main" id="{366E578C-61A8-CA93-B0B2-576DAF62ECC6}"/>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332" name="Straight Connector 331">
                  <a:extLst>
                    <a:ext uri="{FF2B5EF4-FFF2-40B4-BE49-F238E27FC236}">
                      <a16:creationId xmlns:a16="http://schemas.microsoft.com/office/drawing/2014/main" id="{8AAB9328-1DF7-FAFE-C374-781D872B9478}"/>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333" name="Group 332">
                <a:extLst>
                  <a:ext uri="{FF2B5EF4-FFF2-40B4-BE49-F238E27FC236}">
                    <a16:creationId xmlns:a16="http://schemas.microsoft.com/office/drawing/2014/main" id="{05963B86-FAB0-DBF9-C70D-4028AFA52F7E}"/>
                  </a:ext>
                </a:extLst>
              </p:cNvPr>
              <p:cNvGrpSpPr/>
              <p:nvPr/>
            </p:nvGrpSpPr>
            <p:grpSpPr>
              <a:xfrm>
                <a:off x="6397045" y="2618703"/>
                <a:ext cx="82971" cy="82971"/>
                <a:chOff x="7236884" y="3439984"/>
                <a:chExt cx="108000" cy="108000"/>
              </a:xfrm>
            </p:grpSpPr>
            <p:cxnSp>
              <p:nvCxnSpPr>
                <p:cNvPr id="334" name="Straight Connector 333">
                  <a:extLst>
                    <a:ext uri="{FF2B5EF4-FFF2-40B4-BE49-F238E27FC236}">
                      <a16:creationId xmlns:a16="http://schemas.microsoft.com/office/drawing/2014/main" id="{0926358C-7E30-F7F5-1B7D-F2CA91326620}"/>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335" name="Straight Connector 334">
                  <a:extLst>
                    <a:ext uri="{FF2B5EF4-FFF2-40B4-BE49-F238E27FC236}">
                      <a16:creationId xmlns:a16="http://schemas.microsoft.com/office/drawing/2014/main" id="{6C02D730-3517-A253-D290-BF8729B5F9BB}"/>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336" name="Group 335">
                <a:extLst>
                  <a:ext uri="{FF2B5EF4-FFF2-40B4-BE49-F238E27FC236}">
                    <a16:creationId xmlns:a16="http://schemas.microsoft.com/office/drawing/2014/main" id="{B889E949-5AF2-21C4-ABE3-727DCB9FFE1F}"/>
                  </a:ext>
                </a:extLst>
              </p:cNvPr>
              <p:cNvGrpSpPr/>
              <p:nvPr/>
            </p:nvGrpSpPr>
            <p:grpSpPr>
              <a:xfrm>
                <a:off x="6380375" y="2618703"/>
                <a:ext cx="82971" cy="82971"/>
                <a:chOff x="7236884" y="3439984"/>
                <a:chExt cx="108000" cy="108000"/>
              </a:xfrm>
            </p:grpSpPr>
            <p:cxnSp>
              <p:nvCxnSpPr>
                <p:cNvPr id="337" name="Straight Connector 336">
                  <a:extLst>
                    <a:ext uri="{FF2B5EF4-FFF2-40B4-BE49-F238E27FC236}">
                      <a16:creationId xmlns:a16="http://schemas.microsoft.com/office/drawing/2014/main" id="{BA2AD767-8BA1-C128-B49B-1E384EA20B99}"/>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338" name="Straight Connector 337">
                  <a:extLst>
                    <a:ext uri="{FF2B5EF4-FFF2-40B4-BE49-F238E27FC236}">
                      <a16:creationId xmlns:a16="http://schemas.microsoft.com/office/drawing/2014/main" id="{C3EE8F8F-C60E-0B85-8552-7F0100E3FD0F}"/>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339" name="Group 338">
                <a:extLst>
                  <a:ext uri="{FF2B5EF4-FFF2-40B4-BE49-F238E27FC236}">
                    <a16:creationId xmlns:a16="http://schemas.microsoft.com/office/drawing/2014/main" id="{362644B3-6BD4-3516-FA47-53E3FEC6D347}"/>
                  </a:ext>
                </a:extLst>
              </p:cNvPr>
              <p:cNvGrpSpPr/>
              <p:nvPr/>
            </p:nvGrpSpPr>
            <p:grpSpPr>
              <a:xfrm>
                <a:off x="6366087" y="2618703"/>
                <a:ext cx="82971" cy="82971"/>
                <a:chOff x="7236884" y="3439984"/>
                <a:chExt cx="108000" cy="108000"/>
              </a:xfrm>
            </p:grpSpPr>
            <p:cxnSp>
              <p:nvCxnSpPr>
                <p:cNvPr id="340" name="Straight Connector 339">
                  <a:extLst>
                    <a:ext uri="{FF2B5EF4-FFF2-40B4-BE49-F238E27FC236}">
                      <a16:creationId xmlns:a16="http://schemas.microsoft.com/office/drawing/2014/main" id="{CE3F37E1-7825-E2A2-9321-2CE1D61E1A67}"/>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341" name="Straight Connector 340">
                  <a:extLst>
                    <a:ext uri="{FF2B5EF4-FFF2-40B4-BE49-F238E27FC236}">
                      <a16:creationId xmlns:a16="http://schemas.microsoft.com/office/drawing/2014/main" id="{989CF992-5A7C-356E-ECD9-7007739E1B5F}"/>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342" name="Group 341">
                <a:extLst>
                  <a:ext uri="{FF2B5EF4-FFF2-40B4-BE49-F238E27FC236}">
                    <a16:creationId xmlns:a16="http://schemas.microsoft.com/office/drawing/2014/main" id="{5F5383C1-F000-CF66-5D40-142B7B20927C}"/>
                  </a:ext>
                </a:extLst>
              </p:cNvPr>
              <p:cNvGrpSpPr/>
              <p:nvPr/>
            </p:nvGrpSpPr>
            <p:grpSpPr>
              <a:xfrm>
                <a:off x="6349418" y="2616322"/>
                <a:ext cx="82971" cy="82971"/>
                <a:chOff x="7236884" y="3439984"/>
                <a:chExt cx="108000" cy="108000"/>
              </a:xfrm>
            </p:grpSpPr>
            <p:cxnSp>
              <p:nvCxnSpPr>
                <p:cNvPr id="343" name="Straight Connector 342">
                  <a:extLst>
                    <a:ext uri="{FF2B5EF4-FFF2-40B4-BE49-F238E27FC236}">
                      <a16:creationId xmlns:a16="http://schemas.microsoft.com/office/drawing/2014/main" id="{0D38494A-80EB-A424-6CB1-6022B46C8030}"/>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344" name="Straight Connector 343">
                  <a:extLst>
                    <a:ext uri="{FF2B5EF4-FFF2-40B4-BE49-F238E27FC236}">
                      <a16:creationId xmlns:a16="http://schemas.microsoft.com/office/drawing/2014/main" id="{E67CE29E-8069-18BA-2376-00C1F39C82A8}"/>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345" name="Group 344">
                <a:extLst>
                  <a:ext uri="{FF2B5EF4-FFF2-40B4-BE49-F238E27FC236}">
                    <a16:creationId xmlns:a16="http://schemas.microsoft.com/office/drawing/2014/main" id="{BF333FE9-B03B-6E35-F9E3-EF3C4DFB99C2}"/>
                  </a:ext>
                </a:extLst>
              </p:cNvPr>
              <p:cNvGrpSpPr/>
              <p:nvPr/>
            </p:nvGrpSpPr>
            <p:grpSpPr>
              <a:xfrm>
                <a:off x="6332750" y="2609177"/>
                <a:ext cx="82971" cy="82971"/>
                <a:chOff x="7236884" y="3439984"/>
                <a:chExt cx="108000" cy="108000"/>
              </a:xfrm>
            </p:grpSpPr>
            <p:cxnSp>
              <p:nvCxnSpPr>
                <p:cNvPr id="346" name="Straight Connector 345">
                  <a:extLst>
                    <a:ext uri="{FF2B5EF4-FFF2-40B4-BE49-F238E27FC236}">
                      <a16:creationId xmlns:a16="http://schemas.microsoft.com/office/drawing/2014/main" id="{13869044-CE88-EC3D-0706-9D0FAD2105E1}"/>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347" name="Straight Connector 346">
                  <a:extLst>
                    <a:ext uri="{FF2B5EF4-FFF2-40B4-BE49-F238E27FC236}">
                      <a16:creationId xmlns:a16="http://schemas.microsoft.com/office/drawing/2014/main" id="{A0B3A144-7BD2-149F-A222-E9492D22823B}"/>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348" name="Group 347">
                <a:extLst>
                  <a:ext uri="{FF2B5EF4-FFF2-40B4-BE49-F238E27FC236}">
                    <a16:creationId xmlns:a16="http://schemas.microsoft.com/office/drawing/2014/main" id="{E1DFE820-B295-CF55-DE37-5CB5A27ED45D}"/>
                  </a:ext>
                </a:extLst>
              </p:cNvPr>
              <p:cNvGrpSpPr/>
              <p:nvPr/>
            </p:nvGrpSpPr>
            <p:grpSpPr>
              <a:xfrm>
                <a:off x="6316082" y="2602034"/>
                <a:ext cx="82971" cy="82971"/>
                <a:chOff x="7236884" y="3439984"/>
                <a:chExt cx="108000" cy="108000"/>
              </a:xfrm>
            </p:grpSpPr>
            <p:cxnSp>
              <p:nvCxnSpPr>
                <p:cNvPr id="349" name="Straight Connector 348">
                  <a:extLst>
                    <a:ext uri="{FF2B5EF4-FFF2-40B4-BE49-F238E27FC236}">
                      <a16:creationId xmlns:a16="http://schemas.microsoft.com/office/drawing/2014/main" id="{C8DA874F-9B1C-2044-A2BE-F690666D70F8}"/>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350" name="Straight Connector 349">
                  <a:extLst>
                    <a:ext uri="{FF2B5EF4-FFF2-40B4-BE49-F238E27FC236}">
                      <a16:creationId xmlns:a16="http://schemas.microsoft.com/office/drawing/2014/main" id="{ADCC4F89-7453-53BF-83E8-D1900D98C4E6}"/>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351" name="Group 350">
                <a:extLst>
                  <a:ext uri="{FF2B5EF4-FFF2-40B4-BE49-F238E27FC236}">
                    <a16:creationId xmlns:a16="http://schemas.microsoft.com/office/drawing/2014/main" id="{9B20951F-3600-DBA6-EAAB-B34A35A02C7A}"/>
                  </a:ext>
                </a:extLst>
              </p:cNvPr>
              <p:cNvGrpSpPr/>
              <p:nvPr/>
            </p:nvGrpSpPr>
            <p:grpSpPr>
              <a:xfrm>
                <a:off x="6301794" y="2592510"/>
                <a:ext cx="82971" cy="82971"/>
                <a:chOff x="7236884" y="3439984"/>
                <a:chExt cx="108000" cy="108000"/>
              </a:xfrm>
            </p:grpSpPr>
            <p:cxnSp>
              <p:nvCxnSpPr>
                <p:cNvPr id="352" name="Straight Connector 351">
                  <a:extLst>
                    <a:ext uri="{FF2B5EF4-FFF2-40B4-BE49-F238E27FC236}">
                      <a16:creationId xmlns:a16="http://schemas.microsoft.com/office/drawing/2014/main" id="{872C2191-7671-A323-591D-F0707075D46B}"/>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353" name="Straight Connector 352">
                  <a:extLst>
                    <a:ext uri="{FF2B5EF4-FFF2-40B4-BE49-F238E27FC236}">
                      <a16:creationId xmlns:a16="http://schemas.microsoft.com/office/drawing/2014/main" id="{8B6D479E-CB49-CB29-4A3E-C22C343086A3}"/>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354" name="Group 353">
                <a:extLst>
                  <a:ext uri="{FF2B5EF4-FFF2-40B4-BE49-F238E27FC236}">
                    <a16:creationId xmlns:a16="http://schemas.microsoft.com/office/drawing/2014/main" id="{3E0D5D9E-5D90-99B1-6C1A-449D73A1B231}"/>
                  </a:ext>
                </a:extLst>
              </p:cNvPr>
              <p:cNvGrpSpPr/>
              <p:nvPr/>
            </p:nvGrpSpPr>
            <p:grpSpPr>
              <a:xfrm>
                <a:off x="6285125" y="2585367"/>
                <a:ext cx="82971" cy="82971"/>
                <a:chOff x="7236884" y="3439984"/>
                <a:chExt cx="108000" cy="108000"/>
              </a:xfrm>
            </p:grpSpPr>
            <p:cxnSp>
              <p:nvCxnSpPr>
                <p:cNvPr id="355" name="Straight Connector 354">
                  <a:extLst>
                    <a:ext uri="{FF2B5EF4-FFF2-40B4-BE49-F238E27FC236}">
                      <a16:creationId xmlns:a16="http://schemas.microsoft.com/office/drawing/2014/main" id="{A1611AAE-FC7B-5800-E059-84009D71F7FD}"/>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356" name="Straight Connector 355">
                  <a:extLst>
                    <a:ext uri="{FF2B5EF4-FFF2-40B4-BE49-F238E27FC236}">
                      <a16:creationId xmlns:a16="http://schemas.microsoft.com/office/drawing/2014/main" id="{9307AFBB-A2E2-CA76-A263-A50F9B8D0335}"/>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357" name="Group 356">
                <a:extLst>
                  <a:ext uri="{FF2B5EF4-FFF2-40B4-BE49-F238E27FC236}">
                    <a16:creationId xmlns:a16="http://schemas.microsoft.com/office/drawing/2014/main" id="{D96E9170-143A-7667-6E5A-CFEA2D8BB1C8}"/>
                  </a:ext>
                </a:extLst>
              </p:cNvPr>
              <p:cNvGrpSpPr/>
              <p:nvPr/>
            </p:nvGrpSpPr>
            <p:grpSpPr>
              <a:xfrm>
                <a:off x="6268456" y="2585367"/>
                <a:ext cx="82971" cy="82971"/>
                <a:chOff x="7236884" y="3439984"/>
                <a:chExt cx="108000" cy="108000"/>
              </a:xfrm>
            </p:grpSpPr>
            <p:cxnSp>
              <p:nvCxnSpPr>
                <p:cNvPr id="358" name="Straight Connector 357">
                  <a:extLst>
                    <a:ext uri="{FF2B5EF4-FFF2-40B4-BE49-F238E27FC236}">
                      <a16:creationId xmlns:a16="http://schemas.microsoft.com/office/drawing/2014/main" id="{D2BCCF5D-1BF5-D74E-BFF0-F51831B1B766}"/>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359" name="Straight Connector 358">
                  <a:extLst>
                    <a:ext uri="{FF2B5EF4-FFF2-40B4-BE49-F238E27FC236}">
                      <a16:creationId xmlns:a16="http://schemas.microsoft.com/office/drawing/2014/main" id="{E346AE01-F2D3-77D3-F9B6-6223F31E9018}"/>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360" name="Group 359">
                <a:extLst>
                  <a:ext uri="{FF2B5EF4-FFF2-40B4-BE49-F238E27FC236}">
                    <a16:creationId xmlns:a16="http://schemas.microsoft.com/office/drawing/2014/main" id="{8C85FB97-9ED9-871D-64DB-7F1FA11677C4}"/>
                  </a:ext>
                </a:extLst>
              </p:cNvPr>
              <p:cNvGrpSpPr/>
              <p:nvPr/>
            </p:nvGrpSpPr>
            <p:grpSpPr>
              <a:xfrm>
                <a:off x="6251787" y="2585367"/>
                <a:ext cx="82971" cy="82971"/>
                <a:chOff x="7236884" y="3439984"/>
                <a:chExt cx="108000" cy="108000"/>
              </a:xfrm>
            </p:grpSpPr>
            <p:cxnSp>
              <p:nvCxnSpPr>
                <p:cNvPr id="361" name="Straight Connector 360">
                  <a:extLst>
                    <a:ext uri="{FF2B5EF4-FFF2-40B4-BE49-F238E27FC236}">
                      <a16:creationId xmlns:a16="http://schemas.microsoft.com/office/drawing/2014/main" id="{9FC1B060-4F7F-AD43-8630-38CABDFEC00E}"/>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362" name="Straight Connector 361">
                  <a:extLst>
                    <a:ext uri="{FF2B5EF4-FFF2-40B4-BE49-F238E27FC236}">
                      <a16:creationId xmlns:a16="http://schemas.microsoft.com/office/drawing/2014/main" id="{291BBDC6-3ED9-4EEB-5CF6-A9E20BE06E7B}"/>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363" name="Group 362">
                <a:extLst>
                  <a:ext uri="{FF2B5EF4-FFF2-40B4-BE49-F238E27FC236}">
                    <a16:creationId xmlns:a16="http://schemas.microsoft.com/office/drawing/2014/main" id="{B7A8EFD4-A1D3-64AB-DA9F-E1CE2513A1DC}"/>
                  </a:ext>
                </a:extLst>
              </p:cNvPr>
              <p:cNvGrpSpPr/>
              <p:nvPr/>
            </p:nvGrpSpPr>
            <p:grpSpPr>
              <a:xfrm>
                <a:off x="6235119" y="2582986"/>
                <a:ext cx="82971" cy="82971"/>
                <a:chOff x="7236884" y="3439984"/>
                <a:chExt cx="108000" cy="108000"/>
              </a:xfrm>
            </p:grpSpPr>
            <p:cxnSp>
              <p:nvCxnSpPr>
                <p:cNvPr id="364" name="Straight Connector 363">
                  <a:extLst>
                    <a:ext uri="{FF2B5EF4-FFF2-40B4-BE49-F238E27FC236}">
                      <a16:creationId xmlns:a16="http://schemas.microsoft.com/office/drawing/2014/main" id="{7ED52273-7561-189A-C795-553485B61010}"/>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365" name="Straight Connector 364">
                  <a:extLst>
                    <a:ext uri="{FF2B5EF4-FFF2-40B4-BE49-F238E27FC236}">
                      <a16:creationId xmlns:a16="http://schemas.microsoft.com/office/drawing/2014/main" id="{4D2883F2-9251-6842-237A-C40418E666AE}"/>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366" name="Group 365">
                <a:extLst>
                  <a:ext uri="{FF2B5EF4-FFF2-40B4-BE49-F238E27FC236}">
                    <a16:creationId xmlns:a16="http://schemas.microsoft.com/office/drawing/2014/main" id="{990CF800-1C48-B8ED-4693-04364A4AFA2A}"/>
                  </a:ext>
                </a:extLst>
              </p:cNvPr>
              <p:cNvGrpSpPr/>
              <p:nvPr/>
            </p:nvGrpSpPr>
            <p:grpSpPr>
              <a:xfrm>
                <a:off x="6218451" y="2575843"/>
                <a:ext cx="82971" cy="82971"/>
                <a:chOff x="7236884" y="3439984"/>
                <a:chExt cx="108000" cy="108000"/>
              </a:xfrm>
            </p:grpSpPr>
            <p:cxnSp>
              <p:nvCxnSpPr>
                <p:cNvPr id="367" name="Straight Connector 366">
                  <a:extLst>
                    <a:ext uri="{FF2B5EF4-FFF2-40B4-BE49-F238E27FC236}">
                      <a16:creationId xmlns:a16="http://schemas.microsoft.com/office/drawing/2014/main" id="{03749CD1-3FCB-B8DF-AAF0-7EC482F5AA55}"/>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368" name="Straight Connector 367">
                  <a:extLst>
                    <a:ext uri="{FF2B5EF4-FFF2-40B4-BE49-F238E27FC236}">
                      <a16:creationId xmlns:a16="http://schemas.microsoft.com/office/drawing/2014/main" id="{B2B15740-4959-AC92-BDD4-0DC578CA16FC}"/>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369" name="Group 368">
                <a:extLst>
                  <a:ext uri="{FF2B5EF4-FFF2-40B4-BE49-F238E27FC236}">
                    <a16:creationId xmlns:a16="http://schemas.microsoft.com/office/drawing/2014/main" id="{5932A00A-0E6A-EF77-728E-7AEF13668B23}"/>
                  </a:ext>
                </a:extLst>
              </p:cNvPr>
              <p:cNvGrpSpPr/>
              <p:nvPr/>
            </p:nvGrpSpPr>
            <p:grpSpPr>
              <a:xfrm>
                <a:off x="6201782" y="2566319"/>
                <a:ext cx="82971" cy="82971"/>
                <a:chOff x="7236884" y="3439984"/>
                <a:chExt cx="108000" cy="108000"/>
              </a:xfrm>
            </p:grpSpPr>
            <p:cxnSp>
              <p:nvCxnSpPr>
                <p:cNvPr id="370" name="Straight Connector 369">
                  <a:extLst>
                    <a:ext uri="{FF2B5EF4-FFF2-40B4-BE49-F238E27FC236}">
                      <a16:creationId xmlns:a16="http://schemas.microsoft.com/office/drawing/2014/main" id="{EF2417F1-760B-5B4E-DD72-53EE855A11C5}"/>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371" name="Straight Connector 370">
                  <a:extLst>
                    <a:ext uri="{FF2B5EF4-FFF2-40B4-BE49-F238E27FC236}">
                      <a16:creationId xmlns:a16="http://schemas.microsoft.com/office/drawing/2014/main" id="{26601D95-575E-9C42-9B95-704E3C301055}"/>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372" name="Group 371">
                <a:extLst>
                  <a:ext uri="{FF2B5EF4-FFF2-40B4-BE49-F238E27FC236}">
                    <a16:creationId xmlns:a16="http://schemas.microsoft.com/office/drawing/2014/main" id="{3F1BDE08-52A2-EDF6-B689-1D0A6434F4C1}"/>
                  </a:ext>
                </a:extLst>
              </p:cNvPr>
              <p:cNvGrpSpPr/>
              <p:nvPr/>
            </p:nvGrpSpPr>
            <p:grpSpPr>
              <a:xfrm>
                <a:off x="6185113" y="2559176"/>
                <a:ext cx="82971" cy="82971"/>
                <a:chOff x="7236884" y="3439984"/>
                <a:chExt cx="108000" cy="108000"/>
              </a:xfrm>
            </p:grpSpPr>
            <p:cxnSp>
              <p:nvCxnSpPr>
                <p:cNvPr id="373" name="Straight Connector 372">
                  <a:extLst>
                    <a:ext uri="{FF2B5EF4-FFF2-40B4-BE49-F238E27FC236}">
                      <a16:creationId xmlns:a16="http://schemas.microsoft.com/office/drawing/2014/main" id="{3D6632FF-79A9-3442-A4F6-3E9F348EE181}"/>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374" name="Straight Connector 373">
                  <a:extLst>
                    <a:ext uri="{FF2B5EF4-FFF2-40B4-BE49-F238E27FC236}">
                      <a16:creationId xmlns:a16="http://schemas.microsoft.com/office/drawing/2014/main" id="{F3E180CA-938F-E797-B6EE-EEC18D88E06C}"/>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375" name="Group 374">
                <a:extLst>
                  <a:ext uri="{FF2B5EF4-FFF2-40B4-BE49-F238E27FC236}">
                    <a16:creationId xmlns:a16="http://schemas.microsoft.com/office/drawing/2014/main" id="{7ECC0590-EE80-35A1-0142-3538E71C9D81}"/>
                  </a:ext>
                </a:extLst>
              </p:cNvPr>
              <p:cNvGrpSpPr/>
              <p:nvPr/>
            </p:nvGrpSpPr>
            <p:grpSpPr>
              <a:xfrm>
                <a:off x="6168446" y="2552033"/>
                <a:ext cx="82971" cy="82971"/>
                <a:chOff x="7236884" y="3439984"/>
                <a:chExt cx="108000" cy="108000"/>
              </a:xfrm>
            </p:grpSpPr>
            <p:cxnSp>
              <p:nvCxnSpPr>
                <p:cNvPr id="376" name="Straight Connector 375">
                  <a:extLst>
                    <a:ext uri="{FF2B5EF4-FFF2-40B4-BE49-F238E27FC236}">
                      <a16:creationId xmlns:a16="http://schemas.microsoft.com/office/drawing/2014/main" id="{C736EDD0-7329-ADEF-20D4-3AE9D6A9B4FC}"/>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377" name="Straight Connector 376">
                  <a:extLst>
                    <a:ext uri="{FF2B5EF4-FFF2-40B4-BE49-F238E27FC236}">
                      <a16:creationId xmlns:a16="http://schemas.microsoft.com/office/drawing/2014/main" id="{9DB830D9-14DD-4F3D-DFAC-9D40407BF1C7}"/>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378" name="Group 377">
                <a:extLst>
                  <a:ext uri="{FF2B5EF4-FFF2-40B4-BE49-F238E27FC236}">
                    <a16:creationId xmlns:a16="http://schemas.microsoft.com/office/drawing/2014/main" id="{7F840C2A-76F7-1E9B-A0D2-0C4CA7034D84}"/>
                  </a:ext>
                </a:extLst>
              </p:cNvPr>
              <p:cNvGrpSpPr/>
              <p:nvPr/>
            </p:nvGrpSpPr>
            <p:grpSpPr>
              <a:xfrm>
                <a:off x="6151777" y="2547271"/>
                <a:ext cx="82971" cy="82971"/>
                <a:chOff x="7236884" y="3439984"/>
                <a:chExt cx="108000" cy="108000"/>
              </a:xfrm>
            </p:grpSpPr>
            <p:cxnSp>
              <p:nvCxnSpPr>
                <p:cNvPr id="379" name="Straight Connector 378">
                  <a:extLst>
                    <a:ext uri="{FF2B5EF4-FFF2-40B4-BE49-F238E27FC236}">
                      <a16:creationId xmlns:a16="http://schemas.microsoft.com/office/drawing/2014/main" id="{1944612F-E416-96FB-3AE2-8CAB09F3631B}"/>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380" name="Straight Connector 379">
                  <a:extLst>
                    <a:ext uri="{FF2B5EF4-FFF2-40B4-BE49-F238E27FC236}">
                      <a16:creationId xmlns:a16="http://schemas.microsoft.com/office/drawing/2014/main" id="{65AFB628-A718-DCA4-7C4E-EF19DC166F75}"/>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381" name="Group 380">
                <a:extLst>
                  <a:ext uri="{FF2B5EF4-FFF2-40B4-BE49-F238E27FC236}">
                    <a16:creationId xmlns:a16="http://schemas.microsoft.com/office/drawing/2014/main" id="{A85576EC-4E03-B0FA-4854-0B33FAC089F5}"/>
                  </a:ext>
                </a:extLst>
              </p:cNvPr>
              <p:cNvGrpSpPr/>
              <p:nvPr/>
            </p:nvGrpSpPr>
            <p:grpSpPr>
              <a:xfrm>
                <a:off x="6135108" y="2542509"/>
                <a:ext cx="82971" cy="82971"/>
                <a:chOff x="7236884" y="3439984"/>
                <a:chExt cx="108000" cy="108000"/>
              </a:xfrm>
            </p:grpSpPr>
            <p:cxnSp>
              <p:nvCxnSpPr>
                <p:cNvPr id="382" name="Straight Connector 381">
                  <a:extLst>
                    <a:ext uri="{FF2B5EF4-FFF2-40B4-BE49-F238E27FC236}">
                      <a16:creationId xmlns:a16="http://schemas.microsoft.com/office/drawing/2014/main" id="{32270FF5-5B64-EC19-38DA-1C7CDF9F2A95}"/>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383" name="Straight Connector 382">
                  <a:extLst>
                    <a:ext uri="{FF2B5EF4-FFF2-40B4-BE49-F238E27FC236}">
                      <a16:creationId xmlns:a16="http://schemas.microsoft.com/office/drawing/2014/main" id="{844B5202-9E1D-AA21-1165-AE8C5A50E260}"/>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384" name="Group 383">
                <a:extLst>
                  <a:ext uri="{FF2B5EF4-FFF2-40B4-BE49-F238E27FC236}">
                    <a16:creationId xmlns:a16="http://schemas.microsoft.com/office/drawing/2014/main" id="{0398062A-0CFA-57AC-B0EC-1F98C544FEA3}"/>
                  </a:ext>
                </a:extLst>
              </p:cNvPr>
              <p:cNvGrpSpPr/>
              <p:nvPr/>
            </p:nvGrpSpPr>
            <p:grpSpPr>
              <a:xfrm>
                <a:off x="6118439" y="2537747"/>
                <a:ext cx="82971" cy="82971"/>
                <a:chOff x="7236884" y="3439984"/>
                <a:chExt cx="108000" cy="108000"/>
              </a:xfrm>
            </p:grpSpPr>
            <p:cxnSp>
              <p:nvCxnSpPr>
                <p:cNvPr id="385" name="Straight Connector 384">
                  <a:extLst>
                    <a:ext uri="{FF2B5EF4-FFF2-40B4-BE49-F238E27FC236}">
                      <a16:creationId xmlns:a16="http://schemas.microsoft.com/office/drawing/2014/main" id="{EDB77A35-6D05-9C56-9AD6-B08C470E67CD}"/>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386" name="Straight Connector 385">
                  <a:extLst>
                    <a:ext uri="{FF2B5EF4-FFF2-40B4-BE49-F238E27FC236}">
                      <a16:creationId xmlns:a16="http://schemas.microsoft.com/office/drawing/2014/main" id="{065D7286-F816-8167-684F-69AD33EC38E0}"/>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387" name="Group 386">
                <a:extLst>
                  <a:ext uri="{FF2B5EF4-FFF2-40B4-BE49-F238E27FC236}">
                    <a16:creationId xmlns:a16="http://schemas.microsoft.com/office/drawing/2014/main" id="{8F4A6BC1-F543-3C7D-C60D-26AEBD03EF4C}"/>
                  </a:ext>
                </a:extLst>
              </p:cNvPr>
              <p:cNvGrpSpPr/>
              <p:nvPr/>
            </p:nvGrpSpPr>
            <p:grpSpPr>
              <a:xfrm>
                <a:off x="6101770" y="2530604"/>
                <a:ext cx="82971" cy="82971"/>
                <a:chOff x="7236884" y="3439984"/>
                <a:chExt cx="108000" cy="108000"/>
              </a:xfrm>
            </p:grpSpPr>
            <p:cxnSp>
              <p:nvCxnSpPr>
                <p:cNvPr id="388" name="Straight Connector 387">
                  <a:extLst>
                    <a:ext uri="{FF2B5EF4-FFF2-40B4-BE49-F238E27FC236}">
                      <a16:creationId xmlns:a16="http://schemas.microsoft.com/office/drawing/2014/main" id="{0CB2F650-B740-8EB6-908E-DB8288CBA6C7}"/>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389" name="Straight Connector 388">
                  <a:extLst>
                    <a:ext uri="{FF2B5EF4-FFF2-40B4-BE49-F238E27FC236}">
                      <a16:creationId xmlns:a16="http://schemas.microsoft.com/office/drawing/2014/main" id="{E74B8B76-0547-02A3-9D71-9A413C391E14}"/>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390" name="Group 389">
                <a:extLst>
                  <a:ext uri="{FF2B5EF4-FFF2-40B4-BE49-F238E27FC236}">
                    <a16:creationId xmlns:a16="http://schemas.microsoft.com/office/drawing/2014/main" id="{64EC2227-3E6C-3BB1-59DD-8A6FF3587E6B}"/>
                  </a:ext>
                </a:extLst>
              </p:cNvPr>
              <p:cNvGrpSpPr/>
              <p:nvPr/>
            </p:nvGrpSpPr>
            <p:grpSpPr>
              <a:xfrm>
                <a:off x="6087482" y="2523461"/>
                <a:ext cx="82971" cy="82971"/>
                <a:chOff x="7236884" y="3439984"/>
                <a:chExt cx="108000" cy="108000"/>
              </a:xfrm>
            </p:grpSpPr>
            <p:cxnSp>
              <p:nvCxnSpPr>
                <p:cNvPr id="391" name="Straight Connector 390">
                  <a:extLst>
                    <a:ext uri="{FF2B5EF4-FFF2-40B4-BE49-F238E27FC236}">
                      <a16:creationId xmlns:a16="http://schemas.microsoft.com/office/drawing/2014/main" id="{75B8AAED-D4FF-C3CE-B420-2FE191999259}"/>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392" name="Straight Connector 391">
                  <a:extLst>
                    <a:ext uri="{FF2B5EF4-FFF2-40B4-BE49-F238E27FC236}">
                      <a16:creationId xmlns:a16="http://schemas.microsoft.com/office/drawing/2014/main" id="{576BE19C-F6B9-075A-A89F-332C27CC030B}"/>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393" name="Group 392">
                <a:extLst>
                  <a:ext uri="{FF2B5EF4-FFF2-40B4-BE49-F238E27FC236}">
                    <a16:creationId xmlns:a16="http://schemas.microsoft.com/office/drawing/2014/main" id="{3C44E035-B34C-FAEF-4411-4CAE5F7375CB}"/>
                  </a:ext>
                </a:extLst>
              </p:cNvPr>
              <p:cNvGrpSpPr/>
              <p:nvPr/>
            </p:nvGrpSpPr>
            <p:grpSpPr>
              <a:xfrm>
                <a:off x="6070813" y="2523461"/>
                <a:ext cx="82971" cy="82971"/>
                <a:chOff x="7236884" y="3439984"/>
                <a:chExt cx="108000" cy="108000"/>
              </a:xfrm>
            </p:grpSpPr>
            <p:cxnSp>
              <p:nvCxnSpPr>
                <p:cNvPr id="394" name="Straight Connector 393">
                  <a:extLst>
                    <a:ext uri="{FF2B5EF4-FFF2-40B4-BE49-F238E27FC236}">
                      <a16:creationId xmlns:a16="http://schemas.microsoft.com/office/drawing/2014/main" id="{3B16A463-5CC3-81F8-744A-65538761B5D3}"/>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395" name="Straight Connector 394">
                  <a:extLst>
                    <a:ext uri="{FF2B5EF4-FFF2-40B4-BE49-F238E27FC236}">
                      <a16:creationId xmlns:a16="http://schemas.microsoft.com/office/drawing/2014/main" id="{4C0FB4DD-9A33-ECB7-B284-2F4A5DF30F09}"/>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396" name="Group 395">
                <a:extLst>
                  <a:ext uri="{FF2B5EF4-FFF2-40B4-BE49-F238E27FC236}">
                    <a16:creationId xmlns:a16="http://schemas.microsoft.com/office/drawing/2014/main" id="{ADA62FCD-5ED8-3BE7-5FE8-D2A8FD4A69D2}"/>
                  </a:ext>
                </a:extLst>
              </p:cNvPr>
              <p:cNvGrpSpPr/>
              <p:nvPr/>
            </p:nvGrpSpPr>
            <p:grpSpPr>
              <a:xfrm>
                <a:off x="6054145" y="2518699"/>
                <a:ext cx="82971" cy="82971"/>
                <a:chOff x="7236884" y="3439984"/>
                <a:chExt cx="108000" cy="108000"/>
              </a:xfrm>
            </p:grpSpPr>
            <p:cxnSp>
              <p:nvCxnSpPr>
                <p:cNvPr id="397" name="Straight Connector 396">
                  <a:extLst>
                    <a:ext uri="{FF2B5EF4-FFF2-40B4-BE49-F238E27FC236}">
                      <a16:creationId xmlns:a16="http://schemas.microsoft.com/office/drawing/2014/main" id="{C741A3C7-240E-AA85-78B1-C9B2A514D170}"/>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398" name="Straight Connector 397">
                  <a:extLst>
                    <a:ext uri="{FF2B5EF4-FFF2-40B4-BE49-F238E27FC236}">
                      <a16:creationId xmlns:a16="http://schemas.microsoft.com/office/drawing/2014/main" id="{549DF9F5-FDF0-B47B-158D-3FD88F420AF3}"/>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399" name="Group 398">
                <a:extLst>
                  <a:ext uri="{FF2B5EF4-FFF2-40B4-BE49-F238E27FC236}">
                    <a16:creationId xmlns:a16="http://schemas.microsoft.com/office/drawing/2014/main" id="{B979FDAF-5A44-EC4C-3E78-BF86667AEA56}"/>
                  </a:ext>
                </a:extLst>
              </p:cNvPr>
              <p:cNvGrpSpPr/>
              <p:nvPr/>
            </p:nvGrpSpPr>
            <p:grpSpPr>
              <a:xfrm>
                <a:off x="6037477" y="2513937"/>
                <a:ext cx="82971" cy="82971"/>
                <a:chOff x="7236884" y="3439984"/>
                <a:chExt cx="108000" cy="108000"/>
              </a:xfrm>
            </p:grpSpPr>
            <p:cxnSp>
              <p:nvCxnSpPr>
                <p:cNvPr id="400" name="Straight Connector 399">
                  <a:extLst>
                    <a:ext uri="{FF2B5EF4-FFF2-40B4-BE49-F238E27FC236}">
                      <a16:creationId xmlns:a16="http://schemas.microsoft.com/office/drawing/2014/main" id="{3D20B2DB-DA79-AAA7-A105-966901115C4B}"/>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401" name="Straight Connector 400">
                  <a:extLst>
                    <a:ext uri="{FF2B5EF4-FFF2-40B4-BE49-F238E27FC236}">
                      <a16:creationId xmlns:a16="http://schemas.microsoft.com/office/drawing/2014/main" id="{BF3309DE-0AF3-CA68-E39B-EFF1135B10B9}"/>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402" name="Group 401">
                <a:extLst>
                  <a:ext uri="{FF2B5EF4-FFF2-40B4-BE49-F238E27FC236}">
                    <a16:creationId xmlns:a16="http://schemas.microsoft.com/office/drawing/2014/main" id="{1FA9E54B-61EF-9179-6585-0142845A14C1}"/>
                  </a:ext>
                </a:extLst>
              </p:cNvPr>
              <p:cNvGrpSpPr/>
              <p:nvPr/>
            </p:nvGrpSpPr>
            <p:grpSpPr>
              <a:xfrm>
                <a:off x="6020808" y="2513937"/>
                <a:ext cx="82971" cy="82971"/>
                <a:chOff x="7236884" y="3439984"/>
                <a:chExt cx="108000" cy="108000"/>
              </a:xfrm>
            </p:grpSpPr>
            <p:cxnSp>
              <p:nvCxnSpPr>
                <p:cNvPr id="403" name="Straight Connector 402">
                  <a:extLst>
                    <a:ext uri="{FF2B5EF4-FFF2-40B4-BE49-F238E27FC236}">
                      <a16:creationId xmlns:a16="http://schemas.microsoft.com/office/drawing/2014/main" id="{C726D58A-62A5-6026-92B8-FB6A84E29DEA}"/>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404" name="Straight Connector 403">
                  <a:extLst>
                    <a:ext uri="{FF2B5EF4-FFF2-40B4-BE49-F238E27FC236}">
                      <a16:creationId xmlns:a16="http://schemas.microsoft.com/office/drawing/2014/main" id="{E592AD61-EEEE-58C1-ED70-B2918FD23B1D}"/>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405" name="Group 404">
                <a:extLst>
                  <a:ext uri="{FF2B5EF4-FFF2-40B4-BE49-F238E27FC236}">
                    <a16:creationId xmlns:a16="http://schemas.microsoft.com/office/drawing/2014/main" id="{81A49B35-D1C1-A0FE-150A-9930ECA277A0}"/>
                  </a:ext>
                </a:extLst>
              </p:cNvPr>
              <p:cNvGrpSpPr/>
              <p:nvPr/>
            </p:nvGrpSpPr>
            <p:grpSpPr>
              <a:xfrm>
                <a:off x="6006520" y="2509175"/>
                <a:ext cx="82971" cy="82971"/>
                <a:chOff x="7236884" y="3439984"/>
                <a:chExt cx="108000" cy="108000"/>
              </a:xfrm>
            </p:grpSpPr>
            <p:cxnSp>
              <p:nvCxnSpPr>
                <p:cNvPr id="406" name="Straight Connector 405">
                  <a:extLst>
                    <a:ext uri="{FF2B5EF4-FFF2-40B4-BE49-F238E27FC236}">
                      <a16:creationId xmlns:a16="http://schemas.microsoft.com/office/drawing/2014/main" id="{3B2ECAE3-DA5A-E98C-EC09-F8541934F295}"/>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407" name="Straight Connector 406">
                  <a:extLst>
                    <a:ext uri="{FF2B5EF4-FFF2-40B4-BE49-F238E27FC236}">
                      <a16:creationId xmlns:a16="http://schemas.microsoft.com/office/drawing/2014/main" id="{F7F13F53-5CA0-0137-1FEB-A33C9B27CCC8}"/>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408" name="Group 407">
                <a:extLst>
                  <a:ext uri="{FF2B5EF4-FFF2-40B4-BE49-F238E27FC236}">
                    <a16:creationId xmlns:a16="http://schemas.microsoft.com/office/drawing/2014/main" id="{DD8523D8-FF8A-58BB-EA78-A12772C69F28}"/>
                  </a:ext>
                </a:extLst>
              </p:cNvPr>
              <p:cNvGrpSpPr/>
              <p:nvPr/>
            </p:nvGrpSpPr>
            <p:grpSpPr>
              <a:xfrm>
                <a:off x="5989851" y="2499651"/>
                <a:ext cx="82971" cy="82971"/>
                <a:chOff x="7236884" y="3439984"/>
                <a:chExt cx="108000" cy="108000"/>
              </a:xfrm>
            </p:grpSpPr>
            <p:cxnSp>
              <p:nvCxnSpPr>
                <p:cNvPr id="409" name="Straight Connector 408">
                  <a:extLst>
                    <a:ext uri="{FF2B5EF4-FFF2-40B4-BE49-F238E27FC236}">
                      <a16:creationId xmlns:a16="http://schemas.microsoft.com/office/drawing/2014/main" id="{C21DC30A-7C6C-C645-688B-ED66D9673A8B}"/>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410" name="Straight Connector 409">
                  <a:extLst>
                    <a:ext uri="{FF2B5EF4-FFF2-40B4-BE49-F238E27FC236}">
                      <a16:creationId xmlns:a16="http://schemas.microsoft.com/office/drawing/2014/main" id="{D0631350-7A8C-AD0C-163B-0A52E0F43A1C}"/>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411" name="Group 410">
                <a:extLst>
                  <a:ext uri="{FF2B5EF4-FFF2-40B4-BE49-F238E27FC236}">
                    <a16:creationId xmlns:a16="http://schemas.microsoft.com/office/drawing/2014/main" id="{A637F330-7861-DF4D-E979-E0E5AF711993}"/>
                  </a:ext>
                </a:extLst>
              </p:cNvPr>
              <p:cNvGrpSpPr/>
              <p:nvPr/>
            </p:nvGrpSpPr>
            <p:grpSpPr>
              <a:xfrm>
                <a:off x="5975563" y="2478191"/>
                <a:ext cx="82971" cy="82971"/>
                <a:chOff x="7236884" y="3439984"/>
                <a:chExt cx="108000" cy="108000"/>
              </a:xfrm>
            </p:grpSpPr>
            <p:cxnSp>
              <p:nvCxnSpPr>
                <p:cNvPr id="412" name="Straight Connector 411">
                  <a:extLst>
                    <a:ext uri="{FF2B5EF4-FFF2-40B4-BE49-F238E27FC236}">
                      <a16:creationId xmlns:a16="http://schemas.microsoft.com/office/drawing/2014/main" id="{DDFCDA77-AF29-0211-A50D-3F1E9BCC8690}"/>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413" name="Straight Connector 412">
                  <a:extLst>
                    <a:ext uri="{FF2B5EF4-FFF2-40B4-BE49-F238E27FC236}">
                      <a16:creationId xmlns:a16="http://schemas.microsoft.com/office/drawing/2014/main" id="{FD8B3447-DBED-73F7-89C5-7ABF419B95AC}"/>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414" name="Group 413">
                <a:extLst>
                  <a:ext uri="{FF2B5EF4-FFF2-40B4-BE49-F238E27FC236}">
                    <a16:creationId xmlns:a16="http://schemas.microsoft.com/office/drawing/2014/main" id="{3AE99332-A603-5EC4-7F60-37464CAAE06B}"/>
                  </a:ext>
                </a:extLst>
              </p:cNvPr>
              <p:cNvGrpSpPr/>
              <p:nvPr/>
            </p:nvGrpSpPr>
            <p:grpSpPr>
              <a:xfrm>
                <a:off x="5961275" y="2478191"/>
                <a:ext cx="82971" cy="82971"/>
                <a:chOff x="7236884" y="3439984"/>
                <a:chExt cx="108000" cy="108000"/>
              </a:xfrm>
            </p:grpSpPr>
            <p:cxnSp>
              <p:nvCxnSpPr>
                <p:cNvPr id="415" name="Straight Connector 414">
                  <a:extLst>
                    <a:ext uri="{FF2B5EF4-FFF2-40B4-BE49-F238E27FC236}">
                      <a16:creationId xmlns:a16="http://schemas.microsoft.com/office/drawing/2014/main" id="{9CA6B1BB-B4EF-7708-6CFA-61B02B457EF7}"/>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416" name="Straight Connector 415">
                  <a:extLst>
                    <a:ext uri="{FF2B5EF4-FFF2-40B4-BE49-F238E27FC236}">
                      <a16:creationId xmlns:a16="http://schemas.microsoft.com/office/drawing/2014/main" id="{31D6EB57-81C2-A08C-4D14-A2D3EF7940D5}"/>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417" name="Group 416">
                <a:extLst>
                  <a:ext uri="{FF2B5EF4-FFF2-40B4-BE49-F238E27FC236}">
                    <a16:creationId xmlns:a16="http://schemas.microsoft.com/office/drawing/2014/main" id="{A6877972-B94A-463A-3D17-F23DF55520D4}"/>
                  </a:ext>
                </a:extLst>
              </p:cNvPr>
              <p:cNvGrpSpPr/>
              <p:nvPr/>
            </p:nvGrpSpPr>
            <p:grpSpPr>
              <a:xfrm>
                <a:off x="5944606" y="2471048"/>
                <a:ext cx="82971" cy="82971"/>
                <a:chOff x="7236884" y="3439984"/>
                <a:chExt cx="108000" cy="108000"/>
              </a:xfrm>
            </p:grpSpPr>
            <p:cxnSp>
              <p:nvCxnSpPr>
                <p:cNvPr id="418" name="Straight Connector 417">
                  <a:extLst>
                    <a:ext uri="{FF2B5EF4-FFF2-40B4-BE49-F238E27FC236}">
                      <a16:creationId xmlns:a16="http://schemas.microsoft.com/office/drawing/2014/main" id="{3C8EF806-AEB3-CE4D-8373-52E4C774EF96}"/>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419" name="Straight Connector 418">
                  <a:extLst>
                    <a:ext uri="{FF2B5EF4-FFF2-40B4-BE49-F238E27FC236}">
                      <a16:creationId xmlns:a16="http://schemas.microsoft.com/office/drawing/2014/main" id="{F41EFDCF-8B02-9ADC-9A0F-3A37D406759D}"/>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420" name="Group 419">
                <a:extLst>
                  <a:ext uri="{FF2B5EF4-FFF2-40B4-BE49-F238E27FC236}">
                    <a16:creationId xmlns:a16="http://schemas.microsoft.com/office/drawing/2014/main" id="{3718DA4D-EDAE-AF81-DE33-9D1F2ED4D6FA}"/>
                  </a:ext>
                </a:extLst>
              </p:cNvPr>
              <p:cNvGrpSpPr/>
              <p:nvPr/>
            </p:nvGrpSpPr>
            <p:grpSpPr>
              <a:xfrm>
                <a:off x="5927936" y="2463905"/>
                <a:ext cx="82971" cy="82971"/>
                <a:chOff x="7236884" y="3439984"/>
                <a:chExt cx="108000" cy="108000"/>
              </a:xfrm>
            </p:grpSpPr>
            <p:cxnSp>
              <p:nvCxnSpPr>
                <p:cNvPr id="421" name="Straight Connector 420">
                  <a:extLst>
                    <a:ext uri="{FF2B5EF4-FFF2-40B4-BE49-F238E27FC236}">
                      <a16:creationId xmlns:a16="http://schemas.microsoft.com/office/drawing/2014/main" id="{B52208C4-87C6-78F9-7045-EC25B9A694AC}"/>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422" name="Straight Connector 421">
                  <a:extLst>
                    <a:ext uri="{FF2B5EF4-FFF2-40B4-BE49-F238E27FC236}">
                      <a16:creationId xmlns:a16="http://schemas.microsoft.com/office/drawing/2014/main" id="{2EC24BFA-7F37-B142-4EEB-9631A7C6B958}"/>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423" name="Group 422">
                <a:extLst>
                  <a:ext uri="{FF2B5EF4-FFF2-40B4-BE49-F238E27FC236}">
                    <a16:creationId xmlns:a16="http://schemas.microsoft.com/office/drawing/2014/main" id="{6E410704-190B-F1A6-4AF7-8D2F4A263482}"/>
                  </a:ext>
                </a:extLst>
              </p:cNvPr>
              <p:cNvGrpSpPr/>
              <p:nvPr/>
            </p:nvGrpSpPr>
            <p:grpSpPr>
              <a:xfrm>
                <a:off x="5913648" y="2454381"/>
                <a:ext cx="82971" cy="82971"/>
                <a:chOff x="7236884" y="3439984"/>
                <a:chExt cx="108000" cy="108000"/>
              </a:xfrm>
            </p:grpSpPr>
            <p:cxnSp>
              <p:nvCxnSpPr>
                <p:cNvPr id="424" name="Straight Connector 423">
                  <a:extLst>
                    <a:ext uri="{FF2B5EF4-FFF2-40B4-BE49-F238E27FC236}">
                      <a16:creationId xmlns:a16="http://schemas.microsoft.com/office/drawing/2014/main" id="{F88E8552-3B8D-3654-634F-92E208C5153F}"/>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425" name="Straight Connector 424">
                  <a:extLst>
                    <a:ext uri="{FF2B5EF4-FFF2-40B4-BE49-F238E27FC236}">
                      <a16:creationId xmlns:a16="http://schemas.microsoft.com/office/drawing/2014/main" id="{ECA1B615-FF09-A229-CBD0-6027F4A7FEEC}"/>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426" name="Group 425">
                <a:extLst>
                  <a:ext uri="{FF2B5EF4-FFF2-40B4-BE49-F238E27FC236}">
                    <a16:creationId xmlns:a16="http://schemas.microsoft.com/office/drawing/2014/main" id="{1BD80F12-8CE1-59D9-8936-8154571BB724}"/>
                  </a:ext>
                </a:extLst>
              </p:cNvPr>
              <p:cNvGrpSpPr/>
              <p:nvPr/>
            </p:nvGrpSpPr>
            <p:grpSpPr>
              <a:xfrm>
                <a:off x="5899359" y="2452000"/>
                <a:ext cx="82971" cy="82971"/>
                <a:chOff x="7236884" y="3439984"/>
                <a:chExt cx="108000" cy="108000"/>
              </a:xfrm>
            </p:grpSpPr>
            <p:cxnSp>
              <p:nvCxnSpPr>
                <p:cNvPr id="427" name="Straight Connector 426">
                  <a:extLst>
                    <a:ext uri="{FF2B5EF4-FFF2-40B4-BE49-F238E27FC236}">
                      <a16:creationId xmlns:a16="http://schemas.microsoft.com/office/drawing/2014/main" id="{DBFA770E-847E-6205-E648-7514C022BF79}"/>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428" name="Straight Connector 427">
                  <a:extLst>
                    <a:ext uri="{FF2B5EF4-FFF2-40B4-BE49-F238E27FC236}">
                      <a16:creationId xmlns:a16="http://schemas.microsoft.com/office/drawing/2014/main" id="{82598A46-6D98-11CC-84D1-EA742BF1F211}"/>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429" name="Group 428">
                <a:extLst>
                  <a:ext uri="{FF2B5EF4-FFF2-40B4-BE49-F238E27FC236}">
                    <a16:creationId xmlns:a16="http://schemas.microsoft.com/office/drawing/2014/main" id="{534DF8D2-E343-14B5-A19E-54F6E2BB1D6E}"/>
                  </a:ext>
                </a:extLst>
              </p:cNvPr>
              <p:cNvGrpSpPr/>
              <p:nvPr/>
            </p:nvGrpSpPr>
            <p:grpSpPr>
              <a:xfrm>
                <a:off x="5882690" y="2444857"/>
                <a:ext cx="82971" cy="82971"/>
                <a:chOff x="7236884" y="3439984"/>
                <a:chExt cx="108000" cy="108000"/>
              </a:xfrm>
            </p:grpSpPr>
            <p:cxnSp>
              <p:nvCxnSpPr>
                <p:cNvPr id="430" name="Straight Connector 429">
                  <a:extLst>
                    <a:ext uri="{FF2B5EF4-FFF2-40B4-BE49-F238E27FC236}">
                      <a16:creationId xmlns:a16="http://schemas.microsoft.com/office/drawing/2014/main" id="{49567950-5CA5-C152-FC24-854465521BA2}"/>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431" name="Straight Connector 430">
                  <a:extLst>
                    <a:ext uri="{FF2B5EF4-FFF2-40B4-BE49-F238E27FC236}">
                      <a16:creationId xmlns:a16="http://schemas.microsoft.com/office/drawing/2014/main" id="{2C0EE872-306D-68D3-0D6A-A69B9BBDCCC6}"/>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432" name="Group 431">
                <a:extLst>
                  <a:ext uri="{FF2B5EF4-FFF2-40B4-BE49-F238E27FC236}">
                    <a16:creationId xmlns:a16="http://schemas.microsoft.com/office/drawing/2014/main" id="{AD522502-D882-B36C-B414-1E64C5A03E17}"/>
                  </a:ext>
                </a:extLst>
              </p:cNvPr>
              <p:cNvGrpSpPr/>
              <p:nvPr/>
            </p:nvGrpSpPr>
            <p:grpSpPr>
              <a:xfrm>
                <a:off x="5866020" y="2440095"/>
                <a:ext cx="82971" cy="82971"/>
                <a:chOff x="7236884" y="3439984"/>
                <a:chExt cx="108000" cy="108000"/>
              </a:xfrm>
            </p:grpSpPr>
            <p:cxnSp>
              <p:nvCxnSpPr>
                <p:cNvPr id="433" name="Straight Connector 432">
                  <a:extLst>
                    <a:ext uri="{FF2B5EF4-FFF2-40B4-BE49-F238E27FC236}">
                      <a16:creationId xmlns:a16="http://schemas.microsoft.com/office/drawing/2014/main" id="{D50923B5-E5A1-7A87-4165-825741C5C611}"/>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434" name="Straight Connector 433">
                  <a:extLst>
                    <a:ext uri="{FF2B5EF4-FFF2-40B4-BE49-F238E27FC236}">
                      <a16:creationId xmlns:a16="http://schemas.microsoft.com/office/drawing/2014/main" id="{1A547EAF-1CE8-FBB0-EB9B-88FB8AE8BD1B}"/>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435" name="Group 434">
                <a:extLst>
                  <a:ext uri="{FF2B5EF4-FFF2-40B4-BE49-F238E27FC236}">
                    <a16:creationId xmlns:a16="http://schemas.microsoft.com/office/drawing/2014/main" id="{9C2DF9A4-2B76-3EC6-2B08-85E58443A9E0}"/>
                  </a:ext>
                </a:extLst>
              </p:cNvPr>
              <p:cNvGrpSpPr/>
              <p:nvPr/>
            </p:nvGrpSpPr>
            <p:grpSpPr>
              <a:xfrm>
                <a:off x="5849351" y="2437714"/>
                <a:ext cx="82971" cy="82971"/>
                <a:chOff x="7236884" y="3439984"/>
                <a:chExt cx="108000" cy="108000"/>
              </a:xfrm>
            </p:grpSpPr>
            <p:cxnSp>
              <p:nvCxnSpPr>
                <p:cNvPr id="436" name="Straight Connector 435">
                  <a:extLst>
                    <a:ext uri="{FF2B5EF4-FFF2-40B4-BE49-F238E27FC236}">
                      <a16:creationId xmlns:a16="http://schemas.microsoft.com/office/drawing/2014/main" id="{5FA26938-0A28-6826-A1DB-5C4DECA4AFFD}"/>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437" name="Straight Connector 436">
                  <a:extLst>
                    <a:ext uri="{FF2B5EF4-FFF2-40B4-BE49-F238E27FC236}">
                      <a16:creationId xmlns:a16="http://schemas.microsoft.com/office/drawing/2014/main" id="{1ACA45A6-9CAE-182B-7284-2C32DF291088}"/>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438" name="Group 437">
                <a:extLst>
                  <a:ext uri="{FF2B5EF4-FFF2-40B4-BE49-F238E27FC236}">
                    <a16:creationId xmlns:a16="http://schemas.microsoft.com/office/drawing/2014/main" id="{C36A41AD-DDBE-F2BA-E1D3-41B8FCC92E2A}"/>
                  </a:ext>
                </a:extLst>
              </p:cNvPr>
              <p:cNvGrpSpPr/>
              <p:nvPr/>
            </p:nvGrpSpPr>
            <p:grpSpPr>
              <a:xfrm>
                <a:off x="5832682" y="2432952"/>
                <a:ext cx="82971" cy="82971"/>
                <a:chOff x="7236884" y="3439984"/>
                <a:chExt cx="108000" cy="108000"/>
              </a:xfrm>
            </p:grpSpPr>
            <p:cxnSp>
              <p:nvCxnSpPr>
                <p:cNvPr id="439" name="Straight Connector 438">
                  <a:extLst>
                    <a:ext uri="{FF2B5EF4-FFF2-40B4-BE49-F238E27FC236}">
                      <a16:creationId xmlns:a16="http://schemas.microsoft.com/office/drawing/2014/main" id="{5FAE00EF-BAB9-A97D-E944-13EE92E8D5A5}"/>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440" name="Straight Connector 439">
                  <a:extLst>
                    <a:ext uri="{FF2B5EF4-FFF2-40B4-BE49-F238E27FC236}">
                      <a16:creationId xmlns:a16="http://schemas.microsoft.com/office/drawing/2014/main" id="{226CD841-543D-7173-F196-56737F0A7C9F}"/>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441" name="Group 440">
                <a:extLst>
                  <a:ext uri="{FF2B5EF4-FFF2-40B4-BE49-F238E27FC236}">
                    <a16:creationId xmlns:a16="http://schemas.microsoft.com/office/drawing/2014/main" id="{9A95AB2D-E6DC-3B7E-936E-A22C28B05D10}"/>
                  </a:ext>
                </a:extLst>
              </p:cNvPr>
              <p:cNvGrpSpPr/>
              <p:nvPr/>
            </p:nvGrpSpPr>
            <p:grpSpPr>
              <a:xfrm>
                <a:off x="5816013" y="2430571"/>
                <a:ext cx="82971" cy="82971"/>
                <a:chOff x="7236884" y="3439984"/>
                <a:chExt cx="108000" cy="108000"/>
              </a:xfrm>
            </p:grpSpPr>
            <p:cxnSp>
              <p:nvCxnSpPr>
                <p:cNvPr id="442" name="Straight Connector 441">
                  <a:extLst>
                    <a:ext uri="{FF2B5EF4-FFF2-40B4-BE49-F238E27FC236}">
                      <a16:creationId xmlns:a16="http://schemas.microsoft.com/office/drawing/2014/main" id="{78826209-2AD8-32C6-1D34-A542DB234639}"/>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443" name="Straight Connector 442">
                  <a:extLst>
                    <a:ext uri="{FF2B5EF4-FFF2-40B4-BE49-F238E27FC236}">
                      <a16:creationId xmlns:a16="http://schemas.microsoft.com/office/drawing/2014/main" id="{4D03C90E-08A2-39AB-2580-0BB72F3051E1}"/>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444" name="Group 443">
                <a:extLst>
                  <a:ext uri="{FF2B5EF4-FFF2-40B4-BE49-F238E27FC236}">
                    <a16:creationId xmlns:a16="http://schemas.microsoft.com/office/drawing/2014/main" id="{C61B0E20-31B4-A4DE-C65B-1815466C1835}"/>
                  </a:ext>
                </a:extLst>
              </p:cNvPr>
              <p:cNvGrpSpPr/>
              <p:nvPr/>
            </p:nvGrpSpPr>
            <p:grpSpPr>
              <a:xfrm>
                <a:off x="5799344" y="2423428"/>
                <a:ext cx="82971" cy="82971"/>
                <a:chOff x="7236884" y="3439984"/>
                <a:chExt cx="108000" cy="108000"/>
              </a:xfrm>
            </p:grpSpPr>
            <p:cxnSp>
              <p:nvCxnSpPr>
                <p:cNvPr id="445" name="Straight Connector 444">
                  <a:extLst>
                    <a:ext uri="{FF2B5EF4-FFF2-40B4-BE49-F238E27FC236}">
                      <a16:creationId xmlns:a16="http://schemas.microsoft.com/office/drawing/2014/main" id="{C2ACCAAB-435C-D205-6CEB-7E9793089A2B}"/>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446" name="Straight Connector 445">
                  <a:extLst>
                    <a:ext uri="{FF2B5EF4-FFF2-40B4-BE49-F238E27FC236}">
                      <a16:creationId xmlns:a16="http://schemas.microsoft.com/office/drawing/2014/main" id="{DF9506E8-0D4E-DCAB-7A9D-37DC5F6CD034}"/>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447" name="Group 446">
                <a:extLst>
                  <a:ext uri="{FF2B5EF4-FFF2-40B4-BE49-F238E27FC236}">
                    <a16:creationId xmlns:a16="http://schemas.microsoft.com/office/drawing/2014/main" id="{3F5C8F4E-FE4B-2677-27DC-BC67BA25CD98}"/>
                  </a:ext>
                </a:extLst>
              </p:cNvPr>
              <p:cNvGrpSpPr/>
              <p:nvPr/>
            </p:nvGrpSpPr>
            <p:grpSpPr>
              <a:xfrm>
                <a:off x="5782674" y="2416285"/>
                <a:ext cx="82971" cy="82971"/>
                <a:chOff x="7236884" y="3439984"/>
                <a:chExt cx="108000" cy="108000"/>
              </a:xfrm>
            </p:grpSpPr>
            <p:cxnSp>
              <p:nvCxnSpPr>
                <p:cNvPr id="448" name="Straight Connector 447">
                  <a:extLst>
                    <a:ext uri="{FF2B5EF4-FFF2-40B4-BE49-F238E27FC236}">
                      <a16:creationId xmlns:a16="http://schemas.microsoft.com/office/drawing/2014/main" id="{92EBDEFC-FE72-681F-7132-335AFC735AA2}"/>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449" name="Straight Connector 448">
                  <a:extLst>
                    <a:ext uri="{FF2B5EF4-FFF2-40B4-BE49-F238E27FC236}">
                      <a16:creationId xmlns:a16="http://schemas.microsoft.com/office/drawing/2014/main" id="{E7D193F9-60A4-4243-4EAA-1F888A3FC1A5}"/>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450" name="Group 449">
                <a:extLst>
                  <a:ext uri="{FF2B5EF4-FFF2-40B4-BE49-F238E27FC236}">
                    <a16:creationId xmlns:a16="http://schemas.microsoft.com/office/drawing/2014/main" id="{6AF3AC74-BEFC-310C-8E92-4EE89538E191}"/>
                  </a:ext>
                </a:extLst>
              </p:cNvPr>
              <p:cNvGrpSpPr/>
              <p:nvPr/>
            </p:nvGrpSpPr>
            <p:grpSpPr>
              <a:xfrm>
                <a:off x="5766005" y="2406761"/>
                <a:ext cx="82971" cy="82971"/>
                <a:chOff x="7236884" y="3439984"/>
                <a:chExt cx="108000" cy="108000"/>
              </a:xfrm>
            </p:grpSpPr>
            <p:cxnSp>
              <p:nvCxnSpPr>
                <p:cNvPr id="451" name="Straight Connector 450">
                  <a:extLst>
                    <a:ext uri="{FF2B5EF4-FFF2-40B4-BE49-F238E27FC236}">
                      <a16:creationId xmlns:a16="http://schemas.microsoft.com/office/drawing/2014/main" id="{5D065557-0EF7-4974-AA89-10CD9889D607}"/>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452" name="Straight Connector 451">
                  <a:extLst>
                    <a:ext uri="{FF2B5EF4-FFF2-40B4-BE49-F238E27FC236}">
                      <a16:creationId xmlns:a16="http://schemas.microsoft.com/office/drawing/2014/main" id="{2B2F3752-3576-A834-30CC-D66A72D446C6}"/>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453" name="Group 452">
                <a:extLst>
                  <a:ext uri="{FF2B5EF4-FFF2-40B4-BE49-F238E27FC236}">
                    <a16:creationId xmlns:a16="http://schemas.microsoft.com/office/drawing/2014/main" id="{4C7925EB-A2E8-3FEC-C3C8-3158ECB2E3D8}"/>
                  </a:ext>
                </a:extLst>
              </p:cNvPr>
              <p:cNvGrpSpPr/>
              <p:nvPr/>
            </p:nvGrpSpPr>
            <p:grpSpPr>
              <a:xfrm>
                <a:off x="5749336" y="2399618"/>
                <a:ext cx="82971" cy="82971"/>
                <a:chOff x="7236884" y="3439984"/>
                <a:chExt cx="108000" cy="108000"/>
              </a:xfrm>
            </p:grpSpPr>
            <p:cxnSp>
              <p:nvCxnSpPr>
                <p:cNvPr id="454" name="Straight Connector 453">
                  <a:extLst>
                    <a:ext uri="{FF2B5EF4-FFF2-40B4-BE49-F238E27FC236}">
                      <a16:creationId xmlns:a16="http://schemas.microsoft.com/office/drawing/2014/main" id="{921265FD-F989-359B-F15C-64D1109C8025}"/>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455" name="Straight Connector 454">
                  <a:extLst>
                    <a:ext uri="{FF2B5EF4-FFF2-40B4-BE49-F238E27FC236}">
                      <a16:creationId xmlns:a16="http://schemas.microsoft.com/office/drawing/2014/main" id="{902929E9-0885-646A-C4A4-3D3EAB94BF23}"/>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456" name="Group 455">
                <a:extLst>
                  <a:ext uri="{FF2B5EF4-FFF2-40B4-BE49-F238E27FC236}">
                    <a16:creationId xmlns:a16="http://schemas.microsoft.com/office/drawing/2014/main" id="{A23F4700-9267-4585-8981-3E96F2ABEC62}"/>
                  </a:ext>
                </a:extLst>
              </p:cNvPr>
              <p:cNvGrpSpPr/>
              <p:nvPr/>
            </p:nvGrpSpPr>
            <p:grpSpPr>
              <a:xfrm>
                <a:off x="5732667" y="2392475"/>
                <a:ext cx="82971" cy="82971"/>
                <a:chOff x="7236884" y="3439984"/>
                <a:chExt cx="108000" cy="108000"/>
              </a:xfrm>
            </p:grpSpPr>
            <p:cxnSp>
              <p:nvCxnSpPr>
                <p:cNvPr id="457" name="Straight Connector 456">
                  <a:extLst>
                    <a:ext uri="{FF2B5EF4-FFF2-40B4-BE49-F238E27FC236}">
                      <a16:creationId xmlns:a16="http://schemas.microsoft.com/office/drawing/2014/main" id="{5792C852-6166-D08F-6A17-DD3181C6F338}"/>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458" name="Straight Connector 457">
                  <a:extLst>
                    <a:ext uri="{FF2B5EF4-FFF2-40B4-BE49-F238E27FC236}">
                      <a16:creationId xmlns:a16="http://schemas.microsoft.com/office/drawing/2014/main" id="{7ED11FDA-48A2-6CEB-00AF-14E1E922341D}"/>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459" name="Group 458">
                <a:extLst>
                  <a:ext uri="{FF2B5EF4-FFF2-40B4-BE49-F238E27FC236}">
                    <a16:creationId xmlns:a16="http://schemas.microsoft.com/office/drawing/2014/main" id="{72375F46-A92A-F639-FC17-89CAD1DD60C6}"/>
                  </a:ext>
                </a:extLst>
              </p:cNvPr>
              <p:cNvGrpSpPr/>
              <p:nvPr/>
            </p:nvGrpSpPr>
            <p:grpSpPr>
              <a:xfrm>
                <a:off x="5715997" y="2390094"/>
                <a:ext cx="82971" cy="82971"/>
                <a:chOff x="7236884" y="3439984"/>
                <a:chExt cx="108000" cy="108000"/>
              </a:xfrm>
            </p:grpSpPr>
            <p:cxnSp>
              <p:nvCxnSpPr>
                <p:cNvPr id="460" name="Straight Connector 459">
                  <a:extLst>
                    <a:ext uri="{FF2B5EF4-FFF2-40B4-BE49-F238E27FC236}">
                      <a16:creationId xmlns:a16="http://schemas.microsoft.com/office/drawing/2014/main" id="{86D23AC1-B299-0C2E-042B-02B5EB2480EB}"/>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461" name="Straight Connector 460">
                  <a:extLst>
                    <a:ext uri="{FF2B5EF4-FFF2-40B4-BE49-F238E27FC236}">
                      <a16:creationId xmlns:a16="http://schemas.microsoft.com/office/drawing/2014/main" id="{D226E257-8D4E-9976-01BC-5A7CB291DFBB}"/>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462" name="Group 461">
                <a:extLst>
                  <a:ext uri="{FF2B5EF4-FFF2-40B4-BE49-F238E27FC236}">
                    <a16:creationId xmlns:a16="http://schemas.microsoft.com/office/drawing/2014/main" id="{E645EA35-1249-0CC1-A9C2-C129625312D4}"/>
                  </a:ext>
                </a:extLst>
              </p:cNvPr>
              <p:cNvGrpSpPr/>
              <p:nvPr/>
            </p:nvGrpSpPr>
            <p:grpSpPr>
              <a:xfrm>
                <a:off x="5699329" y="2390094"/>
                <a:ext cx="82971" cy="82971"/>
                <a:chOff x="7236884" y="3439984"/>
                <a:chExt cx="108000" cy="108000"/>
              </a:xfrm>
            </p:grpSpPr>
            <p:cxnSp>
              <p:nvCxnSpPr>
                <p:cNvPr id="463" name="Straight Connector 462">
                  <a:extLst>
                    <a:ext uri="{FF2B5EF4-FFF2-40B4-BE49-F238E27FC236}">
                      <a16:creationId xmlns:a16="http://schemas.microsoft.com/office/drawing/2014/main" id="{0CD1DC55-E27C-4037-4247-CF5CB35AB13B}"/>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464" name="Straight Connector 463">
                  <a:extLst>
                    <a:ext uri="{FF2B5EF4-FFF2-40B4-BE49-F238E27FC236}">
                      <a16:creationId xmlns:a16="http://schemas.microsoft.com/office/drawing/2014/main" id="{0116338C-2B2A-0764-32C3-24C525454F08}"/>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465" name="Group 464">
                <a:extLst>
                  <a:ext uri="{FF2B5EF4-FFF2-40B4-BE49-F238E27FC236}">
                    <a16:creationId xmlns:a16="http://schemas.microsoft.com/office/drawing/2014/main" id="{9561AB32-3622-A160-4316-8D625C5E40ED}"/>
                  </a:ext>
                </a:extLst>
              </p:cNvPr>
              <p:cNvGrpSpPr/>
              <p:nvPr/>
            </p:nvGrpSpPr>
            <p:grpSpPr>
              <a:xfrm>
                <a:off x="5682660" y="2390094"/>
                <a:ext cx="82971" cy="82971"/>
                <a:chOff x="7236884" y="3439984"/>
                <a:chExt cx="108000" cy="108000"/>
              </a:xfrm>
            </p:grpSpPr>
            <p:cxnSp>
              <p:nvCxnSpPr>
                <p:cNvPr id="466" name="Straight Connector 465">
                  <a:extLst>
                    <a:ext uri="{FF2B5EF4-FFF2-40B4-BE49-F238E27FC236}">
                      <a16:creationId xmlns:a16="http://schemas.microsoft.com/office/drawing/2014/main" id="{B0E1C37A-2A07-F31E-1D45-100BEA1032F9}"/>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467" name="Straight Connector 466">
                  <a:extLst>
                    <a:ext uri="{FF2B5EF4-FFF2-40B4-BE49-F238E27FC236}">
                      <a16:creationId xmlns:a16="http://schemas.microsoft.com/office/drawing/2014/main" id="{24CEFE11-AC8D-634F-12E8-4CE1D0ADFD88}"/>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468" name="Group 467">
                <a:extLst>
                  <a:ext uri="{FF2B5EF4-FFF2-40B4-BE49-F238E27FC236}">
                    <a16:creationId xmlns:a16="http://schemas.microsoft.com/office/drawing/2014/main" id="{C6C5CB42-EE1D-50E9-7CFD-EE5017FF75A8}"/>
                  </a:ext>
                </a:extLst>
              </p:cNvPr>
              <p:cNvGrpSpPr/>
              <p:nvPr/>
            </p:nvGrpSpPr>
            <p:grpSpPr>
              <a:xfrm>
                <a:off x="5665989" y="2380570"/>
                <a:ext cx="82971" cy="82971"/>
                <a:chOff x="7236884" y="3439984"/>
                <a:chExt cx="108000" cy="108000"/>
              </a:xfrm>
            </p:grpSpPr>
            <p:cxnSp>
              <p:nvCxnSpPr>
                <p:cNvPr id="469" name="Straight Connector 468">
                  <a:extLst>
                    <a:ext uri="{FF2B5EF4-FFF2-40B4-BE49-F238E27FC236}">
                      <a16:creationId xmlns:a16="http://schemas.microsoft.com/office/drawing/2014/main" id="{E7FE12E4-27E8-1D66-6620-29ECE6742EAC}"/>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470" name="Straight Connector 469">
                  <a:extLst>
                    <a:ext uri="{FF2B5EF4-FFF2-40B4-BE49-F238E27FC236}">
                      <a16:creationId xmlns:a16="http://schemas.microsoft.com/office/drawing/2014/main" id="{CBEFF918-9775-FA21-BD2F-D650042A366B}"/>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471" name="Group 470">
                <a:extLst>
                  <a:ext uri="{FF2B5EF4-FFF2-40B4-BE49-F238E27FC236}">
                    <a16:creationId xmlns:a16="http://schemas.microsoft.com/office/drawing/2014/main" id="{1C516092-8D02-FDAE-4313-B07FA8B68C56}"/>
                  </a:ext>
                </a:extLst>
              </p:cNvPr>
              <p:cNvGrpSpPr/>
              <p:nvPr/>
            </p:nvGrpSpPr>
            <p:grpSpPr>
              <a:xfrm>
                <a:off x="5649320" y="2375808"/>
                <a:ext cx="82971" cy="82971"/>
                <a:chOff x="7236884" y="3439984"/>
                <a:chExt cx="108000" cy="108000"/>
              </a:xfrm>
            </p:grpSpPr>
            <p:cxnSp>
              <p:nvCxnSpPr>
                <p:cNvPr id="472" name="Straight Connector 471">
                  <a:extLst>
                    <a:ext uri="{FF2B5EF4-FFF2-40B4-BE49-F238E27FC236}">
                      <a16:creationId xmlns:a16="http://schemas.microsoft.com/office/drawing/2014/main" id="{4CEC1F22-3CD6-9BF8-A614-A577F7F50EC8}"/>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473" name="Straight Connector 472">
                  <a:extLst>
                    <a:ext uri="{FF2B5EF4-FFF2-40B4-BE49-F238E27FC236}">
                      <a16:creationId xmlns:a16="http://schemas.microsoft.com/office/drawing/2014/main" id="{59B345E6-FA07-0035-46FC-EDB0FFBE9BE9}"/>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474" name="Group 473">
                <a:extLst>
                  <a:ext uri="{FF2B5EF4-FFF2-40B4-BE49-F238E27FC236}">
                    <a16:creationId xmlns:a16="http://schemas.microsoft.com/office/drawing/2014/main" id="{0A679E8F-C292-FB60-A96C-7A0C54BEEB8D}"/>
                  </a:ext>
                </a:extLst>
              </p:cNvPr>
              <p:cNvGrpSpPr/>
              <p:nvPr/>
            </p:nvGrpSpPr>
            <p:grpSpPr>
              <a:xfrm>
                <a:off x="5632649" y="2363903"/>
                <a:ext cx="82971" cy="82971"/>
                <a:chOff x="7236884" y="3439984"/>
                <a:chExt cx="108000" cy="108000"/>
              </a:xfrm>
            </p:grpSpPr>
            <p:cxnSp>
              <p:nvCxnSpPr>
                <p:cNvPr id="475" name="Straight Connector 474">
                  <a:extLst>
                    <a:ext uri="{FF2B5EF4-FFF2-40B4-BE49-F238E27FC236}">
                      <a16:creationId xmlns:a16="http://schemas.microsoft.com/office/drawing/2014/main" id="{9753F24A-422F-36DB-3031-5CC376AFE643}"/>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476" name="Straight Connector 475">
                  <a:extLst>
                    <a:ext uri="{FF2B5EF4-FFF2-40B4-BE49-F238E27FC236}">
                      <a16:creationId xmlns:a16="http://schemas.microsoft.com/office/drawing/2014/main" id="{E85AA6A9-4A78-2B8D-F8EB-C801E9D81F9A}"/>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477" name="Group 476">
                <a:extLst>
                  <a:ext uri="{FF2B5EF4-FFF2-40B4-BE49-F238E27FC236}">
                    <a16:creationId xmlns:a16="http://schemas.microsoft.com/office/drawing/2014/main" id="{6B7EFBF9-E37C-44B9-06A6-2B13FA6947C3}"/>
                  </a:ext>
                </a:extLst>
              </p:cNvPr>
              <p:cNvGrpSpPr/>
              <p:nvPr/>
            </p:nvGrpSpPr>
            <p:grpSpPr>
              <a:xfrm>
                <a:off x="5615980" y="2361522"/>
                <a:ext cx="82971" cy="82971"/>
                <a:chOff x="7236884" y="3439984"/>
                <a:chExt cx="108000" cy="108000"/>
              </a:xfrm>
            </p:grpSpPr>
            <p:cxnSp>
              <p:nvCxnSpPr>
                <p:cNvPr id="478" name="Straight Connector 477">
                  <a:extLst>
                    <a:ext uri="{FF2B5EF4-FFF2-40B4-BE49-F238E27FC236}">
                      <a16:creationId xmlns:a16="http://schemas.microsoft.com/office/drawing/2014/main" id="{5A7CB693-71FF-D65E-48D9-9C56FC0FA5C6}"/>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479" name="Straight Connector 478">
                  <a:extLst>
                    <a:ext uri="{FF2B5EF4-FFF2-40B4-BE49-F238E27FC236}">
                      <a16:creationId xmlns:a16="http://schemas.microsoft.com/office/drawing/2014/main" id="{BD4662B6-7F04-DD8F-79FE-108453FEC87A}"/>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480" name="Group 479">
                <a:extLst>
                  <a:ext uri="{FF2B5EF4-FFF2-40B4-BE49-F238E27FC236}">
                    <a16:creationId xmlns:a16="http://schemas.microsoft.com/office/drawing/2014/main" id="{FF634A6B-88B1-1AF2-A82E-8A8DD0BB69AD}"/>
                  </a:ext>
                </a:extLst>
              </p:cNvPr>
              <p:cNvGrpSpPr/>
              <p:nvPr/>
            </p:nvGrpSpPr>
            <p:grpSpPr>
              <a:xfrm>
                <a:off x="5599309" y="2349617"/>
                <a:ext cx="82971" cy="82971"/>
                <a:chOff x="7236884" y="3439984"/>
                <a:chExt cx="108000" cy="108000"/>
              </a:xfrm>
            </p:grpSpPr>
            <p:cxnSp>
              <p:nvCxnSpPr>
                <p:cNvPr id="481" name="Straight Connector 480">
                  <a:extLst>
                    <a:ext uri="{FF2B5EF4-FFF2-40B4-BE49-F238E27FC236}">
                      <a16:creationId xmlns:a16="http://schemas.microsoft.com/office/drawing/2014/main" id="{436356AC-A7D1-D799-3560-F535FD65717F}"/>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482" name="Straight Connector 481">
                  <a:extLst>
                    <a:ext uri="{FF2B5EF4-FFF2-40B4-BE49-F238E27FC236}">
                      <a16:creationId xmlns:a16="http://schemas.microsoft.com/office/drawing/2014/main" id="{B548D7F6-948A-E00E-F589-AAED07BACFA4}"/>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483" name="Group 482">
                <a:extLst>
                  <a:ext uri="{FF2B5EF4-FFF2-40B4-BE49-F238E27FC236}">
                    <a16:creationId xmlns:a16="http://schemas.microsoft.com/office/drawing/2014/main" id="{277C3CDC-59A8-3357-DA89-8FD306194882}"/>
                  </a:ext>
                </a:extLst>
              </p:cNvPr>
              <p:cNvGrpSpPr/>
              <p:nvPr/>
            </p:nvGrpSpPr>
            <p:grpSpPr>
              <a:xfrm>
                <a:off x="5582639" y="2342474"/>
                <a:ext cx="82971" cy="82971"/>
                <a:chOff x="7236884" y="3439984"/>
                <a:chExt cx="108000" cy="108000"/>
              </a:xfrm>
            </p:grpSpPr>
            <p:cxnSp>
              <p:nvCxnSpPr>
                <p:cNvPr id="484" name="Straight Connector 483">
                  <a:extLst>
                    <a:ext uri="{FF2B5EF4-FFF2-40B4-BE49-F238E27FC236}">
                      <a16:creationId xmlns:a16="http://schemas.microsoft.com/office/drawing/2014/main" id="{B2E0C07D-5208-CFE0-2173-1837E705D98E}"/>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485" name="Straight Connector 484">
                  <a:extLst>
                    <a:ext uri="{FF2B5EF4-FFF2-40B4-BE49-F238E27FC236}">
                      <a16:creationId xmlns:a16="http://schemas.microsoft.com/office/drawing/2014/main" id="{9F307B02-BCD8-3225-A049-82FFC8171522}"/>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486" name="Group 485">
                <a:extLst>
                  <a:ext uri="{FF2B5EF4-FFF2-40B4-BE49-F238E27FC236}">
                    <a16:creationId xmlns:a16="http://schemas.microsoft.com/office/drawing/2014/main" id="{42EEF5EB-CB93-F75C-D789-B5F86FE5E331}"/>
                  </a:ext>
                </a:extLst>
              </p:cNvPr>
              <p:cNvGrpSpPr/>
              <p:nvPr/>
            </p:nvGrpSpPr>
            <p:grpSpPr>
              <a:xfrm>
                <a:off x="5565969" y="2335331"/>
                <a:ext cx="82971" cy="82971"/>
                <a:chOff x="7236884" y="3439984"/>
                <a:chExt cx="108000" cy="108000"/>
              </a:xfrm>
            </p:grpSpPr>
            <p:cxnSp>
              <p:nvCxnSpPr>
                <p:cNvPr id="487" name="Straight Connector 486">
                  <a:extLst>
                    <a:ext uri="{FF2B5EF4-FFF2-40B4-BE49-F238E27FC236}">
                      <a16:creationId xmlns:a16="http://schemas.microsoft.com/office/drawing/2014/main" id="{176FD22D-01E9-4D92-A3E5-6E8FA235F807}"/>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488" name="Straight Connector 487">
                  <a:extLst>
                    <a:ext uri="{FF2B5EF4-FFF2-40B4-BE49-F238E27FC236}">
                      <a16:creationId xmlns:a16="http://schemas.microsoft.com/office/drawing/2014/main" id="{141DD723-B081-3C33-8903-B3A6B045620B}"/>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489" name="Group 488">
                <a:extLst>
                  <a:ext uri="{FF2B5EF4-FFF2-40B4-BE49-F238E27FC236}">
                    <a16:creationId xmlns:a16="http://schemas.microsoft.com/office/drawing/2014/main" id="{535A47B2-5E39-22B1-DFE4-1C8F01FE534C}"/>
                  </a:ext>
                </a:extLst>
              </p:cNvPr>
              <p:cNvGrpSpPr/>
              <p:nvPr/>
            </p:nvGrpSpPr>
            <p:grpSpPr>
              <a:xfrm>
                <a:off x="5556444" y="2335331"/>
                <a:ext cx="82971" cy="82971"/>
                <a:chOff x="7236884" y="3439984"/>
                <a:chExt cx="108000" cy="108000"/>
              </a:xfrm>
            </p:grpSpPr>
            <p:cxnSp>
              <p:nvCxnSpPr>
                <p:cNvPr id="490" name="Straight Connector 489">
                  <a:extLst>
                    <a:ext uri="{FF2B5EF4-FFF2-40B4-BE49-F238E27FC236}">
                      <a16:creationId xmlns:a16="http://schemas.microsoft.com/office/drawing/2014/main" id="{2F561898-BA58-9BD5-FF9D-766DC35F4928}"/>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491" name="Straight Connector 490">
                  <a:extLst>
                    <a:ext uri="{FF2B5EF4-FFF2-40B4-BE49-F238E27FC236}">
                      <a16:creationId xmlns:a16="http://schemas.microsoft.com/office/drawing/2014/main" id="{A1F7CA8B-8547-FA44-1D51-8784FD924CAD}"/>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492" name="Group 491">
                <a:extLst>
                  <a:ext uri="{FF2B5EF4-FFF2-40B4-BE49-F238E27FC236}">
                    <a16:creationId xmlns:a16="http://schemas.microsoft.com/office/drawing/2014/main" id="{2F746FEB-1901-0750-B72E-F537268DB59F}"/>
                  </a:ext>
                </a:extLst>
              </p:cNvPr>
              <p:cNvGrpSpPr/>
              <p:nvPr/>
            </p:nvGrpSpPr>
            <p:grpSpPr>
              <a:xfrm>
                <a:off x="5539775" y="2335331"/>
                <a:ext cx="82971" cy="82971"/>
                <a:chOff x="7236884" y="3439984"/>
                <a:chExt cx="108000" cy="108000"/>
              </a:xfrm>
            </p:grpSpPr>
            <p:cxnSp>
              <p:nvCxnSpPr>
                <p:cNvPr id="493" name="Straight Connector 492">
                  <a:extLst>
                    <a:ext uri="{FF2B5EF4-FFF2-40B4-BE49-F238E27FC236}">
                      <a16:creationId xmlns:a16="http://schemas.microsoft.com/office/drawing/2014/main" id="{2AF9CFEB-61B8-A1A4-C3E9-FED80E0D0F66}"/>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494" name="Straight Connector 493">
                  <a:extLst>
                    <a:ext uri="{FF2B5EF4-FFF2-40B4-BE49-F238E27FC236}">
                      <a16:creationId xmlns:a16="http://schemas.microsoft.com/office/drawing/2014/main" id="{31E3CE7C-2A75-1680-38AC-DEE7E85E2EA6}"/>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495" name="Group 494">
                <a:extLst>
                  <a:ext uri="{FF2B5EF4-FFF2-40B4-BE49-F238E27FC236}">
                    <a16:creationId xmlns:a16="http://schemas.microsoft.com/office/drawing/2014/main" id="{6DA080E0-D18B-0DF5-D837-0FC9C7C0ACD8}"/>
                  </a:ext>
                </a:extLst>
              </p:cNvPr>
              <p:cNvGrpSpPr/>
              <p:nvPr/>
            </p:nvGrpSpPr>
            <p:grpSpPr>
              <a:xfrm>
                <a:off x="5523106" y="2330569"/>
                <a:ext cx="82971" cy="82971"/>
                <a:chOff x="7236884" y="3439984"/>
                <a:chExt cx="108000" cy="108000"/>
              </a:xfrm>
            </p:grpSpPr>
            <p:cxnSp>
              <p:nvCxnSpPr>
                <p:cNvPr id="496" name="Straight Connector 495">
                  <a:extLst>
                    <a:ext uri="{FF2B5EF4-FFF2-40B4-BE49-F238E27FC236}">
                      <a16:creationId xmlns:a16="http://schemas.microsoft.com/office/drawing/2014/main" id="{D68B2495-2FB2-DCD4-5FCC-9A655201D2D0}"/>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497" name="Straight Connector 496">
                  <a:extLst>
                    <a:ext uri="{FF2B5EF4-FFF2-40B4-BE49-F238E27FC236}">
                      <a16:creationId xmlns:a16="http://schemas.microsoft.com/office/drawing/2014/main" id="{FBDC9535-3E58-DFA7-157D-C6A59E176A54}"/>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498" name="Group 497">
                <a:extLst>
                  <a:ext uri="{FF2B5EF4-FFF2-40B4-BE49-F238E27FC236}">
                    <a16:creationId xmlns:a16="http://schemas.microsoft.com/office/drawing/2014/main" id="{1C81C502-4307-1963-481B-DEE6D241B2EE}"/>
                  </a:ext>
                </a:extLst>
              </p:cNvPr>
              <p:cNvGrpSpPr/>
              <p:nvPr/>
            </p:nvGrpSpPr>
            <p:grpSpPr>
              <a:xfrm>
                <a:off x="5508818" y="2325807"/>
                <a:ext cx="82971" cy="82971"/>
                <a:chOff x="7236884" y="3439984"/>
                <a:chExt cx="108000" cy="108000"/>
              </a:xfrm>
            </p:grpSpPr>
            <p:cxnSp>
              <p:nvCxnSpPr>
                <p:cNvPr id="499" name="Straight Connector 498">
                  <a:extLst>
                    <a:ext uri="{FF2B5EF4-FFF2-40B4-BE49-F238E27FC236}">
                      <a16:creationId xmlns:a16="http://schemas.microsoft.com/office/drawing/2014/main" id="{3F7BB7D5-4243-280A-79D2-D69C9D6ADA8D}"/>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500" name="Straight Connector 499">
                  <a:extLst>
                    <a:ext uri="{FF2B5EF4-FFF2-40B4-BE49-F238E27FC236}">
                      <a16:creationId xmlns:a16="http://schemas.microsoft.com/office/drawing/2014/main" id="{2F28195D-C11C-C510-B739-572FFB42A7E6}"/>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501" name="Group 500">
                <a:extLst>
                  <a:ext uri="{FF2B5EF4-FFF2-40B4-BE49-F238E27FC236}">
                    <a16:creationId xmlns:a16="http://schemas.microsoft.com/office/drawing/2014/main" id="{B324D487-F4BE-B007-0A89-C28FA5486DCA}"/>
                  </a:ext>
                </a:extLst>
              </p:cNvPr>
              <p:cNvGrpSpPr/>
              <p:nvPr/>
            </p:nvGrpSpPr>
            <p:grpSpPr>
              <a:xfrm>
                <a:off x="5492150" y="2321045"/>
                <a:ext cx="82971" cy="82971"/>
                <a:chOff x="7236884" y="3439984"/>
                <a:chExt cx="108000" cy="108000"/>
              </a:xfrm>
            </p:grpSpPr>
            <p:cxnSp>
              <p:nvCxnSpPr>
                <p:cNvPr id="502" name="Straight Connector 501">
                  <a:extLst>
                    <a:ext uri="{FF2B5EF4-FFF2-40B4-BE49-F238E27FC236}">
                      <a16:creationId xmlns:a16="http://schemas.microsoft.com/office/drawing/2014/main" id="{E889091F-FBA0-2F83-6706-60C30125E6BE}"/>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503" name="Straight Connector 502">
                  <a:extLst>
                    <a:ext uri="{FF2B5EF4-FFF2-40B4-BE49-F238E27FC236}">
                      <a16:creationId xmlns:a16="http://schemas.microsoft.com/office/drawing/2014/main" id="{329659AB-E757-8063-8535-797E0CEE724E}"/>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504" name="Group 503">
                <a:extLst>
                  <a:ext uri="{FF2B5EF4-FFF2-40B4-BE49-F238E27FC236}">
                    <a16:creationId xmlns:a16="http://schemas.microsoft.com/office/drawing/2014/main" id="{86CEB6D0-D571-57BA-0C3A-6D908F3B820D}"/>
                  </a:ext>
                </a:extLst>
              </p:cNvPr>
              <p:cNvGrpSpPr/>
              <p:nvPr/>
            </p:nvGrpSpPr>
            <p:grpSpPr>
              <a:xfrm>
                <a:off x="5475481" y="2313902"/>
                <a:ext cx="82971" cy="82971"/>
                <a:chOff x="7236884" y="3439984"/>
                <a:chExt cx="108000" cy="108000"/>
              </a:xfrm>
            </p:grpSpPr>
            <p:cxnSp>
              <p:nvCxnSpPr>
                <p:cNvPr id="505" name="Straight Connector 504">
                  <a:extLst>
                    <a:ext uri="{FF2B5EF4-FFF2-40B4-BE49-F238E27FC236}">
                      <a16:creationId xmlns:a16="http://schemas.microsoft.com/office/drawing/2014/main" id="{6DF2F56B-91DD-1567-086F-893CD96C9D85}"/>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506" name="Straight Connector 505">
                  <a:extLst>
                    <a:ext uri="{FF2B5EF4-FFF2-40B4-BE49-F238E27FC236}">
                      <a16:creationId xmlns:a16="http://schemas.microsoft.com/office/drawing/2014/main" id="{62188CB0-E798-3D2B-BD87-65E22600FCE0}"/>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507" name="Group 506">
                <a:extLst>
                  <a:ext uri="{FF2B5EF4-FFF2-40B4-BE49-F238E27FC236}">
                    <a16:creationId xmlns:a16="http://schemas.microsoft.com/office/drawing/2014/main" id="{33C84623-3D8E-7E44-508E-14F7A473CC3D}"/>
                  </a:ext>
                </a:extLst>
              </p:cNvPr>
              <p:cNvGrpSpPr/>
              <p:nvPr/>
            </p:nvGrpSpPr>
            <p:grpSpPr>
              <a:xfrm>
                <a:off x="5458811" y="2306759"/>
                <a:ext cx="82971" cy="82971"/>
                <a:chOff x="7236884" y="3439984"/>
                <a:chExt cx="108000" cy="108000"/>
              </a:xfrm>
            </p:grpSpPr>
            <p:cxnSp>
              <p:nvCxnSpPr>
                <p:cNvPr id="508" name="Straight Connector 507">
                  <a:extLst>
                    <a:ext uri="{FF2B5EF4-FFF2-40B4-BE49-F238E27FC236}">
                      <a16:creationId xmlns:a16="http://schemas.microsoft.com/office/drawing/2014/main" id="{5043089E-FE7D-FD1C-8F5B-1934EF0F342B}"/>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509" name="Straight Connector 508">
                  <a:extLst>
                    <a:ext uri="{FF2B5EF4-FFF2-40B4-BE49-F238E27FC236}">
                      <a16:creationId xmlns:a16="http://schemas.microsoft.com/office/drawing/2014/main" id="{86EEE07A-40BC-9F43-F61D-7C946C6E60A7}"/>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510" name="Group 509">
                <a:extLst>
                  <a:ext uri="{FF2B5EF4-FFF2-40B4-BE49-F238E27FC236}">
                    <a16:creationId xmlns:a16="http://schemas.microsoft.com/office/drawing/2014/main" id="{71486536-5674-912C-673A-003D34718138}"/>
                  </a:ext>
                </a:extLst>
              </p:cNvPr>
              <p:cNvGrpSpPr/>
              <p:nvPr/>
            </p:nvGrpSpPr>
            <p:grpSpPr>
              <a:xfrm>
                <a:off x="5442143" y="2301997"/>
                <a:ext cx="82971" cy="82971"/>
                <a:chOff x="7236884" y="3439984"/>
                <a:chExt cx="108000" cy="108000"/>
              </a:xfrm>
            </p:grpSpPr>
            <p:cxnSp>
              <p:nvCxnSpPr>
                <p:cNvPr id="511" name="Straight Connector 510">
                  <a:extLst>
                    <a:ext uri="{FF2B5EF4-FFF2-40B4-BE49-F238E27FC236}">
                      <a16:creationId xmlns:a16="http://schemas.microsoft.com/office/drawing/2014/main" id="{579BC024-42E2-3D71-B5ED-0034B11BAD7C}"/>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512" name="Straight Connector 511">
                  <a:extLst>
                    <a:ext uri="{FF2B5EF4-FFF2-40B4-BE49-F238E27FC236}">
                      <a16:creationId xmlns:a16="http://schemas.microsoft.com/office/drawing/2014/main" id="{784EA878-EB96-7F03-BCD8-AC03EDF43B52}"/>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513" name="Group 512">
                <a:extLst>
                  <a:ext uri="{FF2B5EF4-FFF2-40B4-BE49-F238E27FC236}">
                    <a16:creationId xmlns:a16="http://schemas.microsoft.com/office/drawing/2014/main" id="{6CDC2304-1557-14B9-0B8C-4492F8D915D7}"/>
                  </a:ext>
                </a:extLst>
              </p:cNvPr>
              <p:cNvGrpSpPr/>
              <p:nvPr/>
            </p:nvGrpSpPr>
            <p:grpSpPr>
              <a:xfrm>
                <a:off x="5430237" y="2301997"/>
                <a:ext cx="82971" cy="82971"/>
                <a:chOff x="7236884" y="3439984"/>
                <a:chExt cx="108000" cy="108000"/>
              </a:xfrm>
            </p:grpSpPr>
            <p:cxnSp>
              <p:nvCxnSpPr>
                <p:cNvPr id="514" name="Straight Connector 513">
                  <a:extLst>
                    <a:ext uri="{FF2B5EF4-FFF2-40B4-BE49-F238E27FC236}">
                      <a16:creationId xmlns:a16="http://schemas.microsoft.com/office/drawing/2014/main" id="{AFD329FA-327F-8655-123C-7B0FD903FCB5}"/>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515" name="Straight Connector 514">
                  <a:extLst>
                    <a:ext uri="{FF2B5EF4-FFF2-40B4-BE49-F238E27FC236}">
                      <a16:creationId xmlns:a16="http://schemas.microsoft.com/office/drawing/2014/main" id="{73F1FB23-8880-261C-F7B9-593ED0A5284A}"/>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516" name="Group 515">
                <a:extLst>
                  <a:ext uri="{FF2B5EF4-FFF2-40B4-BE49-F238E27FC236}">
                    <a16:creationId xmlns:a16="http://schemas.microsoft.com/office/drawing/2014/main" id="{21EF8846-0081-F271-5D5F-2A99B343AFF6}"/>
                  </a:ext>
                </a:extLst>
              </p:cNvPr>
              <p:cNvGrpSpPr/>
              <p:nvPr/>
            </p:nvGrpSpPr>
            <p:grpSpPr>
              <a:xfrm>
                <a:off x="5413569" y="2297235"/>
                <a:ext cx="82971" cy="82971"/>
                <a:chOff x="7236884" y="3439984"/>
                <a:chExt cx="108000" cy="108000"/>
              </a:xfrm>
            </p:grpSpPr>
            <p:cxnSp>
              <p:nvCxnSpPr>
                <p:cNvPr id="517" name="Straight Connector 516">
                  <a:extLst>
                    <a:ext uri="{FF2B5EF4-FFF2-40B4-BE49-F238E27FC236}">
                      <a16:creationId xmlns:a16="http://schemas.microsoft.com/office/drawing/2014/main" id="{B19E0190-9CAF-4BE2-9813-24AFD4376446}"/>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518" name="Straight Connector 517">
                  <a:extLst>
                    <a:ext uri="{FF2B5EF4-FFF2-40B4-BE49-F238E27FC236}">
                      <a16:creationId xmlns:a16="http://schemas.microsoft.com/office/drawing/2014/main" id="{103E744B-BFBF-1523-C42F-8F9C9845988A}"/>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519" name="Group 518">
                <a:extLst>
                  <a:ext uri="{FF2B5EF4-FFF2-40B4-BE49-F238E27FC236}">
                    <a16:creationId xmlns:a16="http://schemas.microsoft.com/office/drawing/2014/main" id="{962AFBB9-B97C-3AFC-03F1-57C1093C9A73}"/>
                  </a:ext>
                </a:extLst>
              </p:cNvPr>
              <p:cNvGrpSpPr/>
              <p:nvPr/>
            </p:nvGrpSpPr>
            <p:grpSpPr>
              <a:xfrm>
                <a:off x="5396901" y="2287711"/>
                <a:ext cx="82971" cy="82971"/>
                <a:chOff x="7236884" y="3439984"/>
                <a:chExt cx="108000" cy="108000"/>
              </a:xfrm>
            </p:grpSpPr>
            <p:cxnSp>
              <p:nvCxnSpPr>
                <p:cNvPr id="520" name="Straight Connector 519">
                  <a:extLst>
                    <a:ext uri="{FF2B5EF4-FFF2-40B4-BE49-F238E27FC236}">
                      <a16:creationId xmlns:a16="http://schemas.microsoft.com/office/drawing/2014/main" id="{7706EDC0-2DA8-E281-7424-39D2E6B39F8D}"/>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521" name="Straight Connector 520">
                  <a:extLst>
                    <a:ext uri="{FF2B5EF4-FFF2-40B4-BE49-F238E27FC236}">
                      <a16:creationId xmlns:a16="http://schemas.microsoft.com/office/drawing/2014/main" id="{8F2B196E-35B6-3E62-7A15-783F3C295943}"/>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522" name="Group 521">
                <a:extLst>
                  <a:ext uri="{FF2B5EF4-FFF2-40B4-BE49-F238E27FC236}">
                    <a16:creationId xmlns:a16="http://schemas.microsoft.com/office/drawing/2014/main" id="{26AA2704-96C4-71FD-62F3-D85B3E934037}"/>
                  </a:ext>
                </a:extLst>
              </p:cNvPr>
              <p:cNvGrpSpPr/>
              <p:nvPr/>
            </p:nvGrpSpPr>
            <p:grpSpPr>
              <a:xfrm>
                <a:off x="5380232" y="2275806"/>
                <a:ext cx="82971" cy="82971"/>
                <a:chOff x="7236884" y="3439984"/>
                <a:chExt cx="108000" cy="108000"/>
              </a:xfrm>
            </p:grpSpPr>
            <p:cxnSp>
              <p:nvCxnSpPr>
                <p:cNvPr id="523" name="Straight Connector 522">
                  <a:extLst>
                    <a:ext uri="{FF2B5EF4-FFF2-40B4-BE49-F238E27FC236}">
                      <a16:creationId xmlns:a16="http://schemas.microsoft.com/office/drawing/2014/main" id="{DBF618D5-59D5-7302-7143-5E0EAC2A3EE8}"/>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524" name="Straight Connector 523">
                  <a:extLst>
                    <a:ext uri="{FF2B5EF4-FFF2-40B4-BE49-F238E27FC236}">
                      <a16:creationId xmlns:a16="http://schemas.microsoft.com/office/drawing/2014/main" id="{6C33D04A-28F8-BAF4-4208-5175685C650C}"/>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525" name="Group 524">
                <a:extLst>
                  <a:ext uri="{FF2B5EF4-FFF2-40B4-BE49-F238E27FC236}">
                    <a16:creationId xmlns:a16="http://schemas.microsoft.com/office/drawing/2014/main" id="{A73411A2-ADA8-2D3E-4AE0-75092A442BC1}"/>
                  </a:ext>
                </a:extLst>
              </p:cNvPr>
              <p:cNvGrpSpPr/>
              <p:nvPr/>
            </p:nvGrpSpPr>
            <p:grpSpPr>
              <a:xfrm>
                <a:off x="5363562" y="2266282"/>
                <a:ext cx="82971" cy="82971"/>
                <a:chOff x="7236884" y="3439984"/>
                <a:chExt cx="108000" cy="108000"/>
              </a:xfrm>
            </p:grpSpPr>
            <p:cxnSp>
              <p:nvCxnSpPr>
                <p:cNvPr id="526" name="Straight Connector 525">
                  <a:extLst>
                    <a:ext uri="{FF2B5EF4-FFF2-40B4-BE49-F238E27FC236}">
                      <a16:creationId xmlns:a16="http://schemas.microsoft.com/office/drawing/2014/main" id="{EDC21DC3-6B8B-092D-3B9F-E4DB7AA4D58B}"/>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527" name="Straight Connector 526">
                  <a:extLst>
                    <a:ext uri="{FF2B5EF4-FFF2-40B4-BE49-F238E27FC236}">
                      <a16:creationId xmlns:a16="http://schemas.microsoft.com/office/drawing/2014/main" id="{F11B41F7-6E8F-7B7F-6F2B-DC27332EAFCC}"/>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528" name="Group 527">
                <a:extLst>
                  <a:ext uri="{FF2B5EF4-FFF2-40B4-BE49-F238E27FC236}">
                    <a16:creationId xmlns:a16="http://schemas.microsoft.com/office/drawing/2014/main" id="{21F34EA8-8D53-6793-70A9-93BA7AB50FC3}"/>
                  </a:ext>
                </a:extLst>
              </p:cNvPr>
              <p:cNvGrpSpPr/>
              <p:nvPr/>
            </p:nvGrpSpPr>
            <p:grpSpPr>
              <a:xfrm>
                <a:off x="5346893" y="2261520"/>
                <a:ext cx="82971" cy="82971"/>
                <a:chOff x="7236884" y="3439984"/>
                <a:chExt cx="108000" cy="108000"/>
              </a:xfrm>
            </p:grpSpPr>
            <p:cxnSp>
              <p:nvCxnSpPr>
                <p:cNvPr id="529" name="Straight Connector 528">
                  <a:extLst>
                    <a:ext uri="{FF2B5EF4-FFF2-40B4-BE49-F238E27FC236}">
                      <a16:creationId xmlns:a16="http://schemas.microsoft.com/office/drawing/2014/main" id="{88E06D44-670A-F90B-12BB-C6FD116909B9}"/>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530" name="Straight Connector 529">
                  <a:extLst>
                    <a:ext uri="{FF2B5EF4-FFF2-40B4-BE49-F238E27FC236}">
                      <a16:creationId xmlns:a16="http://schemas.microsoft.com/office/drawing/2014/main" id="{8DA8D08B-A005-220C-9350-49AF81331C75}"/>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531" name="Group 530">
                <a:extLst>
                  <a:ext uri="{FF2B5EF4-FFF2-40B4-BE49-F238E27FC236}">
                    <a16:creationId xmlns:a16="http://schemas.microsoft.com/office/drawing/2014/main" id="{D7A247EA-00AD-3402-D494-C38DF87A358A}"/>
                  </a:ext>
                </a:extLst>
              </p:cNvPr>
              <p:cNvGrpSpPr/>
              <p:nvPr/>
            </p:nvGrpSpPr>
            <p:grpSpPr>
              <a:xfrm>
                <a:off x="5332605" y="2251996"/>
                <a:ext cx="82971" cy="82971"/>
                <a:chOff x="7236884" y="3439984"/>
                <a:chExt cx="108000" cy="108000"/>
              </a:xfrm>
            </p:grpSpPr>
            <p:cxnSp>
              <p:nvCxnSpPr>
                <p:cNvPr id="532" name="Straight Connector 531">
                  <a:extLst>
                    <a:ext uri="{FF2B5EF4-FFF2-40B4-BE49-F238E27FC236}">
                      <a16:creationId xmlns:a16="http://schemas.microsoft.com/office/drawing/2014/main" id="{6DE74A7F-CBCF-3308-FBCA-1AF202A56EE3}"/>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533" name="Straight Connector 532">
                  <a:extLst>
                    <a:ext uri="{FF2B5EF4-FFF2-40B4-BE49-F238E27FC236}">
                      <a16:creationId xmlns:a16="http://schemas.microsoft.com/office/drawing/2014/main" id="{0434ED93-EACF-5CF4-9260-9719FB6D20C1}"/>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534" name="Group 533">
                <a:extLst>
                  <a:ext uri="{FF2B5EF4-FFF2-40B4-BE49-F238E27FC236}">
                    <a16:creationId xmlns:a16="http://schemas.microsoft.com/office/drawing/2014/main" id="{945B3311-157B-5890-B7E3-8329209BB529}"/>
                  </a:ext>
                </a:extLst>
              </p:cNvPr>
              <p:cNvGrpSpPr/>
              <p:nvPr/>
            </p:nvGrpSpPr>
            <p:grpSpPr>
              <a:xfrm>
                <a:off x="5315935" y="2251996"/>
                <a:ext cx="82971" cy="82971"/>
                <a:chOff x="7236884" y="3439984"/>
                <a:chExt cx="108000" cy="108000"/>
              </a:xfrm>
            </p:grpSpPr>
            <p:cxnSp>
              <p:nvCxnSpPr>
                <p:cNvPr id="535" name="Straight Connector 534">
                  <a:extLst>
                    <a:ext uri="{FF2B5EF4-FFF2-40B4-BE49-F238E27FC236}">
                      <a16:creationId xmlns:a16="http://schemas.microsoft.com/office/drawing/2014/main" id="{DA0763FC-9220-6E86-F1F6-E38AC934A6F2}"/>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536" name="Straight Connector 535">
                  <a:extLst>
                    <a:ext uri="{FF2B5EF4-FFF2-40B4-BE49-F238E27FC236}">
                      <a16:creationId xmlns:a16="http://schemas.microsoft.com/office/drawing/2014/main" id="{5787BE8F-3C83-0B54-5CBC-BF376846EE19}"/>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540" name="Group 539">
                <a:extLst>
                  <a:ext uri="{FF2B5EF4-FFF2-40B4-BE49-F238E27FC236}">
                    <a16:creationId xmlns:a16="http://schemas.microsoft.com/office/drawing/2014/main" id="{6C240322-DA86-39D9-082C-460BA33BD6FB}"/>
                  </a:ext>
                </a:extLst>
              </p:cNvPr>
              <p:cNvGrpSpPr/>
              <p:nvPr/>
            </p:nvGrpSpPr>
            <p:grpSpPr>
              <a:xfrm>
                <a:off x="5304029" y="2251996"/>
                <a:ext cx="82971" cy="82971"/>
                <a:chOff x="7236884" y="3439984"/>
                <a:chExt cx="108000" cy="108000"/>
              </a:xfrm>
            </p:grpSpPr>
            <p:cxnSp>
              <p:nvCxnSpPr>
                <p:cNvPr id="541" name="Straight Connector 540">
                  <a:extLst>
                    <a:ext uri="{FF2B5EF4-FFF2-40B4-BE49-F238E27FC236}">
                      <a16:creationId xmlns:a16="http://schemas.microsoft.com/office/drawing/2014/main" id="{4C0442E6-3A6A-1F1E-C892-FF20499D1DC6}"/>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542" name="Straight Connector 541">
                  <a:extLst>
                    <a:ext uri="{FF2B5EF4-FFF2-40B4-BE49-F238E27FC236}">
                      <a16:creationId xmlns:a16="http://schemas.microsoft.com/office/drawing/2014/main" id="{D479A7F0-EF17-2611-E0DF-555080DBA90A}"/>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543" name="Group 542">
                <a:extLst>
                  <a:ext uri="{FF2B5EF4-FFF2-40B4-BE49-F238E27FC236}">
                    <a16:creationId xmlns:a16="http://schemas.microsoft.com/office/drawing/2014/main" id="{7570CFAC-CD3B-3ACB-F8D6-B4693B0542DD}"/>
                  </a:ext>
                </a:extLst>
              </p:cNvPr>
              <p:cNvGrpSpPr/>
              <p:nvPr/>
            </p:nvGrpSpPr>
            <p:grpSpPr>
              <a:xfrm>
                <a:off x="5287360" y="2251996"/>
                <a:ext cx="82971" cy="82971"/>
                <a:chOff x="7236884" y="3439984"/>
                <a:chExt cx="108000" cy="108000"/>
              </a:xfrm>
            </p:grpSpPr>
            <p:cxnSp>
              <p:nvCxnSpPr>
                <p:cNvPr id="544" name="Straight Connector 543">
                  <a:extLst>
                    <a:ext uri="{FF2B5EF4-FFF2-40B4-BE49-F238E27FC236}">
                      <a16:creationId xmlns:a16="http://schemas.microsoft.com/office/drawing/2014/main" id="{5ECE02C1-7720-2A66-BBA0-0A1B6D5532E7}"/>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545" name="Straight Connector 544">
                  <a:extLst>
                    <a:ext uri="{FF2B5EF4-FFF2-40B4-BE49-F238E27FC236}">
                      <a16:creationId xmlns:a16="http://schemas.microsoft.com/office/drawing/2014/main" id="{9E549CCC-A001-7D4F-ED22-94001727F83D}"/>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546" name="Group 545">
                <a:extLst>
                  <a:ext uri="{FF2B5EF4-FFF2-40B4-BE49-F238E27FC236}">
                    <a16:creationId xmlns:a16="http://schemas.microsoft.com/office/drawing/2014/main" id="{38FD10E0-43DA-76D9-A8E0-08B2C2C4024E}"/>
                  </a:ext>
                </a:extLst>
              </p:cNvPr>
              <p:cNvGrpSpPr/>
              <p:nvPr/>
            </p:nvGrpSpPr>
            <p:grpSpPr>
              <a:xfrm>
                <a:off x="5275453" y="2244853"/>
                <a:ext cx="82971" cy="82971"/>
                <a:chOff x="7236884" y="3439984"/>
                <a:chExt cx="108000" cy="108000"/>
              </a:xfrm>
            </p:grpSpPr>
            <p:cxnSp>
              <p:nvCxnSpPr>
                <p:cNvPr id="547" name="Straight Connector 546">
                  <a:extLst>
                    <a:ext uri="{FF2B5EF4-FFF2-40B4-BE49-F238E27FC236}">
                      <a16:creationId xmlns:a16="http://schemas.microsoft.com/office/drawing/2014/main" id="{E9970A93-92FE-C921-0839-49DA80E4A837}"/>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548" name="Straight Connector 547">
                  <a:extLst>
                    <a:ext uri="{FF2B5EF4-FFF2-40B4-BE49-F238E27FC236}">
                      <a16:creationId xmlns:a16="http://schemas.microsoft.com/office/drawing/2014/main" id="{1176EAA6-229A-9FDF-A53E-69009B707F3B}"/>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nvGrpSpPr>
              <p:cNvPr id="549" name="Group 548">
                <a:extLst>
                  <a:ext uri="{FF2B5EF4-FFF2-40B4-BE49-F238E27FC236}">
                    <a16:creationId xmlns:a16="http://schemas.microsoft.com/office/drawing/2014/main" id="{22561BC4-16B9-5ED1-5620-D337A47E14AD}"/>
                  </a:ext>
                </a:extLst>
              </p:cNvPr>
              <p:cNvGrpSpPr/>
              <p:nvPr/>
            </p:nvGrpSpPr>
            <p:grpSpPr>
              <a:xfrm>
                <a:off x="5258784" y="2244853"/>
                <a:ext cx="82971" cy="82971"/>
                <a:chOff x="7236884" y="3439984"/>
                <a:chExt cx="108000" cy="108000"/>
              </a:xfrm>
            </p:grpSpPr>
            <p:cxnSp>
              <p:nvCxnSpPr>
                <p:cNvPr id="550" name="Straight Connector 549">
                  <a:extLst>
                    <a:ext uri="{FF2B5EF4-FFF2-40B4-BE49-F238E27FC236}">
                      <a16:creationId xmlns:a16="http://schemas.microsoft.com/office/drawing/2014/main" id="{F4879AF2-54BD-1616-9D5F-7DF78E5BA28E}"/>
                    </a:ext>
                  </a:extLst>
                </p:cNvPr>
                <p:cNvCxnSpPr>
                  <a:cxnSpLocks/>
                </p:cNvCxnSpPr>
                <p:nvPr/>
              </p:nvCxnSpPr>
              <p:spPr>
                <a:xfrm>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cxnSp>
              <p:nvCxnSpPr>
                <p:cNvPr id="551" name="Straight Connector 550">
                  <a:extLst>
                    <a:ext uri="{FF2B5EF4-FFF2-40B4-BE49-F238E27FC236}">
                      <a16:creationId xmlns:a16="http://schemas.microsoft.com/office/drawing/2014/main" id="{2141C96E-68CB-2F39-5761-97EE0ECC0FB6}"/>
                    </a:ext>
                  </a:extLst>
                </p:cNvPr>
                <p:cNvCxnSpPr>
                  <a:cxnSpLocks/>
                </p:cNvCxnSpPr>
                <p:nvPr/>
              </p:nvCxnSpPr>
              <p:spPr>
                <a:xfrm rot="5400000">
                  <a:off x="7290884" y="3439984"/>
                  <a:ext cx="0" cy="108000"/>
                </a:xfrm>
                <a:prstGeom prst="line">
                  <a:avLst/>
                </a:prstGeom>
                <a:ln w="15875">
                  <a:solidFill>
                    <a:srgbClr val="D82B1F"/>
                  </a:solidFill>
                </a:ln>
              </p:spPr>
              <p:style>
                <a:lnRef idx="1">
                  <a:schemeClr val="accent1"/>
                </a:lnRef>
                <a:fillRef idx="0">
                  <a:schemeClr val="accent1"/>
                </a:fillRef>
                <a:effectRef idx="0">
                  <a:schemeClr val="accent1"/>
                </a:effectRef>
                <a:fontRef idx="minor">
                  <a:schemeClr val="tx1"/>
                </a:fontRef>
              </p:style>
            </p:cxnSp>
          </p:grpSp>
        </p:grpSp>
        <p:grpSp>
          <p:nvGrpSpPr>
            <p:cNvPr id="559" name="Group 558">
              <a:extLst>
                <a:ext uri="{FF2B5EF4-FFF2-40B4-BE49-F238E27FC236}">
                  <a16:creationId xmlns:a16="http://schemas.microsoft.com/office/drawing/2014/main" id="{514E08FF-248E-BB34-364E-BB6D72ED2CE2}"/>
                </a:ext>
              </a:extLst>
            </p:cNvPr>
            <p:cNvGrpSpPr/>
            <p:nvPr/>
          </p:nvGrpSpPr>
          <p:grpSpPr>
            <a:xfrm>
              <a:off x="7227360" y="3146815"/>
              <a:ext cx="82971" cy="82971"/>
              <a:chOff x="7236884" y="3439984"/>
              <a:chExt cx="108000" cy="108000"/>
            </a:xfrm>
          </p:grpSpPr>
          <p:cxnSp>
            <p:nvCxnSpPr>
              <p:cNvPr id="917" name="Straight Connector 916">
                <a:extLst>
                  <a:ext uri="{FF2B5EF4-FFF2-40B4-BE49-F238E27FC236}">
                    <a16:creationId xmlns:a16="http://schemas.microsoft.com/office/drawing/2014/main" id="{D34B12B0-730A-487C-8E7E-742BA278FFD3}"/>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918" name="Straight Connector 917">
                <a:extLst>
                  <a:ext uri="{FF2B5EF4-FFF2-40B4-BE49-F238E27FC236}">
                    <a16:creationId xmlns:a16="http://schemas.microsoft.com/office/drawing/2014/main" id="{549D843E-FA86-6B0F-1DE0-62A1BC2BA233}"/>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929" name="Group 928">
              <a:extLst>
                <a:ext uri="{FF2B5EF4-FFF2-40B4-BE49-F238E27FC236}">
                  <a16:creationId xmlns:a16="http://schemas.microsoft.com/office/drawing/2014/main" id="{200DCAD8-1935-5014-1F79-D29943BFAD1E}"/>
                </a:ext>
              </a:extLst>
            </p:cNvPr>
            <p:cNvGrpSpPr/>
            <p:nvPr/>
          </p:nvGrpSpPr>
          <p:grpSpPr>
            <a:xfrm>
              <a:off x="7163066" y="3146815"/>
              <a:ext cx="82971" cy="82971"/>
              <a:chOff x="7236884" y="3439984"/>
              <a:chExt cx="108000" cy="108000"/>
            </a:xfrm>
          </p:grpSpPr>
          <p:cxnSp>
            <p:nvCxnSpPr>
              <p:cNvPr id="930" name="Straight Connector 929">
                <a:extLst>
                  <a:ext uri="{FF2B5EF4-FFF2-40B4-BE49-F238E27FC236}">
                    <a16:creationId xmlns:a16="http://schemas.microsoft.com/office/drawing/2014/main" id="{C1ECD6DC-5023-95AA-B91E-0D3C3A4DF6C5}"/>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931" name="Straight Connector 930">
                <a:extLst>
                  <a:ext uri="{FF2B5EF4-FFF2-40B4-BE49-F238E27FC236}">
                    <a16:creationId xmlns:a16="http://schemas.microsoft.com/office/drawing/2014/main" id="{199F20C3-0F18-6E2F-BE09-6D9592AEFDED}"/>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932" name="Group 931">
              <a:extLst>
                <a:ext uri="{FF2B5EF4-FFF2-40B4-BE49-F238E27FC236}">
                  <a16:creationId xmlns:a16="http://schemas.microsoft.com/office/drawing/2014/main" id="{3C6E8EB3-DE94-A2B7-AE49-A145721BE3C7}"/>
                </a:ext>
              </a:extLst>
            </p:cNvPr>
            <p:cNvGrpSpPr/>
            <p:nvPr/>
          </p:nvGrpSpPr>
          <p:grpSpPr>
            <a:xfrm>
              <a:off x="7060672" y="3146815"/>
              <a:ext cx="82971" cy="82971"/>
              <a:chOff x="7236884" y="3439984"/>
              <a:chExt cx="108000" cy="108000"/>
            </a:xfrm>
          </p:grpSpPr>
          <p:cxnSp>
            <p:nvCxnSpPr>
              <p:cNvPr id="933" name="Straight Connector 932">
                <a:extLst>
                  <a:ext uri="{FF2B5EF4-FFF2-40B4-BE49-F238E27FC236}">
                    <a16:creationId xmlns:a16="http://schemas.microsoft.com/office/drawing/2014/main" id="{AA49F27F-2336-253C-C5B4-3AC7BA94D676}"/>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934" name="Straight Connector 933">
                <a:extLst>
                  <a:ext uri="{FF2B5EF4-FFF2-40B4-BE49-F238E27FC236}">
                    <a16:creationId xmlns:a16="http://schemas.microsoft.com/office/drawing/2014/main" id="{6FF5AA3F-4EC6-3BC9-4D52-6C16ABF778D4}"/>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935" name="Group 934">
              <a:extLst>
                <a:ext uri="{FF2B5EF4-FFF2-40B4-BE49-F238E27FC236}">
                  <a16:creationId xmlns:a16="http://schemas.microsoft.com/office/drawing/2014/main" id="{34A66B6C-B463-02E9-BEF0-022D002A53E0}"/>
                </a:ext>
              </a:extLst>
            </p:cNvPr>
            <p:cNvGrpSpPr/>
            <p:nvPr/>
          </p:nvGrpSpPr>
          <p:grpSpPr>
            <a:xfrm>
              <a:off x="7032097" y="3146815"/>
              <a:ext cx="82971" cy="82971"/>
              <a:chOff x="7236884" y="3439984"/>
              <a:chExt cx="108000" cy="108000"/>
            </a:xfrm>
          </p:grpSpPr>
          <p:cxnSp>
            <p:nvCxnSpPr>
              <p:cNvPr id="936" name="Straight Connector 935">
                <a:extLst>
                  <a:ext uri="{FF2B5EF4-FFF2-40B4-BE49-F238E27FC236}">
                    <a16:creationId xmlns:a16="http://schemas.microsoft.com/office/drawing/2014/main" id="{319FA812-835D-3A69-DC97-497AC4C9DCEC}"/>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937" name="Straight Connector 936">
                <a:extLst>
                  <a:ext uri="{FF2B5EF4-FFF2-40B4-BE49-F238E27FC236}">
                    <a16:creationId xmlns:a16="http://schemas.microsoft.com/office/drawing/2014/main" id="{213ACA3F-6DF7-E0BB-EA77-6DDE62E1A6E6}"/>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938" name="Group 937">
              <a:extLst>
                <a:ext uri="{FF2B5EF4-FFF2-40B4-BE49-F238E27FC236}">
                  <a16:creationId xmlns:a16="http://schemas.microsoft.com/office/drawing/2014/main" id="{3E0A0D57-9D20-F6D0-D66D-1315348241BE}"/>
                </a:ext>
              </a:extLst>
            </p:cNvPr>
            <p:cNvGrpSpPr/>
            <p:nvPr/>
          </p:nvGrpSpPr>
          <p:grpSpPr>
            <a:xfrm>
              <a:off x="7010666" y="3146815"/>
              <a:ext cx="82971" cy="82971"/>
              <a:chOff x="7236884" y="3439984"/>
              <a:chExt cx="108000" cy="108000"/>
            </a:xfrm>
          </p:grpSpPr>
          <p:cxnSp>
            <p:nvCxnSpPr>
              <p:cNvPr id="939" name="Straight Connector 938">
                <a:extLst>
                  <a:ext uri="{FF2B5EF4-FFF2-40B4-BE49-F238E27FC236}">
                    <a16:creationId xmlns:a16="http://schemas.microsoft.com/office/drawing/2014/main" id="{94F3A1DB-17E8-DF2E-1AD8-4C42357A1865}"/>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940" name="Straight Connector 939">
                <a:extLst>
                  <a:ext uri="{FF2B5EF4-FFF2-40B4-BE49-F238E27FC236}">
                    <a16:creationId xmlns:a16="http://schemas.microsoft.com/office/drawing/2014/main" id="{DC8CC566-CC57-2AA3-71C0-86C642B7D482}"/>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941" name="Group 940">
              <a:extLst>
                <a:ext uri="{FF2B5EF4-FFF2-40B4-BE49-F238E27FC236}">
                  <a16:creationId xmlns:a16="http://schemas.microsoft.com/office/drawing/2014/main" id="{3F63D5E6-01F2-5EEE-ACA2-35802E3BEB0B}"/>
                </a:ext>
              </a:extLst>
            </p:cNvPr>
            <p:cNvGrpSpPr/>
            <p:nvPr/>
          </p:nvGrpSpPr>
          <p:grpSpPr>
            <a:xfrm>
              <a:off x="6989234" y="3146815"/>
              <a:ext cx="82971" cy="82971"/>
              <a:chOff x="7236884" y="3439984"/>
              <a:chExt cx="108000" cy="108000"/>
            </a:xfrm>
          </p:grpSpPr>
          <p:cxnSp>
            <p:nvCxnSpPr>
              <p:cNvPr id="942" name="Straight Connector 941">
                <a:extLst>
                  <a:ext uri="{FF2B5EF4-FFF2-40B4-BE49-F238E27FC236}">
                    <a16:creationId xmlns:a16="http://schemas.microsoft.com/office/drawing/2014/main" id="{622403E4-CBE3-28AD-1EFF-595763F5532B}"/>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943" name="Straight Connector 942">
                <a:extLst>
                  <a:ext uri="{FF2B5EF4-FFF2-40B4-BE49-F238E27FC236}">
                    <a16:creationId xmlns:a16="http://schemas.microsoft.com/office/drawing/2014/main" id="{06265CE4-7AFD-CBD5-F2B5-1C2E6877C42E}"/>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944" name="Group 943">
              <a:extLst>
                <a:ext uri="{FF2B5EF4-FFF2-40B4-BE49-F238E27FC236}">
                  <a16:creationId xmlns:a16="http://schemas.microsoft.com/office/drawing/2014/main" id="{3BDA2D68-9B88-49F7-418C-93F877B8F7A4}"/>
                </a:ext>
              </a:extLst>
            </p:cNvPr>
            <p:cNvGrpSpPr/>
            <p:nvPr/>
          </p:nvGrpSpPr>
          <p:grpSpPr>
            <a:xfrm>
              <a:off x="6960659" y="3146815"/>
              <a:ext cx="82971" cy="82971"/>
              <a:chOff x="7236884" y="3439984"/>
              <a:chExt cx="108000" cy="108000"/>
            </a:xfrm>
          </p:grpSpPr>
          <p:cxnSp>
            <p:nvCxnSpPr>
              <p:cNvPr id="945" name="Straight Connector 944">
                <a:extLst>
                  <a:ext uri="{FF2B5EF4-FFF2-40B4-BE49-F238E27FC236}">
                    <a16:creationId xmlns:a16="http://schemas.microsoft.com/office/drawing/2014/main" id="{03A65898-3992-12BB-BD9C-70FEE86E15CE}"/>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946" name="Straight Connector 945">
                <a:extLst>
                  <a:ext uri="{FF2B5EF4-FFF2-40B4-BE49-F238E27FC236}">
                    <a16:creationId xmlns:a16="http://schemas.microsoft.com/office/drawing/2014/main" id="{1A62719A-EDAE-D432-0E18-2FA8258B5B1B}"/>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947" name="Group 946">
              <a:extLst>
                <a:ext uri="{FF2B5EF4-FFF2-40B4-BE49-F238E27FC236}">
                  <a16:creationId xmlns:a16="http://schemas.microsoft.com/office/drawing/2014/main" id="{F08EFB80-8E62-C8FA-A27C-8B5C71D030BB}"/>
                </a:ext>
              </a:extLst>
            </p:cNvPr>
            <p:cNvGrpSpPr/>
            <p:nvPr/>
          </p:nvGrpSpPr>
          <p:grpSpPr>
            <a:xfrm>
              <a:off x="6948753" y="3146815"/>
              <a:ext cx="82971" cy="82971"/>
              <a:chOff x="7236884" y="3439984"/>
              <a:chExt cx="108000" cy="108000"/>
            </a:xfrm>
          </p:grpSpPr>
          <p:cxnSp>
            <p:nvCxnSpPr>
              <p:cNvPr id="948" name="Straight Connector 947">
                <a:extLst>
                  <a:ext uri="{FF2B5EF4-FFF2-40B4-BE49-F238E27FC236}">
                    <a16:creationId xmlns:a16="http://schemas.microsoft.com/office/drawing/2014/main" id="{1CC7C39C-BDBF-AEFD-0959-441E05B846ED}"/>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949" name="Straight Connector 948">
                <a:extLst>
                  <a:ext uri="{FF2B5EF4-FFF2-40B4-BE49-F238E27FC236}">
                    <a16:creationId xmlns:a16="http://schemas.microsoft.com/office/drawing/2014/main" id="{0A1B0A2B-0594-64D2-D7DA-8CF3DDFF63DA}"/>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950" name="Group 949">
              <a:extLst>
                <a:ext uri="{FF2B5EF4-FFF2-40B4-BE49-F238E27FC236}">
                  <a16:creationId xmlns:a16="http://schemas.microsoft.com/office/drawing/2014/main" id="{352768EB-C5A1-B4B1-4D24-9D606CC4A9E0}"/>
                </a:ext>
              </a:extLst>
            </p:cNvPr>
            <p:cNvGrpSpPr/>
            <p:nvPr/>
          </p:nvGrpSpPr>
          <p:grpSpPr>
            <a:xfrm>
              <a:off x="6936847" y="3146815"/>
              <a:ext cx="82971" cy="82971"/>
              <a:chOff x="7236884" y="3439984"/>
              <a:chExt cx="108000" cy="108000"/>
            </a:xfrm>
          </p:grpSpPr>
          <p:cxnSp>
            <p:nvCxnSpPr>
              <p:cNvPr id="951" name="Straight Connector 950">
                <a:extLst>
                  <a:ext uri="{FF2B5EF4-FFF2-40B4-BE49-F238E27FC236}">
                    <a16:creationId xmlns:a16="http://schemas.microsoft.com/office/drawing/2014/main" id="{FCAA7B1B-249E-1354-B3A6-A4E1D2308D86}"/>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952" name="Straight Connector 951">
                <a:extLst>
                  <a:ext uri="{FF2B5EF4-FFF2-40B4-BE49-F238E27FC236}">
                    <a16:creationId xmlns:a16="http://schemas.microsoft.com/office/drawing/2014/main" id="{70E41BC1-DAA0-DCA6-4A79-E6F065AB13C1}"/>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953" name="Group 952">
              <a:extLst>
                <a:ext uri="{FF2B5EF4-FFF2-40B4-BE49-F238E27FC236}">
                  <a16:creationId xmlns:a16="http://schemas.microsoft.com/office/drawing/2014/main" id="{6BF0F3E9-1460-F36C-11BF-32FDAFC3E53E}"/>
                </a:ext>
              </a:extLst>
            </p:cNvPr>
            <p:cNvGrpSpPr/>
            <p:nvPr/>
          </p:nvGrpSpPr>
          <p:grpSpPr>
            <a:xfrm>
              <a:off x="6896366" y="3146815"/>
              <a:ext cx="82971" cy="82971"/>
              <a:chOff x="7236884" y="3439984"/>
              <a:chExt cx="108000" cy="108000"/>
            </a:xfrm>
          </p:grpSpPr>
          <p:cxnSp>
            <p:nvCxnSpPr>
              <p:cNvPr id="954" name="Straight Connector 953">
                <a:extLst>
                  <a:ext uri="{FF2B5EF4-FFF2-40B4-BE49-F238E27FC236}">
                    <a16:creationId xmlns:a16="http://schemas.microsoft.com/office/drawing/2014/main" id="{0FB8FCBC-3CFC-6503-119F-C3EC52C8C941}"/>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955" name="Straight Connector 954">
                <a:extLst>
                  <a:ext uri="{FF2B5EF4-FFF2-40B4-BE49-F238E27FC236}">
                    <a16:creationId xmlns:a16="http://schemas.microsoft.com/office/drawing/2014/main" id="{969A8FFF-3694-CAF9-6444-C8A33079C82A}"/>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956" name="Group 955">
              <a:extLst>
                <a:ext uri="{FF2B5EF4-FFF2-40B4-BE49-F238E27FC236}">
                  <a16:creationId xmlns:a16="http://schemas.microsoft.com/office/drawing/2014/main" id="{AB2130D8-3A9B-21EB-D1B1-B3A0AD6185CB}"/>
                </a:ext>
              </a:extLst>
            </p:cNvPr>
            <p:cNvGrpSpPr/>
            <p:nvPr/>
          </p:nvGrpSpPr>
          <p:grpSpPr>
            <a:xfrm>
              <a:off x="6851122" y="3146815"/>
              <a:ext cx="82971" cy="82971"/>
              <a:chOff x="7236884" y="3439984"/>
              <a:chExt cx="108000" cy="108000"/>
            </a:xfrm>
          </p:grpSpPr>
          <p:cxnSp>
            <p:nvCxnSpPr>
              <p:cNvPr id="957" name="Straight Connector 956">
                <a:extLst>
                  <a:ext uri="{FF2B5EF4-FFF2-40B4-BE49-F238E27FC236}">
                    <a16:creationId xmlns:a16="http://schemas.microsoft.com/office/drawing/2014/main" id="{90E5066C-3C4B-E6AD-D14A-E3CCAEC9BEFC}"/>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958" name="Straight Connector 957">
                <a:extLst>
                  <a:ext uri="{FF2B5EF4-FFF2-40B4-BE49-F238E27FC236}">
                    <a16:creationId xmlns:a16="http://schemas.microsoft.com/office/drawing/2014/main" id="{84D01B9F-C2C3-05ED-75C7-2871CCF7326C}"/>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959" name="Group 958">
              <a:extLst>
                <a:ext uri="{FF2B5EF4-FFF2-40B4-BE49-F238E27FC236}">
                  <a16:creationId xmlns:a16="http://schemas.microsoft.com/office/drawing/2014/main" id="{D3B56AAE-5114-43AF-C723-AFE829C66686}"/>
                </a:ext>
              </a:extLst>
            </p:cNvPr>
            <p:cNvGrpSpPr/>
            <p:nvPr/>
          </p:nvGrpSpPr>
          <p:grpSpPr>
            <a:xfrm>
              <a:off x="6860647" y="3146815"/>
              <a:ext cx="82971" cy="82971"/>
              <a:chOff x="7236884" y="3439984"/>
              <a:chExt cx="108000" cy="108000"/>
            </a:xfrm>
          </p:grpSpPr>
          <p:cxnSp>
            <p:nvCxnSpPr>
              <p:cNvPr id="960" name="Straight Connector 959">
                <a:extLst>
                  <a:ext uri="{FF2B5EF4-FFF2-40B4-BE49-F238E27FC236}">
                    <a16:creationId xmlns:a16="http://schemas.microsoft.com/office/drawing/2014/main" id="{B7864A63-1F3A-E9AD-D49E-48653B243732}"/>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961" name="Straight Connector 960">
                <a:extLst>
                  <a:ext uri="{FF2B5EF4-FFF2-40B4-BE49-F238E27FC236}">
                    <a16:creationId xmlns:a16="http://schemas.microsoft.com/office/drawing/2014/main" id="{9A9EBC29-7072-5451-A360-4E9EC5B6FAAC}"/>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962" name="Group 961">
              <a:extLst>
                <a:ext uri="{FF2B5EF4-FFF2-40B4-BE49-F238E27FC236}">
                  <a16:creationId xmlns:a16="http://schemas.microsoft.com/office/drawing/2014/main" id="{062D6EF5-9E22-8F5D-8050-82C032ED4943}"/>
                </a:ext>
              </a:extLst>
            </p:cNvPr>
            <p:cNvGrpSpPr/>
            <p:nvPr/>
          </p:nvGrpSpPr>
          <p:grpSpPr>
            <a:xfrm>
              <a:off x="6789209" y="3146815"/>
              <a:ext cx="82971" cy="82971"/>
              <a:chOff x="7236884" y="3439984"/>
              <a:chExt cx="108000" cy="108000"/>
            </a:xfrm>
          </p:grpSpPr>
          <p:cxnSp>
            <p:nvCxnSpPr>
              <p:cNvPr id="963" name="Straight Connector 962">
                <a:extLst>
                  <a:ext uri="{FF2B5EF4-FFF2-40B4-BE49-F238E27FC236}">
                    <a16:creationId xmlns:a16="http://schemas.microsoft.com/office/drawing/2014/main" id="{F70F58EC-E17A-70B0-1291-9B4171DE7E57}"/>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964" name="Straight Connector 963">
                <a:extLst>
                  <a:ext uri="{FF2B5EF4-FFF2-40B4-BE49-F238E27FC236}">
                    <a16:creationId xmlns:a16="http://schemas.microsoft.com/office/drawing/2014/main" id="{73B7BD52-D1A5-B41A-7A23-2F056F36A2C2}"/>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965" name="Group 964">
              <a:extLst>
                <a:ext uri="{FF2B5EF4-FFF2-40B4-BE49-F238E27FC236}">
                  <a16:creationId xmlns:a16="http://schemas.microsoft.com/office/drawing/2014/main" id="{28E20230-791B-2061-1B07-552F0F602460}"/>
                </a:ext>
              </a:extLst>
            </p:cNvPr>
            <p:cNvGrpSpPr/>
            <p:nvPr/>
          </p:nvGrpSpPr>
          <p:grpSpPr>
            <a:xfrm>
              <a:off x="6779683" y="3146815"/>
              <a:ext cx="82971" cy="82971"/>
              <a:chOff x="7236884" y="3439984"/>
              <a:chExt cx="108000" cy="108000"/>
            </a:xfrm>
          </p:grpSpPr>
          <p:cxnSp>
            <p:nvCxnSpPr>
              <p:cNvPr id="966" name="Straight Connector 965">
                <a:extLst>
                  <a:ext uri="{FF2B5EF4-FFF2-40B4-BE49-F238E27FC236}">
                    <a16:creationId xmlns:a16="http://schemas.microsoft.com/office/drawing/2014/main" id="{F6638F80-311C-2F54-2137-2A1BD216104A}"/>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967" name="Straight Connector 966">
                <a:extLst>
                  <a:ext uri="{FF2B5EF4-FFF2-40B4-BE49-F238E27FC236}">
                    <a16:creationId xmlns:a16="http://schemas.microsoft.com/office/drawing/2014/main" id="{5F13B1E9-B1AC-1051-7093-D365D31020BE}"/>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968" name="Group 967">
              <a:extLst>
                <a:ext uri="{FF2B5EF4-FFF2-40B4-BE49-F238E27FC236}">
                  <a16:creationId xmlns:a16="http://schemas.microsoft.com/office/drawing/2014/main" id="{DB453DD3-1A7D-2F93-6AD0-9617EFB6A125}"/>
                </a:ext>
              </a:extLst>
            </p:cNvPr>
            <p:cNvGrpSpPr/>
            <p:nvPr/>
          </p:nvGrpSpPr>
          <p:grpSpPr>
            <a:xfrm>
              <a:off x="6758251" y="3142053"/>
              <a:ext cx="82971" cy="82971"/>
              <a:chOff x="7236884" y="3439984"/>
              <a:chExt cx="108000" cy="108000"/>
            </a:xfrm>
          </p:grpSpPr>
          <p:cxnSp>
            <p:nvCxnSpPr>
              <p:cNvPr id="969" name="Straight Connector 968">
                <a:extLst>
                  <a:ext uri="{FF2B5EF4-FFF2-40B4-BE49-F238E27FC236}">
                    <a16:creationId xmlns:a16="http://schemas.microsoft.com/office/drawing/2014/main" id="{360090F5-005E-2CEC-B628-A7066198D808}"/>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970" name="Straight Connector 969">
                <a:extLst>
                  <a:ext uri="{FF2B5EF4-FFF2-40B4-BE49-F238E27FC236}">
                    <a16:creationId xmlns:a16="http://schemas.microsoft.com/office/drawing/2014/main" id="{9CBF5F8D-DD7F-46A8-3657-02B71846AE0B}"/>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971" name="Group 970">
              <a:extLst>
                <a:ext uri="{FF2B5EF4-FFF2-40B4-BE49-F238E27FC236}">
                  <a16:creationId xmlns:a16="http://schemas.microsoft.com/office/drawing/2014/main" id="{A51A4121-6A55-16ED-3492-D5EA30231F69}"/>
                </a:ext>
              </a:extLst>
            </p:cNvPr>
            <p:cNvGrpSpPr/>
            <p:nvPr/>
          </p:nvGrpSpPr>
          <p:grpSpPr>
            <a:xfrm>
              <a:off x="6684314" y="3099059"/>
              <a:ext cx="82971" cy="82971"/>
              <a:chOff x="7236884" y="3439984"/>
              <a:chExt cx="108000" cy="108000"/>
            </a:xfrm>
          </p:grpSpPr>
          <p:cxnSp>
            <p:nvCxnSpPr>
              <p:cNvPr id="972" name="Straight Connector 971">
                <a:extLst>
                  <a:ext uri="{FF2B5EF4-FFF2-40B4-BE49-F238E27FC236}">
                    <a16:creationId xmlns:a16="http://schemas.microsoft.com/office/drawing/2014/main" id="{44A17DB1-799F-89BB-2BD1-FCF95EB2C19E}"/>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973" name="Straight Connector 972">
                <a:extLst>
                  <a:ext uri="{FF2B5EF4-FFF2-40B4-BE49-F238E27FC236}">
                    <a16:creationId xmlns:a16="http://schemas.microsoft.com/office/drawing/2014/main" id="{F2792EEA-13B2-DBE8-A35E-859EFDF48F4F}"/>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974" name="Group 973">
              <a:extLst>
                <a:ext uri="{FF2B5EF4-FFF2-40B4-BE49-F238E27FC236}">
                  <a16:creationId xmlns:a16="http://schemas.microsoft.com/office/drawing/2014/main" id="{EA40F0CF-96E3-C0CE-5221-F214960A8ACE}"/>
                </a:ext>
              </a:extLst>
            </p:cNvPr>
            <p:cNvGrpSpPr/>
            <p:nvPr/>
          </p:nvGrpSpPr>
          <p:grpSpPr>
            <a:xfrm>
              <a:off x="6641451" y="3099059"/>
              <a:ext cx="82971" cy="82971"/>
              <a:chOff x="7236884" y="3439984"/>
              <a:chExt cx="108000" cy="108000"/>
            </a:xfrm>
          </p:grpSpPr>
          <p:cxnSp>
            <p:nvCxnSpPr>
              <p:cNvPr id="975" name="Straight Connector 974">
                <a:extLst>
                  <a:ext uri="{FF2B5EF4-FFF2-40B4-BE49-F238E27FC236}">
                    <a16:creationId xmlns:a16="http://schemas.microsoft.com/office/drawing/2014/main" id="{E6A9AA5D-EC91-B8FA-5CE3-EFA349BEC81D}"/>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976" name="Straight Connector 975">
                <a:extLst>
                  <a:ext uri="{FF2B5EF4-FFF2-40B4-BE49-F238E27FC236}">
                    <a16:creationId xmlns:a16="http://schemas.microsoft.com/office/drawing/2014/main" id="{D4FCF6F4-82D6-E1DE-577A-EF13FD164A07}"/>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977" name="Group 976">
              <a:extLst>
                <a:ext uri="{FF2B5EF4-FFF2-40B4-BE49-F238E27FC236}">
                  <a16:creationId xmlns:a16="http://schemas.microsoft.com/office/drawing/2014/main" id="{E75EE74D-F311-FDEF-48F5-B7A314B09924}"/>
                </a:ext>
              </a:extLst>
            </p:cNvPr>
            <p:cNvGrpSpPr/>
            <p:nvPr/>
          </p:nvGrpSpPr>
          <p:grpSpPr>
            <a:xfrm>
              <a:off x="6650976" y="3099059"/>
              <a:ext cx="82971" cy="82971"/>
              <a:chOff x="7236884" y="3439984"/>
              <a:chExt cx="108000" cy="108000"/>
            </a:xfrm>
          </p:grpSpPr>
          <p:cxnSp>
            <p:nvCxnSpPr>
              <p:cNvPr id="978" name="Straight Connector 977">
                <a:extLst>
                  <a:ext uri="{FF2B5EF4-FFF2-40B4-BE49-F238E27FC236}">
                    <a16:creationId xmlns:a16="http://schemas.microsoft.com/office/drawing/2014/main" id="{1293DABB-D910-43C6-CFB4-41A14B3CF304}"/>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979" name="Straight Connector 978">
                <a:extLst>
                  <a:ext uri="{FF2B5EF4-FFF2-40B4-BE49-F238E27FC236}">
                    <a16:creationId xmlns:a16="http://schemas.microsoft.com/office/drawing/2014/main" id="{E95D1FAD-0F52-42E2-8995-E320B5650EF0}"/>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980" name="Group 979">
              <a:extLst>
                <a:ext uri="{FF2B5EF4-FFF2-40B4-BE49-F238E27FC236}">
                  <a16:creationId xmlns:a16="http://schemas.microsoft.com/office/drawing/2014/main" id="{AF20ED03-6CE6-2EE8-0E5D-DE65546B0294}"/>
                </a:ext>
              </a:extLst>
            </p:cNvPr>
            <p:cNvGrpSpPr/>
            <p:nvPr/>
          </p:nvGrpSpPr>
          <p:grpSpPr>
            <a:xfrm>
              <a:off x="6660501" y="3099059"/>
              <a:ext cx="82971" cy="82971"/>
              <a:chOff x="7236884" y="3439984"/>
              <a:chExt cx="108000" cy="108000"/>
            </a:xfrm>
          </p:grpSpPr>
          <p:cxnSp>
            <p:nvCxnSpPr>
              <p:cNvPr id="981" name="Straight Connector 980">
                <a:extLst>
                  <a:ext uri="{FF2B5EF4-FFF2-40B4-BE49-F238E27FC236}">
                    <a16:creationId xmlns:a16="http://schemas.microsoft.com/office/drawing/2014/main" id="{633B20AF-D079-56D4-C831-9EB7C847DEF1}"/>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982" name="Straight Connector 981">
                <a:extLst>
                  <a:ext uri="{FF2B5EF4-FFF2-40B4-BE49-F238E27FC236}">
                    <a16:creationId xmlns:a16="http://schemas.microsoft.com/office/drawing/2014/main" id="{343F2AFA-FB0E-3DF5-073F-A90FCC1310C7}"/>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983" name="Group 982">
              <a:extLst>
                <a:ext uri="{FF2B5EF4-FFF2-40B4-BE49-F238E27FC236}">
                  <a16:creationId xmlns:a16="http://schemas.microsoft.com/office/drawing/2014/main" id="{2C9A63C8-468D-C74B-C3BF-58BC29B605C5}"/>
                </a:ext>
              </a:extLst>
            </p:cNvPr>
            <p:cNvGrpSpPr/>
            <p:nvPr/>
          </p:nvGrpSpPr>
          <p:grpSpPr>
            <a:xfrm>
              <a:off x="6674789" y="3099059"/>
              <a:ext cx="82971" cy="82971"/>
              <a:chOff x="7236884" y="3439984"/>
              <a:chExt cx="108000" cy="108000"/>
            </a:xfrm>
          </p:grpSpPr>
          <p:cxnSp>
            <p:nvCxnSpPr>
              <p:cNvPr id="984" name="Straight Connector 983">
                <a:extLst>
                  <a:ext uri="{FF2B5EF4-FFF2-40B4-BE49-F238E27FC236}">
                    <a16:creationId xmlns:a16="http://schemas.microsoft.com/office/drawing/2014/main" id="{E8C9934F-DE57-D975-8ACD-E5956EBCE018}"/>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985" name="Straight Connector 984">
                <a:extLst>
                  <a:ext uri="{FF2B5EF4-FFF2-40B4-BE49-F238E27FC236}">
                    <a16:creationId xmlns:a16="http://schemas.microsoft.com/office/drawing/2014/main" id="{79D43208-685D-B8DB-64A1-7923C4486DD7}"/>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986" name="Group 985">
              <a:extLst>
                <a:ext uri="{FF2B5EF4-FFF2-40B4-BE49-F238E27FC236}">
                  <a16:creationId xmlns:a16="http://schemas.microsoft.com/office/drawing/2014/main" id="{479F8CAB-E3C9-022E-165B-61B16AC580F8}"/>
                </a:ext>
              </a:extLst>
            </p:cNvPr>
            <p:cNvGrpSpPr/>
            <p:nvPr/>
          </p:nvGrpSpPr>
          <p:grpSpPr>
            <a:xfrm>
              <a:off x="6612876" y="3099059"/>
              <a:ext cx="82971" cy="82971"/>
              <a:chOff x="7236884" y="3439984"/>
              <a:chExt cx="108000" cy="108000"/>
            </a:xfrm>
          </p:grpSpPr>
          <p:cxnSp>
            <p:nvCxnSpPr>
              <p:cNvPr id="987" name="Straight Connector 986">
                <a:extLst>
                  <a:ext uri="{FF2B5EF4-FFF2-40B4-BE49-F238E27FC236}">
                    <a16:creationId xmlns:a16="http://schemas.microsoft.com/office/drawing/2014/main" id="{3F1F842F-7EF0-F96F-C391-1FF8B83364A6}"/>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988" name="Straight Connector 987">
                <a:extLst>
                  <a:ext uri="{FF2B5EF4-FFF2-40B4-BE49-F238E27FC236}">
                    <a16:creationId xmlns:a16="http://schemas.microsoft.com/office/drawing/2014/main" id="{4EBA5E85-0DD1-A0A6-9651-292CA77A08CA}"/>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989" name="Group 988">
              <a:extLst>
                <a:ext uri="{FF2B5EF4-FFF2-40B4-BE49-F238E27FC236}">
                  <a16:creationId xmlns:a16="http://schemas.microsoft.com/office/drawing/2014/main" id="{A38C879E-80DD-072A-13F9-ECA97F3E9F15}"/>
                </a:ext>
              </a:extLst>
            </p:cNvPr>
            <p:cNvGrpSpPr/>
            <p:nvPr/>
          </p:nvGrpSpPr>
          <p:grpSpPr>
            <a:xfrm>
              <a:off x="6586682" y="3099059"/>
              <a:ext cx="82971" cy="82971"/>
              <a:chOff x="7236884" y="3439984"/>
              <a:chExt cx="108000" cy="108000"/>
            </a:xfrm>
          </p:grpSpPr>
          <p:cxnSp>
            <p:nvCxnSpPr>
              <p:cNvPr id="990" name="Straight Connector 989">
                <a:extLst>
                  <a:ext uri="{FF2B5EF4-FFF2-40B4-BE49-F238E27FC236}">
                    <a16:creationId xmlns:a16="http://schemas.microsoft.com/office/drawing/2014/main" id="{D2E792B0-8283-AD9C-B4DA-078EF17D4AAA}"/>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991" name="Straight Connector 990">
                <a:extLst>
                  <a:ext uri="{FF2B5EF4-FFF2-40B4-BE49-F238E27FC236}">
                    <a16:creationId xmlns:a16="http://schemas.microsoft.com/office/drawing/2014/main" id="{1F27830B-48B1-117F-CFF9-DB92C35B6401}"/>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992" name="Group 991">
              <a:extLst>
                <a:ext uri="{FF2B5EF4-FFF2-40B4-BE49-F238E27FC236}">
                  <a16:creationId xmlns:a16="http://schemas.microsoft.com/office/drawing/2014/main" id="{77354993-CA89-4981-C57C-4EDAD92D042A}"/>
                </a:ext>
              </a:extLst>
            </p:cNvPr>
            <p:cNvGrpSpPr/>
            <p:nvPr/>
          </p:nvGrpSpPr>
          <p:grpSpPr>
            <a:xfrm>
              <a:off x="6548582" y="3099059"/>
              <a:ext cx="82971" cy="82971"/>
              <a:chOff x="7236884" y="3439984"/>
              <a:chExt cx="108000" cy="108000"/>
            </a:xfrm>
          </p:grpSpPr>
          <p:cxnSp>
            <p:nvCxnSpPr>
              <p:cNvPr id="993" name="Straight Connector 992">
                <a:extLst>
                  <a:ext uri="{FF2B5EF4-FFF2-40B4-BE49-F238E27FC236}">
                    <a16:creationId xmlns:a16="http://schemas.microsoft.com/office/drawing/2014/main" id="{0AD00164-77DB-50F5-A7ED-B986CC65E235}"/>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994" name="Straight Connector 993">
                <a:extLst>
                  <a:ext uri="{FF2B5EF4-FFF2-40B4-BE49-F238E27FC236}">
                    <a16:creationId xmlns:a16="http://schemas.microsoft.com/office/drawing/2014/main" id="{1EE91DED-1E95-A050-8A3E-AE35CC917435}"/>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995" name="Group 994">
              <a:extLst>
                <a:ext uri="{FF2B5EF4-FFF2-40B4-BE49-F238E27FC236}">
                  <a16:creationId xmlns:a16="http://schemas.microsoft.com/office/drawing/2014/main" id="{16875C33-8699-A18B-4F1C-E8F489D6766F}"/>
                </a:ext>
              </a:extLst>
            </p:cNvPr>
            <p:cNvGrpSpPr/>
            <p:nvPr/>
          </p:nvGrpSpPr>
          <p:grpSpPr>
            <a:xfrm>
              <a:off x="6560488" y="3099059"/>
              <a:ext cx="82971" cy="82971"/>
              <a:chOff x="7236884" y="3439984"/>
              <a:chExt cx="108000" cy="108000"/>
            </a:xfrm>
          </p:grpSpPr>
          <p:cxnSp>
            <p:nvCxnSpPr>
              <p:cNvPr id="996" name="Straight Connector 995">
                <a:extLst>
                  <a:ext uri="{FF2B5EF4-FFF2-40B4-BE49-F238E27FC236}">
                    <a16:creationId xmlns:a16="http://schemas.microsoft.com/office/drawing/2014/main" id="{F59F263F-1307-D76F-A2BD-5B261F87665F}"/>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997" name="Straight Connector 996">
                <a:extLst>
                  <a:ext uri="{FF2B5EF4-FFF2-40B4-BE49-F238E27FC236}">
                    <a16:creationId xmlns:a16="http://schemas.microsoft.com/office/drawing/2014/main" id="{6FC03C93-0DAB-52C7-75C9-40B4E7AA1719}"/>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998" name="Group 997">
              <a:extLst>
                <a:ext uri="{FF2B5EF4-FFF2-40B4-BE49-F238E27FC236}">
                  <a16:creationId xmlns:a16="http://schemas.microsoft.com/office/drawing/2014/main" id="{46827F67-27D7-01B3-59BC-A1F1481AE5A1}"/>
                </a:ext>
              </a:extLst>
            </p:cNvPr>
            <p:cNvGrpSpPr/>
            <p:nvPr/>
          </p:nvGrpSpPr>
          <p:grpSpPr>
            <a:xfrm>
              <a:off x="6570013" y="3099059"/>
              <a:ext cx="82971" cy="82971"/>
              <a:chOff x="7236884" y="3439984"/>
              <a:chExt cx="108000" cy="108000"/>
            </a:xfrm>
          </p:grpSpPr>
          <p:cxnSp>
            <p:nvCxnSpPr>
              <p:cNvPr id="999" name="Straight Connector 998">
                <a:extLst>
                  <a:ext uri="{FF2B5EF4-FFF2-40B4-BE49-F238E27FC236}">
                    <a16:creationId xmlns:a16="http://schemas.microsoft.com/office/drawing/2014/main" id="{38123351-6251-1244-7656-F5A005ED16C7}"/>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000" name="Straight Connector 999">
                <a:extLst>
                  <a:ext uri="{FF2B5EF4-FFF2-40B4-BE49-F238E27FC236}">
                    <a16:creationId xmlns:a16="http://schemas.microsoft.com/office/drawing/2014/main" id="{9BCB46B6-40EE-0786-05EE-8280B13C6451}"/>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001" name="Group 1000">
              <a:extLst>
                <a:ext uri="{FF2B5EF4-FFF2-40B4-BE49-F238E27FC236}">
                  <a16:creationId xmlns:a16="http://schemas.microsoft.com/office/drawing/2014/main" id="{D7131AD0-65E2-9243-4C58-924D0CA87EC7}"/>
                </a:ext>
              </a:extLst>
            </p:cNvPr>
            <p:cNvGrpSpPr/>
            <p:nvPr/>
          </p:nvGrpSpPr>
          <p:grpSpPr>
            <a:xfrm>
              <a:off x="6541438" y="3079056"/>
              <a:ext cx="82971" cy="82971"/>
              <a:chOff x="7236884" y="3439984"/>
              <a:chExt cx="108000" cy="108000"/>
            </a:xfrm>
          </p:grpSpPr>
          <p:cxnSp>
            <p:nvCxnSpPr>
              <p:cNvPr id="1002" name="Straight Connector 1001">
                <a:extLst>
                  <a:ext uri="{FF2B5EF4-FFF2-40B4-BE49-F238E27FC236}">
                    <a16:creationId xmlns:a16="http://schemas.microsoft.com/office/drawing/2014/main" id="{14803CEB-A42A-A50B-15DE-12E681AFDE37}"/>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003" name="Straight Connector 1002">
                <a:extLst>
                  <a:ext uri="{FF2B5EF4-FFF2-40B4-BE49-F238E27FC236}">
                    <a16:creationId xmlns:a16="http://schemas.microsoft.com/office/drawing/2014/main" id="{BC0A558F-D0AE-FABB-50EC-1EBE4BEA8D33}"/>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004" name="Group 1003">
              <a:extLst>
                <a:ext uri="{FF2B5EF4-FFF2-40B4-BE49-F238E27FC236}">
                  <a16:creationId xmlns:a16="http://schemas.microsoft.com/office/drawing/2014/main" id="{F7566E4A-C435-23CD-0C6F-A83423591E19}"/>
                </a:ext>
              </a:extLst>
            </p:cNvPr>
            <p:cNvGrpSpPr/>
            <p:nvPr/>
          </p:nvGrpSpPr>
          <p:grpSpPr>
            <a:xfrm>
              <a:off x="6512863" y="3076675"/>
              <a:ext cx="82971" cy="82971"/>
              <a:chOff x="7236884" y="3439984"/>
              <a:chExt cx="108000" cy="108000"/>
            </a:xfrm>
          </p:grpSpPr>
          <p:cxnSp>
            <p:nvCxnSpPr>
              <p:cNvPr id="1005" name="Straight Connector 1004">
                <a:extLst>
                  <a:ext uri="{FF2B5EF4-FFF2-40B4-BE49-F238E27FC236}">
                    <a16:creationId xmlns:a16="http://schemas.microsoft.com/office/drawing/2014/main" id="{6A19775D-0031-3168-BD98-50445C458CBC}"/>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006" name="Straight Connector 1005">
                <a:extLst>
                  <a:ext uri="{FF2B5EF4-FFF2-40B4-BE49-F238E27FC236}">
                    <a16:creationId xmlns:a16="http://schemas.microsoft.com/office/drawing/2014/main" id="{0658D578-0F51-4407-582F-CBCE6E1CB668}"/>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007" name="Group 1006">
              <a:extLst>
                <a:ext uri="{FF2B5EF4-FFF2-40B4-BE49-F238E27FC236}">
                  <a16:creationId xmlns:a16="http://schemas.microsoft.com/office/drawing/2014/main" id="{433E324D-1B44-36F1-5A96-EDA128B8FB7A}"/>
                </a:ext>
              </a:extLst>
            </p:cNvPr>
            <p:cNvGrpSpPr/>
            <p:nvPr/>
          </p:nvGrpSpPr>
          <p:grpSpPr>
            <a:xfrm>
              <a:off x="6493814" y="3067151"/>
              <a:ext cx="82971" cy="82971"/>
              <a:chOff x="7236884" y="3439984"/>
              <a:chExt cx="108000" cy="108000"/>
            </a:xfrm>
          </p:grpSpPr>
          <p:cxnSp>
            <p:nvCxnSpPr>
              <p:cNvPr id="1008" name="Straight Connector 1007">
                <a:extLst>
                  <a:ext uri="{FF2B5EF4-FFF2-40B4-BE49-F238E27FC236}">
                    <a16:creationId xmlns:a16="http://schemas.microsoft.com/office/drawing/2014/main" id="{461DB81C-A48E-BC1E-A7BB-2DD35B0D6E9C}"/>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009" name="Straight Connector 1008">
                <a:extLst>
                  <a:ext uri="{FF2B5EF4-FFF2-40B4-BE49-F238E27FC236}">
                    <a16:creationId xmlns:a16="http://schemas.microsoft.com/office/drawing/2014/main" id="{6F5F3404-8C3F-5170-EA00-C701E2AE2FF6}"/>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010" name="Group 1009">
              <a:extLst>
                <a:ext uri="{FF2B5EF4-FFF2-40B4-BE49-F238E27FC236}">
                  <a16:creationId xmlns:a16="http://schemas.microsoft.com/office/drawing/2014/main" id="{316A027D-90C2-A724-24F7-6E63B1F58C9F}"/>
                </a:ext>
              </a:extLst>
            </p:cNvPr>
            <p:cNvGrpSpPr/>
            <p:nvPr/>
          </p:nvGrpSpPr>
          <p:grpSpPr>
            <a:xfrm>
              <a:off x="6484289" y="3051539"/>
              <a:ext cx="82971" cy="82971"/>
              <a:chOff x="7236884" y="3439984"/>
              <a:chExt cx="108000" cy="108000"/>
            </a:xfrm>
          </p:grpSpPr>
          <p:cxnSp>
            <p:nvCxnSpPr>
              <p:cNvPr id="1011" name="Straight Connector 1010">
                <a:extLst>
                  <a:ext uri="{FF2B5EF4-FFF2-40B4-BE49-F238E27FC236}">
                    <a16:creationId xmlns:a16="http://schemas.microsoft.com/office/drawing/2014/main" id="{90D7FD52-C019-ADA5-C0A7-040F23BE1EBB}"/>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012" name="Straight Connector 1011">
                <a:extLst>
                  <a:ext uri="{FF2B5EF4-FFF2-40B4-BE49-F238E27FC236}">
                    <a16:creationId xmlns:a16="http://schemas.microsoft.com/office/drawing/2014/main" id="{DB9832B3-ECC6-F1BC-6C93-5F25647027C6}"/>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013" name="Group 1012">
              <a:extLst>
                <a:ext uri="{FF2B5EF4-FFF2-40B4-BE49-F238E27FC236}">
                  <a16:creationId xmlns:a16="http://schemas.microsoft.com/office/drawing/2014/main" id="{5E846963-1C16-32BE-9140-2399D296F5F9}"/>
                </a:ext>
              </a:extLst>
            </p:cNvPr>
            <p:cNvGrpSpPr/>
            <p:nvPr/>
          </p:nvGrpSpPr>
          <p:grpSpPr>
            <a:xfrm>
              <a:off x="6446189" y="2995124"/>
              <a:ext cx="82971" cy="82971"/>
              <a:chOff x="7236884" y="3439984"/>
              <a:chExt cx="108000" cy="108000"/>
            </a:xfrm>
          </p:grpSpPr>
          <p:cxnSp>
            <p:nvCxnSpPr>
              <p:cNvPr id="1014" name="Straight Connector 1013">
                <a:extLst>
                  <a:ext uri="{FF2B5EF4-FFF2-40B4-BE49-F238E27FC236}">
                    <a16:creationId xmlns:a16="http://schemas.microsoft.com/office/drawing/2014/main" id="{5578C0E9-A5C5-0E14-1A6B-742BF5502E5A}"/>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015" name="Straight Connector 1014">
                <a:extLst>
                  <a:ext uri="{FF2B5EF4-FFF2-40B4-BE49-F238E27FC236}">
                    <a16:creationId xmlns:a16="http://schemas.microsoft.com/office/drawing/2014/main" id="{8367BF59-41D2-3BCC-5727-306FE2550142}"/>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016" name="Group 1015">
              <a:extLst>
                <a:ext uri="{FF2B5EF4-FFF2-40B4-BE49-F238E27FC236}">
                  <a16:creationId xmlns:a16="http://schemas.microsoft.com/office/drawing/2014/main" id="{54F5B7F5-C791-2879-14C1-30648D5F2FC8}"/>
                </a:ext>
              </a:extLst>
            </p:cNvPr>
            <p:cNvGrpSpPr/>
            <p:nvPr/>
          </p:nvGrpSpPr>
          <p:grpSpPr>
            <a:xfrm>
              <a:off x="6417614" y="2990362"/>
              <a:ext cx="82971" cy="82971"/>
              <a:chOff x="7236884" y="3439984"/>
              <a:chExt cx="108000" cy="108000"/>
            </a:xfrm>
          </p:grpSpPr>
          <p:cxnSp>
            <p:nvCxnSpPr>
              <p:cNvPr id="1017" name="Straight Connector 1016">
                <a:extLst>
                  <a:ext uri="{FF2B5EF4-FFF2-40B4-BE49-F238E27FC236}">
                    <a16:creationId xmlns:a16="http://schemas.microsoft.com/office/drawing/2014/main" id="{FBCEF738-CDFD-4C80-D8C4-761FFA890196}"/>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018" name="Straight Connector 1017">
                <a:extLst>
                  <a:ext uri="{FF2B5EF4-FFF2-40B4-BE49-F238E27FC236}">
                    <a16:creationId xmlns:a16="http://schemas.microsoft.com/office/drawing/2014/main" id="{8BACBEFF-9685-CD0F-59A2-A56E1785B009}"/>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019" name="Group 1018">
              <a:extLst>
                <a:ext uri="{FF2B5EF4-FFF2-40B4-BE49-F238E27FC236}">
                  <a16:creationId xmlns:a16="http://schemas.microsoft.com/office/drawing/2014/main" id="{8AE9617E-210E-22A4-0E5C-0C7E8053A9DF}"/>
                </a:ext>
              </a:extLst>
            </p:cNvPr>
            <p:cNvGrpSpPr/>
            <p:nvPr/>
          </p:nvGrpSpPr>
          <p:grpSpPr>
            <a:xfrm>
              <a:off x="6400945" y="2990362"/>
              <a:ext cx="82971" cy="82971"/>
              <a:chOff x="7236884" y="3439984"/>
              <a:chExt cx="108000" cy="108000"/>
            </a:xfrm>
          </p:grpSpPr>
          <p:cxnSp>
            <p:nvCxnSpPr>
              <p:cNvPr id="1020" name="Straight Connector 1019">
                <a:extLst>
                  <a:ext uri="{FF2B5EF4-FFF2-40B4-BE49-F238E27FC236}">
                    <a16:creationId xmlns:a16="http://schemas.microsoft.com/office/drawing/2014/main" id="{0AC1B3D5-CA9F-4774-93E9-982D147C1EE8}"/>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021" name="Straight Connector 1020">
                <a:extLst>
                  <a:ext uri="{FF2B5EF4-FFF2-40B4-BE49-F238E27FC236}">
                    <a16:creationId xmlns:a16="http://schemas.microsoft.com/office/drawing/2014/main" id="{7415FEA9-D16E-8621-C8BE-C25A218BD7FB}"/>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022" name="Group 1021">
              <a:extLst>
                <a:ext uri="{FF2B5EF4-FFF2-40B4-BE49-F238E27FC236}">
                  <a16:creationId xmlns:a16="http://schemas.microsoft.com/office/drawing/2014/main" id="{0E9E7438-1257-C791-BB6E-B9DE0820AD4C}"/>
                </a:ext>
              </a:extLst>
            </p:cNvPr>
            <p:cNvGrpSpPr/>
            <p:nvPr/>
          </p:nvGrpSpPr>
          <p:grpSpPr>
            <a:xfrm>
              <a:off x="6384277" y="2990362"/>
              <a:ext cx="82971" cy="82971"/>
              <a:chOff x="7236884" y="3439984"/>
              <a:chExt cx="108000" cy="108000"/>
            </a:xfrm>
          </p:grpSpPr>
          <p:cxnSp>
            <p:nvCxnSpPr>
              <p:cNvPr id="1023" name="Straight Connector 1022">
                <a:extLst>
                  <a:ext uri="{FF2B5EF4-FFF2-40B4-BE49-F238E27FC236}">
                    <a16:creationId xmlns:a16="http://schemas.microsoft.com/office/drawing/2014/main" id="{FC27150A-CF51-AC21-C6EF-7D869847204E}"/>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024" name="Straight Connector 1023">
                <a:extLst>
                  <a:ext uri="{FF2B5EF4-FFF2-40B4-BE49-F238E27FC236}">
                    <a16:creationId xmlns:a16="http://schemas.microsoft.com/office/drawing/2014/main" id="{C3094B2E-C9BE-63AA-043A-1BC462B8F84D}"/>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025" name="Group 1024">
              <a:extLst>
                <a:ext uri="{FF2B5EF4-FFF2-40B4-BE49-F238E27FC236}">
                  <a16:creationId xmlns:a16="http://schemas.microsoft.com/office/drawing/2014/main" id="{56A6BA98-3094-0E50-F535-B47467A90011}"/>
                </a:ext>
              </a:extLst>
            </p:cNvPr>
            <p:cNvGrpSpPr/>
            <p:nvPr/>
          </p:nvGrpSpPr>
          <p:grpSpPr>
            <a:xfrm>
              <a:off x="6364812" y="2980883"/>
              <a:ext cx="82971" cy="82971"/>
              <a:chOff x="7236884" y="3439984"/>
              <a:chExt cx="108000" cy="108000"/>
            </a:xfrm>
          </p:grpSpPr>
          <p:cxnSp>
            <p:nvCxnSpPr>
              <p:cNvPr id="1026" name="Straight Connector 1025">
                <a:extLst>
                  <a:ext uri="{FF2B5EF4-FFF2-40B4-BE49-F238E27FC236}">
                    <a16:creationId xmlns:a16="http://schemas.microsoft.com/office/drawing/2014/main" id="{20421261-5296-198B-994C-81194DBCE09D}"/>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027" name="Straight Connector 1026">
                <a:extLst>
                  <a:ext uri="{FF2B5EF4-FFF2-40B4-BE49-F238E27FC236}">
                    <a16:creationId xmlns:a16="http://schemas.microsoft.com/office/drawing/2014/main" id="{64B503A2-DDEF-92CC-B0DF-A2DB40BD5E9D}"/>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028" name="Group 1027">
              <a:extLst>
                <a:ext uri="{FF2B5EF4-FFF2-40B4-BE49-F238E27FC236}">
                  <a16:creationId xmlns:a16="http://schemas.microsoft.com/office/drawing/2014/main" id="{9F12C141-6ECC-CB7E-28BF-52FE5B90C0B0}"/>
                </a:ext>
              </a:extLst>
            </p:cNvPr>
            <p:cNvGrpSpPr/>
            <p:nvPr/>
          </p:nvGrpSpPr>
          <p:grpSpPr>
            <a:xfrm>
              <a:off x="6348593" y="2972000"/>
              <a:ext cx="82971" cy="82971"/>
              <a:chOff x="7236884" y="3439984"/>
              <a:chExt cx="108000" cy="108000"/>
            </a:xfrm>
          </p:grpSpPr>
          <p:cxnSp>
            <p:nvCxnSpPr>
              <p:cNvPr id="1029" name="Straight Connector 1028">
                <a:extLst>
                  <a:ext uri="{FF2B5EF4-FFF2-40B4-BE49-F238E27FC236}">
                    <a16:creationId xmlns:a16="http://schemas.microsoft.com/office/drawing/2014/main" id="{074A51AE-45BD-A628-7C4A-D3E01CC9D8F8}"/>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030" name="Straight Connector 1029">
                <a:extLst>
                  <a:ext uri="{FF2B5EF4-FFF2-40B4-BE49-F238E27FC236}">
                    <a16:creationId xmlns:a16="http://schemas.microsoft.com/office/drawing/2014/main" id="{A0396D0E-1AFF-1760-F484-5EEEE59DF69F}"/>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031" name="Group 1030">
              <a:extLst>
                <a:ext uri="{FF2B5EF4-FFF2-40B4-BE49-F238E27FC236}">
                  <a16:creationId xmlns:a16="http://schemas.microsoft.com/office/drawing/2014/main" id="{91301ED0-294B-F997-D4C4-56A1491BEC30}"/>
                </a:ext>
              </a:extLst>
            </p:cNvPr>
            <p:cNvGrpSpPr/>
            <p:nvPr/>
          </p:nvGrpSpPr>
          <p:grpSpPr>
            <a:xfrm>
              <a:off x="6330469" y="2967238"/>
              <a:ext cx="82971" cy="82971"/>
              <a:chOff x="7236884" y="3439984"/>
              <a:chExt cx="108000" cy="108000"/>
            </a:xfrm>
          </p:grpSpPr>
          <p:cxnSp>
            <p:nvCxnSpPr>
              <p:cNvPr id="1032" name="Straight Connector 1031">
                <a:extLst>
                  <a:ext uri="{FF2B5EF4-FFF2-40B4-BE49-F238E27FC236}">
                    <a16:creationId xmlns:a16="http://schemas.microsoft.com/office/drawing/2014/main" id="{2BD302FE-7571-034F-F133-D544DB02D6C8}"/>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033" name="Straight Connector 1032">
                <a:extLst>
                  <a:ext uri="{FF2B5EF4-FFF2-40B4-BE49-F238E27FC236}">
                    <a16:creationId xmlns:a16="http://schemas.microsoft.com/office/drawing/2014/main" id="{089F4BB7-D3F6-F8B3-961F-F64B79F07AD2}"/>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034" name="Group 1033">
              <a:extLst>
                <a:ext uri="{FF2B5EF4-FFF2-40B4-BE49-F238E27FC236}">
                  <a16:creationId xmlns:a16="http://schemas.microsoft.com/office/drawing/2014/main" id="{2EEFB8B3-7709-FBD6-58E7-0246840885C1}"/>
                </a:ext>
              </a:extLst>
            </p:cNvPr>
            <p:cNvGrpSpPr/>
            <p:nvPr/>
          </p:nvGrpSpPr>
          <p:grpSpPr>
            <a:xfrm>
              <a:off x="6317414" y="2952951"/>
              <a:ext cx="82971" cy="82971"/>
              <a:chOff x="7236884" y="3439984"/>
              <a:chExt cx="108000" cy="108000"/>
            </a:xfrm>
          </p:grpSpPr>
          <p:cxnSp>
            <p:nvCxnSpPr>
              <p:cNvPr id="1035" name="Straight Connector 1034">
                <a:extLst>
                  <a:ext uri="{FF2B5EF4-FFF2-40B4-BE49-F238E27FC236}">
                    <a16:creationId xmlns:a16="http://schemas.microsoft.com/office/drawing/2014/main" id="{F58B5B28-C12C-C387-A248-47B79E45B4A5}"/>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036" name="Straight Connector 1035">
                <a:extLst>
                  <a:ext uri="{FF2B5EF4-FFF2-40B4-BE49-F238E27FC236}">
                    <a16:creationId xmlns:a16="http://schemas.microsoft.com/office/drawing/2014/main" id="{54C183EB-4192-8F2B-19B8-1056113B6C28}"/>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037" name="Group 1036">
              <a:extLst>
                <a:ext uri="{FF2B5EF4-FFF2-40B4-BE49-F238E27FC236}">
                  <a16:creationId xmlns:a16="http://schemas.microsoft.com/office/drawing/2014/main" id="{F23883DB-EB1F-27C5-A1B9-E3FCC443E4DD}"/>
                </a:ext>
              </a:extLst>
            </p:cNvPr>
            <p:cNvGrpSpPr/>
            <p:nvPr/>
          </p:nvGrpSpPr>
          <p:grpSpPr>
            <a:xfrm>
              <a:off x="6292109" y="2953638"/>
              <a:ext cx="82971" cy="82971"/>
              <a:chOff x="7236884" y="3439984"/>
              <a:chExt cx="108000" cy="108000"/>
            </a:xfrm>
          </p:grpSpPr>
          <p:cxnSp>
            <p:nvCxnSpPr>
              <p:cNvPr id="1038" name="Straight Connector 1037">
                <a:extLst>
                  <a:ext uri="{FF2B5EF4-FFF2-40B4-BE49-F238E27FC236}">
                    <a16:creationId xmlns:a16="http://schemas.microsoft.com/office/drawing/2014/main" id="{0B01E56E-C1E8-8780-925A-9925B5918B25}"/>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039" name="Straight Connector 1038">
                <a:extLst>
                  <a:ext uri="{FF2B5EF4-FFF2-40B4-BE49-F238E27FC236}">
                    <a16:creationId xmlns:a16="http://schemas.microsoft.com/office/drawing/2014/main" id="{07C7D7FC-6980-B736-FF67-B53E8AB51E32}"/>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040" name="Group 1039">
              <a:extLst>
                <a:ext uri="{FF2B5EF4-FFF2-40B4-BE49-F238E27FC236}">
                  <a16:creationId xmlns:a16="http://schemas.microsoft.com/office/drawing/2014/main" id="{B17A4FE9-7999-06A7-4908-B384C27F600F}"/>
                </a:ext>
              </a:extLst>
            </p:cNvPr>
            <p:cNvGrpSpPr/>
            <p:nvPr/>
          </p:nvGrpSpPr>
          <p:grpSpPr>
            <a:xfrm>
              <a:off x="6283071" y="2935276"/>
              <a:ext cx="82971" cy="82971"/>
              <a:chOff x="7236884" y="3439984"/>
              <a:chExt cx="108000" cy="108000"/>
            </a:xfrm>
          </p:grpSpPr>
          <p:cxnSp>
            <p:nvCxnSpPr>
              <p:cNvPr id="1041" name="Straight Connector 1040">
                <a:extLst>
                  <a:ext uri="{FF2B5EF4-FFF2-40B4-BE49-F238E27FC236}">
                    <a16:creationId xmlns:a16="http://schemas.microsoft.com/office/drawing/2014/main" id="{2910B15C-0BDA-DD90-4773-67E4EA717309}"/>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042" name="Straight Connector 1041">
                <a:extLst>
                  <a:ext uri="{FF2B5EF4-FFF2-40B4-BE49-F238E27FC236}">
                    <a16:creationId xmlns:a16="http://schemas.microsoft.com/office/drawing/2014/main" id="{AD26D799-3AC4-075F-1718-7B0A723D6BC5}"/>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043" name="Group 1042">
              <a:extLst>
                <a:ext uri="{FF2B5EF4-FFF2-40B4-BE49-F238E27FC236}">
                  <a16:creationId xmlns:a16="http://schemas.microsoft.com/office/drawing/2014/main" id="{44DE14EB-5C85-7D55-8223-974BC3B4CC37}"/>
                </a:ext>
              </a:extLst>
            </p:cNvPr>
            <p:cNvGrpSpPr/>
            <p:nvPr/>
          </p:nvGrpSpPr>
          <p:grpSpPr>
            <a:xfrm>
              <a:off x="6267959" y="2922910"/>
              <a:ext cx="82971" cy="82971"/>
              <a:chOff x="7236884" y="3439984"/>
              <a:chExt cx="108000" cy="108000"/>
            </a:xfrm>
          </p:grpSpPr>
          <p:cxnSp>
            <p:nvCxnSpPr>
              <p:cNvPr id="1044" name="Straight Connector 1043">
                <a:extLst>
                  <a:ext uri="{FF2B5EF4-FFF2-40B4-BE49-F238E27FC236}">
                    <a16:creationId xmlns:a16="http://schemas.microsoft.com/office/drawing/2014/main" id="{69C6A1BB-59CD-83A0-E860-BB3532778EC6}"/>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045" name="Straight Connector 1044">
                <a:extLst>
                  <a:ext uri="{FF2B5EF4-FFF2-40B4-BE49-F238E27FC236}">
                    <a16:creationId xmlns:a16="http://schemas.microsoft.com/office/drawing/2014/main" id="{091F411A-9292-F094-7D63-6094CA801364}"/>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046" name="Group 1045">
              <a:extLst>
                <a:ext uri="{FF2B5EF4-FFF2-40B4-BE49-F238E27FC236}">
                  <a16:creationId xmlns:a16="http://schemas.microsoft.com/office/drawing/2014/main" id="{9FE1A6CF-5C83-7714-E653-678EDED004AB}"/>
                </a:ext>
              </a:extLst>
            </p:cNvPr>
            <p:cNvGrpSpPr/>
            <p:nvPr/>
          </p:nvGrpSpPr>
          <p:grpSpPr>
            <a:xfrm>
              <a:off x="6246543" y="2905422"/>
              <a:ext cx="82971" cy="82971"/>
              <a:chOff x="7236884" y="3439984"/>
              <a:chExt cx="108000" cy="108000"/>
            </a:xfrm>
          </p:grpSpPr>
          <p:cxnSp>
            <p:nvCxnSpPr>
              <p:cNvPr id="1047" name="Straight Connector 1046">
                <a:extLst>
                  <a:ext uri="{FF2B5EF4-FFF2-40B4-BE49-F238E27FC236}">
                    <a16:creationId xmlns:a16="http://schemas.microsoft.com/office/drawing/2014/main" id="{DEE277B8-04D8-491F-C469-C87971286158}"/>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048" name="Straight Connector 1047">
                <a:extLst>
                  <a:ext uri="{FF2B5EF4-FFF2-40B4-BE49-F238E27FC236}">
                    <a16:creationId xmlns:a16="http://schemas.microsoft.com/office/drawing/2014/main" id="{6C513726-79AB-25E6-7590-AD35F5D8A924}"/>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049" name="Group 1048">
              <a:extLst>
                <a:ext uri="{FF2B5EF4-FFF2-40B4-BE49-F238E27FC236}">
                  <a16:creationId xmlns:a16="http://schemas.microsoft.com/office/drawing/2014/main" id="{9CCEB63C-B2EB-4795-CC45-72FE721EFE64}"/>
                </a:ext>
              </a:extLst>
            </p:cNvPr>
            <p:cNvGrpSpPr/>
            <p:nvPr/>
          </p:nvGrpSpPr>
          <p:grpSpPr>
            <a:xfrm>
              <a:off x="6239205" y="2895241"/>
              <a:ext cx="82971" cy="82971"/>
              <a:chOff x="7236884" y="3439984"/>
              <a:chExt cx="108000" cy="108000"/>
            </a:xfrm>
          </p:grpSpPr>
          <p:cxnSp>
            <p:nvCxnSpPr>
              <p:cNvPr id="1050" name="Straight Connector 1049">
                <a:extLst>
                  <a:ext uri="{FF2B5EF4-FFF2-40B4-BE49-F238E27FC236}">
                    <a16:creationId xmlns:a16="http://schemas.microsoft.com/office/drawing/2014/main" id="{4F0BF1BF-CD6B-FEDC-FA34-7BB125F86729}"/>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051" name="Straight Connector 1050">
                <a:extLst>
                  <a:ext uri="{FF2B5EF4-FFF2-40B4-BE49-F238E27FC236}">
                    <a16:creationId xmlns:a16="http://schemas.microsoft.com/office/drawing/2014/main" id="{B5D710BF-EDA2-0559-BCD4-E070511765AB}"/>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052" name="Group 1051">
              <a:extLst>
                <a:ext uri="{FF2B5EF4-FFF2-40B4-BE49-F238E27FC236}">
                  <a16:creationId xmlns:a16="http://schemas.microsoft.com/office/drawing/2014/main" id="{9AB83466-4BEF-2DB7-B5DD-93A4A0909887}"/>
                </a:ext>
              </a:extLst>
            </p:cNvPr>
            <p:cNvGrpSpPr/>
            <p:nvPr/>
          </p:nvGrpSpPr>
          <p:grpSpPr>
            <a:xfrm>
              <a:off x="6225483" y="2890479"/>
              <a:ext cx="82971" cy="82971"/>
              <a:chOff x="7236884" y="3439984"/>
              <a:chExt cx="108000" cy="108000"/>
            </a:xfrm>
          </p:grpSpPr>
          <p:cxnSp>
            <p:nvCxnSpPr>
              <p:cNvPr id="1053" name="Straight Connector 1052">
                <a:extLst>
                  <a:ext uri="{FF2B5EF4-FFF2-40B4-BE49-F238E27FC236}">
                    <a16:creationId xmlns:a16="http://schemas.microsoft.com/office/drawing/2014/main" id="{4B112385-4F26-9C65-5382-7A2E5452F018}"/>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054" name="Straight Connector 1053">
                <a:extLst>
                  <a:ext uri="{FF2B5EF4-FFF2-40B4-BE49-F238E27FC236}">
                    <a16:creationId xmlns:a16="http://schemas.microsoft.com/office/drawing/2014/main" id="{DBBC4597-466A-50DC-D207-D12CF434E8FF}"/>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055" name="Group 1054">
              <a:extLst>
                <a:ext uri="{FF2B5EF4-FFF2-40B4-BE49-F238E27FC236}">
                  <a16:creationId xmlns:a16="http://schemas.microsoft.com/office/drawing/2014/main" id="{C2198AEC-D64D-60AB-44FD-13732D8E8F89}"/>
                </a:ext>
              </a:extLst>
            </p:cNvPr>
            <p:cNvGrpSpPr/>
            <p:nvPr/>
          </p:nvGrpSpPr>
          <p:grpSpPr>
            <a:xfrm>
              <a:off x="6204376" y="2883336"/>
              <a:ext cx="82971" cy="82971"/>
              <a:chOff x="7236884" y="3439984"/>
              <a:chExt cx="108000" cy="108000"/>
            </a:xfrm>
          </p:grpSpPr>
          <p:cxnSp>
            <p:nvCxnSpPr>
              <p:cNvPr id="1056" name="Straight Connector 1055">
                <a:extLst>
                  <a:ext uri="{FF2B5EF4-FFF2-40B4-BE49-F238E27FC236}">
                    <a16:creationId xmlns:a16="http://schemas.microsoft.com/office/drawing/2014/main" id="{12E1694E-8438-09F5-196F-04D409CA6FB6}"/>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057" name="Straight Connector 1056">
                <a:extLst>
                  <a:ext uri="{FF2B5EF4-FFF2-40B4-BE49-F238E27FC236}">
                    <a16:creationId xmlns:a16="http://schemas.microsoft.com/office/drawing/2014/main" id="{8EF9CAC1-F315-3C2A-34BE-1315F9644303}"/>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058" name="Group 1057">
              <a:extLst>
                <a:ext uri="{FF2B5EF4-FFF2-40B4-BE49-F238E27FC236}">
                  <a16:creationId xmlns:a16="http://schemas.microsoft.com/office/drawing/2014/main" id="{5735C1BD-DB66-11D2-589D-4A3EDA0425EE}"/>
                </a:ext>
              </a:extLst>
            </p:cNvPr>
            <p:cNvGrpSpPr/>
            <p:nvPr/>
          </p:nvGrpSpPr>
          <p:grpSpPr>
            <a:xfrm>
              <a:off x="6156429" y="2878574"/>
              <a:ext cx="82971" cy="82971"/>
              <a:chOff x="7236884" y="3439984"/>
              <a:chExt cx="108000" cy="108000"/>
            </a:xfrm>
          </p:grpSpPr>
          <p:cxnSp>
            <p:nvCxnSpPr>
              <p:cNvPr id="1059" name="Straight Connector 1058">
                <a:extLst>
                  <a:ext uri="{FF2B5EF4-FFF2-40B4-BE49-F238E27FC236}">
                    <a16:creationId xmlns:a16="http://schemas.microsoft.com/office/drawing/2014/main" id="{8570FAA2-94B8-1575-0F78-0E221B3F4574}"/>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060" name="Straight Connector 1059">
                <a:extLst>
                  <a:ext uri="{FF2B5EF4-FFF2-40B4-BE49-F238E27FC236}">
                    <a16:creationId xmlns:a16="http://schemas.microsoft.com/office/drawing/2014/main" id="{E0B919A1-4CD9-F9AB-513F-795B0F02DD56}"/>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064" name="Group 1063">
              <a:extLst>
                <a:ext uri="{FF2B5EF4-FFF2-40B4-BE49-F238E27FC236}">
                  <a16:creationId xmlns:a16="http://schemas.microsoft.com/office/drawing/2014/main" id="{F1B3A5F1-F1F2-40C5-40BA-BB79FA719B42}"/>
                </a:ext>
              </a:extLst>
            </p:cNvPr>
            <p:cNvGrpSpPr/>
            <p:nvPr/>
          </p:nvGrpSpPr>
          <p:grpSpPr>
            <a:xfrm>
              <a:off x="6187385" y="2878574"/>
              <a:ext cx="82971" cy="82971"/>
              <a:chOff x="7236884" y="3439984"/>
              <a:chExt cx="108000" cy="108000"/>
            </a:xfrm>
          </p:grpSpPr>
          <p:cxnSp>
            <p:nvCxnSpPr>
              <p:cNvPr id="1065" name="Straight Connector 1064">
                <a:extLst>
                  <a:ext uri="{FF2B5EF4-FFF2-40B4-BE49-F238E27FC236}">
                    <a16:creationId xmlns:a16="http://schemas.microsoft.com/office/drawing/2014/main" id="{743493D2-2567-3F2E-0FE8-D8C51934FE35}"/>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066" name="Straight Connector 1065">
                <a:extLst>
                  <a:ext uri="{FF2B5EF4-FFF2-40B4-BE49-F238E27FC236}">
                    <a16:creationId xmlns:a16="http://schemas.microsoft.com/office/drawing/2014/main" id="{1D53943B-C89E-841C-6481-C6C68F8CE09A}"/>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067" name="Group 1066">
              <a:extLst>
                <a:ext uri="{FF2B5EF4-FFF2-40B4-BE49-F238E27FC236}">
                  <a16:creationId xmlns:a16="http://schemas.microsoft.com/office/drawing/2014/main" id="{683E3284-E08B-D845-F9A4-10A407B321BA}"/>
                </a:ext>
              </a:extLst>
            </p:cNvPr>
            <p:cNvGrpSpPr/>
            <p:nvPr/>
          </p:nvGrpSpPr>
          <p:grpSpPr>
            <a:xfrm>
              <a:off x="6172211" y="2878574"/>
              <a:ext cx="82971" cy="82971"/>
              <a:chOff x="7236884" y="3439984"/>
              <a:chExt cx="108000" cy="108000"/>
            </a:xfrm>
          </p:grpSpPr>
          <p:cxnSp>
            <p:nvCxnSpPr>
              <p:cNvPr id="1068" name="Straight Connector 1067">
                <a:extLst>
                  <a:ext uri="{FF2B5EF4-FFF2-40B4-BE49-F238E27FC236}">
                    <a16:creationId xmlns:a16="http://schemas.microsoft.com/office/drawing/2014/main" id="{0C4AD8E6-B84A-B748-72FE-1B399932B5A1}"/>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069" name="Straight Connector 1068">
                <a:extLst>
                  <a:ext uri="{FF2B5EF4-FFF2-40B4-BE49-F238E27FC236}">
                    <a16:creationId xmlns:a16="http://schemas.microsoft.com/office/drawing/2014/main" id="{547FD2BE-59D3-80A7-6283-D6C2B5E025F2}"/>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070" name="Group 1069">
              <a:extLst>
                <a:ext uri="{FF2B5EF4-FFF2-40B4-BE49-F238E27FC236}">
                  <a16:creationId xmlns:a16="http://schemas.microsoft.com/office/drawing/2014/main" id="{341AF48F-3170-49FF-C859-BB3B28032951}"/>
                </a:ext>
              </a:extLst>
            </p:cNvPr>
            <p:cNvGrpSpPr/>
            <p:nvPr/>
          </p:nvGrpSpPr>
          <p:grpSpPr>
            <a:xfrm>
              <a:off x="6140732" y="2853756"/>
              <a:ext cx="82971" cy="82971"/>
              <a:chOff x="7236884" y="3439984"/>
              <a:chExt cx="108000" cy="108000"/>
            </a:xfrm>
          </p:grpSpPr>
          <p:cxnSp>
            <p:nvCxnSpPr>
              <p:cNvPr id="1071" name="Straight Connector 1070">
                <a:extLst>
                  <a:ext uri="{FF2B5EF4-FFF2-40B4-BE49-F238E27FC236}">
                    <a16:creationId xmlns:a16="http://schemas.microsoft.com/office/drawing/2014/main" id="{E6E49589-3C3F-0CA8-2A9F-3E017903E092}"/>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072" name="Straight Connector 1071">
                <a:extLst>
                  <a:ext uri="{FF2B5EF4-FFF2-40B4-BE49-F238E27FC236}">
                    <a16:creationId xmlns:a16="http://schemas.microsoft.com/office/drawing/2014/main" id="{5BD7FCFA-29CF-8A98-2BC6-F76817515E02}"/>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073" name="Group 1072">
              <a:extLst>
                <a:ext uri="{FF2B5EF4-FFF2-40B4-BE49-F238E27FC236}">
                  <a16:creationId xmlns:a16="http://schemas.microsoft.com/office/drawing/2014/main" id="{8C16B47E-C5A2-A8ED-6A80-84BE781F65FC}"/>
                </a:ext>
              </a:extLst>
            </p:cNvPr>
            <p:cNvGrpSpPr/>
            <p:nvPr/>
          </p:nvGrpSpPr>
          <p:grpSpPr>
            <a:xfrm>
              <a:off x="6127549" y="2844687"/>
              <a:ext cx="82971" cy="82971"/>
              <a:chOff x="7236884" y="3439984"/>
              <a:chExt cx="108000" cy="108000"/>
            </a:xfrm>
          </p:grpSpPr>
          <p:cxnSp>
            <p:nvCxnSpPr>
              <p:cNvPr id="1074" name="Straight Connector 1073">
                <a:extLst>
                  <a:ext uri="{FF2B5EF4-FFF2-40B4-BE49-F238E27FC236}">
                    <a16:creationId xmlns:a16="http://schemas.microsoft.com/office/drawing/2014/main" id="{9AC4DC87-70A4-E995-B002-9F7DFD6A3E84}"/>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075" name="Straight Connector 1074">
                <a:extLst>
                  <a:ext uri="{FF2B5EF4-FFF2-40B4-BE49-F238E27FC236}">
                    <a16:creationId xmlns:a16="http://schemas.microsoft.com/office/drawing/2014/main" id="{A177F585-5342-C805-EB45-548341B2ADEE}"/>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076" name="Group 1075">
              <a:extLst>
                <a:ext uri="{FF2B5EF4-FFF2-40B4-BE49-F238E27FC236}">
                  <a16:creationId xmlns:a16="http://schemas.microsoft.com/office/drawing/2014/main" id="{A42BD226-CB16-5B32-F0A9-759CF0A48340}"/>
                </a:ext>
              </a:extLst>
            </p:cNvPr>
            <p:cNvGrpSpPr/>
            <p:nvPr/>
          </p:nvGrpSpPr>
          <p:grpSpPr>
            <a:xfrm>
              <a:off x="6113532" y="2812813"/>
              <a:ext cx="82971" cy="82971"/>
              <a:chOff x="7236884" y="3439984"/>
              <a:chExt cx="108000" cy="108000"/>
            </a:xfrm>
          </p:grpSpPr>
          <p:cxnSp>
            <p:nvCxnSpPr>
              <p:cNvPr id="1077" name="Straight Connector 1076">
                <a:extLst>
                  <a:ext uri="{FF2B5EF4-FFF2-40B4-BE49-F238E27FC236}">
                    <a16:creationId xmlns:a16="http://schemas.microsoft.com/office/drawing/2014/main" id="{31DCE461-F8D2-AAD6-F224-B835B9D19F73}"/>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078" name="Straight Connector 1077">
                <a:extLst>
                  <a:ext uri="{FF2B5EF4-FFF2-40B4-BE49-F238E27FC236}">
                    <a16:creationId xmlns:a16="http://schemas.microsoft.com/office/drawing/2014/main" id="{3DDF9149-D831-A891-40D4-9F3507614850}"/>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079" name="Group 1078">
              <a:extLst>
                <a:ext uri="{FF2B5EF4-FFF2-40B4-BE49-F238E27FC236}">
                  <a16:creationId xmlns:a16="http://schemas.microsoft.com/office/drawing/2014/main" id="{87AFB861-29C4-2E1A-9870-0393BEAE2E33}"/>
                </a:ext>
              </a:extLst>
            </p:cNvPr>
            <p:cNvGrpSpPr/>
            <p:nvPr/>
          </p:nvGrpSpPr>
          <p:grpSpPr>
            <a:xfrm>
              <a:off x="6097866" y="2806402"/>
              <a:ext cx="82971" cy="82971"/>
              <a:chOff x="7236884" y="3439984"/>
              <a:chExt cx="108000" cy="108000"/>
            </a:xfrm>
          </p:grpSpPr>
          <p:cxnSp>
            <p:nvCxnSpPr>
              <p:cNvPr id="1080" name="Straight Connector 1079">
                <a:extLst>
                  <a:ext uri="{FF2B5EF4-FFF2-40B4-BE49-F238E27FC236}">
                    <a16:creationId xmlns:a16="http://schemas.microsoft.com/office/drawing/2014/main" id="{12111585-3E13-A051-C29D-AAF7F675287A}"/>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081" name="Straight Connector 1080">
                <a:extLst>
                  <a:ext uri="{FF2B5EF4-FFF2-40B4-BE49-F238E27FC236}">
                    <a16:creationId xmlns:a16="http://schemas.microsoft.com/office/drawing/2014/main" id="{33323082-49DC-7269-A0F9-A08011E90BE8}"/>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082" name="Group 1081">
              <a:extLst>
                <a:ext uri="{FF2B5EF4-FFF2-40B4-BE49-F238E27FC236}">
                  <a16:creationId xmlns:a16="http://schemas.microsoft.com/office/drawing/2014/main" id="{EEBDFC6F-33E3-E818-AAB4-3495653C4121}"/>
                </a:ext>
              </a:extLst>
            </p:cNvPr>
            <p:cNvGrpSpPr/>
            <p:nvPr/>
          </p:nvGrpSpPr>
          <p:grpSpPr>
            <a:xfrm>
              <a:off x="6079689" y="2790523"/>
              <a:ext cx="82971" cy="82971"/>
              <a:chOff x="7236884" y="3439984"/>
              <a:chExt cx="108000" cy="108000"/>
            </a:xfrm>
          </p:grpSpPr>
          <p:cxnSp>
            <p:nvCxnSpPr>
              <p:cNvPr id="1083" name="Straight Connector 1082">
                <a:extLst>
                  <a:ext uri="{FF2B5EF4-FFF2-40B4-BE49-F238E27FC236}">
                    <a16:creationId xmlns:a16="http://schemas.microsoft.com/office/drawing/2014/main" id="{7F56242C-2BA5-FAFD-B21F-77B6B38B2419}"/>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084" name="Straight Connector 1083">
                <a:extLst>
                  <a:ext uri="{FF2B5EF4-FFF2-40B4-BE49-F238E27FC236}">
                    <a16:creationId xmlns:a16="http://schemas.microsoft.com/office/drawing/2014/main" id="{9B9CB1AB-E212-3595-DFFB-208892330770}"/>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085" name="Group 1084">
              <a:extLst>
                <a:ext uri="{FF2B5EF4-FFF2-40B4-BE49-F238E27FC236}">
                  <a16:creationId xmlns:a16="http://schemas.microsoft.com/office/drawing/2014/main" id="{194394EA-E161-9B49-38A0-A0840E28153A}"/>
                </a:ext>
              </a:extLst>
            </p:cNvPr>
            <p:cNvGrpSpPr/>
            <p:nvPr/>
          </p:nvGrpSpPr>
          <p:grpSpPr>
            <a:xfrm>
              <a:off x="6064901" y="2781728"/>
              <a:ext cx="82971" cy="82971"/>
              <a:chOff x="7236884" y="3439984"/>
              <a:chExt cx="108000" cy="108000"/>
            </a:xfrm>
          </p:grpSpPr>
          <p:cxnSp>
            <p:nvCxnSpPr>
              <p:cNvPr id="1086" name="Straight Connector 1085">
                <a:extLst>
                  <a:ext uri="{FF2B5EF4-FFF2-40B4-BE49-F238E27FC236}">
                    <a16:creationId xmlns:a16="http://schemas.microsoft.com/office/drawing/2014/main" id="{2D643B72-3F97-1BB7-78BA-04BA0C48EEFE}"/>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087" name="Straight Connector 1086">
                <a:extLst>
                  <a:ext uri="{FF2B5EF4-FFF2-40B4-BE49-F238E27FC236}">
                    <a16:creationId xmlns:a16="http://schemas.microsoft.com/office/drawing/2014/main" id="{1B7BC47C-9B9F-E7CA-23EF-27EB820320D8}"/>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088" name="Group 1087">
              <a:extLst>
                <a:ext uri="{FF2B5EF4-FFF2-40B4-BE49-F238E27FC236}">
                  <a16:creationId xmlns:a16="http://schemas.microsoft.com/office/drawing/2014/main" id="{A2BBF0B4-8313-A9A0-7D7D-66AA27FBDB80}"/>
                </a:ext>
              </a:extLst>
            </p:cNvPr>
            <p:cNvGrpSpPr/>
            <p:nvPr/>
          </p:nvGrpSpPr>
          <p:grpSpPr>
            <a:xfrm>
              <a:off x="6047369" y="2781728"/>
              <a:ext cx="82971" cy="82971"/>
              <a:chOff x="7236884" y="3439984"/>
              <a:chExt cx="108000" cy="108000"/>
            </a:xfrm>
          </p:grpSpPr>
          <p:cxnSp>
            <p:nvCxnSpPr>
              <p:cNvPr id="1089" name="Straight Connector 1088">
                <a:extLst>
                  <a:ext uri="{FF2B5EF4-FFF2-40B4-BE49-F238E27FC236}">
                    <a16:creationId xmlns:a16="http://schemas.microsoft.com/office/drawing/2014/main" id="{3ADE4B88-FFF5-EFB9-A2FC-420EFFA2E6E5}"/>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090" name="Straight Connector 1089">
                <a:extLst>
                  <a:ext uri="{FF2B5EF4-FFF2-40B4-BE49-F238E27FC236}">
                    <a16:creationId xmlns:a16="http://schemas.microsoft.com/office/drawing/2014/main" id="{88AD24CE-3288-EF38-BBF9-7FA6AFF27099}"/>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091" name="Group 1090">
              <a:extLst>
                <a:ext uri="{FF2B5EF4-FFF2-40B4-BE49-F238E27FC236}">
                  <a16:creationId xmlns:a16="http://schemas.microsoft.com/office/drawing/2014/main" id="{171AB195-A2A3-6790-B5CC-9887972A93E1}"/>
                </a:ext>
              </a:extLst>
            </p:cNvPr>
            <p:cNvGrpSpPr/>
            <p:nvPr/>
          </p:nvGrpSpPr>
          <p:grpSpPr>
            <a:xfrm>
              <a:off x="6029695" y="2769823"/>
              <a:ext cx="82971" cy="82971"/>
              <a:chOff x="7236884" y="3439984"/>
              <a:chExt cx="108000" cy="108000"/>
            </a:xfrm>
          </p:grpSpPr>
          <p:cxnSp>
            <p:nvCxnSpPr>
              <p:cNvPr id="1092" name="Straight Connector 1091">
                <a:extLst>
                  <a:ext uri="{FF2B5EF4-FFF2-40B4-BE49-F238E27FC236}">
                    <a16:creationId xmlns:a16="http://schemas.microsoft.com/office/drawing/2014/main" id="{2EF53BD1-866D-6B92-DE05-B9DC8D0F39AB}"/>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093" name="Straight Connector 1092">
                <a:extLst>
                  <a:ext uri="{FF2B5EF4-FFF2-40B4-BE49-F238E27FC236}">
                    <a16:creationId xmlns:a16="http://schemas.microsoft.com/office/drawing/2014/main" id="{59F9F0AF-C87D-2C16-02D5-398247140C70}"/>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094" name="Group 1093">
              <a:extLst>
                <a:ext uri="{FF2B5EF4-FFF2-40B4-BE49-F238E27FC236}">
                  <a16:creationId xmlns:a16="http://schemas.microsoft.com/office/drawing/2014/main" id="{BA447D00-3310-E23D-2942-1C4BCB8482AF}"/>
                </a:ext>
              </a:extLst>
            </p:cNvPr>
            <p:cNvGrpSpPr/>
            <p:nvPr/>
          </p:nvGrpSpPr>
          <p:grpSpPr>
            <a:xfrm>
              <a:off x="6015766" y="2769823"/>
              <a:ext cx="82971" cy="82971"/>
              <a:chOff x="7236884" y="3439984"/>
              <a:chExt cx="108000" cy="108000"/>
            </a:xfrm>
          </p:grpSpPr>
          <p:cxnSp>
            <p:nvCxnSpPr>
              <p:cNvPr id="1095" name="Straight Connector 1094">
                <a:extLst>
                  <a:ext uri="{FF2B5EF4-FFF2-40B4-BE49-F238E27FC236}">
                    <a16:creationId xmlns:a16="http://schemas.microsoft.com/office/drawing/2014/main" id="{18E2CCD3-3524-5BD6-7F7B-1FDF37DBBDA7}"/>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096" name="Straight Connector 1095">
                <a:extLst>
                  <a:ext uri="{FF2B5EF4-FFF2-40B4-BE49-F238E27FC236}">
                    <a16:creationId xmlns:a16="http://schemas.microsoft.com/office/drawing/2014/main" id="{71AC694D-C3A0-B821-F4D1-1CE1C9906F1B}"/>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097" name="Group 1096">
              <a:extLst>
                <a:ext uri="{FF2B5EF4-FFF2-40B4-BE49-F238E27FC236}">
                  <a16:creationId xmlns:a16="http://schemas.microsoft.com/office/drawing/2014/main" id="{5CA0F51A-9650-1613-C7AA-7FA2C579B7D2}"/>
                </a:ext>
              </a:extLst>
            </p:cNvPr>
            <p:cNvGrpSpPr/>
            <p:nvPr/>
          </p:nvGrpSpPr>
          <p:grpSpPr>
            <a:xfrm>
              <a:off x="5999099" y="2767442"/>
              <a:ext cx="82971" cy="82971"/>
              <a:chOff x="7236884" y="3439984"/>
              <a:chExt cx="108000" cy="108000"/>
            </a:xfrm>
          </p:grpSpPr>
          <p:cxnSp>
            <p:nvCxnSpPr>
              <p:cNvPr id="1098" name="Straight Connector 1097">
                <a:extLst>
                  <a:ext uri="{FF2B5EF4-FFF2-40B4-BE49-F238E27FC236}">
                    <a16:creationId xmlns:a16="http://schemas.microsoft.com/office/drawing/2014/main" id="{D5B989B8-DC56-8B00-4246-5C23746B6D83}"/>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099" name="Straight Connector 1098">
                <a:extLst>
                  <a:ext uri="{FF2B5EF4-FFF2-40B4-BE49-F238E27FC236}">
                    <a16:creationId xmlns:a16="http://schemas.microsoft.com/office/drawing/2014/main" id="{CC927D81-0608-2C44-5DE8-45E354B72358}"/>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100" name="Group 1099">
              <a:extLst>
                <a:ext uri="{FF2B5EF4-FFF2-40B4-BE49-F238E27FC236}">
                  <a16:creationId xmlns:a16="http://schemas.microsoft.com/office/drawing/2014/main" id="{1DFEA868-0B0F-D28D-55BD-F799B4E3F4EE}"/>
                </a:ext>
              </a:extLst>
            </p:cNvPr>
            <p:cNvGrpSpPr/>
            <p:nvPr/>
          </p:nvGrpSpPr>
          <p:grpSpPr>
            <a:xfrm>
              <a:off x="5982429" y="2757918"/>
              <a:ext cx="82971" cy="82971"/>
              <a:chOff x="7236884" y="3439984"/>
              <a:chExt cx="108000" cy="108000"/>
            </a:xfrm>
          </p:grpSpPr>
          <p:cxnSp>
            <p:nvCxnSpPr>
              <p:cNvPr id="1101" name="Straight Connector 1100">
                <a:extLst>
                  <a:ext uri="{FF2B5EF4-FFF2-40B4-BE49-F238E27FC236}">
                    <a16:creationId xmlns:a16="http://schemas.microsoft.com/office/drawing/2014/main" id="{A2AC91DF-58F6-10D7-52F1-5100C91F5155}"/>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102" name="Straight Connector 1101">
                <a:extLst>
                  <a:ext uri="{FF2B5EF4-FFF2-40B4-BE49-F238E27FC236}">
                    <a16:creationId xmlns:a16="http://schemas.microsoft.com/office/drawing/2014/main" id="{C36AEE5A-82AC-268E-291B-45F5162F86F2}"/>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103" name="Group 1102">
              <a:extLst>
                <a:ext uri="{FF2B5EF4-FFF2-40B4-BE49-F238E27FC236}">
                  <a16:creationId xmlns:a16="http://schemas.microsoft.com/office/drawing/2014/main" id="{9A59203A-5AD4-A5FC-F1D0-2CA24DD4D98F}"/>
                </a:ext>
              </a:extLst>
            </p:cNvPr>
            <p:cNvGrpSpPr/>
            <p:nvPr/>
          </p:nvGrpSpPr>
          <p:grpSpPr>
            <a:xfrm>
              <a:off x="5965760" y="2750775"/>
              <a:ext cx="82971" cy="82971"/>
              <a:chOff x="7236884" y="3439984"/>
              <a:chExt cx="108000" cy="108000"/>
            </a:xfrm>
          </p:grpSpPr>
          <p:cxnSp>
            <p:nvCxnSpPr>
              <p:cNvPr id="1104" name="Straight Connector 1103">
                <a:extLst>
                  <a:ext uri="{FF2B5EF4-FFF2-40B4-BE49-F238E27FC236}">
                    <a16:creationId xmlns:a16="http://schemas.microsoft.com/office/drawing/2014/main" id="{46D1D8D0-B805-E1D9-7FB1-A4BF3EDE3F0F}"/>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105" name="Straight Connector 1104">
                <a:extLst>
                  <a:ext uri="{FF2B5EF4-FFF2-40B4-BE49-F238E27FC236}">
                    <a16:creationId xmlns:a16="http://schemas.microsoft.com/office/drawing/2014/main" id="{23F24C06-60BF-111D-8F55-E78602B840FC}"/>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106" name="Group 1105">
              <a:extLst>
                <a:ext uri="{FF2B5EF4-FFF2-40B4-BE49-F238E27FC236}">
                  <a16:creationId xmlns:a16="http://schemas.microsoft.com/office/drawing/2014/main" id="{A35A74B4-C6AB-AF1C-B6C7-77AE1C795258}"/>
                </a:ext>
              </a:extLst>
            </p:cNvPr>
            <p:cNvGrpSpPr/>
            <p:nvPr/>
          </p:nvGrpSpPr>
          <p:grpSpPr>
            <a:xfrm>
              <a:off x="5949092" y="2748394"/>
              <a:ext cx="82971" cy="82971"/>
              <a:chOff x="7236884" y="3439984"/>
              <a:chExt cx="108000" cy="108000"/>
            </a:xfrm>
          </p:grpSpPr>
          <p:cxnSp>
            <p:nvCxnSpPr>
              <p:cNvPr id="1107" name="Straight Connector 1106">
                <a:extLst>
                  <a:ext uri="{FF2B5EF4-FFF2-40B4-BE49-F238E27FC236}">
                    <a16:creationId xmlns:a16="http://schemas.microsoft.com/office/drawing/2014/main" id="{29007680-5231-DF60-7F1A-A0B20C45C4CF}"/>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108" name="Straight Connector 1107">
                <a:extLst>
                  <a:ext uri="{FF2B5EF4-FFF2-40B4-BE49-F238E27FC236}">
                    <a16:creationId xmlns:a16="http://schemas.microsoft.com/office/drawing/2014/main" id="{0E9F4DEE-1CA8-B49A-D378-2782DDE1B40D}"/>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109" name="Group 1108">
              <a:extLst>
                <a:ext uri="{FF2B5EF4-FFF2-40B4-BE49-F238E27FC236}">
                  <a16:creationId xmlns:a16="http://schemas.microsoft.com/office/drawing/2014/main" id="{D0E7E92F-CB96-575F-3D27-1D15A00F0FB1}"/>
                </a:ext>
              </a:extLst>
            </p:cNvPr>
            <p:cNvGrpSpPr/>
            <p:nvPr/>
          </p:nvGrpSpPr>
          <p:grpSpPr>
            <a:xfrm>
              <a:off x="5934805" y="2742614"/>
              <a:ext cx="82971" cy="82971"/>
              <a:chOff x="7236884" y="3439984"/>
              <a:chExt cx="108000" cy="108000"/>
            </a:xfrm>
          </p:grpSpPr>
          <p:cxnSp>
            <p:nvCxnSpPr>
              <p:cNvPr id="1110" name="Straight Connector 1109">
                <a:extLst>
                  <a:ext uri="{FF2B5EF4-FFF2-40B4-BE49-F238E27FC236}">
                    <a16:creationId xmlns:a16="http://schemas.microsoft.com/office/drawing/2014/main" id="{BDBE9FBC-E270-D15C-1DA0-CEDF606FBEE1}"/>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111" name="Straight Connector 1110">
                <a:extLst>
                  <a:ext uri="{FF2B5EF4-FFF2-40B4-BE49-F238E27FC236}">
                    <a16:creationId xmlns:a16="http://schemas.microsoft.com/office/drawing/2014/main" id="{F5E4C3BD-5B64-B5F7-D785-0C2390AFFDC7}"/>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112" name="Group 1111">
              <a:extLst>
                <a:ext uri="{FF2B5EF4-FFF2-40B4-BE49-F238E27FC236}">
                  <a16:creationId xmlns:a16="http://schemas.microsoft.com/office/drawing/2014/main" id="{D16F60A4-BAF7-8A22-CDF9-AF2F50D3BFA1}"/>
                </a:ext>
              </a:extLst>
            </p:cNvPr>
            <p:cNvGrpSpPr/>
            <p:nvPr/>
          </p:nvGrpSpPr>
          <p:grpSpPr>
            <a:xfrm>
              <a:off x="5920518" y="2732818"/>
              <a:ext cx="82971" cy="82971"/>
              <a:chOff x="7236884" y="3439984"/>
              <a:chExt cx="108000" cy="108000"/>
            </a:xfrm>
          </p:grpSpPr>
          <p:cxnSp>
            <p:nvCxnSpPr>
              <p:cNvPr id="1113" name="Straight Connector 1112">
                <a:extLst>
                  <a:ext uri="{FF2B5EF4-FFF2-40B4-BE49-F238E27FC236}">
                    <a16:creationId xmlns:a16="http://schemas.microsoft.com/office/drawing/2014/main" id="{A240AC07-36AF-4226-0A92-0CD5B79CCAEA}"/>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114" name="Straight Connector 1113">
                <a:extLst>
                  <a:ext uri="{FF2B5EF4-FFF2-40B4-BE49-F238E27FC236}">
                    <a16:creationId xmlns:a16="http://schemas.microsoft.com/office/drawing/2014/main" id="{06ACCDC7-EF39-1824-9FDB-63393FE0054B}"/>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115" name="Group 1114">
              <a:extLst>
                <a:ext uri="{FF2B5EF4-FFF2-40B4-BE49-F238E27FC236}">
                  <a16:creationId xmlns:a16="http://schemas.microsoft.com/office/drawing/2014/main" id="{CACEA786-2416-9B50-1ED7-FB7D1ADDB087}"/>
                </a:ext>
              </a:extLst>
            </p:cNvPr>
            <p:cNvGrpSpPr/>
            <p:nvPr/>
          </p:nvGrpSpPr>
          <p:grpSpPr>
            <a:xfrm>
              <a:off x="5906229" y="2728056"/>
              <a:ext cx="82971" cy="82971"/>
              <a:chOff x="7236884" y="3439984"/>
              <a:chExt cx="108000" cy="108000"/>
            </a:xfrm>
          </p:grpSpPr>
          <p:cxnSp>
            <p:nvCxnSpPr>
              <p:cNvPr id="1116" name="Straight Connector 1115">
                <a:extLst>
                  <a:ext uri="{FF2B5EF4-FFF2-40B4-BE49-F238E27FC236}">
                    <a16:creationId xmlns:a16="http://schemas.microsoft.com/office/drawing/2014/main" id="{77F07A48-5BB8-C0BE-5687-E8CB6A2C7D5D}"/>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117" name="Straight Connector 1116">
                <a:extLst>
                  <a:ext uri="{FF2B5EF4-FFF2-40B4-BE49-F238E27FC236}">
                    <a16:creationId xmlns:a16="http://schemas.microsoft.com/office/drawing/2014/main" id="{CF201BCD-F477-A736-0EE8-B2CFD2BA9845}"/>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118" name="Group 1117">
              <a:extLst>
                <a:ext uri="{FF2B5EF4-FFF2-40B4-BE49-F238E27FC236}">
                  <a16:creationId xmlns:a16="http://schemas.microsoft.com/office/drawing/2014/main" id="{E9958EAA-06E7-7149-1971-A9CC3D3C7CA8}"/>
                </a:ext>
              </a:extLst>
            </p:cNvPr>
            <p:cNvGrpSpPr/>
            <p:nvPr/>
          </p:nvGrpSpPr>
          <p:grpSpPr>
            <a:xfrm>
              <a:off x="5889559" y="2718532"/>
              <a:ext cx="82971" cy="82971"/>
              <a:chOff x="7236884" y="3439984"/>
              <a:chExt cx="108000" cy="108000"/>
            </a:xfrm>
          </p:grpSpPr>
          <p:cxnSp>
            <p:nvCxnSpPr>
              <p:cNvPr id="1119" name="Straight Connector 1118">
                <a:extLst>
                  <a:ext uri="{FF2B5EF4-FFF2-40B4-BE49-F238E27FC236}">
                    <a16:creationId xmlns:a16="http://schemas.microsoft.com/office/drawing/2014/main" id="{FFC2C7AC-BCAF-C420-443D-B919C2C6D903}"/>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120" name="Straight Connector 1119">
                <a:extLst>
                  <a:ext uri="{FF2B5EF4-FFF2-40B4-BE49-F238E27FC236}">
                    <a16:creationId xmlns:a16="http://schemas.microsoft.com/office/drawing/2014/main" id="{4849599F-AA8E-615C-D4F9-AE065EBC2355}"/>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121" name="Group 1120">
              <a:extLst>
                <a:ext uri="{FF2B5EF4-FFF2-40B4-BE49-F238E27FC236}">
                  <a16:creationId xmlns:a16="http://schemas.microsoft.com/office/drawing/2014/main" id="{29F345E2-73E6-5C4F-BCAF-FE655766EAB2}"/>
                </a:ext>
              </a:extLst>
            </p:cNvPr>
            <p:cNvGrpSpPr/>
            <p:nvPr/>
          </p:nvGrpSpPr>
          <p:grpSpPr>
            <a:xfrm>
              <a:off x="5872890" y="2706627"/>
              <a:ext cx="82971" cy="82971"/>
              <a:chOff x="7236884" y="3439984"/>
              <a:chExt cx="108000" cy="108000"/>
            </a:xfrm>
          </p:grpSpPr>
          <p:cxnSp>
            <p:nvCxnSpPr>
              <p:cNvPr id="1122" name="Straight Connector 1121">
                <a:extLst>
                  <a:ext uri="{FF2B5EF4-FFF2-40B4-BE49-F238E27FC236}">
                    <a16:creationId xmlns:a16="http://schemas.microsoft.com/office/drawing/2014/main" id="{A10EC72B-DF3E-F90F-68C3-D9416DACD203}"/>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123" name="Straight Connector 1122">
                <a:extLst>
                  <a:ext uri="{FF2B5EF4-FFF2-40B4-BE49-F238E27FC236}">
                    <a16:creationId xmlns:a16="http://schemas.microsoft.com/office/drawing/2014/main" id="{AC33C457-CDB1-B15C-B4A9-2C257A2ECB00}"/>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124" name="Group 1123">
              <a:extLst>
                <a:ext uri="{FF2B5EF4-FFF2-40B4-BE49-F238E27FC236}">
                  <a16:creationId xmlns:a16="http://schemas.microsoft.com/office/drawing/2014/main" id="{49235EAA-5F18-F27F-D86B-09897E766A43}"/>
                </a:ext>
              </a:extLst>
            </p:cNvPr>
            <p:cNvGrpSpPr/>
            <p:nvPr/>
          </p:nvGrpSpPr>
          <p:grpSpPr>
            <a:xfrm>
              <a:off x="5865747" y="2695144"/>
              <a:ext cx="82971" cy="82971"/>
              <a:chOff x="7236884" y="3439984"/>
              <a:chExt cx="108000" cy="108000"/>
            </a:xfrm>
          </p:grpSpPr>
          <p:cxnSp>
            <p:nvCxnSpPr>
              <p:cNvPr id="1125" name="Straight Connector 1124">
                <a:extLst>
                  <a:ext uri="{FF2B5EF4-FFF2-40B4-BE49-F238E27FC236}">
                    <a16:creationId xmlns:a16="http://schemas.microsoft.com/office/drawing/2014/main" id="{3C9C5406-4242-C20A-4651-9D222D50F37E}"/>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126" name="Straight Connector 1125">
                <a:extLst>
                  <a:ext uri="{FF2B5EF4-FFF2-40B4-BE49-F238E27FC236}">
                    <a16:creationId xmlns:a16="http://schemas.microsoft.com/office/drawing/2014/main" id="{334117D8-7AF7-9BC3-AE33-FEA2013BE98F}"/>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127" name="Group 1126">
              <a:extLst>
                <a:ext uri="{FF2B5EF4-FFF2-40B4-BE49-F238E27FC236}">
                  <a16:creationId xmlns:a16="http://schemas.microsoft.com/office/drawing/2014/main" id="{BD0A3BAD-49AD-3359-6885-4A2A2570A5E0}"/>
                </a:ext>
              </a:extLst>
            </p:cNvPr>
            <p:cNvGrpSpPr/>
            <p:nvPr/>
          </p:nvGrpSpPr>
          <p:grpSpPr>
            <a:xfrm>
              <a:off x="5846697" y="2683771"/>
              <a:ext cx="82971" cy="82971"/>
              <a:chOff x="7236884" y="3439984"/>
              <a:chExt cx="108000" cy="108000"/>
            </a:xfrm>
          </p:grpSpPr>
          <p:cxnSp>
            <p:nvCxnSpPr>
              <p:cNvPr id="1128" name="Straight Connector 1127">
                <a:extLst>
                  <a:ext uri="{FF2B5EF4-FFF2-40B4-BE49-F238E27FC236}">
                    <a16:creationId xmlns:a16="http://schemas.microsoft.com/office/drawing/2014/main" id="{10732965-836E-FA8A-A506-E0AFBA24B68A}"/>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129" name="Straight Connector 1128">
                <a:extLst>
                  <a:ext uri="{FF2B5EF4-FFF2-40B4-BE49-F238E27FC236}">
                    <a16:creationId xmlns:a16="http://schemas.microsoft.com/office/drawing/2014/main" id="{0C1952F5-1101-2A65-CED2-F95362EA8E53}"/>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130" name="Group 1129">
              <a:extLst>
                <a:ext uri="{FF2B5EF4-FFF2-40B4-BE49-F238E27FC236}">
                  <a16:creationId xmlns:a16="http://schemas.microsoft.com/office/drawing/2014/main" id="{C774B0E5-B977-7992-0057-9681E84E7959}"/>
                </a:ext>
              </a:extLst>
            </p:cNvPr>
            <p:cNvGrpSpPr/>
            <p:nvPr/>
          </p:nvGrpSpPr>
          <p:grpSpPr>
            <a:xfrm>
              <a:off x="5822884" y="2673782"/>
              <a:ext cx="82971" cy="82971"/>
              <a:chOff x="7236884" y="3439984"/>
              <a:chExt cx="108000" cy="108000"/>
            </a:xfrm>
          </p:grpSpPr>
          <p:cxnSp>
            <p:nvCxnSpPr>
              <p:cNvPr id="1131" name="Straight Connector 1130">
                <a:extLst>
                  <a:ext uri="{FF2B5EF4-FFF2-40B4-BE49-F238E27FC236}">
                    <a16:creationId xmlns:a16="http://schemas.microsoft.com/office/drawing/2014/main" id="{54219EB8-4221-AD37-23B7-9D2A1FC26A67}"/>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132" name="Straight Connector 1131">
                <a:extLst>
                  <a:ext uri="{FF2B5EF4-FFF2-40B4-BE49-F238E27FC236}">
                    <a16:creationId xmlns:a16="http://schemas.microsoft.com/office/drawing/2014/main" id="{043CFB5C-2F53-CE3C-8CAE-7829DF00344B}"/>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133" name="Group 1132">
              <a:extLst>
                <a:ext uri="{FF2B5EF4-FFF2-40B4-BE49-F238E27FC236}">
                  <a16:creationId xmlns:a16="http://schemas.microsoft.com/office/drawing/2014/main" id="{3E3E3126-BB13-F443-70AD-ABAE2C3A5958}"/>
                </a:ext>
              </a:extLst>
            </p:cNvPr>
            <p:cNvGrpSpPr/>
            <p:nvPr/>
          </p:nvGrpSpPr>
          <p:grpSpPr>
            <a:xfrm>
              <a:off x="5806215" y="2665415"/>
              <a:ext cx="82971" cy="82971"/>
              <a:chOff x="7236884" y="3439984"/>
              <a:chExt cx="108000" cy="108000"/>
            </a:xfrm>
          </p:grpSpPr>
          <p:cxnSp>
            <p:nvCxnSpPr>
              <p:cNvPr id="1134" name="Straight Connector 1133">
                <a:extLst>
                  <a:ext uri="{FF2B5EF4-FFF2-40B4-BE49-F238E27FC236}">
                    <a16:creationId xmlns:a16="http://schemas.microsoft.com/office/drawing/2014/main" id="{3DD0FBDF-AB6F-714A-6E31-B537E312CDA0}"/>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135" name="Straight Connector 1134">
                <a:extLst>
                  <a:ext uri="{FF2B5EF4-FFF2-40B4-BE49-F238E27FC236}">
                    <a16:creationId xmlns:a16="http://schemas.microsoft.com/office/drawing/2014/main" id="{8044ED3B-37F6-0360-4493-8794B20DF8B9}"/>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136" name="Group 1135">
              <a:extLst>
                <a:ext uri="{FF2B5EF4-FFF2-40B4-BE49-F238E27FC236}">
                  <a16:creationId xmlns:a16="http://schemas.microsoft.com/office/drawing/2014/main" id="{5DEA59E5-6050-9711-111E-18327BF4C540}"/>
                </a:ext>
              </a:extLst>
            </p:cNvPr>
            <p:cNvGrpSpPr/>
            <p:nvPr/>
          </p:nvGrpSpPr>
          <p:grpSpPr>
            <a:xfrm>
              <a:off x="5794309" y="2650639"/>
              <a:ext cx="82971" cy="82971"/>
              <a:chOff x="7236884" y="3439984"/>
              <a:chExt cx="108000" cy="108000"/>
            </a:xfrm>
          </p:grpSpPr>
          <p:cxnSp>
            <p:nvCxnSpPr>
              <p:cNvPr id="1137" name="Straight Connector 1136">
                <a:extLst>
                  <a:ext uri="{FF2B5EF4-FFF2-40B4-BE49-F238E27FC236}">
                    <a16:creationId xmlns:a16="http://schemas.microsoft.com/office/drawing/2014/main" id="{BA1F59B2-C6F5-9E54-EF3F-AD6BB344E97A}"/>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138" name="Straight Connector 1137">
                <a:extLst>
                  <a:ext uri="{FF2B5EF4-FFF2-40B4-BE49-F238E27FC236}">
                    <a16:creationId xmlns:a16="http://schemas.microsoft.com/office/drawing/2014/main" id="{7B11A53A-3389-8C5A-E7F2-2FFF28B74959}"/>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139" name="Group 1138">
              <a:extLst>
                <a:ext uri="{FF2B5EF4-FFF2-40B4-BE49-F238E27FC236}">
                  <a16:creationId xmlns:a16="http://schemas.microsoft.com/office/drawing/2014/main" id="{898FE192-AE8D-C1E6-5CC9-D53636689976}"/>
                </a:ext>
              </a:extLst>
            </p:cNvPr>
            <p:cNvGrpSpPr/>
            <p:nvPr/>
          </p:nvGrpSpPr>
          <p:grpSpPr>
            <a:xfrm>
              <a:off x="5775259" y="2637574"/>
              <a:ext cx="82971" cy="82971"/>
              <a:chOff x="7236884" y="3439984"/>
              <a:chExt cx="108000" cy="108000"/>
            </a:xfrm>
          </p:grpSpPr>
          <p:cxnSp>
            <p:nvCxnSpPr>
              <p:cNvPr id="1140" name="Straight Connector 1139">
                <a:extLst>
                  <a:ext uri="{FF2B5EF4-FFF2-40B4-BE49-F238E27FC236}">
                    <a16:creationId xmlns:a16="http://schemas.microsoft.com/office/drawing/2014/main" id="{9BECD0A3-7E34-74BD-C280-E56E990C74D5}"/>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141" name="Straight Connector 1140">
                <a:extLst>
                  <a:ext uri="{FF2B5EF4-FFF2-40B4-BE49-F238E27FC236}">
                    <a16:creationId xmlns:a16="http://schemas.microsoft.com/office/drawing/2014/main" id="{AB3BA5F2-CCAD-F49E-222D-0C7DDA1B378D}"/>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142" name="Group 1141">
              <a:extLst>
                <a:ext uri="{FF2B5EF4-FFF2-40B4-BE49-F238E27FC236}">
                  <a16:creationId xmlns:a16="http://schemas.microsoft.com/office/drawing/2014/main" id="{45765FF6-F364-219A-F6C2-B3931B9FEFDA}"/>
                </a:ext>
              </a:extLst>
            </p:cNvPr>
            <p:cNvGrpSpPr/>
            <p:nvPr/>
          </p:nvGrpSpPr>
          <p:grpSpPr>
            <a:xfrm>
              <a:off x="5756209" y="2624433"/>
              <a:ext cx="82971" cy="82971"/>
              <a:chOff x="7236884" y="3439984"/>
              <a:chExt cx="108000" cy="108000"/>
            </a:xfrm>
          </p:grpSpPr>
          <p:cxnSp>
            <p:nvCxnSpPr>
              <p:cNvPr id="1143" name="Straight Connector 1142">
                <a:extLst>
                  <a:ext uri="{FF2B5EF4-FFF2-40B4-BE49-F238E27FC236}">
                    <a16:creationId xmlns:a16="http://schemas.microsoft.com/office/drawing/2014/main" id="{06AC3641-7794-AE67-79D3-A6C04A9F6B60}"/>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144" name="Straight Connector 1143">
                <a:extLst>
                  <a:ext uri="{FF2B5EF4-FFF2-40B4-BE49-F238E27FC236}">
                    <a16:creationId xmlns:a16="http://schemas.microsoft.com/office/drawing/2014/main" id="{842FB35F-2E55-5960-76AE-7BA453D4C857}"/>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145" name="Group 1144">
              <a:extLst>
                <a:ext uri="{FF2B5EF4-FFF2-40B4-BE49-F238E27FC236}">
                  <a16:creationId xmlns:a16="http://schemas.microsoft.com/office/drawing/2014/main" id="{C9C982E5-0AD3-6219-5486-3DCD153C7FD4}"/>
                </a:ext>
              </a:extLst>
            </p:cNvPr>
            <p:cNvGrpSpPr/>
            <p:nvPr/>
          </p:nvGrpSpPr>
          <p:grpSpPr>
            <a:xfrm>
              <a:off x="5743393" y="2614907"/>
              <a:ext cx="82971" cy="82971"/>
              <a:chOff x="7236884" y="3439984"/>
              <a:chExt cx="108000" cy="108000"/>
            </a:xfrm>
          </p:grpSpPr>
          <p:cxnSp>
            <p:nvCxnSpPr>
              <p:cNvPr id="1146" name="Straight Connector 1145">
                <a:extLst>
                  <a:ext uri="{FF2B5EF4-FFF2-40B4-BE49-F238E27FC236}">
                    <a16:creationId xmlns:a16="http://schemas.microsoft.com/office/drawing/2014/main" id="{8567370D-5859-8A42-6CE4-C80ADF16D0BF}"/>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147" name="Straight Connector 1146">
                <a:extLst>
                  <a:ext uri="{FF2B5EF4-FFF2-40B4-BE49-F238E27FC236}">
                    <a16:creationId xmlns:a16="http://schemas.microsoft.com/office/drawing/2014/main" id="{2255D89D-E366-7BE6-1768-5E510C8A2FF7}"/>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148" name="Group 1147">
              <a:extLst>
                <a:ext uri="{FF2B5EF4-FFF2-40B4-BE49-F238E27FC236}">
                  <a16:creationId xmlns:a16="http://schemas.microsoft.com/office/drawing/2014/main" id="{C98983CB-FFF1-0023-DAB1-18FE96A9F3D4}"/>
                </a:ext>
              </a:extLst>
            </p:cNvPr>
            <p:cNvGrpSpPr/>
            <p:nvPr/>
          </p:nvGrpSpPr>
          <p:grpSpPr>
            <a:xfrm>
              <a:off x="5725719" y="2605383"/>
              <a:ext cx="82971" cy="82971"/>
              <a:chOff x="7236884" y="3439984"/>
              <a:chExt cx="108000" cy="108000"/>
            </a:xfrm>
          </p:grpSpPr>
          <p:cxnSp>
            <p:nvCxnSpPr>
              <p:cNvPr id="1149" name="Straight Connector 1148">
                <a:extLst>
                  <a:ext uri="{FF2B5EF4-FFF2-40B4-BE49-F238E27FC236}">
                    <a16:creationId xmlns:a16="http://schemas.microsoft.com/office/drawing/2014/main" id="{A0B3F86C-3CDA-54CE-CAEC-5BC36564E000}"/>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150" name="Straight Connector 1149">
                <a:extLst>
                  <a:ext uri="{FF2B5EF4-FFF2-40B4-BE49-F238E27FC236}">
                    <a16:creationId xmlns:a16="http://schemas.microsoft.com/office/drawing/2014/main" id="{C2330B4D-DC11-B713-8377-0C4E4AEDEE39}"/>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151" name="Group 1150">
              <a:extLst>
                <a:ext uri="{FF2B5EF4-FFF2-40B4-BE49-F238E27FC236}">
                  <a16:creationId xmlns:a16="http://schemas.microsoft.com/office/drawing/2014/main" id="{1A99C1B6-F7AF-6A32-0D49-8E89A4C59144}"/>
                </a:ext>
              </a:extLst>
            </p:cNvPr>
            <p:cNvGrpSpPr/>
            <p:nvPr/>
          </p:nvGrpSpPr>
          <p:grpSpPr>
            <a:xfrm>
              <a:off x="5709051" y="2600621"/>
              <a:ext cx="82971" cy="82971"/>
              <a:chOff x="7236884" y="3439984"/>
              <a:chExt cx="108000" cy="108000"/>
            </a:xfrm>
          </p:grpSpPr>
          <p:cxnSp>
            <p:nvCxnSpPr>
              <p:cNvPr id="1152" name="Straight Connector 1151">
                <a:extLst>
                  <a:ext uri="{FF2B5EF4-FFF2-40B4-BE49-F238E27FC236}">
                    <a16:creationId xmlns:a16="http://schemas.microsoft.com/office/drawing/2014/main" id="{910E52E1-8B7B-04C8-9651-4B2B6EFFDA02}"/>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153" name="Straight Connector 1152">
                <a:extLst>
                  <a:ext uri="{FF2B5EF4-FFF2-40B4-BE49-F238E27FC236}">
                    <a16:creationId xmlns:a16="http://schemas.microsoft.com/office/drawing/2014/main" id="{986E562A-2AB0-A27F-8909-0E1223CBA9EF}"/>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154" name="Group 1153">
              <a:extLst>
                <a:ext uri="{FF2B5EF4-FFF2-40B4-BE49-F238E27FC236}">
                  <a16:creationId xmlns:a16="http://schemas.microsoft.com/office/drawing/2014/main" id="{0BF282FA-0C0F-DAA3-3041-CE50F1DAE8EB}"/>
                </a:ext>
              </a:extLst>
            </p:cNvPr>
            <p:cNvGrpSpPr/>
            <p:nvPr/>
          </p:nvGrpSpPr>
          <p:grpSpPr>
            <a:xfrm>
              <a:off x="5692383" y="2600621"/>
              <a:ext cx="82971" cy="82971"/>
              <a:chOff x="7236884" y="3439984"/>
              <a:chExt cx="108000" cy="108000"/>
            </a:xfrm>
          </p:grpSpPr>
          <p:cxnSp>
            <p:nvCxnSpPr>
              <p:cNvPr id="1155" name="Straight Connector 1154">
                <a:extLst>
                  <a:ext uri="{FF2B5EF4-FFF2-40B4-BE49-F238E27FC236}">
                    <a16:creationId xmlns:a16="http://schemas.microsoft.com/office/drawing/2014/main" id="{2FD0DD5F-A507-542C-4B8C-BEC8905F8F6D}"/>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156" name="Straight Connector 1155">
                <a:extLst>
                  <a:ext uri="{FF2B5EF4-FFF2-40B4-BE49-F238E27FC236}">
                    <a16:creationId xmlns:a16="http://schemas.microsoft.com/office/drawing/2014/main" id="{9DB965AC-3A37-3C98-D0BC-E6AA85FFAC79}"/>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157" name="Group 1156">
              <a:extLst>
                <a:ext uri="{FF2B5EF4-FFF2-40B4-BE49-F238E27FC236}">
                  <a16:creationId xmlns:a16="http://schemas.microsoft.com/office/drawing/2014/main" id="{9E309D0D-F433-128F-3F72-E77D8CC64E23}"/>
                </a:ext>
              </a:extLst>
            </p:cNvPr>
            <p:cNvGrpSpPr/>
            <p:nvPr/>
          </p:nvGrpSpPr>
          <p:grpSpPr>
            <a:xfrm>
              <a:off x="5663563" y="2589658"/>
              <a:ext cx="82971" cy="82971"/>
              <a:chOff x="7236884" y="3439984"/>
              <a:chExt cx="108000" cy="108000"/>
            </a:xfrm>
          </p:grpSpPr>
          <p:cxnSp>
            <p:nvCxnSpPr>
              <p:cNvPr id="1158" name="Straight Connector 1157">
                <a:extLst>
                  <a:ext uri="{FF2B5EF4-FFF2-40B4-BE49-F238E27FC236}">
                    <a16:creationId xmlns:a16="http://schemas.microsoft.com/office/drawing/2014/main" id="{346FE850-1B8E-16CB-8221-EE811FB2F8F3}"/>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159" name="Straight Connector 1158">
                <a:extLst>
                  <a:ext uri="{FF2B5EF4-FFF2-40B4-BE49-F238E27FC236}">
                    <a16:creationId xmlns:a16="http://schemas.microsoft.com/office/drawing/2014/main" id="{5C1DB517-FDED-68F8-0E4D-3C2DD78955D2}"/>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160" name="Group 1159">
              <a:extLst>
                <a:ext uri="{FF2B5EF4-FFF2-40B4-BE49-F238E27FC236}">
                  <a16:creationId xmlns:a16="http://schemas.microsoft.com/office/drawing/2014/main" id="{1459E438-2B3B-B296-A83E-8A5C9051FD30}"/>
                </a:ext>
              </a:extLst>
            </p:cNvPr>
            <p:cNvGrpSpPr/>
            <p:nvPr/>
          </p:nvGrpSpPr>
          <p:grpSpPr>
            <a:xfrm>
              <a:off x="5649893" y="2575372"/>
              <a:ext cx="82971" cy="82971"/>
              <a:chOff x="7236884" y="3439984"/>
              <a:chExt cx="108000" cy="108000"/>
            </a:xfrm>
          </p:grpSpPr>
          <p:cxnSp>
            <p:nvCxnSpPr>
              <p:cNvPr id="1161" name="Straight Connector 1160">
                <a:extLst>
                  <a:ext uri="{FF2B5EF4-FFF2-40B4-BE49-F238E27FC236}">
                    <a16:creationId xmlns:a16="http://schemas.microsoft.com/office/drawing/2014/main" id="{1A3998D8-8CC8-F3FE-8E00-76CA00B6CD3C}"/>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162" name="Straight Connector 1161">
                <a:extLst>
                  <a:ext uri="{FF2B5EF4-FFF2-40B4-BE49-F238E27FC236}">
                    <a16:creationId xmlns:a16="http://schemas.microsoft.com/office/drawing/2014/main" id="{5D61523E-2D0B-B132-4D5D-8D72C7B7585A}"/>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163" name="Group 1162">
              <a:extLst>
                <a:ext uri="{FF2B5EF4-FFF2-40B4-BE49-F238E27FC236}">
                  <a16:creationId xmlns:a16="http://schemas.microsoft.com/office/drawing/2014/main" id="{14C0070E-E730-0FD8-B49F-E0CC65C39F62}"/>
                </a:ext>
              </a:extLst>
            </p:cNvPr>
            <p:cNvGrpSpPr/>
            <p:nvPr/>
          </p:nvGrpSpPr>
          <p:grpSpPr>
            <a:xfrm>
              <a:off x="5633982" y="2563467"/>
              <a:ext cx="82971" cy="82971"/>
              <a:chOff x="7236884" y="3439984"/>
              <a:chExt cx="108000" cy="108000"/>
            </a:xfrm>
          </p:grpSpPr>
          <p:cxnSp>
            <p:nvCxnSpPr>
              <p:cNvPr id="1164" name="Straight Connector 1163">
                <a:extLst>
                  <a:ext uri="{FF2B5EF4-FFF2-40B4-BE49-F238E27FC236}">
                    <a16:creationId xmlns:a16="http://schemas.microsoft.com/office/drawing/2014/main" id="{8412A4CA-6182-00B5-3F77-7F30B0CE0A52}"/>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165" name="Straight Connector 1164">
                <a:extLst>
                  <a:ext uri="{FF2B5EF4-FFF2-40B4-BE49-F238E27FC236}">
                    <a16:creationId xmlns:a16="http://schemas.microsoft.com/office/drawing/2014/main" id="{0ABD0C2C-7A36-6972-9EAB-5F1F158B6F93}"/>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166" name="Group 1165">
              <a:extLst>
                <a:ext uri="{FF2B5EF4-FFF2-40B4-BE49-F238E27FC236}">
                  <a16:creationId xmlns:a16="http://schemas.microsoft.com/office/drawing/2014/main" id="{06897587-0079-C216-EDA6-84ADD62A9920}"/>
                </a:ext>
              </a:extLst>
            </p:cNvPr>
            <p:cNvGrpSpPr/>
            <p:nvPr/>
          </p:nvGrpSpPr>
          <p:grpSpPr>
            <a:xfrm>
              <a:off x="5624458" y="2554928"/>
              <a:ext cx="82971" cy="82971"/>
              <a:chOff x="7236884" y="3439984"/>
              <a:chExt cx="108000" cy="108000"/>
            </a:xfrm>
          </p:grpSpPr>
          <p:cxnSp>
            <p:nvCxnSpPr>
              <p:cNvPr id="1167" name="Straight Connector 1166">
                <a:extLst>
                  <a:ext uri="{FF2B5EF4-FFF2-40B4-BE49-F238E27FC236}">
                    <a16:creationId xmlns:a16="http://schemas.microsoft.com/office/drawing/2014/main" id="{E791F3C4-4F8D-FBB8-213C-F701E85AB955}"/>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168" name="Straight Connector 1167">
                <a:extLst>
                  <a:ext uri="{FF2B5EF4-FFF2-40B4-BE49-F238E27FC236}">
                    <a16:creationId xmlns:a16="http://schemas.microsoft.com/office/drawing/2014/main" id="{760C7990-4032-D9DF-C203-73A76292FD49}"/>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169" name="Group 1168">
              <a:extLst>
                <a:ext uri="{FF2B5EF4-FFF2-40B4-BE49-F238E27FC236}">
                  <a16:creationId xmlns:a16="http://schemas.microsoft.com/office/drawing/2014/main" id="{D5698BD6-9F45-2587-C9FC-19D3935795A6}"/>
                </a:ext>
              </a:extLst>
            </p:cNvPr>
            <p:cNvGrpSpPr/>
            <p:nvPr/>
          </p:nvGrpSpPr>
          <p:grpSpPr>
            <a:xfrm>
              <a:off x="5598829" y="2535550"/>
              <a:ext cx="82971" cy="82971"/>
              <a:chOff x="7236884" y="3439984"/>
              <a:chExt cx="108000" cy="108000"/>
            </a:xfrm>
          </p:grpSpPr>
          <p:cxnSp>
            <p:nvCxnSpPr>
              <p:cNvPr id="1170" name="Straight Connector 1169">
                <a:extLst>
                  <a:ext uri="{FF2B5EF4-FFF2-40B4-BE49-F238E27FC236}">
                    <a16:creationId xmlns:a16="http://schemas.microsoft.com/office/drawing/2014/main" id="{46BFB326-1FF7-315A-D1C1-2C84E3BC4DD2}"/>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171" name="Straight Connector 1170">
                <a:extLst>
                  <a:ext uri="{FF2B5EF4-FFF2-40B4-BE49-F238E27FC236}">
                    <a16:creationId xmlns:a16="http://schemas.microsoft.com/office/drawing/2014/main" id="{C4C6D34C-3C30-7857-D23B-42A2AC7FB523}"/>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172" name="Group 1171">
              <a:extLst>
                <a:ext uri="{FF2B5EF4-FFF2-40B4-BE49-F238E27FC236}">
                  <a16:creationId xmlns:a16="http://schemas.microsoft.com/office/drawing/2014/main" id="{2BD98413-8D2D-1714-70F5-62875B7EC3D5}"/>
                </a:ext>
              </a:extLst>
            </p:cNvPr>
            <p:cNvGrpSpPr/>
            <p:nvPr/>
          </p:nvGrpSpPr>
          <p:grpSpPr>
            <a:xfrm>
              <a:off x="5582228" y="2535550"/>
              <a:ext cx="82972" cy="82971"/>
              <a:chOff x="7236884" y="3439984"/>
              <a:chExt cx="108000" cy="108000"/>
            </a:xfrm>
          </p:grpSpPr>
          <p:cxnSp>
            <p:nvCxnSpPr>
              <p:cNvPr id="1173" name="Straight Connector 1172">
                <a:extLst>
                  <a:ext uri="{FF2B5EF4-FFF2-40B4-BE49-F238E27FC236}">
                    <a16:creationId xmlns:a16="http://schemas.microsoft.com/office/drawing/2014/main" id="{02E55F93-C040-37A7-9DA3-B262428B6183}"/>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174" name="Straight Connector 1173">
                <a:extLst>
                  <a:ext uri="{FF2B5EF4-FFF2-40B4-BE49-F238E27FC236}">
                    <a16:creationId xmlns:a16="http://schemas.microsoft.com/office/drawing/2014/main" id="{8C8D3B03-2C6B-C2F3-EBA9-F95B5E110C3F}"/>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176" name="Group 1175">
              <a:extLst>
                <a:ext uri="{FF2B5EF4-FFF2-40B4-BE49-F238E27FC236}">
                  <a16:creationId xmlns:a16="http://schemas.microsoft.com/office/drawing/2014/main" id="{CF6D4A5E-12F4-3814-2FF7-346F8CD5DE23}"/>
                </a:ext>
              </a:extLst>
            </p:cNvPr>
            <p:cNvGrpSpPr/>
            <p:nvPr/>
          </p:nvGrpSpPr>
          <p:grpSpPr>
            <a:xfrm>
              <a:off x="5562159" y="2513442"/>
              <a:ext cx="82972" cy="82971"/>
              <a:chOff x="7236884" y="3439984"/>
              <a:chExt cx="108000" cy="108000"/>
            </a:xfrm>
          </p:grpSpPr>
          <p:cxnSp>
            <p:nvCxnSpPr>
              <p:cNvPr id="1177" name="Straight Connector 1176">
                <a:extLst>
                  <a:ext uri="{FF2B5EF4-FFF2-40B4-BE49-F238E27FC236}">
                    <a16:creationId xmlns:a16="http://schemas.microsoft.com/office/drawing/2014/main" id="{AD90E88E-6850-284B-0B33-2400B0B34F4E}"/>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178" name="Straight Connector 1177">
                <a:extLst>
                  <a:ext uri="{FF2B5EF4-FFF2-40B4-BE49-F238E27FC236}">
                    <a16:creationId xmlns:a16="http://schemas.microsoft.com/office/drawing/2014/main" id="{FC1892C2-F7DD-BD6F-B02F-44B4318BC6A5}"/>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179" name="Group 1178">
              <a:extLst>
                <a:ext uri="{FF2B5EF4-FFF2-40B4-BE49-F238E27FC236}">
                  <a16:creationId xmlns:a16="http://schemas.microsoft.com/office/drawing/2014/main" id="{A0915B25-A704-F8DD-7934-6899E49B24A1}"/>
                </a:ext>
              </a:extLst>
            </p:cNvPr>
            <p:cNvGrpSpPr/>
            <p:nvPr/>
          </p:nvGrpSpPr>
          <p:grpSpPr>
            <a:xfrm>
              <a:off x="5554563" y="2500258"/>
              <a:ext cx="82972" cy="82971"/>
              <a:chOff x="7236884" y="3439984"/>
              <a:chExt cx="108000" cy="108000"/>
            </a:xfrm>
          </p:grpSpPr>
          <p:cxnSp>
            <p:nvCxnSpPr>
              <p:cNvPr id="1180" name="Straight Connector 1179">
                <a:extLst>
                  <a:ext uri="{FF2B5EF4-FFF2-40B4-BE49-F238E27FC236}">
                    <a16:creationId xmlns:a16="http://schemas.microsoft.com/office/drawing/2014/main" id="{3F7B0175-8E40-DF58-52A9-5A52EFE6D4A4}"/>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181" name="Straight Connector 1180">
                <a:extLst>
                  <a:ext uri="{FF2B5EF4-FFF2-40B4-BE49-F238E27FC236}">
                    <a16:creationId xmlns:a16="http://schemas.microsoft.com/office/drawing/2014/main" id="{828EC760-A0B3-0B91-85AD-79A035C6F86E}"/>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182" name="Group 1181">
              <a:extLst>
                <a:ext uri="{FF2B5EF4-FFF2-40B4-BE49-F238E27FC236}">
                  <a16:creationId xmlns:a16="http://schemas.microsoft.com/office/drawing/2014/main" id="{0F2F17DA-914F-862E-7563-7817723BEED9}"/>
                </a:ext>
              </a:extLst>
            </p:cNvPr>
            <p:cNvGrpSpPr/>
            <p:nvPr/>
          </p:nvGrpSpPr>
          <p:grpSpPr>
            <a:xfrm>
              <a:off x="5529746" y="2479100"/>
              <a:ext cx="82972" cy="82971"/>
              <a:chOff x="7236884" y="3439984"/>
              <a:chExt cx="108000" cy="108000"/>
            </a:xfrm>
          </p:grpSpPr>
          <p:cxnSp>
            <p:nvCxnSpPr>
              <p:cNvPr id="1183" name="Straight Connector 1182">
                <a:extLst>
                  <a:ext uri="{FF2B5EF4-FFF2-40B4-BE49-F238E27FC236}">
                    <a16:creationId xmlns:a16="http://schemas.microsoft.com/office/drawing/2014/main" id="{DF51BE1B-806D-CF22-437B-56CDBED9F093}"/>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184" name="Straight Connector 1183">
                <a:extLst>
                  <a:ext uri="{FF2B5EF4-FFF2-40B4-BE49-F238E27FC236}">
                    <a16:creationId xmlns:a16="http://schemas.microsoft.com/office/drawing/2014/main" id="{FD57743A-AE6C-9902-0B79-96999E664E81}"/>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185" name="Group 1184">
              <a:extLst>
                <a:ext uri="{FF2B5EF4-FFF2-40B4-BE49-F238E27FC236}">
                  <a16:creationId xmlns:a16="http://schemas.microsoft.com/office/drawing/2014/main" id="{E20F01A9-F8ED-899C-A306-D29DE4B22D1A}"/>
                </a:ext>
              </a:extLst>
            </p:cNvPr>
            <p:cNvGrpSpPr/>
            <p:nvPr/>
          </p:nvGrpSpPr>
          <p:grpSpPr>
            <a:xfrm>
              <a:off x="5513077" y="2462433"/>
              <a:ext cx="82972" cy="82971"/>
              <a:chOff x="7236884" y="3439984"/>
              <a:chExt cx="108000" cy="108000"/>
            </a:xfrm>
          </p:grpSpPr>
          <p:cxnSp>
            <p:nvCxnSpPr>
              <p:cNvPr id="1186" name="Straight Connector 1185">
                <a:extLst>
                  <a:ext uri="{FF2B5EF4-FFF2-40B4-BE49-F238E27FC236}">
                    <a16:creationId xmlns:a16="http://schemas.microsoft.com/office/drawing/2014/main" id="{B0E9FB58-4381-9F94-04B2-E853ABFC8EB8}"/>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187" name="Straight Connector 1186">
                <a:extLst>
                  <a:ext uri="{FF2B5EF4-FFF2-40B4-BE49-F238E27FC236}">
                    <a16:creationId xmlns:a16="http://schemas.microsoft.com/office/drawing/2014/main" id="{5B4A63AE-F6DB-1271-CA19-98385580E03B}"/>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188" name="Group 1187">
              <a:extLst>
                <a:ext uri="{FF2B5EF4-FFF2-40B4-BE49-F238E27FC236}">
                  <a16:creationId xmlns:a16="http://schemas.microsoft.com/office/drawing/2014/main" id="{33BA9C55-C733-5A9D-0214-DA161251F81B}"/>
                </a:ext>
              </a:extLst>
            </p:cNvPr>
            <p:cNvGrpSpPr/>
            <p:nvPr/>
          </p:nvGrpSpPr>
          <p:grpSpPr>
            <a:xfrm>
              <a:off x="5498111" y="2448143"/>
              <a:ext cx="82972" cy="82971"/>
              <a:chOff x="7236884" y="3439984"/>
              <a:chExt cx="108000" cy="108000"/>
            </a:xfrm>
          </p:grpSpPr>
          <p:cxnSp>
            <p:nvCxnSpPr>
              <p:cNvPr id="1189" name="Straight Connector 1188">
                <a:extLst>
                  <a:ext uri="{FF2B5EF4-FFF2-40B4-BE49-F238E27FC236}">
                    <a16:creationId xmlns:a16="http://schemas.microsoft.com/office/drawing/2014/main" id="{DED16FA1-0E0B-B8A0-86A5-9C1CA9617CF4}"/>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190" name="Straight Connector 1189">
                <a:extLst>
                  <a:ext uri="{FF2B5EF4-FFF2-40B4-BE49-F238E27FC236}">
                    <a16:creationId xmlns:a16="http://schemas.microsoft.com/office/drawing/2014/main" id="{7DA3CF73-1436-CFB9-D036-EB67E192E141}"/>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191" name="Group 1190">
              <a:extLst>
                <a:ext uri="{FF2B5EF4-FFF2-40B4-BE49-F238E27FC236}">
                  <a16:creationId xmlns:a16="http://schemas.microsoft.com/office/drawing/2014/main" id="{C5AD6C31-18AE-C662-AE8A-99458DB81DCC}"/>
                </a:ext>
              </a:extLst>
            </p:cNvPr>
            <p:cNvGrpSpPr/>
            <p:nvPr/>
          </p:nvGrpSpPr>
          <p:grpSpPr>
            <a:xfrm>
              <a:off x="5481115" y="2428473"/>
              <a:ext cx="82972" cy="82971"/>
              <a:chOff x="7236884" y="3439984"/>
              <a:chExt cx="108000" cy="108000"/>
            </a:xfrm>
          </p:grpSpPr>
          <p:cxnSp>
            <p:nvCxnSpPr>
              <p:cNvPr id="1192" name="Straight Connector 1191">
                <a:extLst>
                  <a:ext uri="{FF2B5EF4-FFF2-40B4-BE49-F238E27FC236}">
                    <a16:creationId xmlns:a16="http://schemas.microsoft.com/office/drawing/2014/main" id="{549781DA-195F-DA3E-AA75-7FA8A9230E39}"/>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193" name="Straight Connector 1192">
                <a:extLst>
                  <a:ext uri="{FF2B5EF4-FFF2-40B4-BE49-F238E27FC236}">
                    <a16:creationId xmlns:a16="http://schemas.microsoft.com/office/drawing/2014/main" id="{15386F21-8059-01E5-3878-A77553A2EC60}"/>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194" name="Group 1193">
              <a:extLst>
                <a:ext uri="{FF2B5EF4-FFF2-40B4-BE49-F238E27FC236}">
                  <a16:creationId xmlns:a16="http://schemas.microsoft.com/office/drawing/2014/main" id="{8E1D2857-1810-CB01-A047-9A437EAC7CE5}"/>
                </a:ext>
              </a:extLst>
            </p:cNvPr>
            <p:cNvGrpSpPr/>
            <p:nvPr/>
          </p:nvGrpSpPr>
          <p:grpSpPr>
            <a:xfrm>
              <a:off x="5457517" y="2417694"/>
              <a:ext cx="82972" cy="82971"/>
              <a:chOff x="7236884" y="3439984"/>
              <a:chExt cx="108000" cy="108000"/>
            </a:xfrm>
          </p:grpSpPr>
          <p:cxnSp>
            <p:nvCxnSpPr>
              <p:cNvPr id="1195" name="Straight Connector 1194">
                <a:extLst>
                  <a:ext uri="{FF2B5EF4-FFF2-40B4-BE49-F238E27FC236}">
                    <a16:creationId xmlns:a16="http://schemas.microsoft.com/office/drawing/2014/main" id="{67A94961-4F8D-A77C-A9D1-E5948BD87F55}"/>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196" name="Straight Connector 1195">
                <a:extLst>
                  <a:ext uri="{FF2B5EF4-FFF2-40B4-BE49-F238E27FC236}">
                    <a16:creationId xmlns:a16="http://schemas.microsoft.com/office/drawing/2014/main" id="{5E757E6A-AA7C-4977-1F88-48D5D9DD7CA0}"/>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197" name="Group 1196">
              <a:extLst>
                <a:ext uri="{FF2B5EF4-FFF2-40B4-BE49-F238E27FC236}">
                  <a16:creationId xmlns:a16="http://schemas.microsoft.com/office/drawing/2014/main" id="{3563E69E-4662-4DF2-E6B3-35F12DDB5F32}"/>
                </a:ext>
              </a:extLst>
            </p:cNvPr>
            <p:cNvGrpSpPr/>
            <p:nvPr/>
          </p:nvGrpSpPr>
          <p:grpSpPr>
            <a:xfrm>
              <a:off x="5447993" y="2407031"/>
              <a:ext cx="82972" cy="82971"/>
              <a:chOff x="7236884" y="3439984"/>
              <a:chExt cx="108000" cy="108000"/>
            </a:xfrm>
          </p:grpSpPr>
          <p:cxnSp>
            <p:nvCxnSpPr>
              <p:cNvPr id="1198" name="Straight Connector 1197">
                <a:extLst>
                  <a:ext uri="{FF2B5EF4-FFF2-40B4-BE49-F238E27FC236}">
                    <a16:creationId xmlns:a16="http://schemas.microsoft.com/office/drawing/2014/main" id="{93598F37-2D94-EB42-0BD6-9BC891AE8D4D}"/>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199" name="Straight Connector 1198">
                <a:extLst>
                  <a:ext uri="{FF2B5EF4-FFF2-40B4-BE49-F238E27FC236}">
                    <a16:creationId xmlns:a16="http://schemas.microsoft.com/office/drawing/2014/main" id="{2576D0EB-E70A-7DAD-418B-FE4B0CC12085}"/>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200" name="Group 1199">
              <a:extLst>
                <a:ext uri="{FF2B5EF4-FFF2-40B4-BE49-F238E27FC236}">
                  <a16:creationId xmlns:a16="http://schemas.microsoft.com/office/drawing/2014/main" id="{A6B0D356-B088-8870-977D-F583E1887E24}"/>
                </a:ext>
              </a:extLst>
            </p:cNvPr>
            <p:cNvGrpSpPr/>
            <p:nvPr/>
          </p:nvGrpSpPr>
          <p:grpSpPr>
            <a:xfrm>
              <a:off x="5416031" y="2387844"/>
              <a:ext cx="82972" cy="82971"/>
              <a:chOff x="7236884" y="3439984"/>
              <a:chExt cx="108000" cy="108000"/>
            </a:xfrm>
          </p:grpSpPr>
          <p:cxnSp>
            <p:nvCxnSpPr>
              <p:cNvPr id="1201" name="Straight Connector 1200">
                <a:extLst>
                  <a:ext uri="{FF2B5EF4-FFF2-40B4-BE49-F238E27FC236}">
                    <a16:creationId xmlns:a16="http://schemas.microsoft.com/office/drawing/2014/main" id="{3A54CAE3-87B7-108A-B3CD-DE3CE143B2C8}"/>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202" name="Straight Connector 1201">
                <a:extLst>
                  <a:ext uri="{FF2B5EF4-FFF2-40B4-BE49-F238E27FC236}">
                    <a16:creationId xmlns:a16="http://schemas.microsoft.com/office/drawing/2014/main" id="{4A1C984B-5AF1-8E5D-BBE0-905BDA88C4C0}"/>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203" name="Group 1202">
              <a:extLst>
                <a:ext uri="{FF2B5EF4-FFF2-40B4-BE49-F238E27FC236}">
                  <a16:creationId xmlns:a16="http://schemas.microsoft.com/office/drawing/2014/main" id="{EC83F409-291F-2FD3-C16F-4B4BD706100C}"/>
                </a:ext>
              </a:extLst>
            </p:cNvPr>
            <p:cNvGrpSpPr/>
            <p:nvPr/>
          </p:nvGrpSpPr>
          <p:grpSpPr>
            <a:xfrm>
              <a:off x="5433705" y="2387844"/>
              <a:ext cx="82972" cy="82971"/>
              <a:chOff x="7236884" y="3439984"/>
              <a:chExt cx="108000" cy="108000"/>
            </a:xfrm>
          </p:grpSpPr>
          <p:cxnSp>
            <p:nvCxnSpPr>
              <p:cNvPr id="1204" name="Straight Connector 1203">
                <a:extLst>
                  <a:ext uri="{FF2B5EF4-FFF2-40B4-BE49-F238E27FC236}">
                    <a16:creationId xmlns:a16="http://schemas.microsoft.com/office/drawing/2014/main" id="{6981C4F7-0EDB-B2BA-E926-BFE0E78B93FD}"/>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205" name="Straight Connector 1204">
                <a:extLst>
                  <a:ext uri="{FF2B5EF4-FFF2-40B4-BE49-F238E27FC236}">
                    <a16:creationId xmlns:a16="http://schemas.microsoft.com/office/drawing/2014/main" id="{BDB3A52C-6C04-6A61-91C6-C7C3E88E6EB0}"/>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206" name="Group 1205">
              <a:extLst>
                <a:ext uri="{FF2B5EF4-FFF2-40B4-BE49-F238E27FC236}">
                  <a16:creationId xmlns:a16="http://schemas.microsoft.com/office/drawing/2014/main" id="{71F2F089-3E8C-7C09-76FD-A0224415E0DD}"/>
                </a:ext>
              </a:extLst>
            </p:cNvPr>
            <p:cNvGrpSpPr/>
            <p:nvPr/>
          </p:nvGrpSpPr>
          <p:grpSpPr>
            <a:xfrm>
              <a:off x="5402748" y="2371550"/>
              <a:ext cx="82972" cy="82971"/>
              <a:chOff x="7236884" y="3439984"/>
              <a:chExt cx="108000" cy="108000"/>
            </a:xfrm>
          </p:grpSpPr>
          <p:cxnSp>
            <p:nvCxnSpPr>
              <p:cNvPr id="1207" name="Straight Connector 1206">
                <a:extLst>
                  <a:ext uri="{FF2B5EF4-FFF2-40B4-BE49-F238E27FC236}">
                    <a16:creationId xmlns:a16="http://schemas.microsoft.com/office/drawing/2014/main" id="{633DFDA4-93F3-4304-5309-0A5DAAB40338}"/>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208" name="Straight Connector 1207">
                <a:extLst>
                  <a:ext uri="{FF2B5EF4-FFF2-40B4-BE49-F238E27FC236}">
                    <a16:creationId xmlns:a16="http://schemas.microsoft.com/office/drawing/2014/main" id="{69E9F5BE-5DEC-27BD-CA3D-1A2CF49D06A4}"/>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209" name="Group 1208">
              <a:extLst>
                <a:ext uri="{FF2B5EF4-FFF2-40B4-BE49-F238E27FC236}">
                  <a16:creationId xmlns:a16="http://schemas.microsoft.com/office/drawing/2014/main" id="{3C53DE5D-2BA2-8718-ED7A-40A575CB2F9E}"/>
                </a:ext>
              </a:extLst>
            </p:cNvPr>
            <p:cNvGrpSpPr/>
            <p:nvPr/>
          </p:nvGrpSpPr>
          <p:grpSpPr>
            <a:xfrm>
              <a:off x="5383698" y="2363321"/>
              <a:ext cx="82972" cy="82971"/>
              <a:chOff x="7236884" y="3439984"/>
              <a:chExt cx="108000" cy="108000"/>
            </a:xfrm>
          </p:grpSpPr>
          <p:cxnSp>
            <p:nvCxnSpPr>
              <p:cNvPr id="1210" name="Straight Connector 1209">
                <a:extLst>
                  <a:ext uri="{FF2B5EF4-FFF2-40B4-BE49-F238E27FC236}">
                    <a16:creationId xmlns:a16="http://schemas.microsoft.com/office/drawing/2014/main" id="{19323290-578F-0639-1DAD-5F4283C074E0}"/>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211" name="Straight Connector 1210">
                <a:extLst>
                  <a:ext uri="{FF2B5EF4-FFF2-40B4-BE49-F238E27FC236}">
                    <a16:creationId xmlns:a16="http://schemas.microsoft.com/office/drawing/2014/main" id="{5FDAF65D-E46E-835F-F74B-E9492EAB10FA}"/>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212" name="Group 1211">
              <a:extLst>
                <a:ext uri="{FF2B5EF4-FFF2-40B4-BE49-F238E27FC236}">
                  <a16:creationId xmlns:a16="http://schemas.microsoft.com/office/drawing/2014/main" id="{DE5412C3-50AD-D448-B42D-0B0238B28648}"/>
                </a:ext>
              </a:extLst>
            </p:cNvPr>
            <p:cNvGrpSpPr/>
            <p:nvPr/>
          </p:nvGrpSpPr>
          <p:grpSpPr>
            <a:xfrm>
              <a:off x="5359886" y="2338497"/>
              <a:ext cx="82972" cy="82971"/>
              <a:chOff x="7236884" y="3439984"/>
              <a:chExt cx="108000" cy="108000"/>
            </a:xfrm>
          </p:grpSpPr>
          <p:cxnSp>
            <p:nvCxnSpPr>
              <p:cNvPr id="1213" name="Straight Connector 1212">
                <a:extLst>
                  <a:ext uri="{FF2B5EF4-FFF2-40B4-BE49-F238E27FC236}">
                    <a16:creationId xmlns:a16="http://schemas.microsoft.com/office/drawing/2014/main" id="{457CE7E5-39E2-D81A-61F7-B29DD9E070EA}"/>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214" name="Straight Connector 1213">
                <a:extLst>
                  <a:ext uri="{FF2B5EF4-FFF2-40B4-BE49-F238E27FC236}">
                    <a16:creationId xmlns:a16="http://schemas.microsoft.com/office/drawing/2014/main" id="{28F5BB1C-4D03-F934-E859-6A51FC217D97}"/>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215" name="Group 1214">
              <a:extLst>
                <a:ext uri="{FF2B5EF4-FFF2-40B4-BE49-F238E27FC236}">
                  <a16:creationId xmlns:a16="http://schemas.microsoft.com/office/drawing/2014/main" id="{92FD598A-5FA3-8D1B-2C10-102CA04EEBB9}"/>
                </a:ext>
              </a:extLst>
            </p:cNvPr>
            <p:cNvGrpSpPr/>
            <p:nvPr/>
          </p:nvGrpSpPr>
          <p:grpSpPr>
            <a:xfrm>
              <a:off x="5352742" y="2329609"/>
              <a:ext cx="82972" cy="82971"/>
              <a:chOff x="7236884" y="3439984"/>
              <a:chExt cx="108000" cy="108000"/>
            </a:xfrm>
          </p:grpSpPr>
          <p:cxnSp>
            <p:nvCxnSpPr>
              <p:cNvPr id="1216" name="Straight Connector 1215">
                <a:extLst>
                  <a:ext uri="{FF2B5EF4-FFF2-40B4-BE49-F238E27FC236}">
                    <a16:creationId xmlns:a16="http://schemas.microsoft.com/office/drawing/2014/main" id="{BE0DFEF8-12FF-5CC4-BC80-217D9770F2C0}"/>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217" name="Straight Connector 1216">
                <a:extLst>
                  <a:ext uri="{FF2B5EF4-FFF2-40B4-BE49-F238E27FC236}">
                    <a16:creationId xmlns:a16="http://schemas.microsoft.com/office/drawing/2014/main" id="{358EF55B-7296-02E4-196D-3EDE51BC15ED}"/>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218" name="Group 1217">
              <a:extLst>
                <a:ext uri="{FF2B5EF4-FFF2-40B4-BE49-F238E27FC236}">
                  <a16:creationId xmlns:a16="http://schemas.microsoft.com/office/drawing/2014/main" id="{72747D80-68BF-452A-FD6C-C141D93E0293}"/>
                </a:ext>
              </a:extLst>
            </p:cNvPr>
            <p:cNvGrpSpPr/>
            <p:nvPr/>
          </p:nvGrpSpPr>
          <p:grpSpPr>
            <a:xfrm>
              <a:off x="5336073" y="2318668"/>
              <a:ext cx="82972" cy="82971"/>
              <a:chOff x="7236884" y="3439984"/>
              <a:chExt cx="108000" cy="108000"/>
            </a:xfrm>
          </p:grpSpPr>
          <p:cxnSp>
            <p:nvCxnSpPr>
              <p:cNvPr id="1219" name="Straight Connector 1218">
                <a:extLst>
                  <a:ext uri="{FF2B5EF4-FFF2-40B4-BE49-F238E27FC236}">
                    <a16:creationId xmlns:a16="http://schemas.microsoft.com/office/drawing/2014/main" id="{F1F90643-2F8D-048C-EFDD-DBDD620B426C}"/>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220" name="Straight Connector 1219">
                <a:extLst>
                  <a:ext uri="{FF2B5EF4-FFF2-40B4-BE49-F238E27FC236}">
                    <a16:creationId xmlns:a16="http://schemas.microsoft.com/office/drawing/2014/main" id="{936518B1-8CED-25A8-FAAA-C528894EB6F7}"/>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221" name="Group 1220">
              <a:extLst>
                <a:ext uri="{FF2B5EF4-FFF2-40B4-BE49-F238E27FC236}">
                  <a16:creationId xmlns:a16="http://schemas.microsoft.com/office/drawing/2014/main" id="{4EEA4AFE-CF77-8C54-DBDB-CC646913DED9}"/>
                </a:ext>
              </a:extLst>
            </p:cNvPr>
            <p:cNvGrpSpPr/>
            <p:nvPr/>
          </p:nvGrpSpPr>
          <p:grpSpPr>
            <a:xfrm>
              <a:off x="5312721" y="2304873"/>
              <a:ext cx="82972" cy="82971"/>
              <a:chOff x="7236884" y="3439984"/>
              <a:chExt cx="108000" cy="108000"/>
            </a:xfrm>
          </p:grpSpPr>
          <p:cxnSp>
            <p:nvCxnSpPr>
              <p:cNvPr id="1222" name="Straight Connector 1221">
                <a:extLst>
                  <a:ext uri="{FF2B5EF4-FFF2-40B4-BE49-F238E27FC236}">
                    <a16:creationId xmlns:a16="http://schemas.microsoft.com/office/drawing/2014/main" id="{A97D34D9-E68F-0011-9222-1266CC611AF9}"/>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223" name="Straight Connector 1222">
                <a:extLst>
                  <a:ext uri="{FF2B5EF4-FFF2-40B4-BE49-F238E27FC236}">
                    <a16:creationId xmlns:a16="http://schemas.microsoft.com/office/drawing/2014/main" id="{A147EF71-D148-F385-4B76-DAE8D6D979BB}"/>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224" name="Group 1223">
              <a:extLst>
                <a:ext uri="{FF2B5EF4-FFF2-40B4-BE49-F238E27FC236}">
                  <a16:creationId xmlns:a16="http://schemas.microsoft.com/office/drawing/2014/main" id="{5FD244EA-F5C0-B48F-290E-3C9660D11703}"/>
                </a:ext>
              </a:extLst>
            </p:cNvPr>
            <p:cNvGrpSpPr/>
            <p:nvPr/>
          </p:nvGrpSpPr>
          <p:grpSpPr>
            <a:xfrm>
              <a:off x="5312721" y="2240756"/>
              <a:ext cx="82972" cy="82971"/>
              <a:chOff x="7236884" y="3439984"/>
              <a:chExt cx="108000" cy="108000"/>
            </a:xfrm>
          </p:grpSpPr>
          <p:cxnSp>
            <p:nvCxnSpPr>
              <p:cNvPr id="1225" name="Straight Connector 1224">
                <a:extLst>
                  <a:ext uri="{FF2B5EF4-FFF2-40B4-BE49-F238E27FC236}">
                    <a16:creationId xmlns:a16="http://schemas.microsoft.com/office/drawing/2014/main" id="{3FEC542F-4D77-A557-0BB6-0658914A847D}"/>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226" name="Straight Connector 1225">
                <a:extLst>
                  <a:ext uri="{FF2B5EF4-FFF2-40B4-BE49-F238E27FC236}">
                    <a16:creationId xmlns:a16="http://schemas.microsoft.com/office/drawing/2014/main" id="{61E2D2AB-F8ED-5AF3-DAD1-73B107231D41}"/>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227" name="Group 1226">
              <a:extLst>
                <a:ext uri="{FF2B5EF4-FFF2-40B4-BE49-F238E27FC236}">
                  <a16:creationId xmlns:a16="http://schemas.microsoft.com/office/drawing/2014/main" id="{8C783BB4-48CB-CC86-0253-6230A26C808A}"/>
                </a:ext>
              </a:extLst>
            </p:cNvPr>
            <p:cNvGrpSpPr/>
            <p:nvPr/>
          </p:nvGrpSpPr>
          <p:grpSpPr>
            <a:xfrm>
              <a:off x="5298435" y="2233954"/>
              <a:ext cx="82972" cy="82971"/>
              <a:chOff x="7236884" y="3439984"/>
              <a:chExt cx="108000" cy="108000"/>
            </a:xfrm>
          </p:grpSpPr>
          <p:cxnSp>
            <p:nvCxnSpPr>
              <p:cNvPr id="1228" name="Straight Connector 1227">
                <a:extLst>
                  <a:ext uri="{FF2B5EF4-FFF2-40B4-BE49-F238E27FC236}">
                    <a16:creationId xmlns:a16="http://schemas.microsoft.com/office/drawing/2014/main" id="{7E72743C-D534-26FE-A6DA-4358267513E2}"/>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229" name="Straight Connector 1228">
                <a:extLst>
                  <a:ext uri="{FF2B5EF4-FFF2-40B4-BE49-F238E27FC236}">
                    <a16:creationId xmlns:a16="http://schemas.microsoft.com/office/drawing/2014/main" id="{10FADABA-056E-535D-79C6-8591442F2A54}"/>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230" name="Group 1229">
              <a:extLst>
                <a:ext uri="{FF2B5EF4-FFF2-40B4-BE49-F238E27FC236}">
                  <a16:creationId xmlns:a16="http://schemas.microsoft.com/office/drawing/2014/main" id="{705E4874-CFB9-FD4C-55FE-42E426F25489}"/>
                </a:ext>
              </a:extLst>
            </p:cNvPr>
            <p:cNvGrpSpPr/>
            <p:nvPr/>
          </p:nvGrpSpPr>
          <p:grpSpPr>
            <a:xfrm>
              <a:off x="5293673" y="2217638"/>
              <a:ext cx="82972" cy="82971"/>
              <a:chOff x="7236884" y="3439984"/>
              <a:chExt cx="108000" cy="108000"/>
            </a:xfrm>
          </p:grpSpPr>
          <p:cxnSp>
            <p:nvCxnSpPr>
              <p:cNvPr id="1231" name="Straight Connector 1230">
                <a:extLst>
                  <a:ext uri="{FF2B5EF4-FFF2-40B4-BE49-F238E27FC236}">
                    <a16:creationId xmlns:a16="http://schemas.microsoft.com/office/drawing/2014/main" id="{9B3BC7DF-62F8-7C23-3290-2341BB346BEC}"/>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232" name="Straight Connector 1231">
                <a:extLst>
                  <a:ext uri="{FF2B5EF4-FFF2-40B4-BE49-F238E27FC236}">
                    <a16:creationId xmlns:a16="http://schemas.microsoft.com/office/drawing/2014/main" id="{EAE3CEBC-E409-06C4-014D-165EA98BC642}"/>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233" name="Group 1232">
              <a:extLst>
                <a:ext uri="{FF2B5EF4-FFF2-40B4-BE49-F238E27FC236}">
                  <a16:creationId xmlns:a16="http://schemas.microsoft.com/office/drawing/2014/main" id="{24499831-FED8-D8F1-8D97-5315EAF3B414}"/>
                </a:ext>
              </a:extLst>
            </p:cNvPr>
            <p:cNvGrpSpPr/>
            <p:nvPr/>
          </p:nvGrpSpPr>
          <p:grpSpPr>
            <a:xfrm>
              <a:off x="5278378" y="2210495"/>
              <a:ext cx="82972" cy="82971"/>
              <a:chOff x="7236884" y="3439984"/>
              <a:chExt cx="108000" cy="108000"/>
            </a:xfrm>
          </p:grpSpPr>
          <p:cxnSp>
            <p:nvCxnSpPr>
              <p:cNvPr id="1234" name="Straight Connector 1233">
                <a:extLst>
                  <a:ext uri="{FF2B5EF4-FFF2-40B4-BE49-F238E27FC236}">
                    <a16:creationId xmlns:a16="http://schemas.microsoft.com/office/drawing/2014/main" id="{7D3A8EEE-C6CE-F805-6392-FF41D276DD93}"/>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235" name="Straight Connector 1234">
                <a:extLst>
                  <a:ext uri="{FF2B5EF4-FFF2-40B4-BE49-F238E27FC236}">
                    <a16:creationId xmlns:a16="http://schemas.microsoft.com/office/drawing/2014/main" id="{661B9553-5ED5-0C71-B31D-A267B433121A}"/>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236" name="Group 1235">
              <a:extLst>
                <a:ext uri="{FF2B5EF4-FFF2-40B4-BE49-F238E27FC236}">
                  <a16:creationId xmlns:a16="http://schemas.microsoft.com/office/drawing/2014/main" id="{9D45A692-2608-B0AE-B4AB-96B0B469DEE0}"/>
                </a:ext>
              </a:extLst>
            </p:cNvPr>
            <p:cNvGrpSpPr/>
            <p:nvPr/>
          </p:nvGrpSpPr>
          <p:grpSpPr>
            <a:xfrm>
              <a:off x="5255777" y="2205733"/>
              <a:ext cx="82972" cy="82971"/>
              <a:chOff x="7236884" y="3439984"/>
              <a:chExt cx="108000" cy="108000"/>
            </a:xfrm>
          </p:grpSpPr>
          <p:cxnSp>
            <p:nvCxnSpPr>
              <p:cNvPr id="1237" name="Straight Connector 1236">
                <a:extLst>
                  <a:ext uri="{FF2B5EF4-FFF2-40B4-BE49-F238E27FC236}">
                    <a16:creationId xmlns:a16="http://schemas.microsoft.com/office/drawing/2014/main" id="{06D9CCF5-600A-0967-2C27-9C1BB5A7753A}"/>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238" name="Straight Connector 1237">
                <a:extLst>
                  <a:ext uri="{FF2B5EF4-FFF2-40B4-BE49-F238E27FC236}">
                    <a16:creationId xmlns:a16="http://schemas.microsoft.com/office/drawing/2014/main" id="{6DE73358-BA41-A67B-CA07-2A3B09F7E006}"/>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239" name="Group 1238">
              <a:extLst>
                <a:ext uri="{FF2B5EF4-FFF2-40B4-BE49-F238E27FC236}">
                  <a16:creationId xmlns:a16="http://schemas.microsoft.com/office/drawing/2014/main" id="{1F94F00A-1ACD-6A1B-00D6-25DC7C05026C}"/>
                </a:ext>
              </a:extLst>
            </p:cNvPr>
            <p:cNvGrpSpPr/>
            <p:nvPr/>
          </p:nvGrpSpPr>
          <p:grpSpPr>
            <a:xfrm>
              <a:off x="5271235" y="2205733"/>
              <a:ext cx="82972" cy="82971"/>
              <a:chOff x="7236884" y="3439984"/>
              <a:chExt cx="108000" cy="108000"/>
            </a:xfrm>
          </p:grpSpPr>
          <p:cxnSp>
            <p:nvCxnSpPr>
              <p:cNvPr id="1240" name="Straight Connector 1239">
                <a:extLst>
                  <a:ext uri="{FF2B5EF4-FFF2-40B4-BE49-F238E27FC236}">
                    <a16:creationId xmlns:a16="http://schemas.microsoft.com/office/drawing/2014/main" id="{F92FFECE-EDB1-5C87-8056-634F3DDE44BF}"/>
                  </a:ext>
                </a:extLst>
              </p:cNvPr>
              <p:cNvCxnSpPr>
                <a:cxnSpLocks/>
              </p:cNvCxnSpPr>
              <p:nvPr/>
            </p:nvCxnSpPr>
            <p:spPr>
              <a:xfrm>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cxnSp>
            <p:nvCxnSpPr>
              <p:cNvPr id="1241" name="Straight Connector 1240">
                <a:extLst>
                  <a:ext uri="{FF2B5EF4-FFF2-40B4-BE49-F238E27FC236}">
                    <a16:creationId xmlns:a16="http://schemas.microsoft.com/office/drawing/2014/main" id="{09849137-FD2B-883B-4836-A080396510C4}"/>
                  </a:ext>
                </a:extLst>
              </p:cNvPr>
              <p:cNvCxnSpPr>
                <a:cxnSpLocks/>
              </p:cNvCxnSpPr>
              <p:nvPr/>
            </p:nvCxnSpPr>
            <p:spPr>
              <a:xfrm rot="5400000">
                <a:off x="7290884" y="3439984"/>
                <a:ext cx="0" cy="108000"/>
              </a:xfrm>
              <a:prstGeom prst="line">
                <a:avLst/>
              </a:prstGeom>
              <a:ln w="15875">
                <a:solidFill>
                  <a:srgbClr val="388DC5"/>
                </a:solidFill>
              </a:ln>
            </p:spPr>
            <p:style>
              <a:lnRef idx="1">
                <a:schemeClr val="accent1"/>
              </a:lnRef>
              <a:fillRef idx="0">
                <a:schemeClr val="accent1"/>
              </a:fillRef>
              <a:effectRef idx="0">
                <a:schemeClr val="accent1"/>
              </a:effectRef>
              <a:fontRef idx="minor">
                <a:schemeClr val="tx1"/>
              </a:fontRef>
            </p:style>
          </p:cxnSp>
        </p:grpSp>
        <p:grpSp>
          <p:nvGrpSpPr>
            <p:cNvPr id="1242" name="Group 1241">
              <a:extLst>
                <a:ext uri="{FF2B5EF4-FFF2-40B4-BE49-F238E27FC236}">
                  <a16:creationId xmlns:a16="http://schemas.microsoft.com/office/drawing/2014/main" id="{4A3DAF30-4FE9-2F13-7D2A-47250E859ED5}"/>
                </a:ext>
              </a:extLst>
            </p:cNvPr>
            <p:cNvGrpSpPr/>
            <p:nvPr/>
          </p:nvGrpSpPr>
          <p:grpSpPr>
            <a:xfrm>
              <a:off x="7122585" y="3284279"/>
              <a:ext cx="82971" cy="82971"/>
              <a:chOff x="7236884" y="3439984"/>
              <a:chExt cx="108000" cy="108000"/>
            </a:xfrm>
          </p:grpSpPr>
          <p:cxnSp>
            <p:nvCxnSpPr>
              <p:cNvPr id="1243" name="Straight Connector 1242">
                <a:extLst>
                  <a:ext uri="{FF2B5EF4-FFF2-40B4-BE49-F238E27FC236}">
                    <a16:creationId xmlns:a16="http://schemas.microsoft.com/office/drawing/2014/main" id="{C0FC06FE-BBB9-358A-C3DC-521BBFE66378}"/>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244" name="Straight Connector 1243">
                <a:extLst>
                  <a:ext uri="{FF2B5EF4-FFF2-40B4-BE49-F238E27FC236}">
                    <a16:creationId xmlns:a16="http://schemas.microsoft.com/office/drawing/2014/main" id="{C0634012-9D44-1955-E24F-07FF65445C39}"/>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245" name="Group 1244">
              <a:extLst>
                <a:ext uri="{FF2B5EF4-FFF2-40B4-BE49-F238E27FC236}">
                  <a16:creationId xmlns:a16="http://schemas.microsoft.com/office/drawing/2014/main" id="{A8AE109E-F2AC-9F4F-9D35-DBDB594977C6}"/>
                </a:ext>
              </a:extLst>
            </p:cNvPr>
            <p:cNvGrpSpPr/>
            <p:nvPr/>
          </p:nvGrpSpPr>
          <p:grpSpPr>
            <a:xfrm>
              <a:off x="6982091" y="3284279"/>
              <a:ext cx="82971" cy="82971"/>
              <a:chOff x="7236884" y="3439984"/>
              <a:chExt cx="108000" cy="108000"/>
            </a:xfrm>
          </p:grpSpPr>
          <p:cxnSp>
            <p:nvCxnSpPr>
              <p:cNvPr id="1246" name="Straight Connector 1245">
                <a:extLst>
                  <a:ext uri="{FF2B5EF4-FFF2-40B4-BE49-F238E27FC236}">
                    <a16:creationId xmlns:a16="http://schemas.microsoft.com/office/drawing/2014/main" id="{A0D0EA1E-6345-66FF-957F-7C2162C66D7C}"/>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247" name="Straight Connector 1246">
                <a:extLst>
                  <a:ext uri="{FF2B5EF4-FFF2-40B4-BE49-F238E27FC236}">
                    <a16:creationId xmlns:a16="http://schemas.microsoft.com/office/drawing/2014/main" id="{2A025A85-F30E-8081-9E29-5B1F7D4500A9}"/>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248" name="Group 1247">
              <a:extLst>
                <a:ext uri="{FF2B5EF4-FFF2-40B4-BE49-F238E27FC236}">
                  <a16:creationId xmlns:a16="http://schemas.microsoft.com/office/drawing/2014/main" id="{8DF44D40-5173-F877-8B15-233B180BBF8F}"/>
                </a:ext>
              </a:extLst>
            </p:cNvPr>
            <p:cNvGrpSpPr/>
            <p:nvPr/>
          </p:nvGrpSpPr>
          <p:grpSpPr>
            <a:xfrm>
              <a:off x="6893984" y="3284279"/>
              <a:ext cx="82971" cy="82971"/>
              <a:chOff x="7236884" y="3439984"/>
              <a:chExt cx="108000" cy="108000"/>
            </a:xfrm>
          </p:grpSpPr>
          <p:cxnSp>
            <p:nvCxnSpPr>
              <p:cNvPr id="1249" name="Straight Connector 1248">
                <a:extLst>
                  <a:ext uri="{FF2B5EF4-FFF2-40B4-BE49-F238E27FC236}">
                    <a16:creationId xmlns:a16="http://schemas.microsoft.com/office/drawing/2014/main" id="{4E2A43B4-68CA-4323-861F-857D69BD7317}"/>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250" name="Straight Connector 1249">
                <a:extLst>
                  <a:ext uri="{FF2B5EF4-FFF2-40B4-BE49-F238E27FC236}">
                    <a16:creationId xmlns:a16="http://schemas.microsoft.com/office/drawing/2014/main" id="{FD12388A-AC16-EE6C-C451-D2323F89F126}"/>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251" name="Group 1250">
              <a:extLst>
                <a:ext uri="{FF2B5EF4-FFF2-40B4-BE49-F238E27FC236}">
                  <a16:creationId xmlns:a16="http://schemas.microsoft.com/office/drawing/2014/main" id="{1A1C6C5F-BCDE-B4AC-3E07-6A6027F587DB}"/>
                </a:ext>
              </a:extLst>
            </p:cNvPr>
            <p:cNvGrpSpPr/>
            <p:nvPr/>
          </p:nvGrpSpPr>
          <p:grpSpPr>
            <a:xfrm>
              <a:off x="6834453" y="3284279"/>
              <a:ext cx="82971" cy="82971"/>
              <a:chOff x="7236884" y="3439984"/>
              <a:chExt cx="108000" cy="108000"/>
            </a:xfrm>
          </p:grpSpPr>
          <p:cxnSp>
            <p:nvCxnSpPr>
              <p:cNvPr id="1252" name="Straight Connector 1251">
                <a:extLst>
                  <a:ext uri="{FF2B5EF4-FFF2-40B4-BE49-F238E27FC236}">
                    <a16:creationId xmlns:a16="http://schemas.microsoft.com/office/drawing/2014/main" id="{E53A5BC8-C95D-A849-BB96-B423A16F45AC}"/>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253" name="Straight Connector 1252">
                <a:extLst>
                  <a:ext uri="{FF2B5EF4-FFF2-40B4-BE49-F238E27FC236}">
                    <a16:creationId xmlns:a16="http://schemas.microsoft.com/office/drawing/2014/main" id="{699A308A-3823-3A87-C384-8DDA76902DB5}"/>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254" name="Group 1253">
              <a:extLst>
                <a:ext uri="{FF2B5EF4-FFF2-40B4-BE49-F238E27FC236}">
                  <a16:creationId xmlns:a16="http://schemas.microsoft.com/office/drawing/2014/main" id="{089846A6-E9E5-7F35-8983-4742529D059E}"/>
                </a:ext>
              </a:extLst>
            </p:cNvPr>
            <p:cNvGrpSpPr/>
            <p:nvPr/>
          </p:nvGrpSpPr>
          <p:grpSpPr>
            <a:xfrm>
              <a:off x="6793972" y="3284279"/>
              <a:ext cx="82971" cy="82971"/>
              <a:chOff x="7236884" y="3439984"/>
              <a:chExt cx="108000" cy="108000"/>
            </a:xfrm>
          </p:grpSpPr>
          <p:cxnSp>
            <p:nvCxnSpPr>
              <p:cNvPr id="1255" name="Straight Connector 1254">
                <a:extLst>
                  <a:ext uri="{FF2B5EF4-FFF2-40B4-BE49-F238E27FC236}">
                    <a16:creationId xmlns:a16="http://schemas.microsoft.com/office/drawing/2014/main" id="{AAA60D60-0DCE-E462-C6F9-78C502C9778B}"/>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256" name="Straight Connector 1255">
                <a:extLst>
                  <a:ext uri="{FF2B5EF4-FFF2-40B4-BE49-F238E27FC236}">
                    <a16:creationId xmlns:a16="http://schemas.microsoft.com/office/drawing/2014/main" id="{71BDD08A-BB8B-0367-D71F-431A469D4B9E}"/>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257" name="Group 1256">
              <a:extLst>
                <a:ext uri="{FF2B5EF4-FFF2-40B4-BE49-F238E27FC236}">
                  <a16:creationId xmlns:a16="http://schemas.microsoft.com/office/drawing/2014/main" id="{DDE4E646-0364-68D9-2339-F79EFA473787}"/>
                </a:ext>
              </a:extLst>
            </p:cNvPr>
            <p:cNvGrpSpPr/>
            <p:nvPr/>
          </p:nvGrpSpPr>
          <p:grpSpPr>
            <a:xfrm>
              <a:off x="6767779" y="3284279"/>
              <a:ext cx="82971" cy="82971"/>
              <a:chOff x="7236884" y="3439984"/>
              <a:chExt cx="108000" cy="108000"/>
            </a:xfrm>
          </p:grpSpPr>
          <p:cxnSp>
            <p:nvCxnSpPr>
              <p:cNvPr id="1258" name="Straight Connector 1257">
                <a:extLst>
                  <a:ext uri="{FF2B5EF4-FFF2-40B4-BE49-F238E27FC236}">
                    <a16:creationId xmlns:a16="http://schemas.microsoft.com/office/drawing/2014/main" id="{C7C4B146-002F-B2E1-4667-D9FEAB504D20}"/>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259" name="Straight Connector 1258">
                <a:extLst>
                  <a:ext uri="{FF2B5EF4-FFF2-40B4-BE49-F238E27FC236}">
                    <a16:creationId xmlns:a16="http://schemas.microsoft.com/office/drawing/2014/main" id="{513EE0BA-98D9-B4CE-ED87-6E63A7F3EE40}"/>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260" name="Group 1259">
              <a:extLst>
                <a:ext uri="{FF2B5EF4-FFF2-40B4-BE49-F238E27FC236}">
                  <a16:creationId xmlns:a16="http://schemas.microsoft.com/office/drawing/2014/main" id="{4B646B65-C013-7C15-DA28-33B9099FC102}"/>
                </a:ext>
              </a:extLst>
            </p:cNvPr>
            <p:cNvGrpSpPr/>
            <p:nvPr/>
          </p:nvGrpSpPr>
          <p:grpSpPr>
            <a:xfrm>
              <a:off x="6717772" y="3284279"/>
              <a:ext cx="82971" cy="82971"/>
              <a:chOff x="7236884" y="3439984"/>
              <a:chExt cx="108000" cy="108000"/>
            </a:xfrm>
          </p:grpSpPr>
          <p:cxnSp>
            <p:nvCxnSpPr>
              <p:cNvPr id="1261" name="Straight Connector 1260">
                <a:extLst>
                  <a:ext uri="{FF2B5EF4-FFF2-40B4-BE49-F238E27FC236}">
                    <a16:creationId xmlns:a16="http://schemas.microsoft.com/office/drawing/2014/main" id="{50EEE041-BB8F-6E62-7F72-7A2D303311A9}"/>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262" name="Straight Connector 1261">
                <a:extLst>
                  <a:ext uri="{FF2B5EF4-FFF2-40B4-BE49-F238E27FC236}">
                    <a16:creationId xmlns:a16="http://schemas.microsoft.com/office/drawing/2014/main" id="{04965027-C1FE-AD61-CBB8-0F6F7572E3B4}"/>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263" name="Group 1262">
              <a:extLst>
                <a:ext uri="{FF2B5EF4-FFF2-40B4-BE49-F238E27FC236}">
                  <a16:creationId xmlns:a16="http://schemas.microsoft.com/office/drawing/2014/main" id="{C900FDD7-ACC8-2505-C501-564A6CEE2141}"/>
                </a:ext>
              </a:extLst>
            </p:cNvPr>
            <p:cNvGrpSpPr/>
            <p:nvPr/>
          </p:nvGrpSpPr>
          <p:grpSpPr>
            <a:xfrm>
              <a:off x="6677291" y="3284279"/>
              <a:ext cx="82971" cy="82971"/>
              <a:chOff x="7236884" y="3439984"/>
              <a:chExt cx="108000" cy="108000"/>
            </a:xfrm>
          </p:grpSpPr>
          <p:cxnSp>
            <p:nvCxnSpPr>
              <p:cNvPr id="1264" name="Straight Connector 1263">
                <a:extLst>
                  <a:ext uri="{FF2B5EF4-FFF2-40B4-BE49-F238E27FC236}">
                    <a16:creationId xmlns:a16="http://schemas.microsoft.com/office/drawing/2014/main" id="{30E09DF4-FEDC-2FC3-FC61-0654162A9C6B}"/>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265" name="Straight Connector 1264">
                <a:extLst>
                  <a:ext uri="{FF2B5EF4-FFF2-40B4-BE49-F238E27FC236}">
                    <a16:creationId xmlns:a16="http://schemas.microsoft.com/office/drawing/2014/main" id="{D0246A10-A12B-CFAB-6CC2-5B4D3A1EA968}"/>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266" name="Group 1265">
              <a:extLst>
                <a:ext uri="{FF2B5EF4-FFF2-40B4-BE49-F238E27FC236}">
                  <a16:creationId xmlns:a16="http://schemas.microsoft.com/office/drawing/2014/main" id="{61ADE67B-2D10-D98A-E240-EFE891174BCD}"/>
                </a:ext>
              </a:extLst>
            </p:cNvPr>
            <p:cNvGrpSpPr/>
            <p:nvPr/>
          </p:nvGrpSpPr>
          <p:grpSpPr>
            <a:xfrm>
              <a:off x="6667766" y="3284279"/>
              <a:ext cx="82971" cy="82971"/>
              <a:chOff x="7236884" y="3439984"/>
              <a:chExt cx="108000" cy="108000"/>
            </a:xfrm>
          </p:grpSpPr>
          <p:cxnSp>
            <p:nvCxnSpPr>
              <p:cNvPr id="1267" name="Straight Connector 1266">
                <a:extLst>
                  <a:ext uri="{FF2B5EF4-FFF2-40B4-BE49-F238E27FC236}">
                    <a16:creationId xmlns:a16="http://schemas.microsoft.com/office/drawing/2014/main" id="{F8B2C185-8E98-406F-4F85-02C64DB9A40C}"/>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268" name="Straight Connector 1267">
                <a:extLst>
                  <a:ext uri="{FF2B5EF4-FFF2-40B4-BE49-F238E27FC236}">
                    <a16:creationId xmlns:a16="http://schemas.microsoft.com/office/drawing/2014/main" id="{CF18278E-29A4-DBF0-BCBC-62E7F462A12A}"/>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269" name="Group 1268">
              <a:extLst>
                <a:ext uri="{FF2B5EF4-FFF2-40B4-BE49-F238E27FC236}">
                  <a16:creationId xmlns:a16="http://schemas.microsoft.com/office/drawing/2014/main" id="{D495F670-C0B3-5CC0-F445-DB4A8202E0A5}"/>
                </a:ext>
              </a:extLst>
            </p:cNvPr>
            <p:cNvGrpSpPr/>
            <p:nvPr/>
          </p:nvGrpSpPr>
          <p:grpSpPr>
            <a:xfrm>
              <a:off x="6615378" y="3284279"/>
              <a:ext cx="82971" cy="82971"/>
              <a:chOff x="7236884" y="3439984"/>
              <a:chExt cx="108000" cy="108000"/>
            </a:xfrm>
          </p:grpSpPr>
          <p:cxnSp>
            <p:nvCxnSpPr>
              <p:cNvPr id="1270" name="Straight Connector 1269">
                <a:extLst>
                  <a:ext uri="{FF2B5EF4-FFF2-40B4-BE49-F238E27FC236}">
                    <a16:creationId xmlns:a16="http://schemas.microsoft.com/office/drawing/2014/main" id="{5A0CAF27-668D-032B-D2FD-2ED2ED218D46}"/>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271" name="Straight Connector 1270">
                <a:extLst>
                  <a:ext uri="{FF2B5EF4-FFF2-40B4-BE49-F238E27FC236}">
                    <a16:creationId xmlns:a16="http://schemas.microsoft.com/office/drawing/2014/main" id="{9E5FC0B6-79D9-3027-FFC7-B467EA447437}"/>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272" name="Group 1271">
              <a:extLst>
                <a:ext uri="{FF2B5EF4-FFF2-40B4-BE49-F238E27FC236}">
                  <a16:creationId xmlns:a16="http://schemas.microsoft.com/office/drawing/2014/main" id="{D8CDF36B-62C1-BED9-B541-5C2AE3CF87CA}"/>
                </a:ext>
              </a:extLst>
            </p:cNvPr>
            <p:cNvGrpSpPr/>
            <p:nvPr/>
          </p:nvGrpSpPr>
          <p:grpSpPr>
            <a:xfrm>
              <a:off x="6539178" y="3284279"/>
              <a:ext cx="82971" cy="82971"/>
              <a:chOff x="7236884" y="3439984"/>
              <a:chExt cx="108000" cy="108000"/>
            </a:xfrm>
          </p:grpSpPr>
          <p:cxnSp>
            <p:nvCxnSpPr>
              <p:cNvPr id="1273" name="Straight Connector 1272">
                <a:extLst>
                  <a:ext uri="{FF2B5EF4-FFF2-40B4-BE49-F238E27FC236}">
                    <a16:creationId xmlns:a16="http://schemas.microsoft.com/office/drawing/2014/main" id="{762DD67C-3ADA-4058-AE07-44FD434D64EE}"/>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274" name="Straight Connector 1273">
                <a:extLst>
                  <a:ext uri="{FF2B5EF4-FFF2-40B4-BE49-F238E27FC236}">
                    <a16:creationId xmlns:a16="http://schemas.microsoft.com/office/drawing/2014/main" id="{BFB362CD-E2DE-57C8-7E2E-65A52F790EAB}"/>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275" name="Group 1274">
              <a:extLst>
                <a:ext uri="{FF2B5EF4-FFF2-40B4-BE49-F238E27FC236}">
                  <a16:creationId xmlns:a16="http://schemas.microsoft.com/office/drawing/2014/main" id="{D955C2E6-3AA4-B24E-7E31-1E081BB0620E}"/>
                </a:ext>
              </a:extLst>
            </p:cNvPr>
            <p:cNvGrpSpPr/>
            <p:nvPr/>
          </p:nvGrpSpPr>
          <p:grpSpPr>
            <a:xfrm>
              <a:off x="6524891" y="3284279"/>
              <a:ext cx="82971" cy="82971"/>
              <a:chOff x="7236884" y="3439984"/>
              <a:chExt cx="108000" cy="108000"/>
            </a:xfrm>
          </p:grpSpPr>
          <p:cxnSp>
            <p:nvCxnSpPr>
              <p:cNvPr id="1276" name="Straight Connector 1275">
                <a:extLst>
                  <a:ext uri="{FF2B5EF4-FFF2-40B4-BE49-F238E27FC236}">
                    <a16:creationId xmlns:a16="http://schemas.microsoft.com/office/drawing/2014/main" id="{D4AAFEC8-C270-9E56-6C4A-886E3AF4B8F3}"/>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277" name="Straight Connector 1276">
                <a:extLst>
                  <a:ext uri="{FF2B5EF4-FFF2-40B4-BE49-F238E27FC236}">
                    <a16:creationId xmlns:a16="http://schemas.microsoft.com/office/drawing/2014/main" id="{4C597241-C1DC-E54D-1A4E-02AC829E6D34}"/>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278" name="Group 1277">
              <a:extLst>
                <a:ext uri="{FF2B5EF4-FFF2-40B4-BE49-F238E27FC236}">
                  <a16:creationId xmlns:a16="http://schemas.microsoft.com/office/drawing/2014/main" id="{272390CF-D29D-F35D-8950-7E8817FEF8E2}"/>
                </a:ext>
              </a:extLst>
            </p:cNvPr>
            <p:cNvGrpSpPr/>
            <p:nvPr/>
          </p:nvGrpSpPr>
          <p:grpSpPr>
            <a:xfrm>
              <a:off x="6465360" y="3233144"/>
              <a:ext cx="82971" cy="82971"/>
              <a:chOff x="7236884" y="3439984"/>
              <a:chExt cx="108000" cy="108000"/>
            </a:xfrm>
          </p:grpSpPr>
          <p:cxnSp>
            <p:nvCxnSpPr>
              <p:cNvPr id="1279" name="Straight Connector 1278">
                <a:extLst>
                  <a:ext uri="{FF2B5EF4-FFF2-40B4-BE49-F238E27FC236}">
                    <a16:creationId xmlns:a16="http://schemas.microsoft.com/office/drawing/2014/main" id="{7ADBA968-941C-4B11-E526-CDF6937B6ADA}"/>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280" name="Straight Connector 1279">
                <a:extLst>
                  <a:ext uri="{FF2B5EF4-FFF2-40B4-BE49-F238E27FC236}">
                    <a16:creationId xmlns:a16="http://schemas.microsoft.com/office/drawing/2014/main" id="{583D4F58-48A2-36A8-2479-5257229670A1}"/>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281" name="Group 1280">
              <a:extLst>
                <a:ext uri="{FF2B5EF4-FFF2-40B4-BE49-F238E27FC236}">
                  <a16:creationId xmlns:a16="http://schemas.microsoft.com/office/drawing/2014/main" id="{6339F388-AA80-3406-63DB-B437182B1FEF}"/>
                </a:ext>
              </a:extLst>
            </p:cNvPr>
            <p:cNvGrpSpPr/>
            <p:nvPr/>
          </p:nvGrpSpPr>
          <p:grpSpPr>
            <a:xfrm>
              <a:off x="6427260" y="3235754"/>
              <a:ext cx="82971" cy="82971"/>
              <a:chOff x="7236884" y="3439984"/>
              <a:chExt cx="108000" cy="108000"/>
            </a:xfrm>
          </p:grpSpPr>
          <p:cxnSp>
            <p:nvCxnSpPr>
              <p:cNvPr id="1282" name="Straight Connector 1281">
                <a:extLst>
                  <a:ext uri="{FF2B5EF4-FFF2-40B4-BE49-F238E27FC236}">
                    <a16:creationId xmlns:a16="http://schemas.microsoft.com/office/drawing/2014/main" id="{991A7711-B99A-2F2E-5390-7B5D5A9F3381}"/>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283" name="Straight Connector 1282">
                <a:extLst>
                  <a:ext uri="{FF2B5EF4-FFF2-40B4-BE49-F238E27FC236}">
                    <a16:creationId xmlns:a16="http://schemas.microsoft.com/office/drawing/2014/main" id="{98885D75-55D5-BD31-DDB0-07C6403062B6}"/>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284" name="Group 1283">
              <a:extLst>
                <a:ext uri="{FF2B5EF4-FFF2-40B4-BE49-F238E27FC236}">
                  <a16:creationId xmlns:a16="http://schemas.microsoft.com/office/drawing/2014/main" id="{DA7BCEE1-28CB-2FCF-E2E0-B1495AED0087}"/>
                </a:ext>
              </a:extLst>
            </p:cNvPr>
            <p:cNvGrpSpPr/>
            <p:nvPr/>
          </p:nvGrpSpPr>
          <p:grpSpPr>
            <a:xfrm>
              <a:off x="6364812" y="3142291"/>
              <a:ext cx="82971" cy="82971"/>
              <a:chOff x="7236884" y="3439984"/>
              <a:chExt cx="108000" cy="108000"/>
            </a:xfrm>
          </p:grpSpPr>
          <p:cxnSp>
            <p:nvCxnSpPr>
              <p:cNvPr id="1285" name="Straight Connector 1284">
                <a:extLst>
                  <a:ext uri="{FF2B5EF4-FFF2-40B4-BE49-F238E27FC236}">
                    <a16:creationId xmlns:a16="http://schemas.microsoft.com/office/drawing/2014/main" id="{914A8462-8476-D26A-9662-14CE6CFBE812}"/>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286" name="Straight Connector 1285">
                <a:extLst>
                  <a:ext uri="{FF2B5EF4-FFF2-40B4-BE49-F238E27FC236}">
                    <a16:creationId xmlns:a16="http://schemas.microsoft.com/office/drawing/2014/main" id="{E814CBC4-12B7-C139-BF94-A20156431538}"/>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287" name="Group 1286">
              <a:extLst>
                <a:ext uri="{FF2B5EF4-FFF2-40B4-BE49-F238E27FC236}">
                  <a16:creationId xmlns:a16="http://schemas.microsoft.com/office/drawing/2014/main" id="{26223E92-5D68-8EAE-609F-A84747F0AC0A}"/>
                </a:ext>
              </a:extLst>
            </p:cNvPr>
            <p:cNvGrpSpPr/>
            <p:nvPr/>
          </p:nvGrpSpPr>
          <p:grpSpPr>
            <a:xfrm>
              <a:off x="6340999" y="3134510"/>
              <a:ext cx="82971" cy="82971"/>
              <a:chOff x="7236884" y="3439984"/>
              <a:chExt cx="108000" cy="108000"/>
            </a:xfrm>
          </p:grpSpPr>
          <p:cxnSp>
            <p:nvCxnSpPr>
              <p:cNvPr id="1288" name="Straight Connector 1287">
                <a:extLst>
                  <a:ext uri="{FF2B5EF4-FFF2-40B4-BE49-F238E27FC236}">
                    <a16:creationId xmlns:a16="http://schemas.microsoft.com/office/drawing/2014/main" id="{626959E2-03BF-AD44-1C42-417D11DE255D}"/>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289" name="Straight Connector 1288">
                <a:extLst>
                  <a:ext uri="{FF2B5EF4-FFF2-40B4-BE49-F238E27FC236}">
                    <a16:creationId xmlns:a16="http://schemas.microsoft.com/office/drawing/2014/main" id="{52C51B6D-D957-D0FB-78C0-96C77F45E6EA}"/>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290" name="Group 1289">
              <a:extLst>
                <a:ext uri="{FF2B5EF4-FFF2-40B4-BE49-F238E27FC236}">
                  <a16:creationId xmlns:a16="http://schemas.microsoft.com/office/drawing/2014/main" id="{9B9BAD2D-BF47-478F-68A3-DDAC4BD78E1F}"/>
                </a:ext>
              </a:extLst>
            </p:cNvPr>
            <p:cNvGrpSpPr/>
            <p:nvPr/>
          </p:nvGrpSpPr>
          <p:grpSpPr>
            <a:xfrm>
              <a:off x="6341179" y="3106402"/>
              <a:ext cx="82971" cy="82971"/>
              <a:chOff x="7236884" y="3439984"/>
              <a:chExt cx="108000" cy="108000"/>
            </a:xfrm>
          </p:grpSpPr>
          <p:cxnSp>
            <p:nvCxnSpPr>
              <p:cNvPr id="1291" name="Straight Connector 1290">
                <a:extLst>
                  <a:ext uri="{FF2B5EF4-FFF2-40B4-BE49-F238E27FC236}">
                    <a16:creationId xmlns:a16="http://schemas.microsoft.com/office/drawing/2014/main" id="{B175FF2A-9E03-16D0-52B3-9C9B80F88E8D}"/>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292" name="Straight Connector 1291">
                <a:extLst>
                  <a:ext uri="{FF2B5EF4-FFF2-40B4-BE49-F238E27FC236}">
                    <a16:creationId xmlns:a16="http://schemas.microsoft.com/office/drawing/2014/main" id="{74544996-9CD1-7776-727E-53386A4D17B8}"/>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293" name="Group 1292">
              <a:extLst>
                <a:ext uri="{FF2B5EF4-FFF2-40B4-BE49-F238E27FC236}">
                  <a16:creationId xmlns:a16="http://schemas.microsoft.com/office/drawing/2014/main" id="{32DD9FED-1502-891E-B00E-A1D672484D2D}"/>
                </a:ext>
              </a:extLst>
            </p:cNvPr>
            <p:cNvGrpSpPr/>
            <p:nvPr/>
          </p:nvGrpSpPr>
          <p:grpSpPr>
            <a:xfrm>
              <a:off x="6299252" y="3074441"/>
              <a:ext cx="82971" cy="82971"/>
              <a:chOff x="7236884" y="3439984"/>
              <a:chExt cx="108000" cy="108000"/>
            </a:xfrm>
          </p:grpSpPr>
          <p:cxnSp>
            <p:nvCxnSpPr>
              <p:cNvPr id="1294" name="Straight Connector 1293">
                <a:extLst>
                  <a:ext uri="{FF2B5EF4-FFF2-40B4-BE49-F238E27FC236}">
                    <a16:creationId xmlns:a16="http://schemas.microsoft.com/office/drawing/2014/main" id="{4DFE6139-38E8-CAA9-863E-A9289570AAE7}"/>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295" name="Straight Connector 1294">
                <a:extLst>
                  <a:ext uri="{FF2B5EF4-FFF2-40B4-BE49-F238E27FC236}">
                    <a16:creationId xmlns:a16="http://schemas.microsoft.com/office/drawing/2014/main" id="{B29A7ED1-439A-9C7D-BC7B-D5387AD679BF}"/>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296" name="Group 1295">
              <a:extLst>
                <a:ext uri="{FF2B5EF4-FFF2-40B4-BE49-F238E27FC236}">
                  <a16:creationId xmlns:a16="http://schemas.microsoft.com/office/drawing/2014/main" id="{D2D40A6B-3475-50CF-2894-85D296F80153}"/>
                </a:ext>
              </a:extLst>
            </p:cNvPr>
            <p:cNvGrpSpPr/>
            <p:nvPr/>
          </p:nvGrpSpPr>
          <p:grpSpPr>
            <a:xfrm>
              <a:off x="6275146" y="3074441"/>
              <a:ext cx="82971" cy="82971"/>
              <a:chOff x="7236884" y="3439984"/>
              <a:chExt cx="108000" cy="108000"/>
            </a:xfrm>
          </p:grpSpPr>
          <p:cxnSp>
            <p:nvCxnSpPr>
              <p:cNvPr id="1297" name="Straight Connector 1296">
                <a:extLst>
                  <a:ext uri="{FF2B5EF4-FFF2-40B4-BE49-F238E27FC236}">
                    <a16:creationId xmlns:a16="http://schemas.microsoft.com/office/drawing/2014/main" id="{FF3405C8-9BC1-0792-C189-2249DEF515BB}"/>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298" name="Straight Connector 1297">
                <a:extLst>
                  <a:ext uri="{FF2B5EF4-FFF2-40B4-BE49-F238E27FC236}">
                    <a16:creationId xmlns:a16="http://schemas.microsoft.com/office/drawing/2014/main" id="{C6866A84-5394-98C9-34DE-47F8E47AFB67}"/>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299" name="Group 1298">
              <a:extLst>
                <a:ext uri="{FF2B5EF4-FFF2-40B4-BE49-F238E27FC236}">
                  <a16:creationId xmlns:a16="http://schemas.microsoft.com/office/drawing/2014/main" id="{92D074C9-07F6-8C5F-DDBE-AB6C9F5FBD45}"/>
                </a:ext>
              </a:extLst>
            </p:cNvPr>
            <p:cNvGrpSpPr/>
            <p:nvPr/>
          </p:nvGrpSpPr>
          <p:grpSpPr>
            <a:xfrm>
              <a:off x="6250623" y="3074441"/>
              <a:ext cx="82971" cy="82971"/>
              <a:chOff x="7236884" y="3439984"/>
              <a:chExt cx="108000" cy="108000"/>
            </a:xfrm>
          </p:grpSpPr>
          <p:cxnSp>
            <p:nvCxnSpPr>
              <p:cNvPr id="1300" name="Straight Connector 1299">
                <a:extLst>
                  <a:ext uri="{FF2B5EF4-FFF2-40B4-BE49-F238E27FC236}">
                    <a16:creationId xmlns:a16="http://schemas.microsoft.com/office/drawing/2014/main" id="{2BB06B5A-7405-10FA-2038-3920EED875A2}"/>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301" name="Straight Connector 1300">
                <a:extLst>
                  <a:ext uri="{FF2B5EF4-FFF2-40B4-BE49-F238E27FC236}">
                    <a16:creationId xmlns:a16="http://schemas.microsoft.com/office/drawing/2014/main" id="{6F22B75C-8289-8DF5-5093-1A7D9A9661BB}"/>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302" name="Group 1301">
              <a:extLst>
                <a:ext uri="{FF2B5EF4-FFF2-40B4-BE49-F238E27FC236}">
                  <a16:creationId xmlns:a16="http://schemas.microsoft.com/office/drawing/2014/main" id="{1323282B-8215-E0D3-969A-A7C49C77CC7B}"/>
                </a:ext>
              </a:extLst>
            </p:cNvPr>
            <p:cNvGrpSpPr/>
            <p:nvPr/>
          </p:nvGrpSpPr>
          <p:grpSpPr>
            <a:xfrm>
              <a:off x="6223424" y="3064917"/>
              <a:ext cx="82971" cy="82971"/>
              <a:chOff x="7236884" y="3439984"/>
              <a:chExt cx="108000" cy="108000"/>
            </a:xfrm>
          </p:grpSpPr>
          <p:cxnSp>
            <p:nvCxnSpPr>
              <p:cNvPr id="1303" name="Straight Connector 1302">
                <a:extLst>
                  <a:ext uri="{FF2B5EF4-FFF2-40B4-BE49-F238E27FC236}">
                    <a16:creationId xmlns:a16="http://schemas.microsoft.com/office/drawing/2014/main" id="{E5EF2588-3BB0-4856-30BA-0E9F1EC2449D}"/>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304" name="Straight Connector 1303">
                <a:extLst>
                  <a:ext uri="{FF2B5EF4-FFF2-40B4-BE49-F238E27FC236}">
                    <a16:creationId xmlns:a16="http://schemas.microsoft.com/office/drawing/2014/main" id="{99C45BE4-3E06-9BBD-85D1-E69062002DBA}"/>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305" name="Group 1304">
              <a:extLst>
                <a:ext uri="{FF2B5EF4-FFF2-40B4-BE49-F238E27FC236}">
                  <a16:creationId xmlns:a16="http://schemas.microsoft.com/office/drawing/2014/main" id="{B65FB110-A340-2B87-5D11-B9EDF8631912}"/>
                </a:ext>
              </a:extLst>
            </p:cNvPr>
            <p:cNvGrpSpPr/>
            <p:nvPr/>
          </p:nvGrpSpPr>
          <p:grpSpPr>
            <a:xfrm>
              <a:off x="6205057" y="3064917"/>
              <a:ext cx="82971" cy="82971"/>
              <a:chOff x="7236884" y="3439984"/>
              <a:chExt cx="108000" cy="108000"/>
            </a:xfrm>
          </p:grpSpPr>
          <p:cxnSp>
            <p:nvCxnSpPr>
              <p:cNvPr id="1306" name="Straight Connector 1305">
                <a:extLst>
                  <a:ext uri="{FF2B5EF4-FFF2-40B4-BE49-F238E27FC236}">
                    <a16:creationId xmlns:a16="http://schemas.microsoft.com/office/drawing/2014/main" id="{EE3670E2-A8B6-949D-7F13-DD175262CCAC}"/>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307" name="Straight Connector 1306">
                <a:extLst>
                  <a:ext uri="{FF2B5EF4-FFF2-40B4-BE49-F238E27FC236}">
                    <a16:creationId xmlns:a16="http://schemas.microsoft.com/office/drawing/2014/main" id="{7D5EC6BD-2A04-ADA8-2864-7E1053A2F03A}"/>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308" name="Group 1307">
              <a:extLst>
                <a:ext uri="{FF2B5EF4-FFF2-40B4-BE49-F238E27FC236}">
                  <a16:creationId xmlns:a16="http://schemas.microsoft.com/office/drawing/2014/main" id="{E653EB69-88F3-1EC1-8581-C94F7B172BC4}"/>
                </a:ext>
              </a:extLst>
            </p:cNvPr>
            <p:cNvGrpSpPr/>
            <p:nvPr/>
          </p:nvGrpSpPr>
          <p:grpSpPr>
            <a:xfrm>
              <a:off x="6190771" y="3044396"/>
              <a:ext cx="82971" cy="82971"/>
              <a:chOff x="7236884" y="3439984"/>
              <a:chExt cx="108000" cy="108000"/>
            </a:xfrm>
          </p:grpSpPr>
          <p:cxnSp>
            <p:nvCxnSpPr>
              <p:cNvPr id="1309" name="Straight Connector 1308">
                <a:extLst>
                  <a:ext uri="{FF2B5EF4-FFF2-40B4-BE49-F238E27FC236}">
                    <a16:creationId xmlns:a16="http://schemas.microsoft.com/office/drawing/2014/main" id="{24F8F4A8-5FA8-D9B0-6321-A3BBD828CF8C}"/>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310" name="Straight Connector 1309">
                <a:extLst>
                  <a:ext uri="{FF2B5EF4-FFF2-40B4-BE49-F238E27FC236}">
                    <a16:creationId xmlns:a16="http://schemas.microsoft.com/office/drawing/2014/main" id="{6C51ADC1-5C01-4EA4-A545-1B8A18D7DEFD}"/>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311" name="Group 1310">
              <a:extLst>
                <a:ext uri="{FF2B5EF4-FFF2-40B4-BE49-F238E27FC236}">
                  <a16:creationId xmlns:a16="http://schemas.microsoft.com/office/drawing/2014/main" id="{ADCE1F46-2391-1719-FF09-F7D470A192B2}"/>
                </a:ext>
              </a:extLst>
            </p:cNvPr>
            <p:cNvGrpSpPr/>
            <p:nvPr/>
          </p:nvGrpSpPr>
          <p:grpSpPr>
            <a:xfrm>
              <a:off x="6147360" y="3023848"/>
              <a:ext cx="82971" cy="82971"/>
              <a:chOff x="7236884" y="3439984"/>
              <a:chExt cx="108000" cy="108000"/>
            </a:xfrm>
          </p:grpSpPr>
          <p:cxnSp>
            <p:nvCxnSpPr>
              <p:cNvPr id="1312" name="Straight Connector 1311">
                <a:extLst>
                  <a:ext uri="{FF2B5EF4-FFF2-40B4-BE49-F238E27FC236}">
                    <a16:creationId xmlns:a16="http://schemas.microsoft.com/office/drawing/2014/main" id="{C7FA060E-F83A-ACA6-0E6F-5D4AEF65F426}"/>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313" name="Straight Connector 1312">
                <a:extLst>
                  <a:ext uri="{FF2B5EF4-FFF2-40B4-BE49-F238E27FC236}">
                    <a16:creationId xmlns:a16="http://schemas.microsoft.com/office/drawing/2014/main" id="{1878B1CB-E769-5BC2-FE5B-5C98B2F9A1F6}"/>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314" name="Group 1313">
              <a:extLst>
                <a:ext uri="{FF2B5EF4-FFF2-40B4-BE49-F238E27FC236}">
                  <a16:creationId xmlns:a16="http://schemas.microsoft.com/office/drawing/2014/main" id="{FADC1B9F-A74F-1647-08F8-C667A83F5DE8}"/>
                </a:ext>
              </a:extLst>
            </p:cNvPr>
            <p:cNvGrpSpPr/>
            <p:nvPr/>
          </p:nvGrpSpPr>
          <p:grpSpPr>
            <a:xfrm>
              <a:off x="6132311" y="3023848"/>
              <a:ext cx="82971" cy="82971"/>
              <a:chOff x="7236884" y="3439984"/>
              <a:chExt cx="108000" cy="108000"/>
            </a:xfrm>
          </p:grpSpPr>
          <p:cxnSp>
            <p:nvCxnSpPr>
              <p:cNvPr id="1315" name="Straight Connector 1314">
                <a:extLst>
                  <a:ext uri="{FF2B5EF4-FFF2-40B4-BE49-F238E27FC236}">
                    <a16:creationId xmlns:a16="http://schemas.microsoft.com/office/drawing/2014/main" id="{8789D812-B1CA-5AFD-61B0-79ECDD44C035}"/>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316" name="Straight Connector 1315">
                <a:extLst>
                  <a:ext uri="{FF2B5EF4-FFF2-40B4-BE49-F238E27FC236}">
                    <a16:creationId xmlns:a16="http://schemas.microsoft.com/office/drawing/2014/main" id="{CB429BC8-5943-8EED-20F3-9E4226E697D7}"/>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317" name="Group 1316">
              <a:extLst>
                <a:ext uri="{FF2B5EF4-FFF2-40B4-BE49-F238E27FC236}">
                  <a16:creationId xmlns:a16="http://schemas.microsoft.com/office/drawing/2014/main" id="{7F5181CA-1887-8CC0-BF15-A11F9078BB3E}"/>
                </a:ext>
              </a:extLst>
            </p:cNvPr>
            <p:cNvGrpSpPr/>
            <p:nvPr/>
          </p:nvGrpSpPr>
          <p:grpSpPr>
            <a:xfrm>
              <a:off x="6095998" y="3007840"/>
              <a:ext cx="82971" cy="82971"/>
              <a:chOff x="7236884" y="3439984"/>
              <a:chExt cx="108000" cy="108000"/>
            </a:xfrm>
          </p:grpSpPr>
          <p:cxnSp>
            <p:nvCxnSpPr>
              <p:cNvPr id="1318" name="Straight Connector 1317">
                <a:extLst>
                  <a:ext uri="{FF2B5EF4-FFF2-40B4-BE49-F238E27FC236}">
                    <a16:creationId xmlns:a16="http://schemas.microsoft.com/office/drawing/2014/main" id="{B1C39C63-F74F-FA37-90E5-0FE207797A57}"/>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319" name="Straight Connector 1318">
                <a:extLst>
                  <a:ext uri="{FF2B5EF4-FFF2-40B4-BE49-F238E27FC236}">
                    <a16:creationId xmlns:a16="http://schemas.microsoft.com/office/drawing/2014/main" id="{D818D22C-F76A-611C-63AB-0E6C9CDDC8DE}"/>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320" name="Group 1319">
              <a:extLst>
                <a:ext uri="{FF2B5EF4-FFF2-40B4-BE49-F238E27FC236}">
                  <a16:creationId xmlns:a16="http://schemas.microsoft.com/office/drawing/2014/main" id="{E619981A-78BD-2C84-05E3-28EE16F43FE8}"/>
                </a:ext>
              </a:extLst>
            </p:cNvPr>
            <p:cNvGrpSpPr/>
            <p:nvPr/>
          </p:nvGrpSpPr>
          <p:grpSpPr>
            <a:xfrm>
              <a:off x="6072047" y="3004479"/>
              <a:ext cx="82971" cy="82971"/>
              <a:chOff x="7236884" y="3439984"/>
              <a:chExt cx="108000" cy="108000"/>
            </a:xfrm>
          </p:grpSpPr>
          <p:cxnSp>
            <p:nvCxnSpPr>
              <p:cNvPr id="1321" name="Straight Connector 1320">
                <a:extLst>
                  <a:ext uri="{FF2B5EF4-FFF2-40B4-BE49-F238E27FC236}">
                    <a16:creationId xmlns:a16="http://schemas.microsoft.com/office/drawing/2014/main" id="{9100AFC2-2AF4-F10A-574D-960501893FB7}"/>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322" name="Straight Connector 1321">
                <a:extLst>
                  <a:ext uri="{FF2B5EF4-FFF2-40B4-BE49-F238E27FC236}">
                    <a16:creationId xmlns:a16="http://schemas.microsoft.com/office/drawing/2014/main" id="{645FA451-6C4F-4C17-44A1-1D990CF01959}"/>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323" name="Group 1322">
              <a:extLst>
                <a:ext uri="{FF2B5EF4-FFF2-40B4-BE49-F238E27FC236}">
                  <a16:creationId xmlns:a16="http://schemas.microsoft.com/office/drawing/2014/main" id="{2F329ADE-EAC1-23F6-07DC-CA9D819F2E6B}"/>
                </a:ext>
              </a:extLst>
            </p:cNvPr>
            <p:cNvGrpSpPr/>
            <p:nvPr/>
          </p:nvGrpSpPr>
          <p:grpSpPr>
            <a:xfrm>
              <a:off x="6054512" y="2995124"/>
              <a:ext cx="82971" cy="82971"/>
              <a:chOff x="7236884" y="3439984"/>
              <a:chExt cx="108000" cy="108000"/>
            </a:xfrm>
          </p:grpSpPr>
          <p:cxnSp>
            <p:nvCxnSpPr>
              <p:cNvPr id="1324" name="Straight Connector 1323">
                <a:extLst>
                  <a:ext uri="{FF2B5EF4-FFF2-40B4-BE49-F238E27FC236}">
                    <a16:creationId xmlns:a16="http://schemas.microsoft.com/office/drawing/2014/main" id="{5F2A4B4A-54A1-0344-7E30-45D1DCED07F2}"/>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325" name="Straight Connector 1324">
                <a:extLst>
                  <a:ext uri="{FF2B5EF4-FFF2-40B4-BE49-F238E27FC236}">
                    <a16:creationId xmlns:a16="http://schemas.microsoft.com/office/drawing/2014/main" id="{FEC598BB-C3C8-641D-6663-7481768E09D1}"/>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326" name="Group 1325">
              <a:extLst>
                <a:ext uri="{FF2B5EF4-FFF2-40B4-BE49-F238E27FC236}">
                  <a16:creationId xmlns:a16="http://schemas.microsoft.com/office/drawing/2014/main" id="{06E57F1E-2212-6F5D-62E0-989B963B0219}"/>
                </a:ext>
              </a:extLst>
            </p:cNvPr>
            <p:cNvGrpSpPr/>
            <p:nvPr/>
          </p:nvGrpSpPr>
          <p:grpSpPr>
            <a:xfrm>
              <a:off x="6038203" y="2983779"/>
              <a:ext cx="82971" cy="82971"/>
              <a:chOff x="7236884" y="3439984"/>
              <a:chExt cx="108000" cy="108000"/>
            </a:xfrm>
          </p:grpSpPr>
          <p:cxnSp>
            <p:nvCxnSpPr>
              <p:cNvPr id="1327" name="Straight Connector 1326">
                <a:extLst>
                  <a:ext uri="{FF2B5EF4-FFF2-40B4-BE49-F238E27FC236}">
                    <a16:creationId xmlns:a16="http://schemas.microsoft.com/office/drawing/2014/main" id="{16C787A8-F737-C734-B642-D0868CCFD6BE}"/>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328" name="Straight Connector 1327">
                <a:extLst>
                  <a:ext uri="{FF2B5EF4-FFF2-40B4-BE49-F238E27FC236}">
                    <a16:creationId xmlns:a16="http://schemas.microsoft.com/office/drawing/2014/main" id="{7AF0DCA9-61C7-CF88-E273-B635C64AB2C9}"/>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332" name="Group 1331">
              <a:extLst>
                <a:ext uri="{FF2B5EF4-FFF2-40B4-BE49-F238E27FC236}">
                  <a16:creationId xmlns:a16="http://schemas.microsoft.com/office/drawing/2014/main" id="{511FFF6B-7B17-B0AF-01AD-D4AA45487349}"/>
                </a:ext>
              </a:extLst>
            </p:cNvPr>
            <p:cNvGrpSpPr/>
            <p:nvPr/>
          </p:nvGrpSpPr>
          <p:grpSpPr>
            <a:xfrm>
              <a:off x="6023914" y="2988541"/>
              <a:ext cx="82971" cy="82971"/>
              <a:chOff x="7236884" y="3439984"/>
              <a:chExt cx="108000" cy="108000"/>
            </a:xfrm>
          </p:grpSpPr>
          <p:cxnSp>
            <p:nvCxnSpPr>
              <p:cNvPr id="1333" name="Straight Connector 1332">
                <a:extLst>
                  <a:ext uri="{FF2B5EF4-FFF2-40B4-BE49-F238E27FC236}">
                    <a16:creationId xmlns:a16="http://schemas.microsoft.com/office/drawing/2014/main" id="{1DD3A48C-CB69-F641-D511-C9F0ED0AFF9D}"/>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334" name="Straight Connector 1333">
                <a:extLst>
                  <a:ext uri="{FF2B5EF4-FFF2-40B4-BE49-F238E27FC236}">
                    <a16:creationId xmlns:a16="http://schemas.microsoft.com/office/drawing/2014/main" id="{9C74A61D-626F-792E-B3C2-B674C196F3FC}"/>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335" name="Group 1334">
              <a:extLst>
                <a:ext uri="{FF2B5EF4-FFF2-40B4-BE49-F238E27FC236}">
                  <a16:creationId xmlns:a16="http://schemas.microsoft.com/office/drawing/2014/main" id="{E9E17A8A-7226-811B-05C0-21CD630C9627}"/>
                </a:ext>
              </a:extLst>
            </p:cNvPr>
            <p:cNvGrpSpPr/>
            <p:nvPr/>
          </p:nvGrpSpPr>
          <p:grpSpPr>
            <a:xfrm>
              <a:off x="5994337" y="2974255"/>
              <a:ext cx="82971" cy="82971"/>
              <a:chOff x="7236884" y="3439984"/>
              <a:chExt cx="108000" cy="108000"/>
            </a:xfrm>
          </p:grpSpPr>
          <p:cxnSp>
            <p:nvCxnSpPr>
              <p:cNvPr id="1336" name="Straight Connector 1335">
                <a:extLst>
                  <a:ext uri="{FF2B5EF4-FFF2-40B4-BE49-F238E27FC236}">
                    <a16:creationId xmlns:a16="http://schemas.microsoft.com/office/drawing/2014/main" id="{5EE4804E-BD76-6605-903B-A7DCF3EC242A}"/>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337" name="Straight Connector 1336">
                <a:extLst>
                  <a:ext uri="{FF2B5EF4-FFF2-40B4-BE49-F238E27FC236}">
                    <a16:creationId xmlns:a16="http://schemas.microsoft.com/office/drawing/2014/main" id="{19F03164-B8F2-609F-F10E-D847F755D892}"/>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338" name="Group 1337">
              <a:extLst>
                <a:ext uri="{FF2B5EF4-FFF2-40B4-BE49-F238E27FC236}">
                  <a16:creationId xmlns:a16="http://schemas.microsoft.com/office/drawing/2014/main" id="{1275629B-3F3F-25B4-67F7-0A3165498EC5}"/>
                </a:ext>
              </a:extLst>
            </p:cNvPr>
            <p:cNvGrpSpPr/>
            <p:nvPr/>
          </p:nvGrpSpPr>
          <p:grpSpPr>
            <a:xfrm>
              <a:off x="5958618" y="2974255"/>
              <a:ext cx="82971" cy="82971"/>
              <a:chOff x="7236884" y="3439984"/>
              <a:chExt cx="108000" cy="108000"/>
            </a:xfrm>
          </p:grpSpPr>
          <p:cxnSp>
            <p:nvCxnSpPr>
              <p:cNvPr id="1339" name="Straight Connector 1338">
                <a:extLst>
                  <a:ext uri="{FF2B5EF4-FFF2-40B4-BE49-F238E27FC236}">
                    <a16:creationId xmlns:a16="http://schemas.microsoft.com/office/drawing/2014/main" id="{13219911-5E24-715E-A1AF-6F074456929A}"/>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340" name="Straight Connector 1339">
                <a:extLst>
                  <a:ext uri="{FF2B5EF4-FFF2-40B4-BE49-F238E27FC236}">
                    <a16:creationId xmlns:a16="http://schemas.microsoft.com/office/drawing/2014/main" id="{CB8D0E7E-B045-1217-1E24-C9C8A9AAA9E5}"/>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341" name="Group 1340">
              <a:extLst>
                <a:ext uri="{FF2B5EF4-FFF2-40B4-BE49-F238E27FC236}">
                  <a16:creationId xmlns:a16="http://schemas.microsoft.com/office/drawing/2014/main" id="{9FDEE723-1B5F-BBFF-96C8-F85BD3A503C3}"/>
                </a:ext>
              </a:extLst>
            </p:cNvPr>
            <p:cNvGrpSpPr/>
            <p:nvPr/>
          </p:nvGrpSpPr>
          <p:grpSpPr>
            <a:xfrm>
              <a:off x="5965761" y="2974255"/>
              <a:ext cx="82971" cy="82971"/>
              <a:chOff x="7236884" y="3439984"/>
              <a:chExt cx="108000" cy="108000"/>
            </a:xfrm>
          </p:grpSpPr>
          <p:cxnSp>
            <p:nvCxnSpPr>
              <p:cNvPr id="1342" name="Straight Connector 1341">
                <a:extLst>
                  <a:ext uri="{FF2B5EF4-FFF2-40B4-BE49-F238E27FC236}">
                    <a16:creationId xmlns:a16="http://schemas.microsoft.com/office/drawing/2014/main" id="{326BBBF0-1761-78C8-DAF3-B237A7E9FF68}"/>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343" name="Straight Connector 1342">
                <a:extLst>
                  <a:ext uri="{FF2B5EF4-FFF2-40B4-BE49-F238E27FC236}">
                    <a16:creationId xmlns:a16="http://schemas.microsoft.com/office/drawing/2014/main" id="{2E037CF4-C0E6-1A9E-7D8A-77EE519F1599}"/>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344" name="Group 1343">
              <a:extLst>
                <a:ext uri="{FF2B5EF4-FFF2-40B4-BE49-F238E27FC236}">
                  <a16:creationId xmlns:a16="http://schemas.microsoft.com/office/drawing/2014/main" id="{08818267-598B-8B5E-B792-4F9E8DA5B3E7}"/>
                </a:ext>
              </a:extLst>
            </p:cNvPr>
            <p:cNvGrpSpPr/>
            <p:nvPr/>
          </p:nvGrpSpPr>
          <p:grpSpPr>
            <a:xfrm>
              <a:off x="5972905" y="2974255"/>
              <a:ext cx="82971" cy="82971"/>
              <a:chOff x="7236884" y="3439984"/>
              <a:chExt cx="108000" cy="108000"/>
            </a:xfrm>
          </p:grpSpPr>
          <p:cxnSp>
            <p:nvCxnSpPr>
              <p:cNvPr id="1345" name="Straight Connector 1344">
                <a:extLst>
                  <a:ext uri="{FF2B5EF4-FFF2-40B4-BE49-F238E27FC236}">
                    <a16:creationId xmlns:a16="http://schemas.microsoft.com/office/drawing/2014/main" id="{A4A1BDC3-63CF-F3AD-EAA8-25D277CCFDE8}"/>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346" name="Straight Connector 1345">
                <a:extLst>
                  <a:ext uri="{FF2B5EF4-FFF2-40B4-BE49-F238E27FC236}">
                    <a16:creationId xmlns:a16="http://schemas.microsoft.com/office/drawing/2014/main" id="{07299932-E8BF-71A5-1410-4B7610D1D32B}"/>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350" name="Group 1349">
              <a:extLst>
                <a:ext uri="{FF2B5EF4-FFF2-40B4-BE49-F238E27FC236}">
                  <a16:creationId xmlns:a16="http://schemas.microsoft.com/office/drawing/2014/main" id="{3D9B982B-C58B-3334-08D6-E62B34C1AAC9}"/>
                </a:ext>
              </a:extLst>
            </p:cNvPr>
            <p:cNvGrpSpPr/>
            <p:nvPr/>
          </p:nvGrpSpPr>
          <p:grpSpPr>
            <a:xfrm>
              <a:off x="5982430" y="2974255"/>
              <a:ext cx="82971" cy="82971"/>
              <a:chOff x="7236884" y="3439984"/>
              <a:chExt cx="108000" cy="108000"/>
            </a:xfrm>
          </p:grpSpPr>
          <p:cxnSp>
            <p:nvCxnSpPr>
              <p:cNvPr id="1351" name="Straight Connector 1350">
                <a:extLst>
                  <a:ext uri="{FF2B5EF4-FFF2-40B4-BE49-F238E27FC236}">
                    <a16:creationId xmlns:a16="http://schemas.microsoft.com/office/drawing/2014/main" id="{123F84EC-B446-82D4-25BE-37B967179735}"/>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352" name="Straight Connector 1351">
                <a:extLst>
                  <a:ext uri="{FF2B5EF4-FFF2-40B4-BE49-F238E27FC236}">
                    <a16:creationId xmlns:a16="http://schemas.microsoft.com/office/drawing/2014/main" id="{95CA5F92-3AB0-7C40-6237-C7181D7F4731}"/>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353" name="Group 1352">
              <a:extLst>
                <a:ext uri="{FF2B5EF4-FFF2-40B4-BE49-F238E27FC236}">
                  <a16:creationId xmlns:a16="http://schemas.microsoft.com/office/drawing/2014/main" id="{D2EF249E-8E41-B494-EB59-43ED544B0701}"/>
                </a:ext>
              </a:extLst>
            </p:cNvPr>
            <p:cNvGrpSpPr/>
            <p:nvPr/>
          </p:nvGrpSpPr>
          <p:grpSpPr>
            <a:xfrm>
              <a:off x="5934803" y="2969493"/>
              <a:ext cx="82971" cy="82971"/>
              <a:chOff x="7236884" y="3439984"/>
              <a:chExt cx="108000" cy="108000"/>
            </a:xfrm>
          </p:grpSpPr>
          <p:cxnSp>
            <p:nvCxnSpPr>
              <p:cNvPr id="1354" name="Straight Connector 1353">
                <a:extLst>
                  <a:ext uri="{FF2B5EF4-FFF2-40B4-BE49-F238E27FC236}">
                    <a16:creationId xmlns:a16="http://schemas.microsoft.com/office/drawing/2014/main" id="{AEA5D18E-FEC6-55CC-BB6A-954044E79215}"/>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355" name="Straight Connector 1354">
                <a:extLst>
                  <a:ext uri="{FF2B5EF4-FFF2-40B4-BE49-F238E27FC236}">
                    <a16:creationId xmlns:a16="http://schemas.microsoft.com/office/drawing/2014/main" id="{B9F72A18-F8E5-C219-A85C-1804F7B96208}"/>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356" name="Group 1355">
              <a:extLst>
                <a:ext uri="{FF2B5EF4-FFF2-40B4-BE49-F238E27FC236}">
                  <a16:creationId xmlns:a16="http://schemas.microsoft.com/office/drawing/2014/main" id="{70A8EC24-E240-FC2B-5F99-04E665FDB769}"/>
                </a:ext>
              </a:extLst>
            </p:cNvPr>
            <p:cNvGrpSpPr/>
            <p:nvPr/>
          </p:nvGrpSpPr>
          <p:grpSpPr>
            <a:xfrm>
              <a:off x="5920515" y="2964731"/>
              <a:ext cx="82971" cy="82971"/>
              <a:chOff x="7236884" y="3439984"/>
              <a:chExt cx="108000" cy="108000"/>
            </a:xfrm>
          </p:grpSpPr>
          <p:cxnSp>
            <p:nvCxnSpPr>
              <p:cNvPr id="1357" name="Straight Connector 1356">
                <a:extLst>
                  <a:ext uri="{FF2B5EF4-FFF2-40B4-BE49-F238E27FC236}">
                    <a16:creationId xmlns:a16="http://schemas.microsoft.com/office/drawing/2014/main" id="{8492BEA7-00DB-D99B-6E3C-8E4630F17D96}"/>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358" name="Straight Connector 1357">
                <a:extLst>
                  <a:ext uri="{FF2B5EF4-FFF2-40B4-BE49-F238E27FC236}">
                    <a16:creationId xmlns:a16="http://schemas.microsoft.com/office/drawing/2014/main" id="{D8F3FEC2-5000-56EB-35DA-F4AABD81EA16}"/>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359" name="Group 1358">
              <a:extLst>
                <a:ext uri="{FF2B5EF4-FFF2-40B4-BE49-F238E27FC236}">
                  <a16:creationId xmlns:a16="http://schemas.microsoft.com/office/drawing/2014/main" id="{EC1518C6-E92A-74E3-1832-F6A7C4B76F78}"/>
                </a:ext>
              </a:extLst>
            </p:cNvPr>
            <p:cNvGrpSpPr/>
            <p:nvPr/>
          </p:nvGrpSpPr>
          <p:grpSpPr>
            <a:xfrm>
              <a:off x="5903846" y="2959969"/>
              <a:ext cx="82971" cy="82971"/>
              <a:chOff x="7236884" y="3439984"/>
              <a:chExt cx="108000" cy="108000"/>
            </a:xfrm>
          </p:grpSpPr>
          <p:cxnSp>
            <p:nvCxnSpPr>
              <p:cNvPr id="1360" name="Straight Connector 1359">
                <a:extLst>
                  <a:ext uri="{FF2B5EF4-FFF2-40B4-BE49-F238E27FC236}">
                    <a16:creationId xmlns:a16="http://schemas.microsoft.com/office/drawing/2014/main" id="{9D2DB504-AD0D-FD86-494E-0176BA55D8AC}"/>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361" name="Straight Connector 1360">
                <a:extLst>
                  <a:ext uri="{FF2B5EF4-FFF2-40B4-BE49-F238E27FC236}">
                    <a16:creationId xmlns:a16="http://schemas.microsoft.com/office/drawing/2014/main" id="{19BE38CF-8A22-DD6C-294B-9E48703483D5}"/>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362" name="Group 1361">
              <a:extLst>
                <a:ext uri="{FF2B5EF4-FFF2-40B4-BE49-F238E27FC236}">
                  <a16:creationId xmlns:a16="http://schemas.microsoft.com/office/drawing/2014/main" id="{8F8F5D52-3B3A-EE64-CC6A-E3DF7BB2FB39}"/>
                </a:ext>
              </a:extLst>
            </p:cNvPr>
            <p:cNvGrpSpPr/>
            <p:nvPr/>
          </p:nvGrpSpPr>
          <p:grpSpPr>
            <a:xfrm>
              <a:off x="5889558" y="2950445"/>
              <a:ext cx="82971" cy="82971"/>
              <a:chOff x="7236884" y="3439984"/>
              <a:chExt cx="108000" cy="108000"/>
            </a:xfrm>
          </p:grpSpPr>
          <p:cxnSp>
            <p:nvCxnSpPr>
              <p:cNvPr id="1363" name="Straight Connector 1362">
                <a:extLst>
                  <a:ext uri="{FF2B5EF4-FFF2-40B4-BE49-F238E27FC236}">
                    <a16:creationId xmlns:a16="http://schemas.microsoft.com/office/drawing/2014/main" id="{A4F51E73-065D-36B3-D863-530502871B33}"/>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364" name="Straight Connector 1363">
                <a:extLst>
                  <a:ext uri="{FF2B5EF4-FFF2-40B4-BE49-F238E27FC236}">
                    <a16:creationId xmlns:a16="http://schemas.microsoft.com/office/drawing/2014/main" id="{7BE4A261-D9F9-7767-B85A-8485F7F44A59}"/>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365" name="Group 1364">
              <a:extLst>
                <a:ext uri="{FF2B5EF4-FFF2-40B4-BE49-F238E27FC236}">
                  <a16:creationId xmlns:a16="http://schemas.microsoft.com/office/drawing/2014/main" id="{9B4C9528-3078-9F46-175D-022BD6A216B9}"/>
                </a:ext>
              </a:extLst>
            </p:cNvPr>
            <p:cNvGrpSpPr/>
            <p:nvPr/>
          </p:nvGrpSpPr>
          <p:grpSpPr>
            <a:xfrm>
              <a:off x="5872890" y="2931395"/>
              <a:ext cx="82971" cy="82971"/>
              <a:chOff x="7236884" y="3439984"/>
              <a:chExt cx="108000" cy="108000"/>
            </a:xfrm>
          </p:grpSpPr>
          <p:cxnSp>
            <p:nvCxnSpPr>
              <p:cNvPr id="1366" name="Straight Connector 1365">
                <a:extLst>
                  <a:ext uri="{FF2B5EF4-FFF2-40B4-BE49-F238E27FC236}">
                    <a16:creationId xmlns:a16="http://schemas.microsoft.com/office/drawing/2014/main" id="{4494D17C-025A-10A0-9846-BC565063E242}"/>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367" name="Straight Connector 1366">
                <a:extLst>
                  <a:ext uri="{FF2B5EF4-FFF2-40B4-BE49-F238E27FC236}">
                    <a16:creationId xmlns:a16="http://schemas.microsoft.com/office/drawing/2014/main" id="{393DCC50-E8EC-8DDB-1D44-22B1EE1EC56F}"/>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368" name="Group 1367">
              <a:extLst>
                <a:ext uri="{FF2B5EF4-FFF2-40B4-BE49-F238E27FC236}">
                  <a16:creationId xmlns:a16="http://schemas.microsoft.com/office/drawing/2014/main" id="{0797AD6D-4C7B-0D0C-703D-44709F1DFFDB}"/>
                </a:ext>
              </a:extLst>
            </p:cNvPr>
            <p:cNvGrpSpPr/>
            <p:nvPr/>
          </p:nvGrpSpPr>
          <p:grpSpPr>
            <a:xfrm>
              <a:off x="5863364" y="2929014"/>
              <a:ext cx="82971" cy="82971"/>
              <a:chOff x="7236884" y="3439984"/>
              <a:chExt cx="108000" cy="108000"/>
            </a:xfrm>
          </p:grpSpPr>
          <p:cxnSp>
            <p:nvCxnSpPr>
              <p:cNvPr id="1369" name="Straight Connector 1368">
                <a:extLst>
                  <a:ext uri="{FF2B5EF4-FFF2-40B4-BE49-F238E27FC236}">
                    <a16:creationId xmlns:a16="http://schemas.microsoft.com/office/drawing/2014/main" id="{E24FB938-FA73-4DCF-B5AB-602B92DBC077}"/>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370" name="Straight Connector 1369">
                <a:extLst>
                  <a:ext uri="{FF2B5EF4-FFF2-40B4-BE49-F238E27FC236}">
                    <a16:creationId xmlns:a16="http://schemas.microsoft.com/office/drawing/2014/main" id="{C762D96C-D5BA-1E23-F6B8-D40C6B82987D}"/>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371" name="Group 1370">
              <a:extLst>
                <a:ext uri="{FF2B5EF4-FFF2-40B4-BE49-F238E27FC236}">
                  <a16:creationId xmlns:a16="http://schemas.microsoft.com/office/drawing/2014/main" id="{6240FA2C-D13D-1890-9565-6EAD19EA3032}"/>
                </a:ext>
              </a:extLst>
            </p:cNvPr>
            <p:cNvGrpSpPr/>
            <p:nvPr/>
          </p:nvGrpSpPr>
          <p:grpSpPr>
            <a:xfrm>
              <a:off x="5832407" y="2900248"/>
              <a:ext cx="82971" cy="82971"/>
              <a:chOff x="7236884" y="3439984"/>
              <a:chExt cx="108000" cy="108000"/>
            </a:xfrm>
          </p:grpSpPr>
          <p:cxnSp>
            <p:nvCxnSpPr>
              <p:cNvPr id="1372" name="Straight Connector 1371">
                <a:extLst>
                  <a:ext uri="{FF2B5EF4-FFF2-40B4-BE49-F238E27FC236}">
                    <a16:creationId xmlns:a16="http://schemas.microsoft.com/office/drawing/2014/main" id="{58C9C4F7-5FED-BD9C-9B3C-AE28DF91742A}"/>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373" name="Straight Connector 1372">
                <a:extLst>
                  <a:ext uri="{FF2B5EF4-FFF2-40B4-BE49-F238E27FC236}">
                    <a16:creationId xmlns:a16="http://schemas.microsoft.com/office/drawing/2014/main" id="{58949DC1-D36C-9739-9FFC-E5A5EEF83FEE}"/>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374" name="Group 1373">
              <a:extLst>
                <a:ext uri="{FF2B5EF4-FFF2-40B4-BE49-F238E27FC236}">
                  <a16:creationId xmlns:a16="http://schemas.microsoft.com/office/drawing/2014/main" id="{9EB61F46-19F0-760B-A952-AEB39A5D59D7}"/>
                </a:ext>
              </a:extLst>
            </p:cNvPr>
            <p:cNvGrpSpPr/>
            <p:nvPr/>
          </p:nvGrpSpPr>
          <p:grpSpPr>
            <a:xfrm>
              <a:off x="5813357" y="2889029"/>
              <a:ext cx="82971" cy="82971"/>
              <a:chOff x="7236884" y="3439984"/>
              <a:chExt cx="108000" cy="108000"/>
            </a:xfrm>
          </p:grpSpPr>
          <p:cxnSp>
            <p:nvCxnSpPr>
              <p:cNvPr id="1375" name="Straight Connector 1374">
                <a:extLst>
                  <a:ext uri="{FF2B5EF4-FFF2-40B4-BE49-F238E27FC236}">
                    <a16:creationId xmlns:a16="http://schemas.microsoft.com/office/drawing/2014/main" id="{F99BC436-AB30-3B66-9156-8275924725E4}"/>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376" name="Straight Connector 1375">
                <a:extLst>
                  <a:ext uri="{FF2B5EF4-FFF2-40B4-BE49-F238E27FC236}">
                    <a16:creationId xmlns:a16="http://schemas.microsoft.com/office/drawing/2014/main" id="{06514363-CE86-DCD8-447B-F827EA86C15F}"/>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377" name="Group 1376">
              <a:extLst>
                <a:ext uri="{FF2B5EF4-FFF2-40B4-BE49-F238E27FC236}">
                  <a16:creationId xmlns:a16="http://schemas.microsoft.com/office/drawing/2014/main" id="{A172C18A-418E-50AB-B77C-DA8455365A76}"/>
                </a:ext>
              </a:extLst>
            </p:cNvPr>
            <p:cNvGrpSpPr/>
            <p:nvPr/>
          </p:nvGrpSpPr>
          <p:grpSpPr>
            <a:xfrm>
              <a:off x="5796688" y="2865986"/>
              <a:ext cx="82971" cy="82971"/>
              <a:chOff x="7236884" y="3439984"/>
              <a:chExt cx="108000" cy="108000"/>
            </a:xfrm>
          </p:grpSpPr>
          <p:cxnSp>
            <p:nvCxnSpPr>
              <p:cNvPr id="1378" name="Straight Connector 1377">
                <a:extLst>
                  <a:ext uri="{FF2B5EF4-FFF2-40B4-BE49-F238E27FC236}">
                    <a16:creationId xmlns:a16="http://schemas.microsoft.com/office/drawing/2014/main" id="{D7B82B6E-84D9-FDC0-4E28-9654CC0D7DE2}"/>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379" name="Straight Connector 1378">
                <a:extLst>
                  <a:ext uri="{FF2B5EF4-FFF2-40B4-BE49-F238E27FC236}">
                    <a16:creationId xmlns:a16="http://schemas.microsoft.com/office/drawing/2014/main" id="{52490A64-DBA1-E5BD-696B-98B2B21EF4E0}"/>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380" name="Group 1379">
              <a:extLst>
                <a:ext uri="{FF2B5EF4-FFF2-40B4-BE49-F238E27FC236}">
                  <a16:creationId xmlns:a16="http://schemas.microsoft.com/office/drawing/2014/main" id="{236F89EA-76CD-7B9A-5981-3C1289DD46D4}"/>
                </a:ext>
              </a:extLst>
            </p:cNvPr>
            <p:cNvGrpSpPr/>
            <p:nvPr/>
          </p:nvGrpSpPr>
          <p:grpSpPr>
            <a:xfrm>
              <a:off x="5784781" y="2865986"/>
              <a:ext cx="82971" cy="82971"/>
              <a:chOff x="7236884" y="3439984"/>
              <a:chExt cx="108000" cy="108000"/>
            </a:xfrm>
          </p:grpSpPr>
          <p:cxnSp>
            <p:nvCxnSpPr>
              <p:cNvPr id="1381" name="Straight Connector 1380">
                <a:extLst>
                  <a:ext uri="{FF2B5EF4-FFF2-40B4-BE49-F238E27FC236}">
                    <a16:creationId xmlns:a16="http://schemas.microsoft.com/office/drawing/2014/main" id="{48BFB086-40B6-39F9-B2FE-1F0A2B286A38}"/>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382" name="Straight Connector 1381">
                <a:extLst>
                  <a:ext uri="{FF2B5EF4-FFF2-40B4-BE49-F238E27FC236}">
                    <a16:creationId xmlns:a16="http://schemas.microsoft.com/office/drawing/2014/main" id="{512EC83B-EE07-1363-A6D3-8841BD1423F5}"/>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383" name="Group 1382">
              <a:extLst>
                <a:ext uri="{FF2B5EF4-FFF2-40B4-BE49-F238E27FC236}">
                  <a16:creationId xmlns:a16="http://schemas.microsoft.com/office/drawing/2014/main" id="{F1216E11-5B67-D53E-1D84-0C993536E865}"/>
                </a:ext>
              </a:extLst>
            </p:cNvPr>
            <p:cNvGrpSpPr/>
            <p:nvPr/>
          </p:nvGrpSpPr>
          <p:grpSpPr>
            <a:xfrm>
              <a:off x="5770493" y="2845876"/>
              <a:ext cx="82971" cy="82971"/>
              <a:chOff x="7236884" y="3439984"/>
              <a:chExt cx="108000" cy="108000"/>
            </a:xfrm>
          </p:grpSpPr>
          <p:cxnSp>
            <p:nvCxnSpPr>
              <p:cNvPr id="1384" name="Straight Connector 1383">
                <a:extLst>
                  <a:ext uri="{FF2B5EF4-FFF2-40B4-BE49-F238E27FC236}">
                    <a16:creationId xmlns:a16="http://schemas.microsoft.com/office/drawing/2014/main" id="{E346F940-C3BF-F73E-74E3-5D36D9FF81B3}"/>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385" name="Straight Connector 1384">
                <a:extLst>
                  <a:ext uri="{FF2B5EF4-FFF2-40B4-BE49-F238E27FC236}">
                    <a16:creationId xmlns:a16="http://schemas.microsoft.com/office/drawing/2014/main" id="{E2A8E869-CA5A-B273-CE1B-E9CE10708AE8}"/>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386" name="Group 1385">
              <a:extLst>
                <a:ext uri="{FF2B5EF4-FFF2-40B4-BE49-F238E27FC236}">
                  <a16:creationId xmlns:a16="http://schemas.microsoft.com/office/drawing/2014/main" id="{A5CDA8F3-989C-FE29-D376-DAD78A785758}"/>
                </a:ext>
              </a:extLst>
            </p:cNvPr>
            <p:cNvGrpSpPr/>
            <p:nvPr/>
          </p:nvGrpSpPr>
          <p:grpSpPr>
            <a:xfrm>
              <a:off x="5733869" y="2823213"/>
              <a:ext cx="82971" cy="82971"/>
              <a:chOff x="7236884" y="3439984"/>
              <a:chExt cx="108000" cy="108000"/>
            </a:xfrm>
          </p:grpSpPr>
          <p:cxnSp>
            <p:nvCxnSpPr>
              <p:cNvPr id="1387" name="Straight Connector 1386">
                <a:extLst>
                  <a:ext uri="{FF2B5EF4-FFF2-40B4-BE49-F238E27FC236}">
                    <a16:creationId xmlns:a16="http://schemas.microsoft.com/office/drawing/2014/main" id="{FA2B903B-417A-352B-E559-27F3D046D40A}"/>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388" name="Straight Connector 1387">
                <a:extLst>
                  <a:ext uri="{FF2B5EF4-FFF2-40B4-BE49-F238E27FC236}">
                    <a16:creationId xmlns:a16="http://schemas.microsoft.com/office/drawing/2014/main" id="{DFC2D0BE-39CA-57F5-D8AD-22D9A3ACBD20}"/>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389" name="Group 1388">
              <a:extLst>
                <a:ext uri="{FF2B5EF4-FFF2-40B4-BE49-F238E27FC236}">
                  <a16:creationId xmlns:a16="http://schemas.microsoft.com/office/drawing/2014/main" id="{6D073BEC-B4BC-7760-1C26-79859ECAF9CD}"/>
                </a:ext>
              </a:extLst>
            </p:cNvPr>
            <p:cNvGrpSpPr/>
            <p:nvPr/>
          </p:nvGrpSpPr>
          <p:grpSpPr>
            <a:xfrm>
              <a:off x="5724163" y="2804391"/>
              <a:ext cx="82971" cy="82971"/>
              <a:chOff x="7236884" y="3439984"/>
              <a:chExt cx="108000" cy="108000"/>
            </a:xfrm>
          </p:grpSpPr>
          <p:cxnSp>
            <p:nvCxnSpPr>
              <p:cNvPr id="1390" name="Straight Connector 1389">
                <a:extLst>
                  <a:ext uri="{FF2B5EF4-FFF2-40B4-BE49-F238E27FC236}">
                    <a16:creationId xmlns:a16="http://schemas.microsoft.com/office/drawing/2014/main" id="{171A19E8-2AA1-5F3B-2413-4787AADC18AD}"/>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391" name="Straight Connector 1390">
                <a:extLst>
                  <a:ext uri="{FF2B5EF4-FFF2-40B4-BE49-F238E27FC236}">
                    <a16:creationId xmlns:a16="http://schemas.microsoft.com/office/drawing/2014/main" id="{D8738AC8-7763-1D7C-DED4-19744E7414A9}"/>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392" name="Group 1391">
              <a:extLst>
                <a:ext uri="{FF2B5EF4-FFF2-40B4-BE49-F238E27FC236}">
                  <a16:creationId xmlns:a16="http://schemas.microsoft.com/office/drawing/2014/main" id="{2CB1787C-29D3-4B8F-2CEC-4DB23B933652}"/>
                </a:ext>
              </a:extLst>
            </p:cNvPr>
            <p:cNvGrpSpPr/>
            <p:nvPr/>
          </p:nvGrpSpPr>
          <p:grpSpPr>
            <a:xfrm>
              <a:off x="5709875" y="2797248"/>
              <a:ext cx="82971" cy="82971"/>
              <a:chOff x="7236884" y="3439984"/>
              <a:chExt cx="108000" cy="108000"/>
            </a:xfrm>
          </p:grpSpPr>
          <p:cxnSp>
            <p:nvCxnSpPr>
              <p:cNvPr id="1393" name="Straight Connector 1392">
                <a:extLst>
                  <a:ext uri="{FF2B5EF4-FFF2-40B4-BE49-F238E27FC236}">
                    <a16:creationId xmlns:a16="http://schemas.microsoft.com/office/drawing/2014/main" id="{34A9A78A-A911-141B-857A-31B03880F448}"/>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394" name="Straight Connector 1393">
                <a:extLst>
                  <a:ext uri="{FF2B5EF4-FFF2-40B4-BE49-F238E27FC236}">
                    <a16:creationId xmlns:a16="http://schemas.microsoft.com/office/drawing/2014/main" id="{DDE62A47-4CA6-C4D2-013E-0430CFB9CC76}"/>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395" name="Group 1394">
              <a:extLst>
                <a:ext uri="{FF2B5EF4-FFF2-40B4-BE49-F238E27FC236}">
                  <a16:creationId xmlns:a16="http://schemas.microsoft.com/office/drawing/2014/main" id="{AAA2DC46-D7B8-2DC1-F6C1-A04FAC0EBC67}"/>
                </a:ext>
              </a:extLst>
            </p:cNvPr>
            <p:cNvGrpSpPr/>
            <p:nvPr/>
          </p:nvGrpSpPr>
          <p:grpSpPr>
            <a:xfrm>
              <a:off x="5693205" y="2787724"/>
              <a:ext cx="82971" cy="82971"/>
              <a:chOff x="7236884" y="3439984"/>
              <a:chExt cx="108000" cy="108000"/>
            </a:xfrm>
          </p:grpSpPr>
          <p:cxnSp>
            <p:nvCxnSpPr>
              <p:cNvPr id="1396" name="Straight Connector 1395">
                <a:extLst>
                  <a:ext uri="{FF2B5EF4-FFF2-40B4-BE49-F238E27FC236}">
                    <a16:creationId xmlns:a16="http://schemas.microsoft.com/office/drawing/2014/main" id="{C3FF0348-910F-D254-E111-AC750BD5685E}"/>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397" name="Straight Connector 1396">
                <a:extLst>
                  <a:ext uri="{FF2B5EF4-FFF2-40B4-BE49-F238E27FC236}">
                    <a16:creationId xmlns:a16="http://schemas.microsoft.com/office/drawing/2014/main" id="{F4304BCB-12F7-9C8A-A8F0-87C9A349AE4E}"/>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398" name="Group 1397">
              <a:extLst>
                <a:ext uri="{FF2B5EF4-FFF2-40B4-BE49-F238E27FC236}">
                  <a16:creationId xmlns:a16="http://schemas.microsoft.com/office/drawing/2014/main" id="{BA65AAFB-5AED-3D36-4C92-E1585600056D}"/>
                </a:ext>
              </a:extLst>
            </p:cNvPr>
            <p:cNvGrpSpPr/>
            <p:nvPr/>
          </p:nvGrpSpPr>
          <p:grpSpPr>
            <a:xfrm>
              <a:off x="5676536" y="2785343"/>
              <a:ext cx="82971" cy="82971"/>
              <a:chOff x="7236884" y="3439984"/>
              <a:chExt cx="108000" cy="108000"/>
            </a:xfrm>
          </p:grpSpPr>
          <p:cxnSp>
            <p:nvCxnSpPr>
              <p:cNvPr id="1399" name="Straight Connector 1398">
                <a:extLst>
                  <a:ext uri="{FF2B5EF4-FFF2-40B4-BE49-F238E27FC236}">
                    <a16:creationId xmlns:a16="http://schemas.microsoft.com/office/drawing/2014/main" id="{F904E534-BFD9-AC08-CB78-E0186E982617}"/>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400" name="Straight Connector 1399">
                <a:extLst>
                  <a:ext uri="{FF2B5EF4-FFF2-40B4-BE49-F238E27FC236}">
                    <a16:creationId xmlns:a16="http://schemas.microsoft.com/office/drawing/2014/main" id="{E9E950C6-0FE8-AC27-8717-45E8CF2179BD}"/>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401" name="Group 1400">
              <a:extLst>
                <a:ext uri="{FF2B5EF4-FFF2-40B4-BE49-F238E27FC236}">
                  <a16:creationId xmlns:a16="http://schemas.microsoft.com/office/drawing/2014/main" id="{6E1EBDD6-3261-C711-5BDB-49FC65D70383}"/>
                </a:ext>
              </a:extLst>
            </p:cNvPr>
            <p:cNvGrpSpPr/>
            <p:nvPr/>
          </p:nvGrpSpPr>
          <p:grpSpPr>
            <a:xfrm>
              <a:off x="5662248" y="2785343"/>
              <a:ext cx="82971" cy="82971"/>
              <a:chOff x="7236884" y="3439984"/>
              <a:chExt cx="108000" cy="108000"/>
            </a:xfrm>
          </p:grpSpPr>
          <p:cxnSp>
            <p:nvCxnSpPr>
              <p:cNvPr id="1402" name="Straight Connector 1401">
                <a:extLst>
                  <a:ext uri="{FF2B5EF4-FFF2-40B4-BE49-F238E27FC236}">
                    <a16:creationId xmlns:a16="http://schemas.microsoft.com/office/drawing/2014/main" id="{E412A500-E764-761B-C5A4-96D86F0A5EE3}"/>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403" name="Straight Connector 1402">
                <a:extLst>
                  <a:ext uri="{FF2B5EF4-FFF2-40B4-BE49-F238E27FC236}">
                    <a16:creationId xmlns:a16="http://schemas.microsoft.com/office/drawing/2014/main" id="{CF0EFB50-9409-6F1B-A109-4585FB8C9765}"/>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404" name="Group 1403">
              <a:extLst>
                <a:ext uri="{FF2B5EF4-FFF2-40B4-BE49-F238E27FC236}">
                  <a16:creationId xmlns:a16="http://schemas.microsoft.com/office/drawing/2014/main" id="{C56833ED-AC18-4D07-CA8E-2CC7D8E6558F}"/>
                </a:ext>
              </a:extLst>
            </p:cNvPr>
            <p:cNvGrpSpPr/>
            <p:nvPr/>
          </p:nvGrpSpPr>
          <p:grpSpPr>
            <a:xfrm>
              <a:off x="5645131" y="2756753"/>
              <a:ext cx="82971" cy="82971"/>
              <a:chOff x="7236884" y="3439984"/>
              <a:chExt cx="108000" cy="108000"/>
            </a:xfrm>
          </p:grpSpPr>
          <p:cxnSp>
            <p:nvCxnSpPr>
              <p:cNvPr id="1405" name="Straight Connector 1404">
                <a:extLst>
                  <a:ext uri="{FF2B5EF4-FFF2-40B4-BE49-F238E27FC236}">
                    <a16:creationId xmlns:a16="http://schemas.microsoft.com/office/drawing/2014/main" id="{D591EB88-2F56-FCC0-8482-9DEA939F7D74}"/>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406" name="Straight Connector 1405">
                <a:extLst>
                  <a:ext uri="{FF2B5EF4-FFF2-40B4-BE49-F238E27FC236}">
                    <a16:creationId xmlns:a16="http://schemas.microsoft.com/office/drawing/2014/main" id="{A1F14888-9971-FE45-2BC3-60CFCBEC0D4C}"/>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407" name="Group 1406">
              <a:extLst>
                <a:ext uri="{FF2B5EF4-FFF2-40B4-BE49-F238E27FC236}">
                  <a16:creationId xmlns:a16="http://schemas.microsoft.com/office/drawing/2014/main" id="{F19C7085-7306-CA64-E45B-9458A9E4BB1B}"/>
                </a:ext>
              </a:extLst>
            </p:cNvPr>
            <p:cNvGrpSpPr/>
            <p:nvPr/>
          </p:nvGrpSpPr>
          <p:grpSpPr>
            <a:xfrm>
              <a:off x="5624458" y="2742614"/>
              <a:ext cx="82971" cy="82971"/>
              <a:chOff x="7236884" y="3439984"/>
              <a:chExt cx="108000" cy="108000"/>
            </a:xfrm>
          </p:grpSpPr>
          <p:cxnSp>
            <p:nvCxnSpPr>
              <p:cNvPr id="1408" name="Straight Connector 1407">
                <a:extLst>
                  <a:ext uri="{FF2B5EF4-FFF2-40B4-BE49-F238E27FC236}">
                    <a16:creationId xmlns:a16="http://schemas.microsoft.com/office/drawing/2014/main" id="{67925CAD-BAFF-2099-34BC-74BBD28951C3}"/>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409" name="Straight Connector 1408">
                <a:extLst>
                  <a:ext uri="{FF2B5EF4-FFF2-40B4-BE49-F238E27FC236}">
                    <a16:creationId xmlns:a16="http://schemas.microsoft.com/office/drawing/2014/main" id="{3228A306-0A49-B8B8-96DB-7519128CC689}"/>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410" name="Group 1409">
              <a:extLst>
                <a:ext uri="{FF2B5EF4-FFF2-40B4-BE49-F238E27FC236}">
                  <a16:creationId xmlns:a16="http://schemas.microsoft.com/office/drawing/2014/main" id="{36D83F67-16FB-235D-3F57-0A91C4E3F7D8}"/>
                </a:ext>
              </a:extLst>
            </p:cNvPr>
            <p:cNvGrpSpPr/>
            <p:nvPr/>
          </p:nvGrpSpPr>
          <p:grpSpPr>
            <a:xfrm>
              <a:off x="5603645" y="2715267"/>
              <a:ext cx="82971" cy="82971"/>
              <a:chOff x="7236884" y="3439984"/>
              <a:chExt cx="108000" cy="108000"/>
            </a:xfrm>
          </p:grpSpPr>
          <p:cxnSp>
            <p:nvCxnSpPr>
              <p:cNvPr id="1411" name="Straight Connector 1410">
                <a:extLst>
                  <a:ext uri="{FF2B5EF4-FFF2-40B4-BE49-F238E27FC236}">
                    <a16:creationId xmlns:a16="http://schemas.microsoft.com/office/drawing/2014/main" id="{A33185EF-F289-ECA8-A21E-DE49C59D7E95}"/>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412" name="Straight Connector 1411">
                <a:extLst>
                  <a:ext uri="{FF2B5EF4-FFF2-40B4-BE49-F238E27FC236}">
                    <a16:creationId xmlns:a16="http://schemas.microsoft.com/office/drawing/2014/main" id="{D70D381F-9508-7028-C3CE-5C67BB6F92EB}"/>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413" name="Group 1412">
              <a:extLst>
                <a:ext uri="{FF2B5EF4-FFF2-40B4-BE49-F238E27FC236}">
                  <a16:creationId xmlns:a16="http://schemas.microsoft.com/office/drawing/2014/main" id="{79B989E3-0D82-62D1-FDBF-318C573B1F0A}"/>
                </a:ext>
              </a:extLst>
            </p:cNvPr>
            <p:cNvGrpSpPr/>
            <p:nvPr/>
          </p:nvGrpSpPr>
          <p:grpSpPr>
            <a:xfrm>
              <a:off x="5581542" y="2701129"/>
              <a:ext cx="82971" cy="82971"/>
              <a:chOff x="7236884" y="3439984"/>
              <a:chExt cx="108000" cy="108000"/>
            </a:xfrm>
          </p:grpSpPr>
          <p:cxnSp>
            <p:nvCxnSpPr>
              <p:cNvPr id="1414" name="Straight Connector 1413">
                <a:extLst>
                  <a:ext uri="{FF2B5EF4-FFF2-40B4-BE49-F238E27FC236}">
                    <a16:creationId xmlns:a16="http://schemas.microsoft.com/office/drawing/2014/main" id="{142AF6F5-D234-5A43-DA5E-29EC6436AD49}"/>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415" name="Straight Connector 1414">
                <a:extLst>
                  <a:ext uri="{FF2B5EF4-FFF2-40B4-BE49-F238E27FC236}">
                    <a16:creationId xmlns:a16="http://schemas.microsoft.com/office/drawing/2014/main" id="{DD0FAB3C-0800-4559-0707-178F1DD877E1}"/>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416" name="Group 1415">
              <a:extLst>
                <a:ext uri="{FF2B5EF4-FFF2-40B4-BE49-F238E27FC236}">
                  <a16:creationId xmlns:a16="http://schemas.microsoft.com/office/drawing/2014/main" id="{4C0825B6-DC11-297F-3501-E6BCD1DCC1F6}"/>
                </a:ext>
              </a:extLst>
            </p:cNvPr>
            <p:cNvGrpSpPr/>
            <p:nvPr/>
          </p:nvGrpSpPr>
          <p:grpSpPr>
            <a:xfrm>
              <a:off x="5562160" y="2673023"/>
              <a:ext cx="82971" cy="82971"/>
              <a:chOff x="7236884" y="3439984"/>
              <a:chExt cx="108000" cy="108000"/>
            </a:xfrm>
          </p:grpSpPr>
          <p:cxnSp>
            <p:nvCxnSpPr>
              <p:cNvPr id="1417" name="Straight Connector 1416">
                <a:extLst>
                  <a:ext uri="{FF2B5EF4-FFF2-40B4-BE49-F238E27FC236}">
                    <a16:creationId xmlns:a16="http://schemas.microsoft.com/office/drawing/2014/main" id="{CE63232D-8E7F-9DCE-C2DF-3EE425189D7B}"/>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418" name="Straight Connector 1417">
                <a:extLst>
                  <a:ext uri="{FF2B5EF4-FFF2-40B4-BE49-F238E27FC236}">
                    <a16:creationId xmlns:a16="http://schemas.microsoft.com/office/drawing/2014/main" id="{753625DD-C79C-D0F8-3BC6-1BC405BD0F98}"/>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419" name="Group 1418">
              <a:extLst>
                <a:ext uri="{FF2B5EF4-FFF2-40B4-BE49-F238E27FC236}">
                  <a16:creationId xmlns:a16="http://schemas.microsoft.com/office/drawing/2014/main" id="{BA56FFC2-C93A-323E-3A99-2984FA4CBC9F}"/>
                </a:ext>
              </a:extLst>
            </p:cNvPr>
            <p:cNvGrpSpPr/>
            <p:nvPr/>
          </p:nvGrpSpPr>
          <p:grpSpPr>
            <a:xfrm>
              <a:off x="5562160" y="2657630"/>
              <a:ext cx="82971" cy="82971"/>
              <a:chOff x="7236884" y="3439984"/>
              <a:chExt cx="108000" cy="108000"/>
            </a:xfrm>
          </p:grpSpPr>
          <p:cxnSp>
            <p:nvCxnSpPr>
              <p:cNvPr id="1420" name="Straight Connector 1419">
                <a:extLst>
                  <a:ext uri="{FF2B5EF4-FFF2-40B4-BE49-F238E27FC236}">
                    <a16:creationId xmlns:a16="http://schemas.microsoft.com/office/drawing/2014/main" id="{7875A979-FF14-86EC-8DD5-08BE6D2150F5}"/>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421" name="Straight Connector 1420">
                <a:extLst>
                  <a:ext uri="{FF2B5EF4-FFF2-40B4-BE49-F238E27FC236}">
                    <a16:creationId xmlns:a16="http://schemas.microsoft.com/office/drawing/2014/main" id="{D4E0EBCB-DF00-C5B4-C1F5-397E7AE8A850}"/>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422" name="Group 1421">
              <a:extLst>
                <a:ext uri="{FF2B5EF4-FFF2-40B4-BE49-F238E27FC236}">
                  <a16:creationId xmlns:a16="http://schemas.microsoft.com/office/drawing/2014/main" id="{38755F9C-8D30-451D-E1A5-302747393448}"/>
                </a:ext>
              </a:extLst>
            </p:cNvPr>
            <p:cNvGrpSpPr/>
            <p:nvPr/>
          </p:nvGrpSpPr>
          <p:grpSpPr>
            <a:xfrm>
              <a:off x="5539270" y="2638577"/>
              <a:ext cx="82971" cy="82971"/>
              <a:chOff x="7236884" y="3439984"/>
              <a:chExt cx="108000" cy="108000"/>
            </a:xfrm>
          </p:grpSpPr>
          <p:cxnSp>
            <p:nvCxnSpPr>
              <p:cNvPr id="1423" name="Straight Connector 1422">
                <a:extLst>
                  <a:ext uri="{FF2B5EF4-FFF2-40B4-BE49-F238E27FC236}">
                    <a16:creationId xmlns:a16="http://schemas.microsoft.com/office/drawing/2014/main" id="{EA91840D-1B17-44F1-D093-756066F4F0F1}"/>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424" name="Straight Connector 1423">
                <a:extLst>
                  <a:ext uri="{FF2B5EF4-FFF2-40B4-BE49-F238E27FC236}">
                    <a16:creationId xmlns:a16="http://schemas.microsoft.com/office/drawing/2014/main" id="{26430C68-BF63-18F4-E432-A3A2BD403FCB}"/>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425" name="Group 1424">
              <a:extLst>
                <a:ext uri="{FF2B5EF4-FFF2-40B4-BE49-F238E27FC236}">
                  <a16:creationId xmlns:a16="http://schemas.microsoft.com/office/drawing/2014/main" id="{CEDAD5A7-D5A4-0108-9DDC-33C1C57EC45F}"/>
                </a:ext>
              </a:extLst>
            </p:cNvPr>
            <p:cNvGrpSpPr/>
            <p:nvPr/>
          </p:nvGrpSpPr>
          <p:grpSpPr>
            <a:xfrm>
              <a:off x="5532126" y="2626382"/>
              <a:ext cx="82971" cy="82971"/>
              <a:chOff x="7236884" y="3439984"/>
              <a:chExt cx="108000" cy="108000"/>
            </a:xfrm>
          </p:grpSpPr>
          <p:cxnSp>
            <p:nvCxnSpPr>
              <p:cNvPr id="1426" name="Straight Connector 1425">
                <a:extLst>
                  <a:ext uri="{FF2B5EF4-FFF2-40B4-BE49-F238E27FC236}">
                    <a16:creationId xmlns:a16="http://schemas.microsoft.com/office/drawing/2014/main" id="{B19A593E-B6B3-0D49-6E25-6767FE82FFAB}"/>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427" name="Straight Connector 1426">
                <a:extLst>
                  <a:ext uri="{FF2B5EF4-FFF2-40B4-BE49-F238E27FC236}">
                    <a16:creationId xmlns:a16="http://schemas.microsoft.com/office/drawing/2014/main" id="{81EAEAAE-8CF9-71C8-AE5C-98259433E976}"/>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428" name="Group 1427">
              <a:extLst>
                <a:ext uri="{FF2B5EF4-FFF2-40B4-BE49-F238E27FC236}">
                  <a16:creationId xmlns:a16="http://schemas.microsoft.com/office/drawing/2014/main" id="{84E54E61-44F3-F3F5-1ADB-FF10A26F96F2}"/>
                </a:ext>
              </a:extLst>
            </p:cNvPr>
            <p:cNvGrpSpPr/>
            <p:nvPr/>
          </p:nvGrpSpPr>
          <p:grpSpPr>
            <a:xfrm>
              <a:off x="5513077" y="2605383"/>
              <a:ext cx="82971" cy="82971"/>
              <a:chOff x="7236884" y="3439984"/>
              <a:chExt cx="108000" cy="108000"/>
            </a:xfrm>
          </p:grpSpPr>
          <p:cxnSp>
            <p:nvCxnSpPr>
              <p:cNvPr id="1429" name="Straight Connector 1428">
                <a:extLst>
                  <a:ext uri="{FF2B5EF4-FFF2-40B4-BE49-F238E27FC236}">
                    <a16:creationId xmlns:a16="http://schemas.microsoft.com/office/drawing/2014/main" id="{48400C7F-91D2-4AAD-480F-1CF8E5901C92}"/>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430" name="Straight Connector 1429">
                <a:extLst>
                  <a:ext uri="{FF2B5EF4-FFF2-40B4-BE49-F238E27FC236}">
                    <a16:creationId xmlns:a16="http://schemas.microsoft.com/office/drawing/2014/main" id="{63DA5D45-4E91-B402-9984-CAE54A1AFCA7}"/>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431" name="Group 1430">
              <a:extLst>
                <a:ext uri="{FF2B5EF4-FFF2-40B4-BE49-F238E27FC236}">
                  <a16:creationId xmlns:a16="http://schemas.microsoft.com/office/drawing/2014/main" id="{39800582-47AC-B2DA-CAAE-FEE2D89A1D27}"/>
                </a:ext>
              </a:extLst>
            </p:cNvPr>
            <p:cNvGrpSpPr/>
            <p:nvPr/>
          </p:nvGrpSpPr>
          <p:grpSpPr>
            <a:xfrm>
              <a:off x="5499003" y="2584896"/>
              <a:ext cx="82971" cy="82971"/>
              <a:chOff x="7236884" y="3439984"/>
              <a:chExt cx="108000" cy="108000"/>
            </a:xfrm>
          </p:grpSpPr>
          <p:cxnSp>
            <p:nvCxnSpPr>
              <p:cNvPr id="1432" name="Straight Connector 1431">
                <a:extLst>
                  <a:ext uri="{FF2B5EF4-FFF2-40B4-BE49-F238E27FC236}">
                    <a16:creationId xmlns:a16="http://schemas.microsoft.com/office/drawing/2014/main" id="{CE659BEC-3185-C947-DAE6-E8C797B2F5AA}"/>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433" name="Straight Connector 1432">
                <a:extLst>
                  <a:ext uri="{FF2B5EF4-FFF2-40B4-BE49-F238E27FC236}">
                    <a16:creationId xmlns:a16="http://schemas.microsoft.com/office/drawing/2014/main" id="{80DCDDE5-24FC-8F03-AF45-B0F1734000B5}"/>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434" name="Group 1433">
              <a:extLst>
                <a:ext uri="{FF2B5EF4-FFF2-40B4-BE49-F238E27FC236}">
                  <a16:creationId xmlns:a16="http://schemas.microsoft.com/office/drawing/2014/main" id="{46B29D07-D168-C216-5781-A110A982A935}"/>
                </a:ext>
              </a:extLst>
            </p:cNvPr>
            <p:cNvGrpSpPr/>
            <p:nvPr/>
          </p:nvGrpSpPr>
          <p:grpSpPr>
            <a:xfrm>
              <a:off x="5478735" y="2571459"/>
              <a:ext cx="82971" cy="82971"/>
              <a:chOff x="7236884" y="3439984"/>
              <a:chExt cx="108000" cy="108000"/>
            </a:xfrm>
          </p:grpSpPr>
          <p:cxnSp>
            <p:nvCxnSpPr>
              <p:cNvPr id="1435" name="Straight Connector 1434">
                <a:extLst>
                  <a:ext uri="{FF2B5EF4-FFF2-40B4-BE49-F238E27FC236}">
                    <a16:creationId xmlns:a16="http://schemas.microsoft.com/office/drawing/2014/main" id="{2DB85F96-5465-76A2-9249-D799AE29D19C}"/>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436" name="Straight Connector 1435">
                <a:extLst>
                  <a:ext uri="{FF2B5EF4-FFF2-40B4-BE49-F238E27FC236}">
                    <a16:creationId xmlns:a16="http://schemas.microsoft.com/office/drawing/2014/main" id="{8A79A40D-75F3-D15E-318B-EA0AE18EB423}"/>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437" name="Group 1436">
              <a:extLst>
                <a:ext uri="{FF2B5EF4-FFF2-40B4-BE49-F238E27FC236}">
                  <a16:creationId xmlns:a16="http://schemas.microsoft.com/office/drawing/2014/main" id="{3DF85FF4-9834-79AE-C00A-400D1AF10942}"/>
                </a:ext>
              </a:extLst>
            </p:cNvPr>
            <p:cNvGrpSpPr/>
            <p:nvPr/>
          </p:nvGrpSpPr>
          <p:grpSpPr>
            <a:xfrm>
              <a:off x="5471592" y="2544330"/>
              <a:ext cx="82971" cy="82971"/>
              <a:chOff x="7236884" y="3439984"/>
              <a:chExt cx="108000" cy="108000"/>
            </a:xfrm>
          </p:grpSpPr>
          <p:cxnSp>
            <p:nvCxnSpPr>
              <p:cNvPr id="1438" name="Straight Connector 1437">
                <a:extLst>
                  <a:ext uri="{FF2B5EF4-FFF2-40B4-BE49-F238E27FC236}">
                    <a16:creationId xmlns:a16="http://schemas.microsoft.com/office/drawing/2014/main" id="{12447CDF-3CF7-6190-2EE8-64F5086F65D3}"/>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439" name="Straight Connector 1438">
                <a:extLst>
                  <a:ext uri="{FF2B5EF4-FFF2-40B4-BE49-F238E27FC236}">
                    <a16:creationId xmlns:a16="http://schemas.microsoft.com/office/drawing/2014/main" id="{1693A699-5966-50E8-A63B-DB43CD29D25B}"/>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440" name="Group 1439">
              <a:extLst>
                <a:ext uri="{FF2B5EF4-FFF2-40B4-BE49-F238E27FC236}">
                  <a16:creationId xmlns:a16="http://schemas.microsoft.com/office/drawing/2014/main" id="{45C10343-62D9-2F09-F325-3D8648127263}"/>
                </a:ext>
              </a:extLst>
            </p:cNvPr>
            <p:cNvGrpSpPr/>
            <p:nvPr/>
          </p:nvGrpSpPr>
          <p:grpSpPr>
            <a:xfrm>
              <a:off x="5457517" y="2537217"/>
              <a:ext cx="82971" cy="82971"/>
              <a:chOff x="7236884" y="3439984"/>
              <a:chExt cx="108000" cy="108000"/>
            </a:xfrm>
          </p:grpSpPr>
          <p:cxnSp>
            <p:nvCxnSpPr>
              <p:cNvPr id="1441" name="Straight Connector 1440">
                <a:extLst>
                  <a:ext uri="{FF2B5EF4-FFF2-40B4-BE49-F238E27FC236}">
                    <a16:creationId xmlns:a16="http://schemas.microsoft.com/office/drawing/2014/main" id="{4EE0DA31-4113-15DD-8F69-C696B5F82445}"/>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442" name="Straight Connector 1441">
                <a:extLst>
                  <a:ext uri="{FF2B5EF4-FFF2-40B4-BE49-F238E27FC236}">
                    <a16:creationId xmlns:a16="http://schemas.microsoft.com/office/drawing/2014/main" id="{3EF09DDA-CB91-C35D-F7FE-90D899126E79}"/>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443" name="Group 1442">
              <a:extLst>
                <a:ext uri="{FF2B5EF4-FFF2-40B4-BE49-F238E27FC236}">
                  <a16:creationId xmlns:a16="http://schemas.microsoft.com/office/drawing/2014/main" id="{FB6A910F-F3C3-111B-67A0-E15C415A472A}"/>
                </a:ext>
              </a:extLst>
            </p:cNvPr>
            <p:cNvGrpSpPr/>
            <p:nvPr/>
          </p:nvGrpSpPr>
          <p:grpSpPr>
            <a:xfrm>
              <a:off x="5433705" y="2522412"/>
              <a:ext cx="82971" cy="82971"/>
              <a:chOff x="7236884" y="3439984"/>
              <a:chExt cx="108000" cy="108000"/>
            </a:xfrm>
          </p:grpSpPr>
          <p:cxnSp>
            <p:nvCxnSpPr>
              <p:cNvPr id="1444" name="Straight Connector 1443">
                <a:extLst>
                  <a:ext uri="{FF2B5EF4-FFF2-40B4-BE49-F238E27FC236}">
                    <a16:creationId xmlns:a16="http://schemas.microsoft.com/office/drawing/2014/main" id="{3D86E217-861C-ECF4-E00B-7C7472D04946}"/>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445" name="Straight Connector 1444">
                <a:extLst>
                  <a:ext uri="{FF2B5EF4-FFF2-40B4-BE49-F238E27FC236}">
                    <a16:creationId xmlns:a16="http://schemas.microsoft.com/office/drawing/2014/main" id="{FF55D344-AB24-8CB0-C403-E0D9129A2581}"/>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446" name="Group 1445">
              <a:extLst>
                <a:ext uri="{FF2B5EF4-FFF2-40B4-BE49-F238E27FC236}">
                  <a16:creationId xmlns:a16="http://schemas.microsoft.com/office/drawing/2014/main" id="{CECBD5E0-BED1-8567-837B-40008064A65F}"/>
                </a:ext>
              </a:extLst>
            </p:cNvPr>
            <p:cNvGrpSpPr/>
            <p:nvPr/>
          </p:nvGrpSpPr>
          <p:grpSpPr>
            <a:xfrm>
              <a:off x="5416032" y="2511140"/>
              <a:ext cx="82971" cy="82971"/>
              <a:chOff x="7236884" y="3439984"/>
              <a:chExt cx="108000" cy="108000"/>
            </a:xfrm>
          </p:grpSpPr>
          <p:cxnSp>
            <p:nvCxnSpPr>
              <p:cNvPr id="1447" name="Straight Connector 1446">
                <a:extLst>
                  <a:ext uri="{FF2B5EF4-FFF2-40B4-BE49-F238E27FC236}">
                    <a16:creationId xmlns:a16="http://schemas.microsoft.com/office/drawing/2014/main" id="{3C82B2AE-63F7-E491-138C-6999C814A566}"/>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448" name="Straight Connector 1447">
                <a:extLst>
                  <a:ext uri="{FF2B5EF4-FFF2-40B4-BE49-F238E27FC236}">
                    <a16:creationId xmlns:a16="http://schemas.microsoft.com/office/drawing/2014/main" id="{2D1AFB23-D50F-F7F6-CC99-1ACAAC15A736}"/>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449" name="Group 1448">
              <a:extLst>
                <a:ext uri="{FF2B5EF4-FFF2-40B4-BE49-F238E27FC236}">
                  <a16:creationId xmlns:a16="http://schemas.microsoft.com/office/drawing/2014/main" id="{AAFFC6AA-69D1-0DF5-D016-CD8ABF5B96FD}"/>
                </a:ext>
              </a:extLst>
            </p:cNvPr>
            <p:cNvGrpSpPr/>
            <p:nvPr/>
          </p:nvGrpSpPr>
          <p:grpSpPr>
            <a:xfrm>
              <a:off x="5396982" y="2482554"/>
              <a:ext cx="82971" cy="82971"/>
              <a:chOff x="7236884" y="3439984"/>
              <a:chExt cx="108000" cy="108000"/>
            </a:xfrm>
          </p:grpSpPr>
          <p:cxnSp>
            <p:nvCxnSpPr>
              <p:cNvPr id="1450" name="Straight Connector 1449">
                <a:extLst>
                  <a:ext uri="{FF2B5EF4-FFF2-40B4-BE49-F238E27FC236}">
                    <a16:creationId xmlns:a16="http://schemas.microsoft.com/office/drawing/2014/main" id="{97362532-9599-4C6E-4BE2-C83939C2A2F1}"/>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451" name="Straight Connector 1450">
                <a:extLst>
                  <a:ext uri="{FF2B5EF4-FFF2-40B4-BE49-F238E27FC236}">
                    <a16:creationId xmlns:a16="http://schemas.microsoft.com/office/drawing/2014/main" id="{17944B4E-433A-A2C4-B222-80DB8C08C16E}"/>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452" name="Group 1451">
              <a:extLst>
                <a:ext uri="{FF2B5EF4-FFF2-40B4-BE49-F238E27FC236}">
                  <a16:creationId xmlns:a16="http://schemas.microsoft.com/office/drawing/2014/main" id="{16EC93FD-1D4A-D6E3-DFFB-737FADA7653A}"/>
                </a:ext>
              </a:extLst>
            </p:cNvPr>
            <p:cNvGrpSpPr/>
            <p:nvPr/>
          </p:nvGrpSpPr>
          <p:grpSpPr>
            <a:xfrm>
              <a:off x="5382695" y="2458773"/>
              <a:ext cx="82971" cy="82971"/>
              <a:chOff x="7236884" y="3439984"/>
              <a:chExt cx="108000" cy="108000"/>
            </a:xfrm>
          </p:grpSpPr>
          <p:cxnSp>
            <p:nvCxnSpPr>
              <p:cNvPr id="1453" name="Straight Connector 1452">
                <a:extLst>
                  <a:ext uri="{FF2B5EF4-FFF2-40B4-BE49-F238E27FC236}">
                    <a16:creationId xmlns:a16="http://schemas.microsoft.com/office/drawing/2014/main" id="{265F2E93-715E-9302-7AA5-67242A16E442}"/>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454" name="Straight Connector 1453">
                <a:extLst>
                  <a:ext uri="{FF2B5EF4-FFF2-40B4-BE49-F238E27FC236}">
                    <a16:creationId xmlns:a16="http://schemas.microsoft.com/office/drawing/2014/main" id="{991644C5-3165-B8D9-6D65-0D104E2DE75A}"/>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458" name="Group 1457">
              <a:extLst>
                <a:ext uri="{FF2B5EF4-FFF2-40B4-BE49-F238E27FC236}">
                  <a16:creationId xmlns:a16="http://schemas.microsoft.com/office/drawing/2014/main" id="{70A59E11-0BA6-A907-18D4-CCC9B8BBED9A}"/>
                </a:ext>
              </a:extLst>
            </p:cNvPr>
            <p:cNvGrpSpPr/>
            <p:nvPr/>
          </p:nvGrpSpPr>
          <p:grpSpPr>
            <a:xfrm>
              <a:off x="5356501" y="2417694"/>
              <a:ext cx="82971" cy="82971"/>
              <a:chOff x="7236884" y="3439984"/>
              <a:chExt cx="108000" cy="108000"/>
            </a:xfrm>
          </p:grpSpPr>
          <p:cxnSp>
            <p:nvCxnSpPr>
              <p:cNvPr id="1459" name="Straight Connector 1458">
                <a:extLst>
                  <a:ext uri="{FF2B5EF4-FFF2-40B4-BE49-F238E27FC236}">
                    <a16:creationId xmlns:a16="http://schemas.microsoft.com/office/drawing/2014/main" id="{7136E35A-D4D4-0ED9-A3C6-DC4A378A1C8E}"/>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460" name="Straight Connector 1459">
                <a:extLst>
                  <a:ext uri="{FF2B5EF4-FFF2-40B4-BE49-F238E27FC236}">
                    <a16:creationId xmlns:a16="http://schemas.microsoft.com/office/drawing/2014/main" id="{B7D9ADB5-92A0-58BD-552A-302D6604F570}"/>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461" name="Group 1460">
              <a:extLst>
                <a:ext uri="{FF2B5EF4-FFF2-40B4-BE49-F238E27FC236}">
                  <a16:creationId xmlns:a16="http://schemas.microsoft.com/office/drawing/2014/main" id="{9BDFDC71-2015-5CA6-721A-B994E8EEA796}"/>
                </a:ext>
              </a:extLst>
            </p:cNvPr>
            <p:cNvGrpSpPr/>
            <p:nvPr/>
          </p:nvGrpSpPr>
          <p:grpSpPr>
            <a:xfrm>
              <a:off x="5351739" y="2397243"/>
              <a:ext cx="82971" cy="82971"/>
              <a:chOff x="7236884" y="3439984"/>
              <a:chExt cx="108000" cy="108000"/>
            </a:xfrm>
          </p:grpSpPr>
          <p:cxnSp>
            <p:nvCxnSpPr>
              <p:cNvPr id="1462" name="Straight Connector 1461">
                <a:extLst>
                  <a:ext uri="{FF2B5EF4-FFF2-40B4-BE49-F238E27FC236}">
                    <a16:creationId xmlns:a16="http://schemas.microsoft.com/office/drawing/2014/main" id="{884DED65-54A6-3D3B-D317-1AB820EB3FF7}"/>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463" name="Straight Connector 1462">
                <a:extLst>
                  <a:ext uri="{FF2B5EF4-FFF2-40B4-BE49-F238E27FC236}">
                    <a16:creationId xmlns:a16="http://schemas.microsoft.com/office/drawing/2014/main" id="{8ECBE7A1-6166-7B40-6E52-F3380ECC0DCA}"/>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464" name="Group 1463">
              <a:extLst>
                <a:ext uri="{FF2B5EF4-FFF2-40B4-BE49-F238E27FC236}">
                  <a16:creationId xmlns:a16="http://schemas.microsoft.com/office/drawing/2014/main" id="{C0EB4325-B597-1C58-3C1F-B3F88BB59FC3}"/>
                </a:ext>
              </a:extLst>
            </p:cNvPr>
            <p:cNvGrpSpPr/>
            <p:nvPr/>
          </p:nvGrpSpPr>
          <p:grpSpPr>
            <a:xfrm>
              <a:off x="5344595" y="2379983"/>
              <a:ext cx="82971" cy="82971"/>
              <a:chOff x="7236884" y="3439984"/>
              <a:chExt cx="108000" cy="108000"/>
            </a:xfrm>
          </p:grpSpPr>
          <p:cxnSp>
            <p:nvCxnSpPr>
              <p:cNvPr id="1465" name="Straight Connector 1464">
                <a:extLst>
                  <a:ext uri="{FF2B5EF4-FFF2-40B4-BE49-F238E27FC236}">
                    <a16:creationId xmlns:a16="http://schemas.microsoft.com/office/drawing/2014/main" id="{52008BCD-0143-9EB8-2055-C6ED2902A1FC}"/>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466" name="Straight Connector 1465">
                <a:extLst>
                  <a:ext uri="{FF2B5EF4-FFF2-40B4-BE49-F238E27FC236}">
                    <a16:creationId xmlns:a16="http://schemas.microsoft.com/office/drawing/2014/main" id="{4CD1EBFB-BCB5-285F-3221-542599A7458D}"/>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467" name="Group 1466">
              <a:extLst>
                <a:ext uri="{FF2B5EF4-FFF2-40B4-BE49-F238E27FC236}">
                  <a16:creationId xmlns:a16="http://schemas.microsoft.com/office/drawing/2014/main" id="{31096528-87C5-EFEC-AAFF-6CE34697AC0C}"/>
                </a:ext>
              </a:extLst>
            </p:cNvPr>
            <p:cNvGrpSpPr/>
            <p:nvPr/>
          </p:nvGrpSpPr>
          <p:grpSpPr>
            <a:xfrm>
              <a:off x="5332689" y="2358402"/>
              <a:ext cx="82971" cy="82971"/>
              <a:chOff x="7236884" y="3439984"/>
              <a:chExt cx="108000" cy="108000"/>
            </a:xfrm>
          </p:grpSpPr>
          <p:cxnSp>
            <p:nvCxnSpPr>
              <p:cNvPr id="1468" name="Straight Connector 1467">
                <a:extLst>
                  <a:ext uri="{FF2B5EF4-FFF2-40B4-BE49-F238E27FC236}">
                    <a16:creationId xmlns:a16="http://schemas.microsoft.com/office/drawing/2014/main" id="{366C29A9-F7F9-2A97-4346-2058BD9F93D5}"/>
                  </a:ext>
                </a:extLst>
              </p:cNvPr>
              <p:cNvCxnSpPr>
                <a:cxnSpLocks/>
              </p:cNvCxnSpPr>
              <p:nvPr/>
            </p:nvCxnSpPr>
            <p:spPr>
              <a:xfrm>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cxnSp>
            <p:nvCxnSpPr>
              <p:cNvPr id="1469" name="Straight Connector 1468">
                <a:extLst>
                  <a:ext uri="{FF2B5EF4-FFF2-40B4-BE49-F238E27FC236}">
                    <a16:creationId xmlns:a16="http://schemas.microsoft.com/office/drawing/2014/main" id="{3930E173-F09D-D9DA-5B86-E962EB2399E4}"/>
                  </a:ext>
                </a:extLst>
              </p:cNvPr>
              <p:cNvCxnSpPr>
                <a:cxnSpLocks/>
              </p:cNvCxnSpPr>
              <p:nvPr/>
            </p:nvCxnSpPr>
            <p:spPr>
              <a:xfrm rot="5400000">
                <a:off x="7290884" y="3439984"/>
                <a:ext cx="0" cy="108000"/>
              </a:xfrm>
              <a:prstGeom prst="line">
                <a:avLst/>
              </a:prstGeom>
              <a:ln w="15875">
                <a:solidFill>
                  <a:srgbClr val="4FAD51"/>
                </a:solidFill>
              </a:ln>
            </p:spPr>
            <p:style>
              <a:lnRef idx="1">
                <a:schemeClr val="accent1"/>
              </a:lnRef>
              <a:fillRef idx="0">
                <a:schemeClr val="accent1"/>
              </a:fillRef>
              <a:effectRef idx="0">
                <a:schemeClr val="accent1"/>
              </a:effectRef>
              <a:fontRef idx="minor">
                <a:schemeClr val="tx1"/>
              </a:fontRef>
            </p:style>
          </p:cxnSp>
        </p:grpSp>
        <p:grpSp>
          <p:nvGrpSpPr>
            <p:cNvPr id="1470" name="Group 1469">
              <a:extLst>
                <a:ext uri="{FF2B5EF4-FFF2-40B4-BE49-F238E27FC236}">
                  <a16:creationId xmlns:a16="http://schemas.microsoft.com/office/drawing/2014/main" id="{ABF92981-CFB3-1D79-9AE5-8A6D951139C1}"/>
                </a:ext>
              </a:extLst>
            </p:cNvPr>
            <p:cNvGrpSpPr/>
            <p:nvPr/>
          </p:nvGrpSpPr>
          <p:grpSpPr>
            <a:xfrm>
              <a:off x="7095873" y="3307929"/>
              <a:ext cx="82971" cy="82971"/>
              <a:chOff x="7236884" y="3439984"/>
              <a:chExt cx="108000" cy="108000"/>
            </a:xfrm>
          </p:grpSpPr>
          <p:cxnSp>
            <p:nvCxnSpPr>
              <p:cNvPr id="1471" name="Straight Connector 1470">
                <a:extLst>
                  <a:ext uri="{FF2B5EF4-FFF2-40B4-BE49-F238E27FC236}">
                    <a16:creationId xmlns:a16="http://schemas.microsoft.com/office/drawing/2014/main" id="{0BFC2D7D-F5E4-619D-1F15-6F4A8651D884}"/>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472" name="Straight Connector 1471">
                <a:extLst>
                  <a:ext uri="{FF2B5EF4-FFF2-40B4-BE49-F238E27FC236}">
                    <a16:creationId xmlns:a16="http://schemas.microsoft.com/office/drawing/2014/main" id="{B8209A3F-4061-1C5D-3CCA-CA05D1385484}"/>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473" name="Group 1472">
              <a:extLst>
                <a:ext uri="{FF2B5EF4-FFF2-40B4-BE49-F238E27FC236}">
                  <a16:creationId xmlns:a16="http://schemas.microsoft.com/office/drawing/2014/main" id="{7C73B039-8546-228E-4387-25EC56708B76}"/>
                </a:ext>
              </a:extLst>
            </p:cNvPr>
            <p:cNvGrpSpPr/>
            <p:nvPr/>
          </p:nvGrpSpPr>
          <p:grpSpPr>
            <a:xfrm>
              <a:off x="6605335" y="3307929"/>
              <a:ext cx="82971" cy="82971"/>
              <a:chOff x="7236884" y="3439984"/>
              <a:chExt cx="108000" cy="108000"/>
            </a:xfrm>
          </p:grpSpPr>
          <p:cxnSp>
            <p:nvCxnSpPr>
              <p:cNvPr id="1474" name="Straight Connector 1473">
                <a:extLst>
                  <a:ext uri="{FF2B5EF4-FFF2-40B4-BE49-F238E27FC236}">
                    <a16:creationId xmlns:a16="http://schemas.microsoft.com/office/drawing/2014/main" id="{FE6D16FF-A295-1310-7F4D-EAF8273298C5}"/>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475" name="Straight Connector 1474">
                <a:extLst>
                  <a:ext uri="{FF2B5EF4-FFF2-40B4-BE49-F238E27FC236}">
                    <a16:creationId xmlns:a16="http://schemas.microsoft.com/office/drawing/2014/main" id="{CA4CB475-E5DE-183E-98F3-E7B457152D15}"/>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476" name="Group 1475">
              <a:extLst>
                <a:ext uri="{FF2B5EF4-FFF2-40B4-BE49-F238E27FC236}">
                  <a16:creationId xmlns:a16="http://schemas.microsoft.com/office/drawing/2014/main" id="{450C19CE-F788-46BF-983A-2A3B144B2FA4}"/>
                </a:ext>
              </a:extLst>
            </p:cNvPr>
            <p:cNvGrpSpPr/>
            <p:nvPr/>
          </p:nvGrpSpPr>
          <p:grpSpPr>
            <a:xfrm>
              <a:off x="6583904" y="3307929"/>
              <a:ext cx="82971" cy="82971"/>
              <a:chOff x="7236884" y="3439984"/>
              <a:chExt cx="108000" cy="108000"/>
            </a:xfrm>
          </p:grpSpPr>
          <p:cxnSp>
            <p:nvCxnSpPr>
              <p:cNvPr id="1477" name="Straight Connector 1476">
                <a:extLst>
                  <a:ext uri="{FF2B5EF4-FFF2-40B4-BE49-F238E27FC236}">
                    <a16:creationId xmlns:a16="http://schemas.microsoft.com/office/drawing/2014/main" id="{54D0799C-388A-CA02-3053-E7754C4E81AD}"/>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478" name="Straight Connector 1477">
                <a:extLst>
                  <a:ext uri="{FF2B5EF4-FFF2-40B4-BE49-F238E27FC236}">
                    <a16:creationId xmlns:a16="http://schemas.microsoft.com/office/drawing/2014/main" id="{FE5CA4CA-4E0B-AE10-CA2F-3EE6B289B76F}"/>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479" name="Group 1478">
              <a:extLst>
                <a:ext uri="{FF2B5EF4-FFF2-40B4-BE49-F238E27FC236}">
                  <a16:creationId xmlns:a16="http://schemas.microsoft.com/office/drawing/2014/main" id="{25E6B1EA-3871-4089-C3A1-2985BEB847B9}"/>
                </a:ext>
              </a:extLst>
            </p:cNvPr>
            <p:cNvGrpSpPr/>
            <p:nvPr/>
          </p:nvGrpSpPr>
          <p:grpSpPr>
            <a:xfrm>
              <a:off x="6474366" y="3307929"/>
              <a:ext cx="82971" cy="82971"/>
              <a:chOff x="7236884" y="3439984"/>
              <a:chExt cx="108000" cy="108000"/>
            </a:xfrm>
          </p:grpSpPr>
          <p:cxnSp>
            <p:nvCxnSpPr>
              <p:cNvPr id="1480" name="Straight Connector 1479">
                <a:extLst>
                  <a:ext uri="{FF2B5EF4-FFF2-40B4-BE49-F238E27FC236}">
                    <a16:creationId xmlns:a16="http://schemas.microsoft.com/office/drawing/2014/main" id="{62C539C2-3C6E-4FBE-35B0-FF240F8572A2}"/>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481" name="Straight Connector 1480">
                <a:extLst>
                  <a:ext uri="{FF2B5EF4-FFF2-40B4-BE49-F238E27FC236}">
                    <a16:creationId xmlns:a16="http://schemas.microsoft.com/office/drawing/2014/main" id="{F85C1CA7-B16C-D12A-96A1-EC4B7AD58732}"/>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482" name="Group 1481">
              <a:extLst>
                <a:ext uri="{FF2B5EF4-FFF2-40B4-BE49-F238E27FC236}">
                  <a16:creationId xmlns:a16="http://schemas.microsoft.com/office/drawing/2014/main" id="{BC4FA88B-2868-1BE1-2EAF-EFC27ED4E71D}"/>
                </a:ext>
              </a:extLst>
            </p:cNvPr>
            <p:cNvGrpSpPr/>
            <p:nvPr/>
          </p:nvGrpSpPr>
          <p:grpSpPr>
            <a:xfrm>
              <a:off x="6467223" y="3307929"/>
              <a:ext cx="82971" cy="82971"/>
              <a:chOff x="7236884" y="3439984"/>
              <a:chExt cx="108000" cy="108000"/>
            </a:xfrm>
          </p:grpSpPr>
          <p:cxnSp>
            <p:nvCxnSpPr>
              <p:cNvPr id="1483" name="Straight Connector 1482">
                <a:extLst>
                  <a:ext uri="{FF2B5EF4-FFF2-40B4-BE49-F238E27FC236}">
                    <a16:creationId xmlns:a16="http://schemas.microsoft.com/office/drawing/2014/main" id="{CC1F8A16-A3E2-FB8B-874B-9AC4E56C7227}"/>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484" name="Straight Connector 1483">
                <a:extLst>
                  <a:ext uri="{FF2B5EF4-FFF2-40B4-BE49-F238E27FC236}">
                    <a16:creationId xmlns:a16="http://schemas.microsoft.com/office/drawing/2014/main" id="{FF04E605-63A6-DE7F-2609-A9E6AE4888EC}"/>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485" name="Group 1484">
              <a:extLst>
                <a:ext uri="{FF2B5EF4-FFF2-40B4-BE49-F238E27FC236}">
                  <a16:creationId xmlns:a16="http://schemas.microsoft.com/office/drawing/2014/main" id="{A26225F1-7E94-F49B-D9F6-1C155102454E}"/>
                </a:ext>
              </a:extLst>
            </p:cNvPr>
            <p:cNvGrpSpPr/>
            <p:nvPr/>
          </p:nvGrpSpPr>
          <p:grpSpPr>
            <a:xfrm>
              <a:off x="6443410" y="3307929"/>
              <a:ext cx="82971" cy="82971"/>
              <a:chOff x="7236884" y="3439984"/>
              <a:chExt cx="108000" cy="108000"/>
            </a:xfrm>
          </p:grpSpPr>
          <p:cxnSp>
            <p:nvCxnSpPr>
              <p:cNvPr id="1486" name="Straight Connector 1485">
                <a:extLst>
                  <a:ext uri="{FF2B5EF4-FFF2-40B4-BE49-F238E27FC236}">
                    <a16:creationId xmlns:a16="http://schemas.microsoft.com/office/drawing/2014/main" id="{9C64EE2C-2AED-8A17-2335-9169921E4EC1}"/>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487" name="Straight Connector 1486">
                <a:extLst>
                  <a:ext uri="{FF2B5EF4-FFF2-40B4-BE49-F238E27FC236}">
                    <a16:creationId xmlns:a16="http://schemas.microsoft.com/office/drawing/2014/main" id="{68ABE5B2-11C5-9743-B829-AEED978BF992}"/>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488" name="Group 1487">
              <a:extLst>
                <a:ext uri="{FF2B5EF4-FFF2-40B4-BE49-F238E27FC236}">
                  <a16:creationId xmlns:a16="http://schemas.microsoft.com/office/drawing/2014/main" id="{FADDE5E7-DE02-1529-5705-18189131C196}"/>
                </a:ext>
              </a:extLst>
            </p:cNvPr>
            <p:cNvGrpSpPr/>
            <p:nvPr/>
          </p:nvGrpSpPr>
          <p:grpSpPr>
            <a:xfrm>
              <a:off x="6391023" y="3307929"/>
              <a:ext cx="82971" cy="82971"/>
              <a:chOff x="7236884" y="3439984"/>
              <a:chExt cx="108000" cy="108000"/>
            </a:xfrm>
          </p:grpSpPr>
          <p:cxnSp>
            <p:nvCxnSpPr>
              <p:cNvPr id="1489" name="Straight Connector 1488">
                <a:extLst>
                  <a:ext uri="{FF2B5EF4-FFF2-40B4-BE49-F238E27FC236}">
                    <a16:creationId xmlns:a16="http://schemas.microsoft.com/office/drawing/2014/main" id="{F7A8E09D-3A58-9E44-E216-B04D012FE5DE}"/>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490" name="Straight Connector 1489">
                <a:extLst>
                  <a:ext uri="{FF2B5EF4-FFF2-40B4-BE49-F238E27FC236}">
                    <a16:creationId xmlns:a16="http://schemas.microsoft.com/office/drawing/2014/main" id="{5B5E17A0-E712-D627-E3BC-20F61F9F45AC}"/>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491" name="Group 1490">
              <a:extLst>
                <a:ext uri="{FF2B5EF4-FFF2-40B4-BE49-F238E27FC236}">
                  <a16:creationId xmlns:a16="http://schemas.microsoft.com/office/drawing/2014/main" id="{121D944E-CDA0-0EA1-A0AF-D41797967C72}"/>
                </a:ext>
              </a:extLst>
            </p:cNvPr>
            <p:cNvGrpSpPr/>
            <p:nvPr/>
          </p:nvGrpSpPr>
          <p:grpSpPr>
            <a:xfrm>
              <a:off x="6281841" y="3307929"/>
              <a:ext cx="82971" cy="82971"/>
              <a:chOff x="7236884" y="3439984"/>
              <a:chExt cx="108000" cy="108000"/>
            </a:xfrm>
          </p:grpSpPr>
          <p:cxnSp>
            <p:nvCxnSpPr>
              <p:cNvPr id="1492" name="Straight Connector 1491">
                <a:extLst>
                  <a:ext uri="{FF2B5EF4-FFF2-40B4-BE49-F238E27FC236}">
                    <a16:creationId xmlns:a16="http://schemas.microsoft.com/office/drawing/2014/main" id="{CA7FF140-598E-431A-BBAA-312DFCBE8989}"/>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493" name="Straight Connector 1492">
                <a:extLst>
                  <a:ext uri="{FF2B5EF4-FFF2-40B4-BE49-F238E27FC236}">
                    <a16:creationId xmlns:a16="http://schemas.microsoft.com/office/drawing/2014/main" id="{2D7B7419-CC6C-0CA2-E50F-6B9821398FAC}"/>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494" name="Group 1493">
              <a:extLst>
                <a:ext uri="{FF2B5EF4-FFF2-40B4-BE49-F238E27FC236}">
                  <a16:creationId xmlns:a16="http://schemas.microsoft.com/office/drawing/2014/main" id="{A5D7E2A0-6B1E-EDC0-08D2-5908F321B21B}"/>
                </a:ext>
              </a:extLst>
            </p:cNvPr>
            <p:cNvGrpSpPr/>
            <p:nvPr/>
          </p:nvGrpSpPr>
          <p:grpSpPr>
            <a:xfrm>
              <a:off x="6253004" y="3307929"/>
              <a:ext cx="82971" cy="82971"/>
              <a:chOff x="7236884" y="3439984"/>
              <a:chExt cx="108000" cy="108000"/>
            </a:xfrm>
          </p:grpSpPr>
          <p:cxnSp>
            <p:nvCxnSpPr>
              <p:cNvPr id="1495" name="Straight Connector 1494">
                <a:extLst>
                  <a:ext uri="{FF2B5EF4-FFF2-40B4-BE49-F238E27FC236}">
                    <a16:creationId xmlns:a16="http://schemas.microsoft.com/office/drawing/2014/main" id="{667A3339-2603-664D-572E-41D330EADFCB}"/>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496" name="Straight Connector 1495">
                <a:extLst>
                  <a:ext uri="{FF2B5EF4-FFF2-40B4-BE49-F238E27FC236}">
                    <a16:creationId xmlns:a16="http://schemas.microsoft.com/office/drawing/2014/main" id="{B6845560-74FC-89FE-1675-33E44FE54EB0}"/>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497" name="Group 1496">
              <a:extLst>
                <a:ext uri="{FF2B5EF4-FFF2-40B4-BE49-F238E27FC236}">
                  <a16:creationId xmlns:a16="http://schemas.microsoft.com/office/drawing/2014/main" id="{FB34B67D-57E9-4C11-87DA-5ED0F3CE93D5}"/>
                </a:ext>
              </a:extLst>
            </p:cNvPr>
            <p:cNvGrpSpPr/>
            <p:nvPr/>
          </p:nvGrpSpPr>
          <p:grpSpPr>
            <a:xfrm>
              <a:off x="6211519" y="3307929"/>
              <a:ext cx="82971" cy="82971"/>
              <a:chOff x="7236884" y="3439984"/>
              <a:chExt cx="108000" cy="108000"/>
            </a:xfrm>
          </p:grpSpPr>
          <p:cxnSp>
            <p:nvCxnSpPr>
              <p:cNvPr id="1498" name="Straight Connector 1497">
                <a:extLst>
                  <a:ext uri="{FF2B5EF4-FFF2-40B4-BE49-F238E27FC236}">
                    <a16:creationId xmlns:a16="http://schemas.microsoft.com/office/drawing/2014/main" id="{521BD4F1-4343-EFA7-A23D-A2D5FE5F522A}"/>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499" name="Straight Connector 1498">
                <a:extLst>
                  <a:ext uri="{FF2B5EF4-FFF2-40B4-BE49-F238E27FC236}">
                    <a16:creationId xmlns:a16="http://schemas.microsoft.com/office/drawing/2014/main" id="{5A655332-0844-CAA4-59A5-97E5187F7966}"/>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500" name="Group 1499">
              <a:extLst>
                <a:ext uri="{FF2B5EF4-FFF2-40B4-BE49-F238E27FC236}">
                  <a16:creationId xmlns:a16="http://schemas.microsoft.com/office/drawing/2014/main" id="{45631DAC-1B51-634B-418A-22B44BF7F399}"/>
                </a:ext>
              </a:extLst>
            </p:cNvPr>
            <p:cNvGrpSpPr/>
            <p:nvPr/>
          </p:nvGrpSpPr>
          <p:grpSpPr>
            <a:xfrm>
              <a:off x="6218299" y="3307929"/>
              <a:ext cx="82971" cy="82971"/>
              <a:chOff x="7236884" y="3439984"/>
              <a:chExt cx="108000" cy="108000"/>
            </a:xfrm>
          </p:grpSpPr>
          <p:cxnSp>
            <p:nvCxnSpPr>
              <p:cNvPr id="1501" name="Straight Connector 1500">
                <a:extLst>
                  <a:ext uri="{FF2B5EF4-FFF2-40B4-BE49-F238E27FC236}">
                    <a16:creationId xmlns:a16="http://schemas.microsoft.com/office/drawing/2014/main" id="{2B25223A-52B3-AEF3-9AFA-7A536B2832EB}"/>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502" name="Straight Connector 1501">
                <a:extLst>
                  <a:ext uri="{FF2B5EF4-FFF2-40B4-BE49-F238E27FC236}">
                    <a16:creationId xmlns:a16="http://schemas.microsoft.com/office/drawing/2014/main" id="{C8058BC8-BDB9-0B60-EAF3-4013333E3C69}"/>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503" name="Group 1502">
              <a:extLst>
                <a:ext uri="{FF2B5EF4-FFF2-40B4-BE49-F238E27FC236}">
                  <a16:creationId xmlns:a16="http://schemas.microsoft.com/office/drawing/2014/main" id="{15321B4B-DEA4-7AF6-7505-7754BE639BBB}"/>
                </a:ext>
              </a:extLst>
            </p:cNvPr>
            <p:cNvGrpSpPr/>
            <p:nvPr/>
          </p:nvGrpSpPr>
          <p:grpSpPr>
            <a:xfrm>
              <a:off x="6185850" y="3303167"/>
              <a:ext cx="82971" cy="82971"/>
              <a:chOff x="7236884" y="3439984"/>
              <a:chExt cx="108000" cy="108000"/>
            </a:xfrm>
          </p:grpSpPr>
          <p:cxnSp>
            <p:nvCxnSpPr>
              <p:cNvPr id="1504" name="Straight Connector 1503">
                <a:extLst>
                  <a:ext uri="{FF2B5EF4-FFF2-40B4-BE49-F238E27FC236}">
                    <a16:creationId xmlns:a16="http://schemas.microsoft.com/office/drawing/2014/main" id="{A19C67F2-E182-7B9B-4226-1D3B31CEED5A}"/>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505" name="Straight Connector 1504">
                <a:extLst>
                  <a:ext uri="{FF2B5EF4-FFF2-40B4-BE49-F238E27FC236}">
                    <a16:creationId xmlns:a16="http://schemas.microsoft.com/office/drawing/2014/main" id="{C1B0179C-EB30-5EE1-4739-EC462A9D25ED}"/>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506" name="Group 1505">
              <a:extLst>
                <a:ext uri="{FF2B5EF4-FFF2-40B4-BE49-F238E27FC236}">
                  <a16:creationId xmlns:a16="http://schemas.microsoft.com/office/drawing/2014/main" id="{897D55C2-C77A-572C-548F-A43F08188508}"/>
                </a:ext>
              </a:extLst>
            </p:cNvPr>
            <p:cNvGrpSpPr/>
            <p:nvPr/>
          </p:nvGrpSpPr>
          <p:grpSpPr>
            <a:xfrm>
              <a:off x="6158810" y="3248635"/>
              <a:ext cx="82971" cy="82971"/>
              <a:chOff x="7236884" y="3439984"/>
              <a:chExt cx="108000" cy="108000"/>
            </a:xfrm>
          </p:grpSpPr>
          <p:cxnSp>
            <p:nvCxnSpPr>
              <p:cNvPr id="1507" name="Straight Connector 1506">
                <a:extLst>
                  <a:ext uri="{FF2B5EF4-FFF2-40B4-BE49-F238E27FC236}">
                    <a16:creationId xmlns:a16="http://schemas.microsoft.com/office/drawing/2014/main" id="{A875212C-9574-ACC8-8A8E-FB8019147E97}"/>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508" name="Straight Connector 1507">
                <a:extLst>
                  <a:ext uri="{FF2B5EF4-FFF2-40B4-BE49-F238E27FC236}">
                    <a16:creationId xmlns:a16="http://schemas.microsoft.com/office/drawing/2014/main" id="{5D478268-5C69-B27C-BB1F-FE11F33EE73A}"/>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509" name="Group 1508">
              <a:extLst>
                <a:ext uri="{FF2B5EF4-FFF2-40B4-BE49-F238E27FC236}">
                  <a16:creationId xmlns:a16="http://schemas.microsoft.com/office/drawing/2014/main" id="{8C230231-03F5-AD9E-331B-F206352EE3DA}"/>
                </a:ext>
              </a:extLst>
            </p:cNvPr>
            <p:cNvGrpSpPr/>
            <p:nvPr/>
          </p:nvGrpSpPr>
          <p:grpSpPr>
            <a:xfrm>
              <a:off x="6173098" y="3248635"/>
              <a:ext cx="82971" cy="82971"/>
              <a:chOff x="7236884" y="3439984"/>
              <a:chExt cx="108000" cy="108000"/>
            </a:xfrm>
          </p:grpSpPr>
          <p:cxnSp>
            <p:nvCxnSpPr>
              <p:cNvPr id="1510" name="Straight Connector 1509">
                <a:extLst>
                  <a:ext uri="{FF2B5EF4-FFF2-40B4-BE49-F238E27FC236}">
                    <a16:creationId xmlns:a16="http://schemas.microsoft.com/office/drawing/2014/main" id="{AD103711-25D3-51B5-1540-B675BF5EFE70}"/>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511" name="Straight Connector 1510">
                <a:extLst>
                  <a:ext uri="{FF2B5EF4-FFF2-40B4-BE49-F238E27FC236}">
                    <a16:creationId xmlns:a16="http://schemas.microsoft.com/office/drawing/2014/main" id="{3BD01F1D-000E-6874-13E0-57B8165CC6BF}"/>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512" name="Group 1511">
              <a:extLst>
                <a:ext uri="{FF2B5EF4-FFF2-40B4-BE49-F238E27FC236}">
                  <a16:creationId xmlns:a16="http://schemas.microsoft.com/office/drawing/2014/main" id="{9480E453-E902-7EAA-535E-25B5D8B89565}"/>
                </a:ext>
              </a:extLst>
            </p:cNvPr>
            <p:cNvGrpSpPr/>
            <p:nvPr/>
          </p:nvGrpSpPr>
          <p:grpSpPr>
            <a:xfrm>
              <a:off x="6104043" y="3243873"/>
              <a:ext cx="82971" cy="82971"/>
              <a:chOff x="7236884" y="3439984"/>
              <a:chExt cx="108000" cy="108000"/>
            </a:xfrm>
          </p:grpSpPr>
          <p:cxnSp>
            <p:nvCxnSpPr>
              <p:cNvPr id="1513" name="Straight Connector 1512">
                <a:extLst>
                  <a:ext uri="{FF2B5EF4-FFF2-40B4-BE49-F238E27FC236}">
                    <a16:creationId xmlns:a16="http://schemas.microsoft.com/office/drawing/2014/main" id="{3B4957FD-5FB9-AF76-98A3-BEF715866414}"/>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514" name="Straight Connector 1513">
                <a:extLst>
                  <a:ext uri="{FF2B5EF4-FFF2-40B4-BE49-F238E27FC236}">
                    <a16:creationId xmlns:a16="http://schemas.microsoft.com/office/drawing/2014/main" id="{F3E85FB0-B52E-45B3-FE79-5CBA00757D9D}"/>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515" name="Group 1514">
              <a:extLst>
                <a:ext uri="{FF2B5EF4-FFF2-40B4-BE49-F238E27FC236}">
                  <a16:creationId xmlns:a16="http://schemas.microsoft.com/office/drawing/2014/main" id="{035387E1-E0BE-D4D2-3DA8-621E95DF9E10}"/>
                </a:ext>
              </a:extLst>
            </p:cNvPr>
            <p:cNvGrpSpPr/>
            <p:nvPr/>
          </p:nvGrpSpPr>
          <p:grpSpPr>
            <a:xfrm>
              <a:off x="6086063" y="3211448"/>
              <a:ext cx="82971" cy="82971"/>
              <a:chOff x="7236884" y="3439984"/>
              <a:chExt cx="108000" cy="108000"/>
            </a:xfrm>
          </p:grpSpPr>
          <p:cxnSp>
            <p:nvCxnSpPr>
              <p:cNvPr id="1516" name="Straight Connector 1515">
                <a:extLst>
                  <a:ext uri="{FF2B5EF4-FFF2-40B4-BE49-F238E27FC236}">
                    <a16:creationId xmlns:a16="http://schemas.microsoft.com/office/drawing/2014/main" id="{93A89A5C-F895-494C-093E-D03F5C4B611A}"/>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517" name="Straight Connector 1516">
                <a:extLst>
                  <a:ext uri="{FF2B5EF4-FFF2-40B4-BE49-F238E27FC236}">
                    <a16:creationId xmlns:a16="http://schemas.microsoft.com/office/drawing/2014/main" id="{1A997C11-D0B7-E9FB-EF4E-17685F3923E7}"/>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518" name="Group 1517">
              <a:extLst>
                <a:ext uri="{FF2B5EF4-FFF2-40B4-BE49-F238E27FC236}">
                  <a16:creationId xmlns:a16="http://schemas.microsoft.com/office/drawing/2014/main" id="{1B327BF2-769C-7F5C-144B-4788A1CC08CF}"/>
                </a:ext>
              </a:extLst>
            </p:cNvPr>
            <p:cNvGrpSpPr/>
            <p:nvPr/>
          </p:nvGrpSpPr>
          <p:grpSpPr>
            <a:xfrm>
              <a:off x="6069394" y="3211448"/>
              <a:ext cx="82971" cy="82971"/>
              <a:chOff x="7236884" y="3439984"/>
              <a:chExt cx="108000" cy="108000"/>
            </a:xfrm>
          </p:grpSpPr>
          <p:cxnSp>
            <p:nvCxnSpPr>
              <p:cNvPr id="1519" name="Straight Connector 1518">
                <a:extLst>
                  <a:ext uri="{FF2B5EF4-FFF2-40B4-BE49-F238E27FC236}">
                    <a16:creationId xmlns:a16="http://schemas.microsoft.com/office/drawing/2014/main" id="{8D7AF9C1-7866-FA66-7AE5-73DC4090603D}"/>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520" name="Straight Connector 1519">
                <a:extLst>
                  <a:ext uri="{FF2B5EF4-FFF2-40B4-BE49-F238E27FC236}">
                    <a16:creationId xmlns:a16="http://schemas.microsoft.com/office/drawing/2014/main" id="{08ADA5B8-06EF-6290-DCC5-BB764A821E7C}"/>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521" name="Group 1520">
              <a:extLst>
                <a:ext uri="{FF2B5EF4-FFF2-40B4-BE49-F238E27FC236}">
                  <a16:creationId xmlns:a16="http://schemas.microsoft.com/office/drawing/2014/main" id="{1461143A-1164-257D-AEE7-B10D3B497018}"/>
                </a:ext>
              </a:extLst>
            </p:cNvPr>
            <p:cNvGrpSpPr/>
            <p:nvPr/>
          </p:nvGrpSpPr>
          <p:grpSpPr>
            <a:xfrm>
              <a:off x="6054512" y="3179842"/>
              <a:ext cx="82971" cy="82971"/>
              <a:chOff x="7236884" y="3439984"/>
              <a:chExt cx="108000" cy="108000"/>
            </a:xfrm>
          </p:grpSpPr>
          <p:cxnSp>
            <p:nvCxnSpPr>
              <p:cNvPr id="1522" name="Straight Connector 1521">
                <a:extLst>
                  <a:ext uri="{FF2B5EF4-FFF2-40B4-BE49-F238E27FC236}">
                    <a16:creationId xmlns:a16="http://schemas.microsoft.com/office/drawing/2014/main" id="{E90CABAF-E023-4828-6DFC-F41B40C14343}"/>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523" name="Straight Connector 1522">
                <a:extLst>
                  <a:ext uri="{FF2B5EF4-FFF2-40B4-BE49-F238E27FC236}">
                    <a16:creationId xmlns:a16="http://schemas.microsoft.com/office/drawing/2014/main" id="{5921C3AE-624B-FC95-4BB8-68DE80C12F83}"/>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524" name="Group 1523">
              <a:extLst>
                <a:ext uri="{FF2B5EF4-FFF2-40B4-BE49-F238E27FC236}">
                  <a16:creationId xmlns:a16="http://schemas.microsoft.com/office/drawing/2014/main" id="{41E13AF6-8EA6-71BD-9650-BEFE2E1FE5D4}"/>
                </a:ext>
              </a:extLst>
            </p:cNvPr>
            <p:cNvGrpSpPr/>
            <p:nvPr/>
          </p:nvGrpSpPr>
          <p:grpSpPr>
            <a:xfrm>
              <a:off x="6044578" y="3144509"/>
              <a:ext cx="82971" cy="82971"/>
              <a:chOff x="7236884" y="3439984"/>
              <a:chExt cx="108000" cy="108000"/>
            </a:xfrm>
          </p:grpSpPr>
          <p:cxnSp>
            <p:nvCxnSpPr>
              <p:cNvPr id="1525" name="Straight Connector 1524">
                <a:extLst>
                  <a:ext uri="{FF2B5EF4-FFF2-40B4-BE49-F238E27FC236}">
                    <a16:creationId xmlns:a16="http://schemas.microsoft.com/office/drawing/2014/main" id="{C0B98744-1C46-5280-D2F6-EE9E8668A53A}"/>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526" name="Straight Connector 1525">
                <a:extLst>
                  <a:ext uri="{FF2B5EF4-FFF2-40B4-BE49-F238E27FC236}">
                    <a16:creationId xmlns:a16="http://schemas.microsoft.com/office/drawing/2014/main" id="{EB4EF03F-F665-BC07-6812-27381CDCB6F4}"/>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527" name="Group 1526">
              <a:extLst>
                <a:ext uri="{FF2B5EF4-FFF2-40B4-BE49-F238E27FC236}">
                  <a16:creationId xmlns:a16="http://schemas.microsoft.com/office/drawing/2014/main" id="{43C3204A-AF29-119B-3A82-0822B5DB5330}"/>
                </a:ext>
              </a:extLst>
            </p:cNvPr>
            <p:cNvGrpSpPr/>
            <p:nvPr/>
          </p:nvGrpSpPr>
          <p:grpSpPr>
            <a:xfrm>
              <a:off x="5992191" y="3142128"/>
              <a:ext cx="82971" cy="82971"/>
              <a:chOff x="7236884" y="3439984"/>
              <a:chExt cx="108000" cy="108000"/>
            </a:xfrm>
          </p:grpSpPr>
          <p:cxnSp>
            <p:nvCxnSpPr>
              <p:cNvPr id="1528" name="Straight Connector 1527">
                <a:extLst>
                  <a:ext uri="{FF2B5EF4-FFF2-40B4-BE49-F238E27FC236}">
                    <a16:creationId xmlns:a16="http://schemas.microsoft.com/office/drawing/2014/main" id="{3102A4C4-74E3-CF19-9A93-AA7114FC3C1D}"/>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529" name="Straight Connector 1528">
                <a:extLst>
                  <a:ext uri="{FF2B5EF4-FFF2-40B4-BE49-F238E27FC236}">
                    <a16:creationId xmlns:a16="http://schemas.microsoft.com/office/drawing/2014/main" id="{69433AD4-937E-DBB4-95E1-885000971338}"/>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530" name="Group 1529">
              <a:extLst>
                <a:ext uri="{FF2B5EF4-FFF2-40B4-BE49-F238E27FC236}">
                  <a16:creationId xmlns:a16="http://schemas.microsoft.com/office/drawing/2014/main" id="{8E5746E3-78BF-E112-7435-D23C6A097535}"/>
                </a:ext>
              </a:extLst>
            </p:cNvPr>
            <p:cNvGrpSpPr/>
            <p:nvPr/>
          </p:nvGrpSpPr>
          <p:grpSpPr>
            <a:xfrm>
              <a:off x="5968378" y="3142128"/>
              <a:ext cx="82971" cy="82971"/>
              <a:chOff x="7236884" y="3439984"/>
              <a:chExt cx="108000" cy="108000"/>
            </a:xfrm>
          </p:grpSpPr>
          <p:cxnSp>
            <p:nvCxnSpPr>
              <p:cNvPr id="1531" name="Straight Connector 1530">
                <a:extLst>
                  <a:ext uri="{FF2B5EF4-FFF2-40B4-BE49-F238E27FC236}">
                    <a16:creationId xmlns:a16="http://schemas.microsoft.com/office/drawing/2014/main" id="{6D9D5556-8400-1CD1-39D0-2A868CBB6D4C}"/>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532" name="Straight Connector 1531">
                <a:extLst>
                  <a:ext uri="{FF2B5EF4-FFF2-40B4-BE49-F238E27FC236}">
                    <a16:creationId xmlns:a16="http://schemas.microsoft.com/office/drawing/2014/main" id="{9F888BAC-DCA7-C585-BEAF-5173FA8EA5E4}"/>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533" name="Group 1532">
              <a:extLst>
                <a:ext uri="{FF2B5EF4-FFF2-40B4-BE49-F238E27FC236}">
                  <a16:creationId xmlns:a16="http://schemas.microsoft.com/office/drawing/2014/main" id="{54ADD6B4-EE8F-C3C2-F339-7B8BA5A6FB11}"/>
                </a:ext>
              </a:extLst>
            </p:cNvPr>
            <p:cNvGrpSpPr/>
            <p:nvPr/>
          </p:nvGrpSpPr>
          <p:grpSpPr>
            <a:xfrm>
              <a:off x="5951709" y="3142128"/>
              <a:ext cx="82971" cy="82971"/>
              <a:chOff x="7236884" y="3439984"/>
              <a:chExt cx="108000" cy="108000"/>
            </a:xfrm>
          </p:grpSpPr>
          <p:cxnSp>
            <p:nvCxnSpPr>
              <p:cNvPr id="1534" name="Straight Connector 1533">
                <a:extLst>
                  <a:ext uri="{FF2B5EF4-FFF2-40B4-BE49-F238E27FC236}">
                    <a16:creationId xmlns:a16="http://schemas.microsoft.com/office/drawing/2014/main" id="{29AF23F3-9A90-055B-3B3A-B31ED798F9C0}"/>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535" name="Straight Connector 1534">
                <a:extLst>
                  <a:ext uri="{FF2B5EF4-FFF2-40B4-BE49-F238E27FC236}">
                    <a16:creationId xmlns:a16="http://schemas.microsoft.com/office/drawing/2014/main" id="{964D49D4-F098-1D4C-CE30-38A963164611}"/>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536" name="Group 1535">
              <a:extLst>
                <a:ext uri="{FF2B5EF4-FFF2-40B4-BE49-F238E27FC236}">
                  <a16:creationId xmlns:a16="http://schemas.microsoft.com/office/drawing/2014/main" id="{579EE890-E822-E094-6DF7-4A802C2457C5}"/>
                </a:ext>
              </a:extLst>
            </p:cNvPr>
            <p:cNvGrpSpPr/>
            <p:nvPr/>
          </p:nvGrpSpPr>
          <p:grpSpPr>
            <a:xfrm>
              <a:off x="5930278" y="3142128"/>
              <a:ext cx="82971" cy="82971"/>
              <a:chOff x="7236884" y="3439984"/>
              <a:chExt cx="108000" cy="108000"/>
            </a:xfrm>
          </p:grpSpPr>
          <p:cxnSp>
            <p:nvCxnSpPr>
              <p:cNvPr id="1537" name="Straight Connector 1536">
                <a:extLst>
                  <a:ext uri="{FF2B5EF4-FFF2-40B4-BE49-F238E27FC236}">
                    <a16:creationId xmlns:a16="http://schemas.microsoft.com/office/drawing/2014/main" id="{28449C6A-7C94-B1B9-EFF9-8D3C6CE64369}"/>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538" name="Straight Connector 1537">
                <a:extLst>
                  <a:ext uri="{FF2B5EF4-FFF2-40B4-BE49-F238E27FC236}">
                    <a16:creationId xmlns:a16="http://schemas.microsoft.com/office/drawing/2014/main" id="{0707556D-EEFB-6278-2CE9-510069BB7D83}"/>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539" name="Group 1538">
              <a:extLst>
                <a:ext uri="{FF2B5EF4-FFF2-40B4-BE49-F238E27FC236}">
                  <a16:creationId xmlns:a16="http://schemas.microsoft.com/office/drawing/2014/main" id="{6C8DA840-256D-278C-04D9-B50648EC91C2}"/>
                </a:ext>
              </a:extLst>
            </p:cNvPr>
            <p:cNvGrpSpPr/>
            <p:nvPr/>
          </p:nvGrpSpPr>
          <p:grpSpPr>
            <a:xfrm>
              <a:off x="5913609" y="3137366"/>
              <a:ext cx="82971" cy="82971"/>
              <a:chOff x="7236884" y="3439984"/>
              <a:chExt cx="108000" cy="108000"/>
            </a:xfrm>
          </p:grpSpPr>
          <p:cxnSp>
            <p:nvCxnSpPr>
              <p:cNvPr id="1540" name="Straight Connector 1539">
                <a:extLst>
                  <a:ext uri="{FF2B5EF4-FFF2-40B4-BE49-F238E27FC236}">
                    <a16:creationId xmlns:a16="http://schemas.microsoft.com/office/drawing/2014/main" id="{614EE108-22E2-9763-A516-C59CDCB22D25}"/>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541" name="Straight Connector 1540">
                <a:extLst>
                  <a:ext uri="{FF2B5EF4-FFF2-40B4-BE49-F238E27FC236}">
                    <a16:creationId xmlns:a16="http://schemas.microsoft.com/office/drawing/2014/main" id="{EBE35F10-7A7C-E0C9-F523-CB25E5BADDB7}"/>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542" name="Group 1541">
              <a:extLst>
                <a:ext uri="{FF2B5EF4-FFF2-40B4-BE49-F238E27FC236}">
                  <a16:creationId xmlns:a16="http://schemas.microsoft.com/office/drawing/2014/main" id="{2158C775-31B2-7E17-2D5C-528BF31DCB47}"/>
                </a:ext>
              </a:extLst>
            </p:cNvPr>
            <p:cNvGrpSpPr/>
            <p:nvPr/>
          </p:nvGrpSpPr>
          <p:grpSpPr>
            <a:xfrm>
              <a:off x="5913609" y="3120542"/>
              <a:ext cx="82971" cy="82971"/>
              <a:chOff x="7236884" y="3439984"/>
              <a:chExt cx="108000" cy="108000"/>
            </a:xfrm>
          </p:grpSpPr>
          <p:cxnSp>
            <p:nvCxnSpPr>
              <p:cNvPr id="1543" name="Straight Connector 1542">
                <a:extLst>
                  <a:ext uri="{FF2B5EF4-FFF2-40B4-BE49-F238E27FC236}">
                    <a16:creationId xmlns:a16="http://schemas.microsoft.com/office/drawing/2014/main" id="{24497E51-7D74-BCC0-CD9D-C67186312F0D}"/>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544" name="Straight Connector 1543">
                <a:extLst>
                  <a:ext uri="{FF2B5EF4-FFF2-40B4-BE49-F238E27FC236}">
                    <a16:creationId xmlns:a16="http://schemas.microsoft.com/office/drawing/2014/main" id="{AF0D4CC4-F878-9210-601E-A357A561E0EC}"/>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545" name="Group 1544">
              <a:extLst>
                <a:ext uri="{FF2B5EF4-FFF2-40B4-BE49-F238E27FC236}">
                  <a16:creationId xmlns:a16="http://schemas.microsoft.com/office/drawing/2014/main" id="{63CFE559-2105-CDC3-2157-2A4CCF0A5962}"/>
                </a:ext>
              </a:extLst>
            </p:cNvPr>
            <p:cNvGrpSpPr/>
            <p:nvPr/>
          </p:nvGrpSpPr>
          <p:grpSpPr>
            <a:xfrm>
              <a:off x="5901703" y="3120542"/>
              <a:ext cx="82971" cy="82971"/>
              <a:chOff x="7236884" y="3439984"/>
              <a:chExt cx="108000" cy="108000"/>
            </a:xfrm>
          </p:grpSpPr>
          <p:cxnSp>
            <p:nvCxnSpPr>
              <p:cNvPr id="1546" name="Straight Connector 1545">
                <a:extLst>
                  <a:ext uri="{FF2B5EF4-FFF2-40B4-BE49-F238E27FC236}">
                    <a16:creationId xmlns:a16="http://schemas.microsoft.com/office/drawing/2014/main" id="{8AD9EC6B-E8C9-C87B-E04B-7BE491F723C1}"/>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547" name="Straight Connector 1546">
                <a:extLst>
                  <a:ext uri="{FF2B5EF4-FFF2-40B4-BE49-F238E27FC236}">
                    <a16:creationId xmlns:a16="http://schemas.microsoft.com/office/drawing/2014/main" id="{2674C355-BA4D-CD9B-155B-979FB3199BD8}"/>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548" name="Group 1547">
              <a:extLst>
                <a:ext uri="{FF2B5EF4-FFF2-40B4-BE49-F238E27FC236}">
                  <a16:creationId xmlns:a16="http://schemas.microsoft.com/office/drawing/2014/main" id="{4CEA3E7F-77AE-B60A-364A-AEBCAA5E607A}"/>
                </a:ext>
              </a:extLst>
            </p:cNvPr>
            <p:cNvGrpSpPr/>
            <p:nvPr/>
          </p:nvGrpSpPr>
          <p:grpSpPr>
            <a:xfrm>
              <a:off x="5885035" y="3120542"/>
              <a:ext cx="82971" cy="82971"/>
              <a:chOff x="7236884" y="3439984"/>
              <a:chExt cx="108000" cy="108000"/>
            </a:xfrm>
          </p:grpSpPr>
          <p:cxnSp>
            <p:nvCxnSpPr>
              <p:cNvPr id="1549" name="Straight Connector 1548">
                <a:extLst>
                  <a:ext uri="{FF2B5EF4-FFF2-40B4-BE49-F238E27FC236}">
                    <a16:creationId xmlns:a16="http://schemas.microsoft.com/office/drawing/2014/main" id="{9C034738-A832-67AC-2392-8DDDE57355B1}"/>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550" name="Straight Connector 1549">
                <a:extLst>
                  <a:ext uri="{FF2B5EF4-FFF2-40B4-BE49-F238E27FC236}">
                    <a16:creationId xmlns:a16="http://schemas.microsoft.com/office/drawing/2014/main" id="{AD895029-CA6E-B0A2-1C83-36A60E82D9CD}"/>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551" name="Group 1550">
              <a:extLst>
                <a:ext uri="{FF2B5EF4-FFF2-40B4-BE49-F238E27FC236}">
                  <a16:creationId xmlns:a16="http://schemas.microsoft.com/office/drawing/2014/main" id="{86904480-71CC-FEFA-FB90-0E5578D4E991}"/>
                </a:ext>
              </a:extLst>
            </p:cNvPr>
            <p:cNvGrpSpPr/>
            <p:nvPr/>
          </p:nvGrpSpPr>
          <p:grpSpPr>
            <a:xfrm>
              <a:off x="5865985" y="3120542"/>
              <a:ext cx="82971" cy="82971"/>
              <a:chOff x="7236884" y="3439984"/>
              <a:chExt cx="108000" cy="108000"/>
            </a:xfrm>
          </p:grpSpPr>
          <p:cxnSp>
            <p:nvCxnSpPr>
              <p:cNvPr id="1552" name="Straight Connector 1551">
                <a:extLst>
                  <a:ext uri="{FF2B5EF4-FFF2-40B4-BE49-F238E27FC236}">
                    <a16:creationId xmlns:a16="http://schemas.microsoft.com/office/drawing/2014/main" id="{C1CA571A-51A4-EFF2-C9BE-392072D3C98D}"/>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553" name="Straight Connector 1552">
                <a:extLst>
                  <a:ext uri="{FF2B5EF4-FFF2-40B4-BE49-F238E27FC236}">
                    <a16:creationId xmlns:a16="http://schemas.microsoft.com/office/drawing/2014/main" id="{5D52FC4E-ABDA-A246-0991-F8D2DFF9B2D4}"/>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554" name="Group 1553">
              <a:extLst>
                <a:ext uri="{FF2B5EF4-FFF2-40B4-BE49-F238E27FC236}">
                  <a16:creationId xmlns:a16="http://schemas.microsoft.com/office/drawing/2014/main" id="{6C7EC084-A116-156A-4EBD-28D2CB9DA81B}"/>
                </a:ext>
              </a:extLst>
            </p:cNvPr>
            <p:cNvGrpSpPr/>
            <p:nvPr/>
          </p:nvGrpSpPr>
          <p:grpSpPr>
            <a:xfrm>
              <a:off x="5820741" y="3096871"/>
              <a:ext cx="82971" cy="82971"/>
              <a:chOff x="7236884" y="3439984"/>
              <a:chExt cx="108000" cy="108000"/>
            </a:xfrm>
          </p:grpSpPr>
          <p:cxnSp>
            <p:nvCxnSpPr>
              <p:cNvPr id="1555" name="Straight Connector 1554">
                <a:extLst>
                  <a:ext uri="{FF2B5EF4-FFF2-40B4-BE49-F238E27FC236}">
                    <a16:creationId xmlns:a16="http://schemas.microsoft.com/office/drawing/2014/main" id="{F520C865-9BB3-990A-A4D9-80168BF47ADA}"/>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556" name="Straight Connector 1555">
                <a:extLst>
                  <a:ext uri="{FF2B5EF4-FFF2-40B4-BE49-F238E27FC236}">
                    <a16:creationId xmlns:a16="http://schemas.microsoft.com/office/drawing/2014/main" id="{BED52301-AC0B-47F7-2692-B81FE47646EA}"/>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557" name="Group 1556">
              <a:extLst>
                <a:ext uri="{FF2B5EF4-FFF2-40B4-BE49-F238E27FC236}">
                  <a16:creationId xmlns:a16="http://schemas.microsoft.com/office/drawing/2014/main" id="{9844701E-D96C-81E0-A3B2-39F1C775A6DE}"/>
                </a:ext>
              </a:extLst>
            </p:cNvPr>
            <p:cNvGrpSpPr/>
            <p:nvPr/>
          </p:nvGrpSpPr>
          <p:grpSpPr>
            <a:xfrm>
              <a:off x="5794548" y="3092109"/>
              <a:ext cx="82971" cy="82971"/>
              <a:chOff x="7236884" y="3439984"/>
              <a:chExt cx="108000" cy="108000"/>
            </a:xfrm>
          </p:grpSpPr>
          <p:cxnSp>
            <p:nvCxnSpPr>
              <p:cNvPr id="1558" name="Straight Connector 1557">
                <a:extLst>
                  <a:ext uri="{FF2B5EF4-FFF2-40B4-BE49-F238E27FC236}">
                    <a16:creationId xmlns:a16="http://schemas.microsoft.com/office/drawing/2014/main" id="{F54E26E5-C4D9-AF9E-3199-5BB42262DB79}"/>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559" name="Straight Connector 1558">
                <a:extLst>
                  <a:ext uri="{FF2B5EF4-FFF2-40B4-BE49-F238E27FC236}">
                    <a16:creationId xmlns:a16="http://schemas.microsoft.com/office/drawing/2014/main" id="{8585B58D-1D28-9F01-CF03-9A60085B6C37}"/>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560" name="Group 1559">
              <a:extLst>
                <a:ext uri="{FF2B5EF4-FFF2-40B4-BE49-F238E27FC236}">
                  <a16:creationId xmlns:a16="http://schemas.microsoft.com/office/drawing/2014/main" id="{C2638729-7014-52EC-1D6E-530FEF593111}"/>
                </a:ext>
              </a:extLst>
            </p:cNvPr>
            <p:cNvGrpSpPr/>
            <p:nvPr/>
          </p:nvGrpSpPr>
          <p:grpSpPr>
            <a:xfrm>
              <a:off x="5777880" y="3086895"/>
              <a:ext cx="82971" cy="82971"/>
              <a:chOff x="7236884" y="3439984"/>
              <a:chExt cx="108000" cy="108000"/>
            </a:xfrm>
          </p:grpSpPr>
          <p:cxnSp>
            <p:nvCxnSpPr>
              <p:cNvPr id="1561" name="Straight Connector 1560">
                <a:extLst>
                  <a:ext uri="{FF2B5EF4-FFF2-40B4-BE49-F238E27FC236}">
                    <a16:creationId xmlns:a16="http://schemas.microsoft.com/office/drawing/2014/main" id="{AF1BAE40-DFD3-C19F-1304-7FF51417D3CF}"/>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562" name="Straight Connector 1561">
                <a:extLst>
                  <a:ext uri="{FF2B5EF4-FFF2-40B4-BE49-F238E27FC236}">
                    <a16:creationId xmlns:a16="http://schemas.microsoft.com/office/drawing/2014/main" id="{4EE21E2B-94B7-35A1-8D5E-BE07FBFDFFB9}"/>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563" name="Group 1562">
              <a:extLst>
                <a:ext uri="{FF2B5EF4-FFF2-40B4-BE49-F238E27FC236}">
                  <a16:creationId xmlns:a16="http://schemas.microsoft.com/office/drawing/2014/main" id="{02AEAD23-E905-47F5-619E-4BBB760F9BAA}"/>
                </a:ext>
              </a:extLst>
            </p:cNvPr>
            <p:cNvGrpSpPr/>
            <p:nvPr/>
          </p:nvGrpSpPr>
          <p:grpSpPr>
            <a:xfrm>
              <a:off x="5756448" y="3056639"/>
              <a:ext cx="82971" cy="82971"/>
              <a:chOff x="7236884" y="3439984"/>
              <a:chExt cx="108000" cy="108000"/>
            </a:xfrm>
          </p:grpSpPr>
          <p:cxnSp>
            <p:nvCxnSpPr>
              <p:cNvPr id="1564" name="Straight Connector 1563">
                <a:extLst>
                  <a:ext uri="{FF2B5EF4-FFF2-40B4-BE49-F238E27FC236}">
                    <a16:creationId xmlns:a16="http://schemas.microsoft.com/office/drawing/2014/main" id="{A4954241-EF93-A4CB-23A6-988E527CE68E}"/>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565" name="Straight Connector 1564">
                <a:extLst>
                  <a:ext uri="{FF2B5EF4-FFF2-40B4-BE49-F238E27FC236}">
                    <a16:creationId xmlns:a16="http://schemas.microsoft.com/office/drawing/2014/main" id="{6B4ED541-2E8A-DF99-6537-C8FF62F2150F}"/>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566" name="Group 1565">
              <a:extLst>
                <a:ext uri="{FF2B5EF4-FFF2-40B4-BE49-F238E27FC236}">
                  <a16:creationId xmlns:a16="http://schemas.microsoft.com/office/drawing/2014/main" id="{26564AE0-964F-1466-B8F6-A0FFD9200819}"/>
                </a:ext>
              </a:extLst>
            </p:cNvPr>
            <p:cNvGrpSpPr/>
            <p:nvPr/>
          </p:nvGrpSpPr>
          <p:grpSpPr>
            <a:xfrm>
              <a:off x="5733869" y="3029541"/>
              <a:ext cx="82971" cy="82971"/>
              <a:chOff x="7236884" y="3439984"/>
              <a:chExt cx="108000" cy="108000"/>
            </a:xfrm>
          </p:grpSpPr>
          <p:cxnSp>
            <p:nvCxnSpPr>
              <p:cNvPr id="1567" name="Straight Connector 1566">
                <a:extLst>
                  <a:ext uri="{FF2B5EF4-FFF2-40B4-BE49-F238E27FC236}">
                    <a16:creationId xmlns:a16="http://schemas.microsoft.com/office/drawing/2014/main" id="{BE430D2A-9EFD-44C7-681D-64305CEB493E}"/>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568" name="Straight Connector 1567">
                <a:extLst>
                  <a:ext uri="{FF2B5EF4-FFF2-40B4-BE49-F238E27FC236}">
                    <a16:creationId xmlns:a16="http://schemas.microsoft.com/office/drawing/2014/main" id="{F25F2C1B-8607-8871-1BDB-7DBC09B7DCF5}"/>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569" name="Group 1568">
              <a:extLst>
                <a:ext uri="{FF2B5EF4-FFF2-40B4-BE49-F238E27FC236}">
                  <a16:creationId xmlns:a16="http://schemas.microsoft.com/office/drawing/2014/main" id="{57CFA62C-CEC3-3AFE-2A0D-5FF9E05BEAAC}"/>
                </a:ext>
              </a:extLst>
            </p:cNvPr>
            <p:cNvGrpSpPr/>
            <p:nvPr/>
          </p:nvGrpSpPr>
          <p:grpSpPr>
            <a:xfrm>
              <a:off x="5733869" y="3037571"/>
              <a:ext cx="82971" cy="82971"/>
              <a:chOff x="7236884" y="3439984"/>
              <a:chExt cx="108000" cy="108000"/>
            </a:xfrm>
          </p:grpSpPr>
          <p:cxnSp>
            <p:nvCxnSpPr>
              <p:cNvPr id="1570" name="Straight Connector 1569">
                <a:extLst>
                  <a:ext uri="{FF2B5EF4-FFF2-40B4-BE49-F238E27FC236}">
                    <a16:creationId xmlns:a16="http://schemas.microsoft.com/office/drawing/2014/main" id="{F4A72037-2967-F298-2036-CFA8764167D6}"/>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571" name="Straight Connector 1570">
                <a:extLst>
                  <a:ext uri="{FF2B5EF4-FFF2-40B4-BE49-F238E27FC236}">
                    <a16:creationId xmlns:a16="http://schemas.microsoft.com/office/drawing/2014/main" id="{F2207902-94EB-9647-ECFB-83AF1A09F9B6}"/>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572" name="Group 1571">
              <a:extLst>
                <a:ext uri="{FF2B5EF4-FFF2-40B4-BE49-F238E27FC236}">
                  <a16:creationId xmlns:a16="http://schemas.microsoft.com/office/drawing/2014/main" id="{185FD433-84B0-9905-D408-B2A9E7FF73C4}"/>
                </a:ext>
              </a:extLst>
            </p:cNvPr>
            <p:cNvGrpSpPr/>
            <p:nvPr/>
          </p:nvGrpSpPr>
          <p:grpSpPr>
            <a:xfrm>
              <a:off x="5721964" y="3026408"/>
              <a:ext cx="82971" cy="82971"/>
              <a:chOff x="7236884" y="3439984"/>
              <a:chExt cx="108000" cy="108000"/>
            </a:xfrm>
          </p:grpSpPr>
          <p:cxnSp>
            <p:nvCxnSpPr>
              <p:cNvPr id="1573" name="Straight Connector 1572">
                <a:extLst>
                  <a:ext uri="{FF2B5EF4-FFF2-40B4-BE49-F238E27FC236}">
                    <a16:creationId xmlns:a16="http://schemas.microsoft.com/office/drawing/2014/main" id="{EC16EBD0-E9F2-8EC0-71E2-FA02D2313908}"/>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574" name="Straight Connector 1573">
                <a:extLst>
                  <a:ext uri="{FF2B5EF4-FFF2-40B4-BE49-F238E27FC236}">
                    <a16:creationId xmlns:a16="http://schemas.microsoft.com/office/drawing/2014/main" id="{3E12D39C-D2F4-AD45-B9F0-992E784B8CCB}"/>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575" name="Group 1574">
              <a:extLst>
                <a:ext uri="{FF2B5EF4-FFF2-40B4-BE49-F238E27FC236}">
                  <a16:creationId xmlns:a16="http://schemas.microsoft.com/office/drawing/2014/main" id="{3A47D5A0-629F-09DF-70C1-C0BB23FB7D4C}"/>
                </a:ext>
              </a:extLst>
            </p:cNvPr>
            <p:cNvGrpSpPr/>
            <p:nvPr/>
          </p:nvGrpSpPr>
          <p:grpSpPr>
            <a:xfrm>
              <a:off x="5682859" y="2990876"/>
              <a:ext cx="82971" cy="82971"/>
              <a:chOff x="7236884" y="3439984"/>
              <a:chExt cx="108000" cy="108000"/>
            </a:xfrm>
          </p:grpSpPr>
          <p:cxnSp>
            <p:nvCxnSpPr>
              <p:cNvPr id="1576" name="Straight Connector 1575">
                <a:extLst>
                  <a:ext uri="{FF2B5EF4-FFF2-40B4-BE49-F238E27FC236}">
                    <a16:creationId xmlns:a16="http://schemas.microsoft.com/office/drawing/2014/main" id="{CF1ACFD1-1728-448E-679D-C183008B318F}"/>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577" name="Straight Connector 1576">
                <a:extLst>
                  <a:ext uri="{FF2B5EF4-FFF2-40B4-BE49-F238E27FC236}">
                    <a16:creationId xmlns:a16="http://schemas.microsoft.com/office/drawing/2014/main" id="{274662DD-8649-D355-BC6F-E610E1382FBF}"/>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578" name="Group 1577">
              <a:extLst>
                <a:ext uri="{FF2B5EF4-FFF2-40B4-BE49-F238E27FC236}">
                  <a16:creationId xmlns:a16="http://schemas.microsoft.com/office/drawing/2014/main" id="{5973FB59-5E72-D375-86F6-686DAC7DB4AF}"/>
                </a:ext>
              </a:extLst>
            </p:cNvPr>
            <p:cNvGrpSpPr/>
            <p:nvPr/>
          </p:nvGrpSpPr>
          <p:grpSpPr>
            <a:xfrm>
              <a:off x="5665944" y="2964395"/>
              <a:ext cx="82971" cy="82971"/>
              <a:chOff x="7236884" y="3439984"/>
              <a:chExt cx="108000" cy="108000"/>
            </a:xfrm>
          </p:grpSpPr>
          <p:cxnSp>
            <p:nvCxnSpPr>
              <p:cNvPr id="1579" name="Straight Connector 1578">
                <a:extLst>
                  <a:ext uri="{FF2B5EF4-FFF2-40B4-BE49-F238E27FC236}">
                    <a16:creationId xmlns:a16="http://schemas.microsoft.com/office/drawing/2014/main" id="{90A005B5-45FE-EB91-9269-99B555248C56}"/>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580" name="Straight Connector 1579">
                <a:extLst>
                  <a:ext uri="{FF2B5EF4-FFF2-40B4-BE49-F238E27FC236}">
                    <a16:creationId xmlns:a16="http://schemas.microsoft.com/office/drawing/2014/main" id="{7F17054C-8388-118C-B92F-0E2235645203}"/>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581" name="Group 1580">
              <a:extLst>
                <a:ext uri="{FF2B5EF4-FFF2-40B4-BE49-F238E27FC236}">
                  <a16:creationId xmlns:a16="http://schemas.microsoft.com/office/drawing/2014/main" id="{911D67CD-B289-A23F-A785-587FC6272463}"/>
                </a:ext>
              </a:extLst>
            </p:cNvPr>
            <p:cNvGrpSpPr/>
            <p:nvPr/>
          </p:nvGrpSpPr>
          <p:grpSpPr>
            <a:xfrm>
              <a:off x="5638744" y="2939469"/>
              <a:ext cx="82971" cy="82971"/>
              <a:chOff x="7236884" y="3439984"/>
              <a:chExt cx="108000" cy="108000"/>
            </a:xfrm>
          </p:grpSpPr>
          <p:cxnSp>
            <p:nvCxnSpPr>
              <p:cNvPr id="1582" name="Straight Connector 1581">
                <a:extLst>
                  <a:ext uri="{FF2B5EF4-FFF2-40B4-BE49-F238E27FC236}">
                    <a16:creationId xmlns:a16="http://schemas.microsoft.com/office/drawing/2014/main" id="{D2FA2070-6CA4-8089-E35B-B8BC4131AFF5}"/>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583" name="Straight Connector 1582">
                <a:extLst>
                  <a:ext uri="{FF2B5EF4-FFF2-40B4-BE49-F238E27FC236}">
                    <a16:creationId xmlns:a16="http://schemas.microsoft.com/office/drawing/2014/main" id="{95C7FEE9-9789-E6C9-8BFE-84730F81364E}"/>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584" name="Group 1583">
              <a:extLst>
                <a:ext uri="{FF2B5EF4-FFF2-40B4-BE49-F238E27FC236}">
                  <a16:creationId xmlns:a16="http://schemas.microsoft.com/office/drawing/2014/main" id="{3C6B3AF8-ACD7-8580-6683-C59E442FBCDF}"/>
                </a:ext>
              </a:extLst>
            </p:cNvPr>
            <p:cNvGrpSpPr/>
            <p:nvPr/>
          </p:nvGrpSpPr>
          <p:grpSpPr>
            <a:xfrm>
              <a:off x="5617315" y="2895486"/>
              <a:ext cx="82971" cy="82971"/>
              <a:chOff x="7236884" y="3439984"/>
              <a:chExt cx="108000" cy="108000"/>
            </a:xfrm>
          </p:grpSpPr>
          <p:cxnSp>
            <p:nvCxnSpPr>
              <p:cNvPr id="1585" name="Straight Connector 1584">
                <a:extLst>
                  <a:ext uri="{FF2B5EF4-FFF2-40B4-BE49-F238E27FC236}">
                    <a16:creationId xmlns:a16="http://schemas.microsoft.com/office/drawing/2014/main" id="{560C7AB0-5AE3-90DF-6E84-CC8331F01544}"/>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586" name="Straight Connector 1585">
                <a:extLst>
                  <a:ext uri="{FF2B5EF4-FFF2-40B4-BE49-F238E27FC236}">
                    <a16:creationId xmlns:a16="http://schemas.microsoft.com/office/drawing/2014/main" id="{1FEB7321-0DF6-741C-389A-4D475A759411}"/>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587" name="Group 1586">
              <a:extLst>
                <a:ext uri="{FF2B5EF4-FFF2-40B4-BE49-F238E27FC236}">
                  <a16:creationId xmlns:a16="http://schemas.microsoft.com/office/drawing/2014/main" id="{489096D4-007D-9A49-13E2-8277BD7FD936}"/>
                </a:ext>
              </a:extLst>
            </p:cNvPr>
            <p:cNvGrpSpPr/>
            <p:nvPr/>
          </p:nvGrpSpPr>
          <p:grpSpPr>
            <a:xfrm>
              <a:off x="5582973" y="2879029"/>
              <a:ext cx="82971" cy="82971"/>
              <a:chOff x="7236884" y="3439984"/>
              <a:chExt cx="108000" cy="108000"/>
            </a:xfrm>
          </p:grpSpPr>
          <p:cxnSp>
            <p:nvCxnSpPr>
              <p:cNvPr id="1588" name="Straight Connector 1587">
                <a:extLst>
                  <a:ext uri="{FF2B5EF4-FFF2-40B4-BE49-F238E27FC236}">
                    <a16:creationId xmlns:a16="http://schemas.microsoft.com/office/drawing/2014/main" id="{75DEFC6B-CB25-1E03-7659-9EBB547C59D1}"/>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589" name="Straight Connector 1588">
                <a:extLst>
                  <a:ext uri="{FF2B5EF4-FFF2-40B4-BE49-F238E27FC236}">
                    <a16:creationId xmlns:a16="http://schemas.microsoft.com/office/drawing/2014/main" id="{6C7DE869-909A-59B8-A281-04421C4F3CF5}"/>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590" name="Group 1589">
              <a:extLst>
                <a:ext uri="{FF2B5EF4-FFF2-40B4-BE49-F238E27FC236}">
                  <a16:creationId xmlns:a16="http://schemas.microsoft.com/office/drawing/2014/main" id="{F6297896-987E-1DC2-A607-FC6AE5CEF8D6}"/>
                </a:ext>
              </a:extLst>
            </p:cNvPr>
            <p:cNvGrpSpPr/>
            <p:nvPr/>
          </p:nvGrpSpPr>
          <p:grpSpPr>
            <a:xfrm>
              <a:off x="5559161" y="2879029"/>
              <a:ext cx="82971" cy="82971"/>
              <a:chOff x="7236884" y="3439984"/>
              <a:chExt cx="108000" cy="108000"/>
            </a:xfrm>
          </p:grpSpPr>
          <p:cxnSp>
            <p:nvCxnSpPr>
              <p:cNvPr id="1591" name="Straight Connector 1590">
                <a:extLst>
                  <a:ext uri="{FF2B5EF4-FFF2-40B4-BE49-F238E27FC236}">
                    <a16:creationId xmlns:a16="http://schemas.microsoft.com/office/drawing/2014/main" id="{711B5486-7933-B65E-8BCB-BC948C1CEE34}"/>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592" name="Straight Connector 1591">
                <a:extLst>
                  <a:ext uri="{FF2B5EF4-FFF2-40B4-BE49-F238E27FC236}">
                    <a16:creationId xmlns:a16="http://schemas.microsoft.com/office/drawing/2014/main" id="{E8E216A6-D637-3E88-222A-5918DA8491E8}"/>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593" name="Group 1592">
              <a:extLst>
                <a:ext uri="{FF2B5EF4-FFF2-40B4-BE49-F238E27FC236}">
                  <a16:creationId xmlns:a16="http://schemas.microsoft.com/office/drawing/2014/main" id="{57AEB4B5-E4B5-02FD-652B-A5A682F0C18E}"/>
                </a:ext>
              </a:extLst>
            </p:cNvPr>
            <p:cNvGrpSpPr/>
            <p:nvPr/>
          </p:nvGrpSpPr>
          <p:grpSpPr>
            <a:xfrm>
              <a:off x="5540111" y="2879029"/>
              <a:ext cx="82971" cy="82971"/>
              <a:chOff x="7236884" y="3439984"/>
              <a:chExt cx="108000" cy="108000"/>
            </a:xfrm>
          </p:grpSpPr>
          <p:cxnSp>
            <p:nvCxnSpPr>
              <p:cNvPr id="1594" name="Straight Connector 1593">
                <a:extLst>
                  <a:ext uri="{FF2B5EF4-FFF2-40B4-BE49-F238E27FC236}">
                    <a16:creationId xmlns:a16="http://schemas.microsoft.com/office/drawing/2014/main" id="{7D9CB751-BE01-9336-758F-B14F18693B6C}"/>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595" name="Straight Connector 1594">
                <a:extLst>
                  <a:ext uri="{FF2B5EF4-FFF2-40B4-BE49-F238E27FC236}">
                    <a16:creationId xmlns:a16="http://schemas.microsoft.com/office/drawing/2014/main" id="{4D81A9D0-89BE-677E-1740-2B4FBEE0DE57}"/>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596" name="Group 1595">
              <a:extLst>
                <a:ext uri="{FF2B5EF4-FFF2-40B4-BE49-F238E27FC236}">
                  <a16:creationId xmlns:a16="http://schemas.microsoft.com/office/drawing/2014/main" id="{28D65056-8239-70C1-5F5D-98EED2BE4CD8}"/>
                </a:ext>
              </a:extLst>
            </p:cNvPr>
            <p:cNvGrpSpPr/>
            <p:nvPr/>
          </p:nvGrpSpPr>
          <p:grpSpPr>
            <a:xfrm>
              <a:off x="5520220" y="2862318"/>
              <a:ext cx="82971" cy="82971"/>
              <a:chOff x="7236884" y="3439984"/>
              <a:chExt cx="108000" cy="108000"/>
            </a:xfrm>
          </p:grpSpPr>
          <p:cxnSp>
            <p:nvCxnSpPr>
              <p:cNvPr id="1597" name="Straight Connector 1596">
                <a:extLst>
                  <a:ext uri="{FF2B5EF4-FFF2-40B4-BE49-F238E27FC236}">
                    <a16:creationId xmlns:a16="http://schemas.microsoft.com/office/drawing/2014/main" id="{2D23A269-EB58-186A-17FA-451FB38C52F7}"/>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598" name="Straight Connector 1597">
                <a:extLst>
                  <a:ext uri="{FF2B5EF4-FFF2-40B4-BE49-F238E27FC236}">
                    <a16:creationId xmlns:a16="http://schemas.microsoft.com/office/drawing/2014/main" id="{13E3EF03-1183-B2F8-0BEF-43A512B01DA4}"/>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599" name="Group 1598">
              <a:extLst>
                <a:ext uri="{FF2B5EF4-FFF2-40B4-BE49-F238E27FC236}">
                  <a16:creationId xmlns:a16="http://schemas.microsoft.com/office/drawing/2014/main" id="{FBBC7AC4-4781-8B6B-53BE-63B7E6D4BD7E}"/>
                </a:ext>
              </a:extLst>
            </p:cNvPr>
            <p:cNvGrpSpPr/>
            <p:nvPr/>
          </p:nvGrpSpPr>
          <p:grpSpPr>
            <a:xfrm>
              <a:off x="5513077" y="2844687"/>
              <a:ext cx="82971" cy="82971"/>
              <a:chOff x="7236884" y="3439984"/>
              <a:chExt cx="108000" cy="108000"/>
            </a:xfrm>
          </p:grpSpPr>
          <p:cxnSp>
            <p:nvCxnSpPr>
              <p:cNvPr id="1600" name="Straight Connector 1599">
                <a:extLst>
                  <a:ext uri="{FF2B5EF4-FFF2-40B4-BE49-F238E27FC236}">
                    <a16:creationId xmlns:a16="http://schemas.microsoft.com/office/drawing/2014/main" id="{F47B19B8-B429-040F-612F-25655BC54C65}"/>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601" name="Straight Connector 1600">
                <a:extLst>
                  <a:ext uri="{FF2B5EF4-FFF2-40B4-BE49-F238E27FC236}">
                    <a16:creationId xmlns:a16="http://schemas.microsoft.com/office/drawing/2014/main" id="{3B56D221-4B3E-AA3F-1425-0AAE9A0F92CC}"/>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602" name="Group 1601">
              <a:extLst>
                <a:ext uri="{FF2B5EF4-FFF2-40B4-BE49-F238E27FC236}">
                  <a16:creationId xmlns:a16="http://schemas.microsoft.com/office/drawing/2014/main" id="{E8E2F9A1-3AA1-35D9-BDD8-B8234D85C943}"/>
                </a:ext>
              </a:extLst>
            </p:cNvPr>
            <p:cNvGrpSpPr/>
            <p:nvPr/>
          </p:nvGrpSpPr>
          <p:grpSpPr>
            <a:xfrm>
              <a:off x="5484985" y="2804391"/>
              <a:ext cx="82971" cy="82971"/>
              <a:chOff x="7236884" y="3439984"/>
              <a:chExt cx="108000" cy="108000"/>
            </a:xfrm>
          </p:grpSpPr>
          <p:cxnSp>
            <p:nvCxnSpPr>
              <p:cNvPr id="1603" name="Straight Connector 1602">
                <a:extLst>
                  <a:ext uri="{FF2B5EF4-FFF2-40B4-BE49-F238E27FC236}">
                    <a16:creationId xmlns:a16="http://schemas.microsoft.com/office/drawing/2014/main" id="{331DD1FC-3996-7475-1197-5F100E248282}"/>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604" name="Straight Connector 1603">
                <a:extLst>
                  <a:ext uri="{FF2B5EF4-FFF2-40B4-BE49-F238E27FC236}">
                    <a16:creationId xmlns:a16="http://schemas.microsoft.com/office/drawing/2014/main" id="{AF72D034-A02D-40B0-8DE3-79A9FB69B6AB}"/>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605" name="Group 1604">
              <a:extLst>
                <a:ext uri="{FF2B5EF4-FFF2-40B4-BE49-F238E27FC236}">
                  <a16:creationId xmlns:a16="http://schemas.microsoft.com/office/drawing/2014/main" id="{C7E2861E-442B-006F-4E13-136CB4368F85}"/>
                </a:ext>
              </a:extLst>
            </p:cNvPr>
            <p:cNvGrpSpPr/>
            <p:nvPr/>
          </p:nvGrpSpPr>
          <p:grpSpPr>
            <a:xfrm>
              <a:off x="5484985" y="2790103"/>
              <a:ext cx="82971" cy="82971"/>
              <a:chOff x="7236884" y="3439984"/>
              <a:chExt cx="108000" cy="108000"/>
            </a:xfrm>
          </p:grpSpPr>
          <p:cxnSp>
            <p:nvCxnSpPr>
              <p:cNvPr id="1606" name="Straight Connector 1605">
                <a:extLst>
                  <a:ext uri="{FF2B5EF4-FFF2-40B4-BE49-F238E27FC236}">
                    <a16:creationId xmlns:a16="http://schemas.microsoft.com/office/drawing/2014/main" id="{D42B2EC1-BB97-DB07-6345-0D35BB7C7A75}"/>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607" name="Straight Connector 1606">
                <a:extLst>
                  <a:ext uri="{FF2B5EF4-FFF2-40B4-BE49-F238E27FC236}">
                    <a16:creationId xmlns:a16="http://schemas.microsoft.com/office/drawing/2014/main" id="{EAD2DE69-ABFD-F88B-10AA-B98E7C2DBBF4}"/>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608" name="Group 1607">
              <a:extLst>
                <a:ext uri="{FF2B5EF4-FFF2-40B4-BE49-F238E27FC236}">
                  <a16:creationId xmlns:a16="http://schemas.microsoft.com/office/drawing/2014/main" id="{B8819381-7678-4E6B-A426-C6F77617110E}"/>
                </a:ext>
              </a:extLst>
            </p:cNvPr>
            <p:cNvGrpSpPr/>
            <p:nvPr/>
          </p:nvGrpSpPr>
          <p:grpSpPr>
            <a:xfrm>
              <a:off x="5471592" y="2766741"/>
              <a:ext cx="82971" cy="82971"/>
              <a:chOff x="7236884" y="3439984"/>
              <a:chExt cx="108000" cy="108000"/>
            </a:xfrm>
          </p:grpSpPr>
          <p:cxnSp>
            <p:nvCxnSpPr>
              <p:cNvPr id="1609" name="Straight Connector 1608">
                <a:extLst>
                  <a:ext uri="{FF2B5EF4-FFF2-40B4-BE49-F238E27FC236}">
                    <a16:creationId xmlns:a16="http://schemas.microsoft.com/office/drawing/2014/main" id="{B987B2BF-9EDE-B3F6-EACF-0627EA36BC8B}"/>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610" name="Straight Connector 1609">
                <a:extLst>
                  <a:ext uri="{FF2B5EF4-FFF2-40B4-BE49-F238E27FC236}">
                    <a16:creationId xmlns:a16="http://schemas.microsoft.com/office/drawing/2014/main" id="{97EFBA27-97D3-E454-499A-A6BE0AC0FD34}"/>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611" name="Group 1610">
              <a:extLst>
                <a:ext uri="{FF2B5EF4-FFF2-40B4-BE49-F238E27FC236}">
                  <a16:creationId xmlns:a16="http://schemas.microsoft.com/office/drawing/2014/main" id="{7052ADC4-AB5D-E3B3-0A1C-A071809E20E5}"/>
                </a:ext>
              </a:extLst>
            </p:cNvPr>
            <p:cNvGrpSpPr/>
            <p:nvPr/>
          </p:nvGrpSpPr>
          <p:grpSpPr>
            <a:xfrm>
              <a:off x="5457517" y="2725256"/>
              <a:ext cx="82971" cy="82971"/>
              <a:chOff x="7236884" y="3439984"/>
              <a:chExt cx="108000" cy="108000"/>
            </a:xfrm>
          </p:grpSpPr>
          <p:cxnSp>
            <p:nvCxnSpPr>
              <p:cNvPr id="1612" name="Straight Connector 1611">
                <a:extLst>
                  <a:ext uri="{FF2B5EF4-FFF2-40B4-BE49-F238E27FC236}">
                    <a16:creationId xmlns:a16="http://schemas.microsoft.com/office/drawing/2014/main" id="{D01C9581-3531-0FF0-FBB0-B7D67DE3A280}"/>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613" name="Straight Connector 1612">
                <a:extLst>
                  <a:ext uri="{FF2B5EF4-FFF2-40B4-BE49-F238E27FC236}">
                    <a16:creationId xmlns:a16="http://schemas.microsoft.com/office/drawing/2014/main" id="{E9AD1879-F8D6-B23B-0781-B38D30576F87}"/>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614" name="Group 1613">
              <a:extLst>
                <a:ext uri="{FF2B5EF4-FFF2-40B4-BE49-F238E27FC236}">
                  <a16:creationId xmlns:a16="http://schemas.microsoft.com/office/drawing/2014/main" id="{C2BEAE68-761B-79FE-6BCF-948D978EE156}"/>
                </a:ext>
              </a:extLst>
            </p:cNvPr>
            <p:cNvGrpSpPr/>
            <p:nvPr/>
          </p:nvGrpSpPr>
          <p:grpSpPr>
            <a:xfrm>
              <a:off x="5450442" y="2725256"/>
              <a:ext cx="82972" cy="82971"/>
              <a:chOff x="7236884" y="3439984"/>
              <a:chExt cx="108000" cy="108000"/>
            </a:xfrm>
          </p:grpSpPr>
          <p:cxnSp>
            <p:nvCxnSpPr>
              <p:cNvPr id="1615" name="Straight Connector 1614">
                <a:extLst>
                  <a:ext uri="{FF2B5EF4-FFF2-40B4-BE49-F238E27FC236}">
                    <a16:creationId xmlns:a16="http://schemas.microsoft.com/office/drawing/2014/main" id="{FD5784C7-A7E3-E311-C53C-0B1066FC43D5}"/>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616" name="Straight Connector 1615">
                <a:extLst>
                  <a:ext uri="{FF2B5EF4-FFF2-40B4-BE49-F238E27FC236}">
                    <a16:creationId xmlns:a16="http://schemas.microsoft.com/office/drawing/2014/main" id="{8764E365-75B0-B937-5A01-DBC296494F63}"/>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618" name="Group 1617">
              <a:extLst>
                <a:ext uri="{FF2B5EF4-FFF2-40B4-BE49-F238E27FC236}">
                  <a16:creationId xmlns:a16="http://schemas.microsoft.com/office/drawing/2014/main" id="{2F69E9A8-78D1-BC97-421A-AF21F4F74D9F}"/>
                </a:ext>
              </a:extLst>
            </p:cNvPr>
            <p:cNvGrpSpPr/>
            <p:nvPr/>
          </p:nvGrpSpPr>
          <p:grpSpPr>
            <a:xfrm>
              <a:off x="5427936" y="2646675"/>
              <a:ext cx="82972" cy="82971"/>
              <a:chOff x="7236884" y="3439984"/>
              <a:chExt cx="108000" cy="108000"/>
            </a:xfrm>
          </p:grpSpPr>
          <p:cxnSp>
            <p:nvCxnSpPr>
              <p:cNvPr id="1619" name="Straight Connector 1618">
                <a:extLst>
                  <a:ext uri="{FF2B5EF4-FFF2-40B4-BE49-F238E27FC236}">
                    <a16:creationId xmlns:a16="http://schemas.microsoft.com/office/drawing/2014/main" id="{C2442843-5B56-25BD-C90D-C3875EB5C4EE}"/>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620" name="Straight Connector 1619">
                <a:extLst>
                  <a:ext uri="{FF2B5EF4-FFF2-40B4-BE49-F238E27FC236}">
                    <a16:creationId xmlns:a16="http://schemas.microsoft.com/office/drawing/2014/main" id="{BFF9C2E7-8593-9289-EC43-0A3C623365E3}"/>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621" name="Group 1620">
              <a:extLst>
                <a:ext uri="{FF2B5EF4-FFF2-40B4-BE49-F238E27FC236}">
                  <a16:creationId xmlns:a16="http://schemas.microsoft.com/office/drawing/2014/main" id="{31E720E7-0AB0-DCAE-8ED6-72A7D9843F9B}"/>
                </a:ext>
              </a:extLst>
            </p:cNvPr>
            <p:cNvGrpSpPr/>
            <p:nvPr/>
          </p:nvGrpSpPr>
          <p:grpSpPr>
            <a:xfrm>
              <a:off x="5413650" y="2635193"/>
              <a:ext cx="82972" cy="82971"/>
              <a:chOff x="7236884" y="3439984"/>
              <a:chExt cx="108000" cy="108000"/>
            </a:xfrm>
          </p:grpSpPr>
          <p:cxnSp>
            <p:nvCxnSpPr>
              <p:cNvPr id="1622" name="Straight Connector 1621">
                <a:extLst>
                  <a:ext uri="{FF2B5EF4-FFF2-40B4-BE49-F238E27FC236}">
                    <a16:creationId xmlns:a16="http://schemas.microsoft.com/office/drawing/2014/main" id="{6DB793D4-5101-9090-AC0A-38604EF31538}"/>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623" name="Straight Connector 1622">
                <a:extLst>
                  <a:ext uri="{FF2B5EF4-FFF2-40B4-BE49-F238E27FC236}">
                    <a16:creationId xmlns:a16="http://schemas.microsoft.com/office/drawing/2014/main" id="{482F7F7F-6489-8A0D-C40A-3FEE901F53C7}"/>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624" name="Group 1623">
              <a:extLst>
                <a:ext uri="{FF2B5EF4-FFF2-40B4-BE49-F238E27FC236}">
                  <a16:creationId xmlns:a16="http://schemas.microsoft.com/office/drawing/2014/main" id="{8F5D60CC-F0EB-DE39-2DF4-E4168F9E11E9}"/>
                </a:ext>
              </a:extLst>
            </p:cNvPr>
            <p:cNvGrpSpPr/>
            <p:nvPr/>
          </p:nvGrpSpPr>
          <p:grpSpPr>
            <a:xfrm>
              <a:off x="5399362" y="2626382"/>
              <a:ext cx="82972" cy="82971"/>
              <a:chOff x="7236884" y="3439984"/>
              <a:chExt cx="108000" cy="108000"/>
            </a:xfrm>
          </p:grpSpPr>
          <p:cxnSp>
            <p:nvCxnSpPr>
              <p:cNvPr id="1625" name="Straight Connector 1624">
                <a:extLst>
                  <a:ext uri="{FF2B5EF4-FFF2-40B4-BE49-F238E27FC236}">
                    <a16:creationId xmlns:a16="http://schemas.microsoft.com/office/drawing/2014/main" id="{D31CFA82-9051-5908-AFC1-A8656C6F0ECF}"/>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626" name="Straight Connector 1625">
                <a:extLst>
                  <a:ext uri="{FF2B5EF4-FFF2-40B4-BE49-F238E27FC236}">
                    <a16:creationId xmlns:a16="http://schemas.microsoft.com/office/drawing/2014/main" id="{C48A2532-722E-59F1-D92A-12224F061692}"/>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627" name="Group 1626">
              <a:extLst>
                <a:ext uri="{FF2B5EF4-FFF2-40B4-BE49-F238E27FC236}">
                  <a16:creationId xmlns:a16="http://schemas.microsoft.com/office/drawing/2014/main" id="{4E2EFC65-BFCD-F9AD-DC79-D33016934BEF}"/>
                </a:ext>
              </a:extLst>
            </p:cNvPr>
            <p:cNvGrpSpPr/>
            <p:nvPr/>
          </p:nvGrpSpPr>
          <p:grpSpPr>
            <a:xfrm>
              <a:off x="5394599" y="2602569"/>
              <a:ext cx="82972" cy="82971"/>
              <a:chOff x="7236884" y="3439984"/>
              <a:chExt cx="108000" cy="108000"/>
            </a:xfrm>
          </p:grpSpPr>
          <p:cxnSp>
            <p:nvCxnSpPr>
              <p:cNvPr id="1628" name="Straight Connector 1627">
                <a:extLst>
                  <a:ext uri="{FF2B5EF4-FFF2-40B4-BE49-F238E27FC236}">
                    <a16:creationId xmlns:a16="http://schemas.microsoft.com/office/drawing/2014/main" id="{8ABBE801-459B-ABA5-9525-71DF4F6E9726}"/>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629" name="Straight Connector 1628">
                <a:extLst>
                  <a:ext uri="{FF2B5EF4-FFF2-40B4-BE49-F238E27FC236}">
                    <a16:creationId xmlns:a16="http://schemas.microsoft.com/office/drawing/2014/main" id="{0E2C25AC-6A4A-7279-54B5-EC702E441A62}"/>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630" name="Group 1629">
              <a:extLst>
                <a:ext uri="{FF2B5EF4-FFF2-40B4-BE49-F238E27FC236}">
                  <a16:creationId xmlns:a16="http://schemas.microsoft.com/office/drawing/2014/main" id="{A3BF6A9C-1F92-A0F2-6CB4-A3286FC0D617}"/>
                </a:ext>
              </a:extLst>
            </p:cNvPr>
            <p:cNvGrpSpPr/>
            <p:nvPr/>
          </p:nvGrpSpPr>
          <p:grpSpPr>
            <a:xfrm>
              <a:off x="5363643" y="2500665"/>
              <a:ext cx="82972" cy="82971"/>
              <a:chOff x="7236884" y="3439984"/>
              <a:chExt cx="108000" cy="108000"/>
            </a:xfrm>
          </p:grpSpPr>
          <p:cxnSp>
            <p:nvCxnSpPr>
              <p:cNvPr id="1631" name="Straight Connector 1630">
                <a:extLst>
                  <a:ext uri="{FF2B5EF4-FFF2-40B4-BE49-F238E27FC236}">
                    <a16:creationId xmlns:a16="http://schemas.microsoft.com/office/drawing/2014/main" id="{648A37D2-0DBF-DB42-BC05-E3C778BDF2A9}"/>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632" name="Straight Connector 1631">
                <a:extLst>
                  <a:ext uri="{FF2B5EF4-FFF2-40B4-BE49-F238E27FC236}">
                    <a16:creationId xmlns:a16="http://schemas.microsoft.com/office/drawing/2014/main" id="{DC3DA6AB-11EB-400A-567D-8FA930491829}"/>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633" name="Group 1632">
              <a:extLst>
                <a:ext uri="{FF2B5EF4-FFF2-40B4-BE49-F238E27FC236}">
                  <a16:creationId xmlns:a16="http://schemas.microsoft.com/office/drawing/2014/main" id="{27105EBD-5C3A-4AF2-966C-55335CC7C305}"/>
                </a:ext>
              </a:extLst>
            </p:cNvPr>
            <p:cNvGrpSpPr/>
            <p:nvPr/>
          </p:nvGrpSpPr>
          <p:grpSpPr>
            <a:xfrm>
              <a:off x="5356500" y="2483996"/>
              <a:ext cx="82972" cy="82971"/>
              <a:chOff x="7236884" y="3439984"/>
              <a:chExt cx="108000" cy="108000"/>
            </a:xfrm>
          </p:grpSpPr>
          <p:cxnSp>
            <p:nvCxnSpPr>
              <p:cNvPr id="1634" name="Straight Connector 1633">
                <a:extLst>
                  <a:ext uri="{FF2B5EF4-FFF2-40B4-BE49-F238E27FC236}">
                    <a16:creationId xmlns:a16="http://schemas.microsoft.com/office/drawing/2014/main" id="{09304012-9831-3FA2-0FE4-E524BF3481A0}"/>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635" name="Straight Connector 1634">
                <a:extLst>
                  <a:ext uri="{FF2B5EF4-FFF2-40B4-BE49-F238E27FC236}">
                    <a16:creationId xmlns:a16="http://schemas.microsoft.com/office/drawing/2014/main" id="{FA7069F7-C5FF-1D47-091D-00F07DC93704}"/>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636" name="Group 1635">
              <a:extLst>
                <a:ext uri="{FF2B5EF4-FFF2-40B4-BE49-F238E27FC236}">
                  <a16:creationId xmlns:a16="http://schemas.microsoft.com/office/drawing/2014/main" id="{363AD0FB-9B4A-2DDD-EC92-00927AC43C62}"/>
                </a:ext>
              </a:extLst>
            </p:cNvPr>
            <p:cNvGrpSpPr/>
            <p:nvPr/>
          </p:nvGrpSpPr>
          <p:grpSpPr>
            <a:xfrm>
              <a:off x="5349357" y="2467326"/>
              <a:ext cx="82972" cy="82971"/>
              <a:chOff x="7236884" y="3439984"/>
              <a:chExt cx="108000" cy="108000"/>
            </a:xfrm>
          </p:grpSpPr>
          <p:cxnSp>
            <p:nvCxnSpPr>
              <p:cNvPr id="1637" name="Straight Connector 1636">
                <a:extLst>
                  <a:ext uri="{FF2B5EF4-FFF2-40B4-BE49-F238E27FC236}">
                    <a16:creationId xmlns:a16="http://schemas.microsoft.com/office/drawing/2014/main" id="{FB6EF53F-F313-3FAB-34B7-B6FB9EC4285B}"/>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638" name="Straight Connector 1637">
                <a:extLst>
                  <a:ext uri="{FF2B5EF4-FFF2-40B4-BE49-F238E27FC236}">
                    <a16:creationId xmlns:a16="http://schemas.microsoft.com/office/drawing/2014/main" id="{EA2C7EDE-3B74-92EB-D670-309A0E3BB44F}"/>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639" name="Group 1638">
              <a:extLst>
                <a:ext uri="{FF2B5EF4-FFF2-40B4-BE49-F238E27FC236}">
                  <a16:creationId xmlns:a16="http://schemas.microsoft.com/office/drawing/2014/main" id="{07F5770D-A557-D722-5E1C-2B1796C7023C}"/>
                </a:ext>
              </a:extLst>
            </p:cNvPr>
            <p:cNvGrpSpPr/>
            <p:nvPr/>
          </p:nvGrpSpPr>
          <p:grpSpPr>
            <a:xfrm>
              <a:off x="5312721" y="2371095"/>
              <a:ext cx="82972" cy="82971"/>
              <a:chOff x="7236884" y="3439984"/>
              <a:chExt cx="108000" cy="108000"/>
            </a:xfrm>
          </p:grpSpPr>
          <p:cxnSp>
            <p:nvCxnSpPr>
              <p:cNvPr id="1640" name="Straight Connector 1639">
                <a:extLst>
                  <a:ext uri="{FF2B5EF4-FFF2-40B4-BE49-F238E27FC236}">
                    <a16:creationId xmlns:a16="http://schemas.microsoft.com/office/drawing/2014/main" id="{A46DB19B-CE84-82C3-C233-4F00D822368C}"/>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641" name="Straight Connector 1640">
                <a:extLst>
                  <a:ext uri="{FF2B5EF4-FFF2-40B4-BE49-F238E27FC236}">
                    <a16:creationId xmlns:a16="http://schemas.microsoft.com/office/drawing/2014/main" id="{62F69D0E-CA66-C290-36B1-E10F0FBE2E9C}"/>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642" name="Group 1641">
              <a:extLst>
                <a:ext uri="{FF2B5EF4-FFF2-40B4-BE49-F238E27FC236}">
                  <a16:creationId xmlns:a16="http://schemas.microsoft.com/office/drawing/2014/main" id="{785E45D9-9F69-308F-DF40-BF62267262F6}"/>
                </a:ext>
              </a:extLst>
            </p:cNvPr>
            <p:cNvGrpSpPr/>
            <p:nvPr/>
          </p:nvGrpSpPr>
          <p:grpSpPr>
            <a:xfrm>
              <a:off x="5271235" y="2316917"/>
              <a:ext cx="82972" cy="82971"/>
              <a:chOff x="7236884" y="3439984"/>
              <a:chExt cx="108000" cy="108000"/>
            </a:xfrm>
          </p:grpSpPr>
          <p:cxnSp>
            <p:nvCxnSpPr>
              <p:cNvPr id="1643" name="Straight Connector 1642">
                <a:extLst>
                  <a:ext uri="{FF2B5EF4-FFF2-40B4-BE49-F238E27FC236}">
                    <a16:creationId xmlns:a16="http://schemas.microsoft.com/office/drawing/2014/main" id="{3EFD9CB3-4708-A2AC-6554-6FF0AE68674E}"/>
                  </a:ext>
                </a:extLst>
              </p:cNvPr>
              <p:cNvCxnSpPr>
                <a:cxnSpLocks/>
              </p:cNvCxnSpPr>
              <p:nvPr/>
            </p:nvCxnSpPr>
            <p:spPr>
              <a:xfrm>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cxnSp>
            <p:nvCxnSpPr>
              <p:cNvPr id="1644" name="Straight Connector 1643">
                <a:extLst>
                  <a:ext uri="{FF2B5EF4-FFF2-40B4-BE49-F238E27FC236}">
                    <a16:creationId xmlns:a16="http://schemas.microsoft.com/office/drawing/2014/main" id="{F1619B1D-6C81-5799-C5B2-0B79AF22D38B}"/>
                  </a:ext>
                </a:extLst>
              </p:cNvPr>
              <p:cNvCxnSpPr>
                <a:cxnSpLocks/>
              </p:cNvCxnSpPr>
              <p:nvPr/>
            </p:nvCxnSpPr>
            <p:spPr>
              <a:xfrm rot="5400000">
                <a:off x="7290884" y="3439984"/>
                <a:ext cx="0" cy="108000"/>
              </a:xfrm>
              <a:prstGeom prst="line">
                <a:avLst/>
              </a:prstGeom>
              <a:ln w="15875">
                <a:solidFill>
                  <a:srgbClr val="C696C1"/>
                </a:solidFill>
              </a:ln>
            </p:spPr>
            <p:style>
              <a:lnRef idx="1">
                <a:schemeClr val="accent1"/>
              </a:lnRef>
              <a:fillRef idx="0">
                <a:schemeClr val="accent1"/>
              </a:fillRef>
              <a:effectRef idx="0">
                <a:schemeClr val="accent1"/>
              </a:effectRef>
              <a:fontRef idx="minor">
                <a:schemeClr val="tx1"/>
              </a:fontRef>
            </p:style>
          </p:cxnSp>
        </p:grpSp>
        <p:grpSp>
          <p:nvGrpSpPr>
            <p:cNvPr id="1645" name="Group 1644">
              <a:extLst>
                <a:ext uri="{FF2B5EF4-FFF2-40B4-BE49-F238E27FC236}">
                  <a16:creationId xmlns:a16="http://schemas.microsoft.com/office/drawing/2014/main" id="{48197681-7EC9-7391-49BB-179959D15D08}"/>
                </a:ext>
              </a:extLst>
            </p:cNvPr>
            <p:cNvGrpSpPr/>
            <p:nvPr/>
          </p:nvGrpSpPr>
          <p:grpSpPr>
            <a:xfrm>
              <a:off x="6963785" y="3373871"/>
              <a:ext cx="82971" cy="82971"/>
              <a:chOff x="7236884" y="3439984"/>
              <a:chExt cx="108000" cy="108000"/>
            </a:xfrm>
          </p:grpSpPr>
          <p:cxnSp>
            <p:nvCxnSpPr>
              <p:cNvPr id="1646" name="Straight Connector 1645">
                <a:extLst>
                  <a:ext uri="{FF2B5EF4-FFF2-40B4-BE49-F238E27FC236}">
                    <a16:creationId xmlns:a16="http://schemas.microsoft.com/office/drawing/2014/main" id="{E5198822-BA7E-3206-4997-A6ACDA65000F}"/>
                  </a:ext>
                </a:extLst>
              </p:cNvPr>
              <p:cNvCxnSpPr>
                <a:cxnSpLocks/>
              </p:cNvCxnSpPr>
              <p:nvPr/>
            </p:nvCxnSpPr>
            <p:spPr>
              <a:xfrm>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cxnSp>
            <p:nvCxnSpPr>
              <p:cNvPr id="1647" name="Straight Connector 1646">
                <a:extLst>
                  <a:ext uri="{FF2B5EF4-FFF2-40B4-BE49-F238E27FC236}">
                    <a16:creationId xmlns:a16="http://schemas.microsoft.com/office/drawing/2014/main" id="{FEFF4F39-D197-AED4-6FC4-87DEDBE5B101}"/>
                  </a:ext>
                </a:extLst>
              </p:cNvPr>
              <p:cNvCxnSpPr>
                <a:cxnSpLocks/>
              </p:cNvCxnSpPr>
              <p:nvPr/>
            </p:nvCxnSpPr>
            <p:spPr>
              <a:xfrm rot="5400000">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grpSp>
        <p:grpSp>
          <p:nvGrpSpPr>
            <p:cNvPr id="1648" name="Group 1647">
              <a:extLst>
                <a:ext uri="{FF2B5EF4-FFF2-40B4-BE49-F238E27FC236}">
                  <a16:creationId xmlns:a16="http://schemas.microsoft.com/office/drawing/2014/main" id="{A1C05816-9BD8-1103-D6CE-057C741DEA2D}"/>
                </a:ext>
              </a:extLst>
            </p:cNvPr>
            <p:cNvGrpSpPr/>
            <p:nvPr/>
          </p:nvGrpSpPr>
          <p:grpSpPr>
            <a:xfrm>
              <a:off x="6456579" y="3373871"/>
              <a:ext cx="82971" cy="82971"/>
              <a:chOff x="7236884" y="3439984"/>
              <a:chExt cx="108000" cy="108000"/>
            </a:xfrm>
          </p:grpSpPr>
          <p:cxnSp>
            <p:nvCxnSpPr>
              <p:cNvPr id="1649" name="Straight Connector 1648">
                <a:extLst>
                  <a:ext uri="{FF2B5EF4-FFF2-40B4-BE49-F238E27FC236}">
                    <a16:creationId xmlns:a16="http://schemas.microsoft.com/office/drawing/2014/main" id="{49FD7234-A7F6-B4A0-8708-63F73DB076F6}"/>
                  </a:ext>
                </a:extLst>
              </p:cNvPr>
              <p:cNvCxnSpPr>
                <a:cxnSpLocks/>
              </p:cNvCxnSpPr>
              <p:nvPr/>
            </p:nvCxnSpPr>
            <p:spPr>
              <a:xfrm>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cxnSp>
            <p:nvCxnSpPr>
              <p:cNvPr id="1650" name="Straight Connector 1649">
                <a:extLst>
                  <a:ext uri="{FF2B5EF4-FFF2-40B4-BE49-F238E27FC236}">
                    <a16:creationId xmlns:a16="http://schemas.microsoft.com/office/drawing/2014/main" id="{369CA302-7580-152C-5F99-95E705DF0F61}"/>
                  </a:ext>
                </a:extLst>
              </p:cNvPr>
              <p:cNvCxnSpPr>
                <a:cxnSpLocks/>
              </p:cNvCxnSpPr>
              <p:nvPr/>
            </p:nvCxnSpPr>
            <p:spPr>
              <a:xfrm rot="5400000">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grpSp>
        <p:grpSp>
          <p:nvGrpSpPr>
            <p:cNvPr id="1651" name="Group 1650">
              <a:extLst>
                <a:ext uri="{FF2B5EF4-FFF2-40B4-BE49-F238E27FC236}">
                  <a16:creationId xmlns:a16="http://schemas.microsoft.com/office/drawing/2014/main" id="{7582D988-AE44-EF3B-3A5D-0F5311E3ECAE}"/>
                </a:ext>
              </a:extLst>
            </p:cNvPr>
            <p:cNvGrpSpPr/>
            <p:nvPr/>
          </p:nvGrpSpPr>
          <p:grpSpPr>
            <a:xfrm>
              <a:off x="6260147" y="3374139"/>
              <a:ext cx="82971" cy="82971"/>
              <a:chOff x="7236884" y="3439984"/>
              <a:chExt cx="108000" cy="108000"/>
            </a:xfrm>
          </p:grpSpPr>
          <p:cxnSp>
            <p:nvCxnSpPr>
              <p:cNvPr id="1652" name="Straight Connector 1651">
                <a:extLst>
                  <a:ext uri="{FF2B5EF4-FFF2-40B4-BE49-F238E27FC236}">
                    <a16:creationId xmlns:a16="http://schemas.microsoft.com/office/drawing/2014/main" id="{C5DA3CD2-82F3-4132-2169-217C29918E48}"/>
                  </a:ext>
                </a:extLst>
              </p:cNvPr>
              <p:cNvCxnSpPr>
                <a:cxnSpLocks/>
              </p:cNvCxnSpPr>
              <p:nvPr/>
            </p:nvCxnSpPr>
            <p:spPr>
              <a:xfrm>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cxnSp>
            <p:nvCxnSpPr>
              <p:cNvPr id="1653" name="Straight Connector 1652">
                <a:extLst>
                  <a:ext uri="{FF2B5EF4-FFF2-40B4-BE49-F238E27FC236}">
                    <a16:creationId xmlns:a16="http://schemas.microsoft.com/office/drawing/2014/main" id="{2A58A076-8290-399F-FADE-354A2A0EFDEF}"/>
                  </a:ext>
                </a:extLst>
              </p:cNvPr>
              <p:cNvCxnSpPr>
                <a:cxnSpLocks/>
              </p:cNvCxnSpPr>
              <p:nvPr/>
            </p:nvCxnSpPr>
            <p:spPr>
              <a:xfrm rot="5400000">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grpSp>
        <p:grpSp>
          <p:nvGrpSpPr>
            <p:cNvPr id="1654" name="Group 1653">
              <a:extLst>
                <a:ext uri="{FF2B5EF4-FFF2-40B4-BE49-F238E27FC236}">
                  <a16:creationId xmlns:a16="http://schemas.microsoft.com/office/drawing/2014/main" id="{A37F7B71-7FAA-1A35-9254-67AAE057E27D}"/>
                </a:ext>
              </a:extLst>
            </p:cNvPr>
            <p:cNvGrpSpPr/>
            <p:nvPr/>
          </p:nvGrpSpPr>
          <p:grpSpPr>
            <a:xfrm>
              <a:off x="6269673" y="3374139"/>
              <a:ext cx="82971" cy="82971"/>
              <a:chOff x="7236884" y="3439984"/>
              <a:chExt cx="108000" cy="108000"/>
            </a:xfrm>
          </p:grpSpPr>
          <p:cxnSp>
            <p:nvCxnSpPr>
              <p:cNvPr id="1655" name="Straight Connector 1654">
                <a:extLst>
                  <a:ext uri="{FF2B5EF4-FFF2-40B4-BE49-F238E27FC236}">
                    <a16:creationId xmlns:a16="http://schemas.microsoft.com/office/drawing/2014/main" id="{F36E4131-0967-2576-B732-02B5A75C17EB}"/>
                  </a:ext>
                </a:extLst>
              </p:cNvPr>
              <p:cNvCxnSpPr>
                <a:cxnSpLocks/>
              </p:cNvCxnSpPr>
              <p:nvPr/>
            </p:nvCxnSpPr>
            <p:spPr>
              <a:xfrm>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cxnSp>
            <p:nvCxnSpPr>
              <p:cNvPr id="1656" name="Straight Connector 1655">
                <a:extLst>
                  <a:ext uri="{FF2B5EF4-FFF2-40B4-BE49-F238E27FC236}">
                    <a16:creationId xmlns:a16="http://schemas.microsoft.com/office/drawing/2014/main" id="{23938366-6C9B-B76D-6FF7-6DC9DE83171A}"/>
                  </a:ext>
                </a:extLst>
              </p:cNvPr>
              <p:cNvCxnSpPr>
                <a:cxnSpLocks/>
              </p:cNvCxnSpPr>
              <p:nvPr/>
            </p:nvCxnSpPr>
            <p:spPr>
              <a:xfrm rot="5400000">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grpSp>
        <p:grpSp>
          <p:nvGrpSpPr>
            <p:cNvPr id="1657" name="Group 1656">
              <a:extLst>
                <a:ext uri="{FF2B5EF4-FFF2-40B4-BE49-F238E27FC236}">
                  <a16:creationId xmlns:a16="http://schemas.microsoft.com/office/drawing/2014/main" id="{D83E6D02-0B4B-C246-AE91-E9A6D329E74F}"/>
                </a:ext>
              </a:extLst>
            </p:cNvPr>
            <p:cNvGrpSpPr/>
            <p:nvPr/>
          </p:nvGrpSpPr>
          <p:grpSpPr>
            <a:xfrm>
              <a:off x="6202998" y="3374139"/>
              <a:ext cx="82971" cy="82971"/>
              <a:chOff x="7236884" y="3439984"/>
              <a:chExt cx="108000" cy="108000"/>
            </a:xfrm>
          </p:grpSpPr>
          <p:cxnSp>
            <p:nvCxnSpPr>
              <p:cNvPr id="1658" name="Straight Connector 1657">
                <a:extLst>
                  <a:ext uri="{FF2B5EF4-FFF2-40B4-BE49-F238E27FC236}">
                    <a16:creationId xmlns:a16="http://schemas.microsoft.com/office/drawing/2014/main" id="{9E7B5693-7DF4-D0B2-5A0A-B40620BDC089}"/>
                  </a:ext>
                </a:extLst>
              </p:cNvPr>
              <p:cNvCxnSpPr>
                <a:cxnSpLocks/>
              </p:cNvCxnSpPr>
              <p:nvPr/>
            </p:nvCxnSpPr>
            <p:spPr>
              <a:xfrm>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cxnSp>
            <p:nvCxnSpPr>
              <p:cNvPr id="1659" name="Straight Connector 1658">
                <a:extLst>
                  <a:ext uri="{FF2B5EF4-FFF2-40B4-BE49-F238E27FC236}">
                    <a16:creationId xmlns:a16="http://schemas.microsoft.com/office/drawing/2014/main" id="{4CE42441-F6CE-BB49-C4FA-F90C8F94E03C}"/>
                  </a:ext>
                </a:extLst>
              </p:cNvPr>
              <p:cNvCxnSpPr>
                <a:cxnSpLocks/>
              </p:cNvCxnSpPr>
              <p:nvPr/>
            </p:nvCxnSpPr>
            <p:spPr>
              <a:xfrm rot="5400000">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grpSp>
        <p:grpSp>
          <p:nvGrpSpPr>
            <p:cNvPr id="1660" name="Group 1659">
              <a:extLst>
                <a:ext uri="{FF2B5EF4-FFF2-40B4-BE49-F238E27FC236}">
                  <a16:creationId xmlns:a16="http://schemas.microsoft.com/office/drawing/2014/main" id="{AB68D702-8777-D6EA-46D3-BF0376320C36}"/>
                </a:ext>
              </a:extLst>
            </p:cNvPr>
            <p:cNvGrpSpPr/>
            <p:nvPr/>
          </p:nvGrpSpPr>
          <p:grpSpPr>
            <a:xfrm>
              <a:off x="6176805" y="3374139"/>
              <a:ext cx="82971" cy="82971"/>
              <a:chOff x="7236884" y="3439984"/>
              <a:chExt cx="108000" cy="108000"/>
            </a:xfrm>
          </p:grpSpPr>
          <p:cxnSp>
            <p:nvCxnSpPr>
              <p:cNvPr id="1661" name="Straight Connector 1660">
                <a:extLst>
                  <a:ext uri="{FF2B5EF4-FFF2-40B4-BE49-F238E27FC236}">
                    <a16:creationId xmlns:a16="http://schemas.microsoft.com/office/drawing/2014/main" id="{081DD574-01EC-798F-A76A-1F5748AEDC57}"/>
                  </a:ext>
                </a:extLst>
              </p:cNvPr>
              <p:cNvCxnSpPr>
                <a:cxnSpLocks/>
              </p:cNvCxnSpPr>
              <p:nvPr/>
            </p:nvCxnSpPr>
            <p:spPr>
              <a:xfrm>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cxnSp>
            <p:nvCxnSpPr>
              <p:cNvPr id="1662" name="Straight Connector 1661">
                <a:extLst>
                  <a:ext uri="{FF2B5EF4-FFF2-40B4-BE49-F238E27FC236}">
                    <a16:creationId xmlns:a16="http://schemas.microsoft.com/office/drawing/2014/main" id="{06B1A0CD-A07E-4687-5538-09B96354043C}"/>
                  </a:ext>
                </a:extLst>
              </p:cNvPr>
              <p:cNvCxnSpPr>
                <a:cxnSpLocks/>
              </p:cNvCxnSpPr>
              <p:nvPr/>
            </p:nvCxnSpPr>
            <p:spPr>
              <a:xfrm rot="5400000">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grpSp>
        <p:grpSp>
          <p:nvGrpSpPr>
            <p:cNvPr id="1663" name="Group 1662">
              <a:extLst>
                <a:ext uri="{FF2B5EF4-FFF2-40B4-BE49-F238E27FC236}">
                  <a16:creationId xmlns:a16="http://schemas.microsoft.com/office/drawing/2014/main" id="{E9F54219-AB4E-7553-67E0-82FB0565ECB7}"/>
                </a:ext>
              </a:extLst>
            </p:cNvPr>
            <p:cNvGrpSpPr/>
            <p:nvPr/>
          </p:nvGrpSpPr>
          <p:grpSpPr>
            <a:xfrm>
              <a:off x="6138705" y="3374139"/>
              <a:ext cx="82971" cy="82971"/>
              <a:chOff x="7236884" y="3439984"/>
              <a:chExt cx="108000" cy="108000"/>
            </a:xfrm>
          </p:grpSpPr>
          <p:cxnSp>
            <p:nvCxnSpPr>
              <p:cNvPr id="1664" name="Straight Connector 1663">
                <a:extLst>
                  <a:ext uri="{FF2B5EF4-FFF2-40B4-BE49-F238E27FC236}">
                    <a16:creationId xmlns:a16="http://schemas.microsoft.com/office/drawing/2014/main" id="{118C852D-F581-6733-75D1-5CB26309F0CD}"/>
                  </a:ext>
                </a:extLst>
              </p:cNvPr>
              <p:cNvCxnSpPr>
                <a:cxnSpLocks/>
              </p:cNvCxnSpPr>
              <p:nvPr/>
            </p:nvCxnSpPr>
            <p:spPr>
              <a:xfrm>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cxnSp>
            <p:nvCxnSpPr>
              <p:cNvPr id="1665" name="Straight Connector 1664">
                <a:extLst>
                  <a:ext uri="{FF2B5EF4-FFF2-40B4-BE49-F238E27FC236}">
                    <a16:creationId xmlns:a16="http://schemas.microsoft.com/office/drawing/2014/main" id="{12702479-25F7-CF76-224F-E2C7B5B4A182}"/>
                  </a:ext>
                </a:extLst>
              </p:cNvPr>
              <p:cNvCxnSpPr>
                <a:cxnSpLocks/>
              </p:cNvCxnSpPr>
              <p:nvPr/>
            </p:nvCxnSpPr>
            <p:spPr>
              <a:xfrm rot="5400000">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grpSp>
        <p:grpSp>
          <p:nvGrpSpPr>
            <p:cNvPr id="1666" name="Group 1665">
              <a:extLst>
                <a:ext uri="{FF2B5EF4-FFF2-40B4-BE49-F238E27FC236}">
                  <a16:creationId xmlns:a16="http://schemas.microsoft.com/office/drawing/2014/main" id="{99A4B7D9-506D-9D9E-A317-F4DB32962405}"/>
                </a:ext>
              </a:extLst>
            </p:cNvPr>
            <p:cNvGrpSpPr/>
            <p:nvPr/>
          </p:nvGrpSpPr>
          <p:grpSpPr>
            <a:xfrm>
              <a:off x="6150611" y="3374139"/>
              <a:ext cx="82971" cy="82971"/>
              <a:chOff x="7236884" y="3439984"/>
              <a:chExt cx="108000" cy="108000"/>
            </a:xfrm>
          </p:grpSpPr>
          <p:cxnSp>
            <p:nvCxnSpPr>
              <p:cNvPr id="1667" name="Straight Connector 1666">
                <a:extLst>
                  <a:ext uri="{FF2B5EF4-FFF2-40B4-BE49-F238E27FC236}">
                    <a16:creationId xmlns:a16="http://schemas.microsoft.com/office/drawing/2014/main" id="{DCF3C639-B689-11BC-E13F-D557043EB87D}"/>
                  </a:ext>
                </a:extLst>
              </p:cNvPr>
              <p:cNvCxnSpPr>
                <a:cxnSpLocks/>
              </p:cNvCxnSpPr>
              <p:nvPr/>
            </p:nvCxnSpPr>
            <p:spPr>
              <a:xfrm>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cxnSp>
            <p:nvCxnSpPr>
              <p:cNvPr id="1668" name="Straight Connector 1667">
                <a:extLst>
                  <a:ext uri="{FF2B5EF4-FFF2-40B4-BE49-F238E27FC236}">
                    <a16:creationId xmlns:a16="http://schemas.microsoft.com/office/drawing/2014/main" id="{869F6D26-DD9A-4A4F-2866-AD22CE47E436}"/>
                  </a:ext>
                </a:extLst>
              </p:cNvPr>
              <p:cNvCxnSpPr>
                <a:cxnSpLocks/>
              </p:cNvCxnSpPr>
              <p:nvPr/>
            </p:nvCxnSpPr>
            <p:spPr>
              <a:xfrm rot="5400000">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grpSp>
        <p:grpSp>
          <p:nvGrpSpPr>
            <p:cNvPr id="1669" name="Group 1668">
              <a:extLst>
                <a:ext uri="{FF2B5EF4-FFF2-40B4-BE49-F238E27FC236}">
                  <a16:creationId xmlns:a16="http://schemas.microsoft.com/office/drawing/2014/main" id="{787202A7-2F90-4168-C6F9-B0C509B42D7C}"/>
                </a:ext>
              </a:extLst>
            </p:cNvPr>
            <p:cNvGrpSpPr/>
            <p:nvPr/>
          </p:nvGrpSpPr>
          <p:grpSpPr>
            <a:xfrm>
              <a:off x="6164898" y="3374139"/>
              <a:ext cx="82971" cy="82971"/>
              <a:chOff x="7236884" y="3439984"/>
              <a:chExt cx="108000" cy="108000"/>
            </a:xfrm>
          </p:grpSpPr>
          <p:cxnSp>
            <p:nvCxnSpPr>
              <p:cNvPr id="1670" name="Straight Connector 1669">
                <a:extLst>
                  <a:ext uri="{FF2B5EF4-FFF2-40B4-BE49-F238E27FC236}">
                    <a16:creationId xmlns:a16="http://schemas.microsoft.com/office/drawing/2014/main" id="{C4E7AB42-D77C-7A5C-E80D-9C0C9481E42A}"/>
                  </a:ext>
                </a:extLst>
              </p:cNvPr>
              <p:cNvCxnSpPr>
                <a:cxnSpLocks/>
              </p:cNvCxnSpPr>
              <p:nvPr/>
            </p:nvCxnSpPr>
            <p:spPr>
              <a:xfrm>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cxnSp>
            <p:nvCxnSpPr>
              <p:cNvPr id="1671" name="Straight Connector 1670">
                <a:extLst>
                  <a:ext uri="{FF2B5EF4-FFF2-40B4-BE49-F238E27FC236}">
                    <a16:creationId xmlns:a16="http://schemas.microsoft.com/office/drawing/2014/main" id="{91195A69-2806-C64A-2117-CD6207C25232}"/>
                  </a:ext>
                </a:extLst>
              </p:cNvPr>
              <p:cNvCxnSpPr>
                <a:cxnSpLocks/>
              </p:cNvCxnSpPr>
              <p:nvPr/>
            </p:nvCxnSpPr>
            <p:spPr>
              <a:xfrm rot="5400000">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grpSp>
        <p:grpSp>
          <p:nvGrpSpPr>
            <p:cNvPr id="1672" name="Group 1671">
              <a:extLst>
                <a:ext uri="{FF2B5EF4-FFF2-40B4-BE49-F238E27FC236}">
                  <a16:creationId xmlns:a16="http://schemas.microsoft.com/office/drawing/2014/main" id="{6C5E7796-3B4D-247A-FA6D-0E24E82CCC75}"/>
                </a:ext>
              </a:extLst>
            </p:cNvPr>
            <p:cNvGrpSpPr/>
            <p:nvPr/>
          </p:nvGrpSpPr>
          <p:grpSpPr>
            <a:xfrm>
              <a:off x="6107748" y="3374139"/>
              <a:ext cx="82971" cy="82971"/>
              <a:chOff x="7236884" y="3439984"/>
              <a:chExt cx="108000" cy="108000"/>
            </a:xfrm>
          </p:grpSpPr>
          <p:cxnSp>
            <p:nvCxnSpPr>
              <p:cNvPr id="1673" name="Straight Connector 1672">
                <a:extLst>
                  <a:ext uri="{FF2B5EF4-FFF2-40B4-BE49-F238E27FC236}">
                    <a16:creationId xmlns:a16="http://schemas.microsoft.com/office/drawing/2014/main" id="{C5EF9FE8-3A26-D73D-A1A3-67A824392645}"/>
                  </a:ext>
                </a:extLst>
              </p:cNvPr>
              <p:cNvCxnSpPr>
                <a:cxnSpLocks/>
              </p:cNvCxnSpPr>
              <p:nvPr/>
            </p:nvCxnSpPr>
            <p:spPr>
              <a:xfrm>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cxnSp>
            <p:nvCxnSpPr>
              <p:cNvPr id="1674" name="Straight Connector 1673">
                <a:extLst>
                  <a:ext uri="{FF2B5EF4-FFF2-40B4-BE49-F238E27FC236}">
                    <a16:creationId xmlns:a16="http://schemas.microsoft.com/office/drawing/2014/main" id="{C6A17EA3-C9EF-F8F4-6ED3-034C3F73C0AF}"/>
                  </a:ext>
                </a:extLst>
              </p:cNvPr>
              <p:cNvCxnSpPr>
                <a:cxnSpLocks/>
              </p:cNvCxnSpPr>
              <p:nvPr/>
            </p:nvCxnSpPr>
            <p:spPr>
              <a:xfrm rot="5400000">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grpSp>
        <p:grpSp>
          <p:nvGrpSpPr>
            <p:cNvPr id="1675" name="Group 1674">
              <a:extLst>
                <a:ext uri="{FF2B5EF4-FFF2-40B4-BE49-F238E27FC236}">
                  <a16:creationId xmlns:a16="http://schemas.microsoft.com/office/drawing/2014/main" id="{B203D570-4765-CA3D-BCDF-2182A3537689}"/>
                </a:ext>
              </a:extLst>
            </p:cNvPr>
            <p:cNvGrpSpPr/>
            <p:nvPr/>
          </p:nvGrpSpPr>
          <p:grpSpPr>
            <a:xfrm>
              <a:off x="6076792" y="3374139"/>
              <a:ext cx="82971" cy="82971"/>
              <a:chOff x="7236884" y="3439984"/>
              <a:chExt cx="108000" cy="108000"/>
            </a:xfrm>
          </p:grpSpPr>
          <p:cxnSp>
            <p:nvCxnSpPr>
              <p:cNvPr id="1676" name="Straight Connector 1675">
                <a:extLst>
                  <a:ext uri="{FF2B5EF4-FFF2-40B4-BE49-F238E27FC236}">
                    <a16:creationId xmlns:a16="http://schemas.microsoft.com/office/drawing/2014/main" id="{4822DC77-C398-28F3-0B9B-DDE2BC58D5AB}"/>
                  </a:ext>
                </a:extLst>
              </p:cNvPr>
              <p:cNvCxnSpPr>
                <a:cxnSpLocks/>
              </p:cNvCxnSpPr>
              <p:nvPr/>
            </p:nvCxnSpPr>
            <p:spPr>
              <a:xfrm>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cxnSp>
            <p:nvCxnSpPr>
              <p:cNvPr id="1677" name="Straight Connector 1676">
                <a:extLst>
                  <a:ext uri="{FF2B5EF4-FFF2-40B4-BE49-F238E27FC236}">
                    <a16:creationId xmlns:a16="http://schemas.microsoft.com/office/drawing/2014/main" id="{5A82A51E-A0EE-C522-6103-EBBCAD75AF9F}"/>
                  </a:ext>
                </a:extLst>
              </p:cNvPr>
              <p:cNvCxnSpPr>
                <a:cxnSpLocks/>
              </p:cNvCxnSpPr>
              <p:nvPr/>
            </p:nvCxnSpPr>
            <p:spPr>
              <a:xfrm rot="5400000">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grpSp>
        <p:grpSp>
          <p:nvGrpSpPr>
            <p:cNvPr id="1678" name="Group 1677">
              <a:extLst>
                <a:ext uri="{FF2B5EF4-FFF2-40B4-BE49-F238E27FC236}">
                  <a16:creationId xmlns:a16="http://schemas.microsoft.com/office/drawing/2014/main" id="{3624E007-E0BD-F649-916F-C6F75257FD6C}"/>
                </a:ext>
              </a:extLst>
            </p:cNvPr>
            <p:cNvGrpSpPr/>
            <p:nvPr/>
          </p:nvGrpSpPr>
          <p:grpSpPr>
            <a:xfrm>
              <a:off x="6055361" y="3374139"/>
              <a:ext cx="82971" cy="82971"/>
              <a:chOff x="7236884" y="3439984"/>
              <a:chExt cx="108000" cy="108000"/>
            </a:xfrm>
          </p:grpSpPr>
          <p:cxnSp>
            <p:nvCxnSpPr>
              <p:cNvPr id="1679" name="Straight Connector 1678">
                <a:extLst>
                  <a:ext uri="{FF2B5EF4-FFF2-40B4-BE49-F238E27FC236}">
                    <a16:creationId xmlns:a16="http://schemas.microsoft.com/office/drawing/2014/main" id="{0C991E3C-347B-3B82-B7F0-9BB39DE41AAB}"/>
                  </a:ext>
                </a:extLst>
              </p:cNvPr>
              <p:cNvCxnSpPr>
                <a:cxnSpLocks/>
              </p:cNvCxnSpPr>
              <p:nvPr/>
            </p:nvCxnSpPr>
            <p:spPr>
              <a:xfrm>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cxnSp>
            <p:nvCxnSpPr>
              <p:cNvPr id="1680" name="Straight Connector 1679">
                <a:extLst>
                  <a:ext uri="{FF2B5EF4-FFF2-40B4-BE49-F238E27FC236}">
                    <a16:creationId xmlns:a16="http://schemas.microsoft.com/office/drawing/2014/main" id="{3DE81FE6-8944-A284-8E4B-1F8ED022A917}"/>
                  </a:ext>
                </a:extLst>
              </p:cNvPr>
              <p:cNvCxnSpPr>
                <a:cxnSpLocks/>
              </p:cNvCxnSpPr>
              <p:nvPr/>
            </p:nvCxnSpPr>
            <p:spPr>
              <a:xfrm rot="5400000">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grpSp>
        <p:grpSp>
          <p:nvGrpSpPr>
            <p:cNvPr id="1681" name="Group 1680">
              <a:extLst>
                <a:ext uri="{FF2B5EF4-FFF2-40B4-BE49-F238E27FC236}">
                  <a16:creationId xmlns:a16="http://schemas.microsoft.com/office/drawing/2014/main" id="{DE87E92B-723D-8ECC-DB70-09F46F67F214}"/>
                </a:ext>
              </a:extLst>
            </p:cNvPr>
            <p:cNvGrpSpPr/>
            <p:nvPr/>
          </p:nvGrpSpPr>
          <p:grpSpPr>
            <a:xfrm>
              <a:off x="6029167" y="3374139"/>
              <a:ext cx="82971" cy="82971"/>
              <a:chOff x="7236884" y="3439984"/>
              <a:chExt cx="108000" cy="108000"/>
            </a:xfrm>
          </p:grpSpPr>
          <p:cxnSp>
            <p:nvCxnSpPr>
              <p:cNvPr id="1682" name="Straight Connector 1681">
                <a:extLst>
                  <a:ext uri="{FF2B5EF4-FFF2-40B4-BE49-F238E27FC236}">
                    <a16:creationId xmlns:a16="http://schemas.microsoft.com/office/drawing/2014/main" id="{93D2FCDC-3F6C-4462-6BD3-91370C52ED2B}"/>
                  </a:ext>
                </a:extLst>
              </p:cNvPr>
              <p:cNvCxnSpPr>
                <a:cxnSpLocks/>
              </p:cNvCxnSpPr>
              <p:nvPr/>
            </p:nvCxnSpPr>
            <p:spPr>
              <a:xfrm>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cxnSp>
            <p:nvCxnSpPr>
              <p:cNvPr id="1683" name="Straight Connector 1682">
                <a:extLst>
                  <a:ext uri="{FF2B5EF4-FFF2-40B4-BE49-F238E27FC236}">
                    <a16:creationId xmlns:a16="http://schemas.microsoft.com/office/drawing/2014/main" id="{FEF3A12D-53AD-CBD5-BD43-C03ADE965AD2}"/>
                  </a:ext>
                </a:extLst>
              </p:cNvPr>
              <p:cNvCxnSpPr>
                <a:cxnSpLocks/>
              </p:cNvCxnSpPr>
              <p:nvPr/>
            </p:nvCxnSpPr>
            <p:spPr>
              <a:xfrm rot="5400000">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grpSp>
        <p:grpSp>
          <p:nvGrpSpPr>
            <p:cNvPr id="1684" name="Group 1683">
              <a:extLst>
                <a:ext uri="{FF2B5EF4-FFF2-40B4-BE49-F238E27FC236}">
                  <a16:creationId xmlns:a16="http://schemas.microsoft.com/office/drawing/2014/main" id="{09D20A99-3258-B28A-5A76-A43CC1D298C7}"/>
                </a:ext>
              </a:extLst>
            </p:cNvPr>
            <p:cNvGrpSpPr/>
            <p:nvPr/>
          </p:nvGrpSpPr>
          <p:grpSpPr>
            <a:xfrm>
              <a:off x="5945823" y="3324796"/>
              <a:ext cx="82971" cy="82971"/>
              <a:chOff x="7236884" y="3439984"/>
              <a:chExt cx="108000" cy="108000"/>
            </a:xfrm>
          </p:grpSpPr>
          <p:cxnSp>
            <p:nvCxnSpPr>
              <p:cNvPr id="1685" name="Straight Connector 1684">
                <a:extLst>
                  <a:ext uri="{FF2B5EF4-FFF2-40B4-BE49-F238E27FC236}">
                    <a16:creationId xmlns:a16="http://schemas.microsoft.com/office/drawing/2014/main" id="{EE03DCA1-8007-5941-A808-F29B55F76F39}"/>
                  </a:ext>
                </a:extLst>
              </p:cNvPr>
              <p:cNvCxnSpPr>
                <a:cxnSpLocks/>
              </p:cNvCxnSpPr>
              <p:nvPr/>
            </p:nvCxnSpPr>
            <p:spPr>
              <a:xfrm>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cxnSp>
            <p:nvCxnSpPr>
              <p:cNvPr id="1686" name="Straight Connector 1685">
                <a:extLst>
                  <a:ext uri="{FF2B5EF4-FFF2-40B4-BE49-F238E27FC236}">
                    <a16:creationId xmlns:a16="http://schemas.microsoft.com/office/drawing/2014/main" id="{5B0E2F0B-FF10-F073-921D-B6908E357D25}"/>
                  </a:ext>
                </a:extLst>
              </p:cNvPr>
              <p:cNvCxnSpPr>
                <a:cxnSpLocks/>
              </p:cNvCxnSpPr>
              <p:nvPr/>
            </p:nvCxnSpPr>
            <p:spPr>
              <a:xfrm rot="5400000">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grpSp>
        <p:grpSp>
          <p:nvGrpSpPr>
            <p:cNvPr id="1687" name="Group 1686">
              <a:extLst>
                <a:ext uri="{FF2B5EF4-FFF2-40B4-BE49-F238E27FC236}">
                  <a16:creationId xmlns:a16="http://schemas.microsoft.com/office/drawing/2014/main" id="{9FD06050-F042-2223-339B-DF92792553E0}"/>
                </a:ext>
              </a:extLst>
            </p:cNvPr>
            <p:cNvGrpSpPr/>
            <p:nvPr/>
          </p:nvGrpSpPr>
          <p:grpSpPr>
            <a:xfrm>
              <a:off x="5922011" y="3324796"/>
              <a:ext cx="82971" cy="82971"/>
              <a:chOff x="7236884" y="3439984"/>
              <a:chExt cx="108000" cy="108000"/>
            </a:xfrm>
          </p:grpSpPr>
          <p:cxnSp>
            <p:nvCxnSpPr>
              <p:cNvPr id="1688" name="Straight Connector 1687">
                <a:extLst>
                  <a:ext uri="{FF2B5EF4-FFF2-40B4-BE49-F238E27FC236}">
                    <a16:creationId xmlns:a16="http://schemas.microsoft.com/office/drawing/2014/main" id="{E5B7B833-7701-9C62-BD78-1D025502781A}"/>
                  </a:ext>
                </a:extLst>
              </p:cNvPr>
              <p:cNvCxnSpPr>
                <a:cxnSpLocks/>
              </p:cNvCxnSpPr>
              <p:nvPr/>
            </p:nvCxnSpPr>
            <p:spPr>
              <a:xfrm>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cxnSp>
            <p:nvCxnSpPr>
              <p:cNvPr id="1689" name="Straight Connector 1688">
                <a:extLst>
                  <a:ext uri="{FF2B5EF4-FFF2-40B4-BE49-F238E27FC236}">
                    <a16:creationId xmlns:a16="http://schemas.microsoft.com/office/drawing/2014/main" id="{3F837EA9-AAD3-388C-F05B-80232DE69D0A}"/>
                  </a:ext>
                </a:extLst>
              </p:cNvPr>
              <p:cNvCxnSpPr>
                <a:cxnSpLocks/>
              </p:cNvCxnSpPr>
              <p:nvPr/>
            </p:nvCxnSpPr>
            <p:spPr>
              <a:xfrm rot="5400000">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grpSp>
        <p:grpSp>
          <p:nvGrpSpPr>
            <p:cNvPr id="1690" name="Group 1689">
              <a:extLst>
                <a:ext uri="{FF2B5EF4-FFF2-40B4-BE49-F238E27FC236}">
                  <a16:creationId xmlns:a16="http://schemas.microsoft.com/office/drawing/2014/main" id="{40A3F927-97D7-BAC8-497E-9A941564634C}"/>
                </a:ext>
              </a:extLst>
            </p:cNvPr>
            <p:cNvGrpSpPr/>
            <p:nvPr/>
          </p:nvGrpSpPr>
          <p:grpSpPr>
            <a:xfrm>
              <a:off x="5933918" y="3324796"/>
              <a:ext cx="82971" cy="82971"/>
              <a:chOff x="7236884" y="3439984"/>
              <a:chExt cx="108000" cy="108000"/>
            </a:xfrm>
          </p:grpSpPr>
          <p:cxnSp>
            <p:nvCxnSpPr>
              <p:cNvPr id="1691" name="Straight Connector 1690">
                <a:extLst>
                  <a:ext uri="{FF2B5EF4-FFF2-40B4-BE49-F238E27FC236}">
                    <a16:creationId xmlns:a16="http://schemas.microsoft.com/office/drawing/2014/main" id="{B770EFF7-04EB-7386-EA1A-CC552B38E3F8}"/>
                  </a:ext>
                </a:extLst>
              </p:cNvPr>
              <p:cNvCxnSpPr>
                <a:cxnSpLocks/>
              </p:cNvCxnSpPr>
              <p:nvPr/>
            </p:nvCxnSpPr>
            <p:spPr>
              <a:xfrm>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cxnSp>
            <p:nvCxnSpPr>
              <p:cNvPr id="1692" name="Straight Connector 1691">
                <a:extLst>
                  <a:ext uri="{FF2B5EF4-FFF2-40B4-BE49-F238E27FC236}">
                    <a16:creationId xmlns:a16="http://schemas.microsoft.com/office/drawing/2014/main" id="{6AEC7959-595B-8906-BA49-D8A9CE513586}"/>
                  </a:ext>
                </a:extLst>
              </p:cNvPr>
              <p:cNvCxnSpPr>
                <a:cxnSpLocks/>
              </p:cNvCxnSpPr>
              <p:nvPr/>
            </p:nvCxnSpPr>
            <p:spPr>
              <a:xfrm rot="5400000">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grpSp>
        <p:grpSp>
          <p:nvGrpSpPr>
            <p:cNvPr id="1693" name="Group 1692">
              <a:extLst>
                <a:ext uri="{FF2B5EF4-FFF2-40B4-BE49-F238E27FC236}">
                  <a16:creationId xmlns:a16="http://schemas.microsoft.com/office/drawing/2014/main" id="{5306B73F-86E5-CE16-E06B-514464FE3300}"/>
                </a:ext>
              </a:extLst>
            </p:cNvPr>
            <p:cNvGrpSpPr/>
            <p:nvPr/>
          </p:nvGrpSpPr>
          <p:grpSpPr>
            <a:xfrm>
              <a:off x="5883912" y="3322170"/>
              <a:ext cx="82971" cy="82971"/>
              <a:chOff x="7236884" y="3439984"/>
              <a:chExt cx="108000" cy="108000"/>
            </a:xfrm>
          </p:grpSpPr>
          <p:cxnSp>
            <p:nvCxnSpPr>
              <p:cNvPr id="1694" name="Straight Connector 1693">
                <a:extLst>
                  <a:ext uri="{FF2B5EF4-FFF2-40B4-BE49-F238E27FC236}">
                    <a16:creationId xmlns:a16="http://schemas.microsoft.com/office/drawing/2014/main" id="{9AA28330-13C3-C347-41A9-8E79597FB035}"/>
                  </a:ext>
                </a:extLst>
              </p:cNvPr>
              <p:cNvCxnSpPr>
                <a:cxnSpLocks/>
              </p:cNvCxnSpPr>
              <p:nvPr/>
            </p:nvCxnSpPr>
            <p:spPr>
              <a:xfrm>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cxnSp>
            <p:nvCxnSpPr>
              <p:cNvPr id="1695" name="Straight Connector 1694">
                <a:extLst>
                  <a:ext uri="{FF2B5EF4-FFF2-40B4-BE49-F238E27FC236}">
                    <a16:creationId xmlns:a16="http://schemas.microsoft.com/office/drawing/2014/main" id="{FCDFFB3D-6DBC-D03E-AC72-7FCD6C2654B5}"/>
                  </a:ext>
                </a:extLst>
              </p:cNvPr>
              <p:cNvCxnSpPr>
                <a:cxnSpLocks/>
              </p:cNvCxnSpPr>
              <p:nvPr/>
            </p:nvCxnSpPr>
            <p:spPr>
              <a:xfrm rot="5400000">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grpSp>
        <p:grpSp>
          <p:nvGrpSpPr>
            <p:cNvPr id="1696" name="Group 1695">
              <a:extLst>
                <a:ext uri="{FF2B5EF4-FFF2-40B4-BE49-F238E27FC236}">
                  <a16:creationId xmlns:a16="http://schemas.microsoft.com/office/drawing/2014/main" id="{FA5CE935-F5C4-37EF-1DD9-27A05A675BE4}"/>
                </a:ext>
              </a:extLst>
            </p:cNvPr>
            <p:cNvGrpSpPr/>
            <p:nvPr/>
          </p:nvGrpSpPr>
          <p:grpSpPr>
            <a:xfrm>
              <a:off x="5843431" y="3246254"/>
              <a:ext cx="82971" cy="82971"/>
              <a:chOff x="7236884" y="3439984"/>
              <a:chExt cx="108000" cy="108000"/>
            </a:xfrm>
          </p:grpSpPr>
          <p:cxnSp>
            <p:nvCxnSpPr>
              <p:cNvPr id="1697" name="Straight Connector 1696">
                <a:extLst>
                  <a:ext uri="{FF2B5EF4-FFF2-40B4-BE49-F238E27FC236}">
                    <a16:creationId xmlns:a16="http://schemas.microsoft.com/office/drawing/2014/main" id="{7971117F-071F-9C01-A470-A5FA4DD6926E}"/>
                  </a:ext>
                </a:extLst>
              </p:cNvPr>
              <p:cNvCxnSpPr>
                <a:cxnSpLocks/>
              </p:cNvCxnSpPr>
              <p:nvPr/>
            </p:nvCxnSpPr>
            <p:spPr>
              <a:xfrm>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cxnSp>
            <p:nvCxnSpPr>
              <p:cNvPr id="1698" name="Straight Connector 1697">
                <a:extLst>
                  <a:ext uri="{FF2B5EF4-FFF2-40B4-BE49-F238E27FC236}">
                    <a16:creationId xmlns:a16="http://schemas.microsoft.com/office/drawing/2014/main" id="{DE10C677-CA99-D3A0-ED5F-02912D22E45C}"/>
                  </a:ext>
                </a:extLst>
              </p:cNvPr>
              <p:cNvCxnSpPr>
                <a:cxnSpLocks/>
              </p:cNvCxnSpPr>
              <p:nvPr/>
            </p:nvCxnSpPr>
            <p:spPr>
              <a:xfrm rot="5400000">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grpSp>
        <p:grpSp>
          <p:nvGrpSpPr>
            <p:cNvPr id="1699" name="Group 1698">
              <a:extLst>
                <a:ext uri="{FF2B5EF4-FFF2-40B4-BE49-F238E27FC236}">
                  <a16:creationId xmlns:a16="http://schemas.microsoft.com/office/drawing/2014/main" id="{C0F62B14-2C32-FB72-E257-7202BAB7D3FD}"/>
                </a:ext>
              </a:extLst>
            </p:cNvPr>
            <p:cNvGrpSpPr/>
            <p:nvPr/>
          </p:nvGrpSpPr>
          <p:grpSpPr>
            <a:xfrm>
              <a:off x="5869625" y="3254704"/>
              <a:ext cx="82971" cy="82971"/>
              <a:chOff x="7236884" y="3439984"/>
              <a:chExt cx="108000" cy="108000"/>
            </a:xfrm>
          </p:grpSpPr>
          <p:cxnSp>
            <p:nvCxnSpPr>
              <p:cNvPr id="1700" name="Straight Connector 1699">
                <a:extLst>
                  <a:ext uri="{FF2B5EF4-FFF2-40B4-BE49-F238E27FC236}">
                    <a16:creationId xmlns:a16="http://schemas.microsoft.com/office/drawing/2014/main" id="{4FC6FAF1-E1BB-B46C-009E-EFB28B47F7C0}"/>
                  </a:ext>
                </a:extLst>
              </p:cNvPr>
              <p:cNvCxnSpPr>
                <a:cxnSpLocks/>
              </p:cNvCxnSpPr>
              <p:nvPr/>
            </p:nvCxnSpPr>
            <p:spPr>
              <a:xfrm>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cxnSp>
            <p:nvCxnSpPr>
              <p:cNvPr id="1701" name="Straight Connector 1700">
                <a:extLst>
                  <a:ext uri="{FF2B5EF4-FFF2-40B4-BE49-F238E27FC236}">
                    <a16:creationId xmlns:a16="http://schemas.microsoft.com/office/drawing/2014/main" id="{0317F27F-A441-D0E6-FE7E-CE75BAD3364D}"/>
                  </a:ext>
                </a:extLst>
              </p:cNvPr>
              <p:cNvCxnSpPr>
                <a:cxnSpLocks/>
              </p:cNvCxnSpPr>
              <p:nvPr/>
            </p:nvCxnSpPr>
            <p:spPr>
              <a:xfrm rot="5400000">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grpSp>
        <p:grpSp>
          <p:nvGrpSpPr>
            <p:cNvPr id="1702" name="Group 1701">
              <a:extLst>
                <a:ext uri="{FF2B5EF4-FFF2-40B4-BE49-F238E27FC236}">
                  <a16:creationId xmlns:a16="http://schemas.microsoft.com/office/drawing/2014/main" id="{78B95CC4-5983-EBF0-8176-D45AF1E2B851}"/>
                </a:ext>
              </a:extLst>
            </p:cNvPr>
            <p:cNvGrpSpPr/>
            <p:nvPr/>
          </p:nvGrpSpPr>
          <p:grpSpPr>
            <a:xfrm>
              <a:off x="5729107" y="3221239"/>
              <a:ext cx="82971" cy="82971"/>
              <a:chOff x="7236884" y="3439984"/>
              <a:chExt cx="108000" cy="108000"/>
            </a:xfrm>
          </p:grpSpPr>
          <p:cxnSp>
            <p:nvCxnSpPr>
              <p:cNvPr id="1703" name="Straight Connector 1702">
                <a:extLst>
                  <a:ext uri="{FF2B5EF4-FFF2-40B4-BE49-F238E27FC236}">
                    <a16:creationId xmlns:a16="http://schemas.microsoft.com/office/drawing/2014/main" id="{4FE78FDB-778B-526E-0CE3-5B4D8701A894}"/>
                  </a:ext>
                </a:extLst>
              </p:cNvPr>
              <p:cNvCxnSpPr>
                <a:cxnSpLocks/>
              </p:cNvCxnSpPr>
              <p:nvPr/>
            </p:nvCxnSpPr>
            <p:spPr>
              <a:xfrm>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cxnSp>
            <p:nvCxnSpPr>
              <p:cNvPr id="1704" name="Straight Connector 1703">
                <a:extLst>
                  <a:ext uri="{FF2B5EF4-FFF2-40B4-BE49-F238E27FC236}">
                    <a16:creationId xmlns:a16="http://schemas.microsoft.com/office/drawing/2014/main" id="{2A1C979A-19F3-20B0-684A-33E293E1415F}"/>
                  </a:ext>
                </a:extLst>
              </p:cNvPr>
              <p:cNvCxnSpPr>
                <a:cxnSpLocks/>
              </p:cNvCxnSpPr>
              <p:nvPr/>
            </p:nvCxnSpPr>
            <p:spPr>
              <a:xfrm rot="5400000">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grpSp>
        <p:grpSp>
          <p:nvGrpSpPr>
            <p:cNvPr id="1705" name="Group 1704">
              <a:extLst>
                <a:ext uri="{FF2B5EF4-FFF2-40B4-BE49-F238E27FC236}">
                  <a16:creationId xmlns:a16="http://schemas.microsoft.com/office/drawing/2014/main" id="{9E8E7091-9686-889C-910C-E99784C7C6AD}"/>
                </a:ext>
              </a:extLst>
            </p:cNvPr>
            <p:cNvGrpSpPr/>
            <p:nvPr/>
          </p:nvGrpSpPr>
          <p:grpSpPr>
            <a:xfrm>
              <a:off x="5706669" y="3160666"/>
              <a:ext cx="82971" cy="82971"/>
              <a:chOff x="7236884" y="3439984"/>
              <a:chExt cx="108000" cy="108000"/>
            </a:xfrm>
          </p:grpSpPr>
          <p:cxnSp>
            <p:nvCxnSpPr>
              <p:cNvPr id="1706" name="Straight Connector 1705">
                <a:extLst>
                  <a:ext uri="{FF2B5EF4-FFF2-40B4-BE49-F238E27FC236}">
                    <a16:creationId xmlns:a16="http://schemas.microsoft.com/office/drawing/2014/main" id="{21B840CF-8958-A76F-A863-0633B14C4B85}"/>
                  </a:ext>
                </a:extLst>
              </p:cNvPr>
              <p:cNvCxnSpPr>
                <a:cxnSpLocks/>
              </p:cNvCxnSpPr>
              <p:nvPr/>
            </p:nvCxnSpPr>
            <p:spPr>
              <a:xfrm>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cxnSp>
            <p:nvCxnSpPr>
              <p:cNvPr id="1707" name="Straight Connector 1706">
                <a:extLst>
                  <a:ext uri="{FF2B5EF4-FFF2-40B4-BE49-F238E27FC236}">
                    <a16:creationId xmlns:a16="http://schemas.microsoft.com/office/drawing/2014/main" id="{B7F8E21E-096D-C0F2-8EEC-14637ABFEF89}"/>
                  </a:ext>
                </a:extLst>
              </p:cNvPr>
              <p:cNvCxnSpPr>
                <a:cxnSpLocks/>
              </p:cNvCxnSpPr>
              <p:nvPr/>
            </p:nvCxnSpPr>
            <p:spPr>
              <a:xfrm rot="5400000">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grpSp>
        <p:grpSp>
          <p:nvGrpSpPr>
            <p:cNvPr id="1708" name="Group 1707">
              <a:extLst>
                <a:ext uri="{FF2B5EF4-FFF2-40B4-BE49-F238E27FC236}">
                  <a16:creationId xmlns:a16="http://schemas.microsoft.com/office/drawing/2014/main" id="{C059AF40-3962-8DCC-028A-6FA94CAE150C}"/>
                </a:ext>
              </a:extLst>
            </p:cNvPr>
            <p:cNvGrpSpPr/>
            <p:nvPr/>
          </p:nvGrpSpPr>
          <p:grpSpPr>
            <a:xfrm>
              <a:off x="5670950" y="3160666"/>
              <a:ext cx="82971" cy="82971"/>
              <a:chOff x="7236884" y="3439984"/>
              <a:chExt cx="108000" cy="108000"/>
            </a:xfrm>
          </p:grpSpPr>
          <p:cxnSp>
            <p:nvCxnSpPr>
              <p:cNvPr id="1709" name="Straight Connector 1708">
                <a:extLst>
                  <a:ext uri="{FF2B5EF4-FFF2-40B4-BE49-F238E27FC236}">
                    <a16:creationId xmlns:a16="http://schemas.microsoft.com/office/drawing/2014/main" id="{87ABD8DA-86E3-A74A-FB82-DE7C23BEA6FA}"/>
                  </a:ext>
                </a:extLst>
              </p:cNvPr>
              <p:cNvCxnSpPr>
                <a:cxnSpLocks/>
              </p:cNvCxnSpPr>
              <p:nvPr/>
            </p:nvCxnSpPr>
            <p:spPr>
              <a:xfrm>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cxnSp>
            <p:nvCxnSpPr>
              <p:cNvPr id="1710" name="Straight Connector 1709">
                <a:extLst>
                  <a:ext uri="{FF2B5EF4-FFF2-40B4-BE49-F238E27FC236}">
                    <a16:creationId xmlns:a16="http://schemas.microsoft.com/office/drawing/2014/main" id="{1DD3C1EF-28E8-ECB9-2587-D5CAA92F58DE}"/>
                  </a:ext>
                </a:extLst>
              </p:cNvPr>
              <p:cNvCxnSpPr>
                <a:cxnSpLocks/>
              </p:cNvCxnSpPr>
              <p:nvPr/>
            </p:nvCxnSpPr>
            <p:spPr>
              <a:xfrm rot="5400000">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grpSp>
        <p:grpSp>
          <p:nvGrpSpPr>
            <p:cNvPr id="1711" name="Group 1710">
              <a:extLst>
                <a:ext uri="{FF2B5EF4-FFF2-40B4-BE49-F238E27FC236}">
                  <a16:creationId xmlns:a16="http://schemas.microsoft.com/office/drawing/2014/main" id="{363D460B-FFF4-59A3-3D62-25AE8F3B4DE1}"/>
                </a:ext>
              </a:extLst>
            </p:cNvPr>
            <p:cNvGrpSpPr/>
            <p:nvPr/>
          </p:nvGrpSpPr>
          <p:grpSpPr>
            <a:xfrm>
              <a:off x="5685238" y="3160666"/>
              <a:ext cx="82971" cy="82971"/>
              <a:chOff x="7236884" y="3439984"/>
              <a:chExt cx="108000" cy="108000"/>
            </a:xfrm>
          </p:grpSpPr>
          <p:cxnSp>
            <p:nvCxnSpPr>
              <p:cNvPr id="1712" name="Straight Connector 1711">
                <a:extLst>
                  <a:ext uri="{FF2B5EF4-FFF2-40B4-BE49-F238E27FC236}">
                    <a16:creationId xmlns:a16="http://schemas.microsoft.com/office/drawing/2014/main" id="{5761CF3C-78AB-2637-3940-DC36BC577EDF}"/>
                  </a:ext>
                </a:extLst>
              </p:cNvPr>
              <p:cNvCxnSpPr>
                <a:cxnSpLocks/>
              </p:cNvCxnSpPr>
              <p:nvPr/>
            </p:nvCxnSpPr>
            <p:spPr>
              <a:xfrm>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cxnSp>
            <p:nvCxnSpPr>
              <p:cNvPr id="1713" name="Straight Connector 1712">
                <a:extLst>
                  <a:ext uri="{FF2B5EF4-FFF2-40B4-BE49-F238E27FC236}">
                    <a16:creationId xmlns:a16="http://schemas.microsoft.com/office/drawing/2014/main" id="{7BFD4FB6-9F46-1347-FEB5-16845191711B}"/>
                  </a:ext>
                </a:extLst>
              </p:cNvPr>
              <p:cNvCxnSpPr>
                <a:cxnSpLocks/>
              </p:cNvCxnSpPr>
              <p:nvPr/>
            </p:nvCxnSpPr>
            <p:spPr>
              <a:xfrm rot="5400000">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grpSp>
        <p:grpSp>
          <p:nvGrpSpPr>
            <p:cNvPr id="1714" name="Group 1713">
              <a:extLst>
                <a:ext uri="{FF2B5EF4-FFF2-40B4-BE49-F238E27FC236}">
                  <a16:creationId xmlns:a16="http://schemas.microsoft.com/office/drawing/2014/main" id="{14E6B4F4-1F67-732B-D0C5-31BB291A1959}"/>
                </a:ext>
              </a:extLst>
            </p:cNvPr>
            <p:cNvGrpSpPr/>
            <p:nvPr/>
          </p:nvGrpSpPr>
          <p:grpSpPr>
            <a:xfrm>
              <a:off x="5694763" y="3160666"/>
              <a:ext cx="82971" cy="82971"/>
              <a:chOff x="7236884" y="3439984"/>
              <a:chExt cx="108000" cy="108000"/>
            </a:xfrm>
          </p:grpSpPr>
          <p:cxnSp>
            <p:nvCxnSpPr>
              <p:cNvPr id="1715" name="Straight Connector 1714">
                <a:extLst>
                  <a:ext uri="{FF2B5EF4-FFF2-40B4-BE49-F238E27FC236}">
                    <a16:creationId xmlns:a16="http://schemas.microsoft.com/office/drawing/2014/main" id="{C42DEF92-5498-827B-242D-DEF0E7977495}"/>
                  </a:ext>
                </a:extLst>
              </p:cNvPr>
              <p:cNvCxnSpPr>
                <a:cxnSpLocks/>
              </p:cNvCxnSpPr>
              <p:nvPr/>
            </p:nvCxnSpPr>
            <p:spPr>
              <a:xfrm>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cxnSp>
            <p:nvCxnSpPr>
              <p:cNvPr id="1716" name="Straight Connector 1715">
                <a:extLst>
                  <a:ext uri="{FF2B5EF4-FFF2-40B4-BE49-F238E27FC236}">
                    <a16:creationId xmlns:a16="http://schemas.microsoft.com/office/drawing/2014/main" id="{865D8343-0FB5-84F5-0596-33895A9CD6A5}"/>
                  </a:ext>
                </a:extLst>
              </p:cNvPr>
              <p:cNvCxnSpPr>
                <a:cxnSpLocks/>
              </p:cNvCxnSpPr>
              <p:nvPr/>
            </p:nvCxnSpPr>
            <p:spPr>
              <a:xfrm rot="5400000">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grpSp>
        <p:grpSp>
          <p:nvGrpSpPr>
            <p:cNvPr id="1717" name="Group 1716">
              <a:extLst>
                <a:ext uri="{FF2B5EF4-FFF2-40B4-BE49-F238E27FC236}">
                  <a16:creationId xmlns:a16="http://schemas.microsoft.com/office/drawing/2014/main" id="{E9E28BF3-729E-91ED-BCA0-5500D870B8B0}"/>
                </a:ext>
              </a:extLst>
            </p:cNvPr>
            <p:cNvGrpSpPr/>
            <p:nvPr/>
          </p:nvGrpSpPr>
          <p:grpSpPr>
            <a:xfrm>
              <a:off x="5650898" y="3133464"/>
              <a:ext cx="82971" cy="82971"/>
              <a:chOff x="7236884" y="3439984"/>
              <a:chExt cx="108000" cy="108000"/>
            </a:xfrm>
          </p:grpSpPr>
          <p:cxnSp>
            <p:nvCxnSpPr>
              <p:cNvPr id="1718" name="Straight Connector 1717">
                <a:extLst>
                  <a:ext uri="{FF2B5EF4-FFF2-40B4-BE49-F238E27FC236}">
                    <a16:creationId xmlns:a16="http://schemas.microsoft.com/office/drawing/2014/main" id="{F8E6EAC4-D052-DDF6-9B20-BBA04701BC22}"/>
                  </a:ext>
                </a:extLst>
              </p:cNvPr>
              <p:cNvCxnSpPr>
                <a:cxnSpLocks/>
              </p:cNvCxnSpPr>
              <p:nvPr/>
            </p:nvCxnSpPr>
            <p:spPr>
              <a:xfrm>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cxnSp>
            <p:nvCxnSpPr>
              <p:cNvPr id="1719" name="Straight Connector 1718">
                <a:extLst>
                  <a:ext uri="{FF2B5EF4-FFF2-40B4-BE49-F238E27FC236}">
                    <a16:creationId xmlns:a16="http://schemas.microsoft.com/office/drawing/2014/main" id="{9B65B1B8-31D2-391A-0046-9DFD682DD598}"/>
                  </a:ext>
                </a:extLst>
              </p:cNvPr>
              <p:cNvCxnSpPr>
                <a:cxnSpLocks/>
              </p:cNvCxnSpPr>
              <p:nvPr/>
            </p:nvCxnSpPr>
            <p:spPr>
              <a:xfrm rot="5400000">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grpSp>
        <p:grpSp>
          <p:nvGrpSpPr>
            <p:cNvPr id="1720" name="Group 1719">
              <a:extLst>
                <a:ext uri="{FF2B5EF4-FFF2-40B4-BE49-F238E27FC236}">
                  <a16:creationId xmlns:a16="http://schemas.microsoft.com/office/drawing/2014/main" id="{217FBBAA-B892-692E-607C-1B9117C94785}"/>
                </a:ext>
              </a:extLst>
            </p:cNvPr>
            <p:cNvGrpSpPr/>
            <p:nvPr/>
          </p:nvGrpSpPr>
          <p:grpSpPr>
            <a:xfrm>
              <a:off x="5634229" y="3133464"/>
              <a:ext cx="82971" cy="82971"/>
              <a:chOff x="7236884" y="3439984"/>
              <a:chExt cx="108000" cy="108000"/>
            </a:xfrm>
          </p:grpSpPr>
          <p:cxnSp>
            <p:nvCxnSpPr>
              <p:cNvPr id="1721" name="Straight Connector 1720">
                <a:extLst>
                  <a:ext uri="{FF2B5EF4-FFF2-40B4-BE49-F238E27FC236}">
                    <a16:creationId xmlns:a16="http://schemas.microsoft.com/office/drawing/2014/main" id="{012DCAFA-AC84-B2FB-BA97-57D70A7E354E}"/>
                  </a:ext>
                </a:extLst>
              </p:cNvPr>
              <p:cNvCxnSpPr>
                <a:cxnSpLocks/>
              </p:cNvCxnSpPr>
              <p:nvPr/>
            </p:nvCxnSpPr>
            <p:spPr>
              <a:xfrm>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cxnSp>
            <p:nvCxnSpPr>
              <p:cNvPr id="1722" name="Straight Connector 1721">
                <a:extLst>
                  <a:ext uri="{FF2B5EF4-FFF2-40B4-BE49-F238E27FC236}">
                    <a16:creationId xmlns:a16="http://schemas.microsoft.com/office/drawing/2014/main" id="{DA790AF4-7677-5FB1-8394-594FC531C9B0}"/>
                  </a:ext>
                </a:extLst>
              </p:cNvPr>
              <p:cNvCxnSpPr>
                <a:cxnSpLocks/>
              </p:cNvCxnSpPr>
              <p:nvPr/>
            </p:nvCxnSpPr>
            <p:spPr>
              <a:xfrm rot="5400000">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grpSp>
        <p:grpSp>
          <p:nvGrpSpPr>
            <p:cNvPr id="1723" name="Group 1722">
              <a:extLst>
                <a:ext uri="{FF2B5EF4-FFF2-40B4-BE49-F238E27FC236}">
                  <a16:creationId xmlns:a16="http://schemas.microsoft.com/office/drawing/2014/main" id="{BF94F1CD-F883-F5C9-2590-27F2922759A2}"/>
                </a:ext>
              </a:extLst>
            </p:cNvPr>
            <p:cNvGrpSpPr/>
            <p:nvPr/>
          </p:nvGrpSpPr>
          <p:grpSpPr>
            <a:xfrm>
              <a:off x="5624458" y="3113545"/>
              <a:ext cx="82971" cy="82971"/>
              <a:chOff x="7236884" y="3439984"/>
              <a:chExt cx="108000" cy="108000"/>
            </a:xfrm>
          </p:grpSpPr>
          <p:cxnSp>
            <p:nvCxnSpPr>
              <p:cNvPr id="1724" name="Straight Connector 1723">
                <a:extLst>
                  <a:ext uri="{FF2B5EF4-FFF2-40B4-BE49-F238E27FC236}">
                    <a16:creationId xmlns:a16="http://schemas.microsoft.com/office/drawing/2014/main" id="{8F242A2E-41BF-EBFE-E1A7-6F773F3842C6}"/>
                  </a:ext>
                </a:extLst>
              </p:cNvPr>
              <p:cNvCxnSpPr>
                <a:cxnSpLocks/>
              </p:cNvCxnSpPr>
              <p:nvPr/>
            </p:nvCxnSpPr>
            <p:spPr>
              <a:xfrm>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cxnSp>
            <p:nvCxnSpPr>
              <p:cNvPr id="1725" name="Straight Connector 1724">
                <a:extLst>
                  <a:ext uri="{FF2B5EF4-FFF2-40B4-BE49-F238E27FC236}">
                    <a16:creationId xmlns:a16="http://schemas.microsoft.com/office/drawing/2014/main" id="{D63B42B5-932D-BDC9-0B07-7F748C368262}"/>
                  </a:ext>
                </a:extLst>
              </p:cNvPr>
              <p:cNvCxnSpPr>
                <a:cxnSpLocks/>
              </p:cNvCxnSpPr>
              <p:nvPr/>
            </p:nvCxnSpPr>
            <p:spPr>
              <a:xfrm rot="5400000">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grpSp>
        <p:grpSp>
          <p:nvGrpSpPr>
            <p:cNvPr id="1726" name="Group 1725">
              <a:extLst>
                <a:ext uri="{FF2B5EF4-FFF2-40B4-BE49-F238E27FC236}">
                  <a16:creationId xmlns:a16="http://schemas.microsoft.com/office/drawing/2014/main" id="{83B8D24A-8B49-3C27-C060-B03976FB5FB9}"/>
                </a:ext>
              </a:extLst>
            </p:cNvPr>
            <p:cNvGrpSpPr/>
            <p:nvPr/>
          </p:nvGrpSpPr>
          <p:grpSpPr>
            <a:xfrm>
              <a:off x="5603645" y="3093024"/>
              <a:ext cx="82971" cy="82971"/>
              <a:chOff x="7236884" y="3439984"/>
              <a:chExt cx="108000" cy="108000"/>
            </a:xfrm>
          </p:grpSpPr>
          <p:cxnSp>
            <p:nvCxnSpPr>
              <p:cNvPr id="1727" name="Straight Connector 1726">
                <a:extLst>
                  <a:ext uri="{FF2B5EF4-FFF2-40B4-BE49-F238E27FC236}">
                    <a16:creationId xmlns:a16="http://schemas.microsoft.com/office/drawing/2014/main" id="{13623537-1CF4-D95E-00A8-47C47B59727C}"/>
                  </a:ext>
                </a:extLst>
              </p:cNvPr>
              <p:cNvCxnSpPr>
                <a:cxnSpLocks/>
              </p:cNvCxnSpPr>
              <p:nvPr/>
            </p:nvCxnSpPr>
            <p:spPr>
              <a:xfrm>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cxnSp>
            <p:nvCxnSpPr>
              <p:cNvPr id="1728" name="Straight Connector 1727">
                <a:extLst>
                  <a:ext uri="{FF2B5EF4-FFF2-40B4-BE49-F238E27FC236}">
                    <a16:creationId xmlns:a16="http://schemas.microsoft.com/office/drawing/2014/main" id="{126A593F-FD29-4ECF-45C1-D56F105B532C}"/>
                  </a:ext>
                </a:extLst>
              </p:cNvPr>
              <p:cNvCxnSpPr>
                <a:cxnSpLocks/>
              </p:cNvCxnSpPr>
              <p:nvPr/>
            </p:nvCxnSpPr>
            <p:spPr>
              <a:xfrm rot="5400000">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grpSp>
        <p:grpSp>
          <p:nvGrpSpPr>
            <p:cNvPr id="1729" name="Group 1728">
              <a:extLst>
                <a:ext uri="{FF2B5EF4-FFF2-40B4-BE49-F238E27FC236}">
                  <a16:creationId xmlns:a16="http://schemas.microsoft.com/office/drawing/2014/main" id="{A6F10760-C797-1562-DE83-2413A6E07C01}"/>
                </a:ext>
              </a:extLst>
            </p:cNvPr>
            <p:cNvGrpSpPr/>
            <p:nvPr/>
          </p:nvGrpSpPr>
          <p:grpSpPr>
            <a:xfrm>
              <a:off x="5554563" y="3051539"/>
              <a:ext cx="82971" cy="82971"/>
              <a:chOff x="7236884" y="3439984"/>
              <a:chExt cx="108000" cy="108000"/>
            </a:xfrm>
          </p:grpSpPr>
          <p:cxnSp>
            <p:nvCxnSpPr>
              <p:cNvPr id="1730" name="Straight Connector 1729">
                <a:extLst>
                  <a:ext uri="{FF2B5EF4-FFF2-40B4-BE49-F238E27FC236}">
                    <a16:creationId xmlns:a16="http://schemas.microsoft.com/office/drawing/2014/main" id="{65E6CEB1-FAEE-25A5-BD08-F67123C06A87}"/>
                  </a:ext>
                </a:extLst>
              </p:cNvPr>
              <p:cNvCxnSpPr>
                <a:cxnSpLocks/>
              </p:cNvCxnSpPr>
              <p:nvPr/>
            </p:nvCxnSpPr>
            <p:spPr>
              <a:xfrm>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cxnSp>
            <p:nvCxnSpPr>
              <p:cNvPr id="1731" name="Straight Connector 1730">
                <a:extLst>
                  <a:ext uri="{FF2B5EF4-FFF2-40B4-BE49-F238E27FC236}">
                    <a16:creationId xmlns:a16="http://schemas.microsoft.com/office/drawing/2014/main" id="{3DC8BF8D-E9B8-E7B4-CA4F-8D8509E5807A}"/>
                  </a:ext>
                </a:extLst>
              </p:cNvPr>
              <p:cNvCxnSpPr>
                <a:cxnSpLocks/>
              </p:cNvCxnSpPr>
              <p:nvPr/>
            </p:nvCxnSpPr>
            <p:spPr>
              <a:xfrm rot="5400000">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grpSp>
        <p:grpSp>
          <p:nvGrpSpPr>
            <p:cNvPr id="1732" name="Group 1731">
              <a:extLst>
                <a:ext uri="{FF2B5EF4-FFF2-40B4-BE49-F238E27FC236}">
                  <a16:creationId xmlns:a16="http://schemas.microsoft.com/office/drawing/2014/main" id="{C26FA3EF-7404-DEF8-8EFB-DF8B0F2DD658}"/>
                </a:ext>
              </a:extLst>
            </p:cNvPr>
            <p:cNvGrpSpPr/>
            <p:nvPr/>
          </p:nvGrpSpPr>
          <p:grpSpPr>
            <a:xfrm>
              <a:off x="5571232" y="3051539"/>
              <a:ext cx="82971" cy="82971"/>
              <a:chOff x="7236884" y="3439984"/>
              <a:chExt cx="108000" cy="108000"/>
            </a:xfrm>
          </p:grpSpPr>
          <p:cxnSp>
            <p:nvCxnSpPr>
              <p:cNvPr id="1733" name="Straight Connector 1732">
                <a:extLst>
                  <a:ext uri="{FF2B5EF4-FFF2-40B4-BE49-F238E27FC236}">
                    <a16:creationId xmlns:a16="http://schemas.microsoft.com/office/drawing/2014/main" id="{63E0BC83-1F9B-D9FF-4A01-1E569CB02046}"/>
                  </a:ext>
                </a:extLst>
              </p:cNvPr>
              <p:cNvCxnSpPr>
                <a:cxnSpLocks/>
              </p:cNvCxnSpPr>
              <p:nvPr/>
            </p:nvCxnSpPr>
            <p:spPr>
              <a:xfrm>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cxnSp>
            <p:nvCxnSpPr>
              <p:cNvPr id="1734" name="Straight Connector 1733">
                <a:extLst>
                  <a:ext uri="{FF2B5EF4-FFF2-40B4-BE49-F238E27FC236}">
                    <a16:creationId xmlns:a16="http://schemas.microsoft.com/office/drawing/2014/main" id="{5F9803AD-FB66-DF2D-82F7-95F9FB383EA6}"/>
                  </a:ext>
                </a:extLst>
              </p:cNvPr>
              <p:cNvCxnSpPr>
                <a:cxnSpLocks/>
              </p:cNvCxnSpPr>
              <p:nvPr/>
            </p:nvCxnSpPr>
            <p:spPr>
              <a:xfrm rot="5400000">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grpSp>
        <p:grpSp>
          <p:nvGrpSpPr>
            <p:cNvPr id="1735" name="Group 1734">
              <a:extLst>
                <a:ext uri="{FF2B5EF4-FFF2-40B4-BE49-F238E27FC236}">
                  <a16:creationId xmlns:a16="http://schemas.microsoft.com/office/drawing/2014/main" id="{4435FF44-E3A0-DC32-8978-DAA63FC1A4CC}"/>
                </a:ext>
              </a:extLst>
            </p:cNvPr>
            <p:cNvGrpSpPr/>
            <p:nvPr/>
          </p:nvGrpSpPr>
          <p:grpSpPr>
            <a:xfrm>
              <a:off x="5513077" y="2980883"/>
              <a:ext cx="82971" cy="82971"/>
              <a:chOff x="7236884" y="3439984"/>
              <a:chExt cx="108000" cy="108000"/>
            </a:xfrm>
          </p:grpSpPr>
          <p:cxnSp>
            <p:nvCxnSpPr>
              <p:cNvPr id="1736" name="Straight Connector 1735">
                <a:extLst>
                  <a:ext uri="{FF2B5EF4-FFF2-40B4-BE49-F238E27FC236}">
                    <a16:creationId xmlns:a16="http://schemas.microsoft.com/office/drawing/2014/main" id="{66B88B90-FA8C-542E-D01E-39442B2270DA}"/>
                  </a:ext>
                </a:extLst>
              </p:cNvPr>
              <p:cNvCxnSpPr>
                <a:cxnSpLocks/>
              </p:cNvCxnSpPr>
              <p:nvPr/>
            </p:nvCxnSpPr>
            <p:spPr>
              <a:xfrm>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cxnSp>
            <p:nvCxnSpPr>
              <p:cNvPr id="1737" name="Straight Connector 1736">
                <a:extLst>
                  <a:ext uri="{FF2B5EF4-FFF2-40B4-BE49-F238E27FC236}">
                    <a16:creationId xmlns:a16="http://schemas.microsoft.com/office/drawing/2014/main" id="{D7E32FAF-2A3F-9AED-9CC0-37217680BF5E}"/>
                  </a:ext>
                </a:extLst>
              </p:cNvPr>
              <p:cNvCxnSpPr>
                <a:cxnSpLocks/>
              </p:cNvCxnSpPr>
              <p:nvPr/>
            </p:nvCxnSpPr>
            <p:spPr>
              <a:xfrm rot="5400000">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grpSp>
        <p:grpSp>
          <p:nvGrpSpPr>
            <p:cNvPr id="1738" name="Group 1737">
              <a:extLst>
                <a:ext uri="{FF2B5EF4-FFF2-40B4-BE49-F238E27FC236}">
                  <a16:creationId xmlns:a16="http://schemas.microsoft.com/office/drawing/2014/main" id="{7C80D996-FFFE-EC2B-0F76-87BE4EA754A3}"/>
                </a:ext>
              </a:extLst>
            </p:cNvPr>
            <p:cNvGrpSpPr/>
            <p:nvPr/>
          </p:nvGrpSpPr>
          <p:grpSpPr>
            <a:xfrm>
              <a:off x="5499003" y="2953638"/>
              <a:ext cx="82971" cy="82971"/>
              <a:chOff x="7236884" y="3439984"/>
              <a:chExt cx="108000" cy="108000"/>
            </a:xfrm>
          </p:grpSpPr>
          <p:cxnSp>
            <p:nvCxnSpPr>
              <p:cNvPr id="1739" name="Straight Connector 1738">
                <a:extLst>
                  <a:ext uri="{FF2B5EF4-FFF2-40B4-BE49-F238E27FC236}">
                    <a16:creationId xmlns:a16="http://schemas.microsoft.com/office/drawing/2014/main" id="{B3687D7F-1FF4-BB49-5A97-B95966CDBF1D}"/>
                  </a:ext>
                </a:extLst>
              </p:cNvPr>
              <p:cNvCxnSpPr>
                <a:cxnSpLocks/>
              </p:cNvCxnSpPr>
              <p:nvPr/>
            </p:nvCxnSpPr>
            <p:spPr>
              <a:xfrm>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cxnSp>
            <p:nvCxnSpPr>
              <p:cNvPr id="1740" name="Straight Connector 1739">
                <a:extLst>
                  <a:ext uri="{FF2B5EF4-FFF2-40B4-BE49-F238E27FC236}">
                    <a16:creationId xmlns:a16="http://schemas.microsoft.com/office/drawing/2014/main" id="{4B3E2268-2355-CA73-2E29-4D53B9738966}"/>
                  </a:ext>
                </a:extLst>
              </p:cNvPr>
              <p:cNvCxnSpPr>
                <a:cxnSpLocks/>
              </p:cNvCxnSpPr>
              <p:nvPr/>
            </p:nvCxnSpPr>
            <p:spPr>
              <a:xfrm rot="5400000">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grpSp>
        <p:grpSp>
          <p:nvGrpSpPr>
            <p:cNvPr id="1741" name="Group 1740">
              <a:extLst>
                <a:ext uri="{FF2B5EF4-FFF2-40B4-BE49-F238E27FC236}">
                  <a16:creationId xmlns:a16="http://schemas.microsoft.com/office/drawing/2014/main" id="{CF61CE2C-B559-F5AD-EE27-5C98DD666E02}"/>
                </a:ext>
              </a:extLst>
            </p:cNvPr>
            <p:cNvGrpSpPr/>
            <p:nvPr/>
          </p:nvGrpSpPr>
          <p:grpSpPr>
            <a:xfrm>
              <a:off x="5477842" y="2912914"/>
              <a:ext cx="82971" cy="82971"/>
              <a:chOff x="7236884" y="3439984"/>
              <a:chExt cx="108000" cy="108000"/>
            </a:xfrm>
          </p:grpSpPr>
          <p:cxnSp>
            <p:nvCxnSpPr>
              <p:cNvPr id="1742" name="Straight Connector 1741">
                <a:extLst>
                  <a:ext uri="{FF2B5EF4-FFF2-40B4-BE49-F238E27FC236}">
                    <a16:creationId xmlns:a16="http://schemas.microsoft.com/office/drawing/2014/main" id="{2A8652B5-2543-4567-AC04-78C9A0D5341E}"/>
                  </a:ext>
                </a:extLst>
              </p:cNvPr>
              <p:cNvCxnSpPr>
                <a:cxnSpLocks/>
              </p:cNvCxnSpPr>
              <p:nvPr/>
            </p:nvCxnSpPr>
            <p:spPr>
              <a:xfrm>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cxnSp>
            <p:nvCxnSpPr>
              <p:cNvPr id="1743" name="Straight Connector 1742">
                <a:extLst>
                  <a:ext uri="{FF2B5EF4-FFF2-40B4-BE49-F238E27FC236}">
                    <a16:creationId xmlns:a16="http://schemas.microsoft.com/office/drawing/2014/main" id="{559A07EF-95A7-C88B-EFEB-589A2B8D3BF7}"/>
                  </a:ext>
                </a:extLst>
              </p:cNvPr>
              <p:cNvCxnSpPr>
                <a:cxnSpLocks/>
              </p:cNvCxnSpPr>
              <p:nvPr/>
            </p:nvCxnSpPr>
            <p:spPr>
              <a:xfrm rot="5400000">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grpSp>
        <p:grpSp>
          <p:nvGrpSpPr>
            <p:cNvPr id="1744" name="Group 1743">
              <a:extLst>
                <a:ext uri="{FF2B5EF4-FFF2-40B4-BE49-F238E27FC236}">
                  <a16:creationId xmlns:a16="http://schemas.microsoft.com/office/drawing/2014/main" id="{1AFC1ADC-1E6C-9595-A00C-1B855D90FC38}"/>
                </a:ext>
              </a:extLst>
            </p:cNvPr>
            <p:cNvGrpSpPr/>
            <p:nvPr/>
          </p:nvGrpSpPr>
          <p:grpSpPr>
            <a:xfrm>
              <a:off x="5452755" y="2900003"/>
              <a:ext cx="82971" cy="82971"/>
              <a:chOff x="7236884" y="3439984"/>
              <a:chExt cx="108000" cy="108000"/>
            </a:xfrm>
          </p:grpSpPr>
          <p:cxnSp>
            <p:nvCxnSpPr>
              <p:cNvPr id="1745" name="Straight Connector 1744">
                <a:extLst>
                  <a:ext uri="{FF2B5EF4-FFF2-40B4-BE49-F238E27FC236}">
                    <a16:creationId xmlns:a16="http://schemas.microsoft.com/office/drawing/2014/main" id="{78EB97EF-DABF-6360-FB11-EECA3459D14C}"/>
                  </a:ext>
                </a:extLst>
              </p:cNvPr>
              <p:cNvCxnSpPr>
                <a:cxnSpLocks/>
              </p:cNvCxnSpPr>
              <p:nvPr/>
            </p:nvCxnSpPr>
            <p:spPr>
              <a:xfrm>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cxnSp>
            <p:nvCxnSpPr>
              <p:cNvPr id="1746" name="Straight Connector 1745">
                <a:extLst>
                  <a:ext uri="{FF2B5EF4-FFF2-40B4-BE49-F238E27FC236}">
                    <a16:creationId xmlns:a16="http://schemas.microsoft.com/office/drawing/2014/main" id="{CD7293CB-04AA-8CA1-B681-2AFA13F45FA1}"/>
                  </a:ext>
                </a:extLst>
              </p:cNvPr>
              <p:cNvCxnSpPr>
                <a:cxnSpLocks/>
              </p:cNvCxnSpPr>
              <p:nvPr/>
            </p:nvCxnSpPr>
            <p:spPr>
              <a:xfrm rot="5400000">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grpSp>
        <p:grpSp>
          <p:nvGrpSpPr>
            <p:cNvPr id="1747" name="Group 1746">
              <a:extLst>
                <a:ext uri="{FF2B5EF4-FFF2-40B4-BE49-F238E27FC236}">
                  <a16:creationId xmlns:a16="http://schemas.microsoft.com/office/drawing/2014/main" id="{DBCD854B-E23F-7011-5481-4E8036E1234F}"/>
                </a:ext>
              </a:extLst>
            </p:cNvPr>
            <p:cNvGrpSpPr/>
            <p:nvPr/>
          </p:nvGrpSpPr>
          <p:grpSpPr>
            <a:xfrm>
              <a:off x="5430318" y="2836352"/>
              <a:ext cx="82971" cy="82971"/>
              <a:chOff x="7236884" y="3439984"/>
              <a:chExt cx="108000" cy="108000"/>
            </a:xfrm>
          </p:grpSpPr>
          <p:cxnSp>
            <p:nvCxnSpPr>
              <p:cNvPr id="1748" name="Straight Connector 1747">
                <a:extLst>
                  <a:ext uri="{FF2B5EF4-FFF2-40B4-BE49-F238E27FC236}">
                    <a16:creationId xmlns:a16="http://schemas.microsoft.com/office/drawing/2014/main" id="{1A8956A3-ECC5-9D60-C0DC-CABDC4D1468C}"/>
                  </a:ext>
                </a:extLst>
              </p:cNvPr>
              <p:cNvCxnSpPr>
                <a:cxnSpLocks/>
              </p:cNvCxnSpPr>
              <p:nvPr/>
            </p:nvCxnSpPr>
            <p:spPr>
              <a:xfrm>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cxnSp>
            <p:nvCxnSpPr>
              <p:cNvPr id="1749" name="Straight Connector 1748">
                <a:extLst>
                  <a:ext uri="{FF2B5EF4-FFF2-40B4-BE49-F238E27FC236}">
                    <a16:creationId xmlns:a16="http://schemas.microsoft.com/office/drawing/2014/main" id="{2CEA1587-1E9E-E08C-A539-0E0A4D4B36DE}"/>
                  </a:ext>
                </a:extLst>
              </p:cNvPr>
              <p:cNvCxnSpPr>
                <a:cxnSpLocks/>
              </p:cNvCxnSpPr>
              <p:nvPr/>
            </p:nvCxnSpPr>
            <p:spPr>
              <a:xfrm rot="5400000">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grpSp>
        <p:grpSp>
          <p:nvGrpSpPr>
            <p:cNvPr id="1750" name="Group 1749">
              <a:extLst>
                <a:ext uri="{FF2B5EF4-FFF2-40B4-BE49-F238E27FC236}">
                  <a16:creationId xmlns:a16="http://schemas.microsoft.com/office/drawing/2014/main" id="{34DCC8AE-6288-4E71-1748-EF4B859EB9C7}"/>
                </a:ext>
              </a:extLst>
            </p:cNvPr>
            <p:cNvGrpSpPr/>
            <p:nvPr/>
          </p:nvGrpSpPr>
          <p:grpSpPr>
            <a:xfrm>
              <a:off x="5396980" y="2756753"/>
              <a:ext cx="82971" cy="82971"/>
              <a:chOff x="7236884" y="3439984"/>
              <a:chExt cx="108000" cy="108000"/>
            </a:xfrm>
          </p:grpSpPr>
          <p:cxnSp>
            <p:nvCxnSpPr>
              <p:cNvPr id="1751" name="Straight Connector 1750">
                <a:extLst>
                  <a:ext uri="{FF2B5EF4-FFF2-40B4-BE49-F238E27FC236}">
                    <a16:creationId xmlns:a16="http://schemas.microsoft.com/office/drawing/2014/main" id="{E837DF11-5867-EDA9-0559-C50EFD283DBB}"/>
                  </a:ext>
                </a:extLst>
              </p:cNvPr>
              <p:cNvCxnSpPr>
                <a:cxnSpLocks/>
              </p:cNvCxnSpPr>
              <p:nvPr/>
            </p:nvCxnSpPr>
            <p:spPr>
              <a:xfrm>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cxnSp>
            <p:nvCxnSpPr>
              <p:cNvPr id="1752" name="Straight Connector 1751">
                <a:extLst>
                  <a:ext uri="{FF2B5EF4-FFF2-40B4-BE49-F238E27FC236}">
                    <a16:creationId xmlns:a16="http://schemas.microsoft.com/office/drawing/2014/main" id="{27F4B46D-BF71-A52D-21AD-BCFBE7F788C5}"/>
                  </a:ext>
                </a:extLst>
              </p:cNvPr>
              <p:cNvCxnSpPr>
                <a:cxnSpLocks/>
              </p:cNvCxnSpPr>
              <p:nvPr/>
            </p:nvCxnSpPr>
            <p:spPr>
              <a:xfrm rot="5400000">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grpSp>
        <p:grpSp>
          <p:nvGrpSpPr>
            <p:cNvPr id="1753" name="Group 1752">
              <a:extLst>
                <a:ext uri="{FF2B5EF4-FFF2-40B4-BE49-F238E27FC236}">
                  <a16:creationId xmlns:a16="http://schemas.microsoft.com/office/drawing/2014/main" id="{7DA68F56-2B65-7D7D-772A-C4E305E044CE}"/>
                </a:ext>
              </a:extLst>
            </p:cNvPr>
            <p:cNvGrpSpPr/>
            <p:nvPr/>
          </p:nvGrpSpPr>
          <p:grpSpPr>
            <a:xfrm>
              <a:off x="5385074" y="2701129"/>
              <a:ext cx="82971" cy="82971"/>
              <a:chOff x="7236884" y="3439984"/>
              <a:chExt cx="108000" cy="108000"/>
            </a:xfrm>
          </p:grpSpPr>
          <p:cxnSp>
            <p:nvCxnSpPr>
              <p:cNvPr id="1754" name="Straight Connector 1753">
                <a:extLst>
                  <a:ext uri="{FF2B5EF4-FFF2-40B4-BE49-F238E27FC236}">
                    <a16:creationId xmlns:a16="http://schemas.microsoft.com/office/drawing/2014/main" id="{856788B5-0159-5F77-439C-11FFB80CD362}"/>
                  </a:ext>
                </a:extLst>
              </p:cNvPr>
              <p:cNvCxnSpPr>
                <a:cxnSpLocks/>
              </p:cNvCxnSpPr>
              <p:nvPr/>
            </p:nvCxnSpPr>
            <p:spPr>
              <a:xfrm>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cxnSp>
            <p:nvCxnSpPr>
              <p:cNvPr id="1755" name="Straight Connector 1754">
                <a:extLst>
                  <a:ext uri="{FF2B5EF4-FFF2-40B4-BE49-F238E27FC236}">
                    <a16:creationId xmlns:a16="http://schemas.microsoft.com/office/drawing/2014/main" id="{8F51BB4F-4F43-8319-F324-ED0FAB041907}"/>
                  </a:ext>
                </a:extLst>
              </p:cNvPr>
              <p:cNvCxnSpPr>
                <a:cxnSpLocks/>
              </p:cNvCxnSpPr>
              <p:nvPr/>
            </p:nvCxnSpPr>
            <p:spPr>
              <a:xfrm rot="5400000">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grpSp>
        <p:grpSp>
          <p:nvGrpSpPr>
            <p:cNvPr id="1756" name="Group 1755">
              <a:extLst>
                <a:ext uri="{FF2B5EF4-FFF2-40B4-BE49-F238E27FC236}">
                  <a16:creationId xmlns:a16="http://schemas.microsoft.com/office/drawing/2014/main" id="{CEB69A1E-3FB8-1AD1-735B-873F8DF4DE87}"/>
                </a:ext>
              </a:extLst>
            </p:cNvPr>
            <p:cNvGrpSpPr/>
            <p:nvPr/>
          </p:nvGrpSpPr>
          <p:grpSpPr>
            <a:xfrm>
              <a:off x="5366024" y="2653510"/>
              <a:ext cx="82971" cy="82971"/>
              <a:chOff x="7236884" y="3439984"/>
              <a:chExt cx="108000" cy="108000"/>
            </a:xfrm>
          </p:grpSpPr>
          <p:cxnSp>
            <p:nvCxnSpPr>
              <p:cNvPr id="1757" name="Straight Connector 1756">
                <a:extLst>
                  <a:ext uri="{FF2B5EF4-FFF2-40B4-BE49-F238E27FC236}">
                    <a16:creationId xmlns:a16="http://schemas.microsoft.com/office/drawing/2014/main" id="{798C8408-3208-7BB5-09FD-350E53410847}"/>
                  </a:ext>
                </a:extLst>
              </p:cNvPr>
              <p:cNvCxnSpPr>
                <a:cxnSpLocks/>
              </p:cNvCxnSpPr>
              <p:nvPr/>
            </p:nvCxnSpPr>
            <p:spPr>
              <a:xfrm>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cxnSp>
            <p:nvCxnSpPr>
              <p:cNvPr id="1758" name="Straight Connector 1757">
                <a:extLst>
                  <a:ext uri="{FF2B5EF4-FFF2-40B4-BE49-F238E27FC236}">
                    <a16:creationId xmlns:a16="http://schemas.microsoft.com/office/drawing/2014/main" id="{EC9EE80F-4AF5-8B5B-25AA-06264453064D}"/>
                  </a:ext>
                </a:extLst>
              </p:cNvPr>
              <p:cNvCxnSpPr>
                <a:cxnSpLocks/>
              </p:cNvCxnSpPr>
              <p:nvPr/>
            </p:nvCxnSpPr>
            <p:spPr>
              <a:xfrm rot="5400000">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grpSp>
        <p:grpSp>
          <p:nvGrpSpPr>
            <p:cNvPr id="1759" name="Group 1758">
              <a:extLst>
                <a:ext uri="{FF2B5EF4-FFF2-40B4-BE49-F238E27FC236}">
                  <a16:creationId xmlns:a16="http://schemas.microsoft.com/office/drawing/2014/main" id="{D877C2EB-D071-4670-32F3-C444E88B5254}"/>
                </a:ext>
              </a:extLst>
            </p:cNvPr>
            <p:cNvGrpSpPr/>
            <p:nvPr/>
          </p:nvGrpSpPr>
          <p:grpSpPr>
            <a:xfrm>
              <a:off x="5341298" y="2598102"/>
              <a:ext cx="82971" cy="82971"/>
              <a:chOff x="7236884" y="3439984"/>
              <a:chExt cx="108000" cy="108000"/>
            </a:xfrm>
          </p:grpSpPr>
          <p:cxnSp>
            <p:nvCxnSpPr>
              <p:cNvPr id="1760" name="Straight Connector 1759">
                <a:extLst>
                  <a:ext uri="{FF2B5EF4-FFF2-40B4-BE49-F238E27FC236}">
                    <a16:creationId xmlns:a16="http://schemas.microsoft.com/office/drawing/2014/main" id="{1AAE43B5-D3EB-5188-7597-2754909982E3}"/>
                  </a:ext>
                </a:extLst>
              </p:cNvPr>
              <p:cNvCxnSpPr>
                <a:cxnSpLocks/>
              </p:cNvCxnSpPr>
              <p:nvPr/>
            </p:nvCxnSpPr>
            <p:spPr>
              <a:xfrm>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cxnSp>
            <p:nvCxnSpPr>
              <p:cNvPr id="1761" name="Straight Connector 1760">
                <a:extLst>
                  <a:ext uri="{FF2B5EF4-FFF2-40B4-BE49-F238E27FC236}">
                    <a16:creationId xmlns:a16="http://schemas.microsoft.com/office/drawing/2014/main" id="{F21E82B8-03A5-632E-27A1-72449D502292}"/>
                  </a:ext>
                </a:extLst>
              </p:cNvPr>
              <p:cNvCxnSpPr>
                <a:cxnSpLocks/>
              </p:cNvCxnSpPr>
              <p:nvPr/>
            </p:nvCxnSpPr>
            <p:spPr>
              <a:xfrm rot="5400000">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grpSp>
        <p:grpSp>
          <p:nvGrpSpPr>
            <p:cNvPr id="1762" name="Group 1761">
              <a:extLst>
                <a:ext uri="{FF2B5EF4-FFF2-40B4-BE49-F238E27FC236}">
                  <a16:creationId xmlns:a16="http://schemas.microsoft.com/office/drawing/2014/main" id="{91F7D4A6-1B4B-C8FA-05EC-615F08064CCD}"/>
                </a:ext>
              </a:extLst>
            </p:cNvPr>
            <p:cNvGrpSpPr/>
            <p:nvPr/>
          </p:nvGrpSpPr>
          <p:grpSpPr>
            <a:xfrm>
              <a:off x="5319864" y="2519894"/>
              <a:ext cx="82971" cy="82971"/>
              <a:chOff x="7236884" y="3439984"/>
              <a:chExt cx="108000" cy="108000"/>
            </a:xfrm>
          </p:grpSpPr>
          <p:cxnSp>
            <p:nvCxnSpPr>
              <p:cNvPr id="1763" name="Straight Connector 1762">
                <a:extLst>
                  <a:ext uri="{FF2B5EF4-FFF2-40B4-BE49-F238E27FC236}">
                    <a16:creationId xmlns:a16="http://schemas.microsoft.com/office/drawing/2014/main" id="{EE4D5385-2994-8022-C4F8-8FCABE1F8B5A}"/>
                  </a:ext>
                </a:extLst>
              </p:cNvPr>
              <p:cNvCxnSpPr>
                <a:cxnSpLocks/>
              </p:cNvCxnSpPr>
              <p:nvPr/>
            </p:nvCxnSpPr>
            <p:spPr>
              <a:xfrm>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cxnSp>
            <p:nvCxnSpPr>
              <p:cNvPr id="1764" name="Straight Connector 1763">
                <a:extLst>
                  <a:ext uri="{FF2B5EF4-FFF2-40B4-BE49-F238E27FC236}">
                    <a16:creationId xmlns:a16="http://schemas.microsoft.com/office/drawing/2014/main" id="{B3DAABFC-D44A-A496-02F3-E3672DC4EBC2}"/>
                  </a:ext>
                </a:extLst>
              </p:cNvPr>
              <p:cNvCxnSpPr>
                <a:cxnSpLocks/>
              </p:cNvCxnSpPr>
              <p:nvPr/>
            </p:nvCxnSpPr>
            <p:spPr>
              <a:xfrm rot="5400000">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grpSp>
        <p:grpSp>
          <p:nvGrpSpPr>
            <p:cNvPr id="1765" name="Group 1764">
              <a:extLst>
                <a:ext uri="{FF2B5EF4-FFF2-40B4-BE49-F238E27FC236}">
                  <a16:creationId xmlns:a16="http://schemas.microsoft.com/office/drawing/2014/main" id="{CE01F430-A1D9-EF6A-F303-B6AC7DB1C799}"/>
                </a:ext>
              </a:extLst>
            </p:cNvPr>
            <p:cNvGrpSpPr/>
            <p:nvPr/>
          </p:nvGrpSpPr>
          <p:grpSpPr>
            <a:xfrm>
              <a:off x="5312721" y="2459179"/>
              <a:ext cx="82971" cy="82971"/>
              <a:chOff x="7236884" y="3439984"/>
              <a:chExt cx="108000" cy="108000"/>
            </a:xfrm>
          </p:grpSpPr>
          <p:cxnSp>
            <p:nvCxnSpPr>
              <p:cNvPr id="1766" name="Straight Connector 1765">
                <a:extLst>
                  <a:ext uri="{FF2B5EF4-FFF2-40B4-BE49-F238E27FC236}">
                    <a16:creationId xmlns:a16="http://schemas.microsoft.com/office/drawing/2014/main" id="{BF8B855F-A325-E915-F322-B609DC3D6067}"/>
                  </a:ext>
                </a:extLst>
              </p:cNvPr>
              <p:cNvCxnSpPr>
                <a:cxnSpLocks/>
              </p:cNvCxnSpPr>
              <p:nvPr/>
            </p:nvCxnSpPr>
            <p:spPr>
              <a:xfrm>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cxnSp>
            <p:nvCxnSpPr>
              <p:cNvPr id="1767" name="Straight Connector 1766">
                <a:extLst>
                  <a:ext uri="{FF2B5EF4-FFF2-40B4-BE49-F238E27FC236}">
                    <a16:creationId xmlns:a16="http://schemas.microsoft.com/office/drawing/2014/main" id="{78F2C8F4-FF82-5069-37F3-D625D5F4B279}"/>
                  </a:ext>
                </a:extLst>
              </p:cNvPr>
              <p:cNvCxnSpPr>
                <a:cxnSpLocks/>
              </p:cNvCxnSpPr>
              <p:nvPr/>
            </p:nvCxnSpPr>
            <p:spPr>
              <a:xfrm rot="5400000">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grpSp>
        <p:grpSp>
          <p:nvGrpSpPr>
            <p:cNvPr id="1768" name="Group 1767">
              <a:extLst>
                <a:ext uri="{FF2B5EF4-FFF2-40B4-BE49-F238E27FC236}">
                  <a16:creationId xmlns:a16="http://schemas.microsoft.com/office/drawing/2014/main" id="{08067EB0-DAC8-0BCE-4A09-24E9BEA2FAF8}"/>
                </a:ext>
              </a:extLst>
            </p:cNvPr>
            <p:cNvGrpSpPr/>
            <p:nvPr/>
          </p:nvGrpSpPr>
          <p:grpSpPr>
            <a:xfrm>
              <a:off x="5302045" y="2417694"/>
              <a:ext cx="82971" cy="82971"/>
              <a:chOff x="7236884" y="3439984"/>
              <a:chExt cx="108000" cy="108000"/>
            </a:xfrm>
          </p:grpSpPr>
          <p:cxnSp>
            <p:nvCxnSpPr>
              <p:cNvPr id="1769" name="Straight Connector 1768">
                <a:extLst>
                  <a:ext uri="{FF2B5EF4-FFF2-40B4-BE49-F238E27FC236}">
                    <a16:creationId xmlns:a16="http://schemas.microsoft.com/office/drawing/2014/main" id="{66BA919C-BAA3-C8E8-DF3B-FEBBCB78A72B}"/>
                  </a:ext>
                </a:extLst>
              </p:cNvPr>
              <p:cNvCxnSpPr>
                <a:cxnSpLocks/>
              </p:cNvCxnSpPr>
              <p:nvPr/>
            </p:nvCxnSpPr>
            <p:spPr>
              <a:xfrm>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cxnSp>
            <p:nvCxnSpPr>
              <p:cNvPr id="1770" name="Straight Connector 1769">
                <a:extLst>
                  <a:ext uri="{FF2B5EF4-FFF2-40B4-BE49-F238E27FC236}">
                    <a16:creationId xmlns:a16="http://schemas.microsoft.com/office/drawing/2014/main" id="{4A0251F9-FE65-A678-E6DC-3B62E127B5A2}"/>
                  </a:ext>
                </a:extLst>
              </p:cNvPr>
              <p:cNvCxnSpPr>
                <a:cxnSpLocks/>
              </p:cNvCxnSpPr>
              <p:nvPr/>
            </p:nvCxnSpPr>
            <p:spPr>
              <a:xfrm rot="5400000">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grpSp>
        <p:grpSp>
          <p:nvGrpSpPr>
            <p:cNvPr id="1771" name="Group 1770">
              <a:extLst>
                <a:ext uri="{FF2B5EF4-FFF2-40B4-BE49-F238E27FC236}">
                  <a16:creationId xmlns:a16="http://schemas.microsoft.com/office/drawing/2014/main" id="{86F7FB01-9A27-8D8A-5911-23EF9006DC42}"/>
                </a:ext>
              </a:extLst>
            </p:cNvPr>
            <p:cNvGrpSpPr/>
            <p:nvPr/>
          </p:nvGrpSpPr>
          <p:grpSpPr>
            <a:xfrm>
              <a:off x="5280759" y="2358402"/>
              <a:ext cx="82971" cy="82971"/>
              <a:chOff x="7236884" y="3439984"/>
              <a:chExt cx="108000" cy="108000"/>
            </a:xfrm>
          </p:grpSpPr>
          <p:cxnSp>
            <p:nvCxnSpPr>
              <p:cNvPr id="1772" name="Straight Connector 1771">
                <a:extLst>
                  <a:ext uri="{FF2B5EF4-FFF2-40B4-BE49-F238E27FC236}">
                    <a16:creationId xmlns:a16="http://schemas.microsoft.com/office/drawing/2014/main" id="{A1B74322-969B-FFEE-96D0-77E0B4419E14}"/>
                  </a:ext>
                </a:extLst>
              </p:cNvPr>
              <p:cNvCxnSpPr>
                <a:cxnSpLocks/>
              </p:cNvCxnSpPr>
              <p:nvPr/>
            </p:nvCxnSpPr>
            <p:spPr>
              <a:xfrm>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cxnSp>
            <p:nvCxnSpPr>
              <p:cNvPr id="1773" name="Straight Connector 1772">
                <a:extLst>
                  <a:ext uri="{FF2B5EF4-FFF2-40B4-BE49-F238E27FC236}">
                    <a16:creationId xmlns:a16="http://schemas.microsoft.com/office/drawing/2014/main" id="{4CED47B4-F613-CDF5-8866-3DC9AE9F10E6}"/>
                  </a:ext>
                </a:extLst>
              </p:cNvPr>
              <p:cNvCxnSpPr>
                <a:cxnSpLocks/>
              </p:cNvCxnSpPr>
              <p:nvPr/>
            </p:nvCxnSpPr>
            <p:spPr>
              <a:xfrm rot="5400000">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grpSp>
        <p:grpSp>
          <p:nvGrpSpPr>
            <p:cNvPr id="1774" name="Group 1773">
              <a:extLst>
                <a:ext uri="{FF2B5EF4-FFF2-40B4-BE49-F238E27FC236}">
                  <a16:creationId xmlns:a16="http://schemas.microsoft.com/office/drawing/2014/main" id="{163F336D-A9F7-A4BA-2D3F-B368E18D4799}"/>
                </a:ext>
              </a:extLst>
            </p:cNvPr>
            <p:cNvGrpSpPr/>
            <p:nvPr/>
          </p:nvGrpSpPr>
          <p:grpSpPr>
            <a:xfrm>
              <a:off x="5280759" y="2301252"/>
              <a:ext cx="82971" cy="82971"/>
              <a:chOff x="7236884" y="3439984"/>
              <a:chExt cx="108000" cy="108000"/>
            </a:xfrm>
          </p:grpSpPr>
          <p:cxnSp>
            <p:nvCxnSpPr>
              <p:cNvPr id="1775" name="Straight Connector 1774">
                <a:extLst>
                  <a:ext uri="{FF2B5EF4-FFF2-40B4-BE49-F238E27FC236}">
                    <a16:creationId xmlns:a16="http://schemas.microsoft.com/office/drawing/2014/main" id="{1E55E6DC-D616-9808-1C4B-37E5B690CEB1}"/>
                  </a:ext>
                </a:extLst>
              </p:cNvPr>
              <p:cNvCxnSpPr>
                <a:cxnSpLocks/>
              </p:cNvCxnSpPr>
              <p:nvPr/>
            </p:nvCxnSpPr>
            <p:spPr>
              <a:xfrm>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cxnSp>
            <p:nvCxnSpPr>
              <p:cNvPr id="1776" name="Straight Connector 1775">
                <a:extLst>
                  <a:ext uri="{FF2B5EF4-FFF2-40B4-BE49-F238E27FC236}">
                    <a16:creationId xmlns:a16="http://schemas.microsoft.com/office/drawing/2014/main" id="{8682C53C-EC4D-CF9F-39C6-1B0C7FF57CDD}"/>
                  </a:ext>
                </a:extLst>
              </p:cNvPr>
              <p:cNvCxnSpPr>
                <a:cxnSpLocks/>
              </p:cNvCxnSpPr>
              <p:nvPr/>
            </p:nvCxnSpPr>
            <p:spPr>
              <a:xfrm rot="5400000">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grpSp>
        <p:grpSp>
          <p:nvGrpSpPr>
            <p:cNvPr id="1777" name="Group 1776">
              <a:extLst>
                <a:ext uri="{FF2B5EF4-FFF2-40B4-BE49-F238E27FC236}">
                  <a16:creationId xmlns:a16="http://schemas.microsoft.com/office/drawing/2014/main" id="{9EF47BA5-D18F-9BB6-4F24-DDA6F83A5873}"/>
                </a:ext>
              </a:extLst>
            </p:cNvPr>
            <p:cNvGrpSpPr/>
            <p:nvPr/>
          </p:nvGrpSpPr>
          <p:grpSpPr>
            <a:xfrm>
              <a:off x="5246251" y="2201651"/>
              <a:ext cx="82971" cy="82971"/>
              <a:chOff x="7236884" y="3439984"/>
              <a:chExt cx="108000" cy="108000"/>
            </a:xfrm>
          </p:grpSpPr>
          <p:cxnSp>
            <p:nvCxnSpPr>
              <p:cNvPr id="1778" name="Straight Connector 1777">
                <a:extLst>
                  <a:ext uri="{FF2B5EF4-FFF2-40B4-BE49-F238E27FC236}">
                    <a16:creationId xmlns:a16="http://schemas.microsoft.com/office/drawing/2014/main" id="{3C24867C-E6A4-7507-2067-5DF6092A7925}"/>
                  </a:ext>
                </a:extLst>
              </p:cNvPr>
              <p:cNvCxnSpPr>
                <a:cxnSpLocks/>
              </p:cNvCxnSpPr>
              <p:nvPr/>
            </p:nvCxnSpPr>
            <p:spPr>
              <a:xfrm>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cxnSp>
            <p:nvCxnSpPr>
              <p:cNvPr id="1779" name="Straight Connector 1778">
                <a:extLst>
                  <a:ext uri="{FF2B5EF4-FFF2-40B4-BE49-F238E27FC236}">
                    <a16:creationId xmlns:a16="http://schemas.microsoft.com/office/drawing/2014/main" id="{F6305DF5-89EB-A165-7852-4CA0FBBDC850}"/>
                  </a:ext>
                </a:extLst>
              </p:cNvPr>
              <p:cNvCxnSpPr>
                <a:cxnSpLocks/>
              </p:cNvCxnSpPr>
              <p:nvPr/>
            </p:nvCxnSpPr>
            <p:spPr>
              <a:xfrm rot="5400000">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grpSp>
        <p:grpSp>
          <p:nvGrpSpPr>
            <p:cNvPr id="1780" name="Group 1779">
              <a:extLst>
                <a:ext uri="{FF2B5EF4-FFF2-40B4-BE49-F238E27FC236}">
                  <a16:creationId xmlns:a16="http://schemas.microsoft.com/office/drawing/2014/main" id="{CD63D5F2-77ED-D2CC-9A6E-88EF7A5B8C33}"/>
                </a:ext>
              </a:extLst>
            </p:cNvPr>
            <p:cNvGrpSpPr/>
            <p:nvPr/>
          </p:nvGrpSpPr>
          <p:grpSpPr>
            <a:xfrm>
              <a:off x="5271235" y="2240756"/>
              <a:ext cx="82971" cy="82971"/>
              <a:chOff x="7236884" y="3439984"/>
              <a:chExt cx="108000" cy="108000"/>
            </a:xfrm>
          </p:grpSpPr>
          <p:cxnSp>
            <p:nvCxnSpPr>
              <p:cNvPr id="1781" name="Straight Connector 1780">
                <a:extLst>
                  <a:ext uri="{FF2B5EF4-FFF2-40B4-BE49-F238E27FC236}">
                    <a16:creationId xmlns:a16="http://schemas.microsoft.com/office/drawing/2014/main" id="{8097A4FD-C547-A3E7-04D5-33C8AECE31E2}"/>
                  </a:ext>
                </a:extLst>
              </p:cNvPr>
              <p:cNvCxnSpPr>
                <a:cxnSpLocks/>
              </p:cNvCxnSpPr>
              <p:nvPr/>
            </p:nvCxnSpPr>
            <p:spPr>
              <a:xfrm>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cxnSp>
            <p:nvCxnSpPr>
              <p:cNvPr id="1782" name="Straight Connector 1781">
                <a:extLst>
                  <a:ext uri="{FF2B5EF4-FFF2-40B4-BE49-F238E27FC236}">
                    <a16:creationId xmlns:a16="http://schemas.microsoft.com/office/drawing/2014/main" id="{B5FDA548-82AC-BFA2-6302-1CF898672474}"/>
                  </a:ext>
                </a:extLst>
              </p:cNvPr>
              <p:cNvCxnSpPr>
                <a:cxnSpLocks/>
              </p:cNvCxnSpPr>
              <p:nvPr/>
            </p:nvCxnSpPr>
            <p:spPr>
              <a:xfrm rot="5400000">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grpSp>
        <p:grpSp>
          <p:nvGrpSpPr>
            <p:cNvPr id="1783" name="Group 1782">
              <a:extLst>
                <a:ext uri="{FF2B5EF4-FFF2-40B4-BE49-F238E27FC236}">
                  <a16:creationId xmlns:a16="http://schemas.microsoft.com/office/drawing/2014/main" id="{36BB8524-E8AC-76C7-55FA-B7BBAB282BE2}"/>
                </a:ext>
              </a:extLst>
            </p:cNvPr>
            <p:cNvGrpSpPr/>
            <p:nvPr/>
          </p:nvGrpSpPr>
          <p:grpSpPr>
            <a:xfrm>
              <a:off x="5271235" y="2265110"/>
              <a:ext cx="82971" cy="82971"/>
              <a:chOff x="7236884" y="3439984"/>
              <a:chExt cx="108000" cy="108000"/>
            </a:xfrm>
          </p:grpSpPr>
          <p:cxnSp>
            <p:nvCxnSpPr>
              <p:cNvPr id="1784" name="Straight Connector 1783">
                <a:extLst>
                  <a:ext uri="{FF2B5EF4-FFF2-40B4-BE49-F238E27FC236}">
                    <a16:creationId xmlns:a16="http://schemas.microsoft.com/office/drawing/2014/main" id="{7DA0263B-C10C-0870-73E9-B3E3C206ECC5}"/>
                  </a:ext>
                </a:extLst>
              </p:cNvPr>
              <p:cNvCxnSpPr>
                <a:cxnSpLocks/>
              </p:cNvCxnSpPr>
              <p:nvPr/>
            </p:nvCxnSpPr>
            <p:spPr>
              <a:xfrm>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cxnSp>
            <p:nvCxnSpPr>
              <p:cNvPr id="1785" name="Straight Connector 1784">
                <a:extLst>
                  <a:ext uri="{FF2B5EF4-FFF2-40B4-BE49-F238E27FC236}">
                    <a16:creationId xmlns:a16="http://schemas.microsoft.com/office/drawing/2014/main" id="{1BBD1B4D-54B5-888A-CECC-C053778FD472}"/>
                  </a:ext>
                </a:extLst>
              </p:cNvPr>
              <p:cNvCxnSpPr>
                <a:cxnSpLocks/>
              </p:cNvCxnSpPr>
              <p:nvPr/>
            </p:nvCxnSpPr>
            <p:spPr>
              <a:xfrm rot="5400000">
                <a:off x="7290884" y="3439984"/>
                <a:ext cx="0" cy="108000"/>
              </a:xfrm>
              <a:prstGeom prst="line">
                <a:avLst/>
              </a:prstGeom>
              <a:ln w="15875">
                <a:solidFill>
                  <a:srgbClr val="FB7D0B"/>
                </a:solidFill>
              </a:ln>
            </p:spPr>
            <p:style>
              <a:lnRef idx="1">
                <a:schemeClr val="accent1"/>
              </a:lnRef>
              <a:fillRef idx="0">
                <a:schemeClr val="accent1"/>
              </a:fillRef>
              <a:effectRef idx="0">
                <a:schemeClr val="accent1"/>
              </a:effectRef>
              <a:fontRef idx="minor">
                <a:schemeClr val="tx1"/>
              </a:fontRef>
            </p:style>
          </p:cxnSp>
        </p:grpSp>
        <p:grpSp>
          <p:nvGrpSpPr>
            <p:cNvPr id="1786" name="Group 1785">
              <a:extLst>
                <a:ext uri="{FF2B5EF4-FFF2-40B4-BE49-F238E27FC236}">
                  <a16:creationId xmlns:a16="http://schemas.microsoft.com/office/drawing/2014/main" id="{AE8E212F-0D5C-218C-4B9C-6C468058A9AF}"/>
                </a:ext>
              </a:extLst>
            </p:cNvPr>
            <p:cNvGrpSpPr/>
            <p:nvPr/>
          </p:nvGrpSpPr>
          <p:grpSpPr>
            <a:xfrm>
              <a:off x="6923304" y="3462156"/>
              <a:ext cx="82971" cy="82971"/>
              <a:chOff x="7236884" y="3439984"/>
              <a:chExt cx="108000" cy="108000"/>
            </a:xfrm>
          </p:grpSpPr>
          <p:cxnSp>
            <p:nvCxnSpPr>
              <p:cNvPr id="1787" name="Straight Connector 1786">
                <a:extLst>
                  <a:ext uri="{FF2B5EF4-FFF2-40B4-BE49-F238E27FC236}">
                    <a16:creationId xmlns:a16="http://schemas.microsoft.com/office/drawing/2014/main" id="{E18A1FD3-533C-25A5-5F02-1FFBF738A753}"/>
                  </a:ext>
                </a:extLst>
              </p:cNvPr>
              <p:cNvCxnSpPr>
                <a:cxnSpLocks/>
              </p:cNvCxnSpPr>
              <p:nvPr/>
            </p:nvCxnSpPr>
            <p:spPr>
              <a:xfrm>
                <a:off x="7290884" y="3439984"/>
                <a:ext cx="0" cy="108000"/>
              </a:xfrm>
              <a:prstGeom prst="line">
                <a:avLst/>
              </a:prstGeom>
              <a:ln w="15875">
                <a:solidFill>
                  <a:srgbClr val="FFFB3B"/>
                </a:solidFill>
              </a:ln>
            </p:spPr>
            <p:style>
              <a:lnRef idx="1">
                <a:schemeClr val="accent1"/>
              </a:lnRef>
              <a:fillRef idx="0">
                <a:schemeClr val="accent1"/>
              </a:fillRef>
              <a:effectRef idx="0">
                <a:schemeClr val="accent1"/>
              </a:effectRef>
              <a:fontRef idx="minor">
                <a:schemeClr val="tx1"/>
              </a:fontRef>
            </p:style>
          </p:cxnSp>
          <p:cxnSp>
            <p:nvCxnSpPr>
              <p:cNvPr id="1788" name="Straight Connector 1787">
                <a:extLst>
                  <a:ext uri="{FF2B5EF4-FFF2-40B4-BE49-F238E27FC236}">
                    <a16:creationId xmlns:a16="http://schemas.microsoft.com/office/drawing/2014/main" id="{A78721D1-11A9-B62B-5F03-84F98E36CD9E}"/>
                  </a:ext>
                </a:extLst>
              </p:cNvPr>
              <p:cNvCxnSpPr>
                <a:cxnSpLocks/>
              </p:cNvCxnSpPr>
              <p:nvPr/>
            </p:nvCxnSpPr>
            <p:spPr>
              <a:xfrm rot="5400000">
                <a:off x="7290884" y="3439984"/>
                <a:ext cx="0" cy="108000"/>
              </a:xfrm>
              <a:prstGeom prst="line">
                <a:avLst/>
              </a:prstGeom>
              <a:ln w="15875">
                <a:solidFill>
                  <a:srgbClr val="FFFB3B"/>
                </a:solidFill>
              </a:ln>
            </p:spPr>
            <p:style>
              <a:lnRef idx="1">
                <a:schemeClr val="accent1"/>
              </a:lnRef>
              <a:fillRef idx="0">
                <a:schemeClr val="accent1"/>
              </a:fillRef>
              <a:effectRef idx="0">
                <a:schemeClr val="accent1"/>
              </a:effectRef>
              <a:fontRef idx="minor">
                <a:schemeClr val="tx1"/>
              </a:fontRef>
            </p:style>
          </p:cxnSp>
        </p:grpSp>
        <p:grpSp>
          <p:nvGrpSpPr>
            <p:cNvPr id="1789" name="Group 1788">
              <a:extLst>
                <a:ext uri="{FF2B5EF4-FFF2-40B4-BE49-F238E27FC236}">
                  <a16:creationId xmlns:a16="http://schemas.microsoft.com/office/drawing/2014/main" id="{D6105494-4140-D6B1-EF16-8DD4EFC56D5D}"/>
                </a:ext>
              </a:extLst>
            </p:cNvPr>
            <p:cNvGrpSpPr/>
            <p:nvPr/>
          </p:nvGrpSpPr>
          <p:grpSpPr>
            <a:xfrm>
              <a:off x="6287510" y="3462156"/>
              <a:ext cx="82971" cy="82971"/>
              <a:chOff x="7236884" y="3439984"/>
              <a:chExt cx="108000" cy="108000"/>
            </a:xfrm>
          </p:grpSpPr>
          <p:cxnSp>
            <p:nvCxnSpPr>
              <p:cNvPr id="1790" name="Straight Connector 1789">
                <a:extLst>
                  <a:ext uri="{FF2B5EF4-FFF2-40B4-BE49-F238E27FC236}">
                    <a16:creationId xmlns:a16="http://schemas.microsoft.com/office/drawing/2014/main" id="{787E4E4F-0AD7-2AA7-84B0-703E63A80023}"/>
                  </a:ext>
                </a:extLst>
              </p:cNvPr>
              <p:cNvCxnSpPr>
                <a:cxnSpLocks/>
              </p:cNvCxnSpPr>
              <p:nvPr/>
            </p:nvCxnSpPr>
            <p:spPr>
              <a:xfrm>
                <a:off x="7290884" y="3439984"/>
                <a:ext cx="0" cy="108000"/>
              </a:xfrm>
              <a:prstGeom prst="line">
                <a:avLst/>
              </a:prstGeom>
              <a:ln w="15875">
                <a:solidFill>
                  <a:srgbClr val="FFFB3B"/>
                </a:solidFill>
              </a:ln>
            </p:spPr>
            <p:style>
              <a:lnRef idx="1">
                <a:schemeClr val="accent1"/>
              </a:lnRef>
              <a:fillRef idx="0">
                <a:schemeClr val="accent1"/>
              </a:fillRef>
              <a:effectRef idx="0">
                <a:schemeClr val="accent1"/>
              </a:effectRef>
              <a:fontRef idx="minor">
                <a:schemeClr val="tx1"/>
              </a:fontRef>
            </p:style>
          </p:cxnSp>
          <p:cxnSp>
            <p:nvCxnSpPr>
              <p:cNvPr id="1791" name="Straight Connector 1790">
                <a:extLst>
                  <a:ext uri="{FF2B5EF4-FFF2-40B4-BE49-F238E27FC236}">
                    <a16:creationId xmlns:a16="http://schemas.microsoft.com/office/drawing/2014/main" id="{DF19FB8A-3096-184C-9A73-608B7CB42A63}"/>
                  </a:ext>
                </a:extLst>
              </p:cNvPr>
              <p:cNvCxnSpPr>
                <a:cxnSpLocks/>
              </p:cNvCxnSpPr>
              <p:nvPr/>
            </p:nvCxnSpPr>
            <p:spPr>
              <a:xfrm rot="5400000">
                <a:off x="7290884" y="3439984"/>
                <a:ext cx="0" cy="108000"/>
              </a:xfrm>
              <a:prstGeom prst="line">
                <a:avLst/>
              </a:prstGeom>
              <a:ln w="15875">
                <a:solidFill>
                  <a:srgbClr val="FFFB3B"/>
                </a:solidFill>
              </a:ln>
            </p:spPr>
            <p:style>
              <a:lnRef idx="1">
                <a:schemeClr val="accent1"/>
              </a:lnRef>
              <a:fillRef idx="0">
                <a:schemeClr val="accent1"/>
              </a:fillRef>
              <a:effectRef idx="0">
                <a:schemeClr val="accent1"/>
              </a:effectRef>
              <a:fontRef idx="minor">
                <a:schemeClr val="tx1"/>
              </a:fontRef>
            </p:style>
          </p:cxnSp>
        </p:grpSp>
        <p:grpSp>
          <p:nvGrpSpPr>
            <p:cNvPr id="1792" name="Group 1791">
              <a:extLst>
                <a:ext uri="{FF2B5EF4-FFF2-40B4-BE49-F238E27FC236}">
                  <a16:creationId xmlns:a16="http://schemas.microsoft.com/office/drawing/2014/main" id="{21A4B2E0-5629-986B-9986-8CE1BB0E5687}"/>
                </a:ext>
              </a:extLst>
            </p:cNvPr>
            <p:cNvGrpSpPr/>
            <p:nvPr/>
          </p:nvGrpSpPr>
          <p:grpSpPr>
            <a:xfrm>
              <a:off x="6135110" y="3462156"/>
              <a:ext cx="82971" cy="82971"/>
              <a:chOff x="7236884" y="3439984"/>
              <a:chExt cx="108000" cy="108000"/>
            </a:xfrm>
          </p:grpSpPr>
          <p:cxnSp>
            <p:nvCxnSpPr>
              <p:cNvPr id="1793" name="Straight Connector 1792">
                <a:extLst>
                  <a:ext uri="{FF2B5EF4-FFF2-40B4-BE49-F238E27FC236}">
                    <a16:creationId xmlns:a16="http://schemas.microsoft.com/office/drawing/2014/main" id="{8BCD8A8C-3B9E-B7E4-9520-EA4EE01344DF}"/>
                  </a:ext>
                </a:extLst>
              </p:cNvPr>
              <p:cNvCxnSpPr>
                <a:cxnSpLocks/>
              </p:cNvCxnSpPr>
              <p:nvPr/>
            </p:nvCxnSpPr>
            <p:spPr>
              <a:xfrm>
                <a:off x="7290884" y="3439984"/>
                <a:ext cx="0" cy="108000"/>
              </a:xfrm>
              <a:prstGeom prst="line">
                <a:avLst/>
              </a:prstGeom>
              <a:ln w="15875">
                <a:solidFill>
                  <a:srgbClr val="FFFB3B"/>
                </a:solidFill>
              </a:ln>
            </p:spPr>
            <p:style>
              <a:lnRef idx="1">
                <a:schemeClr val="accent1"/>
              </a:lnRef>
              <a:fillRef idx="0">
                <a:schemeClr val="accent1"/>
              </a:fillRef>
              <a:effectRef idx="0">
                <a:schemeClr val="accent1"/>
              </a:effectRef>
              <a:fontRef idx="minor">
                <a:schemeClr val="tx1"/>
              </a:fontRef>
            </p:style>
          </p:cxnSp>
          <p:cxnSp>
            <p:nvCxnSpPr>
              <p:cNvPr id="1794" name="Straight Connector 1793">
                <a:extLst>
                  <a:ext uri="{FF2B5EF4-FFF2-40B4-BE49-F238E27FC236}">
                    <a16:creationId xmlns:a16="http://schemas.microsoft.com/office/drawing/2014/main" id="{33CF1877-FF21-E7D9-4A45-5A54D053EC3A}"/>
                  </a:ext>
                </a:extLst>
              </p:cNvPr>
              <p:cNvCxnSpPr>
                <a:cxnSpLocks/>
              </p:cNvCxnSpPr>
              <p:nvPr/>
            </p:nvCxnSpPr>
            <p:spPr>
              <a:xfrm rot="5400000">
                <a:off x="7290884" y="3439984"/>
                <a:ext cx="0" cy="108000"/>
              </a:xfrm>
              <a:prstGeom prst="line">
                <a:avLst/>
              </a:prstGeom>
              <a:ln w="15875">
                <a:solidFill>
                  <a:srgbClr val="FFFB3B"/>
                </a:solidFill>
              </a:ln>
            </p:spPr>
            <p:style>
              <a:lnRef idx="1">
                <a:schemeClr val="accent1"/>
              </a:lnRef>
              <a:fillRef idx="0">
                <a:schemeClr val="accent1"/>
              </a:fillRef>
              <a:effectRef idx="0">
                <a:schemeClr val="accent1"/>
              </a:effectRef>
              <a:fontRef idx="minor">
                <a:schemeClr val="tx1"/>
              </a:fontRef>
            </p:style>
          </p:cxnSp>
        </p:grpSp>
        <p:grpSp>
          <p:nvGrpSpPr>
            <p:cNvPr id="1795" name="Group 1794">
              <a:extLst>
                <a:ext uri="{FF2B5EF4-FFF2-40B4-BE49-F238E27FC236}">
                  <a16:creationId xmlns:a16="http://schemas.microsoft.com/office/drawing/2014/main" id="{415BC4ED-9C18-E80C-D98B-D35AD31C04D8}"/>
                </a:ext>
              </a:extLst>
            </p:cNvPr>
            <p:cNvGrpSpPr/>
            <p:nvPr/>
          </p:nvGrpSpPr>
          <p:grpSpPr>
            <a:xfrm>
              <a:off x="6077960" y="3462156"/>
              <a:ext cx="82971" cy="82971"/>
              <a:chOff x="7236884" y="3439984"/>
              <a:chExt cx="108000" cy="108000"/>
            </a:xfrm>
          </p:grpSpPr>
          <p:cxnSp>
            <p:nvCxnSpPr>
              <p:cNvPr id="1796" name="Straight Connector 1795">
                <a:extLst>
                  <a:ext uri="{FF2B5EF4-FFF2-40B4-BE49-F238E27FC236}">
                    <a16:creationId xmlns:a16="http://schemas.microsoft.com/office/drawing/2014/main" id="{D83F0008-156F-A29D-F961-D9655D9F4418}"/>
                  </a:ext>
                </a:extLst>
              </p:cNvPr>
              <p:cNvCxnSpPr>
                <a:cxnSpLocks/>
              </p:cNvCxnSpPr>
              <p:nvPr/>
            </p:nvCxnSpPr>
            <p:spPr>
              <a:xfrm>
                <a:off x="7290884" y="3439984"/>
                <a:ext cx="0" cy="108000"/>
              </a:xfrm>
              <a:prstGeom prst="line">
                <a:avLst/>
              </a:prstGeom>
              <a:ln w="15875">
                <a:solidFill>
                  <a:srgbClr val="FFFB3B"/>
                </a:solidFill>
              </a:ln>
            </p:spPr>
            <p:style>
              <a:lnRef idx="1">
                <a:schemeClr val="accent1"/>
              </a:lnRef>
              <a:fillRef idx="0">
                <a:schemeClr val="accent1"/>
              </a:fillRef>
              <a:effectRef idx="0">
                <a:schemeClr val="accent1"/>
              </a:effectRef>
              <a:fontRef idx="minor">
                <a:schemeClr val="tx1"/>
              </a:fontRef>
            </p:style>
          </p:cxnSp>
          <p:cxnSp>
            <p:nvCxnSpPr>
              <p:cNvPr id="1797" name="Straight Connector 1796">
                <a:extLst>
                  <a:ext uri="{FF2B5EF4-FFF2-40B4-BE49-F238E27FC236}">
                    <a16:creationId xmlns:a16="http://schemas.microsoft.com/office/drawing/2014/main" id="{D7E20DDA-DEF0-B333-E584-1CEC53261E44}"/>
                  </a:ext>
                </a:extLst>
              </p:cNvPr>
              <p:cNvCxnSpPr>
                <a:cxnSpLocks/>
              </p:cNvCxnSpPr>
              <p:nvPr/>
            </p:nvCxnSpPr>
            <p:spPr>
              <a:xfrm rot="5400000">
                <a:off x="7290884" y="3439984"/>
                <a:ext cx="0" cy="108000"/>
              </a:xfrm>
              <a:prstGeom prst="line">
                <a:avLst/>
              </a:prstGeom>
              <a:ln w="15875">
                <a:solidFill>
                  <a:srgbClr val="FFFB3B"/>
                </a:solidFill>
              </a:ln>
            </p:spPr>
            <p:style>
              <a:lnRef idx="1">
                <a:schemeClr val="accent1"/>
              </a:lnRef>
              <a:fillRef idx="0">
                <a:schemeClr val="accent1"/>
              </a:fillRef>
              <a:effectRef idx="0">
                <a:schemeClr val="accent1"/>
              </a:effectRef>
              <a:fontRef idx="minor">
                <a:schemeClr val="tx1"/>
              </a:fontRef>
            </p:style>
          </p:cxnSp>
        </p:grpSp>
        <p:grpSp>
          <p:nvGrpSpPr>
            <p:cNvPr id="1798" name="Group 1797">
              <a:extLst>
                <a:ext uri="{FF2B5EF4-FFF2-40B4-BE49-F238E27FC236}">
                  <a16:creationId xmlns:a16="http://schemas.microsoft.com/office/drawing/2014/main" id="{3AE7ED2B-C501-28D1-2258-E38D1074A6FC}"/>
                </a:ext>
              </a:extLst>
            </p:cNvPr>
            <p:cNvGrpSpPr/>
            <p:nvPr/>
          </p:nvGrpSpPr>
          <p:grpSpPr>
            <a:xfrm>
              <a:off x="6020810" y="3462156"/>
              <a:ext cx="82971" cy="82971"/>
              <a:chOff x="7236884" y="3439984"/>
              <a:chExt cx="108000" cy="108000"/>
            </a:xfrm>
          </p:grpSpPr>
          <p:cxnSp>
            <p:nvCxnSpPr>
              <p:cNvPr id="1799" name="Straight Connector 1798">
                <a:extLst>
                  <a:ext uri="{FF2B5EF4-FFF2-40B4-BE49-F238E27FC236}">
                    <a16:creationId xmlns:a16="http://schemas.microsoft.com/office/drawing/2014/main" id="{F5EEA9D9-C177-9FD9-FEA0-5646E07E4B0E}"/>
                  </a:ext>
                </a:extLst>
              </p:cNvPr>
              <p:cNvCxnSpPr>
                <a:cxnSpLocks/>
              </p:cNvCxnSpPr>
              <p:nvPr/>
            </p:nvCxnSpPr>
            <p:spPr>
              <a:xfrm>
                <a:off x="7290884" y="3439984"/>
                <a:ext cx="0" cy="108000"/>
              </a:xfrm>
              <a:prstGeom prst="line">
                <a:avLst/>
              </a:prstGeom>
              <a:ln w="15875">
                <a:solidFill>
                  <a:srgbClr val="FFFB3B"/>
                </a:solidFill>
              </a:ln>
            </p:spPr>
            <p:style>
              <a:lnRef idx="1">
                <a:schemeClr val="accent1"/>
              </a:lnRef>
              <a:fillRef idx="0">
                <a:schemeClr val="accent1"/>
              </a:fillRef>
              <a:effectRef idx="0">
                <a:schemeClr val="accent1"/>
              </a:effectRef>
              <a:fontRef idx="minor">
                <a:schemeClr val="tx1"/>
              </a:fontRef>
            </p:style>
          </p:cxnSp>
          <p:cxnSp>
            <p:nvCxnSpPr>
              <p:cNvPr id="1800" name="Straight Connector 1799">
                <a:extLst>
                  <a:ext uri="{FF2B5EF4-FFF2-40B4-BE49-F238E27FC236}">
                    <a16:creationId xmlns:a16="http://schemas.microsoft.com/office/drawing/2014/main" id="{DFB12E3B-311A-DDB2-D850-CB3D028EECDA}"/>
                  </a:ext>
                </a:extLst>
              </p:cNvPr>
              <p:cNvCxnSpPr>
                <a:cxnSpLocks/>
              </p:cNvCxnSpPr>
              <p:nvPr/>
            </p:nvCxnSpPr>
            <p:spPr>
              <a:xfrm rot="5400000">
                <a:off x="7290884" y="3439984"/>
                <a:ext cx="0" cy="108000"/>
              </a:xfrm>
              <a:prstGeom prst="line">
                <a:avLst/>
              </a:prstGeom>
              <a:ln w="15875">
                <a:solidFill>
                  <a:srgbClr val="FFFB3B"/>
                </a:solidFill>
              </a:ln>
            </p:spPr>
            <p:style>
              <a:lnRef idx="1">
                <a:schemeClr val="accent1"/>
              </a:lnRef>
              <a:fillRef idx="0">
                <a:schemeClr val="accent1"/>
              </a:fillRef>
              <a:effectRef idx="0">
                <a:schemeClr val="accent1"/>
              </a:effectRef>
              <a:fontRef idx="minor">
                <a:schemeClr val="tx1"/>
              </a:fontRef>
            </p:style>
          </p:cxnSp>
        </p:grpSp>
        <p:grpSp>
          <p:nvGrpSpPr>
            <p:cNvPr id="1801" name="Group 1800">
              <a:extLst>
                <a:ext uri="{FF2B5EF4-FFF2-40B4-BE49-F238E27FC236}">
                  <a16:creationId xmlns:a16="http://schemas.microsoft.com/office/drawing/2014/main" id="{14032432-5563-87B6-4DA2-4DE2BE9A501A}"/>
                </a:ext>
              </a:extLst>
            </p:cNvPr>
            <p:cNvGrpSpPr/>
            <p:nvPr/>
          </p:nvGrpSpPr>
          <p:grpSpPr>
            <a:xfrm>
              <a:off x="6004141" y="3462156"/>
              <a:ext cx="82971" cy="82971"/>
              <a:chOff x="7236884" y="3439984"/>
              <a:chExt cx="108000" cy="108000"/>
            </a:xfrm>
          </p:grpSpPr>
          <p:cxnSp>
            <p:nvCxnSpPr>
              <p:cNvPr id="1802" name="Straight Connector 1801">
                <a:extLst>
                  <a:ext uri="{FF2B5EF4-FFF2-40B4-BE49-F238E27FC236}">
                    <a16:creationId xmlns:a16="http://schemas.microsoft.com/office/drawing/2014/main" id="{E53193A6-63DD-B699-1BD3-97063A547426}"/>
                  </a:ext>
                </a:extLst>
              </p:cNvPr>
              <p:cNvCxnSpPr>
                <a:cxnSpLocks/>
              </p:cNvCxnSpPr>
              <p:nvPr/>
            </p:nvCxnSpPr>
            <p:spPr>
              <a:xfrm>
                <a:off x="7290884" y="3439984"/>
                <a:ext cx="0" cy="108000"/>
              </a:xfrm>
              <a:prstGeom prst="line">
                <a:avLst/>
              </a:prstGeom>
              <a:ln w="15875">
                <a:solidFill>
                  <a:srgbClr val="FFFB3B"/>
                </a:solidFill>
              </a:ln>
            </p:spPr>
            <p:style>
              <a:lnRef idx="1">
                <a:schemeClr val="accent1"/>
              </a:lnRef>
              <a:fillRef idx="0">
                <a:schemeClr val="accent1"/>
              </a:fillRef>
              <a:effectRef idx="0">
                <a:schemeClr val="accent1"/>
              </a:effectRef>
              <a:fontRef idx="minor">
                <a:schemeClr val="tx1"/>
              </a:fontRef>
            </p:style>
          </p:cxnSp>
          <p:cxnSp>
            <p:nvCxnSpPr>
              <p:cNvPr id="1803" name="Straight Connector 1802">
                <a:extLst>
                  <a:ext uri="{FF2B5EF4-FFF2-40B4-BE49-F238E27FC236}">
                    <a16:creationId xmlns:a16="http://schemas.microsoft.com/office/drawing/2014/main" id="{A61280C5-124C-4BFA-F78A-2D698092E15F}"/>
                  </a:ext>
                </a:extLst>
              </p:cNvPr>
              <p:cNvCxnSpPr>
                <a:cxnSpLocks/>
              </p:cNvCxnSpPr>
              <p:nvPr/>
            </p:nvCxnSpPr>
            <p:spPr>
              <a:xfrm rot="5400000">
                <a:off x="7290884" y="3439984"/>
                <a:ext cx="0" cy="108000"/>
              </a:xfrm>
              <a:prstGeom prst="line">
                <a:avLst/>
              </a:prstGeom>
              <a:ln w="15875">
                <a:solidFill>
                  <a:srgbClr val="FFFB3B"/>
                </a:solidFill>
              </a:ln>
            </p:spPr>
            <p:style>
              <a:lnRef idx="1">
                <a:schemeClr val="accent1"/>
              </a:lnRef>
              <a:fillRef idx="0">
                <a:schemeClr val="accent1"/>
              </a:fillRef>
              <a:effectRef idx="0">
                <a:schemeClr val="accent1"/>
              </a:effectRef>
              <a:fontRef idx="minor">
                <a:schemeClr val="tx1"/>
              </a:fontRef>
            </p:style>
          </p:cxnSp>
        </p:grpSp>
        <p:grpSp>
          <p:nvGrpSpPr>
            <p:cNvPr id="1804" name="Group 1803">
              <a:extLst>
                <a:ext uri="{FF2B5EF4-FFF2-40B4-BE49-F238E27FC236}">
                  <a16:creationId xmlns:a16="http://schemas.microsoft.com/office/drawing/2014/main" id="{B033DCC2-C187-BD9C-A14A-C76462FAB7FD}"/>
                </a:ext>
              </a:extLst>
            </p:cNvPr>
            <p:cNvGrpSpPr/>
            <p:nvPr/>
          </p:nvGrpSpPr>
          <p:grpSpPr>
            <a:xfrm>
              <a:off x="5956514" y="3462156"/>
              <a:ext cx="82971" cy="82971"/>
              <a:chOff x="7236884" y="3439984"/>
              <a:chExt cx="108000" cy="108000"/>
            </a:xfrm>
          </p:grpSpPr>
          <p:cxnSp>
            <p:nvCxnSpPr>
              <p:cNvPr id="1805" name="Straight Connector 1804">
                <a:extLst>
                  <a:ext uri="{FF2B5EF4-FFF2-40B4-BE49-F238E27FC236}">
                    <a16:creationId xmlns:a16="http://schemas.microsoft.com/office/drawing/2014/main" id="{F0B0B47F-510F-68F4-BA4E-AE0B396DFE38}"/>
                  </a:ext>
                </a:extLst>
              </p:cNvPr>
              <p:cNvCxnSpPr>
                <a:cxnSpLocks/>
              </p:cNvCxnSpPr>
              <p:nvPr/>
            </p:nvCxnSpPr>
            <p:spPr>
              <a:xfrm>
                <a:off x="7290884" y="3439984"/>
                <a:ext cx="0" cy="108000"/>
              </a:xfrm>
              <a:prstGeom prst="line">
                <a:avLst/>
              </a:prstGeom>
              <a:ln w="15875">
                <a:solidFill>
                  <a:srgbClr val="FFFB3B"/>
                </a:solidFill>
              </a:ln>
            </p:spPr>
            <p:style>
              <a:lnRef idx="1">
                <a:schemeClr val="accent1"/>
              </a:lnRef>
              <a:fillRef idx="0">
                <a:schemeClr val="accent1"/>
              </a:fillRef>
              <a:effectRef idx="0">
                <a:schemeClr val="accent1"/>
              </a:effectRef>
              <a:fontRef idx="minor">
                <a:schemeClr val="tx1"/>
              </a:fontRef>
            </p:style>
          </p:cxnSp>
          <p:cxnSp>
            <p:nvCxnSpPr>
              <p:cNvPr id="1806" name="Straight Connector 1805">
                <a:extLst>
                  <a:ext uri="{FF2B5EF4-FFF2-40B4-BE49-F238E27FC236}">
                    <a16:creationId xmlns:a16="http://schemas.microsoft.com/office/drawing/2014/main" id="{99789186-4EB6-B852-BC79-9A4C3C55D385}"/>
                  </a:ext>
                </a:extLst>
              </p:cNvPr>
              <p:cNvCxnSpPr>
                <a:cxnSpLocks/>
              </p:cNvCxnSpPr>
              <p:nvPr/>
            </p:nvCxnSpPr>
            <p:spPr>
              <a:xfrm rot="5400000">
                <a:off x="7290884" y="3439984"/>
                <a:ext cx="0" cy="108000"/>
              </a:xfrm>
              <a:prstGeom prst="line">
                <a:avLst/>
              </a:prstGeom>
              <a:ln w="15875">
                <a:solidFill>
                  <a:srgbClr val="FFFB3B"/>
                </a:solidFill>
              </a:ln>
            </p:spPr>
            <p:style>
              <a:lnRef idx="1">
                <a:schemeClr val="accent1"/>
              </a:lnRef>
              <a:fillRef idx="0">
                <a:schemeClr val="accent1"/>
              </a:fillRef>
              <a:effectRef idx="0">
                <a:schemeClr val="accent1"/>
              </a:effectRef>
              <a:fontRef idx="minor">
                <a:schemeClr val="tx1"/>
              </a:fontRef>
            </p:style>
          </p:cxnSp>
        </p:grpSp>
        <p:grpSp>
          <p:nvGrpSpPr>
            <p:cNvPr id="1807" name="Group 1806">
              <a:extLst>
                <a:ext uri="{FF2B5EF4-FFF2-40B4-BE49-F238E27FC236}">
                  <a16:creationId xmlns:a16="http://schemas.microsoft.com/office/drawing/2014/main" id="{554C3B92-B5EF-8220-C6B2-06E090B2C3AA}"/>
                </a:ext>
              </a:extLst>
            </p:cNvPr>
            <p:cNvGrpSpPr/>
            <p:nvPr/>
          </p:nvGrpSpPr>
          <p:grpSpPr>
            <a:xfrm>
              <a:off x="5927939" y="3392854"/>
              <a:ext cx="82971" cy="82971"/>
              <a:chOff x="7236884" y="3439984"/>
              <a:chExt cx="108000" cy="108000"/>
            </a:xfrm>
          </p:grpSpPr>
          <p:cxnSp>
            <p:nvCxnSpPr>
              <p:cNvPr id="1808" name="Straight Connector 1807">
                <a:extLst>
                  <a:ext uri="{FF2B5EF4-FFF2-40B4-BE49-F238E27FC236}">
                    <a16:creationId xmlns:a16="http://schemas.microsoft.com/office/drawing/2014/main" id="{EB8A59BC-CFDD-0508-F93E-658728B4351F}"/>
                  </a:ext>
                </a:extLst>
              </p:cNvPr>
              <p:cNvCxnSpPr>
                <a:cxnSpLocks/>
              </p:cNvCxnSpPr>
              <p:nvPr/>
            </p:nvCxnSpPr>
            <p:spPr>
              <a:xfrm>
                <a:off x="7290884" y="3439984"/>
                <a:ext cx="0" cy="108000"/>
              </a:xfrm>
              <a:prstGeom prst="line">
                <a:avLst/>
              </a:prstGeom>
              <a:ln w="15875">
                <a:solidFill>
                  <a:srgbClr val="FFFB3B"/>
                </a:solidFill>
              </a:ln>
            </p:spPr>
            <p:style>
              <a:lnRef idx="1">
                <a:schemeClr val="accent1"/>
              </a:lnRef>
              <a:fillRef idx="0">
                <a:schemeClr val="accent1"/>
              </a:fillRef>
              <a:effectRef idx="0">
                <a:schemeClr val="accent1"/>
              </a:effectRef>
              <a:fontRef idx="minor">
                <a:schemeClr val="tx1"/>
              </a:fontRef>
            </p:style>
          </p:cxnSp>
          <p:cxnSp>
            <p:nvCxnSpPr>
              <p:cNvPr id="1809" name="Straight Connector 1808">
                <a:extLst>
                  <a:ext uri="{FF2B5EF4-FFF2-40B4-BE49-F238E27FC236}">
                    <a16:creationId xmlns:a16="http://schemas.microsoft.com/office/drawing/2014/main" id="{E6E93C1C-B8B4-5386-9D71-88268A442250}"/>
                  </a:ext>
                </a:extLst>
              </p:cNvPr>
              <p:cNvCxnSpPr>
                <a:cxnSpLocks/>
              </p:cNvCxnSpPr>
              <p:nvPr/>
            </p:nvCxnSpPr>
            <p:spPr>
              <a:xfrm rot="5400000">
                <a:off x="7290884" y="3439984"/>
                <a:ext cx="0" cy="108000"/>
              </a:xfrm>
              <a:prstGeom prst="line">
                <a:avLst/>
              </a:prstGeom>
              <a:ln w="15875">
                <a:solidFill>
                  <a:srgbClr val="FFFB3B"/>
                </a:solidFill>
              </a:ln>
            </p:spPr>
            <p:style>
              <a:lnRef idx="1">
                <a:schemeClr val="accent1"/>
              </a:lnRef>
              <a:fillRef idx="0">
                <a:schemeClr val="accent1"/>
              </a:fillRef>
              <a:effectRef idx="0">
                <a:schemeClr val="accent1"/>
              </a:effectRef>
              <a:fontRef idx="minor">
                <a:schemeClr val="tx1"/>
              </a:fontRef>
            </p:style>
          </p:cxnSp>
        </p:grpSp>
        <p:grpSp>
          <p:nvGrpSpPr>
            <p:cNvPr id="1810" name="Group 1809">
              <a:extLst>
                <a:ext uri="{FF2B5EF4-FFF2-40B4-BE49-F238E27FC236}">
                  <a16:creationId xmlns:a16="http://schemas.microsoft.com/office/drawing/2014/main" id="{12E7540E-F9DA-ED2C-F2AC-3A2D1FC37380}"/>
                </a:ext>
              </a:extLst>
            </p:cNvPr>
            <p:cNvGrpSpPr/>
            <p:nvPr/>
          </p:nvGrpSpPr>
          <p:grpSpPr>
            <a:xfrm>
              <a:off x="5849358" y="3392854"/>
              <a:ext cx="82971" cy="82971"/>
              <a:chOff x="7236884" y="3439984"/>
              <a:chExt cx="108000" cy="108000"/>
            </a:xfrm>
          </p:grpSpPr>
          <p:cxnSp>
            <p:nvCxnSpPr>
              <p:cNvPr id="1811" name="Straight Connector 1810">
                <a:extLst>
                  <a:ext uri="{FF2B5EF4-FFF2-40B4-BE49-F238E27FC236}">
                    <a16:creationId xmlns:a16="http://schemas.microsoft.com/office/drawing/2014/main" id="{96C36B6D-CC11-1311-C063-4655AD7D734B}"/>
                  </a:ext>
                </a:extLst>
              </p:cNvPr>
              <p:cNvCxnSpPr>
                <a:cxnSpLocks/>
              </p:cNvCxnSpPr>
              <p:nvPr/>
            </p:nvCxnSpPr>
            <p:spPr>
              <a:xfrm>
                <a:off x="7290884" y="3439984"/>
                <a:ext cx="0" cy="108000"/>
              </a:xfrm>
              <a:prstGeom prst="line">
                <a:avLst/>
              </a:prstGeom>
              <a:ln w="15875">
                <a:solidFill>
                  <a:srgbClr val="FFFB3B"/>
                </a:solidFill>
              </a:ln>
            </p:spPr>
            <p:style>
              <a:lnRef idx="1">
                <a:schemeClr val="accent1"/>
              </a:lnRef>
              <a:fillRef idx="0">
                <a:schemeClr val="accent1"/>
              </a:fillRef>
              <a:effectRef idx="0">
                <a:schemeClr val="accent1"/>
              </a:effectRef>
              <a:fontRef idx="minor">
                <a:schemeClr val="tx1"/>
              </a:fontRef>
            </p:style>
          </p:cxnSp>
          <p:cxnSp>
            <p:nvCxnSpPr>
              <p:cNvPr id="1812" name="Straight Connector 1811">
                <a:extLst>
                  <a:ext uri="{FF2B5EF4-FFF2-40B4-BE49-F238E27FC236}">
                    <a16:creationId xmlns:a16="http://schemas.microsoft.com/office/drawing/2014/main" id="{BAA14C3F-01CF-452D-0BC9-A3954C9614CE}"/>
                  </a:ext>
                </a:extLst>
              </p:cNvPr>
              <p:cNvCxnSpPr>
                <a:cxnSpLocks/>
              </p:cNvCxnSpPr>
              <p:nvPr/>
            </p:nvCxnSpPr>
            <p:spPr>
              <a:xfrm rot="5400000">
                <a:off x="7290884" y="3439984"/>
                <a:ext cx="0" cy="108000"/>
              </a:xfrm>
              <a:prstGeom prst="line">
                <a:avLst/>
              </a:prstGeom>
              <a:ln w="15875">
                <a:solidFill>
                  <a:srgbClr val="FFFB3B"/>
                </a:solidFill>
              </a:ln>
            </p:spPr>
            <p:style>
              <a:lnRef idx="1">
                <a:schemeClr val="accent1"/>
              </a:lnRef>
              <a:fillRef idx="0">
                <a:schemeClr val="accent1"/>
              </a:fillRef>
              <a:effectRef idx="0">
                <a:schemeClr val="accent1"/>
              </a:effectRef>
              <a:fontRef idx="minor">
                <a:schemeClr val="tx1"/>
              </a:fontRef>
            </p:style>
          </p:cxnSp>
        </p:grpSp>
        <p:grpSp>
          <p:nvGrpSpPr>
            <p:cNvPr id="1813" name="Group 1812">
              <a:extLst>
                <a:ext uri="{FF2B5EF4-FFF2-40B4-BE49-F238E27FC236}">
                  <a16:creationId xmlns:a16="http://schemas.microsoft.com/office/drawing/2014/main" id="{1CEC0A71-0A93-CF04-A6E8-AA62742F46AF}"/>
                </a:ext>
              </a:extLst>
            </p:cNvPr>
            <p:cNvGrpSpPr/>
            <p:nvPr/>
          </p:nvGrpSpPr>
          <p:grpSpPr>
            <a:xfrm>
              <a:off x="5830308" y="3392854"/>
              <a:ext cx="82971" cy="82971"/>
              <a:chOff x="7236884" y="3439984"/>
              <a:chExt cx="108000" cy="108000"/>
            </a:xfrm>
          </p:grpSpPr>
          <p:cxnSp>
            <p:nvCxnSpPr>
              <p:cNvPr id="1814" name="Straight Connector 1813">
                <a:extLst>
                  <a:ext uri="{FF2B5EF4-FFF2-40B4-BE49-F238E27FC236}">
                    <a16:creationId xmlns:a16="http://schemas.microsoft.com/office/drawing/2014/main" id="{BFCB2F64-4B4D-8E62-4112-80B734269AE5}"/>
                  </a:ext>
                </a:extLst>
              </p:cNvPr>
              <p:cNvCxnSpPr>
                <a:cxnSpLocks/>
              </p:cNvCxnSpPr>
              <p:nvPr/>
            </p:nvCxnSpPr>
            <p:spPr>
              <a:xfrm>
                <a:off x="7290884" y="3439984"/>
                <a:ext cx="0" cy="108000"/>
              </a:xfrm>
              <a:prstGeom prst="line">
                <a:avLst/>
              </a:prstGeom>
              <a:ln w="15875">
                <a:solidFill>
                  <a:srgbClr val="FFFB3B"/>
                </a:solidFill>
              </a:ln>
            </p:spPr>
            <p:style>
              <a:lnRef idx="1">
                <a:schemeClr val="accent1"/>
              </a:lnRef>
              <a:fillRef idx="0">
                <a:schemeClr val="accent1"/>
              </a:fillRef>
              <a:effectRef idx="0">
                <a:schemeClr val="accent1"/>
              </a:effectRef>
              <a:fontRef idx="minor">
                <a:schemeClr val="tx1"/>
              </a:fontRef>
            </p:style>
          </p:cxnSp>
          <p:cxnSp>
            <p:nvCxnSpPr>
              <p:cNvPr id="1815" name="Straight Connector 1814">
                <a:extLst>
                  <a:ext uri="{FF2B5EF4-FFF2-40B4-BE49-F238E27FC236}">
                    <a16:creationId xmlns:a16="http://schemas.microsoft.com/office/drawing/2014/main" id="{B4377D3B-3D5C-87CC-7437-243C6FE38F5A}"/>
                  </a:ext>
                </a:extLst>
              </p:cNvPr>
              <p:cNvCxnSpPr>
                <a:cxnSpLocks/>
              </p:cNvCxnSpPr>
              <p:nvPr/>
            </p:nvCxnSpPr>
            <p:spPr>
              <a:xfrm rot="5400000">
                <a:off x="7290884" y="3439984"/>
                <a:ext cx="0" cy="108000"/>
              </a:xfrm>
              <a:prstGeom prst="line">
                <a:avLst/>
              </a:prstGeom>
              <a:ln w="15875">
                <a:solidFill>
                  <a:srgbClr val="FFFB3B"/>
                </a:solidFill>
              </a:ln>
            </p:spPr>
            <p:style>
              <a:lnRef idx="1">
                <a:schemeClr val="accent1"/>
              </a:lnRef>
              <a:fillRef idx="0">
                <a:schemeClr val="accent1"/>
              </a:fillRef>
              <a:effectRef idx="0">
                <a:schemeClr val="accent1"/>
              </a:effectRef>
              <a:fontRef idx="minor">
                <a:schemeClr val="tx1"/>
              </a:fontRef>
            </p:style>
          </p:cxnSp>
        </p:grpSp>
        <p:grpSp>
          <p:nvGrpSpPr>
            <p:cNvPr id="1816" name="Group 1815">
              <a:extLst>
                <a:ext uri="{FF2B5EF4-FFF2-40B4-BE49-F238E27FC236}">
                  <a16:creationId xmlns:a16="http://schemas.microsoft.com/office/drawing/2014/main" id="{8F2B133B-D92F-4D98-6407-87712CA3A0E9}"/>
                </a:ext>
              </a:extLst>
            </p:cNvPr>
            <p:cNvGrpSpPr/>
            <p:nvPr/>
          </p:nvGrpSpPr>
          <p:grpSpPr>
            <a:xfrm>
              <a:off x="5808877" y="3392854"/>
              <a:ext cx="82971" cy="82971"/>
              <a:chOff x="7236884" y="3439984"/>
              <a:chExt cx="108000" cy="108000"/>
            </a:xfrm>
          </p:grpSpPr>
          <p:cxnSp>
            <p:nvCxnSpPr>
              <p:cNvPr id="1817" name="Straight Connector 1816">
                <a:extLst>
                  <a:ext uri="{FF2B5EF4-FFF2-40B4-BE49-F238E27FC236}">
                    <a16:creationId xmlns:a16="http://schemas.microsoft.com/office/drawing/2014/main" id="{A8BD7AEA-A391-36E8-48A3-1FFCA603DFB2}"/>
                  </a:ext>
                </a:extLst>
              </p:cNvPr>
              <p:cNvCxnSpPr>
                <a:cxnSpLocks/>
              </p:cNvCxnSpPr>
              <p:nvPr/>
            </p:nvCxnSpPr>
            <p:spPr>
              <a:xfrm>
                <a:off x="7290884" y="3439984"/>
                <a:ext cx="0" cy="108000"/>
              </a:xfrm>
              <a:prstGeom prst="line">
                <a:avLst/>
              </a:prstGeom>
              <a:ln w="15875">
                <a:solidFill>
                  <a:srgbClr val="FFFB3B"/>
                </a:solidFill>
              </a:ln>
            </p:spPr>
            <p:style>
              <a:lnRef idx="1">
                <a:schemeClr val="accent1"/>
              </a:lnRef>
              <a:fillRef idx="0">
                <a:schemeClr val="accent1"/>
              </a:fillRef>
              <a:effectRef idx="0">
                <a:schemeClr val="accent1"/>
              </a:effectRef>
              <a:fontRef idx="minor">
                <a:schemeClr val="tx1"/>
              </a:fontRef>
            </p:style>
          </p:cxnSp>
          <p:cxnSp>
            <p:nvCxnSpPr>
              <p:cNvPr id="1818" name="Straight Connector 1817">
                <a:extLst>
                  <a:ext uri="{FF2B5EF4-FFF2-40B4-BE49-F238E27FC236}">
                    <a16:creationId xmlns:a16="http://schemas.microsoft.com/office/drawing/2014/main" id="{011A4FC2-DC89-336B-8318-BBA5B89CC397}"/>
                  </a:ext>
                </a:extLst>
              </p:cNvPr>
              <p:cNvCxnSpPr>
                <a:cxnSpLocks/>
              </p:cNvCxnSpPr>
              <p:nvPr/>
            </p:nvCxnSpPr>
            <p:spPr>
              <a:xfrm rot="5400000">
                <a:off x="7290884" y="3439984"/>
                <a:ext cx="0" cy="108000"/>
              </a:xfrm>
              <a:prstGeom prst="line">
                <a:avLst/>
              </a:prstGeom>
              <a:ln w="15875">
                <a:solidFill>
                  <a:srgbClr val="FFFB3B"/>
                </a:solidFill>
              </a:ln>
            </p:spPr>
            <p:style>
              <a:lnRef idx="1">
                <a:schemeClr val="accent1"/>
              </a:lnRef>
              <a:fillRef idx="0">
                <a:schemeClr val="accent1"/>
              </a:fillRef>
              <a:effectRef idx="0">
                <a:schemeClr val="accent1"/>
              </a:effectRef>
              <a:fontRef idx="minor">
                <a:schemeClr val="tx1"/>
              </a:fontRef>
            </p:style>
          </p:cxnSp>
        </p:grpSp>
        <p:grpSp>
          <p:nvGrpSpPr>
            <p:cNvPr id="1819" name="Group 1818">
              <a:extLst>
                <a:ext uri="{FF2B5EF4-FFF2-40B4-BE49-F238E27FC236}">
                  <a16:creationId xmlns:a16="http://schemas.microsoft.com/office/drawing/2014/main" id="{FA0F5BAA-B0DC-1F27-81E5-86D1D68AACF2}"/>
                </a:ext>
              </a:extLst>
            </p:cNvPr>
            <p:cNvGrpSpPr/>
            <p:nvPr/>
          </p:nvGrpSpPr>
          <p:grpSpPr>
            <a:xfrm>
              <a:off x="5787446" y="3392854"/>
              <a:ext cx="82971" cy="82971"/>
              <a:chOff x="7236884" y="3439984"/>
              <a:chExt cx="108000" cy="108000"/>
            </a:xfrm>
          </p:grpSpPr>
          <p:cxnSp>
            <p:nvCxnSpPr>
              <p:cNvPr id="1820" name="Straight Connector 1819">
                <a:extLst>
                  <a:ext uri="{FF2B5EF4-FFF2-40B4-BE49-F238E27FC236}">
                    <a16:creationId xmlns:a16="http://schemas.microsoft.com/office/drawing/2014/main" id="{A75FD369-03F1-8C56-CBFE-3A7144A342FF}"/>
                  </a:ext>
                </a:extLst>
              </p:cNvPr>
              <p:cNvCxnSpPr>
                <a:cxnSpLocks/>
              </p:cNvCxnSpPr>
              <p:nvPr/>
            </p:nvCxnSpPr>
            <p:spPr>
              <a:xfrm>
                <a:off x="7290884" y="3439984"/>
                <a:ext cx="0" cy="108000"/>
              </a:xfrm>
              <a:prstGeom prst="line">
                <a:avLst/>
              </a:prstGeom>
              <a:ln w="15875">
                <a:solidFill>
                  <a:srgbClr val="FFFB3B"/>
                </a:solidFill>
              </a:ln>
            </p:spPr>
            <p:style>
              <a:lnRef idx="1">
                <a:schemeClr val="accent1"/>
              </a:lnRef>
              <a:fillRef idx="0">
                <a:schemeClr val="accent1"/>
              </a:fillRef>
              <a:effectRef idx="0">
                <a:schemeClr val="accent1"/>
              </a:effectRef>
              <a:fontRef idx="minor">
                <a:schemeClr val="tx1"/>
              </a:fontRef>
            </p:style>
          </p:cxnSp>
          <p:cxnSp>
            <p:nvCxnSpPr>
              <p:cNvPr id="1821" name="Straight Connector 1820">
                <a:extLst>
                  <a:ext uri="{FF2B5EF4-FFF2-40B4-BE49-F238E27FC236}">
                    <a16:creationId xmlns:a16="http://schemas.microsoft.com/office/drawing/2014/main" id="{D331BC3B-2A6F-97F1-3E25-46B0EA78CA0D}"/>
                  </a:ext>
                </a:extLst>
              </p:cNvPr>
              <p:cNvCxnSpPr>
                <a:cxnSpLocks/>
              </p:cNvCxnSpPr>
              <p:nvPr/>
            </p:nvCxnSpPr>
            <p:spPr>
              <a:xfrm rot="5400000">
                <a:off x="7290884" y="3439984"/>
                <a:ext cx="0" cy="108000"/>
              </a:xfrm>
              <a:prstGeom prst="line">
                <a:avLst/>
              </a:prstGeom>
              <a:ln w="15875">
                <a:solidFill>
                  <a:srgbClr val="FFFB3B"/>
                </a:solidFill>
              </a:ln>
            </p:spPr>
            <p:style>
              <a:lnRef idx="1">
                <a:schemeClr val="accent1"/>
              </a:lnRef>
              <a:fillRef idx="0">
                <a:schemeClr val="accent1"/>
              </a:fillRef>
              <a:effectRef idx="0">
                <a:schemeClr val="accent1"/>
              </a:effectRef>
              <a:fontRef idx="minor">
                <a:schemeClr val="tx1"/>
              </a:fontRef>
            </p:style>
          </p:cxnSp>
        </p:grpSp>
        <p:grpSp>
          <p:nvGrpSpPr>
            <p:cNvPr id="1822" name="Group 1821">
              <a:extLst>
                <a:ext uri="{FF2B5EF4-FFF2-40B4-BE49-F238E27FC236}">
                  <a16:creationId xmlns:a16="http://schemas.microsoft.com/office/drawing/2014/main" id="{AB7D1310-B376-316C-A42A-9FEB7671D1A0}"/>
                </a:ext>
              </a:extLst>
            </p:cNvPr>
            <p:cNvGrpSpPr/>
            <p:nvPr/>
          </p:nvGrpSpPr>
          <p:grpSpPr>
            <a:xfrm>
              <a:off x="5768395" y="3386044"/>
              <a:ext cx="82971" cy="82971"/>
              <a:chOff x="7236884" y="3439984"/>
              <a:chExt cx="108000" cy="108000"/>
            </a:xfrm>
          </p:grpSpPr>
          <p:cxnSp>
            <p:nvCxnSpPr>
              <p:cNvPr id="1823" name="Straight Connector 1822">
                <a:extLst>
                  <a:ext uri="{FF2B5EF4-FFF2-40B4-BE49-F238E27FC236}">
                    <a16:creationId xmlns:a16="http://schemas.microsoft.com/office/drawing/2014/main" id="{8DB52A81-72CA-6DE4-535E-B01E97D06DC0}"/>
                  </a:ext>
                </a:extLst>
              </p:cNvPr>
              <p:cNvCxnSpPr>
                <a:cxnSpLocks/>
              </p:cNvCxnSpPr>
              <p:nvPr/>
            </p:nvCxnSpPr>
            <p:spPr>
              <a:xfrm>
                <a:off x="7290884" y="3439984"/>
                <a:ext cx="0" cy="108000"/>
              </a:xfrm>
              <a:prstGeom prst="line">
                <a:avLst/>
              </a:prstGeom>
              <a:ln w="15875">
                <a:solidFill>
                  <a:srgbClr val="FFFB3B"/>
                </a:solidFill>
              </a:ln>
            </p:spPr>
            <p:style>
              <a:lnRef idx="1">
                <a:schemeClr val="accent1"/>
              </a:lnRef>
              <a:fillRef idx="0">
                <a:schemeClr val="accent1"/>
              </a:fillRef>
              <a:effectRef idx="0">
                <a:schemeClr val="accent1"/>
              </a:effectRef>
              <a:fontRef idx="minor">
                <a:schemeClr val="tx1"/>
              </a:fontRef>
            </p:style>
          </p:cxnSp>
          <p:cxnSp>
            <p:nvCxnSpPr>
              <p:cNvPr id="1824" name="Straight Connector 1823">
                <a:extLst>
                  <a:ext uri="{FF2B5EF4-FFF2-40B4-BE49-F238E27FC236}">
                    <a16:creationId xmlns:a16="http://schemas.microsoft.com/office/drawing/2014/main" id="{AF9A6922-80BD-D852-62BA-AF087B23CC64}"/>
                  </a:ext>
                </a:extLst>
              </p:cNvPr>
              <p:cNvCxnSpPr>
                <a:cxnSpLocks/>
              </p:cNvCxnSpPr>
              <p:nvPr/>
            </p:nvCxnSpPr>
            <p:spPr>
              <a:xfrm rot="5400000">
                <a:off x="7290884" y="3439984"/>
                <a:ext cx="0" cy="108000"/>
              </a:xfrm>
              <a:prstGeom prst="line">
                <a:avLst/>
              </a:prstGeom>
              <a:ln w="15875">
                <a:solidFill>
                  <a:srgbClr val="FFFB3B"/>
                </a:solidFill>
              </a:ln>
            </p:spPr>
            <p:style>
              <a:lnRef idx="1">
                <a:schemeClr val="accent1"/>
              </a:lnRef>
              <a:fillRef idx="0">
                <a:schemeClr val="accent1"/>
              </a:fillRef>
              <a:effectRef idx="0">
                <a:schemeClr val="accent1"/>
              </a:effectRef>
              <a:fontRef idx="minor">
                <a:schemeClr val="tx1"/>
              </a:fontRef>
            </p:style>
          </p:cxnSp>
        </p:grpSp>
        <p:grpSp>
          <p:nvGrpSpPr>
            <p:cNvPr id="1825" name="Group 1824">
              <a:extLst>
                <a:ext uri="{FF2B5EF4-FFF2-40B4-BE49-F238E27FC236}">
                  <a16:creationId xmlns:a16="http://schemas.microsoft.com/office/drawing/2014/main" id="{BA8DDD5F-335D-401D-9898-FC0D7731432F}"/>
                </a:ext>
              </a:extLst>
            </p:cNvPr>
            <p:cNvGrpSpPr/>
            <p:nvPr/>
          </p:nvGrpSpPr>
          <p:grpSpPr>
            <a:xfrm>
              <a:off x="5678097" y="3303329"/>
              <a:ext cx="82971" cy="82971"/>
              <a:chOff x="7236884" y="3439984"/>
              <a:chExt cx="108000" cy="108000"/>
            </a:xfrm>
          </p:grpSpPr>
          <p:cxnSp>
            <p:nvCxnSpPr>
              <p:cNvPr id="1826" name="Straight Connector 1825">
                <a:extLst>
                  <a:ext uri="{FF2B5EF4-FFF2-40B4-BE49-F238E27FC236}">
                    <a16:creationId xmlns:a16="http://schemas.microsoft.com/office/drawing/2014/main" id="{C7D76C26-7F2C-8053-9CAF-C9186C4DE867}"/>
                  </a:ext>
                </a:extLst>
              </p:cNvPr>
              <p:cNvCxnSpPr>
                <a:cxnSpLocks/>
              </p:cNvCxnSpPr>
              <p:nvPr/>
            </p:nvCxnSpPr>
            <p:spPr>
              <a:xfrm>
                <a:off x="7290884" y="3439984"/>
                <a:ext cx="0" cy="108000"/>
              </a:xfrm>
              <a:prstGeom prst="line">
                <a:avLst/>
              </a:prstGeom>
              <a:ln w="15875">
                <a:solidFill>
                  <a:srgbClr val="FFFB3B"/>
                </a:solidFill>
              </a:ln>
            </p:spPr>
            <p:style>
              <a:lnRef idx="1">
                <a:schemeClr val="accent1"/>
              </a:lnRef>
              <a:fillRef idx="0">
                <a:schemeClr val="accent1"/>
              </a:fillRef>
              <a:effectRef idx="0">
                <a:schemeClr val="accent1"/>
              </a:effectRef>
              <a:fontRef idx="minor">
                <a:schemeClr val="tx1"/>
              </a:fontRef>
            </p:style>
          </p:cxnSp>
          <p:cxnSp>
            <p:nvCxnSpPr>
              <p:cNvPr id="1827" name="Straight Connector 1826">
                <a:extLst>
                  <a:ext uri="{FF2B5EF4-FFF2-40B4-BE49-F238E27FC236}">
                    <a16:creationId xmlns:a16="http://schemas.microsoft.com/office/drawing/2014/main" id="{F483FEC8-B47B-9B3C-68EB-32056AA9F728}"/>
                  </a:ext>
                </a:extLst>
              </p:cNvPr>
              <p:cNvCxnSpPr>
                <a:cxnSpLocks/>
              </p:cNvCxnSpPr>
              <p:nvPr/>
            </p:nvCxnSpPr>
            <p:spPr>
              <a:xfrm rot="5400000">
                <a:off x="7290884" y="3439984"/>
                <a:ext cx="0" cy="108000"/>
              </a:xfrm>
              <a:prstGeom prst="line">
                <a:avLst/>
              </a:prstGeom>
              <a:ln w="15875">
                <a:solidFill>
                  <a:srgbClr val="FFFB3B"/>
                </a:solidFill>
              </a:ln>
            </p:spPr>
            <p:style>
              <a:lnRef idx="1">
                <a:schemeClr val="accent1"/>
              </a:lnRef>
              <a:fillRef idx="0">
                <a:schemeClr val="accent1"/>
              </a:fillRef>
              <a:effectRef idx="0">
                <a:schemeClr val="accent1"/>
              </a:effectRef>
              <a:fontRef idx="minor">
                <a:schemeClr val="tx1"/>
              </a:fontRef>
            </p:style>
          </p:cxnSp>
        </p:grpSp>
        <p:grpSp>
          <p:nvGrpSpPr>
            <p:cNvPr id="1828" name="Group 1827">
              <a:extLst>
                <a:ext uri="{FF2B5EF4-FFF2-40B4-BE49-F238E27FC236}">
                  <a16:creationId xmlns:a16="http://schemas.microsoft.com/office/drawing/2014/main" id="{F07E4EBA-D8BC-405B-687D-C51E3BE79D8B}"/>
                </a:ext>
              </a:extLst>
            </p:cNvPr>
            <p:cNvGrpSpPr/>
            <p:nvPr/>
          </p:nvGrpSpPr>
          <p:grpSpPr>
            <a:xfrm>
              <a:off x="5649522" y="3303329"/>
              <a:ext cx="82971" cy="82971"/>
              <a:chOff x="7236884" y="3439984"/>
              <a:chExt cx="108000" cy="108000"/>
            </a:xfrm>
          </p:grpSpPr>
          <p:cxnSp>
            <p:nvCxnSpPr>
              <p:cNvPr id="1829" name="Straight Connector 1828">
                <a:extLst>
                  <a:ext uri="{FF2B5EF4-FFF2-40B4-BE49-F238E27FC236}">
                    <a16:creationId xmlns:a16="http://schemas.microsoft.com/office/drawing/2014/main" id="{5E1EE18B-BCA0-840F-2420-A80E2172D035}"/>
                  </a:ext>
                </a:extLst>
              </p:cNvPr>
              <p:cNvCxnSpPr>
                <a:cxnSpLocks/>
              </p:cNvCxnSpPr>
              <p:nvPr/>
            </p:nvCxnSpPr>
            <p:spPr>
              <a:xfrm>
                <a:off x="7290884" y="3439984"/>
                <a:ext cx="0" cy="108000"/>
              </a:xfrm>
              <a:prstGeom prst="line">
                <a:avLst/>
              </a:prstGeom>
              <a:ln w="15875">
                <a:solidFill>
                  <a:srgbClr val="FFFB3B"/>
                </a:solidFill>
              </a:ln>
            </p:spPr>
            <p:style>
              <a:lnRef idx="1">
                <a:schemeClr val="accent1"/>
              </a:lnRef>
              <a:fillRef idx="0">
                <a:schemeClr val="accent1"/>
              </a:fillRef>
              <a:effectRef idx="0">
                <a:schemeClr val="accent1"/>
              </a:effectRef>
              <a:fontRef idx="minor">
                <a:schemeClr val="tx1"/>
              </a:fontRef>
            </p:style>
          </p:cxnSp>
          <p:cxnSp>
            <p:nvCxnSpPr>
              <p:cNvPr id="1830" name="Straight Connector 1829">
                <a:extLst>
                  <a:ext uri="{FF2B5EF4-FFF2-40B4-BE49-F238E27FC236}">
                    <a16:creationId xmlns:a16="http://schemas.microsoft.com/office/drawing/2014/main" id="{ACD2B620-E83C-E4EA-6B1C-AF7C92721C28}"/>
                  </a:ext>
                </a:extLst>
              </p:cNvPr>
              <p:cNvCxnSpPr>
                <a:cxnSpLocks/>
              </p:cNvCxnSpPr>
              <p:nvPr/>
            </p:nvCxnSpPr>
            <p:spPr>
              <a:xfrm rot="5400000">
                <a:off x="7290884" y="3439984"/>
                <a:ext cx="0" cy="108000"/>
              </a:xfrm>
              <a:prstGeom prst="line">
                <a:avLst/>
              </a:prstGeom>
              <a:ln w="15875">
                <a:solidFill>
                  <a:srgbClr val="FFFB3B"/>
                </a:solidFill>
              </a:ln>
            </p:spPr>
            <p:style>
              <a:lnRef idx="1">
                <a:schemeClr val="accent1"/>
              </a:lnRef>
              <a:fillRef idx="0">
                <a:schemeClr val="accent1"/>
              </a:fillRef>
              <a:effectRef idx="0">
                <a:schemeClr val="accent1"/>
              </a:effectRef>
              <a:fontRef idx="minor">
                <a:schemeClr val="tx1"/>
              </a:fontRef>
            </p:style>
          </p:cxnSp>
        </p:grpSp>
        <p:grpSp>
          <p:nvGrpSpPr>
            <p:cNvPr id="1831" name="Group 1830">
              <a:extLst>
                <a:ext uri="{FF2B5EF4-FFF2-40B4-BE49-F238E27FC236}">
                  <a16:creationId xmlns:a16="http://schemas.microsoft.com/office/drawing/2014/main" id="{D05F12A9-2577-E59B-3B20-413AD462D68D}"/>
                </a:ext>
              </a:extLst>
            </p:cNvPr>
            <p:cNvGrpSpPr/>
            <p:nvPr/>
          </p:nvGrpSpPr>
          <p:grpSpPr>
            <a:xfrm>
              <a:off x="5668572" y="3303329"/>
              <a:ext cx="82971" cy="82971"/>
              <a:chOff x="7236884" y="3439984"/>
              <a:chExt cx="108000" cy="108000"/>
            </a:xfrm>
          </p:grpSpPr>
          <p:cxnSp>
            <p:nvCxnSpPr>
              <p:cNvPr id="1832" name="Straight Connector 1831">
                <a:extLst>
                  <a:ext uri="{FF2B5EF4-FFF2-40B4-BE49-F238E27FC236}">
                    <a16:creationId xmlns:a16="http://schemas.microsoft.com/office/drawing/2014/main" id="{19D475D0-BE75-1DF1-393C-B6D869F75DCE}"/>
                  </a:ext>
                </a:extLst>
              </p:cNvPr>
              <p:cNvCxnSpPr>
                <a:cxnSpLocks/>
              </p:cNvCxnSpPr>
              <p:nvPr/>
            </p:nvCxnSpPr>
            <p:spPr>
              <a:xfrm>
                <a:off x="7290884" y="3439984"/>
                <a:ext cx="0" cy="108000"/>
              </a:xfrm>
              <a:prstGeom prst="line">
                <a:avLst/>
              </a:prstGeom>
              <a:ln w="15875">
                <a:solidFill>
                  <a:srgbClr val="FFFB3B"/>
                </a:solidFill>
              </a:ln>
            </p:spPr>
            <p:style>
              <a:lnRef idx="1">
                <a:schemeClr val="accent1"/>
              </a:lnRef>
              <a:fillRef idx="0">
                <a:schemeClr val="accent1"/>
              </a:fillRef>
              <a:effectRef idx="0">
                <a:schemeClr val="accent1"/>
              </a:effectRef>
              <a:fontRef idx="minor">
                <a:schemeClr val="tx1"/>
              </a:fontRef>
            </p:style>
          </p:cxnSp>
          <p:cxnSp>
            <p:nvCxnSpPr>
              <p:cNvPr id="1833" name="Straight Connector 1832">
                <a:extLst>
                  <a:ext uri="{FF2B5EF4-FFF2-40B4-BE49-F238E27FC236}">
                    <a16:creationId xmlns:a16="http://schemas.microsoft.com/office/drawing/2014/main" id="{1B277431-F4EC-794D-3078-0C5AD68623AA}"/>
                  </a:ext>
                </a:extLst>
              </p:cNvPr>
              <p:cNvCxnSpPr>
                <a:cxnSpLocks/>
              </p:cNvCxnSpPr>
              <p:nvPr/>
            </p:nvCxnSpPr>
            <p:spPr>
              <a:xfrm rot="5400000">
                <a:off x="7290884" y="3439984"/>
                <a:ext cx="0" cy="108000"/>
              </a:xfrm>
              <a:prstGeom prst="line">
                <a:avLst/>
              </a:prstGeom>
              <a:ln w="15875">
                <a:solidFill>
                  <a:srgbClr val="FFFB3B"/>
                </a:solidFill>
              </a:ln>
            </p:spPr>
            <p:style>
              <a:lnRef idx="1">
                <a:schemeClr val="accent1"/>
              </a:lnRef>
              <a:fillRef idx="0">
                <a:schemeClr val="accent1"/>
              </a:fillRef>
              <a:effectRef idx="0">
                <a:schemeClr val="accent1"/>
              </a:effectRef>
              <a:fontRef idx="minor">
                <a:schemeClr val="tx1"/>
              </a:fontRef>
            </p:style>
          </p:cxnSp>
        </p:grpSp>
        <p:grpSp>
          <p:nvGrpSpPr>
            <p:cNvPr id="1834" name="Group 1833">
              <a:extLst>
                <a:ext uri="{FF2B5EF4-FFF2-40B4-BE49-F238E27FC236}">
                  <a16:creationId xmlns:a16="http://schemas.microsoft.com/office/drawing/2014/main" id="{3486CE20-BB2C-4F9F-FBC4-D4536A867FC9}"/>
                </a:ext>
              </a:extLst>
            </p:cNvPr>
            <p:cNvGrpSpPr/>
            <p:nvPr/>
          </p:nvGrpSpPr>
          <p:grpSpPr>
            <a:xfrm>
              <a:off x="5554563" y="3277240"/>
              <a:ext cx="82971" cy="82971"/>
              <a:chOff x="7236884" y="3439984"/>
              <a:chExt cx="108000" cy="108000"/>
            </a:xfrm>
          </p:grpSpPr>
          <p:cxnSp>
            <p:nvCxnSpPr>
              <p:cNvPr id="1835" name="Straight Connector 1834">
                <a:extLst>
                  <a:ext uri="{FF2B5EF4-FFF2-40B4-BE49-F238E27FC236}">
                    <a16:creationId xmlns:a16="http://schemas.microsoft.com/office/drawing/2014/main" id="{2A9E12A6-F5FC-5092-E093-5AFC92E87FE3}"/>
                  </a:ext>
                </a:extLst>
              </p:cNvPr>
              <p:cNvCxnSpPr>
                <a:cxnSpLocks/>
              </p:cNvCxnSpPr>
              <p:nvPr/>
            </p:nvCxnSpPr>
            <p:spPr>
              <a:xfrm>
                <a:off x="7290884" y="3439984"/>
                <a:ext cx="0" cy="108000"/>
              </a:xfrm>
              <a:prstGeom prst="line">
                <a:avLst/>
              </a:prstGeom>
              <a:ln w="15875">
                <a:solidFill>
                  <a:srgbClr val="FFFB3B"/>
                </a:solidFill>
              </a:ln>
            </p:spPr>
            <p:style>
              <a:lnRef idx="1">
                <a:schemeClr val="accent1"/>
              </a:lnRef>
              <a:fillRef idx="0">
                <a:schemeClr val="accent1"/>
              </a:fillRef>
              <a:effectRef idx="0">
                <a:schemeClr val="accent1"/>
              </a:effectRef>
              <a:fontRef idx="minor">
                <a:schemeClr val="tx1"/>
              </a:fontRef>
            </p:style>
          </p:cxnSp>
          <p:cxnSp>
            <p:nvCxnSpPr>
              <p:cNvPr id="1836" name="Straight Connector 1835">
                <a:extLst>
                  <a:ext uri="{FF2B5EF4-FFF2-40B4-BE49-F238E27FC236}">
                    <a16:creationId xmlns:a16="http://schemas.microsoft.com/office/drawing/2014/main" id="{F9768536-1AA7-7323-3ED6-AE5D8667ED90}"/>
                  </a:ext>
                </a:extLst>
              </p:cNvPr>
              <p:cNvCxnSpPr>
                <a:cxnSpLocks/>
              </p:cNvCxnSpPr>
              <p:nvPr/>
            </p:nvCxnSpPr>
            <p:spPr>
              <a:xfrm rot="5400000">
                <a:off x="7290884" y="3439984"/>
                <a:ext cx="0" cy="108000"/>
              </a:xfrm>
              <a:prstGeom prst="line">
                <a:avLst/>
              </a:prstGeom>
              <a:ln w="15875">
                <a:solidFill>
                  <a:srgbClr val="FFFB3B"/>
                </a:solidFill>
              </a:ln>
            </p:spPr>
            <p:style>
              <a:lnRef idx="1">
                <a:schemeClr val="accent1"/>
              </a:lnRef>
              <a:fillRef idx="0">
                <a:schemeClr val="accent1"/>
              </a:fillRef>
              <a:effectRef idx="0">
                <a:schemeClr val="accent1"/>
              </a:effectRef>
              <a:fontRef idx="minor">
                <a:schemeClr val="tx1"/>
              </a:fontRef>
            </p:style>
          </p:cxnSp>
        </p:grpSp>
        <p:grpSp>
          <p:nvGrpSpPr>
            <p:cNvPr id="1837" name="Group 1836">
              <a:extLst>
                <a:ext uri="{FF2B5EF4-FFF2-40B4-BE49-F238E27FC236}">
                  <a16:creationId xmlns:a16="http://schemas.microsoft.com/office/drawing/2014/main" id="{08457D69-4B10-7BC2-D410-38422C4543B5}"/>
                </a:ext>
              </a:extLst>
            </p:cNvPr>
            <p:cNvGrpSpPr/>
            <p:nvPr/>
          </p:nvGrpSpPr>
          <p:grpSpPr>
            <a:xfrm>
              <a:off x="5513077" y="3246254"/>
              <a:ext cx="82971" cy="82971"/>
              <a:chOff x="7236884" y="3439984"/>
              <a:chExt cx="108000" cy="108000"/>
            </a:xfrm>
          </p:grpSpPr>
          <p:cxnSp>
            <p:nvCxnSpPr>
              <p:cNvPr id="1838" name="Straight Connector 1837">
                <a:extLst>
                  <a:ext uri="{FF2B5EF4-FFF2-40B4-BE49-F238E27FC236}">
                    <a16:creationId xmlns:a16="http://schemas.microsoft.com/office/drawing/2014/main" id="{60326BC8-85D0-64ED-6C11-1842FD6AF713}"/>
                  </a:ext>
                </a:extLst>
              </p:cNvPr>
              <p:cNvCxnSpPr>
                <a:cxnSpLocks/>
              </p:cNvCxnSpPr>
              <p:nvPr/>
            </p:nvCxnSpPr>
            <p:spPr>
              <a:xfrm>
                <a:off x="7290884" y="3439984"/>
                <a:ext cx="0" cy="108000"/>
              </a:xfrm>
              <a:prstGeom prst="line">
                <a:avLst/>
              </a:prstGeom>
              <a:ln w="15875">
                <a:solidFill>
                  <a:srgbClr val="FFFB3B"/>
                </a:solidFill>
              </a:ln>
            </p:spPr>
            <p:style>
              <a:lnRef idx="1">
                <a:schemeClr val="accent1"/>
              </a:lnRef>
              <a:fillRef idx="0">
                <a:schemeClr val="accent1"/>
              </a:fillRef>
              <a:effectRef idx="0">
                <a:schemeClr val="accent1"/>
              </a:effectRef>
              <a:fontRef idx="minor">
                <a:schemeClr val="tx1"/>
              </a:fontRef>
            </p:style>
          </p:cxnSp>
          <p:cxnSp>
            <p:nvCxnSpPr>
              <p:cNvPr id="1839" name="Straight Connector 1838">
                <a:extLst>
                  <a:ext uri="{FF2B5EF4-FFF2-40B4-BE49-F238E27FC236}">
                    <a16:creationId xmlns:a16="http://schemas.microsoft.com/office/drawing/2014/main" id="{37185E8D-B00A-0DCB-1DAE-C502703A7088}"/>
                  </a:ext>
                </a:extLst>
              </p:cNvPr>
              <p:cNvCxnSpPr>
                <a:cxnSpLocks/>
              </p:cNvCxnSpPr>
              <p:nvPr/>
            </p:nvCxnSpPr>
            <p:spPr>
              <a:xfrm rot="5400000">
                <a:off x="7290884" y="3439984"/>
                <a:ext cx="0" cy="108000"/>
              </a:xfrm>
              <a:prstGeom prst="line">
                <a:avLst/>
              </a:prstGeom>
              <a:ln w="15875">
                <a:solidFill>
                  <a:srgbClr val="FFFB3B"/>
                </a:solidFill>
              </a:ln>
            </p:spPr>
            <p:style>
              <a:lnRef idx="1">
                <a:schemeClr val="accent1"/>
              </a:lnRef>
              <a:fillRef idx="0">
                <a:schemeClr val="accent1"/>
              </a:fillRef>
              <a:effectRef idx="0">
                <a:schemeClr val="accent1"/>
              </a:effectRef>
              <a:fontRef idx="minor">
                <a:schemeClr val="tx1"/>
              </a:fontRef>
            </p:style>
          </p:cxnSp>
        </p:grpSp>
        <p:grpSp>
          <p:nvGrpSpPr>
            <p:cNvPr id="1840" name="Group 1839">
              <a:extLst>
                <a:ext uri="{FF2B5EF4-FFF2-40B4-BE49-F238E27FC236}">
                  <a16:creationId xmlns:a16="http://schemas.microsoft.com/office/drawing/2014/main" id="{BD93510B-13BA-97AD-C890-6779F5C3B46C}"/>
                </a:ext>
              </a:extLst>
            </p:cNvPr>
            <p:cNvGrpSpPr/>
            <p:nvPr/>
          </p:nvGrpSpPr>
          <p:grpSpPr>
            <a:xfrm>
              <a:off x="5466830" y="3118161"/>
              <a:ext cx="82971" cy="82971"/>
              <a:chOff x="7236884" y="3439984"/>
              <a:chExt cx="108000" cy="108000"/>
            </a:xfrm>
          </p:grpSpPr>
          <p:cxnSp>
            <p:nvCxnSpPr>
              <p:cNvPr id="1841" name="Straight Connector 1840">
                <a:extLst>
                  <a:ext uri="{FF2B5EF4-FFF2-40B4-BE49-F238E27FC236}">
                    <a16:creationId xmlns:a16="http://schemas.microsoft.com/office/drawing/2014/main" id="{F8C5A9AF-373F-E407-8506-B73EFE9192A2}"/>
                  </a:ext>
                </a:extLst>
              </p:cNvPr>
              <p:cNvCxnSpPr>
                <a:cxnSpLocks/>
              </p:cNvCxnSpPr>
              <p:nvPr/>
            </p:nvCxnSpPr>
            <p:spPr>
              <a:xfrm>
                <a:off x="7290884" y="3439984"/>
                <a:ext cx="0" cy="108000"/>
              </a:xfrm>
              <a:prstGeom prst="line">
                <a:avLst/>
              </a:prstGeom>
              <a:ln w="15875">
                <a:solidFill>
                  <a:srgbClr val="FFFB3B"/>
                </a:solidFill>
              </a:ln>
            </p:spPr>
            <p:style>
              <a:lnRef idx="1">
                <a:schemeClr val="accent1"/>
              </a:lnRef>
              <a:fillRef idx="0">
                <a:schemeClr val="accent1"/>
              </a:fillRef>
              <a:effectRef idx="0">
                <a:schemeClr val="accent1"/>
              </a:effectRef>
              <a:fontRef idx="minor">
                <a:schemeClr val="tx1"/>
              </a:fontRef>
            </p:style>
          </p:cxnSp>
          <p:cxnSp>
            <p:nvCxnSpPr>
              <p:cNvPr id="1842" name="Straight Connector 1841">
                <a:extLst>
                  <a:ext uri="{FF2B5EF4-FFF2-40B4-BE49-F238E27FC236}">
                    <a16:creationId xmlns:a16="http://schemas.microsoft.com/office/drawing/2014/main" id="{6F7A411E-2739-FEDE-2D3C-DC08D413F2A4}"/>
                  </a:ext>
                </a:extLst>
              </p:cNvPr>
              <p:cNvCxnSpPr>
                <a:cxnSpLocks/>
              </p:cNvCxnSpPr>
              <p:nvPr/>
            </p:nvCxnSpPr>
            <p:spPr>
              <a:xfrm rot="5400000">
                <a:off x="7290884" y="3439984"/>
                <a:ext cx="0" cy="108000"/>
              </a:xfrm>
              <a:prstGeom prst="line">
                <a:avLst/>
              </a:prstGeom>
              <a:ln w="15875">
                <a:solidFill>
                  <a:srgbClr val="FFFB3B"/>
                </a:solidFill>
              </a:ln>
            </p:spPr>
            <p:style>
              <a:lnRef idx="1">
                <a:schemeClr val="accent1"/>
              </a:lnRef>
              <a:fillRef idx="0">
                <a:schemeClr val="accent1"/>
              </a:fillRef>
              <a:effectRef idx="0">
                <a:schemeClr val="accent1"/>
              </a:effectRef>
              <a:fontRef idx="minor">
                <a:schemeClr val="tx1"/>
              </a:fontRef>
            </p:style>
          </p:cxnSp>
        </p:grpSp>
        <p:grpSp>
          <p:nvGrpSpPr>
            <p:cNvPr id="1843" name="Group 1842">
              <a:extLst>
                <a:ext uri="{FF2B5EF4-FFF2-40B4-BE49-F238E27FC236}">
                  <a16:creationId xmlns:a16="http://schemas.microsoft.com/office/drawing/2014/main" id="{DB7AE426-4A02-469C-9D6D-9A65C6886E45}"/>
                </a:ext>
              </a:extLst>
            </p:cNvPr>
            <p:cNvGrpSpPr/>
            <p:nvPr/>
          </p:nvGrpSpPr>
          <p:grpSpPr>
            <a:xfrm>
              <a:off x="5443018" y="3118161"/>
              <a:ext cx="82971" cy="82971"/>
              <a:chOff x="7236884" y="3439984"/>
              <a:chExt cx="108000" cy="108000"/>
            </a:xfrm>
          </p:grpSpPr>
          <p:cxnSp>
            <p:nvCxnSpPr>
              <p:cNvPr id="1844" name="Straight Connector 1843">
                <a:extLst>
                  <a:ext uri="{FF2B5EF4-FFF2-40B4-BE49-F238E27FC236}">
                    <a16:creationId xmlns:a16="http://schemas.microsoft.com/office/drawing/2014/main" id="{B96CC3B4-6674-A792-4E0F-A66BC1196D70}"/>
                  </a:ext>
                </a:extLst>
              </p:cNvPr>
              <p:cNvCxnSpPr>
                <a:cxnSpLocks/>
              </p:cNvCxnSpPr>
              <p:nvPr/>
            </p:nvCxnSpPr>
            <p:spPr>
              <a:xfrm>
                <a:off x="7290884" y="3439984"/>
                <a:ext cx="0" cy="108000"/>
              </a:xfrm>
              <a:prstGeom prst="line">
                <a:avLst/>
              </a:prstGeom>
              <a:ln w="15875">
                <a:solidFill>
                  <a:srgbClr val="FFFB3B"/>
                </a:solidFill>
              </a:ln>
            </p:spPr>
            <p:style>
              <a:lnRef idx="1">
                <a:schemeClr val="accent1"/>
              </a:lnRef>
              <a:fillRef idx="0">
                <a:schemeClr val="accent1"/>
              </a:fillRef>
              <a:effectRef idx="0">
                <a:schemeClr val="accent1"/>
              </a:effectRef>
              <a:fontRef idx="minor">
                <a:schemeClr val="tx1"/>
              </a:fontRef>
            </p:style>
          </p:cxnSp>
          <p:cxnSp>
            <p:nvCxnSpPr>
              <p:cNvPr id="1845" name="Straight Connector 1844">
                <a:extLst>
                  <a:ext uri="{FF2B5EF4-FFF2-40B4-BE49-F238E27FC236}">
                    <a16:creationId xmlns:a16="http://schemas.microsoft.com/office/drawing/2014/main" id="{F8DE7995-1CD0-12F3-9653-8BE8822400C8}"/>
                  </a:ext>
                </a:extLst>
              </p:cNvPr>
              <p:cNvCxnSpPr>
                <a:cxnSpLocks/>
              </p:cNvCxnSpPr>
              <p:nvPr/>
            </p:nvCxnSpPr>
            <p:spPr>
              <a:xfrm rot="5400000">
                <a:off x="7290884" y="3439984"/>
                <a:ext cx="0" cy="108000"/>
              </a:xfrm>
              <a:prstGeom prst="line">
                <a:avLst/>
              </a:prstGeom>
              <a:ln w="15875">
                <a:solidFill>
                  <a:srgbClr val="FFFB3B"/>
                </a:solidFill>
              </a:ln>
            </p:spPr>
            <p:style>
              <a:lnRef idx="1">
                <a:schemeClr val="accent1"/>
              </a:lnRef>
              <a:fillRef idx="0">
                <a:schemeClr val="accent1"/>
              </a:fillRef>
              <a:effectRef idx="0">
                <a:schemeClr val="accent1"/>
              </a:effectRef>
              <a:fontRef idx="minor">
                <a:schemeClr val="tx1"/>
              </a:fontRef>
            </p:style>
          </p:cxnSp>
        </p:grpSp>
        <p:grpSp>
          <p:nvGrpSpPr>
            <p:cNvPr id="1846" name="Group 1845">
              <a:extLst>
                <a:ext uri="{FF2B5EF4-FFF2-40B4-BE49-F238E27FC236}">
                  <a16:creationId xmlns:a16="http://schemas.microsoft.com/office/drawing/2014/main" id="{0EDDDCF4-C540-EAF5-FAB7-280D25BBECE0}"/>
                </a:ext>
              </a:extLst>
            </p:cNvPr>
            <p:cNvGrpSpPr/>
            <p:nvPr/>
          </p:nvGrpSpPr>
          <p:grpSpPr>
            <a:xfrm>
              <a:off x="5416729" y="3037571"/>
              <a:ext cx="82971" cy="82971"/>
              <a:chOff x="7236884" y="3439984"/>
              <a:chExt cx="108000" cy="108000"/>
            </a:xfrm>
          </p:grpSpPr>
          <p:cxnSp>
            <p:nvCxnSpPr>
              <p:cNvPr id="1847" name="Straight Connector 1846">
                <a:extLst>
                  <a:ext uri="{FF2B5EF4-FFF2-40B4-BE49-F238E27FC236}">
                    <a16:creationId xmlns:a16="http://schemas.microsoft.com/office/drawing/2014/main" id="{F36DB1B0-1507-58FB-6C68-DD4B0435AE3F}"/>
                  </a:ext>
                </a:extLst>
              </p:cNvPr>
              <p:cNvCxnSpPr>
                <a:cxnSpLocks/>
              </p:cNvCxnSpPr>
              <p:nvPr/>
            </p:nvCxnSpPr>
            <p:spPr>
              <a:xfrm>
                <a:off x="7290884" y="3439984"/>
                <a:ext cx="0" cy="108000"/>
              </a:xfrm>
              <a:prstGeom prst="line">
                <a:avLst/>
              </a:prstGeom>
              <a:ln w="15875">
                <a:solidFill>
                  <a:srgbClr val="FFFB3B"/>
                </a:solidFill>
              </a:ln>
            </p:spPr>
            <p:style>
              <a:lnRef idx="1">
                <a:schemeClr val="accent1"/>
              </a:lnRef>
              <a:fillRef idx="0">
                <a:schemeClr val="accent1"/>
              </a:fillRef>
              <a:effectRef idx="0">
                <a:schemeClr val="accent1"/>
              </a:effectRef>
              <a:fontRef idx="minor">
                <a:schemeClr val="tx1"/>
              </a:fontRef>
            </p:style>
          </p:cxnSp>
          <p:cxnSp>
            <p:nvCxnSpPr>
              <p:cNvPr id="1848" name="Straight Connector 1847">
                <a:extLst>
                  <a:ext uri="{FF2B5EF4-FFF2-40B4-BE49-F238E27FC236}">
                    <a16:creationId xmlns:a16="http://schemas.microsoft.com/office/drawing/2014/main" id="{267991AE-EBF5-333F-F1C3-C7DB6D29FD69}"/>
                  </a:ext>
                </a:extLst>
              </p:cNvPr>
              <p:cNvCxnSpPr>
                <a:cxnSpLocks/>
              </p:cNvCxnSpPr>
              <p:nvPr/>
            </p:nvCxnSpPr>
            <p:spPr>
              <a:xfrm rot="5400000">
                <a:off x="7290884" y="3439984"/>
                <a:ext cx="0" cy="108000"/>
              </a:xfrm>
              <a:prstGeom prst="line">
                <a:avLst/>
              </a:prstGeom>
              <a:ln w="15875">
                <a:solidFill>
                  <a:srgbClr val="FFFB3B"/>
                </a:solidFill>
              </a:ln>
            </p:spPr>
            <p:style>
              <a:lnRef idx="1">
                <a:schemeClr val="accent1"/>
              </a:lnRef>
              <a:fillRef idx="0">
                <a:schemeClr val="accent1"/>
              </a:fillRef>
              <a:effectRef idx="0">
                <a:schemeClr val="accent1"/>
              </a:effectRef>
              <a:fontRef idx="minor">
                <a:schemeClr val="tx1"/>
              </a:fontRef>
            </p:style>
          </p:cxnSp>
        </p:grpSp>
        <p:grpSp>
          <p:nvGrpSpPr>
            <p:cNvPr id="1849" name="Group 1848">
              <a:extLst>
                <a:ext uri="{FF2B5EF4-FFF2-40B4-BE49-F238E27FC236}">
                  <a16:creationId xmlns:a16="http://schemas.microsoft.com/office/drawing/2014/main" id="{76518A1F-DB30-B493-647D-09C53F89F826}"/>
                </a:ext>
              </a:extLst>
            </p:cNvPr>
            <p:cNvGrpSpPr/>
            <p:nvPr/>
          </p:nvGrpSpPr>
          <p:grpSpPr>
            <a:xfrm>
              <a:off x="5416032" y="2993089"/>
              <a:ext cx="82971" cy="82971"/>
              <a:chOff x="7236884" y="3439984"/>
              <a:chExt cx="108000" cy="108000"/>
            </a:xfrm>
          </p:grpSpPr>
          <p:cxnSp>
            <p:nvCxnSpPr>
              <p:cNvPr id="1850" name="Straight Connector 1849">
                <a:extLst>
                  <a:ext uri="{FF2B5EF4-FFF2-40B4-BE49-F238E27FC236}">
                    <a16:creationId xmlns:a16="http://schemas.microsoft.com/office/drawing/2014/main" id="{1AB7AA1F-41DF-8586-1062-6137FF8F3189}"/>
                  </a:ext>
                </a:extLst>
              </p:cNvPr>
              <p:cNvCxnSpPr>
                <a:cxnSpLocks/>
              </p:cNvCxnSpPr>
              <p:nvPr/>
            </p:nvCxnSpPr>
            <p:spPr>
              <a:xfrm>
                <a:off x="7290884" y="3439984"/>
                <a:ext cx="0" cy="108000"/>
              </a:xfrm>
              <a:prstGeom prst="line">
                <a:avLst/>
              </a:prstGeom>
              <a:ln w="15875">
                <a:solidFill>
                  <a:srgbClr val="FFFB3B"/>
                </a:solidFill>
              </a:ln>
            </p:spPr>
            <p:style>
              <a:lnRef idx="1">
                <a:schemeClr val="accent1"/>
              </a:lnRef>
              <a:fillRef idx="0">
                <a:schemeClr val="accent1"/>
              </a:fillRef>
              <a:effectRef idx="0">
                <a:schemeClr val="accent1"/>
              </a:effectRef>
              <a:fontRef idx="minor">
                <a:schemeClr val="tx1"/>
              </a:fontRef>
            </p:style>
          </p:cxnSp>
          <p:cxnSp>
            <p:nvCxnSpPr>
              <p:cNvPr id="1851" name="Straight Connector 1850">
                <a:extLst>
                  <a:ext uri="{FF2B5EF4-FFF2-40B4-BE49-F238E27FC236}">
                    <a16:creationId xmlns:a16="http://schemas.microsoft.com/office/drawing/2014/main" id="{3E8D3865-157F-B67F-10A4-179E92C5C801}"/>
                  </a:ext>
                </a:extLst>
              </p:cNvPr>
              <p:cNvCxnSpPr>
                <a:cxnSpLocks/>
              </p:cNvCxnSpPr>
              <p:nvPr/>
            </p:nvCxnSpPr>
            <p:spPr>
              <a:xfrm rot="5400000">
                <a:off x="7290884" y="3439984"/>
                <a:ext cx="0" cy="108000"/>
              </a:xfrm>
              <a:prstGeom prst="line">
                <a:avLst/>
              </a:prstGeom>
              <a:ln w="15875">
                <a:solidFill>
                  <a:srgbClr val="FFFB3B"/>
                </a:solidFill>
              </a:ln>
            </p:spPr>
            <p:style>
              <a:lnRef idx="1">
                <a:schemeClr val="accent1"/>
              </a:lnRef>
              <a:fillRef idx="0">
                <a:schemeClr val="accent1"/>
              </a:fillRef>
              <a:effectRef idx="0">
                <a:schemeClr val="accent1"/>
              </a:effectRef>
              <a:fontRef idx="minor">
                <a:schemeClr val="tx1"/>
              </a:fontRef>
            </p:style>
          </p:cxnSp>
        </p:grpSp>
        <p:grpSp>
          <p:nvGrpSpPr>
            <p:cNvPr id="1852" name="Group 1851">
              <a:extLst>
                <a:ext uri="{FF2B5EF4-FFF2-40B4-BE49-F238E27FC236}">
                  <a16:creationId xmlns:a16="http://schemas.microsoft.com/office/drawing/2014/main" id="{9F40965C-23D5-4080-06DB-4916657938F2}"/>
                </a:ext>
              </a:extLst>
            </p:cNvPr>
            <p:cNvGrpSpPr/>
            <p:nvPr/>
          </p:nvGrpSpPr>
          <p:grpSpPr>
            <a:xfrm>
              <a:off x="5416032" y="2953638"/>
              <a:ext cx="82971" cy="82971"/>
              <a:chOff x="7236884" y="3439984"/>
              <a:chExt cx="108000" cy="108000"/>
            </a:xfrm>
          </p:grpSpPr>
          <p:cxnSp>
            <p:nvCxnSpPr>
              <p:cNvPr id="1853" name="Straight Connector 1852">
                <a:extLst>
                  <a:ext uri="{FF2B5EF4-FFF2-40B4-BE49-F238E27FC236}">
                    <a16:creationId xmlns:a16="http://schemas.microsoft.com/office/drawing/2014/main" id="{DB243155-0729-25FF-9865-89A4909002D8}"/>
                  </a:ext>
                </a:extLst>
              </p:cNvPr>
              <p:cNvCxnSpPr>
                <a:cxnSpLocks/>
              </p:cNvCxnSpPr>
              <p:nvPr/>
            </p:nvCxnSpPr>
            <p:spPr>
              <a:xfrm>
                <a:off x="7290884" y="3439984"/>
                <a:ext cx="0" cy="108000"/>
              </a:xfrm>
              <a:prstGeom prst="line">
                <a:avLst/>
              </a:prstGeom>
              <a:ln w="15875">
                <a:solidFill>
                  <a:srgbClr val="FFFB3B"/>
                </a:solidFill>
              </a:ln>
            </p:spPr>
            <p:style>
              <a:lnRef idx="1">
                <a:schemeClr val="accent1"/>
              </a:lnRef>
              <a:fillRef idx="0">
                <a:schemeClr val="accent1"/>
              </a:fillRef>
              <a:effectRef idx="0">
                <a:schemeClr val="accent1"/>
              </a:effectRef>
              <a:fontRef idx="minor">
                <a:schemeClr val="tx1"/>
              </a:fontRef>
            </p:style>
          </p:cxnSp>
          <p:cxnSp>
            <p:nvCxnSpPr>
              <p:cNvPr id="1854" name="Straight Connector 1853">
                <a:extLst>
                  <a:ext uri="{FF2B5EF4-FFF2-40B4-BE49-F238E27FC236}">
                    <a16:creationId xmlns:a16="http://schemas.microsoft.com/office/drawing/2014/main" id="{68036A25-F48A-0149-A585-488A13AC83EB}"/>
                  </a:ext>
                </a:extLst>
              </p:cNvPr>
              <p:cNvCxnSpPr>
                <a:cxnSpLocks/>
              </p:cNvCxnSpPr>
              <p:nvPr/>
            </p:nvCxnSpPr>
            <p:spPr>
              <a:xfrm rot="5400000">
                <a:off x="7290884" y="3439984"/>
                <a:ext cx="0" cy="108000"/>
              </a:xfrm>
              <a:prstGeom prst="line">
                <a:avLst/>
              </a:prstGeom>
              <a:ln w="15875">
                <a:solidFill>
                  <a:srgbClr val="FFFB3B"/>
                </a:solidFill>
              </a:ln>
            </p:spPr>
            <p:style>
              <a:lnRef idx="1">
                <a:schemeClr val="accent1"/>
              </a:lnRef>
              <a:fillRef idx="0">
                <a:schemeClr val="accent1"/>
              </a:fillRef>
              <a:effectRef idx="0">
                <a:schemeClr val="accent1"/>
              </a:effectRef>
              <a:fontRef idx="minor">
                <a:schemeClr val="tx1"/>
              </a:fontRef>
            </p:style>
          </p:cxnSp>
        </p:grpSp>
        <p:grpSp>
          <p:nvGrpSpPr>
            <p:cNvPr id="1855" name="Group 1854">
              <a:extLst>
                <a:ext uri="{FF2B5EF4-FFF2-40B4-BE49-F238E27FC236}">
                  <a16:creationId xmlns:a16="http://schemas.microsoft.com/office/drawing/2014/main" id="{66CA2FC6-F181-A64A-7056-71019E385C1C}"/>
                </a:ext>
              </a:extLst>
            </p:cNvPr>
            <p:cNvGrpSpPr/>
            <p:nvPr/>
          </p:nvGrpSpPr>
          <p:grpSpPr>
            <a:xfrm>
              <a:off x="5375550" y="2832737"/>
              <a:ext cx="82971" cy="82971"/>
              <a:chOff x="7236884" y="3439984"/>
              <a:chExt cx="108000" cy="108000"/>
            </a:xfrm>
          </p:grpSpPr>
          <p:cxnSp>
            <p:nvCxnSpPr>
              <p:cNvPr id="1856" name="Straight Connector 1855">
                <a:extLst>
                  <a:ext uri="{FF2B5EF4-FFF2-40B4-BE49-F238E27FC236}">
                    <a16:creationId xmlns:a16="http://schemas.microsoft.com/office/drawing/2014/main" id="{AB4911D2-7E8C-C02A-023C-3D7635B87463}"/>
                  </a:ext>
                </a:extLst>
              </p:cNvPr>
              <p:cNvCxnSpPr>
                <a:cxnSpLocks/>
              </p:cNvCxnSpPr>
              <p:nvPr/>
            </p:nvCxnSpPr>
            <p:spPr>
              <a:xfrm>
                <a:off x="7290884" y="3439984"/>
                <a:ext cx="0" cy="108000"/>
              </a:xfrm>
              <a:prstGeom prst="line">
                <a:avLst/>
              </a:prstGeom>
              <a:ln w="15875">
                <a:solidFill>
                  <a:srgbClr val="FFFB3B"/>
                </a:solidFill>
              </a:ln>
            </p:spPr>
            <p:style>
              <a:lnRef idx="1">
                <a:schemeClr val="accent1"/>
              </a:lnRef>
              <a:fillRef idx="0">
                <a:schemeClr val="accent1"/>
              </a:fillRef>
              <a:effectRef idx="0">
                <a:schemeClr val="accent1"/>
              </a:effectRef>
              <a:fontRef idx="minor">
                <a:schemeClr val="tx1"/>
              </a:fontRef>
            </p:style>
          </p:cxnSp>
          <p:cxnSp>
            <p:nvCxnSpPr>
              <p:cNvPr id="1857" name="Straight Connector 1856">
                <a:extLst>
                  <a:ext uri="{FF2B5EF4-FFF2-40B4-BE49-F238E27FC236}">
                    <a16:creationId xmlns:a16="http://schemas.microsoft.com/office/drawing/2014/main" id="{1771108B-7914-6A86-EEB3-6482109D064E}"/>
                  </a:ext>
                </a:extLst>
              </p:cNvPr>
              <p:cNvCxnSpPr>
                <a:cxnSpLocks/>
              </p:cNvCxnSpPr>
              <p:nvPr/>
            </p:nvCxnSpPr>
            <p:spPr>
              <a:xfrm rot="5400000">
                <a:off x="7290884" y="3439984"/>
                <a:ext cx="0" cy="108000"/>
              </a:xfrm>
              <a:prstGeom prst="line">
                <a:avLst/>
              </a:prstGeom>
              <a:ln w="15875">
                <a:solidFill>
                  <a:srgbClr val="FFFB3B"/>
                </a:solidFill>
              </a:ln>
            </p:spPr>
            <p:style>
              <a:lnRef idx="1">
                <a:schemeClr val="accent1"/>
              </a:lnRef>
              <a:fillRef idx="0">
                <a:schemeClr val="accent1"/>
              </a:fillRef>
              <a:effectRef idx="0">
                <a:schemeClr val="accent1"/>
              </a:effectRef>
              <a:fontRef idx="minor">
                <a:schemeClr val="tx1"/>
              </a:fontRef>
            </p:style>
          </p:cxnSp>
        </p:grpSp>
        <p:grpSp>
          <p:nvGrpSpPr>
            <p:cNvPr id="1858" name="Group 1857">
              <a:extLst>
                <a:ext uri="{FF2B5EF4-FFF2-40B4-BE49-F238E27FC236}">
                  <a16:creationId xmlns:a16="http://schemas.microsoft.com/office/drawing/2014/main" id="{57785BE5-888F-A548-10FE-01CD85B0AFE7}"/>
                </a:ext>
              </a:extLst>
            </p:cNvPr>
            <p:cNvGrpSpPr/>
            <p:nvPr/>
          </p:nvGrpSpPr>
          <p:grpSpPr>
            <a:xfrm>
              <a:off x="5354119" y="2711021"/>
              <a:ext cx="82971" cy="82971"/>
              <a:chOff x="7236884" y="3439984"/>
              <a:chExt cx="108000" cy="108000"/>
            </a:xfrm>
          </p:grpSpPr>
          <p:cxnSp>
            <p:nvCxnSpPr>
              <p:cNvPr id="1859" name="Straight Connector 1858">
                <a:extLst>
                  <a:ext uri="{FF2B5EF4-FFF2-40B4-BE49-F238E27FC236}">
                    <a16:creationId xmlns:a16="http://schemas.microsoft.com/office/drawing/2014/main" id="{444B2EBA-3D50-9B42-F0D0-7F0AF9899D23}"/>
                  </a:ext>
                </a:extLst>
              </p:cNvPr>
              <p:cNvCxnSpPr>
                <a:cxnSpLocks/>
              </p:cNvCxnSpPr>
              <p:nvPr/>
            </p:nvCxnSpPr>
            <p:spPr>
              <a:xfrm>
                <a:off x="7290884" y="3439984"/>
                <a:ext cx="0" cy="108000"/>
              </a:xfrm>
              <a:prstGeom prst="line">
                <a:avLst/>
              </a:prstGeom>
              <a:ln w="15875">
                <a:solidFill>
                  <a:srgbClr val="FFFB3B"/>
                </a:solidFill>
              </a:ln>
            </p:spPr>
            <p:style>
              <a:lnRef idx="1">
                <a:schemeClr val="accent1"/>
              </a:lnRef>
              <a:fillRef idx="0">
                <a:schemeClr val="accent1"/>
              </a:fillRef>
              <a:effectRef idx="0">
                <a:schemeClr val="accent1"/>
              </a:effectRef>
              <a:fontRef idx="minor">
                <a:schemeClr val="tx1"/>
              </a:fontRef>
            </p:style>
          </p:cxnSp>
          <p:cxnSp>
            <p:nvCxnSpPr>
              <p:cNvPr id="1860" name="Straight Connector 1859">
                <a:extLst>
                  <a:ext uri="{FF2B5EF4-FFF2-40B4-BE49-F238E27FC236}">
                    <a16:creationId xmlns:a16="http://schemas.microsoft.com/office/drawing/2014/main" id="{8469F9FC-6E9C-99B2-EB87-619AFA6303BC}"/>
                  </a:ext>
                </a:extLst>
              </p:cNvPr>
              <p:cNvCxnSpPr>
                <a:cxnSpLocks/>
              </p:cNvCxnSpPr>
              <p:nvPr/>
            </p:nvCxnSpPr>
            <p:spPr>
              <a:xfrm rot="5400000">
                <a:off x="7290884" y="3439984"/>
                <a:ext cx="0" cy="108000"/>
              </a:xfrm>
              <a:prstGeom prst="line">
                <a:avLst/>
              </a:prstGeom>
              <a:ln w="15875">
                <a:solidFill>
                  <a:srgbClr val="FFFB3B"/>
                </a:solidFill>
              </a:ln>
            </p:spPr>
            <p:style>
              <a:lnRef idx="1">
                <a:schemeClr val="accent1"/>
              </a:lnRef>
              <a:fillRef idx="0">
                <a:schemeClr val="accent1"/>
              </a:fillRef>
              <a:effectRef idx="0">
                <a:schemeClr val="accent1"/>
              </a:effectRef>
              <a:fontRef idx="minor">
                <a:schemeClr val="tx1"/>
              </a:fontRef>
            </p:style>
          </p:cxnSp>
        </p:grpSp>
        <p:grpSp>
          <p:nvGrpSpPr>
            <p:cNvPr id="1861" name="Group 1860">
              <a:extLst>
                <a:ext uri="{FF2B5EF4-FFF2-40B4-BE49-F238E27FC236}">
                  <a16:creationId xmlns:a16="http://schemas.microsoft.com/office/drawing/2014/main" id="{A3C1251A-8B3F-AA5F-1ECB-1B1C84A1A086}"/>
                </a:ext>
              </a:extLst>
            </p:cNvPr>
            <p:cNvGrpSpPr/>
            <p:nvPr/>
          </p:nvGrpSpPr>
          <p:grpSpPr>
            <a:xfrm>
              <a:off x="5271235" y="2338497"/>
              <a:ext cx="82971" cy="82971"/>
              <a:chOff x="7236884" y="3439984"/>
              <a:chExt cx="108000" cy="108000"/>
            </a:xfrm>
          </p:grpSpPr>
          <p:cxnSp>
            <p:nvCxnSpPr>
              <p:cNvPr id="1862" name="Straight Connector 1861">
                <a:extLst>
                  <a:ext uri="{FF2B5EF4-FFF2-40B4-BE49-F238E27FC236}">
                    <a16:creationId xmlns:a16="http://schemas.microsoft.com/office/drawing/2014/main" id="{77B66F2C-297C-7744-1633-EC3F10A5CF3F}"/>
                  </a:ext>
                </a:extLst>
              </p:cNvPr>
              <p:cNvCxnSpPr>
                <a:cxnSpLocks/>
              </p:cNvCxnSpPr>
              <p:nvPr/>
            </p:nvCxnSpPr>
            <p:spPr>
              <a:xfrm>
                <a:off x="7290884" y="3439984"/>
                <a:ext cx="0" cy="108000"/>
              </a:xfrm>
              <a:prstGeom prst="line">
                <a:avLst/>
              </a:prstGeom>
              <a:ln w="15875">
                <a:solidFill>
                  <a:srgbClr val="FFFB3B"/>
                </a:solidFill>
              </a:ln>
            </p:spPr>
            <p:style>
              <a:lnRef idx="1">
                <a:schemeClr val="accent1"/>
              </a:lnRef>
              <a:fillRef idx="0">
                <a:schemeClr val="accent1"/>
              </a:fillRef>
              <a:effectRef idx="0">
                <a:schemeClr val="accent1"/>
              </a:effectRef>
              <a:fontRef idx="minor">
                <a:schemeClr val="tx1"/>
              </a:fontRef>
            </p:style>
          </p:cxnSp>
          <p:cxnSp>
            <p:nvCxnSpPr>
              <p:cNvPr id="1863" name="Straight Connector 1862">
                <a:extLst>
                  <a:ext uri="{FF2B5EF4-FFF2-40B4-BE49-F238E27FC236}">
                    <a16:creationId xmlns:a16="http://schemas.microsoft.com/office/drawing/2014/main" id="{BD787A4A-070D-BF29-E2F7-4D61B93B6531}"/>
                  </a:ext>
                </a:extLst>
              </p:cNvPr>
              <p:cNvCxnSpPr>
                <a:cxnSpLocks/>
              </p:cNvCxnSpPr>
              <p:nvPr/>
            </p:nvCxnSpPr>
            <p:spPr>
              <a:xfrm rot="5400000">
                <a:off x="7290884" y="3439984"/>
                <a:ext cx="0" cy="108000"/>
              </a:xfrm>
              <a:prstGeom prst="line">
                <a:avLst/>
              </a:prstGeom>
              <a:ln w="15875">
                <a:solidFill>
                  <a:srgbClr val="FFFB3B"/>
                </a:solidFill>
              </a:ln>
            </p:spPr>
            <p:style>
              <a:lnRef idx="1">
                <a:schemeClr val="accent1"/>
              </a:lnRef>
              <a:fillRef idx="0">
                <a:schemeClr val="accent1"/>
              </a:fillRef>
              <a:effectRef idx="0">
                <a:schemeClr val="accent1"/>
              </a:effectRef>
              <a:fontRef idx="minor">
                <a:schemeClr val="tx1"/>
              </a:fontRef>
            </p:style>
          </p:cxnSp>
        </p:grpSp>
      </p:grpSp>
      <p:grpSp>
        <p:nvGrpSpPr>
          <p:cNvPr id="17" name="Group 16">
            <a:extLst>
              <a:ext uri="{FF2B5EF4-FFF2-40B4-BE49-F238E27FC236}">
                <a16:creationId xmlns:a16="http://schemas.microsoft.com/office/drawing/2014/main" id="{E76CC8A7-C157-E3B0-F946-1A3CE393AC71}"/>
              </a:ext>
            </a:extLst>
          </p:cNvPr>
          <p:cNvGrpSpPr/>
          <p:nvPr/>
        </p:nvGrpSpPr>
        <p:grpSpPr>
          <a:xfrm>
            <a:off x="4466507" y="2560842"/>
            <a:ext cx="293593" cy="174487"/>
            <a:chOff x="4901812" y="2624003"/>
            <a:chExt cx="236019" cy="169277"/>
          </a:xfrm>
        </p:grpSpPr>
        <p:sp>
          <p:nvSpPr>
            <p:cNvPr id="18" name="TextBox 17">
              <a:extLst>
                <a:ext uri="{FF2B5EF4-FFF2-40B4-BE49-F238E27FC236}">
                  <a16:creationId xmlns:a16="http://schemas.microsoft.com/office/drawing/2014/main" id="{692C9B1E-E363-56C7-2F65-2A5CCFCF9832}"/>
                </a:ext>
              </a:extLst>
            </p:cNvPr>
            <p:cNvSpPr txBox="1"/>
            <p:nvPr/>
          </p:nvSpPr>
          <p:spPr>
            <a:xfrm>
              <a:off x="4901812" y="2624003"/>
              <a:ext cx="157095" cy="169277"/>
            </a:xfrm>
            <a:prstGeom prst="rect">
              <a:avLst/>
            </a:prstGeom>
            <a:noFill/>
          </p:spPr>
          <p:txBody>
            <a:bodyPr wrap="none" lIns="0" tIns="0" rIns="0" bIns="0" rtlCol="0" anchor="ctr">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80</a:t>
              </a:r>
            </a:p>
          </p:txBody>
        </p:sp>
        <p:cxnSp>
          <p:nvCxnSpPr>
            <p:cNvPr id="28" name="Straight Connector 27">
              <a:extLst>
                <a:ext uri="{FF2B5EF4-FFF2-40B4-BE49-F238E27FC236}">
                  <a16:creationId xmlns:a16="http://schemas.microsoft.com/office/drawing/2014/main" id="{726CF842-D7B1-BE13-8133-CAD92C5EBD02}"/>
                </a:ext>
              </a:extLst>
            </p:cNvPr>
            <p:cNvCxnSpPr>
              <a:cxnSpLocks/>
            </p:cNvCxnSpPr>
            <p:nvPr/>
          </p:nvCxnSpPr>
          <p:spPr>
            <a:xfrm rot="16200000">
              <a:off x="5115207" y="2686019"/>
              <a:ext cx="0" cy="45248"/>
            </a:xfrm>
            <a:prstGeom prst="line">
              <a:avLst/>
            </a:prstGeom>
            <a:ln w="19050" cap="sq">
              <a:solidFill>
                <a:schemeClr val="tx1"/>
              </a:solidFill>
              <a:prstDash val="solid"/>
              <a:miter/>
            </a:ln>
          </p:spPr>
        </p:cxnSp>
      </p:grpSp>
      <p:grpSp>
        <p:nvGrpSpPr>
          <p:cNvPr id="2761" name="Group 2760">
            <a:extLst>
              <a:ext uri="{FF2B5EF4-FFF2-40B4-BE49-F238E27FC236}">
                <a16:creationId xmlns:a16="http://schemas.microsoft.com/office/drawing/2014/main" id="{12B8EB3A-0CFF-B47C-B8D0-108F4AE640DC}"/>
              </a:ext>
            </a:extLst>
          </p:cNvPr>
          <p:cNvGrpSpPr/>
          <p:nvPr/>
        </p:nvGrpSpPr>
        <p:grpSpPr>
          <a:xfrm>
            <a:off x="8256455" y="2127178"/>
            <a:ext cx="3460284" cy="2356037"/>
            <a:chOff x="8367093" y="2220271"/>
            <a:chExt cx="3349646" cy="2224646"/>
          </a:xfrm>
        </p:grpSpPr>
        <p:sp>
          <p:nvSpPr>
            <p:cNvPr id="2302" name="Freeform: Shape 2301">
              <a:extLst>
                <a:ext uri="{FF2B5EF4-FFF2-40B4-BE49-F238E27FC236}">
                  <a16:creationId xmlns:a16="http://schemas.microsoft.com/office/drawing/2014/main" id="{3F9E3FAA-B82B-E720-4D5B-9EA80E5726E2}"/>
                </a:ext>
              </a:extLst>
            </p:cNvPr>
            <p:cNvSpPr/>
            <p:nvPr/>
          </p:nvSpPr>
          <p:spPr>
            <a:xfrm>
              <a:off x="8700697" y="2325074"/>
              <a:ext cx="2718308" cy="245098"/>
            </a:xfrm>
            <a:custGeom>
              <a:avLst/>
              <a:gdLst>
                <a:gd name="connsiteX0" fmla="*/ 0 w 2718308"/>
                <a:gd name="connsiteY0" fmla="*/ 0 h 245098"/>
                <a:gd name="connsiteX1" fmla="*/ 133979 w 2718308"/>
                <a:gd name="connsiteY1" fmla="*/ 0 h 245098"/>
                <a:gd name="connsiteX2" fmla="*/ 133979 w 2718308"/>
                <a:gd name="connsiteY2" fmla="*/ 10160 h 245098"/>
                <a:gd name="connsiteX3" fmla="*/ 219319 w 2718308"/>
                <a:gd name="connsiteY3" fmla="*/ 10160 h 245098"/>
                <a:gd name="connsiteX4" fmla="*/ 346059 w 2718308"/>
                <a:gd name="connsiteY4" fmla="*/ 10160 h 245098"/>
                <a:gd name="connsiteX5" fmla="*/ 346059 w 2718308"/>
                <a:gd name="connsiteY5" fmla="*/ 23367 h 245098"/>
                <a:gd name="connsiteX6" fmla="*/ 468354 w 2718308"/>
                <a:gd name="connsiteY6" fmla="*/ 23367 h 245098"/>
                <a:gd name="connsiteX7" fmla="*/ 468354 w 2718308"/>
                <a:gd name="connsiteY7" fmla="*/ 33526 h 245098"/>
                <a:gd name="connsiteX8" fmla="*/ 488292 w 2718308"/>
                <a:gd name="connsiteY8" fmla="*/ 33526 h 245098"/>
                <a:gd name="connsiteX9" fmla="*/ 488292 w 2718308"/>
                <a:gd name="connsiteY9" fmla="*/ 39749 h 245098"/>
                <a:gd name="connsiteX10" fmla="*/ 537693 w 2718308"/>
                <a:gd name="connsiteY10" fmla="*/ 39749 h 245098"/>
                <a:gd name="connsiteX11" fmla="*/ 537693 w 2718308"/>
                <a:gd name="connsiteY11" fmla="*/ 48004 h 245098"/>
                <a:gd name="connsiteX12" fmla="*/ 698848 w 2718308"/>
                <a:gd name="connsiteY12" fmla="*/ 48004 h 245098"/>
                <a:gd name="connsiteX13" fmla="*/ 698848 w 2718308"/>
                <a:gd name="connsiteY13" fmla="*/ 61211 h 245098"/>
                <a:gd name="connsiteX14" fmla="*/ 711548 w 2718308"/>
                <a:gd name="connsiteY14" fmla="*/ 61211 h 245098"/>
                <a:gd name="connsiteX15" fmla="*/ 711548 w 2718308"/>
                <a:gd name="connsiteY15" fmla="*/ 74292 h 245098"/>
                <a:gd name="connsiteX16" fmla="*/ 963885 w 2718308"/>
                <a:gd name="connsiteY16" fmla="*/ 74292 h 245098"/>
                <a:gd name="connsiteX17" fmla="*/ 963885 w 2718308"/>
                <a:gd name="connsiteY17" fmla="*/ 78609 h 245098"/>
                <a:gd name="connsiteX18" fmla="*/ 991062 w 2718308"/>
                <a:gd name="connsiteY18" fmla="*/ 78609 h 245098"/>
                <a:gd name="connsiteX19" fmla="*/ 991062 w 2718308"/>
                <a:gd name="connsiteY19" fmla="*/ 88388 h 245098"/>
                <a:gd name="connsiteX20" fmla="*/ 1049733 w 2718308"/>
                <a:gd name="connsiteY20" fmla="*/ 88388 h 245098"/>
                <a:gd name="connsiteX21" fmla="*/ 1049733 w 2718308"/>
                <a:gd name="connsiteY21" fmla="*/ 97531 h 245098"/>
                <a:gd name="connsiteX22" fmla="*/ 1108023 w 2718308"/>
                <a:gd name="connsiteY22" fmla="*/ 97531 h 245098"/>
                <a:gd name="connsiteX23" fmla="*/ 1108023 w 2718308"/>
                <a:gd name="connsiteY23" fmla="*/ 105786 h 245098"/>
                <a:gd name="connsiteX24" fmla="*/ 1118691 w 2718308"/>
                <a:gd name="connsiteY24" fmla="*/ 105786 h 245098"/>
                <a:gd name="connsiteX25" fmla="*/ 1118691 w 2718308"/>
                <a:gd name="connsiteY25" fmla="*/ 114549 h 245098"/>
                <a:gd name="connsiteX26" fmla="*/ 1248733 w 2718308"/>
                <a:gd name="connsiteY26" fmla="*/ 114549 h 245098"/>
                <a:gd name="connsiteX27" fmla="*/ 1256480 w 2718308"/>
                <a:gd name="connsiteY27" fmla="*/ 114549 h 245098"/>
                <a:gd name="connsiteX28" fmla="*/ 1256480 w 2718308"/>
                <a:gd name="connsiteY28" fmla="*/ 123819 h 245098"/>
                <a:gd name="connsiteX29" fmla="*/ 1310833 w 2718308"/>
                <a:gd name="connsiteY29" fmla="*/ 123819 h 245098"/>
                <a:gd name="connsiteX30" fmla="*/ 1310833 w 2718308"/>
                <a:gd name="connsiteY30" fmla="*/ 130550 h 245098"/>
                <a:gd name="connsiteX31" fmla="*/ 1390458 w 2718308"/>
                <a:gd name="connsiteY31" fmla="*/ 130550 h 245098"/>
                <a:gd name="connsiteX32" fmla="*/ 1399729 w 2718308"/>
                <a:gd name="connsiteY32" fmla="*/ 130550 h 245098"/>
                <a:gd name="connsiteX33" fmla="*/ 1399729 w 2718308"/>
                <a:gd name="connsiteY33" fmla="*/ 135884 h 245098"/>
                <a:gd name="connsiteX34" fmla="*/ 1429318 w 2718308"/>
                <a:gd name="connsiteY34" fmla="*/ 135884 h 245098"/>
                <a:gd name="connsiteX35" fmla="*/ 1429318 w 2718308"/>
                <a:gd name="connsiteY35" fmla="*/ 142741 h 245098"/>
                <a:gd name="connsiteX36" fmla="*/ 1503991 w 2718308"/>
                <a:gd name="connsiteY36" fmla="*/ 142741 h 245098"/>
                <a:gd name="connsiteX37" fmla="*/ 1503991 w 2718308"/>
                <a:gd name="connsiteY37" fmla="*/ 149472 h 245098"/>
                <a:gd name="connsiteX38" fmla="*/ 1541835 w 2718308"/>
                <a:gd name="connsiteY38" fmla="*/ 149472 h 245098"/>
                <a:gd name="connsiteX39" fmla="*/ 1541835 w 2718308"/>
                <a:gd name="connsiteY39" fmla="*/ 156838 h 245098"/>
                <a:gd name="connsiteX40" fmla="*/ 1558344 w 2718308"/>
                <a:gd name="connsiteY40" fmla="*/ 156838 h 245098"/>
                <a:gd name="connsiteX41" fmla="*/ 1600125 w 2718308"/>
                <a:gd name="connsiteY41" fmla="*/ 156838 h 245098"/>
                <a:gd name="connsiteX42" fmla="*/ 1600125 w 2718308"/>
                <a:gd name="connsiteY42" fmla="*/ 168394 h 245098"/>
                <a:gd name="connsiteX43" fmla="*/ 1630223 w 2718308"/>
                <a:gd name="connsiteY43" fmla="*/ 168394 h 245098"/>
                <a:gd name="connsiteX44" fmla="*/ 1630223 w 2718308"/>
                <a:gd name="connsiteY44" fmla="*/ 178173 h 245098"/>
                <a:gd name="connsiteX45" fmla="*/ 1680259 w 2718308"/>
                <a:gd name="connsiteY45" fmla="*/ 178173 h 245098"/>
                <a:gd name="connsiteX46" fmla="*/ 1680259 w 2718308"/>
                <a:gd name="connsiteY46" fmla="*/ 186808 h 245098"/>
                <a:gd name="connsiteX47" fmla="*/ 1749089 w 2718308"/>
                <a:gd name="connsiteY47" fmla="*/ 186808 h 245098"/>
                <a:gd name="connsiteX48" fmla="*/ 1836969 w 2718308"/>
                <a:gd name="connsiteY48" fmla="*/ 186808 h 245098"/>
                <a:gd name="connsiteX49" fmla="*/ 1836969 w 2718308"/>
                <a:gd name="connsiteY49" fmla="*/ 200016 h 245098"/>
                <a:gd name="connsiteX50" fmla="*/ 1933993 w 2718308"/>
                <a:gd name="connsiteY50" fmla="*/ 200016 h 245098"/>
                <a:gd name="connsiteX51" fmla="*/ 1933993 w 2718308"/>
                <a:gd name="connsiteY51" fmla="*/ 213604 h 245098"/>
                <a:gd name="connsiteX52" fmla="*/ 2086894 w 2718308"/>
                <a:gd name="connsiteY52" fmla="*/ 213604 h 245098"/>
                <a:gd name="connsiteX53" fmla="*/ 2191283 w 2718308"/>
                <a:gd name="connsiteY53" fmla="*/ 213604 h 245098"/>
                <a:gd name="connsiteX54" fmla="*/ 2191283 w 2718308"/>
                <a:gd name="connsiteY54" fmla="*/ 245099 h 245098"/>
                <a:gd name="connsiteX55" fmla="*/ 2526674 w 2718308"/>
                <a:gd name="connsiteY55" fmla="*/ 245099 h 245098"/>
                <a:gd name="connsiteX56" fmla="*/ 2718308 w 2718308"/>
                <a:gd name="connsiteY56" fmla="*/ 245099 h 245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2718308" h="245098">
                  <a:moveTo>
                    <a:pt x="0" y="0"/>
                  </a:moveTo>
                  <a:lnTo>
                    <a:pt x="133979" y="0"/>
                  </a:lnTo>
                  <a:lnTo>
                    <a:pt x="133979" y="10160"/>
                  </a:lnTo>
                  <a:lnTo>
                    <a:pt x="219319" y="10160"/>
                  </a:lnTo>
                  <a:lnTo>
                    <a:pt x="346059" y="10160"/>
                  </a:lnTo>
                  <a:lnTo>
                    <a:pt x="346059" y="23367"/>
                  </a:lnTo>
                  <a:lnTo>
                    <a:pt x="468354" y="23367"/>
                  </a:lnTo>
                  <a:lnTo>
                    <a:pt x="468354" y="33526"/>
                  </a:lnTo>
                  <a:lnTo>
                    <a:pt x="488292" y="33526"/>
                  </a:lnTo>
                  <a:lnTo>
                    <a:pt x="488292" y="39749"/>
                  </a:lnTo>
                  <a:lnTo>
                    <a:pt x="537693" y="39749"/>
                  </a:lnTo>
                  <a:lnTo>
                    <a:pt x="537693" y="48004"/>
                  </a:lnTo>
                  <a:lnTo>
                    <a:pt x="698848" y="48004"/>
                  </a:lnTo>
                  <a:lnTo>
                    <a:pt x="698848" y="61211"/>
                  </a:lnTo>
                  <a:lnTo>
                    <a:pt x="711548" y="61211"/>
                  </a:lnTo>
                  <a:lnTo>
                    <a:pt x="711548" y="74292"/>
                  </a:lnTo>
                  <a:lnTo>
                    <a:pt x="963885" y="74292"/>
                  </a:lnTo>
                  <a:lnTo>
                    <a:pt x="963885" y="78609"/>
                  </a:lnTo>
                  <a:lnTo>
                    <a:pt x="991062" y="78609"/>
                  </a:lnTo>
                  <a:lnTo>
                    <a:pt x="991062" y="88388"/>
                  </a:lnTo>
                  <a:lnTo>
                    <a:pt x="1049733" y="88388"/>
                  </a:lnTo>
                  <a:lnTo>
                    <a:pt x="1049733" y="97531"/>
                  </a:lnTo>
                  <a:lnTo>
                    <a:pt x="1108023" y="97531"/>
                  </a:lnTo>
                  <a:lnTo>
                    <a:pt x="1108023" y="105786"/>
                  </a:lnTo>
                  <a:lnTo>
                    <a:pt x="1118691" y="105786"/>
                  </a:lnTo>
                  <a:lnTo>
                    <a:pt x="1118691" y="114549"/>
                  </a:lnTo>
                  <a:lnTo>
                    <a:pt x="1248733" y="114549"/>
                  </a:lnTo>
                  <a:lnTo>
                    <a:pt x="1256480" y="114549"/>
                  </a:lnTo>
                  <a:lnTo>
                    <a:pt x="1256480" y="123819"/>
                  </a:lnTo>
                  <a:lnTo>
                    <a:pt x="1310833" y="123819"/>
                  </a:lnTo>
                  <a:lnTo>
                    <a:pt x="1310833" y="130550"/>
                  </a:lnTo>
                  <a:lnTo>
                    <a:pt x="1390458" y="130550"/>
                  </a:lnTo>
                  <a:lnTo>
                    <a:pt x="1399729" y="130550"/>
                  </a:lnTo>
                  <a:lnTo>
                    <a:pt x="1399729" y="135884"/>
                  </a:lnTo>
                  <a:lnTo>
                    <a:pt x="1429318" y="135884"/>
                  </a:lnTo>
                  <a:lnTo>
                    <a:pt x="1429318" y="142741"/>
                  </a:lnTo>
                  <a:lnTo>
                    <a:pt x="1503991" y="142741"/>
                  </a:lnTo>
                  <a:lnTo>
                    <a:pt x="1503991" y="149472"/>
                  </a:lnTo>
                  <a:lnTo>
                    <a:pt x="1541835" y="149472"/>
                  </a:lnTo>
                  <a:lnTo>
                    <a:pt x="1541835" y="156838"/>
                  </a:lnTo>
                  <a:lnTo>
                    <a:pt x="1558344" y="156838"/>
                  </a:lnTo>
                  <a:lnTo>
                    <a:pt x="1600125" y="156838"/>
                  </a:lnTo>
                  <a:lnTo>
                    <a:pt x="1600125" y="168394"/>
                  </a:lnTo>
                  <a:lnTo>
                    <a:pt x="1630223" y="168394"/>
                  </a:lnTo>
                  <a:lnTo>
                    <a:pt x="1630223" y="178173"/>
                  </a:lnTo>
                  <a:lnTo>
                    <a:pt x="1680259" y="178173"/>
                  </a:lnTo>
                  <a:lnTo>
                    <a:pt x="1680259" y="186808"/>
                  </a:lnTo>
                  <a:lnTo>
                    <a:pt x="1749089" y="186808"/>
                  </a:lnTo>
                  <a:lnTo>
                    <a:pt x="1836969" y="186808"/>
                  </a:lnTo>
                  <a:lnTo>
                    <a:pt x="1836969" y="200016"/>
                  </a:lnTo>
                  <a:lnTo>
                    <a:pt x="1933993" y="200016"/>
                  </a:lnTo>
                  <a:lnTo>
                    <a:pt x="1933993" y="213604"/>
                  </a:lnTo>
                  <a:lnTo>
                    <a:pt x="2086894" y="213604"/>
                  </a:lnTo>
                  <a:lnTo>
                    <a:pt x="2191283" y="213604"/>
                  </a:lnTo>
                  <a:lnTo>
                    <a:pt x="2191283" y="245099"/>
                  </a:lnTo>
                  <a:lnTo>
                    <a:pt x="2526674" y="245099"/>
                  </a:lnTo>
                  <a:lnTo>
                    <a:pt x="2718308" y="245099"/>
                  </a:lnTo>
                </a:path>
              </a:pathLst>
            </a:custGeom>
            <a:noFill/>
            <a:ln w="33755" cap="flat">
              <a:solidFill>
                <a:srgbClr val="E8BA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3" name="Freeform: Shape 2302">
              <a:extLst>
                <a:ext uri="{FF2B5EF4-FFF2-40B4-BE49-F238E27FC236}">
                  <a16:creationId xmlns:a16="http://schemas.microsoft.com/office/drawing/2014/main" id="{3DFF7895-903C-A685-4D56-5735952CFD15}"/>
                </a:ext>
              </a:extLst>
            </p:cNvPr>
            <p:cNvSpPr/>
            <p:nvPr/>
          </p:nvSpPr>
          <p:spPr>
            <a:xfrm>
              <a:off x="8700697" y="2309073"/>
              <a:ext cx="2886702" cy="1150185"/>
            </a:xfrm>
            <a:custGeom>
              <a:avLst/>
              <a:gdLst>
                <a:gd name="connsiteX0" fmla="*/ 0 w 2886702"/>
                <a:gd name="connsiteY0" fmla="*/ 0 h 1150185"/>
                <a:gd name="connsiteX1" fmla="*/ 0 w 2886702"/>
                <a:gd name="connsiteY1" fmla="*/ 49020 h 1150185"/>
                <a:gd name="connsiteX2" fmla="*/ 39368 w 2886702"/>
                <a:gd name="connsiteY2" fmla="*/ 49020 h 1150185"/>
                <a:gd name="connsiteX3" fmla="*/ 39368 w 2886702"/>
                <a:gd name="connsiteY3" fmla="*/ 83435 h 1150185"/>
                <a:gd name="connsiteX4" fmla="*/ 53338 w 2886702"/>
                <a:gd name="connsiteY4" fmla="*/ 83435 h 1150185"/>
                <a:gd name="connsiteX5" fmla="*/ 53338 w 2886702"/>
                <a:gd name="connsiteY5" fmla="*/ 110612 h 1150185"/>
                <a:gd name="connsiteX6" fmla="*/ 72260 w 2886702"/>
                <a:gd name="connsiteY6" fmla="*/ 110612 h 1150185"/>
                <a:gd name="connsiteX7" fmla="*/ 72260 w 2886702"/>
                <a:gd name="connsiteY7" fmla="*/ 132963 h 1150185"/>
                <a:gd name="connsiteX8" fmla="*/ 83054 w 2886702"/>
                <a:gd name="connsiteY8" fmla="*/ 132963 h 1150185"/>
                <a:gd name="connsiteX9" fmla="*/ 94103 w 2886702"/>
                <a:gd name="connsiteY9" fmla="*/ 132963 h 1150185"/>
                <a:gd name="connsiteX10" fmla="*/ 94103 w 2886702"/>
                <a:gd name="connsiteY10" fmla="*/ 153409 h 1150185"/>
                <a:gd name="connsiteX11" fmla="*/ 105786 w 2886702"/>
                <a:gd name="connsiteY11" fmla="*/ 153409 h 1150185"/>
                <a:gd name="connsiteX12" fmla="*/ 105786 w 2886702"/>
                <a:gd name="connsiteY12" fmla="*/ 168394 h 1150185"/>
                <a:gd name="connsiteX13" fmla="*/ 137789 w 2886702"/>
                <a:gd name="connsiteY13" fmla="*/ 168394 h 1150185"/>
                <a:gd name="connsiteX14" fmla="*/ 137789 w 2886702"/>
                <a:gd name="connsiteY14" fmla="*/ 187824 h 1150185"/>
                <a:gd name="connsiteX15" fmla="*/ 137789 w 2886702"/>
                <a:gd name="connsiteY15" fmla="*/ 200016 h 1150185"/>
                <a:gd name="connsiteX16" fmla="*/ 144646 w 2886702"/>
                <a:gd name="connsiteY16" fmla="*/ 200016 h 1150185"/>
                <a:gd name="connsiteX17" fmla="*/ 144646 w 2886702"/>
                <a:gd name="connsiteY17" fmla="*/ 240273 h 1150185"/>
                <a:gd name="connsiteX18" fmla="*/ 172839 w 2886702"/>
                <a:gd name="connsiteY18" fmla="*/ 240273 h 1150185"/>
                <a:gd name="connsiteX19" fmla="*/ 172839 w 2886702"/>
                <a:gd name="connsiteY19" fmla="*/ 268846 h 1150185"/>
                <a:gd name="connsiteX20" fmla="*/ 194174 w 2886702"/>
                <a:gd name="connsiteY20" fmla="*/ 268846 h 1150185"/>
                <a:gd name="connsiteX21" fmla="*/ 194174 w 2886702"/>
                <a:gd name="connsiteY21" fmla="*/ 290689 h 1150185"/>
                <a:gd name="connsiteX22" fmla="*/ 206746 w 2886702"/>
                <a:gd name="connsiteY22" fmla="*/ 290689 h 1150185"/>
                <a:gd name="connsiteX23" fmla="*/ 206746 w 2886702"/>
                <a:gd name="connsiteY23" fmla="*/ 307707 h 1150185"/>
                <a:gd name="connsiteX24" fmla="*/ 215509 w 2886702"/>
                <a:gd name="connsiteY24" fmla="*/ 307707 h 1150185"/>
                <a:gd name="connsiteX25" fmla="*/ 215509 w 2886702"/>
                <a:gd name="connsiteY25" fmla="*/ 321803 h 1150185"/>
                <a:gd name="connsiteX26" fmla="*/ 218430 w 2886702"/>
                <a:gd name="connsiteY26" fmla="*/ 321803 h 1150185"/>
                <a:gd name="connsiteX27" fmla="*/ 218430 w 2886702"/>
                <a:gd name="connsiteY27" fmla="*/ 339709 h 1150185"/>
                <a:gd name="connsiteX28" fmla="*/ 228589 w 2886702"/>
                <a:gd name="connsiteY28" fmla="*/ 339709 h 1150185"/>
                <a:gd name="connsiteX29" fmla="*/ 228589 w 2886702"/>
                <a:gd name="connsiteY29" fmla="*/ 356218 h 1150185"/>
                <a:gd name="connsiteX30" fmla="*/ 266434 w 2886702"/>
                <a:gd name="connsiteY30" fmla="*/ 356218 h 1150185"/>
                <a:gd name="connsiteX31" fmla="*/ 266434 w 2886702"/>
                <a:gd name="connsiteY31" fmla="*/ 366886 h 1150185"/>
                <a:gd name="connsiteX32" fmla="*/ 336280 w 2886702"/>
                <a:gd name="connsiteY32" fmla="*/ 366886 h 1150185"/>
                <a:gd name="connsiteX33" fmla="*/ 336280 w 2886702"/>
                <a:gd name="connsiteY33" fmla="*/ 385808 h 1150185"/>
                <a:gd name="connsiteX34" fmla="*/ 399904 w 2886702"/>
                <a:gd name="connsiteY34" fmla="*/ 385808 h 1150185"/>
                <a:gd name="connsiteX35" fmla="*/ 399904 w 2886702"/>
                <a:gd name="connsiteY35" fmla="*/ 415398 h 1150185"/>
                <a:gd name="connsiteX36" fmla="*/ 409175 w 2886702"/>
                <a:gd name="connsiteY36" fmla="*/ 415398 h 1150185"/>
                <a:gd name="connsiteX37" fmla="*/ 409175 w 2886702"/>
                <a:gd name="connsiteY37" fmla="*/ 444606 h 1150185"/>
                <a:gd name="connsiteX38" fmla="*/ 412985 w 2886702"/>
                <a:gd name="connsiteY38" fmla="*/ 444606 h 1150185"/>
                <a:gd name="connsiteX39" fmla="*/ 412985 w 2886702"/>
                <a:gd name="connsiteY39" fmla="*/ 460607 h 1150185"/>
                <a:gd name="connsiteX40" fmla="*/ 423144 w 2886702"/>
                <a:gd name="connsiteY40" fmla="*/ 460607 h 1150185"/>
                <a:gd name="connsiteX41" fmla="*/ 423144 w 2886702"/>
                <a:gd name="connsiteY41" fmla="*/ 487276 h 1150185"/>
                <a:gd name="connsiteX42" fmla="*/ 434828 w 2886702"/>
                <a:gd name="connsiteY42" fmla="*/ 487276 h 1150185"/>
                <a:gd name="connsiteX43" fmla="*/ 434828 w 2886702"/>
                <a:gd name="connsiteY43" fmla="*/ 504801 h 1150185"/>
                <a:gd name="connsiteX44" fmla="*/ 456163 w 2886702"/>
                <a:gd name="connsiteY44" fmla="*/ 504801 h 1150185"/>
                <a:gd name="connsiteX45" fmla="*/ 456163 w 2886702"/>
                <a:gd name="connsiteY45" fmla="*/ 519787 h 1150185"/>
                <a:gd name="connsiteX46" fmla="*/ 545567 w 2886702"/>
                <a:gd name="connsiteY46" fmla="*/ 519787 h 1150185"/>
                <a:gd name="connsiteX47" fmla="*/ 545567 w 2886702"/>
                <a:gd name="connsiteY47" fmla="*/ 537693 h 1150185"/>
                <a:gd name="connsiteX48" fmla="*/ 626081 w 2886702"/>
                <a:gd name="connsiteY48" fmla="*/ 537693 h 1150185"/>
                <a:gd name="connsiteX49" fmla="*/ 626081 w 2886702"/>
                <a:gd name="connsiteY49" fmla="*/ 557631 h 1150185"/>
                <a:gd name="connsiteX50" fmla="*/ 651353 w 2886702"/>
                <a:gd name="connsiteY50" fmla="*/ 557631 h 1150185"/>
                <a:gd name="connsiteX51" fmla="*/ 651353 w 2886702"/>
                <a:gd name="connsiteY51" fmla="*/ 577061 h 1150185"/>
                <a:gd name="connsiteX52" fmla="*/ 684752 w 2886702"/>
                <a:gd name="connsiteY52" fmla="*/ 577061 h 1150185"/>
                <a:gd name="connsiteX53" fmla="*/ 684752 w 2886702"/>
                <a:gd name="connsiteY53" fmla="*/ 616429 h 1150185"/>
                <a:gd name="connsiteX54" fmla="*/ 715866 w 2886702"/>
                <a:gd name="connsiteY54" fmla="*/ 616429 h 1150185"/>
                <a:gd name="connsiteX55" fmla="*/ 715866 w 2886702"/>
                <a:gd name="connsiteY55" fmla="*/ 637256 h 1150185"/>
                <a:gd name="connsiteX56" fmla="*/ 725517 w 2886702"/>
                <a:gd name="connsiteY56" fmla="*/ 637256 h 1150185"/>
                <a:gd name="connsiteX57" fmla="*/ 725517 w 2886702"/>
                <a:gd name="connsiteY57" fmla="*/ 656686 h 1150185"/>
                <a:gd name="connsiteX58" fmla="*/ 778982 w 2886702"/>
                <a:gd name="connsiteY58" fmla="*/ 656686 h 1150185"/>
                <a:gd name="connsiteX59" fmla="*/ 778982 w 2886702"/>
                <a:gd name="connsiteY59" fmla="*/ 677005 h 1150185"/>
                <a:gd name="connsiteX60" fmla="*/ 810984 w 2886702"/>
                <a:gd name="connsiteY60" fmla="*/ 677005 h 1150185"/>
                <a:gd name="connsiteX61" fmla="*/ 810984 w 2886702"/>
                <a:gd name="connsiteY61" fmla="*/ 704690 h 1150185"/>
                <a:gd name="connsiteX62" fmla="*/ 824065 w 2886702"/>
                <a:gd name="connsiteY62" fmla="*/ 704690 h 1150185"/>
                <a:gd name="connsiteX63" fmla="*/ 824065 w 2886702"/>
                <a:gd name="connsiteY63" fmla="*/ 725136 h 1150185"/>
                <a:gd name="connsiteX64" fmla="*/ 832827 w 2886702"/>
                <a:gd name="connsiteY64" fmla="*/ 725136 h 1150185"/>
                <a:gd name="connsiteX65" fmla="*/ 832827 w 2886702"/>
                <a:gd name="connsiteY65" fmla="*/ 731359 h 1150185"/>
                <a:gd name="connsiteX66" fmla="*/ 951694 w 2886702"/>
                <a:gd name="connsiteY66" fmla="*/ 731359 h 1150185"/>
                <a:gd name="connsiteX67" fmla="*/ 951694 w 2886702"/>
                <a:gd name="connsiteY67" fmla="*/ 750789 h 1150185"/>
                <a:gd name="connsiteX68" fmla="*/ 1003126 w 2886702"/>
                <a:gd name="connsiteY68" fmla="*/ 750789 h 1150185"/>
                <a:gd name="connsiteX69" fmla="*/ 1003126 w 2886702"/>
                <a:gd name="connsiteY69" fmla="*/ 774537 h 1150185"/>
                <a:gd name="connsiteX70" fmla="*/ 1051765 w 2886702"/>
                <a:gd name="connsiteY70" fmla="*/ 774537 h 1150185"/>
                <a:gd name="connsiteX71" fmla="*/ 1051765 w 2886702"/>
                <a:gd name="connsiteY71" fmla="*/ 793459 h 1150185"/>
                <a:gd name="connsiteX72" fmla="*/ 1220159 w 2886702"/>
                <a:gd name="connsiteY72" fmla="*/ 793459 h 1150185"/>
                <a:gd name="connsiteX73" fmla="*/ 1220159 w 2886702"/>
                <a:gd name="connsiteY73" fmla="*/ 813905 h 1150185"/>
                <a:gd name="connsiteX74" fmla="*/ 1266258 w 2886702"/>
                <a:gd name="connsiteY74" fmla="*/ 813905 h 1150185"/>
                <a:gd name="connsiteX75" fmla="*/ 1266258 w 2886702"/>
                <a:gd name="connsiteY75" fmla="*/ 836256 h 1150185"/>
                <a:gd name="connsiteX76" fmla="*/ 1309944 w 2886702"/>
                <a:gd name="connsiteY76" fmla="*/ 836256 h 1150185"/>
                <a:gd name="connsiteX77" fmla="*/ 1313246 w 2886702"/>
                <a:gd name="connsiteY77" fmla="*/ 836256 h 1150185"/>
                <a:gd name="connsiteX78" fmla="*/ 1313246 w 2886702"/>
                <a:gd name="connsiteY78" fmla="*/ 858988 h 1150185"/>
                <a:gd name="connsiteX79" fmla="*/ 1422969 w 2886702"/>
                <a:gd name="connsiteY79" fmla="*/ 858988 h 1150185"/>
                <a:gd name="connsiteX80" fmla="*/ 1422969 w 2886702"/>
                <a:gd name="connsiteY80" fmla="*/ 880831 h 1150185"/>
                <a:gd name="connsiteX81" fmla="*/ 1466147 w 2886702"/>
                <a:gd name="connsiteY81" fmla="*/ 880831 h 1150185"/>
                <a:gd name="connsiteX82" fmla="*/ 1466147 w 2886702"/>
                <a:gd name="connsiteY82" fmla="*/ 901277 h 1150185"/>
                <a:gd name="connsiteX83" fmla="*/ 1565202 w 2886702"/>
                <a:gd name="connsiteY83" fmla="*/ 901277 h 1150185"/>
                <a:gd name="connsiteX84" fmla="*/ 1565202 w 2886702"/>
                <a:gd name="connsiteY84" fmla="*/ 919183 h 1150185"/>
                <a:gd name="connsiteX85" fmla="*/ 1664638 w 2886702"/>
                <a:gd name="connsiteY85" fmla="*/ 919183 h 1150185"/>
                <a:gd name="connsiteX86" fmla="*/ 1664638 w 2886702"/>
                <a:gd name="connsiteY86" fmla="*/ 942042 h 1150185"/>
                <a:gd name="connsiteX87" fmla="*/ 1724834 w 2886702"/>
                <a:gd name="connsiteY87" fmla="*/ 942042 h 1150185"/>
                <a:gd name="connsiteX88" fmla="*/ 1724834 w 2886702"/>
                <a:gd name="connsiteY88" fmla="*/ 963885 h 1150185"/>
                <a:gd name="connsiteX89" fmla="*/ 1808777 w 2886702"/>
                <a:gd name="connsiteY89" fmla="*/ 963885 h 1150185"/>
                <a:gd name="connsiteX90" fmla="*/ 1808777 w 2886702"/>
                <a:gd name="connsiteY90" fmla="*/ 989157 h 1150185"/>
                <a:gd name="connsiteX91" fmla="*/ 1843319 w 2886702"/>
                <a:gd name="connsiteY91" fmla="*/ 989157 h 1150185"/>
                <a:gd name="connsiteX92" fmla="*/ 1843319 w 2886702"/>
                <a:gd name="connsiteY92" fmla="*/ 1009984 h 1150185"/>
                <a:gd name="connsiteX93" fmla="*/ 1945168 w 2886702"/>
                <a:gd name="connsiteY93" fmla="*/ 1009984 h 1150185"/>
                <a:gd name="connsiteX94" fmla="*/ 1945168 w 2886702"/>
                <a:gd name="connsiteY94" fmla="*/ 1033224 h 1150185"/>
                <a:gd name="connsiteX95" fmla="*/ 1971456 w 2886702"/>
                <a:gd name="connsiteY95" fmla="*/ 1033224 h 1150185"/>
                <a:gd name="connsiteX96" fmla="*/ 1971456 w 2886702"/>
                <a:gd name="connsiteY96" fmla="*/ 1053162 h 1150185"/>
                <a:gd name="connsiteX97" fmla="*/ 2102387 w 2886702"/>
                <a:gd name="connsiteY97" fmla="*/ 1053162 h 1150185"/>
                <a:gd name="connsiteX98" fmla="*/ 2102387 w 2886702"/>
                <a:gd name="connsiteY98" fmla="*/ 1076021 h 1150185"/>
                <a:gd name="connsiteX99" fmla="*/ 2172361 w 2886702"/>
                <a:gd name="connsiteY99" fmla="*/ 1076021 h 1150185"/>
                <a:gd name="connsiteX100" fmla="*/ 2172361 w 2886702"/>
                <a:gd name="connsiteY100" fmla="*/ 1112849 h 1150185"/>
                <a:gd name="connsiteX101" fmla="*/ 2209697 w 2886702"/>
                <a:gd name="connsiteY101" fmla="*/ 1112849 h 1150185"/>
                <a:gd name="connsiteX102" fmla="*/ 2209697 w 2886702"/>
                <a:gd name="connsiteY102" fmla="*/ 1150185 h 1150185"/>
                <a:gd name="connsiteX103" fmla="*/ 2607696 w 2886702"/>
                <a:gd name="connsiteY103" fmla="*/ 1150185 h 1150185"/>
                <a:gd name="connsiteX104" fmla="*/ 2886703 w 2886702"/>
                <a:gd name="connsiteY104" fmla="*/ 1150185 h 1150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2886702" h="1150185">
                  <a:moveTo>
                    <a:pt x="0" y="0"/>
                  </a:moveTo>
                  <a:lnTo>
                    <a:pt x="0" y="49020"/>
                  </a:lnTo>
                  <a:lnTo>
                    <a:pt x="39368" y="49020"/>
                  </a:lnTo>
                  <a:lnTo>
                    <a:pt x="39368" y="83435"/>
                  </a:lnTo>
                  <a:lnTo>
                    <a:pt x="53338" y="83435"/>
                  </a:lnTo>
                  <a:lnTo>
                    <a:pt x="53338" y="110612"/>
                  </a:lnTo>
                  <a:lnTo>
                    <a:pt x="72260" y="110612"/>
                  </a:lnTo>
                  <a:lnTo>
                    <a:pt x="72260" y="132963"/>
                  </a:lnTo>
                  <a:lnTo>
                    <a:pt x="83054" y="132963"/>
                  </a:lnTo>
                  <a:lnTo>
                    <a:pt x="94103" y="132963"/>
                  </a:lnTo>
                  <a:lnTo>
                    <a:pt x="94103" y="153409"/>
                  </a:lnTo>
                  <a:lnTo>
                    <a:pt x="105786" y="153409"/>
                  </a:lnTo>
                  <a:lnTo>
                    <a:pt x="105786" y="168394"/>
                  </a:lnTo>
                  <a:lnTo>
                    <a:pt x="137789" y="168394"/>
                  </a:lnTo>
                  <a:lnTo>
                    <a:pt x="137789" y="187824"/>
                  </a:lnTo>
                  <a:lnTo>
                    <a:pt x="137789" y="200016"/>
                  </a:lnTo>
                  <a:lnTo>
                    <a:pt x="144646" y="200016"/>
                  </a:lnTo>
                  <a:lnTo>
                    <a:pt x="144646" y="240273"/>
                  </a:lnTo>
                  <a:lnTo>
                    <a:pt x="172839" y="240273"/>
                  </a:lnTo>
                  <a:lnTo>
                    <a:pt x="172839" y="268846"/>
                  </a:lnTo>
                  <a:lnTo>
                    <a:pt x="194174" y="268846"/>
                  </a:lnTo>
                  <a:lnTo>
                    <a:pt x="194174" y="290689"/>
                  </a:lnTo>
                  <a:lnTo>
                    <a:pt x="206746" y="290689"/>
                  </a:lnTo>
                  <a:lnTo>
                    <a:pt x="206746" y="307707"/>
                  </a:lnTo>
                  <a:lnTo>
                    <a:pt x="215509" y="307707"/>
                  </a:lnTo>
                  <a:lnTo>
                    <a:pt x="215509" y="321803"/>
                  </a:lnTo>
                  <a:lnTo>
                    <a:pt x="218430" y="321803"/>
                  </a:lnTo>
                  <a:lnTo>
                    <a:pt x="218430" y="339709"/>
                  </a:lnTo>
                  <a:lnTo>
                    <a:pt x="228589" y="339709"/>
                  </a:lnTo>
                  <a:lnTo>
                    <a:pt x="228589" y="356218"/>
                  </a:lnTo>
                  <a:lnTo>
                    <a:pt x="266434" y="356218"/>
                  </a:lnTo>
                  <a:lnTo>
                    <a:pt x="266434" y="366886"/>
                  </a:lnTo>
                  <a:lnTo>
                    <a:pt x="336280" y="366886"/>
                  </a:lnTo>
                  <a:lnTo>
                    <a:pt x="336280" y="385808"/>
                  </a:lnTo>
                  <a:lnTo>
                    <a:pt x="399904" y="385808"/>
                  </a:lnTo>
                  <a:lnTo>
                    <a:pt x="399904" y="415398"/>
                  </a:lnTo>
                  <a:lnTo>
                    <a:pt x="409175" y="415398"/>
                  </a:lnTo>
                  <a:lnTo>
                    <a:pt x="409175" y="444606"/>
                  </a:lnTo>
                  <a:lnTo>
                    <a:pt x="412985" y="444606"/>
                  </a:lnTo>
                  <a:lnTo>
                    <a:pt x="412985" y="460607"/>
                  </a:lnTo>
                  <a:lnTo>
                    <a:pt x="423144" y="460607"/>
                  </a:lnTo>
                  <a:lnTo>
                    <a:pt x="423144" y="487276"/>
                  </a:lnTo>
                  <a:lnTo>
                    <a:pt x="434828" y="487276"/>
                  </a:lnTo>
                  <a:lnTo>
                    <a:pt x="434828" y="504801"/>
                  </a:lnTo>
                  <a:lnTo>
                    <a:pt x="456163" y="504801"/>
                  </a:lnTo>
                  <a:lnTo>
                    <a:pt x="456163" y="519787"/>
                  </a:lnTo>
                  <a:lnTo>
                    <a:pt x="545567" y="519787"/>
                  </a:lnTo>
                  <a:lnTo>
                    <a:pt x="545567" y="537693"/>
                  </a:lnTo>
                  <a:lnTo>
                    <a:pt x="626081" y="537693"/>
                  </a:lnTo>
                  <a:lnTo>
                    <a:pt x="626081" y="557631"/>
                  </a:lnTo>
                  <a:lnTo>
                    <a:pt x="651353" y="557631"/>
                  </a:lnTo>
                  <a:lnTo>
                    <a:pt x="651353" y="577061"/>
                  </a:lnTo>
                  <a:lnTo>
                    <a:pt x="684752" y="577061"/>
                  </a:lnTo>
                  <a:lnTo>
                    <a:pt x="684752" y="616429"/>
                  </a:lnTo>
                  <a:lnTo>
                    <a:pt x="715866" y="616429"/>
                  </a:lnTo>
                  <a:lnTo>
                    <a:pt x="715866" y="637256"/>
                  </a:lnTo>
                  <a:lnTo>
                    <a:pt x="725517" y="637256"/>
                  </a:lnTo>
                  <a:lnTo>
                    <a:pt x="725517" y="656686"/>
                  </a:lnTo>
                  <a:lnTo>
                    <a:pt x="778982" y="656686"/>
                  </a:lnTo>
                  <a:lnTo>
                    <a:pt x="778982" y="677005"/>
                  </a:lnTo>
                  <a:lnTo>
                    <a:pt x="810984" y="677005"/>
                  </a:lnTo>
                  <a:lnTo>
                    <a:pt x="810984" y="704690"/>
                  </a:lnTo>
                  <a:lnTo>
                    <a:pt x="824065" y="704690"/>
                  </a:lnTo>
                  <a:lnTo>
                    <a:pt x="824065" y="725136"/>
                  </a:lnTo>
                  <a:lnTo>
                    <a:pt x="832827" y="725136"/>
                  </a:lnTo>
                  <a:lnTo>
                    <a:pt x="832827" y="731359"/>
                  </a:lnTo>
                  <a:lnTo>
                    <a:pt x="951694" y="731359"/>
                  </a:lnTo>
                  <a:lnTo>
                    <a:pt x="951694" y="750789"/>
                  </a:lnTo>
                  <a:lnTo>
                    <a:pt x="1003126" y="750789"/>
                  </a:lnTo>
                  <a:lnTo>
                    <a:pt x="1003126" y="774537"/>
                  </a:lnTo>
                  <a:lnTo>
                    <a:pt x="1051765" y="774537"/>
                  </a:lnTo>
                  <a:lnTo>
                    <a:pt x="1051765" y="793459"/>
                  </a:lnTo>
                  <a:lnTo>
                    <a:pt x="1220159" y="793459"/>
                  </a:lnTo>
                  <a:lnTo>
                    <a:pt x="1220159" y="813905"/>
                  </a:lnTo>
                  <a:lnTo>
                    <a:pt x="1266258" y="813905"/>
                  </a:lnTo>
                  <a:lnTo>
                    <a:pt x="1266258" y="836256"/>
                  </a:lnTo>
                  <a:lnTo>
                    <a:pt x="1309944" y="836256"/>
                  </a:lnTo>
                  <a:lnTo>
                    <a:pt x="1313246" y="836256"/>
                  </a:lnTo>
                  <a:lnTo>
                    <a:pt x="1313246" y="858988"/>
                  </a:lnTo>
                  <a:lnTo>
                    <a:pt x="1422969" y="858988"/>
                  </a:lnTo>
                  <a:lnTo>
                    <a:pt x="1422969" y="880831"/>
                  </a:lnTo>
                  <a:lnTo>
                    <a:pt x="1466147" y="880831"/>
                  </a:lnTo>
                  <a:lnTo>
                    <a:pt x="1466147" y="901277"/>
                  </a:lnTo>
                  <a:lnTo>
                    <a:pt x="1565202" y="901277"/>
                  </a:lnTo>
                  <a:lnTo>
                    <a:pt x="1565202" y="919183"/>
                  </a:lnTo>
                  <a:lnTo>
                    <a:pt x="1664638" y="919183"/>
                  </a:lnTo>
                  <a:lnTo>
                    <a:pt x="1664638" y="942042"/>
                  </a:lnTo>
                  <a:lnTo>
                    <a:pt x="1724834" y="942042"/>
                  </a:lnTo>
                  <a:lnTo>
                    <a:pt x="1724834" y="963885"/>
                  </a:lnTo>
                  <a:lnTo>
                    <a:pt x="1808777" y="963885"/>
                  </a:lnTo>
                  <a:lnTo>
                    <a:pt x="1808777" y="989157"/>
                  </a:lnTo>
                  <a:lnTo>
                    <a:pt x="1843319" y="989157"/>
                  </a:lnTo>
                  <a:lnTo>
                    <a:pt x="1843319" y="1009984"/>
                  </a:lnTo>
                  <a:lnTo>
                    <a:pt x="1945168" y="1009984"/>
                  </a:lnTo>
                  <a:lnTo>
                    <a:pt x="1945168" y="1033224"/>
                  </a:lnTo>
                  <a:lnTo>
                    <a:pt x="1971456" y="1033224"/>
                  </a:lnTo>
                  <a:lnTo>
                    <a:pt x="1971456" y="1053162"/>
                  </a:lnTo>
                  <a:lnTo>
                    <a:pt x="2102387" y="1053162"/>
                  </a:lnTo>
                  <a:lnTo>
                    <a:pt x="2102387" y="1076021"/>
                  </a:lnTo>
                  <a:lnTo>
                    <a:pt x="2172361" y="1076021"/>
                  </a:lnTo>
                  <a:lnTo>
                    <a:pt x="2172361" y="1112849"/>
                  </a:lnTo>
                  <a:lnTo>
                    <a:pt x="2209697" y="1112849"/>
                  </a:lnTo>
                  <a:lnTo>
                    <a:pt x="2209697" y="1150185"/>
                  </a:lnTo>
                  <a:lnTo>
                    <a:pt x="2607696" y="1150185"/>
                  </a:lnTo>
                  <a:lnTo>
                    <a:pt x="2886703" y="1150185"/>
                  </a:lnTo>
                </a:path>
              </a:pathLst>
            </a:custGeom>
            <a:noFill/>
            <a:ln w="33755" cap="flat">
              <a:solidFill>
                <a:srgbClr val="388DC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1866" name="Straight Connector 1865">
              <a:extLst>
                <a:ext uri="{FF2B5EF4-FFF2-40B4-BE49-F238E27FC236}">
                  <a16:creationId xmlns:a16="http://schemas.microsoft.com/office/drawing/2014/main" id="{9A6DB7C4-DD3D-8D26-85A9-0D0DE71BFFEF}"/>
                </a:ext>
              </a:extLst>
            </p:cNvPr>
            <p:cNvCxnSpPr>
              <a:cxnSpLocks/>
            </p:cNvCxnSpPr>
            <p:nvPr/>
          </p:nvCxnSpPr>
          <p:spPr>
            <a:xfrm>
              <a:off x="8688802" y="2262188"/>
              <a:ext cx="0" cy="1939857"/>
            </a:xfrm>
            <a:prstGeom prst="line">
              <a:avLst/>
            </a:prstGeom>
            <a:ln w="19050" cap="sq">
              <a:solidFill>
                <a:schemeClr val="tx1"/>
              </a:solidFill>
              <a:prstDash val="solid"/>
              <a:miter/>
            </a:ln>
          </p:spPr>
        </p:cxnSp>
        <p:cxnSp>
          <p:nvCxnSpPr>
            <p:cNvPr id="1867" name="Straight Connector 1866">
              <a:extLst>
                <a:ext uri="{FF2B5EF4-FFF2-40B4-BE49-F238E27FC236}">
                  <a16:creationId xmlns:a16="http://schemas.microsoft.com/office/drawing/2014/main" id="{5E58B871-46D1-53A3-7454-62CB59FFF2A8}"/>
                </a:ext>
              </a:extLst>
            </p:cNvPr>
            <p:cNvCxnSpPr>
              <a:cxnSpLocks/>
            </p:cNvCxnSpPr>
            <p:nvPr/>
          </p:nvCxnSpPr>
          <p:spPr>
            <a:xfrm>
              <a:off x="8688802" y="4202045"/>
              <a:ext cx="2896932" cy="0"/>
            </a:xfrm>
            <a:prstGeom prst="line">
              <a:avLst/>
            </a:prstGeom>
            <a:ln w="19050" cap="sq">
              <a:solidFill>
                <a:schemeClr val="tx1"/>
              </a:solidFill>
              <a:prstDash val="solid"/>
              <a:miter/>
            </a:ln>
          </p:spPr>
        </p:cxnSp>
        <p:grpSp>
          <p:nvGrpSpPr>
            <p:cNvPr id="1891" name="Group 1890">
              <a:extLst>
                <a:ext uri="{FF2B5EF4-FFF2-40B4-BE49-F238E27FC236}">
                  <a16:creationId xmlns:a16="http://schemas.microsoft.com/office/drawing/2014/main" id="{2D5F5961-0ED6-69E0-4790-357576EF0FAC}"/>
                </a:ext>
              </a:extLst>
            </p:cNvPr>
            <p:cNvGrpSpPr/>
            <p:nvPr/>
          </p:nvGrpSpPr>
          <p:grpSpPr>
            <a:xfrm>
              <a:off x="8445640" y="3363657"/>
              <a:ext cx="236019" cy="169277"/>
              <a:chOff x="8392300" y="3594638"/>
              <a:chExt cx="236019" cy="169277"/>
            </a:xfrm>
          </p:grpSpPr>
          <p:sp>
            <p:nvSpPr>
              <p:cNvPr id="1872" name="TextBox 1871">
                <a:extLst>
                  <a:ext uri="{FF2B5EF4-FFF2-40B4-BE49-F238E27FC236}">
                    <a16:creationId xmlns:a16="http://schemas.microsoft.com/office/drawing/2014/main" id="{277F088A-AB1E-B59B-4BF6-54E2C199EA10}"/>
                  </a:ext>
                </a:extLst>
              </p:cNvPr>
              <p:cNvSpPr txBox="1"/>
              <p:nvPr/>
            </p:nvSpPr>
            <p:spPr>
              <a:xfrm>
                <a:off x="8392300" y="3594638"/>
                <a:ext cx="157095" cy="169277"/>
              </a:xfrm>
              <a:prstGeom prst="rect">
                <a:avLst/>
              </a:prstGeom>
              <a:noFill/>
            </p:spPr>
            <p:txBody>
              <a:bodyPr wrap="none" lIns="0" tIns="0" rIns="0" bIns="0" rtlCol="0" anchor="ctr">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40</a:t>
                </a:r>
              </a:p>
            </p:txBody>
          </p:sp>
          <p:cxnSp>
            <p:nvCxnSpPr>
              <p:cNvPr id="1873" name="Straight Connector 1872">
                <a:extLst>
                  <a:ext uri="{FF2B5EF4-FFF2-40B4-BE49-F238E27FC236}">
                    <a16:creationId xmlns:a16="http://schemas.microsoft.com/office/drawing/2014/main" id="{10073A9D-59FE-F282-9049-68C54BB4D4EA}"/>
                  </a:ext>
                </a:extLst>
              </p:cNvPr>
              <p:cNvCxnSpPr>
                <a:cxnSpLocks/>
              </p:cNvCxnSpPr>
              <p:nvPr/>
            </p:nvCxnSpPr>
            <p:spPr>
              <a:xfrm rot="16200000">
                <a:off x="8605695" y="3656654"/>
                <a:ext cx="0" cy="45248"/>
              </a:xfrm>
              <a:prstGeom prst="line">
                <a:avLst/>
              </a:prstGeom>
              <a:ln w="19050" cap="sq">
                <a:solidFill>
                  <a:schemeClr val="tx1"/>
                </a:solidFill>
                <a:prstDash val="solid"/>
                <a:miter/>
              </a:ln>
            </p:spPr>
          </p:cxnSp>
        </p:grpSp>
        <p:grpSp>
          <p:nvGrpSpPr>
            <p:cNvPr id="1890" name="Group 1889">
              <a:extLst>
                <a:ext uri="{FF2B5EF4-FFF2-40B4-BE49-F238E27FC236}">
                  <a16:creationId xmlns:a16="http://schemas.microsoft.com/office/drawing/2014/main" id="{58C5DB9E-0AEF-4F71-19CC-62DDA2F05013}"/>
                </a:ext>
              </a:extLst>
            </p:cNvPr>
            <p:cNvGrpSpPr/>
            <p:nvPr/>
          </p:nvGrpSpPr>
          <p:grpSpPr>
            <a:xfrm>
              <a:off x="8445640" y="2987683"/>
              <a:ext cx="236019" cy="169277"/>
              <a:chOff x="8392300" y="3125908"/>
              <a:chExt cx="236019" cy="169277"/>
            </a:xfrm>
          </p:grpSpPr>
          <p:sp>
            <p:nvSpPr>
              <p:cNvPr id="1874" name="TextBox 1873">
                <a:extLst>
                  <a:ext uri="{FF2B5EF4-FFF2-40B4-BE49-F238E27FC236}">
                    <a16:creationId xmlns:a16="http://schemas.microsoft.com/office/drawing/2014/main" id="{C8BF88D4-25C0-FBAC-30D3-DD8BA9667D68}"/>
                  </a:ext>
                </a:extLst>
              </p:cNvPr>
              <p:cNvSpPr txBox="1"/>
              <p:nvPr/>
            </p:nvSpPr>
            <p:spPr>
              <a:xfrm>
                <a:off x="8392300" y="3125908"/>
                <a:ext cx="157095" cy="169277"/>
              </a:xfrm>
              <a:prstGeom prst="rect">
                <a:avLst/>
              </a:prstGeom>
              <a:noFill/>
            </p:spPr>
            <p:txBody>
              <a:bodyPr wrap="none" lIns="0" tIns="0" rIns="0" bIns="0" rtlCol="0" anchor="ctr">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60</a:t>
                </a:r>
              </a:p>
            </p:txBody>
          </p:sp>
          <p:cxnSp>
            <p:nvCxnSpPr>
              <p:cNvPr id="1875" name="Straight Connector 1874">
                <a:extLst>
                  <a:ext uri="{FF2B5EF4-FFF2-40B4-BE49-F238E27FC236}">
                    <a16:creationId xmlns:a16="http://schemas.microsoft.com/office/drawing/2014/main" id="{D44C23C9-19F5-EA30-AA6C-F8FC54314580}"/>
                  </a:ext>
                </a:extLst>
              </p:cNvPr>
              <p:cNvCxnSpPr>
                <a:cxnSpLocks/>
              </p:cNvCxnSpPr>
              <p:nvPr/>
            </p:nvCxnSpPr>
            <p:spPr>
              <a:xfrm rot="16200000">
                <a:off x="8605695" y="3187924"/>
                <a:ext cx="0" cy="45248"/>
              </a:xfrm>
              <a:prstGeom prst="line">
                <a:avLst/>
              </a:prstGeom>
              <a:ln w="19050" cap="sq">
                <a:solidFill>
                  <a:schemeClr val="tx1"/>
                </a:solidFill>
                <a:prstDash val="solid"/>
                <a:miter/>
              </a:ln>
            </p:spPr>
          </p:cxnSp>
        </p:grpSp>
        <p:grpSp>
          <p:nvGrpSpPr>
            <p:cNvPr id="1889" name="Group 1888">
              <a:extLst>
                <a:ext uri="{FF2B5EF4-FFF2-40B4-BE49-F238E27FC236}">
                  <a16:creationId xmlns:a16="http://schemas.microsoft.com/office/drawing/2014/main" id="{5FD65984-5949-A8D8-AAA6-E3453AA0CCF8}"/>
                </a:ext>
              </a:extLst>
            </p:cNvPr>
            <p:cNvGrpSpPr/>
            <p:nvPr/>
          </p:nvGrpSpPr>
          <p:grpSpPr>
            <a:xfrm>
              <a:off x="8445640" y="2612098"/>
              <a:ext cx="236019" cy="169277"/>
              <a:chOff x="8392300" y="2662103"/>
              <a:chExt cx="236019" cy="169277"/>
            </a:xfrm>
          </p:grpSpPr>
          <p:sp>
            <p:nvSpPr>
              <p:cNvPr id="1876" name="TextBox 1875">
                <a:extLst>
                  <a:ext uri="{FF2B5EF4-FFF2-40B4-BE49-F238E27FC236}">
                    <a16:creationId xmlns:a16="http://schemas.microsoft.com/office/drawing/2014/main" id="{B5D3EC54-2127-ABEE-B00F-6293BC3E7CDC}"/>
                  </a:ext>
                </a:extLst>
              </p:cNvPr>
              <p:cNvSpPr txBox="1"/>
              <p:nvPr/>
            </p:nvSpPr>
            <p:spPr>
              <a:xfrm>
                <a:off x="8392300" y="2662103"/>
                <a:ext cx="157095" cy="169277"/>
              </a:xfrm>
              <a:prstGeom prst="rect">
                <a:avLst/>
              </a:prstGeom>
              <a:noFill/>
            </p:spPr>
            <p:txBody>
              <a:bodyPr wrap="none" lIns="0" tIns="0" rIns="0" bIns="0" rtlCol="0" anchor="ctr">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80</a:t>
                </a:r>
              </a:p>
            </p:txBody>
          </p:sp>
          <p:cxnSp>
            <p:nvCxnSpPr>
              <p:cNvPr id="1877" name="Straight Connector 1876">
                <a:extLst>
                  <a:ext uri="{FF2B5EF4-FFF2-40B4-BE49-F238E27FC236}">
                    <a16:creationId xmlns:a16="http://schemas.microsoft.com/office/drawing/2014/main" id="{22B0CC7C-5FAE-F5F6-9CE4-27734E0BAA5C}"/>
                  </a:ext>
                </a:extLst>
              </p:cNvPr>
              <p:cNvCxnSpPr>
                <a:cxnSpLocks/>
              </p:cNvCxnSpPr>
              <p:nvPr/>
            </p:nvCxnSpPr>
            <p:spPr>
              <a:xfrm rot="16200000">
                <a:off x="8605695" y="2724117"/>
                <a:ext cx="0" cy="45248"/>
              </a:xfrm>
              <a:prstGeom prst="line">
                <a:avLst/>
              </a:prstGeom>
              <a:ln w="19050" cap="sq">
                <a:solidFill>
                  <a:schemeClr val="tx1"/>
                </a:solidFill>
                <a:prstDash val="solid"/>
                <a:miter/>
              </a:ln>
            </p:spPr>
          </p:cxnSp>
        </p:grpSp>
        <p:grpSp>
          <p:nvGrpSpPr>
            <p:cNvPr id="1888" name="Group 1887">
              <a:extLst>
                <a:ext uri="{FF2B5EF4-FFF2-40B4-BE49-F238E27FC236}">
                  <a16:creationId xmlns:a16="http://schemas.microsoft.com/office/drawing/2014/main" id="{76187B23-B9DF-C6A6-DDC7-9F770D4DF43A}"/>
                </a:ext>
              </a:extLst>
            </p:cNvPr>
            <p:cNvGrpSpPr/>
            <p:nvPr/>
          </p:nvGrpSpPr>
          <p:grpSpPr>
            <a:xfrm>
              <a:off x="8367093" y="2235994"/>
              <a:ext cx="314566" cy="169277"/>
              <a:chOff x="8313753" y="2194217"/>
              <a:chExt cx="314566" cy="169277"/>
            </a:xfrm>
          </p:grpSpPr>
          <p:sp>
            <p:nvSpPr>
              <p:cNvPr id="1878" name="TextBox 1877">
                <a:extLst>
                  <a:ext uri="{FF2B5EF4-FFF2-40B4-BE49-F238E27FC236}">
                    <a16:creationId xmlns:a16="http://schemas.microsoft.com/office/drawing/2014/main" id="{973BC6A2-D661-F3F0-0E62-5FD926C0D142}"/>
                  </a:ext>
                </a:extLst>
              </p:cNvPr>
              <p:cNvSpPr txBox="1"/>
              <p:nvPr/>
            </p:nvSpPr>
            <p:spPr>
              <a:xfrm>
                <a:off x="8313753" y="2194217"/>
                <a:ext cx="235642" cy="169277"/>
              </a:xfrm>
              <a:prstGeom prst="rect">
                <a:avLst/>
              </a:prstGeom>
              <a:noFill/>
            </p:spPr>
            <p:txBody>
              <a:bodyPr wrap="none" lIns="0" tIns="0" rIns="0" bIns="0" rtlCol="0" anchor="ctr">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100</a:t>
                </a:r>
              </a:p>
            </p:txBody>
          </p:sp>
          <p:cxnSp>
            <p:nvCxnSpPr>
              <p:cNvPr id="1879" name="Straight Connector 1878">
                <a:extLst>
                  <a:ext uri="{FF2B5EF4-FFF2-40B4-BE49-F238E27FC236}">
                    <a16:creationId xmlns:a16="http://schemas.microsoft.com/office/drawing/2014/main" id="{3FAA62C6-7A45-B838-366E-A3E0E0A75176}"/>
                  </a:ext>
                </a:extLst>
              </p:cNvPr>
              <p:cNvCxnSpPr>
                <a:cxnSpLocks/>
              </p:cNvCxnSpPr>
              <p:nvPr/>
            </p:nvCxnSpPr>
            <p:spPr>
              <a:xfrm rot="16200000">
                <a:off x="8605695" y="2256233"/>
                <a:ext cx="0" cy="45248"/>
              </a:xfrm>
              <a:prstGeom prst="line">
                <a:avLst/>
              </a:prstGeom>
              <a:ln w="19050" cap="sq">
                <a:solidFill>
                  <a:schemeClr val="tx1"/>
                </a:solidFill>
                <a:prstDash val="solid"/>
                <a:miter/>
              </a:ln>
            </p:spPr>
          </p:cxnSp>
        </p:grpSp>
        <p:grpSp>
          <p:nvGrpSpPr>
            <p:cNvPr id="1895" name="Group 1894">
              <a:extLst>
                <a:ext uri="{FF2B5EF4-FFF2-40B4-BE49-F238E27FC236}">
                  <a16:creationId xmlns:a16="http://schemas.microsoft.com/office/drawing/2014/main" id="{F0103EC4-EFC1-D983-652B-3C74E4F72E8A}"/>
                </a:ext>
              </a:extLst>
            </p:cNvPr>
            <p:cNvGrpSpPr/>
            <p:nvPr/>
          </p:nvGrpSpPr>
          <p:grpSpPr>
            <a:xfrm>
              <a:off x="8960403" y="4211569"/>
              <a:ext cx="157094" cy="233348"/>
              <a:chOff x="9328544" y="4249669"/>
              <a:chExt cx="157094" cy="233348"/>
            </a:xfrm>
          </p:grpSpPr>
          <p:sp>
            <p:nvSpPr>
              <p:cNvPr id="1882" name="TextBox 1881">
                <a:extLst>
                  <a:ext uri="{FF2B5EF4-FFF2-40B4-BE49-F238E27FC236}">
                    <a16:creationId xmlns:a16="http://schemas.microsoft.com/office/drawing/2014/main" id="{2A28DF95-70C6-ADC3-6C60-E5DE55D1EBEC}"/>
                  </a:ext>
                </a:extLst>
              </p:cNvPr>
              <p:cNvSpPr txBox="1"/>
              <p:nvPr/>
            </p:nvSpPr>
            <p:spPr>
              <a:xfrm>
                <a:off x="9328544" y="4313740"/>
                <a:ext cx="157094" cy="169277"/>
              </a:xfrm>
              <a:prstGeom prst="rect">
                <a:avLst/>
              </a:prstGeom>
              <a:noFill/>
            </p:spPr>
            <p:txBody>
              <a:bodyPr wrap="none" lIns="0" tIns="0" rIns="0" bIns="0"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12</a:t>
                </a:r>
              </a:p>
            </p:txBody>
          </p:sp>
          <p:cxnSp>
            <p:nvCxnSpPr>
              <p:cNvPr id="1883" name="Straight Connector 1882">
                <a:extLst>
                  <a:ext uri="{FF2B5EF4-FFF2-40B4-BE49-F238E27FC236}">
                    <a16:creationId xmlns:a16="http://schemas.microsoft.com/office/drawing/2014/main" id="{4EAAB313-14B7-1231-4A86-826BB50DE500}"/>
                  </a:ext>
                </a:extLst>
              </p:cNvPr>
              <p:cNvCxnSpPr>
                <a:cxnSpLocks/>
              </p:cNvCxnSpPr>
              <p:nvPr/>
            </p:nvCxnSpPr>
            <p:spPr>
              <a:xfrm>
                <a:off x="9407091" y="4249669"/>
                <a:ext cx="0" cy="45248"/>
              </a:xfrm>
              <a:prstGeom prst="line">
                <a:avLst/>
              </a:prstGeom>
              <a:ln w="19050" cap="sq">
                <a:solidFill>
                  <a:schemeClr val="tx1"/>
                </a:solidFill>
                <a:prstDash val="solid"/>
                <a:miter/>
              </a:ln>
            </p:spPr>
          </p:cxnSp>
        </p:grpSp>
        <p:grpSp>
          <p:nvGrpSpPr>
            <p:cNvPr id="1892" name="Group 1891">
              <a:extLst>
                <a:ext uri="{FF2B5EF4-FFF2-40B4-BE49-F238E27FC236}">
                  <a16:creationId xmlns:a16="http://schemas.microsoft.com/office/drawing/2014/main" id="{715F73DD-B24B-C994-D70E-168D21610DDA}"/>
                </a:ext>
              </a:extLst>
            </p:cNvPr>
            <p:cNvGrpSpPr/>
            <p:nvPr/>
          </p:nvGrpSpPr>
          <p:grpSpPr>
            <a:xfrm>
              <a:off x="8445640" y="3738667"/>
              <a:ext cx="236019" cy="169277"/>
              <a:chOff x="8392300" y="3594638"/>
              <a:chExt cx="236019" cy="169277"/>
            </a:xfrm>
          </p:grpSpPr>
          <p:sp>
            <p:nvSpPr>
              <p:cNvPr id="1893" name="TextBox 1892">
                <a:extLst>
                  <a:ext uri="{FF2B5EF4-FFF2-40B4-BE49-F238E27FC236}">
                    <a16:creationId xmlns:a16="http://schemas.microsoft.com/office/drawing/2014/main" id="{1730C604-24A8-71F7-B5DF-33FEA4E57CD8}"/>
                  </a:ext>
                </a:extLst>
              </p:cNvPr>
              <p:cNvSpPr txBox="1"/>
              <p:nvPr/>
            </p:nvSpPr>
            <p:spPr>
              <a:xfrm>
                <a:off x="8392300" y="3594638"/>
                <a:ext cx="157095" cy="169277"/>
              </a:xfrm>
              <a:prstGeom prst="rect">
                <a:avLst/>
              </a:prstGeom>
              <a:noFill/>
            </p:spPr>
            <p:txBody>
              <a:bodyPr wrap="none" lIns="0" tIns="0" rIns="0" bIns="0" rtlCol="0" anchor="ctr">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20</a:t>
                </a:r>
              </a:p>
            </p:txBody>
          </p:sp>
          <p:cxnSp>
            <p:nvCxnSpPr>
              <p:cNvPr id="1894" name="Straight Connector 1893">
                <a:extLst>
                  <a:ext uri="{FF2B5EF4-FFF2-40B4-BE49-F238E27FC236}">
                    <a16:creationId xmlns:a16="http://schemas.microsoft.com/office/drawing/2014/main" id="{88FDE610-71DC-7C75-16E8-FCC530ACD053}"/>
                  </a:ext>
                </a:extLst>
              </p:cNvPr>
              <p:cNvCxnSpPr>
                <a:cxnSpLocks/>
              </p:cNvCxnSpPr>
              <p:nvPr/>
            </p:nvCxnSpPr>
            <p:spPr>
              <a:xfrm rot="16200000">
                <a:off x="8605695" y="3656654"/>
                <a:ext cx="0" cy="45248"/>
              </a:xfrm>
              <a:prstGeom prst="line">
                <a:avLst/>
              </a:prstGeom>
              <a:ln w="19050" cap="sq">
                <a:solidFill>
                  <a:schemeClr val="tx1"/>
                </a:solidFill>
                <a:prstDash val="solid"/>
                <a:miter/>
              </a:ln>
            </p:spPr>
          </p:cxnSp>
        </p:grpSp>
        <p:grpSp>
          <p:nvGrpSpPr>
            <p:cNvPr id="1896" name="Group 1895">
              <a:extLst>
                <a:ext uri="{FF2B5EF4-FFF2-40B4-BE49-F238E27FC236}">
                  <a16:creationId xmlns:a16="http://schemas.microsoft.com/office/drawing/2014/main" id="{C3490EC2-A68F-019E-24C7-E713510B79F7}"/>
                </a:ext>
              </a:extLst>
            </p:cNvPr>
            <p:cNvGrpSpPr/>
            <p:nvPr/>
          </p:nvGrpSpPr>
          <p:grpSpPr>
            <a:xfrm>
              <a:off x="9314509" y="4211569"/>
              <a:ext cx="157094" cy="233348"/>
              <a:chOff x="9328544" y="4249669"/>
              <a:chExt cx="157094" cy="233348"/>
            </a:xfrm>
          </p:grpSpPr>
          <p:sp>
            <p:nvSpPr>
              <p:cNvPr id="1897" name="TextBox 1896">
                <a:extLst>
                  <a:ext uri="{FF2B5EF4-FFF2-40B4-BE49-F238E27FC236}">
                    <a16:creationId xmlns:a16="http://schemas.microsoft.com/office/drawing/2014/main" id="{D7D37CF1-5EF0-8364-60F8-6C7D218BA517}"/>
                  </a:ext>
                </a:extLst>
              </p:cNvPr>
              <p:cNvSpPr txBox="1"/>
              <p:nvPr/>
            </p:nvSpPr>
            <p:spPr>
              <a:xfrm>
                <a:off x="9328544" y="4313740"/>
                <a:ext cx="157094" cy="169277"/>
              </a:xfrm>
              <a:prstGeom prst="rect">
                <a:avLst/>
              </a:prstGeom>
              <a:noFill/>
            </p:spPr>
            <p:txBody>
              <a:bodyPr wrap="none" lIns="0" tIns="0" rIns="0" bIns="0"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24</a:t>
                </a:r>
              </a:p>
            </p:txBody>
          </p:sp>
          <p:cxnSp>
            <p:nvCxnSpPr>
              <p:cNvPr id="1898" name="Straight Connector 1897">
                <a:extLst>
                  <a:ext uri="{FF2B5EF4-FFF2-40B4-BE49-F238E27FC236}">
                    <a16:creationId xmlns:a16="http://schemas.microsoft.com/office/drawing/2014/main" id="{3D727223-C3C1-9067-4DF6-C4C73CE7CC68}"/>
                  </a:ext>
                </a:extLst>
              </p:cNvPr>
              <p:cNvCxnSpPr>
                <a:cxnSpLocks/>
              </p:cNvCxnSpPr>
              <p:nvPr/>
            </p:nvCxnSpPr>
            <p:spPr>
              <a:xfrm>
                <a:off x="9407091" y="4249669"/>
                <a:ext cx="0" cy="45248"/>
              </a:xfrm>
              <a:prstGeom prst="line">
                <a:avLst/>
              </a:prstGeom>
              <a:ln w="19050" cap="sq">
                <a:solidFill>
                  <a:schemeClr val="tx1"/>
                </a:solidFill>
                <a:prstDash val="solid"/>
                <a:miter/>
              </a:ln>
            </p:spPr>
          </p:cxnSp>
        </p:grpSp>
        <p:grpSp>
          <p:nvGrpSpPr>
            <p:cNvPr id="1899" name="Group 1898">
              <a:extLst>
                <a:ext uri="{FF2B5EF4-FFF2-40B4-BE49-F238E27FC236}">
                  <a16:creationId xmlns:a16="http://schemas.microsoft.com/office/drawing/2014/main" id="{D2272EA3-AAC3-7900-B962-076879218115}"/>
                </a:ext>
              </a:extLst>
            </p:cNvPr>
            <p:cNvGrpSpPr/>
            <p:nvPr/>
          </p:nvGrpSpPr>
          <p:grpSpPr>
            <a:xfrm>
              <a:off x="9661457" y="4211569"/>
              <a:ext cx="157094" cy="233348"/>
              <a:chOff x="9328544" y="4249669"/>
              <a:chExt cx="157094" cy="233348"/>
            </a:xfrm>
          </p:grpSpPr>
          <p:sp>
            <p:nvSpPr>
              <p:cNvPr id="1900" name="TextBox 1899">
                <a:extLst>
                  <a:ext uri="{FF2B5EF4-FFF2-40B4-BE49-F238E27FC236}">
                    <a16:creationId xmlns:a16="http://schemas.microsoft.com/office/drawing/2014/main" id="{05775D00-76D6-FFC0-1327-81542526017E}"/>
                  </a:ext>
                </a:extLst>
              </p:cNvPr>
              <p:cNvSpPr txBox="1"/>
              <p:nvPr/>
            </p:nvSpPr>
            <p:spPr>
              <a:xfrm>
                <a:off x="9328544" y="4313740"/>
                <a:ext cx="157094" cy="169277"/>
              </a:xfrm>
              <a:prstGeom prst="rect">
                <a:avLst/>
              </a:prstGeom>
              <a:noFill/>
            </p:spPr>
            <p:txBody>
              <a:bodyPr wrap="none" lIns="0" tIns="0" rIns="0" bIns="0"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36</a:t>
                </a:r>
              </a:p>
            </p:txBody>
          </p:sp>
          <p:cxnSp>
            <p:nvCxnSpPr>
              <p:cNvPr id="1901" name="Straight Connector 1900">
                <a:extLst>
                  <a:ext uri="{FF2B5EF4-FFF2-40B4-BE49-F238E27FC236}">
                    <a16:creationId xmlns:a16="http://schemas.microsoft.com/office/drawing/2014/main" id="{E10283C3-1A06-8223-BE3B-50900C92696D}"/>
                  </a:ext>
                </a:extLst>
              </p:cNvPr>
              <p:cNvCxnSpPr>
                <a:cxnSpLocks/>
              </p:cNvCxnSpPr>
              <p:nvPr/>
            </p:nvCxnSpPr>
            <p:spPr>
              <a:xfrm>
                <a:off x="9407091" y="4249669"/>
                <a:ext cx="0" cy="45248"/>
              </a:xfrm>
              <a:prstGeom prst="line">
                <a:avLst/>
              </a:prstGeom>
              <a:ln w="19050" cap="sq">
                <a:solidFill>
                  <a:schemeClr val="tx1"/>
                </a:solidFill>
                <a:prstDash val="solid"/>
                <a:miter/>
              </a:ln>
            </p:spPr>
          </p:cxnSp>
        </p:grpSp>
        <p:grpSp>
          <p:nvGrpSpPr>
            <p:cNvPr id="1902" name="Group 1901">
              <a:extLst>
                <a:ext uri="{FF2B5EF4-FFF2-40B4-BE49-F238E27FC236}">
                  <a16:creationId xmlns:a16="http://schemas.microsoft.com/office/drawing/2014/main" id="{DE9A0B1F-28F9-3986-249D-992A0864E9D9}"/>
                </a:ext>
              </a:extLst>
            </p:cNvPr>
            <p:cNvGrpSpPr/>
            <p:nvPr/>
          </p:nvGrpSpPr>
          <p:grpSpPr>
            <a:xfrm>
              <a:off x="10017096" y="4211569"/>
              <a:ext cx="157094" cy="233348"/>
              <a:chOff x="9328544" y="4249669"/>
              <a:chExt cx="157094" cy="233348"/>
            </a:xfrm>
          </p:grpSpPr>
          <p:sp>
            <p:nvSpPr>
              <p:cNvPr id="1903" name="TextBox 1902">
                <a:extLst>
                  <a:ext uri="{FF2B5EF4-FFF2-40B4-BE49-F238E27FC236}">
                    <a16:creationId xmlns:a16="http://schemas.microsoft.com/office/drawing/2014/main" id="{EBD25E9A-44DB-1EF5-2B3F-4ED89C801ED6}"/>
                  </a:ext>
                </a:extLst>
              </p:cNvPr>
              <p:cNvSpPr txBox="1"/>
              <p:nvPr/>
            </p:nvSpPr>
            <p:spPr>
              <a:xfrm>
                <a:off x="9328544" y="4313740"/>
                <a:ext cx="157094" cy="169277"/>
              </a:xfrm>
              <a:prstGeom prst="rect">
                <a:avLst/>
              </a:prstGeom>
              <a:noFill/>
            </p:spPr>
            <p:txBody>
              <a:bodyPr wrap="none" lIns="0" tIns="0" rIns="0" bIns="0"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48</a:t>
                </a:r>
              </a:p>
            </p:txBody>
          </p:sp>
          <p:cxnSp>
            <p:nvCxnSpPr>
              <p:cNvPr id="1904" name="Straight Connector 1903">
                <a:extLst>
                  <a:ext uri="{FF2B5EF4-FFF2-40B4-BE49-F238E27FC236}">
                    <a16:creationId xmlns:a16="http://schemas.microsoft.com/office/drawing/2014/main" id="{1586DC5F-2B69-EF14-689F-ACECCC38E6D1}"/>
                  </a:ext>
                </a:extLst>
              </p:cNvPr>
              <p:cNvCxnSpPr>
                <a:cxnSpLocks/>
              </p:cNvCxnSpPr>
              <p:nvPr/>
            </p:nvCxnSpPr>
            <p:spPr>
              <a:xfrm>
                <a:off x="9407091" y="4249669"/>
                <a:ext cx="0" cy="45248"/>
              </a:xfrm>
              <a:prstGeom prst="line">
                <a:avLst/>
              </a:prstGeom>
              <a:ln w="19050" cap="sq">
                <a:solidFill>
                  <a:schemeClr val="tx1"/>
                </a:solidFill>
                <a:prstDash val="solid"/>
                <a:miter/>
              </a:ln>
            </p:spPr>
          </p:cxnSp>
        </p:grpSp>
        <p:grpSp>
          <p:nvGrpSpPr>
            <p:cNvPr id="1905" name="Group 1904">
              <a:extLst>
                <a:ext uri="{FF2B5EF4-FFF2-40B4-BE49-F238E27FC236}">
                  <a16:creationId xmlns:a16="http://schemas.microsoft.com/office/drawing/2014/main" id="{BC9F3F9A-F6CE-F204-904F-AC13EE921486}"/>
                </a:ext>
              </a:extLst>
            </p:cNvPr>
            <p:cNvGrpSpPr/>
            <p:nvPr/>
          </p:nvGrpSpPr>
          <p:grpSpPr>
            <a:xfrm>
              <a:off x="10368133" y="4211569"/>
              <a:ext cx="157094" cy="233348"/>
              <a:chOff x="9328544" y="4249669"/>
              <a:chExt cx="157094" cy="233348"/>
            </a:xfrm>
          </p:grpSpPr>
          <p:sp>
            <p:nvSpPr>
              <p:cNvPr id="1906" name="TextBox 1905">
                <a:extLst>
                  <a:ext uri="{FF2B5EF4-FFF2-40B4-BE49-F238E27FC236}">
                    <a16:creationId xmlns:a16="http://schemas.microsoft.com/office/drawing/2014/main" id="{F6A0CC98-8411-B83B-F473-E82A3A9DC43D}"/>
                  </a:ext>
                </a:extLst>
              </p:cNvPr>
              <p:cNvSpPr txBox="1"/>
              <p:nvPr/>
            </p:nvSpPr>
            <p:spPr>
              <a:xfrm>
                <a:off x="9328544" y="4313740"/>
                <a:ext cx="157094" cy="169277"/>
              </a:xfrm>
              <a:prstGeom prst="rect">
                <a:avLst/>
              </a:prstGeom>
              <a:noFill/>
            </p:spPr>
            <p:txBody>
              <a:bodyPr wrap="none" lIns="0" tIns="0" rIns="0" bIns="0"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60</a:t>
                </a:r>
              </a:p>
            </p:txBody>
          </p:sp>
          <p:cxnSp>
            <p:nvCxnSpPr>
              <p:cNvPr id="1907" name="Straight Connector 1906">
                <a:extLst>
                  <a:ext uri="{FF2B5EF4-FFF2-40B4-BE49-F238E27FC236}">
                    <a16:creationId xmlns:a16="http://schemas.microsoft.com/office/drawing/2014/main" id="{70C91F7E-ED7E-6795-080B-AE164303E983}"/>
                  </a:ext>
                </a:extLst>
              </p:cNvPr>
              <p:cNvCxnSpPr>
                <a:cxnSpLocks/>
              </p:cNvCxnSpPr>
              <p:nvPr/>
            </p:nvCxnSpPr>
            <p:spPr>
              <a:xfrm>
                <a:off x="9407091" y="4249669"/>
                <a:ext cx="0" cy="45248"/>
              </a:xfrm>
              <a:prstGeom prst="line">
                <a:avLst/>
              </a:prstGeom>
              <a:ln w="19050" cap="sq">
                <a:solidFill>
                  <a:schemeClr val="tx1"/>
                </a:solidFill>
                <a:prstDash val="solid"/>
                <a:miter/>
              </a:ln>
            </p:spPr>
          </p:cxnSp>
        </p:grpSp>
        <p:grpSp>
          <p:nvGrpSpPr>
            <p:cNvPr id="1908" name="Group 1907">
              <a:extLst>
                <a:ext uri="{FF2B5EF4-FFF2-40B4-BE49-F238E27FC236}">
                  <a16:creationId xmlns:a16="http://schemas.microsoft.com/office/drawing/2014/main" id="{065CD450-18FB-7E99-49F3-471D1C52E8F7}"/>
                </a:ext>
              </a:extLst>
            </p:cNvPr>
            <p:cNvGrpSpPr/>
            <p:nvPr/>
          </p:nvGrpSpPr>
          <p:grpSpPr>
            <a:xfrm>
              <a:off x="10720559" y="4211569"/>
              <a:ext cx="157094" cy="233348"/>
              <a:chOff x="9328544" y="4249669"/>
              <a:chExt cx="157094" cy="233348"/>
            </a:xfrm>
          </p:grpSpPr>
          <p:sp>
            <p:nvSpPr>
              <p:cNvPr id="1909" name="TextBox 1908">
                <a:extLst>
                  <a:ext uri="{FF2B5EF4-FFF2-40B4-BE49-F238E27FC236}">
                    <a16:creationId xmlns:a16="http://schemas.microsoft.com/office/drawing/2014/main" id="{825CCDDD-3CE8-C4B9-BA9B-9E6BEC7C08D4}"/>
                  </a:ext>
                </a:extLst>
              </p:cNvPr>
              <p:cNvSpPr txBox="1"/>
              <p:nvPr/>
            </p:nvSpPr>
            <p:spPr>
              <a:xfrm>
                <a:off x="9328544" y="4313740"/>
                <a:ext cx="157094" cy="169277"/>
              </a:xfrm>
              <a:prstGeom prst="rect">
                <a:avLst/>
              </a:prstGeom>
              <a:noFill/>
            </p:spPr>
            <p:txBody>
              <a:bodyPr wrap="none" lIns="0" tIns="0" rIns="0" bIns="0"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72</a:t>
                </a:r>
              </a:p>
            </p:txBody>
          </p:sp>
          <p:cxnSp>
            <p:nvCxnSpPr>
              <p:cNvPr id="1910" name="Straight Connector 1909">
                <a:extLst>
                  <a:ext uri="{FF2B5EF4-FFF2-40B4-BE49-F238E27FC236}">
                    <a16:creationId xmlns:a16="http://schemas.microsoft.com/office/drawing/2014/main" id="{8B5882DC-2E9D-4C12-4612-6BFC556AD285}"/>
                  </a:ext>
                </a:extLst>
              </p:cNvPr>
              <p:cNvCxnSpPr>
                <a:cxnSpLocks/>
              </p:cNvCxnSpPr>
              <p:nvPr/>
            </p:nvCxnSpPr>
            <p:spPr>
              <a:xfrm>
                <a:off x="9407091" y="4249669"/>
                <a:ext cx="0" cy="45248"/>
              </a:xfrm>
              <a:prstGeom prst="line">
                <a:avLst/>
              </a:prstGeom>
              <a:ln w="19050" cap="sq">
                <a:solidFill>
                  <a:schemeClr val="tx1"/>
                </a:solidFill>
                <a:prstDash val="solid"/>
                <a:miter/>
              </a:ln>
            </p:spPr>
          </p:cxnSp>
        </p:grpSp>
        <p:grpSp>
          <p:nvGrpSpPr>
            <p:cNvPr id="1911" name="Group 1910">
              <a:extLst>
                <a:ext uri="{FF2B5EF4-FFF2-40B4-BE49-F238E27FC236}">
                  <a16:creationId xmlns:a16="http://schemas.microsoft.com/office/drawing/2014/main" id="{ADC9DAD2-41DA-52FB-A3CA-E4C8E9BD30A6}"/>
                </a:ext>
              </a:extLst>
            </p:cNvPr>
            <p:cNvGrpSpPr/>
            <p:nvPr/>
          </p:nvGrpSpPr>
          <p:grpSpPr>
            <a:xfrm>
              <a:off x="11065839" y="4211569"/>
              <a:ext cx="157094" cy="233348"/>
              <a:chOff x="9328544" y="4249669"/>
              <a:chExt cx="157094" cy="233348"/>
            </a:xfrm>
          </p:grpSpPr>
          <p:sp>
            <p:nvSpPr>
              <p:cNvPr id="1912" name="TextBox 1911">
                <a:extLst>
                  <a:ext uri="{FF2B5EF4-FFF2-40B4-BE49-F238E27FC236}">
                    <a16:creationId xmlns:a16="http://schemas.microsoft.com/office/drawing/2014/main" id="{A6D57105-3801-B1FE-15DC-7014CD7EC277}"/>
                  </a:ext>
                </a:extLst>
              </p:cNvPr>
              <p:cNvSpPr txBox="1"/>
              <p:nvPr/>
            </p:nvSpPr>
            <p:spPr>
              <a:xfrm>
                <a:off x="9328544" y="4313740"/>
                <a:ext cx="157094" cy="169277"/>
              </a:xfrm>
              <a:prstGeom prst="rect">
                <a:avLst/>
              </a:prstGeom>
              <a:noFill/>
            </p:spPr>
            <p:txBody>
              <a:bodyPr wrap="none" lIns="0" tIns="0" rIns="0" bIns="0"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84</a:t>
                </a:r>
              </a:p>
            </p:txBody>
          </p:sp>
          <p:cxnSp>
            <p:nvCxnSpPr>
              <p:cNvPr id="1913" name="Straight Connector 1912">
                <a:extLst>
                  <a:ext uri="{FF2B5EF4-FFF2-40B4-BE49-F238E27FC236}">
                    <a16:creationId xmlns:a16="http://schemas.microsoft.com/office/drawing/2014/main" id="{BFA1A046-F79A-9A6F-2EC0-557593AFBC42}"/>
                  </a:ext>
                </a:extLst>
              </p:cNvPr>
              <p:cNvCxnSpPr>
                <a:cxnSpLocks/>
              </p:cNvCxnSpPr>
              <p:nvPr/>
            </p:nvCxnSpPr>
            <p:spPr>
              <a:xfrm>
                <a:off x="9407091" y="4249669"/>
                <a:ext cx="0" cy="45248"/>
              </a:xfrm>
              <a:prstGeom prst="line">
                <a:avLst/>
              </a:prstGeom>
              <a:ln w="19050" cap="sq">
                <a:solidFill>
                  <a:schemeClr val="tx1"/>
                </a:solidFill>
                <a:prstDash val="solid"/>
                <a:miter/>
              </a:ln>
            </p:spPr>
          </p:cxnSp>
        </p:grpSp>
        <p:grpSp>
          <p:nvGrpSpPr>
            <p:cNvPr id="1914" name="Group 1913">
              <a:extLst>
                <a:ext uri="{FF2B5EF4-FFF2-40B4-BE49-F238E27FC236}">
                  <a16:creationId xmlns:a16="http://schemas.microsoft.com/office/drawing/2014/main" id="{EC0D7B23-1C95-DB9A-0BE4-B7DE0D6CA9D2}"/>
                </a:ext>
              </a:extLst>
            </p:cNvPr>
            <p:cNvGrpSpPr/>
            <p:nvPr/>
          </p:nvGrpSpPr>
          <p:grpSpPr>
            <a:xfrm>
              <a:off x="11418264" y="4211569"/>
              <a:ext cx="157094" cy="233348"/>
              <a:chOff x="9328544" y="4249669"/>
              <a:chExt cx="157094" cy="233348"/>
            </a:xfrm>
          </p:grpSpPr>
          <p:sp>
            <p:nvSpPr>
              <p:cNvPr id="1915" name="TextBox 1914">
                <a:extLst>
                  <a:ext uri="{FF2B5EF4-FFF2-40B4-BE49-F238E27FC236}">
                    <a16:creationId xmlns:a16="http://schemas.microsoft.com/office/drawing/2014/main" id="{9E32C214-8042-E5B3-15E9-6BEBF05D9627}"/>
                  </a:ext>
                </a:extLst>
              </p:cNvPr>
              <p:cNvSpPr txBox="1"/>
              <p:nvPr/>
            </p:nvSpPr>
            <p:spPr>
              <a:xfrm>
                <a:off x="9328544" y="4313740"/>
                <a:ext cx="157094" cy="169277"/>
              </a:xfrm>
              <a:prstGeom prst="rect">
                <a:avLst/>
              </a:prstGeom>
              <a:noFill/>
            </p:spPr>
            <p:txBody>
              <a:bodyPr wrap="none" lIns="0" tIns="0" rIns="0" bIns="0"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96</a:t>
                </a:r>
              </a:p>
            </p:txBody>
          </p:sp>
          <p:cxnSp>
            <p:nvCxnSpPr>
              <p:cNvPr id="1916" name="Straight Connector 1915">
                <a:extLst>
                  <a:ext uri="{FF2B5EF4-FFF2-40B4-BE49-F238E27FC236}">
                    <a16:creationId xmlns:a16="http://schemas.microsoft.com/office/drawing/2014/main" id="{966EE764-0CF6-18B1-2FF8-C9D7C9DCCD49}"/>
                  </a:ext>
                </a:extLst>
              </p:cNvPr>
              <p:cNvCxnSpPr>
                <a:cxnSpLocks/>
              </p:cNvCxnSpPr>
              <p:nvPr/>
            </p:nvCxnSpPr>
            <p:spPr>
              <a:xfrm>
                <a:off x="9407091" y="4249669"/>
                <a:ext cx="0" cy="45248"/>
              </a:xfrm>
              <a:prstGeom prst="line">
                <a:avLst/>
              </a:prstGeom>
              <a:ln w="19050" cap="sq">
                <a:solidFill>
                  <a:schemeClr val="tx1"/>
                </a:solidFill>
                <a:prstDash val="solid"/>
                <a:miter/>
              </a:ln>
            </p:spPr>
          </p:cxnSp>
        </p:grpSp>
        <p:sp>
          <p:nvSpPr>
            <p:cNvPr id="2293" name="TextBox 2292">
              <a:extLst>
                <a:ext uri="{FF2B5EF4-FFF2-40B4-BE49-F238E27FC236}">
                  <a16:creationId xmlns:a16="http://schemas.microsoft.com/office/drawing/2014/main" id="{52F98599-2166-E659-CF89-1D5307409186}"/>
                </a:ext>
              </a:extLst>
            </p:cNvPr>
            <p:cNvSpPr txBox="1"/>
            <p:nvPr/>
          </p:nvSpPr>
          <p:spPr>
            <a:xfrm>
              <a:off x="10838293" y="3082996"/>
              <a:ext cx="878446" cy="215444"/>
            </a:xfrm>
            <a:prstGeom prst="rect">
              <a:avLst/>
            </a:prstGeom>
            <a:noFill/>
          </p:spPr>
          <p:txBody>
            <a:bodyPr wrap="none" lIns="0" tIns="0" rIns="0" bIns="0"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solidFill>
                    <a:srgbClr val="388DC5"/>
                  </a:solidFill>
                  <a:effectLst/>
                  <a:uLnTx/>
                  <a:uFillTx/>
                  <a:latin typeface="Arial" panose="020B0604020202020204" pitchFamily="34" charset="0"/>
                  <a:ea typeface="+mn-ea"/>
                  <a:cs typeface="Arial" panose="020B0604020202020204" pitchFamily="34" charset="0"/>
                  <a:sym typeface="Arial"/>
                  <a:rtl val="0"/>
                </a:rPr>
                <a:t>Early POD</a:t>
              </a:r>
            </a:p>
          </p:txBody>
        </p:sp>
        <p:sp>
          <p:nvSpPr>
            <p:cNvPr id="2297" name="TextBox 2296">
              <a:extLst>
                <a:ext uri="{FF2B5EF4-FFF2-40B4-BE49-F238E27FC236}">
                  <a16:creationId xmlns:a16="http://schemas.microsoft.com/office/drawing/2014/main" id="{26BA9D77-0D80-9D59-720C-7630C2C02921}"/>
                </a:ext>
              </a:extLst>
            </p:cNvPr>
            <p:cNvSpPr txBox="1"/>
            <p:nvPr/>
          </p:nvSpPr>
          <p:spPr>
            <a:xfrm>
              <a:off x="10500072" y="2220271"/>
              <a:ext cx="865622" cy="215444"/>
            </a:xfrm>
            <a:prstGeom prst="rect">
              <a:avLst/>
            </a:prstGeom>
            <a:noFill/>
          </p:spPr>
          <p:txBody>
            <a:bodyPr wrap="none" lIns="0" tIns="0" rIns="0" bIns="0"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solidFill>
                    <a:srgbClr val="EAC034"/>
                  </a:solidFill>
                  <a:effectLst/>
                  <a:uLnTx/>
                  <a:uFillTx/>
                  <a:latin typeface="Arial" panose="020B0604020202020204" pitchFamily="34" charset="0"/>
                  <a:ea typeface="+mn-ea"/>
                  <a:cs typeface="Arial" panose="020B0604020202020204" pitchFamily="34" charset="0"/>
                  <a:sym typeface="Arial"/>
                  <a:rtl val="0"/>
                </a:rPr>
                <a:t>Reference</a:t>
              </a:r>
            </a:p>
          </p:txBody>
        </p:sp>
        <p:grpSp>
          <p:nvGrpSpPr>
            <p:cNvPr id="2306" name="Group 2305">
              <a:extLst>
                <a:ext uri="{FF2B5EF4-FFF2-40B4-BE49-F238E27FC236}">
                  <a16:creationId xmlns:a16="http://schemas.microsoft.com/office/drawing/2014/main" id="{493919B0-4F71-3790-C853-5CD48F3690F1}"/>
                </a:ext>
              </a:extLst>
            </p:cNvPr>
            <p:cNvGrpSpPr/>
            <p:nvPr/>
          </p:nvGrpSpPr>
          <p:grpSpPr>
            <a:xfrm>
              <a:off x="11488856" y="3412331"/>
              <a:ext cx="84024" cy="84024"/>
              <a:chOff x="11521324" y="3611214"/>
              <a:chExt cx="82971" cy="82971"/>
            </a:xfrm>
          </p:grpSpPr>
          <p:cxnSp>
            <p:nvCxnSpPr>
              <p:cNvPr id="2304" name="Straight Connector 2303">
                <a:extLst>
                  <a:ext uri="{FF2B5EF4-FFF2-40B4-BE49-F238E27FC236}">
                    <a16:creationId xmlns:a16="http://schemas.microsoft.com/office/drawing/2014/main" id="{305FD1C1-BEF3-D309-B756-361A63E08F3D}"/>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05" name="Straight Connector 2304">
                <a:extLst>
                  <a:ext uri="{FF2B5EF4-FFF2-40B4-BE49-F238E27FC236}">
                    <a16:creationId xmlns:a16="http://schemas.microsoft.com/office/drawing/2014/main" id="{BE0FFD9F-E63C-AE05-3494-93D762AF55B8}"/>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307" name="Group 2306">
              <a:extLst>
                <a:ext uri="{FF2B5EF4-FFF2-40B4-BE49-F238E27FC236}">
                  <a16:creationId xmlns:a16="http://schemas.microsoft.com/office/drawing/2014/main" id="{D36B23A1-23EB-6302-1A35-9AAD876EBACF}"/>
                </a:ext>
              </a:extLst>
            </p:cNvPr>
            <p:cNvGrpSpPr/>
            <p:nvPr/>
          </p:nvGrpSpPr>
          <p:grpSpPr>
            <a:xfrm>
              <a:off x="11462662" y="3412331"/>
              <a:ext cx="84024" cy="84024"/>
              <a:chOff x="11521324" y="3611214"/>
              <a:chExt cx="82971" cy="82971"/>
            </a:xfrm>
          </p:grpSpPr>
          <p:cxnSp>
            <p:nvCxnSpPr>
              <p:cNvPr id="2308" name="Straight Connector 2307">
                <a:extLst>
                  <a:ext uri="{FF2B5EF4-FFF2-40B4-BE49-F238E27FC236}">
                    <a16:creationId xmlns:a16="http://schemas.microsoft.com/office/drawing/2014/main" id="{EB332C2B-CEBD-7C5C-8E8A-841779FE6908}"/>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09" name="Straight Connector 2308">
                <a:extLst>
                  <a:ext uri="{FF2B5EF4-FFF2-40B4-BE49-F238E27FC236}">
                    <a16:creationId xmlns:a16="http://schemas.microsoft.com/office/drawing/2014/main" id="{356001D3-801A-B2D2-E4EB-A2A9CAF2CDB3}"/>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310" name="Group 2309">
              <a:extLst>
                <a:ext uri="{FF2B5EF4-FFF2-40B4-BE49-F238E27FC236}">
                  <a16:creationId xmlns:a16="http://schemas.microsoft.com/office/drawing/2014/main" id="{5401FE6F-52D9-650C-0DAA-B0E9EEA8C98A}"/>
                </a:ext>
              </a:extLst>
            </p:cNvPr>
            <p:cNvGrpSpPr/>
            <p:nvPr/>
          </p:nvGrpSpPr>
          <p:grpSpPr>
            <a:xfrm>
              <a:off x="11384081" y="3412331"/>
              <a:ext cx="84024" cy="84024"/>
              <a:chOff x="11521324" y="3611214"/>
              <a:chExt cx="82971" cy="82971"/>
            </a:xfrm>
          </p:grpSpPr>
          <p:cxnSp>
            <p:nvCxnSpPr>
              <p:cNvPr id="2311" name="Straight Connector 2310">
                <a:extLst>
                  <a:ext uri="{FF2B5EF4-FFF2-40B4-BE49-F238E27FC236}">
                    <a16:creationId xmlns:a16="http://schemas.microsoft.com/office/drawing/2014/main" id="{B8E2FD5D-A13C-D3FC-5750-6C2B93E0D92F}"/>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12" name="Straight Connector 2311">
                <a:extLst>
                  <a:ext uri="{FF2B5EF4-FFF2-40B4-BE49-F238E27FC236}">
                    <a16:creationId xmlns:a16="http://schemas.microsoft.com/office/drawing/2014/main" id="{1DC30A92-C3C0-C661-DD3E-872802CF6B6E}"/>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313" name="Group 2312">
              <a:extLst>
                <a:ext uri="{FF2B5EF4-FFF2-40B4-BE49-F238E27FC236}">
                  <a16:creationId xmlns:a16="http://schemas.microsoft.com/office/drawing/2014/main" id="{A70912B1-684F-7CB6-A9D2-B3CFC422EE9C}"/>
                </a:ext>
              </a:extLst>
            </p:cNvPr>
            <p:cNvGrpSpPr/>
            <p:nvPr/>
          </p:nvGrpSpPr>
          <p:grpSpPr>
            <a:xfrm>
              <a:off x="11357887" y="3412331"/>
              <a:ext cx="84024" cy="84024"/>
              <a:chOff x="11521324" y="3611214"/>
              <a:chExt cx="82971" cy="82971"/>
            </a:xfrm>
          </p:grpSpPr>
          <p:cxnSp>
            <p:nvCxnSpPr>
              <p:cNvPr id="2314" name="Straight Connector 2313">
                <a:extLst>
                  <a:ext uri="{FF2B5EF4-FFF2-40B4-BE49-F238E27FC236}">
                    <a16:creationId xmlns:a16="http://schemas.microsoft.com/office/drawing/2014/main" id="{D867AD93-D979-6324-8EFF-89EA53E6D7EC}"/>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15" name="Straight Connector 2314">
                <a:extLst>
                  <a:ext uri="{FF2B5EF4-FFF2-40B4-BE49-F238E27FC236}">
                    <a16:creationId xmlns:a16="http://schemas.microsoft.com/office/drawing/2014/main" id="{B4788D0C-0B36-EBCD-09CB-651272D8D7C7}"/>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316" name="Group 2315">
              <a:extLst>
                <a:ext uri="{FF2B5EF4-FFF2-40B4-BE49-F238E27FC236}">
                  <a16:creationId xmlns:a16="http://schemas.microsoft.com/office/drawing/2014/main" id="{FF4C3EE4-1248-5F4A-5A4F-E2FBDC95C4CF}"/>
                </a:ext>
              </a:extLst>
            </p:cNvPr>
            <p:cNvGrpSpPr/>
            <p:nvPr/>
          </p:nvGrpSpPr>
          <p:grpSpPr>
            <a:xfrm>
              <a:off x="11317405" y="3412331"/>
              <a:ext cx="84024" cy="84024"/>
              <a:chOff x="11521324" y="3611214"/>
              <a:chExt cx="82971" cy="82971"/>
            </a:xfrm>
          </p:grpSpPr>
          <p:cxnSp>
            <p:nvCxnSpPr>
              <p:cNvPr id="2317" name="Straight Connector 2316">
                <a:extLst>
                  <a:ext uri="{FF2B5EF4-FFF2-40B4-BE49-F238E27FC236}">
                    <a16:creationId xmlns:a16="http://schemas.microsoft.com/office/drawing/2014/main" id="{2C0ADFD5-BDBF-633B-CA17-DFCE82AF0776}"/>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18" name="Straight Connector 2317">
                <a:extLst>
                  <a:ext uri="{FF2B5EF4-FFF2-40B4-BE49-F238E27FC236}">
                    <a16:creationId xmlns:a16="http://schemas.microsoft.com/office/drawing/2014/main" id="{AA9EEE32-6519-9F62-5B82-B08052F2F820}"/>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319" name="Group 2318">
              <a:extLst>
                <a:ext uri="{FF2B5EF4-FFF2-40B4-BE49-F238E27FC236}">
                  <a16:creationId xmlns:a16="http://schemas.microsoft.com/office/drawing/2014/main" id="{2054FDDC-00FE-07E3-E41D-F3EAFA899A74}"/>
                </a:ext>
              </a:extLst>
            </p:cNvPr>
            <p:cNvGrpSpPr/>
            <p:nvPr/>
          </p:nvGrpSpPr>
          <p:grpSpPr>
            <a:xfrm>
              <a:off x="11329311" y="3412331"/>
              <a:ext cx="84024" cy="84024"/>
              <a:chOff x="11521324" y="3611214"/>
              <a:chExt cx="82971" cy="82971"/>
            </a:xfrm>
          </p:grpSpPr>
          <p:cxnSp>
            <p:nvCxnSpPr>
              <p:cNvPr id="2320" name="Straight Connector 2319">
                <a:extLst>
                  <a:ext uri="{FF2B5EF4-FFF2-40B4-BE49-F238E27FC236}">
                    <a16:creationId xmlns:a16="http://schemas.microsoft.com/office/drawing/2014/main" id="{335768F7-CE47-4B5E-1CB3-7505BACDD016}"/>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21" name="Straight Connector 2320">
                <a:extLst>
                  <a:ext uri="{FF2B5EF4-FFF2-40B4-BE49-F238E27FC236}">
                    <a16:creationId xmlns:a16="http://schemas.microsoft.com/office/drawing/2014/main" id="{6C49925C-23D0-BBCA-352E-90727D57A7B3}"/>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322" name="Group 2321">
              <a:extLst>
                <a:ext uri="{FF2B5EF4-FFF2-40B4-BE49-F238E27FC236}">
                  <a16:creationId xmlns:a16="http://schemas.microsoft.com/office/drawing/2014/main" id="{04D50A06-861E-EEC2-59C7-2805F57CB3D0}"/>
                </a:ext>
              </a:extLst>
            </p:cNvPr>
            <p:cNvGrpSpPr/>
            <p:nvPr/>
          </p:nvGrpSpPr>
          <p:grpSpPr>
            <a:xfrm>
              <a:off x="11207867" y="3412331"/>
              <a:ext cx="84024" cy="84024"/>
              <a:chOff x="11521324" y="3611214"/>
              <a:chExt cx="82971" cy="82971"/>
            </a:xfrm>
          </p:grpSpPr>
          <p:cxnSp>
            <p:nvCxnSpPr>
              <p:cNvPr id="2323" name="Straight Connector 2322">
                <a:extLst>
                  <a:ext uri="{FF2B5EF4-FFF2-40B4-BE49-F238E27FC236}">
                    <a16:creationId xmlns:a16="http://schemas.microsoft.com/office/drawing/2014/main" id="{16B4CD4B-D469-448B-5039-6736DCB33E9D}"/>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24" name="Straight Connector 2323">
                <a:extLst>
                  <a:ext uri="{FF2B5EF4-FFF2-40B4-BE49-F238E27FC236}">
                    <a16:creationId xmlns:a16="http://schemas.microsoft.com/office/drawing/2014/main" id="{1B994A8C-A615-F463-6568-E17ADA863783}"/>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325" name="Group 2324">
              <a:extLst>
                <a:ext uri="{FF2B5EF4-FFF2-40B4-BE49-F238E27FC236}">
                  <a16:creationId xmlns:a16="http://schemas.microsoft.com/office/drawing/2014/main" id="{A76476E7-5F70-2BB0-A346-8C5B44686E4C}"/>
                </a:ext>
              </a:extLst>
            </p:cNvPr>
            <p:cNvGrpSpPr/>
            <p:nvPr/>
          </p:nvGrpSpPr>
          <p:grpSpPr>
            <a:xfrm>
              <a:off x="11167386" y="3412331"/>
              <a:ext cx="84024" cy="84024"/>
              <a:chOff x="11521324" y="3611214"/>
              <a:chExt cx="82971" cy="82971"/>
            </a:xfrm>
          </p:grpSpPr>
          <p:cxnSp>
            <p:nvCxnSpPr>
              <p:cNvPr id="2326" name="Straight Connector 2325">
                <a:extLst>
                  <a:ext uri="{FF2B5EF4-FFF2-40B4-BE49-F238E27FC236}">
                    <a16:creationId xmlns:a16="http://schemas.microsoft.com/office/drawing/2014/main" id="{64F44212-DB3D-5463-D1B6-B1D8347DCC5A}"/>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27" name="Straight Connector 2326">
                <a:extLst>
                  <a:ext uri="{FF2B5EF4-FFF2-40B4-BE49-F238E27FC236}">
                    <a16:creationId xmlns:a16="http://schemas.microsoft.com/office/drawing/2014/main" id="{0B4DF68C-FB1A-059D-8D85-0CAFFA04376F}"/>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328" name="Group 2327">
              <a:extLst>
                <a:ext uri="{FF2B5EF4-FFF2-40B4-BE49-F238E27FC236}">
                  <a16:creationId xmlns:a16="http://schemas.microsoft.com/office/drawing/2014/main" id="{6966F7E1-899E-3EE4-7120-BECAE3B5ABC5}"/>
                </a:ext>
              </a:extLst>
            </p:cNvPr>
            <p:cNvGrpSpPr/>
            <p:nvPr/>
          </p:nvGrpSpPr>
          <p:grpSpPr>
            <a:xfrm>
              <a:off x="11141193" y="3412331"/>
              <a:ext cx="84024" cy="84024"/>
              <a:chOff x="11521324" y="3611214"/>
              <a:chExt cx="82971" cy="82971"/>
            </a:xfrm>
          </p:grpSpPr>
          <p:cxnSp>
            <p:nvCxnSpPr>
              <p:cNvPr id="2329" name="Straight Connector 2328">
                <a:extLst>
                  <a:ext uri="{FF2B5EF4-FFF2-40B4-BE49-F238E27FC236}">
                    <a16:creationId xmlns:a16="http://schemas.microsoft.com/office/drawing/2014/main" id="{0818E5F5-C178-DB74-1586-A40E4FA83D9F}"/>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30" name="Straight Connector 2329">
                <a:extLst>
                  <a:ext uri="{FF2B5EF4-FFF2-40B4-BE49-F238E27FC236}">
                    <a16:creationId xmlns:a16="http://schemas.microsoft.com/office/drawing/2014/main" id="{390535A9-4ADB-CE82-EE86-C60E78B26B41}"/>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331" name="Group 2330">
              <a:extLst>
                <a:ext uri="{FF2B5EF4-FFF2-40B4-BE49-F238E27FC236}">
                  <a16:creationId xmlns:a16="http://schemas.microsoft.com/office/drawing/2014/main" id="{C79223C2-7F3C-5819-BDCC-452900B10355}"/>
                </a:ext>
              </a:extLst>
            </p:cNvPr>
            <p:cNvGrpSpPr/>
            <p:nvPr/>
          </p:nvGrpSpPr>
          <p:grpSpPr>
            <a:xfrm>
              <a:off x="11069755" y="3412331"/>
              <a:ext cx="84024" cy="84024"/>
              <a:chOff x="11521324" y="3611214"/>
              <a:chExt cx="82971" cy="82971"/>
            </a:xfrm>
          </p:grpSpPr>
          <p:cxnSp>
            <p:nvCxnSpPr>
              <p:cNvPr id="2332" name="Straight Connector 2331">
                <a:extLst>
                  <a:ext uri="{FF2B5EF4-FFF2-40B4-BE49-F238E27FC236}">
                    <a16:creationId xmlns:a16="http://schemas.microsoft.com/office/drawing/2014/main" id="{AE0919EB-A7CA-4699-D409-0D424019EB59}"/>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33" name="Straight Connector 2332">
                <a:extLst>
                  <a:ext uri="{FF2B5EF4-FFF2-40B4-BE49-F238E27FC236}">
                    <a16:creationId xmlns:a16="http://schemas.microsoft.com/office/drawing/2014/main" id="{A0C94541-76E2-423D-1338-17955C426A7E}"/>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334" name="Group 2333">
              <a:extLst>
                <a:ext uri="{FF2B5EF4-FFF2-40B4-BE49-F238E27FC236}">
                  <a16:creationId xmlns:a16="http://schemas.microsoft.com/office/drawing/2014/main" id="{9F45AF09-0FF0-ED8A-5DAC-12B314BEFF1C}"/>
                </a:ext>
              </a:extLst>
            </p:cNvPr>
            <p:cNvGrpSpPr/>
            <p:nvPr/>
          </p:nvGrpSpPr>
          <p:grpSpPr>
            <a:xfrm>
              <a:off x="11041180" y="3412331"/>
              <a:ext cx="84024" cy="84024"/>
              <a:chOff x="11521324" y="3611214"/>
              <a:chExt cx="82971" cy="82971"/>
            </a:xfrm>
          </p:grpSpPr>
          <p:cxnSp>
            <p:nvCxnSpPr>
              <p:cNvPr id="2335" name="Straight Connector 2334">
                <a:extLst>
                  <a:ext uri="{FF2B5EF4-FFF2-40B4-BE49-F238E27FC236}">
                    <a16:creationId xmlns:a16="http://schemas.microsoft.com/office/drawing/2014/main" id="{695ADACA-B676-9F06-E049-44467643946A}"/>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36" name="Straight Connector 2335">
                <a:extLst>
                  <a:ext uri="{FF2B5EF4-FFF2-40B4-BE49-F238E27FC236}">
                    <a16:creationId xmlns:a16="http://schemas.microsoft.com/office/drawing/2014/main" id="{E32E7EE1-8B40-8779-393E-231F161EEE1C}"/>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337" name="Group 2336">
              <a:extLst>
                <a:ext uri="{FF2B5EF4-FFF2-40B4-BE49-F238E27FC236}">
                  <a16:creationId xmlns:a16="http://schemas.microsoft.com/office/drawing/2014/main" id="{9E5B7A36-91DF-A851-6ED4-D8242921F65F}"/>
                </a:ext>
              </a:extLst>
            </p:cNvPr>
            <p:cNvGrpSpPr/>
            <p:nvPr/>
          </p:nvGrpSpPr>
          <p:grpSpPr>
            <a:xfrm>
              <a:off x="10995936" y="3412331"/>
              <a:ext cx="84024" cy="84024"/>
              <a:chOff x="11521324" y="3611214"/>
              <a:chExt cx="82971" cy="82971"/>
            </a:xfrm>
          </p:grpSpPr>
          <p:cxnSp>
            <p:nvCxnSpPr>
              <p:cNvPr id="2338" name="Straight Connector 2337">
                <a:extLst>
                  <a:ext uri="{FF2B5EF4-FFF2-40B4-BE49-F238E27FC236}">
                    <a16:creationId xmlns:a16="http://schemas.microsoft.com/office/drawing/2014/main" id="{1483352C-74C4-BACA-F090-4567202CE922}"/>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39" name="Straight Connector 2338">
                <a:extLst>
                  <a:ext uri="{FF2B5EF4-FFF2-40B4-BE49-F238E27FC236}">
                    <a16:creationId xmlns:a16="http://schemas.microsoft.com/office/drawing/2014/main" id="{D333BD7F-199B-2A92-707E-0A2E1AEE9BAA}"/>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340" name="Group 2339">
              <a:extLst>
                <a:ext uri="{FF2B5EF4-FFF2-40B4-BE49-F238E27FC236}">
                  <a16:creationId xmlns:a16="http://schemas.microsoft.com/office/drawing/2014/main" id="{D6E36677-CDC3-931F-5AFE-7821077BA286}"/>
                </a:ext>
              </a:extLst>
            </p:cNvPr>
            <p:cNvGrpSpPr/>
            <p:nvPr/>
          </p:nvGrpSpPr>
          <p:grpSpPr>
            <a:xfrm>
              <a:off x="11003080" y="3412331"/>
              <a:ext cx="84024" cy="84024"/>
              <a:chOff x="11521324" y="3611214"/>
              <a:chExt cx="82971" cy="82971"/>
            </a:xfrm>
          </p:grpSpPr>
          <p:cxnSp>
            <p:nvCxnSpPr>
              <p:cNvPr id="2341" name="Straight Connector 2340">
                <a:extLst>
                  <a:ext uri="{FF2B5EF4-FFF2-40B4-BE49-F238E27FC236}">
                    <a16:creationId xmlns:a16="http://schemas.microsoft.com/office/drawing/2014/main" id="{1C2D870D-3335-5D9C-687A-1C2F9D3F703A}"/>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42" name="Straight Connector 2341">
                <a:extLst>
                  <a:ext uri="{FF2B5EF4-FFF2-40B4-BE49-F238E27FC236}">
                    <a16:creationId xmlns:a16="http://schemas.microsoft.com/office/drawing/2014/main" id="{D77FA156-935C-60F5-D1BE-EE53715A8E2F}"/>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343" name="Group 2342">
              <a:extLst>
                <a:ext uri="{FF2B5EF4-FFF2-40B4-BE49-F238E27FC236}">
                  <a16:creationId xmlns:a16="http://schemas.microsoft.com/office/drawing/2014/main" id="{FCF7EC7E-528E-9C94-87B5-36A99DCCE7E8}"/>
                </a:ext>
              </a:extLst>
            </p:cNvPr>
            <p:cNvGrpSpPr/>
            <p:nvPr/>
          </p:nvGrpSpPr>
          <p:grpSpPr>
            <a:xfrm>
              <a:off x="10957836" y="3412331"/>
              <a:ext cx="84024" cy="84024"/>
              <a:chOff x="11521324" y="3611214"/>
              <a:chExt cx="82971" cy="82971"/>
            </a:xfrm>
          </p:grpSpPr>
          <p:cxnSp>
            <p:nvCxnSpPr>
              <p:cNvPr id="2344" name="Straight Connector 2343">
                <a:extLst>
                  <a:ext uri="{FF2B5EF4-FFF2-40B4-BE49-F238E27FC236}">
                    <a16:creationId xmlns:a16="http://schemas.microsoft.com/office/drawing/2014/main" id="{F0DBC909-F942-023D-EAF7-75A36E8E3025}"/>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45" name="Straight Connector 2344">
                <a:extLst>
                  <a:ext uri="{FF2B5EF4-FFF2-40B4-BE49-F238E27FC236}">
                    <a16:creationId xmlns:a16="http://schemas.microsoft.com/office/drawing/2014/main" id="{7AD71207-69C1-2AD0-0F92-46D1571F49EC}"/>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346" name="Group 2345">
              <a:extLst>
                <a:ext uri="{FF2B5EF4-FFF2-40B4-BE49-F238E27FC236}">
                  <a16:creationId xmlns:a16="http://schemas.microsoft.com/office/drawing/2014/main" id="{9319A4A7-40BE-0131-212C-4D867586F032}"/>
                </a:ext>
              </a:extLst>
            </p:cNvPr>
            <p:cNvGrpSpPr/>
            <p:nvPr/>
          </p:nvGrpSpPr>
          <p:grpSpPr>
            <a:xfrm>
              <a:off x="10903068" y="3412331"/>
              <a:ext cx="84024" cy="84024"/>
              <a:chOff x="11521324" y="3611214"/>
              <a:chExt cx="82971" cy="82971"/>
            </a:xfrm>
          </p:grpSpPr>
          <p:cxnSp>
            <p:nvCxnSpPr>
              <p:cNvPr id="2347" name="Straight Connector 2346">
                <a:extLst>
                  <a:ext uri="{FF2B5EF4-FFF2-40B4-BE49-F238E27FC236}">
                    <a16:creationId xmlns:a16="http://schemas.microsoft.com/office/drawing/2014/main" id="{0B0B2D2C-4639-5A2F-7936-B3DC7D913F53}"/>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48" name="Straight Connector 2347">
                <a:extLst>
                  <a:ext uri="{FF2B5EF4-FFF2-40B4-BE49-F238E27FC236}">
                    <a16:creationId xmlns:a16="http://schemas.microsoft.com/office/drawing/2014/main" id="{AF9F9132-4D08-D588-76DE-32277BEC33E6}"/>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349" name="Group 2348">
              <a:extLst>
                <a:ext uri="{FF2B5EF4-FFF2-40B4-BE49-F238E27FC236}">
                  <a16:creationId xmlns:a16="http://schemas.microsoft.com/office/drawing/2014/main" id="{A30175C5-0BF5-2670-D201-6905A31B23A8}"/>
                </a:ext>
              </a:extLst>
            </p:cNvPr>
            <p:cNvGrpSpPr/>
            <p:nvPr/>
          </p:nvGrpSpPr>
          <p:grpSpPr>
            <a:xfrm>
              <a:off x="10829249" y="3375234"/>
              <a:ext cx="84024" cy="84024"/>
              <a:chOff x="11521324" y="3611214"/>
              <a:chExt cx="82971" cy="82971"/>
            </a:xfrm>
          </p:grpSpPr>
          <p:cxnSp>
            <p:nvCxnSpPr>
              <p:cNvPr id="2350" name="Straight Connector 2349">
                <a:extLst>
                  <a:ext uri="{FF2B5EF4-FFF2-40B4-BE49-F238E27FC236}">
                    <a16:creationId xmlns:a16="http://schemas.microsoft.com/office/drawing/2014/main" id="{DF9C7B9E-C2F8-C3FF-C1C5-EE14FC611858}"/>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51" name="Straight Connector 2350">
                <a:extLst>
                  <a:ext uri="{FF2B5EF4-FFF2-40B4-BE49-F238E27FC236}">
                    <a16:creationId xmlns:a16="http://schemas.microsoft.com/office/drawing/2014/main" id="{D62775F4-B2DA-E9CF-D648-6BFDFF103946}"/>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352" name="Group 2351">
              <a:extLst>
                <a:ext uri="{FF2B5EF4-FFF2-40B4-BE49-F238E27FC236}">
                  <a16:creationId xmlns:a16="http://schemas.microsoft.com/office/drawing/2014/main" id="{413A261A-DA44-561F-6616-1E57907E60E6}"/>
                </a:ext>
              </a:extLst>
            </p:cNvPr>
            <p:cNvGrpSpPr/>
            <p:nvPr/>
          </p:nvGrpSpPr>
          <p:grpSpPr>
            <a:xfrm>
              <a:off x="10810199" y="3340660"/>
              <a:ext cx="84024" cy="84024"/>
              <a:chOff x="11521324" y="3611214"/>
              <a:chExt cx="82971" cy="82971"/>
            </a:xfrm>
          </p:grpSpPr>
          <p:cxnSp>
            <p:nvCxnSpPr>
              <p:cNvPr id="2353" name="Straight Connector 2352">
                <a:extLst>
                  <a:ext uri="{FF2B5EF4-FFF2-40B4-BE49-F238E27FC236}">
                    <a16:creationId xmlns:a16="http://schemas.microsoft.com/office/drawing/2014/main" id="{9EBBE8D9-F3AF-976B-F94D-B1D36DC0AEC4}"/>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54" name="Straight Connector 2353">
                <a:extLst>
                  <a:ext uri="{FF2B5EF4-FFF2-40B4-BE49-F238E27FC236}">
                    <a16:creationId xmlns:a16="http://schemas.microsoft.com/office/drawing/2014/main" id="{39654217-E8B1-CED6-3299-3D16312C0526}"/>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355" name="Group 2354">
              <a:extLst>
                <a:ext uri="{FF2B5EF4-FFF2-40B4-BE49-F238E27FC236}">
                  <a16:creationId xmlns:a16="http://schemas.microsoft.com/office/drawing/2014/main" id="{8D80C4F2-E977-CCC5-2B52-D287E08519BD}"/>
                </a:ext>
              </a:extLst>
            </p:cNvPr>
            <p:cNvGrpSpPr/>
            <p:nvPr/>
          </p:nvGrpSpPr>
          <p:grpSpPr>
            <a:xfrm>
              <a:off x="10786387" y="3340660"/>
              <a:ext cx="84024" cy="84024"/>
              <a:chOff x="11521324" y="3611214"/>
              <a:chExt cx="82971" cy="82971"/>
            </a:xfrm>
          </p:grpSpPr>
          <p:cxnSp>
            <p:nvCxnSpPr>
              <p:cNvPr id="2356" name="Straight Connector 2355">
                <a:extLst>
                  <a:ext uri="{FF2B5EF4-FFF2-40B4-BE49-F238E27FC236}">
                    <a16:creationId xmlns:a16="http://schemas.microsoft.com/office/drawing/2014/main" id="{4EFB867B-6655-CFDE-3CBA-DF50EC0E6096}"/>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57" name="Straight Connector 2356">
                <a:extLst>
                  <a:ext uri="{FF2B5EF4-FFF2-40B4-BE49-F238E27FC236}">
                    <a16:creationId xmlns:a16="http://schemas.microsoft.com/office/drawing/2014/main" id="{308A41B3-7C74-E8E2-3A1A-866B5A81B196}"/>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358" name="Group 2357">
              <a:extLst>
                <a:ext uri="{FF2B5EF4-FFF2-40B4-BE49-F238E27FC236}">
                  <a16:creationId xmlns:a16="http://schemas.microsoft.com/office/drawing/2014/main" id="{FDF2D906-E3F9-DD7F-68A6-FFAD29149051}"/>
                </a:ext>
              </a:extLst>
            </p:cNvPr>
            <p:cNvGrpSpPr/>
            <p:nvPr/>
          </p:nvGrpSpPr>
          <p:grpSpPr>
            <a:xfrm>
              <a:off x="10767337" y="3340660"/>
              <a:ext cx="84024" cy="84024"/>
              <a:chOff x="11521324" y="3611214"/>
              <a:chExt cx="82971" cy="82971"/>
            </a:xfrm>
          </p:grpSpPr>
          <p:cxnSp>
            <p:nvCxnSpPr>
              <p:cNvPr id="2359" name="Straight Connector 2358">
                <a:extLst>
                  <a:ext uri="{FF2B5EF4-FFF2-40B4-BE49-F238E27FC236}">
                    <a16:creationId xmlns:a16="http://schemas.microsoft.com/office/drawing/2014/main" id="{C08BBABD-1673-1DA8-E98F-E854FBB77392}"/>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60" name="Straight Connector 2359">
                <a:extLst>
                  <a:ext uri="{FF2B5EF4-FFF2-40B4-BE49-F238E27FC236}">
                    <a16:creationId xmlns:a16="http://schemas.microsoft.com/office/drawing/2014/main" id="{AA95CB91-D282-7D5C-708A-66042A005FC8}"/>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361" name="Group 2360">
              <a:extLst>
                <a:ext uri="{FF2B5EF4-FFF2-40B4-BE49-F238E27FC236}">
                  <a16:creationId xmlns:a16="http://schemas.microsoft.com/office/drawing/2014/main" id="{626FA025-5994-1E04-00CD-8E1824A20E6E}"/>
                </a:ext>
              </a:extLst>
            </p:cNvPr>
            <p:cNvGrpSpPr/>
            <p:nvPr/>
          </p:nvGrpSpPr>
          <p:grpSpPr>
            <a:xfrm>
              <a:off x="10733999" y="3311884"/>
              <a:ext cx="84024" cy="84024"/>
              <a:chOff x="11521324" y="3611214"/>
              <a:chExt cx="82971" cy="82971"/>
            </a:xfrm>
          </p:grpSpPr>
          <p:cxnSp>
            <p:nvCxnSpPr>
              <p:cNvPr id="2362" name="Straight Connector 2361">
                <a:extLst>
                  <a:ext uri="{FF2B5EF4-FFF2-40B4-BE49-F238E27FC236}">
                    <a16:creationId xmlns:a16="http://schemas.microsoft.com/office/drawing/2014/main" id="{73F00E36-E853-049F-E942-1AA4BAB7BDA2}"/>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63" name="Straight Connector 2362">
                <a:extLst>
                  <a:ext uri="{FF2B5EF4-FFF2-40B4-BE49-F238E27FC236}">
                    <a16:creationId xmlns:a16="http://schemas.microsoft.com/office/drawing/2014/main" id="{F8CE08D8-EB97-0536-2AB8-28A91EDC3D3E}"/>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364" name="Group 2363">
              <a:extLst>
                <a:ext uri="{FF2B5EF4-FFF2-40B4-BE49-F238E27FC236}">
                  <a16:creationId xmlns:a16="http://schemas.microsoft.com/office/drawing/2014/main" id="{7ADE2172-0508-0DBB-5974-913FA090DE58}"/>
                </a:ext>
              </a:extLst>
            </p:cNvPr>
            <p:cNvGrpSpPr/>
            <p:nvPr/>
          </p:nvGrpSpPr>
          <p:grpSpPr>
            <a:xfrm>
              <a:off x="10700662" y="3309503"/>
              <a:ext cx="84024" cy="84024"/>
              <a:chOff x="11521324" y="3611214"/>
              <a:chExt cx="82971" cy="82971"/>
            </a:xfrm>
          </p:grpSpPr>
          <p:cxnSp>
            <p:nvCxnSpPr>
              <p:cNvPr id="2365" name="Straight Connector 2364">
                <a:extLst>
                  <a:ext uri="{FF2B5EF4-FFF2-40B4-BE49-F238E27FC236}">
                    <a16:creationId xmlns:a16="http://schemas.microsoft.com/office/drawing/2014/main" id="{ED725B0B-998B-4D42-45F9-5172B9ED7C50}"/>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66" name="Straight Connector 2365">
                <a:extLst>
                  <a:ext uri="{FF2B5EF4-FFF2-40B4-BE49-F238E27FC236}">
                    <a16:creationId xmlns:a16="http://schemas.microsoft.com/office/drawing/2014/main" id="{3373FD23-FB6C-6CED-8E94-80AE5E3FCE08}"/>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367" name="Group 2366">
              <a:extLst>
                <a:ext uri="{FF2B5EF4-FFF2-40B4-BE49-F238E27FC236}">
                  <a16:creationId xmlns:a16="http://schemas.microsoft.com/office/drawing/2014/main" id="{98CE6992-0610-6219-5D67-477667C8A6E0}"/>
                </a:ext>
              </a:extLst>
            </p:cNvPr>
            <p:cNvGrpSpPr/>
            <p:nvPr/>
          </p:nvGrpSpPr>
          <p:grpSpPr>
            <a:xfrm>
              <a:off x="10664943" y="3319027"/>
              <a:ext cx="84024" cy="84024"/>
              <a:chOff x="11521324" y="3611214"/>
              <a:chExt cx="82971" cy="82971"/>
            </a:xfrm>
          </p:grpSpPr>
          <p:cxnSp>
            <p:nvCxnSpPr>
              <p:cNvPr id="2368" name="Straight Connector 2367">
                <a:extLst>
                  <a:ext uri="{FF2B5EF4-FFF2-40B4-BE49-F238E27FC236}">
                    <a16:creationId xmlns:a16="http://schemas.microsoft.com/office/drawing/2014/main" id="{A7F0B2FF-8DB3-A991-9D10-D3CE4443A990}"/>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69" name="Straight Connector 2368">
                <a:extLst>
                  <a:ext uri="{FF2B5EF4-FFF2-40B4-BE49-F238E27FC236}">
                    <a16:creationId xmlns:a16="http://schemas.microsoft.com/office/drawing/2014/main" id="{E0C1382B-45AD-F26B-9C69-7BA7996E4AA6}"/>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370" name="Group 2369">
              <a:extLst>
                <a:ext uri="{FF2B5EF4-FFF2-40B4-BE49-F238E27FC236}">
                  <a16:creationId xmlns:a16="http://schemas.microsoft.com/office/drawing/2014/main" id="{43841A61-B68F-CF95-17F2-487DD536FE71}"/>
                </a:ext>
              </a:extLst>
            </p:cNvPr>
            <p:cNvGrpSpPr/>
            <p:nvPr/>
          </p:nvGrpSpPr>
          <p:grpSpPr>
            <a:xfrm>
              <a:off x="10598267" y="3290686"/>
              <a:ext cx="84024" cy="84024"/>
              <a:chOff x="11521324" y="3611214"/>
              <a:chExt cx="82971" cy="82971"/>
            </a:xfrm>
          </p:grpSpPr>
          <p:cxnSp>
            <p:nvCxnSpPr>
              <p:cNvPr id="2371" name="Straight Connector 2370">
                <a:extLst>
                  <a:ext uri="{FF2B5EF4-FFF2-40B4-BE49-F238E27FC236}">
                    <a16:creationId xmlns:a16="http://schemas.microsoft.com/office/drawing/2014/main" id="{DC9482E0-F0D9-DD6F-91DF-659C6357FBE4}"/>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72" name="Straight Connector 2371">
                <a:extLst>
                  <a:ext uri="{FF2B5EF4-FFF2-40B4-BE49-F238E27FC236}">
                    <a16:creationId xmlns:a16="http://schemas.microsoft.com/office/drawing/2014/main" id="{E225151C-FAF0-1D12-D4F6-179B7DAD03AE}"/>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373" name="Group 2372">
              <a:extLst>
                <a:ext uri="{FF2B5EF4-FFF2-40B4-BE49-F238E27FC236}">
                  <a16:creationId xmlns:a16="http://schemas.microsoft.com/office/drawing/2014/main" id="{FD2A7E7D-A749-26CA-589E-B4B4EAD495EB}"/>
                </a:ext>
              </a:extLst>
            </p:cNvPr>
            <p:cNvGrpSpPr/>
            <p:nvPr/>
          </p:nvGrpSpPr>
          <p:grpSpPr>
            <a:xfrm>
              <a:off x="10505400" y="3264865"/>
              <a:ext cx="84024" cy="84024"/>
              <a:chOff x="11521324" y="3611214"/>
              <a:chExt cx="82971" cy="82971"/>
            </a:xfrm>
          </p:grpSpPr>
          <p:cxnSp>
            <p:nvCxnSpPr>
              <p:cNvPr id="2374" name="Straight Connector 2373">
                <a:extLst>
                  <a:ext uri="{FF2B5EF4-FFF2-40B4-BE49-F238E27FC236}">
                    <a16:creationId xmlns:a16="http://schemas.microsoft.com/office/drawing/2014/main" id="{7497EE43-1597-32C4-6C7B-038EFB3084E9}"/>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75" name="Straight Connector 2374">
                <a:extLst>
                  <a:ext uri="{FF2B5EF4-FFF2-40B4-BE49-F238E27FC236}">
                    <a16:creationId xmlns:a16="http://schemas.microsoft.com/office/drawing/2014/main" id="{3A75AB0B-E3D7-CB0A-9660-F25562D139FC}"/>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376" name="Group 2375">
              <a:extLst>
                <a:ext uri="{FF2B5EF4-FFF2-40B4-BE49-F238E27FC236}">
                  <a16:creationId xmlns:a16="http://schemas.microsoft.com/office/drawing/2014/main" id="{AEC7B062-6F15-B61A-ADB8-A340157BF813}"/>
                </a:ext>
              </a:extLst>
            </p:cNvPr>
            <p:cNvGrpSpPr/>
            <p:nvPr/>
          </p:nvGrpSpPr>
          <p:grpSpPr>
            <a:xfrm>
              <a:off x="10078224" y="3131806"/>
              <a:ext cx="84024" cy="84024"/>
              <a:chOff x="11521324" y="3611214"/>
              <a:chExt cx="82971" cy="82971"/>
            </a:xfrm>
          </p:grpSpPr>
          <p:cxnSp>
            <p:nvCxnSpPr>
              <p:cNvPr id="2377" name="Straight Connector 2376">
                <a:extLst>
                  <a:ext uri="{FF2B5EF4-FFF2-40B4-BE49-F238E27FC236}">
                    <a16:creationId xmlns:a16="http://schemas.microsoft.com/office/drawing/2014/main" id="{0B1B4FA8-AB3C-CAC6-E357-5230527D6ABE}"/>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78" name="Straight Connector 2377">
                <a:extLst>
                  <a:ext uri="{FF2B5EF4-FFF2-40B4-BE49-F238E27FC236}">
                    <a16:creationId xmlns:a16="http://schemas.microsoft.com/office/drawing/2014/main" id="{AD63695A-3D9D-0DFE-ED01-7CEDACBD09B0}"/>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379" name="Group 2378">
              <a:extLst>
                <a:ext uri="{FF2B5EF4-FFF2-40B4-BE49-F238E27FC236}">
                  <a16:creationId xmlns:a16="http://schemas.microsoft.com/office/drawing/2014/main" id="{DED4E73E-5719-3FE2-CE15-074B47FB1756}"/>
                </a:ext>
              </a:extLst>
            </p:cNvPr>
            <p:cNvGrpSpPr/>
            <p:nvPr/>
          </p:nvGrpSpPr>
          <p:grpSpPr>
            <a:xfrm>
              <a:off x="10273485" y="3182238"/>
              <a:ext cx="84024" cy="84024"/>
              <a:chOff x="11521324" y="3611214"/>
              <a:chExt cx="82971" cy="82971"/>
            </a:xfrm>
          </p:grpSpPr>
          <p:cxnSp>
            <p:nvCxnSpPr>
              <p:cNvPr id="2380" name="Straight Connector 2379">
                <a:extLst>
                  <a:ext uri="{FF2B5EF4-FFF2-40B4-BE49-F238E27FC236}">
                    <a16:creationId xmlns:a16="http://schemas.microsoft.com/office/drawing/2014/main" id="{C54CC433-5334-8A8E-79DC-4C33A1BE6610}"/>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81" name="Straight Connector 2380">
                <a:extLst>
                  <a:ext uri="{FF2B5EF4-FFF2-40B4-BE49-F238E27FC236}">
                    <a16:creationId xmlns:a16="http://schemas.microsoft.com/office/drawing/2014/main" id="{91EA98C8-633B-B175-3B18-E31EFEE61DF1}"/>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382" name="Group 2381">
              <a:extLst>
                <a:ext uri="{FF2B5EF4-FFF2-40B4-BE49-F238E27FC236}">
                  <a16:creationId xmlns:a16="http://schemas.microsoft.com/office/drawing/2014/main" id="{1D65C51C-664C-FDCB-12AB-68C49D8EBE36}"/>
                </a:ext>
              </a:extLst>
            </p:cNvPr>
            <p:cNvGrpSpPr/>
            <p:nvPr/>
          </p:nvGrpSpPr>
          <p:grpSpPr>
            <a:xfrm>
              <a:off x="10283010" y="3182238"/>
              <a:ext cx="84024" cy="84024"/>
              <a:chOff x="11521324" y="3611214"/>
              <a:chExt cx="82971" cy="82971"/>
            </a:xfrm>
          </p:grpSpPr>
          <p:cxnSp>
            <p:nvCxnSpPr>
              <p:cNvPr id="2383" name="Straight Connector 2382">
                <a:extLst>
                  <a:ext uri="{FF2B5EF4-FFF2-40B4-BE49-F238E27FC236}">
                    <a16:creationId xmlns:a16="http://schemas.microsoft.com/office/drawing/2014/main" id="{DA0B4450-B639-6E74-260C-F606DA41919A}"/>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84" name="Straight Connector 2383">
                <a:extLst>
                  <a:ext uri="{FF2B5EF4-FFF2-40B4-BE49-F238E27FC236}">
                    <a16:creationId xmlns:a16="http://schemas.microsoft.com/office/drawing/2014/main" id="{A50B33DC-5D97-EC73-CED9-1DF1B9E66BEB}"/>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385" name="Group 2384">
              <a:extLst>
                <a:ext uri="{FF2B5EF4-FFF2-40B4-BE49-F238E27FC236}">
                  <a16:creationId xmlns:a16="http://schemas.microsoft.com/office/drawing/2014/main" id="{2513A1E0-1D6A-21DF-8F3F-0FE10156A29A}"/>
                </a:ext>
              </a:extLst>
            </p:cNvPr>
            <p:cNvGrpSpPr/>
            <p:nvPr/>
          </p:nvGrpSpPr>
          <p:grpSpPr>
            <a:xfrm>
              <a:off x="9758068" y="3056523"/>
              <a:ext cx="84024" cy="84024"/>
              <a:chOff x="11521324" y="3611214"/>
              <a:chExt cx="82971" cy="82971"/>
            </a:xfrm>
          </p:grpSpPr>
          <p:cxnSp>
            <p:nvCxnSpPr>
              <p:cNvPr id="2386" name="Straight Connector 2385">
                <a:extLst>
                  <a:ext uri="{FF2B5EF4-FFF2-40B4-BE49-F238E27FC236}">
                    <a16:creationId xmlns:a16="http://schemas.microsoft.com/office/drawing/2014/main" id="{97D6BB36-10AD-9FD0-9FD4-8EB77CABFDC3}"/>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87" name="Straight Connector 2386">
                <a:extLst>
                  <a:ext uri="{FF2B5EF4-FFF2-40B4-BE49-F238E27FC236}">
                    <a16:creationId xmlns:a16="http://schemas.microsoft.com/office/drawing/2014/main" id="{42EEFD3B-D96B-2AE9-E42D-B782255DF2DD}"/>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388" name="Group 2387">
              <a:extLst>
                <a:ext uri="{FF2B5EF4-FFF2-40B4-BE49-F238E27FC236}">
                  <a16:creationId xmlns:a16="http://schemas.microsoft.com/office/drawing/2014/main" id="{C6138DE4-1080-D038-99E9-0062BA598177}"/>
                </a:ext>
              </a:extLst>
            </p:cNvPr>
            <p:cNvGrpSpPr/>
            <p:nvPr/>
          </p:nvGrpSpPr>
          <p:grpSpPr>
            <a:xfrm>
              <a:off x="9714308" y="3046999"/>
              <a:ext cx="84024" cy="84024"/>
              <a:chOff x="11521324" y="3611214"/>
              <a:chExt cx="82971" cy="82971"/>
            </a:xfrm>
          </p:grpSpPr>
          <p:cxnSp>
            <p:nvCxnSpPr>
              <p:cNvPr id="2389" name="Straight Connector 2388">
                <a:extLst>
                  <a:ext uri="{FF2B5EF4-FFF2-40B4-BE49-F238E27FC236}">
                    <a16:creationId xmlns:a16="http://schemas.microsoft.com/office/drawing/2014/main" id="{A6BC5C75-22B3-3CAD-AAAD-F0CCF7622423}"/>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90" name="Straight Connector 2389">
                <a:extLst>
                  <a:ext uri="{FF2B5EF4-FFF2-40B4-BE49-F238E27FC236}">
                    <a16:creationId xmlns:a16="http://schemas.microsoft.com/office/drawing/2014/main" id="{63DF80CD-D8D8-F274-77B6-032BF71BCD78}"/>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391" name="Group 2390">
              <a:extLst>
                <a:ext uri="{FF2B5EF4-FFF2-40B4-BE49-F238E27FC236}">
                  <a16:creationId xmlns:a16="http://schemas.microsoft.com/office/drawing/2014/main" id="{376F9979-AD34-5B78-FFAB-2A2DF315B5E9}"/>
                </a:ext>
              </a:extLst>
            </p:cNvPr>
            <p:cNvGrpSpPr/>
            <p:nvPr/>
          </p:nvGrpSpPr>
          <p:grpSpPr>
            <a:xfrm>
              <a:off x="9544130" y="2994372"/>
              <a:ext cx="84024" cy="84024"/>
              <a:chOff x="11521324" y="3611214"/>
              <a:chExt cx="82971" cy="82971"/>
            </a:xfrm>
          </p:grpSpPr>
          <p:cxnSp>
            <p:nvCxnSpPr>
              <p:cNvPr id="2392" name="Straight Connector 2391">
                <a:extLst>
                  <a:ext uri="{FF2B5EF4-FFF2-40B4-BE49-F238E27FC236}">
                    <a16:creationId xmlns:a16="http://schemas.microsoft.com/office/drawing/2014/main" id="{E4AD0803-BCDC-214E-279B-FF3CB3D0D4DC}"/>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93" name="Straight Connector 2392">
                <a:extLst>
                  <a:ext uri="{FF2B5EF4-FFF2-40B4-BE49-F238E27FC236}">
                    <a16:creationId xmlns:a16="http://schemas.microsoft.com/office/drawing/2014/main" id="{5D5B859C-C9DF-094A-46C2-106D2F135578}"/>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394" name="Group 2393">
              <a:extLst>
                <a:ext uri="{FF2B5EF4-FFF2-40B4-BE49-F238E27FC236}">
                  <a16:creationId xmlns:a16="http://schemas.microsoft.com/office/drawing/2014/main" id="{C072EFA3-44A6-74F9-E0B6-6D6CC11E738E}"/>
                </a:ext>
              </a:extLst>
            </p:cNvPr>
            <p:cNvGrpSpPr/>
            <p:nvPr/>
          </p:nvGrpSpPr>
          <p:grpSpPr>
            <a:xfrm>
              <a:off x="9467249" y="2972000"/>
              <a:ext cx="84024" cy="84024"/>
              <a:chOff x="11521324" y="3611214"/>
              <a:chExt cx="82971" cy="82971"/>
            </a:xfrm>
          </p:grpSpPr>
          <p:cxnSp>
            <p:nvCxnSpPr>
              <p:cNvPr id="2395" name="Straight Connector 2394">
                <a:extLst>
                  <a:ext uri="{FF2B5EF4-FFF2-40B4-BE49-F238E27FC236}">
                    <a16:creationId xmlns:a16="http://schemas.microsoft.com/office/drawing/2014/main" id="{F89B22D6-CD8C-44D7-B628-9403A99B95AA}"/>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96" name="Straight Connector 2395">
                <a:extLst>
                  <a:ext uri="{FF2B5EF4-FFF2-40B4-BE49-F238E27FC236}">
                    <a16:creationId xmlns:a16="http://schemas.microsoft.com/office/drawing/2014/main" id="{5B4F97BD-5C22-4EAA-A3B4-D1209733B59B}"/>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397" name="Group 2396">
              <a:extLst>
                <a:ext uri="{FF2B5EF4-FFF2-40B4-BE49-F238E27FC236}">
                  <a16:creationId xmlns:a16="http://schemas.microsoft.com/office/drawing/2014/main" id="{B0C5421F-B156-C78E-8D86-E5D2B24D03D2}"/>
                </a:ext>
              </a:extLst>
            </p:cNvPr>
            <p:cNvGrpSpPr/>
            <p:nvPr/>
          </p:nvGrpSpPr>
          <p:grpSpPr>
            <a:xfrm>
              <a:off x="9169594" y="2780055"/>
              <a:ext cx="84024" cy="84024"/>
              <a:chOff x="11521324" y="3611214"/>
              <a:chExt cx="82971" cy="82971"/>
            </a:xfrm>
          </p:grpSpPr>
          <p:cxnSp>
            <p:nvCxnSpPr>
              <p:cNvPr id="2398" name="Straight Connector 2397">
                <a:extLst>
                  <a:ext uri="{FF2B5EF4-FFF2-40B4-BE49-F238E27FC236}">
                    <a16:creationId xmlns:a16="http://schemas.microsoft.com/office/drawing/2014/main" id="{7F924E65-2951-D690-59B3-2143762250F9}"/>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99" name="Straight Connector 2398">
                <a:extLst>
                  <a:ext uri="{FF2B5EF4-FFF2-40B4-BE49-F238E27FC236}">
                    <a16:creationId xmlns:a16="http://schemas.microsoft.com/office/drawing/2014/main" id="{4F0E778C-99A9-BD21-3D19-EC5E8E22F985}"/>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00" name="Group 2399">
              <a:extLst>
                <a:ext uri="{FF2B5EF4-FFF2-40B4-BE49-F238E27FC236}">
                  <a16:creationId xmlns:a16="http://schemas.microsoft.com/office/drawing/2014/main" id="{A9DC99BA-3B41-CE00-B680-399C5EBB63C2}"/>
                </a:ext>
              </a:extLst>
            </p:cNvPr>
            <p:cNvGrpSpPr/>
            <p:nvPr/>
          </p:nvGrpSpPr>
          <p:grpSpPr>
            <a:xfrm>
              <a:off x="9086250" y="2753400"/>
              <a:ext cx="84024" cy="84024"/>
              <a:chOff x="11521324" y="3611214"/>
              <a:chExt cx="82971" cy="82971"/>
            </a:xfrm>
          </p:grpSpPr>
          <p:cxnSp>
            <p:nvCxnSpPr>
              <p:cNvPr id="2401" name="Straight Connector 2400">
                <a:extLst>
                  <a:ext uri="{FF2B5EF4-FFF2-40B4-BE49-F238E27FC236}">
                    <a16:creationId xmlns:a16="http://schemas.microsoft.com/office/drawing/2014/main" id="{82854DD2-1B9C-7498-30BF-7BE66A5B87C9}"/>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02" name="Straight Connector 2401">
                <a:extLst>
                  <a:ext uri="{FF2B5EF4-FFF2-40B4-BE49-F238E27FC236}">
                    <a16:creationId xmlns:a16="http://schemas.microsoft.com/office/drawing/2014/main" id="{B6D98945-1899-C0E8-C4B9-91769D2168DF}"/>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03" name="Group 2402">
              <a:extLst>
                <a:ext uri="{FF2B5EF4-FFF2-40B4-BE49-F238E27FC236}">
                  <a16:creationId xmlns:a16="http://schemas.microsoft.com/office/drawing/2014/main" id="{C0F3539C-06B1-741F-D2E3-F2AB9ECAC5CD}"/>
                </a:ext>
              </a:extLst>
            </p:cNvPr>
            <p:cNvGrpSpPr/>
            <p:nvPr/>
          </p:nvGrpSpPr>
          <p:grpSpPr>
            <a:xfrm>
              <a:off x="9057675" y="2684848"/>
              <a:ext cx="84024" cy="84024"/>
              <a:chOff x="11521324" y="3611214"/>
              <a:chExt cx="82971" cy="82971"/>
            </a:xfrm>
          </p:grpSpPr>
          <p:cxnSp>
            <p:nvCxnSpPr>
              <p:cNvPr id="2404" name="Straight Connector 2403">
                <a:extLst>
                  <a:ext uri="{FF2B5EF4-FFF2-40B4-BE49-F238E27FC236}">
                    <a16:creationId xmlns:a16="http://schemas.microsoft.com/office/drawing/2014/main" id="{56AE278B-7DB2-D322-4190-201B35FD8703}"/>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05" name="Straight Connector 2404">
                <a:extLst>
                  <a:ext uri="{FF2B5EF4-FFF2-40B4-BE49-F238E27FC236}">
                    <a16:creationId xmlns:a16="http://schemas.microsoft.com/office/drawing/2014/main" id="{80E7B1A4-9AA8-682B-D7D3-B6317E2DB09A}"/>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06" name="Group 2405">
              <a:extLst>
                <a:ext uri="{FF2B5EF4-FFF2-40B4-BE49-F238E27FC236}">
                  <a16:creationId xmlns:a16="http://schemas.microsoft.com/office/drawing/2014/main" id="{A1E9663A-605A-2E62-AA70-B3628293821C}"/>
                </a:ext>
              </a:extLst>
            </p:cNvPr>
            <p:cNvGrpSpPr/>
            <p:nvPr/>
          </p:nvGrpSpPr>
          <p:grpSpPr>
            <a:xfrm>
              <a:off x="9029100" y="2648028"/>
              <a:ext cx="84024" cy="84024"/>
              <a:chOff x="11521324" y="3611214"/>
              <a:chExt cx="82971" cy="82971"/>
            </a:xfrm>
          </p:grpSpPr>
          <p:cxnSp>
            <p:nvCxnSpPr>
              <p:cNvPr id="2407" name="Straight Connector 2406">
                <a:extLst>
                  <a:ext uri="{FF2B5EF4-FFF2-40B4-BE49-F238E27FC236}">
                    <a16:creationId xmlns:a16="http://schemas.microsoft.com/office/drawing/2014/main" id="{DB90D529-18F8-331C-D819-A29CBB4BD365}"/>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08" name="Straight Connector 2407">
                <a:extLst>
                  <a:ext uri="{FF2B5EF4-FFF2-40B4-BE49-F238E27FC236}">
                    <a16:creationId xmlns:a16="http://schemas.microsoft.com/office/drawing/2014/main" id="{C4F94E5F-579C-013E-CF9C-F3CD41CFF2BD}"/>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09" name="Group 2408">
              <a:extLst>
                <a:ext uri="{FF2B5EF4-FFF2-40B4-BE49-F238E27FC236}">
                  <a16:creationId xmlns:a16="http://schemas.microsoft.com/office/drawing/2014/main" id="{6A9D0A28-C8FE-8158-9683-B12CB67D82F0}"/>
                </a:ext>
              </a:extLst>
            </p:cNvPr>
            <p:cNvGrpSpPr/>
            <p:nvPr/>
          </p:nvGrpSpPr>
          <p:grpSpPr>
            <a:xfrm>
              <a:off x="8907679" y="2606596"/>
              <a:ext cx="84024" cy="84024"/>
              <a:chOff x="11521324" y="3611214"/>
              <a:chExt cx="82971" cy="82971"/>
            </a:xfrm>
          </p:grpSpPr>
          <p:cxnSp>
            <p:nvCxnSpPr>
              <p:cNvPr id="2410" name="Straight Connector 2409">
                <a:extLst>
                  <a:ext uri="{FF2B5EF4-FFF2-40B4-BE49-F238E27FC236}">
                    <a16:creationId xmlns:a16="http://schemas.microsoft.com/office/drawing/2014/main" id="{F25FE0E7-5E89-41FB-4DB4-E3685C37F7B0}"/>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11" name="Straight Connector 2410">
                <a:extLst>
                  <a:ext uri="{FF2B5EF4-FFF2-40B4-BE49-F238E27FC236}">
                    <a16:creationId xmlns:a16="http://schemas.microsoft.com/office/drawing/2014/main" id="{E43EAF17-D315-B679-22D3-D269AC1A9EA4}"/>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12" name="Group 2411">
              <a:extLst>
                <a:ext uri="{FF2B5EF4-FFF2-40B4-BE49-F238E27FC236}">
                  <a16:creationId xmlns:a16="http://schemas.microsoft.com/office/drawing/2014/main" id="{E31673D1-4C81-3A6A-50C8-B7CD7FCA85BB}"/>
                </a:ext>
              </a:extLst>
            </p:cNvPr>
            <p:cNvGrpSpPr/>
            <p:nvPr/>
          </p:nvGrpSpPr>
          <p:grpSpPr>
            <a:xfrm>
              <a:off x="8879922" y="2601330"/>
              <a:ext cx="84024" cy="84024"/>
              <a:chOff x="11521324" y="3611214"/>
              <a:chExt cx="82971" cy="82971"/>
            </a:xfrm>
          </p:grpSpPr>
          <p:cxnSp>
            <p:nvCxnSpPr>
              <p:cNvPr id="2413" name="Straight Connector 2412">
                <a:extLst>
                  <a:ext uri="{FF2B5EF4-FFF2-40B4-BE49-F238E27FC236}">
                    <a16:creationId xmlns:a16="http://schemas.microsoft.com/office/drawing/2014/main" id="{F2D22E72-261F-4600-3078-877C0D7E4D38}"/>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14" name="Straight Connector 2413">
                <a:extLst>
                  <a:ext uri="{FF2B5EF4-FFF2-40B4-BE49-F238E27FC236}">
                    <a16:creationId xmlns:a16="http://schemas.microsoft.com/office/drawing/2014/main" id="{2F5F9F45-0C3B-8D49-AE64-2E3ABF1FB709}"/>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15" name="Group 2414">
              <a:extLst>
                <a:ext uri="{FF2B5EF4-FFF2-40B4-BE49-F238E27FC236}">
                  <a16:creationId xmlns:a16="http://schemas.microsoft.com/office/drawing/2014/main" id="{E91C44AD-13CE-1352-145C-6389D962AAD8}"/>
                </a:ext>
              </a:extLst>
            </p:cNvPr>
            <p:cNvGrpSpPr/>
            <p:nvPr/>
          </p:nvGrpSpPr>
          <p:grpSpPr>
            <a:xfrm>
              <a:off x="8828417" y="2534364"/>
              <a:ext cx="84024" cy="84024"/>
              <a:chOff x="11521324" y="3611214"/>
              <a:chExt cx="82971" cy="82971"/>
            </a:xfrm>
          </p:grpSpPr>
          <p:cxnSp>
            <p:nvCxnSpPr>
              <p:cNvPr id="2416" name="Straight Connector 2415">
                <a:extLst>
                  <a:ext uri="{FF2B5EF4-FFF2-40B4-BE49-F238E27FC236}">
                    <a16:creationId xmlns:a16="http://schemas.microsoft.com/office/drawing/2014/main" id="{B5B5C89C-60E7-9872-B961-261F5D990365}"/>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17" name="Straight Connector 2416">
                <a:extLst>
                  <a:ext uri="{FF2B5EF4-FFF2-40B4-BE49-F238E27FC236}">
                    <a16:creationId xmlns:a16="http://schemas.microsoft.com/office/drawing/2014/main" id="{90D3489F-F0E2-A351-CECC-5B5CE1A86BBE}"/>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18" name="Group 2417">
              <a:extLst>
                <a:ext uri="{FF2B5EF4-FFF2-40B4-BE49-F238E27FC236}">
                  <a16:creationId xmlns:a16="http://schemas.microsoft.com/office/drawing/2014/main" id="{8EE90641-28C1-5950-2A3E-203B865E5EC7}"/>
                </a:ext>
              </a:extLst>
            </p:cNvPr>
            <p:cNvGrpSpPr/>
            <p:nvPr/>
          </p:nvGrpSpPr>
          <p:grpSpPr>
            <a:xfrm>
              <a:off x="8821274" y="2515289"/>
              <a:ext cx="84024" cy="84024"/>
              <a:chOff x="11521324" y="3611214"/>
              <a:chExt cx="82971" cy="82971"/>
            </a:xfrm>
          </p:grpSpPr>
          <p:cxnSp>
            <p:nvCxnSpPr>
              <p:cNvPr id="2419" name="Straight Connector 2418">
                <a:extLst>
                  <a:ext uri="{FF2B5EF4-FFF2-40B4-BE49-F238E27FC236}">
                    <a16:creationId xmlns:a16="http://schemas.microsoft.com/office/drawing/2014/main" id="{CEA8E936-24EC-66C1-C868-37468D36D5E4}"/>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20" name="Straight Connector 2419">
                <a:extLst>
                  <a:ext uri="{FF2B5EF4-FFF2-40B4-BE49-F238E27FC236}">
                    <a16:creationId xmlns:a16="http://schemas.microsoft.com/office/drawing/2014/main" id="{D33C08CB-0C3F-B357-AB32-57AB31ACB669}"/>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21" name="Group 2420">
              <a:extLst>
                <a:ext uri="{FF2B5EF4-FFF2-40B4-BE49-F238E27FC236}">
                  <a16:creationId xmlns:a16="http://schemas.microsoft.com/office/drawing/2014/main" id="{6A2658F7-76B6-2107-F194-4E9848D9C531}"/>
                </a:ext>
              </a:extLst>
            </p:cNvPr>
            <p:cNvGrpSpPr/>
            <p:nvPr/>
          </p:nvGrpSpPr>
          <p:grpSpPr>
            <a:xfrm>
              <a:off x="8710221" y="2376345"/>
              <a:ext cx="84024" cy="84024"/>
              <a:chOff x="11521324" y="3611214"/>
              <a:chExt cx="82971" cy="82971"/>
            </a:xfrm>
          </p:grpSpPr>
          <p:cxnSp>
            <p:nvCxnSpPr>
              <p:cNvPr id="2422" name="Straight Connector 2421">
                <a:extLst>
                  <a:ext uri="{FF2B5EF4-FFF2-40B4-BE49-F238E27FC236}">
                    <a16:creationId xmlns:a16="http://schemas.microsoft.com/office/drawing/2014/main" id="{CF60C4FD-CFA1-1193-CB15-3C22C2F39AED}"/>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23" name="Straight Connector 2422">
                <a:extLst>
                  <a:ext uri="{FF2B5EF4-FFF2-40B4-BE49-F238E27FC236}">
                    <a16:creationId xmlns:a16="http://schemas.microsoft.com/office/drawing/2014/main" id="{2D9B11FA-F64F-F616-FBD3-66944DC5C81A}"/>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24" name="Group 2423">
              <a:extLst>
                <a:ext uri="{FF2B5EF4-FFF2-40B4-BE49-F238E27FC236}">
                  <a16:creationId xmlns:a16="http://schemas.microsoft.com/office/drawing/2014/main" id="{B8A8EDF4-5B98-3ACD-FCA9-1F45F530BB00}"/>
                </a:ext>
              </a:extLst>
            </p:cNvPr>
            <p:cNvGrpSpPr/>
            <p:nvPr/>
          </p:nvGrpSpPr>
          <p:grpSpPr>
            <a:xfrm>
              <a:off x="8757846" y="2424587"/>
              <a:ext cx="84024" cy="84024"/>
              <a:chOff x="11521324" y="3611214"/>
              <a:chExt cx="82971" cy="82971"/>
            </a:xfrm>
          </p:grpSpPr>
          <p:cxnSp>
            <p:nvCxnSpPr>
              <p:cNvPr id="2425" name="Straight Connector 2424">
                <a:extLst>
                  <a:ext uri="{FF2B5EF4-FFF2-40B4-BE49-F238E27FC236}">
                    <a16:creationId xmlns:a16="http://schemas.microsoft.com/office/drawing/2014/main" id="{7A9051D2-0664-20BC-3408-D3D8244514CE}"/>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26" name="Straight Connector 2425">
                <a:extLst>
                  <a:ext uri="{FF2B5EF4-FFF2-40B4-BE49-F238E27FC236}">
                    <a16:creationId xmlns:a16="http://schemas.microsoft.com/office/drawing/2014/main" id="{159A2E70-E447-779D-DACB-0846EFF202BF}"/>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27" name="Group 2426">
              <a:extLst>
                <a:ext uri="{FF2B5EF4-FFF2-40B4-BE49-F238E27FC236}">
                  <a16:creationId xmlns:a16="http://schemas.microsoft.com/office/drawing/2014/main" id="{38E68B7B-13B6-2925-D1F3-8197DFFD4140}"/>
                </a:ext>
              </a:extLst>
            </p:cNvPr>
            <p:cNvGrpSpPr/>
            <p:nvPr/>
          </p:nvGrpSpPr>
          <p:grpSpPr>
            <a:xfrm>
              <a:off x="8779277" y="2427789"/>
              <a:ext cx="84024" cy="84024"/>
              <a:chOff x="11521324" y="3611214"/>
              <a:chExt cx="82971" cy="82971"/>
            </a:xfrm>
          </p:grpSpPr>
          <p:cxnSp>
            <p:nvCxnSpPr>
              <p:cNvPr id="2428" name="Straight Connector 2427">
                <a:extLst>
                  <a:ext uri="{FF2B5EF4-FFF2-40B4-BE49-F238E27FC236}">
                    <a16:creationId xmlns:a16="http://schemas.microsoft.com/office/drawing/2014/main" id="{71BA19DF-FCB8-A776-1CFF-2BDEE049D2C5}"/>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29" name="Straight Connector 2428">
                <a:extLst>
                  <a:ext uri="{FF2B5EF4-FFF2-40B4-BE49-F238E27FC236}">
                    <a16:creationId xmlns:a16="http://schemas.microsoft.com/office/drawing/2014/main" id="{235BBA6E-B581-C28D-DE9A-CFD666262D17}"/>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30" name="Group 2429">
              <a:extLst>
                <a:ext uri="{FF2B5EF4-FFF2-40B4-BE49-F238E27FC236}">
                  <a16:creationId xmlns:a16="http://schemas.microsoft.com/office/drawing/2014/main" id="{528EF2DD-4451-23C0-F1C8-A23DC9F8446D}"/>
                </a:ext>
              </a:extLst>
            </p:cNvPr>
            <p:cNvGrpSpPr/>
            <p:nvPr/>
          </p:nvGrpSpPr>
          <p:grpSpPr>
            <a:xfrm>
              <a:off x="8658685" y="2279477"/>
              <a:ext cx="84024" cy="84024"/>
              <a:chOff x="11521324" y="3611214"/>
              <a:chExt cx="82971" cy="82971"/>
            </a:xfrm>
          </p:grpSpPr>
          <p:cxnSp>
            <p:nvCxnSpPr>
              <p:cNvPr id="2431" name="Straight Connector 2430">
                <a:extLst>
                  <a:ext uri="{FF2B5EF4-FFF2-40B4-BE49-F238E27FC236}">
                    <a16:creationId xmlns:a16="http://schemas.microsoft.com/office/drawing/2014/main" id="{1837DD24-8A8F-5C74-5A98-408DB09BAB20}"/>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32" name="Straight Connector 2431">
                <a:extLst>
                  <a:ext uri="{FF2B5EF4-FFF2-40B4-BE49-F238E27FC236}">
                    <a16:creationId xmlns:a16="http://schemas.microsoft.com/office/drawing/2014/main" id="{9FA29D9B-4177-306B-8DE5-4368146C002F}"/>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33" name="Group 2432">
              <a:extLst>
                <a:ext uri="{FF2B5EF4-FFF2-40B4-BE49-F238E27FC236}">
                  <a16:creationId xmlns:a16="http://schemas.microsoft.com/office/drawing/2014/main" id="{C555396A-A9BA-1A2D-77D0-EC73DF7265A5}"/>
                </a:ext>
              </a:extLst>
            </p:cNvPr>
            <p:cNvGrpSpPr/>
            <p:nvPr/>
          </p:nvGrpSpPr>
          <p:grpSpPr>
            <a:xfrm>
              <a:off x="8692023" y="2279477"/>
              <a:ext cx="84024" cy="84024"/>
              <a:chOff x="11521324" y="3611214"/>
              <a:chExt cx="82971" cy="82971"/>
            </a:xfrm>
          </p:grpSpPr>
          <p:cxnSp>
            <p:nvCxnSpPr>
              <p:cNvPr id="2434" name="Straight Connector 2433">
                <a:extLst>
                  <a:ext uri="{FF2B5EF4-FFF2-40B4-BE49-F238E27FC236}">
                    <a16:creationId xmlns:a16="http://schemas.microsoft.com/office/drawing/2014/main" id="{0B91CD77-A545-5715-1F1E-73948A3A7DFF}"/>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35" name="Straight Connector 2434">
                <a:extLst>
                  <a:ext uri="{FF2B5EF4-FFF2-40B4-BE49-F238E27FC236}">
                    <a16:creationId xmlns:a16="http://schemas.microsoft.com/office/drawing/2014/main" id="{A9E468FA-6C4B-4F35-C196-6135AC574D41}"/>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36" name="Group 2435">
              <a:extLst>
                <a:ext uri="{FF2B5EF4-FFF2-40B4-BE49-F238E27FC236}">
                  <a16:creationId xmlns:a16="http://schemas.microsoft.com/office/drawing/2014/main" id="{A4F1FD41-45B4-6E11-DDE2-A85929E981ED}"/>
                </a:ext>
              </a:extLst>
            </p:cNvPr>
            <p:cNvGrpSpPr/>
            <p:nvPr/>
          </p:nvGrpSpPr>
          <p:grpSpPr>
            <a:xfrm>
              <a:off x="8756317" y="2279477"/>
              <a:ext cx="84024" cy="84024"/>
              <a:chOff x="11521324" y="3611214"/>
              <a:chExt cx="82971" cy="82971"/>
            </a:xfrm>
          </p:grpSpPr>
          <p:cxnSp>
            <p:nvCxnSpPr>
              <p:cNvPr id="2437" name="Straight Connector 2436">
                <a:extLst>
                  <a:ext uri="{FF2B5EF4-FFF2-40B4-BE49-F238E27FC236}">
                    <a16:creationId xmlns:a16="http://schemas.microsoft.com/office/drawing/2014/main" id="{54B7989D-12A4-F423-F6B9-01206CEA65F9}"/>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38" name="Straight Connector 2437">
                <a:extLst>
                  <a:ext uri="{FF2B5EF4-FFF2-40B4-BE49-F238E27FC236}">
                    <a16:creationId xmlns:a16="http://schemas.microsoft.com/office/drawing/2014/main" id="{BA6DBF15-5078-3388-7AAD-3A54A750D5B0}"/>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39" name="Group 2438">
              <a:extLst>
                <a:ext uri="{FF2B5EF4-FFF2-40B4-BE49-F238E27FC236}">
                  <a16:creationId xmlns:a16="http://schemas.microsoft.com/office/drawing/2014/main" id="{657788E7-4648-0DDB-9BAE-A99A078ADA70}"/>
                </a:ext>
              </a:extLst>
            </p:cNvPr>
            <p:cNvGrpSpPr/>
            <p:nvPr/>
          </p:nvGrpSpPr>
          <p:grpSpPr>
            <a:xfrm>
              <a:off x="8775367" y="2279477"/>
              <a:ext cx="84024" cy="84024"/>
              <a:chOff x="11521324" y="3611214"/>
              <a:chExt cx="82971" cy="82971"/>
            </a:xfrm>
          </p:grpSpPr>
          <p:cxnSp>
            <p:nvCxnSpPr>
              <p:cNvPr id="2440" name="Straight Connector 2439">
                <a:extLst>
                  <a:ext uri="{FF2B5EF4-FFF2-40B4-BE49-F238E27FC236}">
                    <a16:creationId xmlns:a16="http://schemas.microsoft.com/office/drawing/2014/main" id="{31C7E03C-4B82-9729-DA1D-DCE1E5184C93}"/>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41" name="Straight Connector 2440">
                <a:extLst>
                  <a:ext uri="{FF2B5EF4-FFF2-40B4-BE49-F238E27FC236}">
                    <a16:creationId xmlns:a16="http://schemas.microsoft.com/office/drawing/2014/main" id="{C82ACE9E-1423-C380-90F6-BEC9525AA597}"/>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42" name="Group 2441">
              <a:extLst>
                <a:ext uri="{FF2B5EF4-FFF2-40B4-BE49-F238E27FC236}">
                  <a16:creationId xmlns:a16="http://schemas.microsoft.com/office/drawing/2014/main" id="{710BE1FF-3FB2-7B54-8559-15D1A95E47EB}"/>
                </a:ext>
              </a:extLst>
            </p:cNvPr>
            <p:cNvGrpSpPr/>
            <p:nvPr/>
          </p:nvGrpSpPr>
          <p:grpSpPr>
            <a:xfrm>
              <a:off x="8939674" y="2285649"/>
              <a:ext cx="84024" cy="84024"/>
              <a:chOff x="11521324" y="3611214"/>
              <a:chExt cx="82971" cy="82971"/>
            </a:xfrm>
          </p:grpSpPr>
          <p:cxnSp>
            <p:nvCxnSpPr>
              <p:cNvPr id="2443" name="Straight Connector 2442">
                <a:extLst>
                  <a:ext uri="{FF2B5EF4-FFF2-40B4-BE49-F238E27FC236}">
                    <a16:creationId xmlns:a16="http://schemas.microsoft.com/office/drawing/2014/main" id="{A5A51585-F111-FBF3-E0E6-A5661613071F}"/>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44" name="Straight Connector 2443">
                <a:extLst>
                  <a:ext uri="{FF2B5EF4-FFF2-40B4-BE49-F238E27FC236}">
                    <a16:creationId xmlns:a16="http://schemas.microsoft.com/office/drawing/2014/main" id="{C1CFFDB9-732E-ED11-F294-1B5F6198F643}"/>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45" name="Group 2444">
              <a:extLst>
                <a:ext uri="{FF2B5EF4-FFF2-40B4-BE49-F238E27FC236}">
                  <a16:creationId xmlns:a16="http://schemas.microsoft.com/office/drawing/2014/main" id="{9F7FD7F1-D287-94A1-9F41-0A11E1EC1070}"/>
                </a:ext>
              </a:extLst>
            </p:cNvPr>
            <p:cNvGrpSpPr/>
            <p:nvPr/>
          </p:nvGrpSpPr>
          <p:grpSpPr>
            <a:xfrm>
              <a:off x="8951580" y="2285649"/>
              <a:ext cx="84024" cy="84024"/>
              <a:chOff x="11521324" y="3611214"/>
              <a:chExt cx="82971" cy="82971"/>
            </a:xfrm>
          </p:grpSpPr>
          <p:cxnSp>
            <p:nvCxnSpPr>
              <p:cNvPr id="2446" name="Straight Connector 2445">
                <a:extLst>
                  <a:ext uri="{FF2B5EF4-FFF2-40B4-BE49-F238E27FC236}">
                    <a16:creationId xmlns:a16="http://schemas.microsoft.com/office/drawing/2014/main" id="{EC8C7AFA-DA80-9688-BF93-0ECCCDD7D831}"/>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47" name="Straight Connector 2446">
                <a:extLst>
                  <a:ext uri="{FF2B5EF4-FFF2-40B4-BE49-F238E27FC236}">
                    <a16:creationId xmlns:a16="http://schemas.microsoft.com/office/drawing/2014/main" id="{34D353D3-DE6A-A6DC-A4C6-6F1769B178CF}"/>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48" name="Group 2447">
              <a:extLst>
                <a:ext uri="{FF2B5EF4-FFF2-40B4-BE49-F238E27FC236}">
                  <a16:creationId xmlns:a16="http://schemas.microsoft.com/office/drawing/2014/main" id="{CE8206EB-CDB3-57A9-3439-C9BC90AD9906}"/>
                </a:ext>
              </a:extLst>
            </p:cNvPr>
            <p:cNvGrpSpPr/>
            <p:nvPr/>
          </p:nvGrpSpPr>
          <p:grpSpPr>
            <a:xfrm>
              <a:off x="8977773" y="2285649"/>
              <a:ext cx="84024" cy="84024"/>
              <a:chOff x="11521324" y="3611214"/>
              <a:chExt cx="82971" cy="82971"/>
            </a:xfrm>
          </p:grpSpPr>
          <p:cxnSp>
            <p:nvCxnSpPr>
              <p:cNvPr id="2449" name="Straight Connector 2448">
                <a:extLst>
                  <a:ext uri="{FF2B5EF4-FFF2-40B4-BE49-F238E27FC236}">
                    <a16:creationId xmlns:a16="http://schemas.microsoft.com/office/drawing/2014/main" id="{60CA9AEC-A0A3-D974-F451-3231AAE2F41C}"/>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50" name="Straight Connector 2449">
                <a:extLst>
                  <a:ext uri="{FF2B5EF4-FFF2-40B4-BE49-F238E27FC236}">
                    <a16:creationId xmlns:a16="http://schemas.microsoft.com/office/drawing/2014/main" id="{35C6B92B-EF6A-53D4-4495-0D4498FFE038}"/>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51" name="Group 2450">
              <a:extLst>
                <a:ext uri="{FF2B5EF4-FFF2-40B4-BE49-F238E27FC236}">
                  <a16:creationId xmlns:a16="http://schemas.microsoft.com/office/drawing/2014/main" id="{5F4C0B09-137F-8833-9336-542437E5B1DB}"/>
                </a:ext>
              </a:extLst>
            </p:cNvPr>
            <p:cNvGrpSpPr/>
            <p:nvPr/>
          </p:nvGrpSpPr>
          <p:grpSpPr>
            <a:xfrm>
              <a:off x="9011111" y="2295913"/>
              <a:ext cx="84024" cy="84024"/>
              <a:chOff x="11521324" y="3611214"/>
              <a:chExt cx="82971" cy="82971"/>
            </a:xfrm>
          </p:grpSpPr>
          <p:cxnSp>
            <p:nvCxnSpPr>
              <p:cNvPr id="2452" name="Straight Connector 2451">
                <a:extLst>
                  <a:ext uri="{FF2B5EF4-FFF2-40B4-BE49-F238E27FC236}">
                    <a16:creationId xmlns:a16="http://schemas.microsoft.com/office/drawing/2014/main" id="{8660A49A-6592-2808-95CE-E46083ED8EC3}"/>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53" name="Straight Connector 2452">
                <a:extLst>
                  <a:ext uri="{FF2B5EF4-FFF2-40B4-BE49-F238E27FC236}">
                    <a16:creationId xmlns:a16="http://schemas.microsoft.com/office/drawing/2014/main" id="{568E20D3-FA85-FDA4-0849-19C51BCA6D63}"/>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54" name="Group 2453">
              <a:extLst>
                <a:ext uri="{FF2B5EF4-FFF2-40B4-BE49-F238E27FC236}">
                  <a16:creationId xmlns:a16="http://schemas.microsoft.com/office/drawing/2014/main" id="{CB5A78C3-DC1B-065D-003C-065EEFD567EF}"/>
                </a:ext>
              </a:extLst>
            </p:cNvPr>
            <p:cNvGrpSpPr/>
            <p:nvPr/>
          </p:nvGrpSpPr>
          <p:grpSpPr>
            <a:xfrm>
              <a:off x="9037304" y="2295913"/>
              <a:ext cx="84024" cy="84024"/>
              <a:chOff x="11521324" y="3611214"/>
              <a:chExt cx="82971" cy="82971"/>
            </a:xfrm>
          </p:grpSpPr>
          <p:cxnSp>
            <p:nvCxnSpPr>
              <p:cNvPr id="2455" name="Straight Connector 2454">
                <a:extLst>
                  <a:ext uri="{FF2B5EF4-FFF2-40B4-BE49-F238E27FC236}">
                    <a16:creationId xmlns:a16="http://schemas.microsoft.com/office/drawing/2014/main" id="{486900D8-0863-C649-FAF2-61598D1BAC93}"/>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56" name="Straight Connector 2455">
                <a:extLst>
                  <a:ext uri="{FF2B5EF4-FFF2-40B4-BE49-F238E27FC236}">
                    <a16:creationId xmlns:a16="http://schemas.microsoft.com/office/drawing/2014/main" id="{4CE52FFD-8837-9950-764F-D02B4674612F}"/>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57" name="Group 2456">
              <a:extLst>
                <a:ext uri="{FF2B5EF4-FFF2-40B4-BE49-F238E27FC236}">
                  <a16:creationId xmlns:a16="http://schemas.microsoft.com/office/drawing/2014/main" id="{551FC3F8-DA6C-77CD-3851-B9886087E8A3}"/>
                </a:ext>
              </a:extLst>
            </p:cNvPr>
            <p:cNvGrpSpPr/>
            <p:nvPr/>
          </p:nvGrpSpPr>
          <p:grpSpPr>
            <a:xfrm>
              <a:off x="9056354" y="2295913"/>
              <a:ext cx="84024" cy="84024"/>
              <a:chOff x="11521324" y="3611214"/>
              <a:chExt cx="82971" cy="82971"/>
            </a:xfrm>
          </p:grpSpPr>
          <p:cxnSp>
            <p:nvCxnSpPr>
              <p:cNvPr id="2458" name="Straight Connector 2457">
                <a:extLst>
                  <a:ext uri="{FF2B5EF4-FFF2-40B4-BE49-F238E27FC236}">
                    <a16:creationId xmlns:a16="http://schemas.microsoft.com/office/drawing/2014/main" id="{8A9C26AA-AE11-D628-20A5-8F18267C1A3F}"/>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59" name="Straight Connector 2458">
                <a:extLst>
                  <a:ext uri="{FF2B5EF4-FFF2-40B4-BE49-F238E27FC236}">
                    <a16:creationId xmlns:a16="http://schemas.microsoft.com/office/drawing/2014/main" id="{19C0FCCC-85A9-4780-7F8A-183E63C506C5}"/>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60" name="Group 2459">
              <a:extLst>
                <a:ext uri="{FF2B5EF4-FFF2-40B4-BE49-F238E27FC236}">
                  <a16:creationId xmlns:a16="http://schemas.microsoft.com/office/drawing/2014/main" id="{82ABFEF5-2389-E842-F7C5-EE3A8920006B}"/>
                </a:ext>
              </a:extLst>
            </p:cNvPr>
            <p:cNvGrpSpPr/>
            <p:nvPr/>
          </p:nvGrpSpPr>
          <p:grpSpPr>
            <a:xfrm>
              <a:off x="9120648" y="2304226"/>
              <a:ext cx="84024" cy="84024"/>
              <a:chOff x="11521324" y="3611214"/>
              <a:chExt cx="82971" cy="82971"/>
            </a:xfrm>
          </p:grpSpPr>
          <p:cxnSp>
            <p:nvCxnSpPr>
              <p:cNvPr id="2461" name="Straight Connector 2460">
                <a:extLst>
                  <a:ext uri="{FF2B5EF4-FFF2-40B4-BE49-F238E27FC236}">
                    <a16:creationId xmlns:a16="http://schemas.microsoft.com/office/drawing/2014/main" id="{EC734B2A-4492-0C4B-9EFF-7D1892FD1368}"/>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62" name="Straight Connector 2461">
                <a:extLst>
                  <a:ext uri="{FF2B5EF4-FFF2-40B4-BE49-F238E27FC236}">
                    <a16:creationId xmlns:a16="http://schemas.microsoft.com/office/drawing/2014/main" id="{CC129732-568C-C49A-139B-7865C1F809F4}"/>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63" name="Group 2462">
              <a:extLst>
                <a:ext uri="{FF2B5EF4-FFF2-40B4-BE49-F238E27FC236}">
                  <a16:creationId xmlns:a16="http://schemas.microsoft.com/office/drawing/2014/main" id="{CB7C2885-D8F3-1806-38B9-4B3244201170}"/>
                </a:ext>
              </a:extLst>
            </p:cNvPr>
            <p:cNvGrpSpPr/>
            <p:nvPr/>
          </p:nvGrpSpPr>
          <p:grpSpPr>
            <a:xfrm>
              <a:off x="9144461" y="2311862"/>
              <a:ext cx="84024" cy="84024"/>
              <a:chOff x="11521324" y="3611214"/>
              <a:chExt cx="82971" cy="82971"/>
            </a:xfrm>
          </p:grpSpPr>
          <p:cxnSp>
            <p:nvCxnSpPr>
              <p:cNvPr id="2464" name="Straight Connector 2463">
                <a:extLst>
                  <a:ext uri="{FF2B5EF4-FFF2-40B4-BE49-F238E27FC236}">
                    <a16:creationId xmlns:a16="http://schemas.microsoft.com/office/drawing/2014/main" id="{46D02BAF-BE05-49EA-4968-BD686437AFD8}"/>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65" name="Straight Connector 2464">
                <a:extLst>
                  <a:ext uri="{FF2B5EF4-FFF2-40B4-BE49-F238E27FC236}">
                    <a16:creationId xmlns:a16="http://schemas.microsoft.com/office/drawing/2014/main" id="{3DEBE3F4-5869-A303-2587-667F02A45A59}"/>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66" name="Group 2465">
              <a:extLst>
                <a:ext uri="{FF2B5EF4-FFF2-40B4-BE49-F238E27FC236}">
                  <a16:creationId xmlns:a16="http://schemas.microsoft.com/office/drawing/2014/main" id="{5301CBAF-683F-BD8C-8713-B0852455F1AC}"/>
                </a:ext>
              </a:extLst>
            </p:cNvPr>
            <p:cNvGrpSpPr/>
            <p:nvPr/>
          </p:nvGrpSpPr>
          <p:grpSpPr>
            <a:xfrm>
              <a:off x="9168274" y="2311862"/>
              <a:ext cx="84024" cy="84024"/>
              <a:chOff x="11521324" y="3611214"/>
              <a:chExt cx="82971" cy="82971"/>
            </a:xfrm>
          </p:grpSpPr>
          <p:cxnSp>
            <p:nvCxnSpPr>
              <p:cNvPr id="2467" name="Straight Connector 2466">
                <a:extLst>
                  <a:ext uri="{FF2B5EF4-FFF2-40B4-BE49-F238E27FC236}">
                    <a16:creationId xmlns:a16="http://schemas.microsoft.com/office/drawing/2014/main" id="{38B5B5B0-C016-9C3D-E785-6AC34E1BAC22}"/>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68" name="Straight Connector 2467">
                <a:extLst>
                  <a:ext uri="{FF2B5EF4-FFF2-40B4-BE49-F238E27FC236}">
                    <a16:creationId xmlns:a16="http://schemas.microsoft.com/office/drawing/2014/main" id="{616273CD-F35C-9E17-C719-EAC3A5F3D73D}"/>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69" name="Group 2468">
              <a:extLst>
                <a:ext uri="{FF2B5EF4-FFF2-40B4-BE49-F238E27FC236}">
                  <a16:creationId xmlns:a16="http://schemas.microsoft.com/office/drawing/2014/main" id="{1D223403-D805-3D06-3987-08B51D612E91}"/>
                </a:ext>
              </a:extLst>
            </p:cNvPr>
            <p:cNvGrpSpPr/>
            <p:nvPr/>
          </p:nvGrpSpPr>
          <p:grpSpPr>
            <a:xfrm>
              <a:off x="9262835" y="2323767"/>
              <a:ext cx="84024" cy="84024"/>
              <a:chOff x="11521324" y="3611214"/>
              <a:chExt cx="82971" cy="82971"/>
            </a:xfrm>
          </p:grpSpPr>
          <p:cxnSp>
            <p:nvCxnSpPr>
              <p:cNvPr id="2470" name="Straight Connector 2469">
                <a:extLst>
                  <a:ext uri="{FF2B5EF4-FFF2-40B4-BE49-F238E27FC236}">
                    <a16:creationId xmlns:a16="http://schemas.microsoft.com/office/drawing/2014/main" id="{7D06A88D-F915-05BD-D3FE-A914467ED3E2}"/>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71" name="Straight Connector 2470">
                <a:extLst>
                  <a:ext uri="{FF2B5EF4-FFF2-40B4-BE49-F238E27FC236}">
                    <a16:creationId xmlns:a16="http://schemas.microsoft.com/office/drawing/2014/main" id="{AF47AADF-C829-FCD8-F144-56E186F23E35}"/>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72" name="Group 2471">
              <a:extLst>
                <a:ext uri="{FF2B5EF4-FFF2-40B4-BE49-F238E27FC236}">
                  <a16:creationId xmlns:a16="http://schemas.microsoft.com/office/drawing/2014/main" id="{31A5F883-8565-A34C-7FFE-B790FBFCD6E9}"/>
                </a:ext>
              </a:extLst>
            </p:cNvPr>
            <p:cNvGrpSpPr/>
            <p:nvPr/>
          </p:nvGrpSpPr>
          <p:grpSpPr>
            <a:xfrm>
              <a:off x="9300085" y="2323767"/>
              <a:ext cx="84024" cy="84024"/>
              <a:chOff x="11521324" y="3611214"/>
              <a:chExt cx="82971" cy="82971"/>
            </a:xfrm>
          </p:grpSpPr>
          <p:cxnSp>
            <p:nvCxnSpPr>
              <p:cNvPr id="2473" name="Straight Connector 2472">
                <a:extLst>
                  <a:ext uri="{FF2B5EF4-FFF2-40B4-BE49-F238E27FC236}">
                    <a16:creationId xmlns:a16="http://schemas.microsoft.com/office/drawing/2014/main" id="{37C835E0-37DF-16E6-D322-909BB8EA6CE2}"/>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74" name="Straight Connector 2473">
                <a:extLst>
                  <a:ext uri="{FF2B5EF4-FFF2-40B4-BE49-F238E27FC236}">
                    <a16:creationId xmlns:a16="http://schemas.microsoft.com/office/drawing/2014/main" id="{D77E65FE-7D60-2A6D-5EE4-AC5D95506F86}"/>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75" name="Group 2474">
              <a:extLst>
                <a:ext uri="{FF2B5EF4-FFF2-40B4-BE49-F238E27FC236}">
                  <a16:creationId xmlns:a16="http://schemas.microsoft.com/office/drawing/2014/main" id="{7B14A220-998C-9812-C049-1D969134D76E}"/>
                </a:ext>
              </a:extLst>
            </p:cNvPr>
            <p:cNvGrpSpPr/>
            <p:nvPr/>
          </p:nvGrpSpPr>
          <p:grpSpPr>
            <a:xfrm>
              <a:off x="9320666" y="2325074"/>
              <a:ext cx="84024" cy="84024"/>
              <a:chOff x="11521324" y="3611214"/>
              <a:chExt cx="82971" cy="82971"/>
            </a:xfrm>
          </p:grpSpPr>
          <p:cxnSp>
            <p:nvCxnSpPr>
              <p:cNvPr id="2476" name="Straight Connector 2475">
                <a:extLst>
                  <a:ext uri="{FF2B5EF4-FFF2-40B4-BE49-F238E27FC236}">
                    <a16:creationId xmlns:a16="http://schemas.microsoft.com/office/drawing/2014/main" id="{6BA351D1-FC32-4A1E-100F-685A80741A6E}"/>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77" name="Straight Connector 2476">
                <a:extLst>
                  <a:ext uri="{FF2B5EF4-FFF2-40B4-BE49-F238E27FC236}">
                    <a16:creationId xmlns:a16="http://schemas.microsoft.com/office/drawing/2014/main" id="{B737ADC1-E4DB-D982-593A-3C71ABF4345F}"/>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78" name="Group 2477">
              <a:extLst>
                <a:ext uri="{FF2B5EF4-FFF2-40B4-BE49-F238E27FC236}">
                  <a16:creationId xmlns:a16="http://schemas.microsoft.com/office/drawing/2014/main" id="{C14EBEC9-4E4E-67CD-4C03-4FCA7E2969EF}"/>
                </a:ext>
              </a:extLst>
            </p:cNvPr>
            <p:cNvGrpSpPr/>
            <p:nvPr/>
          </p:nvGrpSpPr>
          <p:grpSpPr>
            <a:xfrm>
              <a:off x="9358766" y="2345548"/>
              <a:ext cx="84024" cy="84024"/>
              <a:chOff x="11521324" y="3611214"/>
              <a:chExt cx="82971" cy="82971"/>
            </a:xfrm>
          </p:grpSpPr>
          <p:cxnSp>
            <p:nvCxnSpPr>
              <p:cNvPr id="2479" name="Straight Connector 2478">
                <a:extLst>
                  <a:ext uri="{FF2B5EF4-FFF2-40B4-BE49-F238E27FC236}">
                    <a16:creationId xmlns:a16="http://schemas.microsoft.com/office/drawing/2014/main" id="{B7584E91-7A19-3D40-9F3B-7E6E32245826}"/>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80" name="Straight Connector 2479">
                <a:extLst>
                  <a:ext uri="{FF2B5EF4-FFF2-40B4-BE49-F238E27FC236}">
                    <a16:creationId xmlns:a16="http://schemas.microsoft.com/office/drawing/2014/main" id="{DC1BE312-5077-FD3C-F4FA-1A744B54713A}"/>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81" name="Group 2480">
              <a:extLst>
                <a:ext uri="{FF2B5EF4-FFF2-40B4-BE49-F238E27FC236}">
                  <a16:creationId xmlns:a16="http://schemas.microsoft.com/office/drawing/2014/main" id="{731142AD-08E6-8D15-37B1-6F2626EC1932}"/>
                </a:ext>
              </a:extLst>
            </p:cNvPr>
            <p:cNvGrpSpPr/>
            <p:nvPr/>
          </p:nvGrpSpPr>
          <p:grpSpPr>
            <a:xfrm>
              <a:off x="9382578" y="2346238"/>
              <a:ext cx="84024" cy="84024"/>
              <a:chOff x="11521324" y="3611214"/>
              <a:chExt cx="82971" cy="82971"/>
            </a:xfrm>
          </p:grpSpPr>
          <p:cxnSp>
            <p:nvCxnSpPr>
              <p:cNvPr id="2482" name="Straight Connector 2481">
                <a:extLst>
                  <a:ext uri="{FF2B5EF4-FFF2-40B4-BE49-F238E27FC236}">
                    <a16:creationId xmlns:a16="http://schemas.microsoft.com/office/drawing/2014/main" id="{AEF2BC98-E71F-10AF-8D65-4A380837DAE6}"/>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83" name="Straight Connector 2482">
                <a:extLst>
                  <a:ext uri="{FF2B5EF4-FFF2-40B4-BE49-F238E27FC236}">
                    <a16:creationId xmlns:a16="http://schemas.microsoft.com/office/drawing/2014/main" id="{14BF0860-5C35-F8F7-77A9-D4FEEA640257}"/>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84" name="Group 2483">
              <a:extLst>
                <a:ext uri="{FF2B5EF4-FFF2-40B4-BE49-F238E27FC236}">
                  <a16:creationId xmlns:a16="http://schemas.microsoft.com/office/drawing/2014/main" id="{E3DFD1A1-E8D0-8FA2-E814-C6ECAF2A08D1}"/>
                </a:ext>
              </a:extLst>
            </p:cNvPr>
            <p:cNvGrpSpPr/>
            <p:nvPr/>
          </p:nvGrpSpPr>
          <p:grpSpPr>
            <a:xfrm>
              <a:off x="9407717" y="2346238"/>
              <a:ext cx="84024" cy="84024"/>
              <a:chOff x="11521324" y="3611214"/>
              <a:chExt cx="82971" cy="82971"/>
            </a:xfrm>
          </p:grpSpPr>
          <p:cxnSp>
            <p:nvCxnSpPr>
              <p:cNvPr id="2485" name="Straight Connector 2484">
                <a:extLst>
                  <a:ext uri="{FF2B5EF4-FFF2-40B4-BE49-F238E27FC236}">
                    <a16:creationId xmlns:a16="http://schemas.microsoft.com/office/drawing/2014/main" id="{E980BECE-F767-8CD7-5A2B-0249CBCC8EDD}"/>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86" name="Straight Connector 2485">
                <a:extLst>
                  <a:ext uri="{FF2B5EF4-FFF2-40B4-BE49-F238E27FC236}">
                    <a16:creationId xmlns:a16="http://schemas.microsoft.com/office/drawing/2014/main" id="{53E2239A-C1EB-E99D-95EF-3D762B7B4B80}"/>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87" name="Group 2486">
              <a:extLst>
                <a:ext uri="{FF2B5EF4-FFF2-40B4-BE49-F238E27FC236}">
                  <a16:creationId xmlns:a16="http://schemas.microsoft.com/office/drawing/2014/main" id="{3DEBE6D3-3E15-3457-ED8E-DABCAD58B104}"/>
                </a:ext>
              </a:extLst>
            </p:cNvPr>
            <p:cNvGrpSpPr/>
            <p:nvPr/>
          </p:nvGrpSpPr>
          <p:grpSpPr>
            <a:xfrm>
              <a:off x="9433910" y="2346238"/>
              <a:ext cx="84024" cy="84024"/>
              <a:chOff x="11521324" y="3611214"/>
              <a:chExt cx="82971" cy="82971"/>
            </a:xfrm>
          </p:grpSpPr>
          <p:cxnSp>
            <p:nvCxnSpPr>
              <p:cNvPr id="2488" name="Straight Connector 2487">
                <a:extLst>
                  <a:ext uri="{FF2B5EF4-FFF2-40B4-BE49-F238E27FC236}">
                    <a16:creationId xmlns:a16="http://schemas.microsoft.com/office/drawing/2014/main" id="{591C30D2-A7A2-CC24-10DC-00E21A565BCB}"/>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89" name="Straight Connector 2488">
                <a:extLst>
                  <a:ext uri="{FF2B5EF4-FFF2-40B4-BE49-F238E27FC236}">
                    <a16:creationId xmlns:a16="http://schemas.microsoft.com/office/drawing/2014/main" id="{94B67B71-611B-4272-A537-E1515C49EC71}"/>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90" name="Group 2489">
              <a:extLst>
                <a:ext uri="{FF2B5EF4-FFF2-40B4-BE49-F238E27FC236}">
                  <a16:creationId xmlns:a16="http://schemas.microsoft.com/office/drawing/2014/main" id="{C6B7D416-2419-D43A-FFC4-D636FC9D769E}"/>
                </a:ext>
              </a:extLst>
            </p:cNvPr>
            <p:cNvGrpSpPr/>
            <p:nvPr/>
          </p:nvGrpSpPr>
          <p:grpSpPr>
            <a:xfrm>
              <a:off x="9467249" y="2346238"/>
              <a:ext cx="84024" cy="84024"/>
              <a:chOff x="11521324" y="3611214"/>
              <a:chExt cx="82971" cy="82971"/>
            </a:xfrm>
          </p:grpSpPr>
          <p:cxnSp>
            <p:nvCxnSpPr>
              <p:cNvPr id="2491" name="Straight Connector 2490">
                <a:extLst>
                  <a:ext uri="{FF2B5EF4-FFF2-40B4-BE49-F238E27FC236}">
                    <a16:creationId xmlns:a16="http://schemas.microsoft.com/office/drawing/2014/main" id="{B9E7A96F-FB7E-2E39-2CB3-8F48D0BD990E}"/>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92" name="Straight Connector 2491">
                <a:extLst>
                  <a:ext uri="{FF2B5EF4-FFF2-40B4-BE49-F238E27FC236}">
                    <a16:creationId xmlns:a16="http://schemas.microsoft.com/office/drawing/2014/main" id="{98510F7C-163E-2ABB-3176-9F4D4DD7ED40}"/>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93" name="Group 2492">
              <a:extLst>
                <a:ext uri="{FF2B5EF4-FFF2-40B4-BE49-F238E27FC236}">
                  <a16:creationId xmlns:a16="http://schemas.microsoft.com/office/drawing/2014/main" id="{E4E881F7-60A3-DB79-593E-8A07A8799179}"/>
                </a:ext>
              </a:extLst>
            </p:cNvPr>
            <p:cNvGrpSpPr/>
            <p:nvPr/>
          </p:nvGrpSpPr>
          <p:grpSpPr>
            <a:xfrm>
              <a:off x="9526781" y="2348681"/>
              <a:ext cx="84024" cy="84024"/>
              <a:chOff x="11521324" y="3611214"/>
              <a:chExt cx="82971" cy="82971"/>
            </a:xfrm>
          </p:grpSpPr>
          <p:cxnSp>
            <p:nvCxnSpPr>
              <p:cNvPr id="2494" name="Straight Connector 2493">
                <a:extLst>
                  <a:ext uri="{FF2B5EF4-FFF2-40B4-BE49-F238E27FC236}">
                    <a16:creationId xmlns:a16="http://schemas.microsoft.com/office/drawing/2014/main" id="{0F49DAF6-B1EC-F265-290A-E2D9540EBF10}"/>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95" name="Straight Connector 2494">
                <a:extLst>
                  <a:ext uri="{FF2B5EF4-FFF2-40B4-BE49-F238E27FC236}">
                    <a16:creationId xmlns:a16="http://schemas.microsoft.com/office/drawing/2014/main" id="{47CF86BA-1EFA-74EF-5554-1BDE5DBAE206}"/>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96" name="Group 2495">
              <a:extLst>
                <a:ext uri="{FF2B5EF4-FFF2-40B4-BE49-F238E27FC236}">
                  <a16:creationId xmlns:a16="http://schemas.microsoft.com/office/drawing/2014/main" id="{12417E82-F339-4EA7-0A25-CF938EC6E8DB}"/>
                </a:ext>
              </a:extLst>
            </p:cNvPr>
            <p:cNvGrpSpPr/>
            <p:nvPr/>
          </p:nvGrpSpPr>
          <p:grpSpPr>
            <a:xfrm>
              <a:off x="9576786" y="2346238"/>
              <a:ext cx="84024" cy="84024"/>
              <a:chOff x="11521324" y="3611214"/>
              <a:chExt cx="82971" cy="82971"/>
            </a:xfrm>
          </p:grpSpPr>
          <p:cxnSp>
            <p:nvCxnSpPr>
              <p:cNvPr id="2497" name="Straight Connector 2496">
                <a:extLst>
                  <a:ext uri="{FF2B5EF4-FFF2-40B4-BE49-F238E27FC236}">
                    <a16:creationId xmlns:a16="http://schemas.microsoft.com/office/drawing/2014/main" id="{19516F83-70F7-847F-0FB7-5D1D9BBDE0A9}"/>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98" name="Straight Connector 2497">
                <a:extLst>
                  <a:ext uri="{FF2B5EF4-FFF2-40B4-BE49-F238E27FC236}">
                    <a16:creationId xmlns:a16="http://schemas.microsoft.com/office/drawing/2014/main" id="{D922D79D-C5BE-4FAA-91FB-E7C5A746E052}"/>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99" name="Group 2498">
              <a:extLst>
                <a:ext uri="{FF2B5EF4-FFF2-40B4-BE49-F238E27FC236}">
                  <a16:creationId xmlns:a16="http://schemas.microsoft.com/office/drawing/2014/main" id="{F77CA653-2947-BBB4-5660-77086EB4490B}"/>
                </a:ext>
              </a:extLst>
            </p:cNvPr>
            <p:cNvGrpSpPr/>
            <p:nvPr/>
          </p:nvGrpSpPr>
          <p:grpSpPr>
            <a:xfrm>
              <a:off x="9591074" y="2346238"/>
              <a:ext cx="84024" cy="84024"/>
              <a:chOff x="11521324" y="3611214"/>
              <a:chExt cx="82971" cy="82971"/>
            </a:xfrm>
          </p:grpSpPr>
          <p:cxnSp>
            <p:nvCxnSpPr>
              <p:cNvPr id="2500" name="Straight Connector 2499">
                <a:extLst>
                  <a:ext uri="{FF2B5EF4-FFF2-40B4-BE49-F238E27FC236}">
                    <a16:creationId xmlns:a16="http://schemas.microsoft.com/office/drawing/2014/main" id="{FF63F3D3-05CE-938F-33C4-BE462D00732C}"/>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01" name="Straight Connector 2500">
                <a:extLst>
                  <a:ext uri="{FF2B5EF4-FFF2-40B4-BE49-F238E27FC236}">
                    <a16:creationId xmlns:a16="http://schemas.microsoft.com/office/drawing/2014/main" id="{93250989-E00A-C0DE-590F-3182A065E902}"/>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02" name="Group 2501">
              <a:extLst>
                <a:ext uri="{FF2B5EF4-FFF2-40B4-BE49-F238E27FC236}">
                  <a16:creationId xmlns:a16="http://schemas.microsoft.com/office/drawing/2014/main" id="{18EBA2AE-D7C6-7AAE-3D8D-0DE0F11A137E}"/>
                </a:ext>
              </a:extLst>
            </p:cNvPr>
            <p:cNvGrpSpPr/>
            <p:nvPr/>
          </p:nvGrpSpPr>
          <p:grpSpPr>
            <a:xfrm>
              <a:off x="9621656" y="2354489"/>
              <a:ext cx="84024" cy="84024"/>
              <a:chOff x="11521324" y="3611214"/>
              <a:chExt cx="82971" cy="82971"/>
            </a:xfrm>
          </p:grpSpPr>
          <p:cxnSp>
            <p:nvCxnSpPr>
              <p:cNvPr id="2503" name="Straight Connector 2502">
                <a:extLst>
                  <a:ext uri="{FF2B5EF4-FFF2-40B4-BE49-F238E27FC236}">
                    <a16:creationId xmlns:a16="http://schemas.microsoft.com/office/drawing/2014/main" id="{38701F26-F242-6364-2490-575DD1529B51}"/>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04" name="Straight Connector 2503">
                <a:extLst>
                  <a:ext uri="{FF2B5EF4-FFF2-40B4-BE49-F238E27FC236}">
                    <a16:creationId xmlns:a16="http://schemas.microsoft.com/office/drawing/2014/main" id="{AF450A48-9D97-6EE0-AA73-58D6F52659D5}"/>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05" name="Group 2504">
              <a:extLst>
                <a:ext uri="{FF2B5EF4-FFF2-40B4-BE49-F238E27FC236}">
                  <a16:creationId xmlns:a16="http://schemas.microsoft.com/office/drawing/2014/main" id="{41FF12E0-FDE6-E613-278B-49A9966BC58A}"/>
                </a:ext>
              </a:extLst>
            </p:cNvPr>
            <p:cNvGrpSpPr/>
            <p:nvPr/>
          </p:nvGrpSpPr>
          <p:grpSpPr>
            <a:xfrm>
              <a:off x="9654994" y="2359251"/>
              <a:ext cx="84024" cy="84024"/>
              <a:chOff x="11521324" y="3611214"/>
              <a:chExt cx="82971" cy="82971"/>
            </a:xfrm>
          </p:grpSpPr>
          <p:cxnSp>
            <p:nvCxnSpPr>
              <p:cNvPr id="2506" name="Straight Connector 2505">
                <a:extLst>
                  <a:ext uri="{FF2B5EF4-FFF2-40B4-BE49-F238E27FC236}">
                    <a16:creationId xmlns:a16="http://schemas.microsoft.com/office/drawing/2014/main" id="{5784FC49-1636-974C-DE89-4A1B1215F98F}"/>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07" name="Straight Connector 2506">
                <a:extLst>
                  <a:ext uri="{FF2B5EF4-FFF2-40B4-BE49-F238E27FC236}">
                    <a16:creationId xmlns:a16="http://schemas.microsoft.com/office/drawing/2014/main" id="{BAEAE571-AADC-A4DB-9257-5CAFCB834842}"/>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08" name="Group 2507">
              <a:extLst>
                <a:ext uri="{FF2B5EF4-FFF2-40B4-BE49-F238E27FC236}">
                  <a16:creationId xmlns:a16="http://schemas.microsoft.com/office/drawing/2014/main" id="{D3DF0D7A-6738-B59D-D7D5-F8E956AAE7AC}"/>
                </a:ext>
              </a:extLst>
            </p:cNvPr>
            <p:cNvGrpSpPr/>
            <p:nvPr/>
          </p:nvGrpSpPr>
          <p:grpSpPr>
            <a:xfrm>
              <a:off x="9669282" y="2359251"/>
              <a:ext cx="84024" cy="84024"/>
              <a:chOff x="11521324" y="3611214"/>
              <a:chExt cx="82971" cy="82971"/>
            </a:xfrm>
          </p:grpSpPr>
          <p:cxnSp>
            <p:nvCxnSpPr>
              <p:cNvPr id="2509" name="Straight Connector 2508">
                <a:extLst>
                  <a:ext uri="{FF2B5EF4-FFF2-40B4-BE49-F238E27FC236}">
                    <a16:creationId xmlns:a16="http://schemas.microsoft.com/office/drawing/2014/main" id="{F79A1E89-BC16-8969-E195-BB833000C845}"/>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10" name="Straight Connector 2509">
                <a:extLst>
                  <a:ext uri="{FF2B5EF4-FFF2-40B4-BE49-F238E27FC236}">
                    <a16:creationId xmlns:a16="http://schemas.microsoft.com/office/drawing/2014/main" id="{0A9A8513-5D25-2E7E-B2ED-2BCA0CE93D3E}"/>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11" name="Group 2510">
              <a:extLst>
                <a:ext uri="{FF2B5EF4-FFF2-40B4-BE49-F238E27FC236}">
                  <a16:creationId xmlns:a16="http://schemas.microsoft.com/office/drawing/2014/main" id="{D725D922-ACF7-865D-AAC3-83D7FDC0C206}"/>
                </a:ext>
              </a:extLst>
            </p:cNvPr>
            <p:cNvGrpSpPr/>
            <p:nvPr/>
          </p:nvGrpSpPr>
          <p:grpSpPr>
            <a:xfrm>
              <a:off x="9718437" y="2368361"/>
              <a:ext cx="84024" cy="84024"/>
              <a:chOff x="11521324" y="3611214"/>
              <a:chExt cx="82971" cy="82971"/>
            </a:xfrm>
          </p:grpSpPr>
          <p:cxnSp>
            <p:nvCxnSpPr>
              <p:cNvPr id="2512" name="Straight Connector 2511">
                <a:extLst>
                  <a:ext uri="{FF2B5EF4-FFF2-40B4-BE49-F238E27FC236}">
                    <a16:creationId xmlns:a16="http://schemas.microsoft.com/office/drawing/2014/main" id="{A891FA79-0A22-B84E-634C-3B07D2D86BA8}"/>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13" name="Straight Connector 2512">
                <a:extLst>
                  <a:ext uri="{FF2B5EF4-FFF2-40B4-BE49-F238E27FC236}">
                    <a16:creationId xmlns:a16="http://schemas.microsoft.com/office/drawing/2014/main" id="{AA0A1387-7BE1-D497-BCB2-9CB12F92108E}"/>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14" name="Group 2513">
              <a:extLst>
                <a:ext uri="{FF2B5EF4-FFF2-40B4-BE49-F238E27FC236}">
                  <a16:creationId xmlns:a16="http://schemas.microsoft.com/office/drawing/2014/main" id="{05D9007C-1782-7FBE-4309-9E754D17E07F}"/>
                </a:ext>
              </a:extLst>
            </p:cNvPr>
            <p:cNvGrpSpPr/>
            <p:nvPr/>
          </p:nvGrpSpPr>
          <p:grpSpPr>
            <a:xfrm>
              <a:off x="9738120" y="2368361"/>
              <a:ext cx="84024" cy="84024"/>
              <a:chOff x="11521324" y="3611214"/>
              <a:chExt cx="82971" cy="82971"/>
            </a:xfrm>
          </p:grpSpPr>
          <p:cxnSp>
            <p:nvCxnSpPr>
              <p:cNvPr id="2515" name="Straight Connector 2514">
                <a:extLst>
                  <a:ext uri="{FF2B5EF4-FFF2-40B4-BE49-F238E27FC236}">
                    <a16:creationId xmlns:a16="http://schemas.microsoft.com/office/drawing/2014/main" id="{AA9FCC69-D676-6E9F-7D20-EDF129F16196}"/>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16" name="Straight Connector 2515">
                <a:extLst>
                  <a:ext uri="{FF2B5EF4-FFF2-40B4-BE49-F238E27FC236}">
                    <a16:creationId xmlns:a16="http://schemas.microsoft.com/office/drawing/2014/main" id="{D89DD8D7-6E03-2062-D308-6E6AD0BA0265}"/>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17" name="Group 2516">
              <a:extLst>
                <a:ext uri="{FF2B5EF4-FFF2-40B4-BE49-F238E27FC236}">
                  <a16:creationId xmlns:a16="http://schemas.microsoft.com/office/drawing/2014/main" id="{49796756-833A-3258-9A2F-CD41095DB9F2}"/>
                </a:ext>
              </a:extLst>
            </p:cNvPr>
            <p:cNvGrpSpPr/>
            <p:nvPr/>
          </p:nvGrpSpPr>
          <p:grpSpPr>
            <a:xfrm>
              <a:off x="9812914" y="2388250"/>
              <a:ext cx="84024" cy="84024"/>
              <a:chOff x="11521324" y="3611214"/>
              <a:chExt cx="82971" cy="82971"/>
            </a:xfrm>
          </p:grpSpPr>
          <p:cxnSp>
            <p:nvCxnSpPr>
              <p:cNvPr id="2518" name="Straight Connector 2517">
                <a:extLst>
                  <a:ext uri="{FF2B5EF4-FFF2-40B4-BE49-F238E27FC236}">
                    <a16:creationId xmlns:a16="http://schemas.microsoft.com/office/drawing/2014/main" id="{CAFBB819-96AC-095E-E446-AEC05871275C}"/>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19" name="Straight Connector 2518">
                <a:extLst>
                  <a:ext uri="{FF2B5EF4-FFF2-40B4-BE49-F238E27FC236}">
                    <a16:creationId xmlns:a16="http://schemas.microsoft.com/office/drawing/2014/main" id="{AB77CCA4-8540-6C96-DD12-ABC8DB45FF04}"/>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20" name="Group 2519">
              <a:extLst>
                <a:ext uri="{FF2B5EF4-FFF2-40B4-BE49-F238E27FC236}">
                  <a16:creationId xmlns:a16="http://schemas.microsoft.com/office/drawing/2014/main" id="{F7470D23-197A-4E6D-2DEA-AA1E73B30E20}"/>
                </a:ext>
              </a:extLst>
            </p:cNvPr>
            <p:cNvGrpSpPr/>
            <p:nvPr/>
          </p:nvGrpSpPr>
          <p:grpSpPr>
            <a:xfrm>
              <a:off x="9836727" y="2388250"/>
              <a:ext cx="84024" cy="84024"/>
              <a:chOff x="11521324" y="3611214"/>
              <a:chExt cx="82971" cy="82971"/>
            </a:xfrm>
          </p:grpSpPr>
          <p:cxnSp>
            <p:nvCxnSpPr>
              <p:cNvPr id="2521" name="Straight Connector 2520">
                <a:extLst>
                  <a:ext uri="{FF2B5EF4-FFF2-40B4-BE49-F238E27FC236}">
                    <a16:creationId xmlns:a16="http://schemas.microsoft.com/office/drawing/2014/main" id="{CC342FCF-0E5D-08D4-4BD4-831A6075A800}"/>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22" name="Straight Connector 2521">
                <a:extLst>
                  <a:ext uri="{FF2B5EF4-FFF2-40B4-BE49-F238E27FC236}">
                    <a16:creationId xmlns:a16="http://schemas.microsoft.com/office/drawing/2014/main" id="{1E789A6E-3EA3-E937-E13A-0F63C8E31FFB}"/>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23" name="Group 2522">
              <a:extLst>
                <a:ext uri="{FF2B5EF4-FFF2-40B4-BE49-F238E27FC236}">
                  <a16:creationId xmlns:a16="http://schemas.microsoft.com/office/drawing/2014/main" id="{C493EB9A-2802-006C-3BB5-3786CDBE8B5D}"/>
                </a:ext>
              </a:extLst>
            </p:cNvPr>
            <p:cNvGrpSpPr/>
            <p:nvPr/>
          </p:nvGrpSpPr>
          <p:grpSpPr>
            <a:xfrm>
              <a:off x="9874968" y="2388250"/>
              <a:ext cx="84024" cy="84024"/>
              <a:chOff x="11521324" y="3611214"/>
              <a:chExt cx="82971" cy="82971"/>
            </a:xfrm>
          </p:grpSpPr>
          <p:cxnSp>
            <p:nvCxnSpPr>
              <p:cNvPr id="2524" name="Straight Connector 2523">
                <a:extLst>
                  <a:ext uri="{FF2B5EF4-FFF2-40B4-BE49-F238E27FC236}">
                    <a16:creationId xmlns:a16="http://schemas.microsoft.com/office/drawing/2014/main" id="{29A3F219-D997-1D00-F1AD-BBECB5603EA7}"/>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25" name="Straight Connector 2524">
                <a:extLst>
                  <a:ext uri="{FF2B5EF4-FFF2-40B4-BE49-F238E27FC236}">
                    <a16:creationId xmlns:a16="http://schemas.microsoft.com/office/drawing/2014/main" id="{6AD409B1-F20E-D7F0-3235-43B84911B18D}"/>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26" name="Group 2525">
              <a:extLst>
                <a:ext uri="{FF2B5EF4-FFF2-40B4-BE49-F238E27FC236}">
                  <a16:creationId xmlns:a16="http://schemas.microsoft.com/office/drawing/2014/main" id="{33990271-0833-E24F-0382-FD981ADEA64E}"/>
                </a:ext>
              </a:extLst>
            </p:cNvPr>
            <p:cNvGrpSpPr/>
            <p:nvPr/>
          </p:nvGrpSpPr>
          <p:grpSpPr>
            <a:xfrm>
              <a:off x="9928887" y="2396501"/>
              <a:ext cx="84024" cy="84024"/>
              <a:chOff x="11521324" y="3611214"/>
              <a:chExt cx="82971" cy="82971"/>
            </a:xfrm>
          </p:grpSpPr>
          <p:cxnSp>
            <p:nvCxnSpPr>
              <p:cNvPr id="2527" name="Straight Connector 2526">
                <a:extLst>
                  <a:ext uri="{FF2B5EF4-FFF2-40B4-BE49-F238E27FC236}">
                    <a16:creationId xmlns:a16="http://schemas.microsoft.com/office/drawing/2014/main" id="{810565F4-1555-D06F-E30F-433FF565C1D4}"/>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28" name="Straight Connector 2527">
                <a:extLst>
                  <a:ext uri="{FF2B5EF4-FFF2-40B4-BE49-F238E27FC236}">
                    <a16:creationId xmlns:a16="http://schemas.microsoft.com/office/drawing/2014/main" id="{114D06F0-2D03-11DC-B3E7-7C820DF76DCB}"/>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29" name="Group 2528">
              <a:extLst>
                <a:ext uri="{FF2B5EF4-FFF2-40B4-BE49-F238E27FC236}">
                  <a16:creationId xmlns:a16="http://schemas.microsoft.com/office/drawing/2014/main" id="{4C23EFE3-04B5-B5D7-5FA4-D1E9B8B6B477}"/>
                </a:ext>
              </a:extLst>
            </p:cNvPr>
            <p:cNvGrpSpPr/>
            <p:nvPr/>
          </p:nvGrpSpPr>
          <p:grpSpPr>
            <a:xfrm>
              <a:off x="9992498" y="2405611"/>
              <a:ext cx="84024" cy="84024"/>
              <a:chOff x="11521324" y="3611214"/>
              <a:chExt cx="82971" cy="82971"/>
            </a:xfrm>
          </p:grpSpPr>
          <p:cxnSp>
            <p:nvCxnSpPr>
              <p:cNvPr id="2530" name="Straight Connector 2529">
                <a:extLst>
                  <a:ext uri="{FF2B5EF4-FFF2-40B4-BE49-F238E27FC236}">
                    <a16:creationId xmlns:a16="http://schemas.microsoft.com/office/drawing/2014/main" id="{96D249A3-D0F6-184B-309B-90F9B3F04ECE}"/>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31" name="Straight Connector 2530">
                <a:extLst>
                  <a:ext uri="{FF2B5EF4-FFF2-40B4-BE49-F238E27FC236}">
                    <a16:creationId xmlns:a16="http://schemas.microsoft.com/office/drawing/2014/main" id="{93CE6AF0-BFBA-3127-2C12-6CBD5EF3B378}"/>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32" name="Group 2531">
              <a:extLst>
                <a:ext uri="{FF2B5EF4-FFF2-40B4-BE49-F238E27FC236}">
                  <a16:creationId xmlns:a16="http://schemas.microsoft.com/office/drawing/2014/main" id="{F6DC7E4A-893D-CF0A-3C24-CD4F39BC2161}"/>
                </a:ext>
              </a:extLst>
            </p:cNvPr>
            <p:cNvGrpSpPr/>
            <p:nvPr/>
          </p:nvGrpSpPr>
          <p:grpSpPr>
            <a:xfrm>
              <a:off x="10017839" y="2405611"/>
              <a:ext cx="84024" cy="84024"/>
              <a:chOff x="11521324" y="3611214"/>
              <a:chExt cx="82971" cy="82971"/>
            </a:xfrm>
          </p:grpSpPr>
          <p:cxnSp>
            <p:nvCxnSpPr>
              <p:cNvPr id="2533" name="Straight Connector 2532">
                <a:extLst>
                  <a:ext uri="{FF2B5EF4-FFF2-40B4-BE49-F238E27FC236}">
                    <a16:creationId xmlns:a16="http://schemas.microsoft.com/office/drawing/2014/main" id="{E5C5B126-4033-8499-7BBE-D2F4069C3A62}"/>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34" name="Straight Connector 2533">
                <a:extLst>
                  <a:ext uri="{FF2B5EF4-FFF2-40B4-BE49-F238E27FC236}">
                    <a16:creationId xmlns:a16="http://schemas.microsoft.com/office/drawing/2014/main" id="{8D023085-3691-9EDE-2A2F-683768A54B17}"/>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35" name="Group 2534">
              <a:extLst>
                <a:ext uri="{FF2B5EF4-FFF2-40B4-BE49-F238E27FC236}">
                  <a16:creationId xmlns:a16="http://schemas.microsoft.com/office/drawing/2014/main" id="{AA3691C4-372D-D674-03AC-CDAC62AE139E}"/>
                </a:ext>
              </a:extLst>
            </p:cNvPr>
            <p:cNvGrpSpPr/>
            <p:nvPr/>
          </p:nvGrpSpPr>
          <p:grpSpPr>
            <a:xfrm>
              <a:off x="10003551" y="2405611"/>
              <a:ext cx="84024" cy="84024"/>
              <a:chOff x="11521324" y="3611214"/>
              <a:chExt cx="82971" cy="82971"/>
            </a:xfrm>
          </p:grpSpPr>
          <p:cxnSp>
            <p:nvCxnSpPr>
              <p:cNvPr id="2536" name="Straight Connector 2535">
                <a:extLst>
                  <a:ext uri="{FF2B5EF4-FFF2-40B4-BE49-F238E27FC236}">
                    <a16:creationId xmlns:a16="http://schemas.microsoft.com/office/drawing/2014/main" id="{A7CCD9CA-5B19-89B6-073D-15D729D171A0}"/>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37" name="Straight Connector 2536">
                <a:extLst>
                  <a:ext uri="{FF2B5EF4-FFF2-40B4-BE49-F238E27FC236}">
                    <a16:creationId xmlns:a16="http://schemas.microsoft.com/office/drawing/2014/main" id="{95B28AE6-3CE3-F8F3-08BB-391C134A4286}"/>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38" name="Group 2537">
              <a:extLst>
                <a:ext uri="{FF2B5EF4-FFF2-40B4-BE49-F238E27FC236}">
                  <a16:creationId xmlns:a16="http://schemas.microsoft.com/office/drawing/2014/main" id="{35DE92C1-6E81-1D0E-DFAD-73F3B0FA0969}"/>
                </a:ext>
              </a:extLst>
            </p:cNvPr>
            <p:cNvGrpSpPr/>
            <p:nvPr/>
          </p:nvGrpSpPr>
          <p:grpSpPr>
            <a:xfrm>
              <a:off x="10079750" y="2416641"/>
              <a:ext cx="84024" cy="84024"/>
              <a:chOff x="11521324" y="3611214"/>
              <a:chExt cx="82971" cy="82971"/>
            </a:xfrm>
          </p:grpSpPr>
          <p:cxnSp>
            <p:nvCxnSpPr>
              <p:cNvPr id="2539" name="Straight Connector 2538">
                <a:extLst>
                  <a:ext uri="{FF2B5EF4-FFF2-40B4-BE49-F238E27FC236}">
                    <a16:creationId xmlns:a16="http://schemas.microsoft.com/office/drawing/2014/main" id="{CCCEBA7E-3E3F-847F-54CE-F50D02D3AB1B}"/>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40" name="Straight Connector 2539">
                <a:extLst>
                  <a:ext uri="{FF2B5EF4-FFF2-40B4-BE49-F238E27FC236}">
                    <a16:creationId xmlns:a16="http://schemas.microsoft.com/office/drawing/2014/main" id="{85C72284-6FAD-E526-AEEE-19999DCF2E3B}"/>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41" name="Group 2540">
              <a:extLst>
                <a:ext uri="{FF2B5EF4-FFF2-40B4-BE49-F238E27FC236}">
                  <a16:creationId xmlns:a16="http://schemas.microsoft.com/office/drawing/2014/main" id="{E560B3EA-CEEC-2F4F-DA1C-FFFC6D2A85C7}"/>
                </a:ext>
              </a:extLst>
            </p:cNvPr>
            <p:cNvGrpSpPr/>
            <p:nvPr/>
          </p:nvGrpSpPr>
          <p:grpSpPr>
            <a:xfrm>
              <a:off x="10094893" y="2416641"/>
              <a:ext cx="84024" cy="84024"/>
              <a:chOff x="11521324" y="3611214"/>
              <a:chExt cx="82971" cy="82971"/>
            </a:xfrm>
          </p:grpSpPr>
          <p:cxnSp>
            <p:nvCxnSpPr>
              <p:cNvPr id="2542" name="Straight Connector 2541">
                <a:extLst>
                  <a:ext uri="{FF2B5EF4-FFF2-40B4-BE49-F238E27FC236}">
                    <a16:creationId xmlns:a16="http://schemas.microsoft.com/office/drawing/2014/main" id="{CBEB8BE0-325D-14AD-5321-F98722C57286}"/>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43" name="Straight Connector 2542">
                <a:extLst>
                  <a:ext uri="{FF2B5EF4-FFF2-40B4-BE49-F238E27FC236}">
                    <a16:creationId xmlns:a16="http://schemas.microsoft.com/office/drawing/2014/main" id="{0204BB55-6968-8D44-2AFF-D156784F1D82}"/>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44" name="Group 2543">
              <a:extLst>
                <a:ext uri="{FF2B5EF4-FFF2-40B4-BE49-F238E27FC236}">
                  <a16:creationId xmlns:a16="http://schemas.microsoft.com/office/drawing/2014/main" id="{3F5FB89B-5EBE-F58A-26FF-E11A465C458E}"/>
                </a:ext>
              </a:extLst>
            </p:cNvPr>
            <p:cNvGrpSpPr/>
            <p:nvPr/>
          </p:nvGrpSpPr>
          <p:grpSpPr>
            <a:xfrm>
              <a:off x="10125849" y="2416754"/>
              <a:ext cx="84024" cy="84024"/>
              <a:chOff x="11521324" y="3611214"/>
              <a:chExt cx="82971" cy="82971"/>
            </a:xfrm>
          </p:grpSpPr>
          <p:cxnSp>
            <p:nvCxnSpPr>
              <p:cNvPr id="2545" name="Straight Connector 2544">
                <a:extLst>
                  <a:ext uri="{FF2B5EF4-FFF2-40B4-BE49-F238E27FC236}">
                    <a16:creationId xmlns:a16="http://schemas.microsoft.com/office/drawing/2014/main" id="{3AC35867-9C94-840F-96BB-BAC8898CE784}"/>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46" name="Straight Connector 2545">
                <a:extLst>
                  <a:ext uri="{FF2B5EF4-FFF2-40B4-BE49-F238E27FC236}">
                    <a16:creationId xmlns:a16="http://schemas.microsoft.com/office/drawing/2014/main" id="{59840ABE-88A6-76FE-F304-C3F0F2E56D04}"/>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47" name="Group 2546">
              <a:extLst>
                <a:ext uri="{FF2B5EF4-FFF2-40B4-BE49-F238E27FC236}">
                  <a16:creationId xmlns:a16="http://schemas.microsoft.com/office/drawing/2014/main" id="{ABD7D1FD-1CE2-0644-7F74-08660CE2E846}"/>
                </a:ext>
              </a:extLst>
            </p:cNvPr>
            <p:cNvGrpSpPr/>
            <p:nvPr/>
          </p:nvGrpSpPr>
          <p:grpSpPr>
            <a:xfrm>
              <a:off x="10144048" y="2421516"/>
              <a:ext cx="84024" cy="84024"/>
              <a:chOff x="11521324" y="3611214"/>
              <a:chExt cx="82971" cy="82971"/>
            </a:xfrm>
          </p:grpSpPr>
          <p:cxnSp>
            <p:nvCxnSpPr>
              <p:cNvPr id="2548" name="Straight Connector 2547">
                <a:extLst>
                  <a:ext uri="{FF2B5EF4-FFF2-40B4-BE49-F238E27FC236}">
                    <a16:creationId xmlns:a16="http://schemas.microsoft.com/office/drawing/2014/main" id="{FD838A7E-35E3-1411-9BCE-5E8E4A93EC78}"/>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49" name="Straight Connector 2548">
                <a:extLst>
                  <a:ext uri="{FF2B5EF4-FFF2-40B4-BE49-F238E27FC236}">
                    <a16:creationId xmlns:a16="http://schemas.microsoft.com/office/drawing/2014/main" id="{1A9F9983-8D9C-1177-6B1C-E9A393666385}"/>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50" name="Group 2549">
              <a:extLst>
                <a:ext uri="{FF2B5EF4-FFF2-40B4-BE49-F238E27FC236}">
                  <a16:creationId xmlns:a16="http://schemas.microsoft.com/office/drawing/2014/main" id="{54C6E14F-C2AD-0468-7560-F172A2A4B5F8}"/>
                </a:ext>
              </a:extLst>
            </p:cNvPr>
            <p:cNvGrpSpPr/>
            <p:nvPr/>
          </p:nvGrpSpPr>
          <p:grpSpPr>
            <a:xfrm>
              <a:off x="10139286" y="2416641"/>
              <a:ext cx="84024" cy="84024"/>
              <a:chOff x="11521324" y="3611214"/>
              <a:chExt cx="82971" cy="82971"/>
            </a:xfrm>
          </p:grpSpPr>
          <p:cxnSp>
            <p:nvCxnSpPr>
              <p:cNvPr id="2551" name="Straight Connector 2550">
                <a:extLst>
                  <a:ext uri="{FF2B5EF4-FFF2-40B4-BE49-F238E27FC236}">
                    <a16:creationId xmlns:a16="http://schemas.microsoft.com/office/drawing/2014/main" id="{2276B129-724F-8798-ACC5-01701859458D}"/>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52" name="Straight Connector 2551">
                <a:extLst>
                  <a:ext uri="{FF2B5EF4-FFF2-40B4-BE49-F238E27FC236}">
                    <a16:creationId xmlns:a16="http://schemas.microsoft.com/office/drawing/2014/main" id="{0176F017-BCE2-7ED8-F35D-0A7E0B3DADDE}"/>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53" name="Group 2552">
              <a:extLst>
                <a:ext uri="{FF2B5EF4-FFF2-40B4-BE49-F238E27FC236}">
                  <a16:creationId xmlns:a16="http://schemas.microsoft.com/office/drawing/2014/main" id="{02CA6E0C-4D2F-683D-C091-B47FE9F06E07}"/>
                </a:ext>
              </a:extLst>
            </p:cNvPr>
            <p:cNvGrpSpPr/>
            <p:nvPr/>
          </p:nvGrpSpPr>
          <p:grpSpPr>
            <a:xfrm>
              <a:off x="11372372" y="2521991"/>
              <a:ext cx="84024" cy="84024"/>
              <a:chOff x="11521324" y="3611214"/>
              <a:chExt cx="82971" cy="82971"/>
            </a:xfrm>
          </p:grpSpPr>
          <p:cxnSp>
            <p:nvCxnSpPr>
              <p:cNvPr id="2554" name="Straight Connector 2553">
                <a:extLst>
                  <a:ext uri="{FF2B5EF4-FFF2-40B4-BE49-F238E27FC236}">
                    <a16:creationId xmlns:a16="http://schemas.microsoft.com/office/drawing/2014/main" id="{04678FBE-B576-98D8-4AEC-3B54DB9963F4}"/>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55" name="Straight Connector 2554">
                <a:extLst>
                  <a:ext uri="{FF2B5EF4-FFF2-40B4-BE49-F238E27FC236}">
                    <a16:creationId xmlns:a16="http://schemas.microsoft.com/office/drawing/2014/main" id="{56C8174C-FCA5-AE5D-CCC2-48E83F9EDBEB}"/>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56" name="Group 2555">
              <a:extLst>
                <a:ext uri="{FF2B5EF4-FFF2-40B4-BE49-F238E27FC236}">
                  <a16:creationId xmlns:a16="http://schemas.microsoft.com/office/drawing/2014/main" id="{8DDF932E-B79D-4457-D318-7A31418D760E}"/>
                </a:ext>
              </a:extLst>
            </p:cNvPr>
            <p:cNvGrpSpPr/>
            <p:nvPr/>
          </p:nvGrpSpPr>
          <p:grpSpPr>
            <a:xfrm>
              <a:off x="11296172" y="2521991"/>
              <a:ext cx="84024" cy="84024"/>
              <a:chOff x="11521324" y="3611214"/>
              <a:chExt cx="82971" cy="82971"/>
            </a:xfrm>
          </p:grpSpPr>
          <p:cxnSp>
            <p:nvCxnSpPr>
              <p:cNvPr id="2557" name="Straight Connector 2556">
                <a:extLst>
                  <a:ext uri="{FF2B5EF4-FFF2-40B4-BE49-F238E27FC236}">
                    <a16:creationId xmlns:a16="http://schemas.microsoft.com/office/drawing/2014/main" id="{73DB9E7F-D055-3DCF-2AAC-E5BE27D8F4C4}"/>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58" name="Straight Connector 2557">
                <a:extLst>
                  <a:ext uri="{FF2B5EF4-FFF2-40B4-BE49-F238E27FC236}">
                    <a16:creationId xmlns:a16="http://schemas.microsoft.com/office/drawing/2014/main" id="{E77EAA6E-4CE5-17C5-D3E5-61C96474F1B9}"/>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59" name="Group 2558">
              <a:extLst>
                <a:ext uri="{FF2B5EF4-FFF2-40B4-BE49-F238E27FC236}">
                  <a16:creationId xmlns:a16="http://schemas.microsoft.com/office/drawing/2014/main" id="{C0809F13-F0FE-A020-58EE-9DEE3EEE6091}"/>
                </a:ext>
              </a:extLst>
            </p:cNvPr>
            <p:cNvGrpSpPr/>
            <p:nvPr/>
          </p:nvGrpSpPr>
          <p:grpSpPr>
            <a:xfrm>
              <a:off x="11286647" y="2521991"/>
              <a:ext cx="84024" cy="84024"/>
              <a:chOff x="11521324" y="3611214"/>
              <a:chExt cx="82971" cy="82971"/>
            </a:xfrm>
          </p:grpSpPr>
          <p:cxnSp>
            <p:nvCxnSpPr>
              <p:cNvPr id="2560" name="Straight Connector 2559">
                <a:extLst>
                  <a:ext uri="{FF2B5EF4-FFF2-40B4-BE49-F238E27FC236}">
                    <a16:creationId xmlns:a16="http://schemas.microsoft.com/office/drawing/2014/main" id="{6052EA6B-9295-7328-E5B8-F89EDF295F53}"/>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61" name="Straight Connector 2560">
                <a:extLst>
                  <a:ext uri="{FF2B5EF4-FFF2-40B4-BE49-F238E27FC236}">
                    <a16:creationId xmlns:a16="http://schemas.microsoft.com/office/drawing/2014/main" id="{9E7102B7-EB35-D29C-CD6A-F5EE2CA37A57}"/>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62" name="Group 2561">
              <a:extLst>
                <a:ext uri="{FF2B5EF4-FFF2-40B4-BE49-F238E27FC236}">
                  <a16:creationId xmlns:a16="http://schemas.microsoft.com/office/drawing/2014/main" id="{E4D1BED9-6A4B-CFEA-A643-85A4532D8634}"/>
                </a:ext>
              </a:extLst>
            </p:cNvPr>
            <p:cNvGrpSpPr/>
            <p:nvPr/>
          </p:nvGrpSpPr>
          <p:grpSpPr>
            <a:xfrm>
              <a:off x="11277122" y="2521991"/>
              <a:ext cx="84024" cy="84024"/>
              <a:chOff x="11521324" y="3611214"/>
              <a:chExt cx="82971" cy="82971"/>
            </a:xfrm>
          </p:grpSpPr>
          <p:cxnSp>
            <p:nvCxnSpPr>
              <p:cNvPr id="2563" name="Straight Connector 2562">
                <a:extLst>
                  <a:ext uri="{FF2B5EF4-FFF2-40B4-BE49-F238E27FC236}">
                    <a16:creationId xmlns:a16="http://schemas.microsoft.com/office/drawing/2014/main" id="{60C921C8-15E9-8379-990A-19D5BF46E4BC}"/>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64" name="Straight Connector 2563">
                <a:extLst>
                  <a:ext uri="{FF2B5EF4-FFF2-40B4-BE49-F238E27FC236}">
                    <a16:creationId xmlns:a16="http://schemas.microsoft.com/office/drawing/2014/main" id="{774B16E6-3C75-C8A2-3341-F64420B44C05}"/>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65" name="Group 2564">
              <a:extLst>
                <a:ext uri="{FF2B5EF4-FFF2-40B4-BE49-F238E27FC236}">
                  <a16:creationId xmlns:a16="http://schemas.microsoft.com/office/drawing/2014/main" id="{E7FDE647-3E86-D04B-0C9F-A923A5C8999B}"/>
                </a:ext>
              </a:extLst>
            </p:cNvPr>
            <p:cNvGrpSpPr/>
            <p:nvPr/>
          </p:nvGrpSpPr>
          <p:grpSpPr>
            <a:xfrm>
              <a:off x="11246166" y="2521991"/>
              <a:ext cx="84024" cy="84024"/>
              <a:chOff x="11521324" y="3611214"/>
              <a:chExt cx="82971" cy="82971"/>
            </a:xfrm>
          </p:grpSpPr>
          <p:cxnSp>
            <p:nvCxnSpPr>
              <p:cNvPr id="2566" name="Straight Connector 2565">
                <a:extLst>
                  <a:ext uri="{FF2B5EF4-FFF2-40B4-BE49-F238E27FC236}">
                    <a16:creationId xmlns:a16="http://schemas.microsoft.com/office/drawing/2014/main" id="{AB15CD39-0AE8-C94A-ED8C-E4393B72EA85}"/>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67" name="Straight Connector 2566">
                <a:extLst>
                  <a:ext uri="{FF2B5EF4-FFF2-40B4-BE49-F238E27FC236}">
                    <a16:creationId xmlns:a16="http://schemas.microsoft.com/office/drawing/2014/main" id="{2709F264-F362-2EF7-C0DE-769A297D2DD9}"/>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68" name="Group 2567">
              <a:extLst>
                <a:ext uri="{FF2B5EF4-FFF2-40B4-BE49-F238E27FC236}">
                  <a16:creationId xmlns:a16="http://schemas.microsoft.com/office/drawing/2014/main" id="{7363D29D-4013-CBC2-9A2D-45A1A56FEFD1}"/>
                </a:ext>
              </a:extLst>
            </p:cNvPr>
            <p:cNvGrpSpPr/>
            <p:nvPr/>
          </p:nvGrpSpPr>
          <p:grpSpPr>
            <a:xfrm>
              <a:off x="11224735" y="2521991"/>
              <a:ext cx="84024" cy="84024"/>
              <a:chOff x="11521324" y="3611214"/>
              <a:chExt cx="82971" cy="82971"/>
            </a:xfrm>
          </p:grpSpPr>
          <p:cxnSp>
            <p:nvCxnSpPr>
              <p:cNvPr id="2569" name="Straight Connector 2568">
                <a:extLst>
                  <a:ext uri="{FF2B5EF4-FFF2-40B4-BE49-F238E27FC236}">
                    <a16:creationId xmlns:a16="http://schemas.microsoft.com/office/drawing/2014/main" id="{82D40360-E63D-0237-6B9D-EBE586413DAC}"/>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70" name="Straight Connector 2569">
                <a:extLst>
                  <a:ext uri="{FF2B5EF4-FFF2-40B4-BE49-F238E27FC236}">
                    <a16:creationId xmlns:a16="http://schemas.microsoft.com/office/drawing/2014/main" id="{FCD35CA5-314D-45EF-B2A7-DBFA8AB34C25}"/>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71" name="Group 2570">
              <a:extLst>
                <a:ext uri="{FF2B5EF4-FFF2-40B4-BE49-F238E27FC236}">
                  <a16:creationId xmlns:a16="http://schemas.microsoft.com/office/drawing/2014/main" id="{602BF3A1-CA63-3A29-CB2E-1C517E71C15F}"/>
                </a:ext>
              </a:extLst>
            </p:cNvPr>
            <p:cNvGrpSpPr/>
            <p:nvPr/>
          </p:nvGrpSpPr>
          <p:grpSpPr>
            <a:xfrm>
              <a:off x="11200348" y="2521991"/>
              <a:ext cx="84024" cy="84024"/>
              <a:chOff x="11521324" y="3611214"/>
              <a:chExt cx="82971" cy="82971"/>
            </a:xfrm>
          </p:grpSpPr>
          <p:cxnSp>
            <p:nvCxnSpPr>
              <p:cNvPr id="2572" name="Straight Connector 2571">
                <a:extLst>
                  <a:ext uri="{FF2B5EF4-FFF2-40B4-BE49-F238E27FC236}">
                    <a16:creationId xmlns:a16="http://schemas.microsoft.com/office/drawing/2014/main" id="{66D111BD-0BE6-86C0-C0BE-D46F4C1C074A}"/>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73" name="Straight Connector 2572">
                <a:extLst>
                  <a:ext uri="{FF2B5EF4-FFF2-40B4-BE49-F238E27FC236}">
                    <a16:creationId xmlns:a16="http://schemas.microsoft.com/office/drawing/2014/main" id="{E35BDBF9-21A7-E170-321A-E6FFD70F11F9}"/>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74" name="Group 2573">
              <a:extLst>
                <a:ext uri="{FF2B5EF4-FFF2-40B4-BE49-F238E27FC236}">
                  <a16:creationId xmlns:a16="http://schemas.microsoft.com/office/drawing/2014/main" id="{80131671-AD77-5646-414C-CBD62787C410}"/>
                </a:ext>
              </a:extLst>
            </p:cNvPr>
            <p:cNvGrpSpPr/>
            <p:nvPr/>
          </p:nvGrpSpPr>
          <p:grpSpPr>
            <a:xfrm>
              <a:off x="11190824" y="2521991"/>
              <a:ext cx="84024" cy="84024"/>
              <a:chOff x="11521324" y="3611214"/>
              <a:chExt cx="82971" cy="82971"/>
            </a:xfrm>
          </p:grpSpPr>
          <p:cxnSp>
            <p:nvCxnSpPr>
              <p:cNvPr id="2575" name="Straight Connector 2574">
                <a:extLst>
                  <a:ext uri="{FF2B5EF4-FFF2-40B4-BE49-F238E27FC236}">
                    <a16:creationId xmlns:a16="http://schemas.microsoft.com/office/drawing/2014/main" id="{DD139915-8575-5165-2D0D-0E3D6333127C}"/>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76" name="Straight Connector 2575">
                <a:extLst>
                  <a:ext uri="{FF2B5EF4-FFF2-40B4-BE49-F238E27FC236}">
                    <a16:creationId xmlns:a16="http://schemas.microsoft.com/office/drawing/2014/main" id="{F3B10985-106F-88FD-EBC3-B42A953F7274}"/>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77" name="Group 2576">
              <a:extLst>
                <a:ext uri="{FF2B5EF4-FFF2-40B4-BE49-F238E27FC236}">
                  <a16:creationId xmlns:a16="http://schemas.microsoft.com/office/drawing/2014/main" id="{1743035C-2020-4004-6F07-D183EA675C5F}"/>
                </a:ext>
              </a:extLst>
            </p:cNvPr>
            <p:cNvGrpSpPr/>
            <p:nvPr/>
          </p:nvGrpSpPr>
          <p:grpSpPr>
            <a:xfrm>
              <a:off x="11165482" y="2521991"/>
              <a:ext cx="84024" cy="84024"/>
              <a:chOff x="11521324" y="3611214"/>
              <a:chExt cx="82971" cy="82971"/>
            </a:xfrm>
          </p:grpSpPr>
          <p:cxnSp>
            <p:nvCxnSpPr>
              <p:cNvPr id="2578" name="Straight Connector 2577">
                <a:extLst>
                  <a:ext uri="{FF2B5EF4-FFF2-40B4-BE49-F238E27FC236}">
                    <a16:creationId xmlns:a16="http://schemas.microsoft.com/office/drawing/2014/main" id="{C55C615A-B5AE-3DC5-7758-358400C53B7E}"/>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79" name="Straight Connector 2578">
                <a:extLst>
                  <a:ext uri="{FF2B5EF4-FFF2-40B4-BE49-F238E27FC236}">
                    <a16:creationId xmlns:a16="http://schemas.microsoft.com/office/drawing/2014/main" id="{9CE64139-A31B-3B6C-97AF-65B76DA8628D}"/>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80" name="Group 2579">
              <a:extLst>
                <a:ext uri="{FF2B5EF4-FFF2-40B4-BE49-F238E27FC236}">
                  <a16:creationId xmlns:a16="http://schemas.microsoft.com/office/drawing/2014/main" id="{A2518AF9-3F88-1905-FBFF-BC18DED3727B}"/>
                </a:ext>
              </a:extLst>
            </p:cNvPr>
            <p:cNvGrpSpPr/>
            <p:nvPr/>
          </p:nvGrpSpPr>
          <p:grpSpPr>
            <a:xfrm>
              <a:off x="11094044" y="2521991"/>
              <a:ext cx="84024" cy="84024"/>
              <a:chOff x="11521324" y="3611214"/>
              <a:chExt cx="82971" cy="82971"/>
            </a:xfrm>
          </p:grpSpPr>
          <p:cxnSp>
            <p:nvCxnSpPr>
              <p:cNvPr id="2581" name="Straight Connector 2580">
                <a:extLst>
                  <a:ext uri="{FF2B5EF4-FFF2-40B4-BE49-F238E27FC236}">
                    <a16:creationId xmlns:a16="http://schemas.microsoft.com/office/drawing/2014/main" id="{8BBDFE9B-5837-9C52-A551-D0AB7F5E1AC5}"/>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82" name="Straight Connector 2581">
                <a:extLst>
                  <a:ext uri="{FF2B5EF4-FFF2-40B4-BE49-F238E27FC236}">
                    <a16:creationId xmlns:a16="http://schemas.microsoft.com/office/drawing/2014/main" id="{612FAC1A-48D4-508E-42C7-CF6C5853E9F7}"/>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83" name="Group 2582">
              <a:extLst>
                <a:ext uri="{FF2B5EF4-FFF2-40B4-BE49-F238E27FC236}">
                  <a16:creationId xmlns:a16="http://schemas.microsoft.com/office/drawing/2014/main" id="{81B397DB-7826-08D8-AE2B-FFF9B0C218ED}"/>
                </a:ext>
              </a:extLst>
            </p:cNvPr>
            <p:cNvGrpSpPr/>
            <p:nvPr/>
          </p:nvGrpSpPr>
          <p:grpSpPr>
            <a:xfrm>
              <a:off x="11110713" y="2521991"/>
              <a:ext cx="84024" cy="84024"/>
              <a:chOff x="11521324" y="3611214"/>
              <a:chExt cx="82971" cy="82971"/>
            </a:xfrm>
          </p:grpSpPr>
          <p:cxnSp>
            <p:nvCxnSpPr>
              <p:cNvPr id="2584" name="Straight Connector 2583">
                <a:extLst>
                  <a:ext uri="{FF2B5EF4-FFF2-40B4-BE49-F238E27FC236}">
                    <a16:creationId xmlns:a16="http://schemas.microsoft.com/office/drawing/2014/main" id="{CDE3228F-43D8-9766-09C2-686ED7B3F887}"/>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85" name="Straight Connector 2584">
                <a:extLst>
                  <a:ext uri="{FF2B5EF4-FFF2-40B4-BE49-F238E27FC236}">
                    <a16:creationId xmlns:a16="http://schemas.microsoft.com/office/drawing/2014/main" id="{4019EFFB-76B4-12F5-BC91-8092B269B050}"/>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86" name="Group 2585">
              <a:extLst>
                <a:ext uri="{FF2B5EF4-FFF2-40B4-BE49-F238E27FC236}">
                  <a16:creationId xmlns:a16="http://schemas.microsoft.com/office/drawing/2014/main" id="{B3F16522-5D47-1A7C-EF38-4F8BBBB88C5F}"/>
                </a:ext>
              </a:extLst>
            </p:cNvPr>
            <p:cNvGrpSpPr/>
            <p:nvPr/>
          </p:nvGrpSpPr>
          <p:grpSpPr>
            <a:xfrm>
              <a:off x="11129763" y="2521991"/>
              <a:ext cx="84024" cy="84024"/>
              <a:chOff x="11521324" y="3611214"/>
              <a:chExt cx="82971" cy="82971"/>
            </a:xfrm>
          </p:grpSpPr>
          <p:cxnSp>
            <p:nvCxnSpPr>
              <p:cNvPr id="2587" name="Straight Connector 2586">
                <a:extLst>
                  <a:ext uri="{FF2B5EF4-FFF2-40B4-BE49-F238E27FC236}">
                    <a16:creationId xmlns:a16="http://schemas.microsoft.com/office/drawing/2014/main" id="{D2CC14C4-E295-D96F-92D1-B718B2972AE7}"/>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88" name="Straight Connector 2587">
                <a:extLst>
                  <a:ext uri="{FF2B5EF4-FFF2-40B4-BE49-F238E27FC236}">
                    <a16:creationId xmlns:a16="http://schemas.microsoft.com/office/drawing/2014/main" id="{0516F348-2EB9-53A1-5001-6C9C595B0F98}"/>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89" name="Group 2588">
              <a:extLst>
                <a:ext uri="{FF2B5EF4-FFF2-40B4-BE49-F238E27FC236}">
                  <a16:creationId xmlns:a16="http://schemas.microsoft.com/office/drawing/2014/main" id="{740F9B63-3FAD-C33E-7267-A7E7CDBFA5D1}"/>
                </a:ext>
              </a:extLst>
            </p:cNvPr>
            <p:cNvGrpSpPr/>
            <p:nvPr/>
          </p:nvGrpSpPr>
          <p:grpSpPr>
            <a:xfrm>
              <a:off x="11148812" y="2521991"/>
              <a:ext cx="84024" cy="84024"/>
              <a:chOff x="11521324" y="3611214"/>
              <a:chExt cx="82971" cy="82971"/>
            </a:xfrm>
          </p:grpSpPr>
          <p:cxnSp>
            <p:nvCxnSpPr>
              <p:cNvPr id="2590" name="Straight Connector 2589">
                <a:extLst>
                  <a:ext uri="{FF2B5EF4-FFF2-40B4-BE49-F238E27FC236}">
                    <a16:creationId xmlns:a16="http://schemas.microsoft.com/office/drawing/2014/main" id="{C4C7920A-D4A4-BFBF-7623-DEB379A5214E}"/>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91" name="Straight Connector 2590">
                <a:extLst>
                  <a:ext uri="{FF2B5EF4-FFF2-40B4-BE49-F238E27FC236}">
                    <a16:creationId xmlns:a16="http://schemas.microsoft.com/office/drawing/2014/main" id="{D5A396B6-1A11-9E82-74F4-D1BF7F5C3058}"/>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92" name="Group 2591">
              <a:extLst>
                <a:ext uri="{FF2B5EF4-FFF2-40B4-BE49-F238E27FC236}">
                  <a16:creationId xmlns:a16="http://schemas.microsoft.com/office/drawing/2014/main" id="{DD27F960-3E62-3B10-2714-4BB3BE1B5A45}"/>
                </a:ext>
              </a:extLst>
            </p:cNvPr>
            <p:cNvGrpSpPr/>
            <p:nvPr/>
          </p:nvGrpSpPr>
          <p:grpSpPr>
            <a:xfrm>
              <a:off x="11063086" y="2521991"/>
              <a:ext cx="84024" cy="84024"/>
              <a:chOff x="11521324" y="3611214"/>
              <a:chExt cx="82971" cy="82971"/>
            </a:xfrm>
          </p:grpSpPr>
          <p:cxnSp>
            <p:nvCxnSpPr>
              <p:cNvPr id="2593" name="Straight Connector 2592">
                <a:extLst>
                  <a:ext uri="{FF2B5EF4-FFF2-40B4-BE49-F238E27FC236}">
                    <a16:creationId xmlns:a16="http://schemas.microsoft.com/office/drawing/2014/main" id="{019C837D-43AC-60EB-44EA-1661CDC438B5}"/>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94" name="Straight Connector 2593">
                <a:extLst>
                  <a:ext uri="{FF2B5EF4-FFF2-40B4-BE49-F238E27FC236}">
                    <a16:creationId xmlns:a16="http://schemas.microsoft.com/office/drawing/2014/main" id="{32D64D34-B042-145E-02E8-EC8A23C02A9C}"/>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95" name="Group 2594">
              <a:extLst>
                <a:ext uri="{FF2B5EF4-FFF2-40B4-BE49-F238E27FC236}">
                  <a16:creationId xmlns:a16="http://schemas.microsoft.com/office/drawing/2014/main" id="{4EF0390F-B433-8ED9-C2AE-C37D6F198B43}"/>
                </a:ext>
              </a:extLst>
            </p:cNvPr>
            <p:cNvGrpSpPr/>
            <p:nvPr/>
          </p:nvGrpSpPr>
          <p:grpSpPr>
            <a:xfrm>
              <a:off x="11046418" y="2521991"/>
              <a:ext cx="84024" cy="84024"/>
              <a:chOff x="11521324" y="3611214"/>
              <a:chExt cx="82971" cy="82971"/>
            </a:xfrm>
          </p:grpSpPr>
          <p:cxnSp>
            <p:nvCxnSpPr>
              <p:cNvPr id="2596" name="Straight Connector 2595">
                <a:extLst>
                  <a:ext uri="{FF2B5EF4-FFF2-40B4-BE49-F238E27FC236}">
                    <a16:creationId xmlns:a16="http://schemas.microsoft.com/office/drawing/2014/main" id="{3C138A6E-166A-49D7-D25C-49A136D923F7}"/>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97" name="Straight Connector 2596">
                <a:extLst>
                  <a:ext uri="{FF2B5EF4-FFF2-40B4-BE49-F238E27FC236}">
                    <a16:creationId xmlns:a16="http://schemas.microsoft.com/office/drawing/2014/main" id="{CF9242F1-99D0-5097-CC89-523C8D634C7F}"/>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98" name="Group 2597">
              <a:extLst>
                <a:ext uri="{FF2B5EF4-FFF2-40B4-BE49-F238E27FC236}">
                  <a16:creationId xmlns:a16="http://schemas.microsoft.com/office/drawing/2014/main" id="{640F5ECC-53CA-FB52-D27C-3DEB7A9AE42D}"/>
                </a:ext>
              </a:extLst>
            </p:cNvPr>
            <p:cNvGrpSpPr/>
            <p:nvPr/>
          </p:nvGrpSpPr>
          <p:grpSpPr>
            <a:xfrm>
              <a:off x="11024987" y="2519610"/>
              <a:ext cx="84024" cy="84024"/>
              <a:chOff x="11521324" y="3611214"/>
              <a:chExt cx="82971" cy="82971"/>
            </a:xfrm>
          </p:grpSpPr>
          <p:cxnSp>
            <p:nvCxnSpPr>
              <p:cNvPr id="2599" name="Straight Connector 2598">
                <a:extLst>
                  <a:ext uri="{FF2B5EF4-FFF2-40B4-BE49-F238E27FC236}">
                    <a16:creationId xmlns:a16="http://schemas.microsoft.com/office/drawing/2014/main" id="{E0E9E354-DD4A-4A58-84A6-89D519205049}"/>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00" name="Straight Connector 2599">
                <a:extLst>
                  <a:ext uri="{FF2B5EF4-FFF2-40B4-BE49-F238E27FC236}">
                    <a16:creationId xmlns:a16="http://schemas.microsoft.com/office/drawing/2014/main" id="{13957357-453C-340A-9C3A-C02ECFE89287}"/>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601" name="Group 2600">
              <a:extLst>
                <a:ext uri="{FF2B5EF4-FFF2-40B4-BE49-F238E27FC236}">
                  <a16:creationId xmlns:a16="http://schemas.microsoft.com/office/drawing/2014/main" id="{D39AE338-1972-8487-B892-E24DBF410F25}"/>
                </a:ext>
              </a:extLst>
            </p:cNvPr>
            <p:cNvGrpSpPr/>
            <p:nvPr/>
          </p:nvGrpSpPr>
          <p:grpSpPr>
            <a:xfrm>
              <a:off x="10865146" y="2519610"/>
              <a:ext cx="84024" cy="84024"/>
              <a:chOff x="11521324" y="3611214"/>
              <a:chExt cx="82971" cy="82971"/>
            </a:xfrm>
          </p:grpSpPr>
          <p:cxnSp>
            <p:nvCxnSpPr>
              <p:cNvPr id="2602" name="Straight Connector 2601">
                <a:extLst>
                  <a:ext uri="{FF2B5EF4-FFF2-40B4-BE49-F238E27FC236}">
                    <a16:creationId xmlns:a16="http://schemas.microsoft.com/office/drawing/2014/main" id="{3214F3A7-E614-6D3D-76DF-BDC46C110FF3}"/>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03" name="Straight Connector 2602">
                <a:extLst>
                  <a:ext uri="{FF2B5EF4-FFF2-40B4-BE49-F238E27FC236}">
                    <a16:creationId xmlns:a16="http://schemas.microsoft.com/office/drawing/2014/main" id="{E75577E1-C222-9BBA-F278-98985EAF9D73}"/>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604" name="Group 2603">
              <a:extLst>
                <a:ext uri="{FF2B5EF4-FFF2-40B4-BE49-F238E27FC236}">
                  <a16:creationId xmlns:a16="http://schemas.microsoft.com/office/drawing/2014/main" id="{8C92C8CC-C033-BD64-FBB4-3190055673B6}"/>
                </a:ext>
              </a:extLst>
            </p:cNvPr>
            <p:cNvGrpSpPr/>
            <p:nvPr/>
          </p:nvGrpSpPr>
          <p:grpSpPr>
            <a:xfrm>
              <a:off x="10881814" y="2519610"/>
              <a:ext cx="84024" cy="84024"/>
              <a:chOff x="11521324" y="3611214"/>
              <a:chExt cx="82971" cy="82971"/>
            </a:xfrm>
          </p:grpSpPr>
          <p:cxnSp>
            <p:nvCxnSpPr>
              <p:cNvPr id="2605" name="Straight Connector 2604">
                <a:extLst>
                  <a:ext uri="{FF2B5EF4-FFF2-40B4-BE49-F238E27FC236}">
                    <a16:creationId xmlns:a16="http://schemas.microsoft.com/office/drawing/2014/main" id="{22795C26-6A73-AF9E-0B6B-ABE3000476D2}"/>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06" name="Straight Connector 2605">
                <a:extLst>
                  <a:ext uri="{FF2B5EF4-FFF2-40B4-BE49-F238E27FC236}">
                    <a16:creationId xmlns:a16="http://schemas.microsoft.com/office/drawing/2014/main" id="{DE6B089D-7081-D433-F21C-E6E266E83D94}"/>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607" name="Group 2606">
              <a:extLst>
                <a:ext uri="{FF2B5EF4-FFF2-40B4-BE49-F238E27FC236}">
                  <a16:creationId xmlns:a16="http://schemas.microsoft.com/office/drawing/2014/main" id="{B6AC5B28-D1AC-40A6-EE2C-B33B50862DB2}"/>
                </a:ext>
              </a:extLst>
            </p:cNvPr>
            <p:cNvGrpSpPr/>
            <p:nvPr/>
          </p:nvGrpSpPr>
          <p:grpSpPr>
            <a:xfrm>
              <a:off x="10898484" y="2519610"/>
              <a:ext cx="84024" cy="84024"/>
              <a:chOff x="11521324" y="3611214"/>
              <a:chExt cx="82971" cy="82971"/>
            </a:xfrm>
          </p:grpSpPr>
          <p:cxnSp>
            <p:nvCxnSpPr>
              <p:cNvPr id="2608" name="Straight Connector 2607">
                <a:extLst>
                  <a:ext uri="{FF2B5EF4-FFF2-40B4-BE49-F238E27FC236}">
                    <a16:creationId xmlns:a16="http://schemas.microsoft.com/office/drawing/2014/main" id="{8670CE81-C744-F0B3-99A1-19B743930D80}"/>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09" name="Straight Connector 2608">
                <a:extLst>
                  <a:ext uri="{FF2B5EF4-FFF2-40B4-BE49-F238E27FC236}">
                    <a16:creationId xmlns:a16="http://schemas.microsoft.com/office/drawing/2014/main" id="{849E3C0B-A173-8CF4-230D-3C5425DAA0B5}"/>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610" name="Group 2609">
              <a:extLst>
                <a:ext uri="{FF2B5EF4-FFF2-40B4-BE49-F238E27FC236}">
                  <a16:creationId xmlns:a16="http://schemas.microsoft.com/office/drawing/2014/main" id="{25479388-37EC-6A8B-DD2F-A7B32C767C3C}"/>
                </a:ext>
              </a:extLst>
            </p:cNvPr>
            <p:cNvGrpSpPr/>
            <p:nvPr/>
          </p:nvGrpSpPr>
          <p:grpSpPr>
            <a:xfrm>
              <a:off x="10911921" y="2519610"/>
              <a:ext cx="84024" cy="84024"/>
              <a:chOff x="11521324" y="3611214"/>
              <a:chExt cx="82971" cy="82971"/>
            </a:xfrm>
          </p:grpSpPr>
          <p:cxnSp>
            <p:nvCxnSpPr>
              <p:cNvPr id="2611" name="Straight Connector 2610">
                <a:extLst>
                  <a:ext uri="{FF2B5EF4-FFF2-40B4-BE49-F238E27FC236}">
                    <a16:creationId xmlns:a16="http://schemas.microsoft.com/office/drawing/2014/main" id="{69C131AA-DF19-2A24-446E-73F27861200D}"/>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12" name="Straight Connector 2611">
                <a:extLst>
                  <a:ext uri="{FF2B5EF4-FFF2-40B4-BE49-F238E27FC236}">
                    <a16:creationId xmlns:a16="http://schemas.microsoft.com/office/drawing/2014/main" id="{47FE060C-25FA-C344-92A6-237501711DAE}"/>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613" name="Group 2612">
              <a:extLst>
                <a:ext uri="{FF2B5EF4-FFF2-40B4-BE49-F238E27FC236}">
                  <a16:creationId xmlns:a16="http://schemas.microsoft.com/office/drawing/2014/main" id="{1AF61304-6DFE-105E-2149-695F302B6BFB}"/>
                </a:ext>
              </a:extLst>
            </p:cNvPr>
            <p:cNvGrpSpPr/>
            <p:nvPr/>
          </p:nvGrpSpPr>
          <p:grpSpPr>
            <a:xfrm>
              <a:off x="10926207" y="2519610"/>
              <a:ext cx="84024" cy="84024"/>
              <a:chOff x="11521324" y="3611214"/>
              <a:chExt cx="82971" cy="82971"/>
            </a:xfrm>
          </p:grpSpPr>
          <p:cxnSp>
            <p:nvCxnSpPr>
              <p:cNvPr id="2614" name="Straight Connector 2613">
                <a:extLst>
                  <a:ext uri="{FF2B5EF4-FFF2-40B4-BE49-F238E27FC236}">
                    <a16:creationId xmlns:a16="http://schemas.microsoft.com/office/drawing/2014/main" id="{98AE29D2-F1B5-723B-1D1C-A7C7A18E8C80}"/>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15" name="Straight Connector 2614">
                <a:extLst>
                  <a:ext uri="{FF2B5EF4-FFF2-40B4-BE49-F238E27FC236}">
                    <a16:creationId xmlns:a16="http://schemas.microsoft.com/office/drawing/2014/main" id="{1D23AD7C-28A0-B55B-F5EA-F4EF9C72DE80}"/>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616" name="Group 2615">
              <a:extLst>
                <a:ext uri="{FF2B5EF4-FFF2-40B4-BE49-F238E27FC236}">
                  <a16:creationId xmlns:a16="http://schemas.microsoft.com/office/drawing/2014/main" id="{D1DD38FD-60C8-0D97-85F2-1F7AA7E88547}"/>
                </a:ext>
              </a:extLst>
            </p:cNvPr>
            <p:cNvGrpSpPr/>
            <p:nvPr/>
          </p:nvGrpSpPr>
          <p:grpSpPr>
            <a:xfrm>
              <a:off x="10940496" y="2519610"/>
              <a:ext cx="84024" cy="84024"/>
              <a:chOff x="11521324" y="3611214"/>
              <a:chExt cx="82971" cy="82971"/>
            </a:xfrm>
          </p:grpSpPr>
          <p:cxnSp>
            <p:nvCxnSpPr>
              <p:cNvPr id="2617" name="Straight Connector 2616">
                <a:extLst>
                  <a:ext uri="{FF2B5EF4-FFF2-40B4-BE49-F238E27FC236}">
                    <a16:creationId xmlns:a16="http://schemas.microsoft.com/office/drawing/2014/main" id="{E9B3AE63-09D6-7E66-8755-213360BB95F2}"/>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18" name="Straight Connector 2617">
                <a:extLst>
                  <a:ext uri="{FF2B5EF4-FFF2-40B4-BE49-F238E27FC236}">
                    <a16:creationId xmlns:a16="http://schemas.microsoft.com/office/drawing/2014/main" id="{9A15D960-30CE-DD77-CD77-7B73645DAC51}"/>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619" name="Group 2618">
              <a:extLst>
                <a:ext uri="{FF2B5EF4-FFF2-40B4-BE49-F238E27FC236}">
                  <a16:creationId xmlns:a16="http://schemas.microsoft.com/office/drawing/2014/main" id="{661B8826-75C5-7B70-6B88-2C72334AE9D0}"/>
                </a:ext>
              </a:extLst>
            </p:cNvPr>
            <p:cNvGrpSpPr/>
            <p:nvPr/>
          </p:nvGrpSpPr>
          <p:grpSpPr>
            <a:xfrm>
              <a:off x="10954784" y="2519610"/>
              <a:ext cx="84024" cy="84024"/>
              <a:chOff x="11521324" y="3611214"/>
              <a:chExt cx="82971" cy="82971"/>
            </a:xfrm>
          </p:grpSpPr>
          <p:cxnSp>
            <p:nvCxnSpPr>
              <p:cNvPr id="2620" name="Straight Connector 2619">
                <a:extLst>
                  <a:ext uri="{FF2B5EF4-FFF2-40B4-BE49-F238E27FC236}">
                    <a16:creationId xmlns:a16="http://schemas.microsoft.com/office/drawing/2014/main" id="{FC9986E3-D163-C253-DCC7-27BFBD32C7F8}"/>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21" name="Straight Connector 2620">
                <a:extLst>
                  <a:ext uri="{FF2B5EF4-FFF2-40B4-BE49-F238E27FC236}">
                    <a16:creationId xmlns:a16="http://schemas.microsoft.com/office/drawing/2014/main" id="{207D02F6-E0F5-50CB-9623-358ED8F3CA59}"/>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622" name="Group 2621">
              <a:extLst>
                <a:ext uri="{FF2B5EF4-FFF2-40B4-BE49-F238E27FC236}">
                  <a16:creationId xmlns:a16="http://schemas.microsoft.com/office/drawing/2014/main" id="{E6E4737E-208E-6CA9-A07F-5FF76AF09F62}"/>
                </a:ext>
              </a:extLst>
            </p:cNvPr>
            <p:cNvGrpSpPr/>
            <p:nvPr/>
          </p:nvGrpSpPr>
          <p:grpSpPr>
            <a:xfrm>
              <a:off x="10971453" y="2519610"/>
              <a:ext cx="84024" cy="84024"/>
              <a:chOff x="11521324" y="3611214"/>
              <a:chExt cx="82971" cy="82971"/>
            </a:xfrm>
          </p:grpSpPr>
          <p:cxnSp>
            <p:nvCxnSpPr>
              <p:cNvPr id="2623" name="Straight Connector 2622">
                <a:extLst>
                  <a:ext uri="{FF2B5EF4-FFF2-40B4-BE49-F238E27FC236}">
                    <a16:creationId xmlns:a16="http://schemas.microsoft.com/office/drawing/2014/main" id="{88498AC5-47FB-18D4-EB64-BDF6197BC138}"/>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24" name="Straight Connector 2623">
                <a:extLst>
                  <a:ext uri="{FF2B5EF4-FFF2-40B4-BE49-F238E27FC236}">
                    <a16:creationId xmlns:a16="http://schemas.microsoft.com/office/drawing/2014/main" id="{C75C56E3-DA4E-0836-5FFC-A14C41D47BE7}"/>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625" name="Group 2624">
              <a:extLst>
                <a:ext uri="{FF2B5EF4-FFF2-40B4-BE49-F238E27FC236}">
                  <a16:creationId xmlns:a16="http://schemas.microsoft.com/office/drawing/2014/main" id="{52691694-D361-4002-C76B-C22F28B2D995}"/>
                </a:ext>
              </a:extLst>
            </p:cNvPr>
            <p:cNvGrpSpPr/>
            <p:nvPr/>
          </p:nvGrpSpPr>
          <p:grpSpPr>
            <a:xfrm>
              <a:off x="10988122" y="2519610"/>
              <a:ext cx="84024" cy="84024"/>
              <a:chOff x="11521324" y="3611214"/>
              <a:chExt cx="82971" cy="82971"/>
            </a:xfrm>
          </p:grpSpPr>
          <p:cxnSp>
            <p:nvCxnSpPr>
              <p:cNvPr id="2626" name="Straight Connector 2625">
                <a:extLst>
                  <a:ext uri="{FF2B5EF4-FFF2-40B4-BE49-F238E27FC236}">
                    <a16:creationId xmlns:a16="http://schemas.microsoft.com/office/drawing/2014/main" id="{33C11614-2611-844E-DF4F-D4A2CF348E73}"/>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27" name="Straight Connector 2626">
                <a:extLst>
                  <a:ext uri="{FF2B5EF4-FFF2-40B4-BE49-F238E27FC236}">
                    <a16:creationId xmlns:a16="http://schemas.microsoft.com/office/drawing/2014/main" id="{01C0B708-6FAC-D9E8-43A5-DA0F53E2DA1F}"/>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628" name="Group 2627">
              <a:extLst>
                <a:ext uri="{FF2B5EF4-FFF2-40B4-BE49-F238E27FC236}">
                  <a16:creationId xmlns:a16="http://schemas.microsoft.com/office/drawing/2014/main" id="{FB1A65D7-B353-7882-B853-C68AA7F76037}"/>
                </a:ext>
              </a:extLst>
            </p:cNvPr>
            <p:cNvGrpSpPr/>
            <p:nvPr/>
          </p:nvGrpSpPr>
          <p:grpSpPr>
            <a:xfrm>
              <a:off x="11002409" y="2519610"/>
              <a:ext cx="84024" cy="84024"/>
              <a:chOff x="11521324" y="3611214"/>
              <a:chExt cx="82971" cy="82971"/>
            </a:xfrm>
          </p:grpSpPr>
          <p:cxnSp>
            <p:nvCxnSpPr>
              <p:cNvPr id="2629" name="Straight Connector 2628">
                <a:extLst>
                  <a:ext uri="{FF2B5EF4-FFF2-40B4-BE49-F238E27FC236}">
                    <a16:creationId xmlns:a16="http://schemas.microsoft.com/office/drawing/2014/main" id="{373976CA-A4F9-7CD3-AD49-AB95BA39F569}"/>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30" name="Straight Connector 2629">
                <a:extLst>
                  <a:ext uri="{FF2B5EF4-FFF2-40B4-BE49-F238E27FC236}">
                    <a16:creationId xmlns:a16="http://schemas.microsoft.com/office/drawing/2014/main" id="{D6B9E5F5-D5B0-F209-E372-EF0D75F57F55}"/>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631" name="Group 2630">
              <a:extLst>
                <a:ext uri="{FF2B5EF4-FFF2-40B4-BE49-F238E27FC236}">
                  <a16:creationId xmlns:a16="http://schemas.microsoft.com/office/drawing/2014/main" id="{A38752EF-14B4-E8FF-D95D-6C40D2DD2DD0}"/>
                </a:ext>
              </a:extLst>
            </p:cNvPr>
            <p:cNvGrpSpPr/>
            <p:nvPr/>
          </p:nvGrpSpPr>
          <p:grpSpPr>
            <a:xfrm>
              <a:off x="11014316" y="2519610"/>
              <a:ext cx="84024" cy="84024"/>
              <a:chOff x="11521324" y="3611214"/>
              <a:chExt cx="82971" cy="82971"/>
            </a:xfrm>
          </p:grpSpPr>
          <p:cxnSp>
            <p:nvCxnSpPr>
              <p:cNvPr id="2632" name="Straight Connector 2631">
                <a:extLst>
                  <a:ext uri="{FF2B5EF4-FFF2-40B4-BE49-F238E27FC236}">
                    <a16:creationId xmlns:a16="http://schemas.microsoft.com/office/drawing/2014/main" id="{D3F67376-024B-FA90-C1B6-808518C145AC}"/>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33" name="Straight Connector 2632">
                <a:extLst>
                  <a:ext uri="{FF2B5EF4-FFF2-40B4-BE49-F238E27FC236}">
                    <a16:creationId xmlns:a16="http://schemas.microsoft.com/office/drawing/2014/main" id="{626C9D67-6A60-F63E-074C-CCE1BC970F07}"/>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634" name="Group 2633">
              <a:extLst>
                <a:ext uri="{FF2B5EF4-FFF2-40B4-BE49-F238E27FC236}">
                  <a16:creationId xmlns:a16="http://schemas.microsoft.com/office/drawing/2014/main" id="{5BC0A154-3AD1-55C4-D7F0-39F304255653}"/>
                </a:ext>
              </a:extLst>
            </p:cNvPr>
            <p:cNvGrpSpPr/>
            <p:nvPr/>
          </p:nvGrpSpPr>
          <p:grpSpPr>
            <a:xfrm>
              <a:off x="10832659" y="2491713"/>
              <a:ext cx="84024" cy="84024"/>
              <a:chOff x="11521324" y="3611214"/>
              <a:chExt cx="82971" cy="82971"/>
            </a:xfrm>
          </p:grpSpPr>
          <p:cxnSp>
            <p:nvCxnSpPr>
              <p:cNvPr id="2635" name="Straight Connector 2634">
                <a:extLst>
                  <a:ext uri="{FF2B5EF4-FFF2-40B4-BE49-F238E27FC236}">
                    <a16:creationId xmlns:a16="http://schemas.microsoft.com/office/drawing/2014/main" id="{446B7A79-B4C0-CCEB-C357-6F8BFD4C1336}"/>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36" name="Straight Connector 2635">
                <a:extLst>
                  <a:ext uri="{FF2B5EF4-FFF2-40B4-BE49-F238E27FC236}">
                    <a16:creationId xmlns:a16="http://schemas.microsoft.com/office/drawing/2014/main" id="{D2082124-ACC3-875D-9AB3-2F2901DAAFC5}"/>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637" name="Group 2636">
              <a:extLst>
                <a:ext uri="{FF2B5EF4-FFF2-40B4-BE49-F238E27FC236}">
                  <a16:creationId xmlns:a16="http://schemas.microsoft.com/office/drawing/2014/main" id="{CC054FB1-2C23-CC84-A4BA-0F85704CDFBA}"/>
                </a:ext>
              </a:extLst>
            </p:cNvPr>
            <p:cNvGrpSpPr/>
            <p:nvPr/>
          </p:nvGrpSpPr>
          <p:grpSpPr>
            <a:xfrm>
              <a:off x="10801703" y="2491713"/>
              <a:ext cx="84024" cy="84024"/>
              <a:chOff x="11521324" y="3611214"/>
              <a:chExt cx="82971" cy="82971"/>
            </a:xfrm>
          </p:grpSpPr>
          <p:cxnSp>
            <p:nvCxnSpPr>
              <p:cNvPr id="2638" name="Straight Connector 2637">
                <a:extLst>
                  <a:ext uri="{FF2B5EF4-FFF2-40B4-BE49-F238E27FC236}">
                    <a16:creationId xmlns:a16="http://schemas.microsoft.com/office/drawing/2014/main" id="{DFEE5695-D21B-B95C-A31F-400A46F770BC}"/>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39" name="Straight Connector 2638">
                <a:extLst>
                  <a:ext uri="{FF2B5EF4-FFF2-40B4-BE49-F238E27FC236}">
                    <a16:creationId xmlns:a16="http://schemas.microsoft.com/office/drawing/2014/main" id="{9691D19C-87B2-0DD5-8A2E-36D2EA8EF413}"/>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640" name="Group 2639">
              <a:extLst>
                <a:ext uri="{FF2B5EF4-FFF2-40B4-BE49-F238E27FC236}">
                  <a16:creationId xmlns:a16="http://schemas.microsoft.com/office/drawing/2014/main" id="{0F2D14AC-B4A3-CC67-2078-6D7EFD14B377}"/>
                </a:ext>
              </a:extLst>
            </p:cNvPr>
            <p:cNvGrpSpPr/>
            <p:nvPr/>
          </p:nvGrpSpPr>
          <p:grpSpPr>
            <a:xfrm>
              <a:off x="10815991" y="2491713"/>
              <a:ext cx="84024" cy="84024"/>
              <a:chOff x="11521324" y="3611214"/>
              <a:chExt cx="82971" cy="82971"/>
            </a:xfrm>
          </p:grpSpPr>
          <p:cxnSp>
            <p:nvCxnSpPr>
              <p:cNvPr id="2641" name="Straight Connector 2640">
                <a:extLst>
                  <a:ext uri="{FF2B5EF4-FFF2-40B4-BE49-F238E27FC236}">
                    <a16:creationId xmlns:a16="http://schemas.microsoft.com/office/drawing/2014/main" id="{3647784F-2CFD-F158-2012-B13571F77F40}"/>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42" name="Straight Connector 2641">
                <a:extLst>
                  <a:ext uri="{FF2B5EF4-FFF2-40B4-BE49-F238E27FC236}">
                    <a16:creationId xmlns:a16="http://schemas.microsoft.com/office/drawing/2014/main" id="{2A0285A5-8B98-E09B-28AD-177E5D1FB980}"/>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643" name="Group 2642">
              <a:extLst>
                <a:ext uri="{FF2B5EF4-FFF2-40B4-BE49-F238E27FC236}">
                  <a16:creationId xmlns:a16="http://schemas.microsoft.com/office/drawing/2014/main" id="{9D2B6850-36BF-2006-37D6-81561D32BC8C}"/>
                </a:ext>
              </a:extLst>
            </p:cNvPr>
            <p:cNvGrpSpPr/>
            <p:nvPr/>
          </p:nvGrpSpPr>
          <p:grpSpPr>
            <a:xfrm>
              <a:off x="10775509" y="2491713"/>
              <a:ext cx="84024" cy="84024"/>
              <a:chOff x="11521324" y="3611214"/>
              <a:chExt cx="82971" cy="82971"/>
            </a:xfrm>
          </p:grpSpPr>
          <p:cxnSp>
            <p:nvCxnSpPr>
              <p:cNvPr id="2644" name="Straight Connector 2643">
                <a:extLst>
                  <a:ext uri="{FF2B5EF4-FFF2-40B4-BE49-F238E27FC236}">
                    <a16:creationId xmlns:a16="http://schemas.microsoft.com/office/drawing/2014/main" id="{FC30AE8D-A3AF-89A3-D704-CF101A2FE451}"/>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45" name="Straight Connector 2644">
                <a:extLst>
                  <a:ext uri="{FF2B5EF4-FFF2-40B4-BE49-F238E27FC236}">
                    <a16:creationId xmlns:a16="http://schemas.microsoft.com/office/drawing/2014/main" id="{0859A748-1705-BAE2-900D-3312BD9F6F49}"/>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646" name="Group 2645">
              <a:extLst>
                <a:ext uri="{FF2B5EF4-FFF2-40B4-BE49-F238E27FC236}">
                  <a16:creationId xmlns:a16="http://schemas.microsoft.com/office/drawing/2014/main" id="{362D8BF9-4FBF-8102-9304-C031EAA71390}"/>
                </a:ext>
              </a:extLst>
            </p:cNvPr>
            <p:cNvGrpSpPr/>
            <p:nvPr/>
          </p:nvGrpSpPr>
          <p:grpSpPr>
            <a:xfrm>
              <a:off x="10708834" y="2491713"/>
              <a:ext cx="84024" cy="84024"/>
              <a:chOff x="11521324" y="3611214"/>
              <a:chExt cx="82971" cy="82971"/>
            </a:xfrm>
          </p:grpSpPr>
          <p:cxnSp>
            <p:nvCxnSpPr>
              <p:cNvPr id="2647" name="Straight Connector 2646">
                <a:extLst>
                  <a:ext uri="{FF2B5EF4-FFF2-40B4-BE49-F238E27FC236}">
                    <a16:creationId xmlns:a16="http://schemas.microsoft.com/office/drawing/2014/main" id="{E39DC658-8B13-7AE2-E897-788D749E3EF9}"/>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48" name="Straight Connector 2647">
                <a:extLst>
                  <a:ext uri="{FF2B5EF4-FFF2-40B4-BE49-F238E27FC236}">
                    <a16:creationId xmlns:a16="http://schemas.microsoft.com/office/drawing/2014/main" id="{B6DA46AE-0759-7996-7504-CEC34945E03B}"/>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649" name="Group 2648">
              <a:extLst>
                <a:ext uri="{FF2B5EF4-FFF2-40B4-BE49-F238E27FC236}">
                  <a16:creationId xmlns:a16="http://schemas.microsoft.com/office/drawing/2014/main" id="{DCB483B4-1F9C-76C4-64F9-3CC978DB7892}"/>
                </a:ext>
              </a:extLst>
            </p:cNvPr>
            <p:cNvGrpSpPr/>
            <p:nvPr/>
          </p:nvGrpSpPr>
          <p:grpSpPr>
            <a:xfrm>
              <a:off x="10725503" y="2491713"/>
              <a:ext cx="84024" cy="84024"/>
              <a:chOff x="11521324" y="3611214"/>
              <a:chExt cx="82971" cy="82971"/>
            </a:xfrm>
          </p:grpSpPr>
          <p:cxnSp>
            <p:nvCxnSpPr>
              <p:cNvPr id="2650" name="Straight Connector 2649">
                <a:extLst>
                  <a:ext uri="{FF2B5EF4-FFF2-40B4-BE49-F238E27FC236}">
                    <a16:creationId xmlns:a16="http://schemas.microsoft.com/office/drawing/2014/main" id="{A92EDDDB-FA69-F058-A706-2EBBD40EBDFD}"/>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51" name="Straight Connector 2650">
                <a:extLst>
                  <a:ext uri="{FF2B5EF4-FFF2-40B4-BE49-F238E27FC236}">
                    <a16:creationId xmlns:a16="http://schemas.microsoft.com/office/drawing/2014/main" id="{B2E389BE-8F68-12D8-A9AA-A7C168B08587}"/>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652" name="Group 2651">
              <a:extLst>
                <a:ext uri="{FF2B5EF4-FFF2-40B4-BE49-F238E27FC236}">
                  <a16:creationId xmlns:a16="http://schemas.microsoft.com/office/drawing/2014/main" id="{53B54A58-AAF3-6A32-24E7-023A6FE34FAA}"/>
                </a:ext>
              </a:extLst>
            </p:cNvPr>
            <p:cNvGrpSpPr/>
            <p:nvPr/>
          </p:nvGrpSpPr>
          <p:grpSpPr>
            <a:xfrm>
              <a:off x="10742172" y="2491713"/>
              <a:ext cx="84024" cy="84024"/>
              <a:chOff x="11521324" y="3611214"/>
              <a:chExt cx="82971" cy="82971"/>
            </a:xfrm>
          </p:grpSpPr>
          <p:cxnSp>
            <p:nvCxnSpPr>
              <p:cNvPr id="2653" name="Straight Connector 2652">
                <a:extLst>
                  <a:ext uri="{FF2B5EF4-FFF2-40B4-BE49-F238E27FC236}">
                    <a16:creationId xmlns:a16="http://schemas.microsoft.com/office/drawing/2014/main" id="{35AABE75-97C8-7919-830A-954EDF102B85}"/>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54" name="Straight Connector 2653">
                <a:extLst>
                  <a:ext uri="{FF2B5EF4-FFF2-40B4-BE49-F238E27FC236}">
                    <a16:creationId xmlns:a16="http://schemas.microsoft.com/office/drawing/2014/main" id="{7D5A97E5-E0ED-C5EC-2A58-A0CB6F8292F5}"/>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655" name="Group 2654">
              <a:extLst>
                <a:ext uri="{FF2B5EF4-FFF2-40B4-BE49-F238E27FC236}">
                  <a16:creationId xmlns:a16="http://schemas.microsoft.com/office/drawing/2014/main" id="{E6859973-356C-6813-F387-6E03E0C7B5F3}"/>
                </a:ext>
              </a:extLst>
            </p:cNvPr>
            <p:cNvGrpSpPr/>
            <p:nvPr/>
          </p:nvGrpSpPr>
          <p:grpSpPr>
            <a:xfrm>
              <a:off x="10758841" y="2491713"/>
              <a:ext cx="84024" cy="84024"/>
              <a:chOff x="11521324" y="3611214"/>
              <a:chExt cx="82971" cy="82971"/>
            </a:xfrm>
          </p:grpSpPr>
          <p:cxnSp>
            <p:nvCxnSpPr>
              <p:cNvPr id="2656" name="Straight Connector 2655">
                <a:extLst>
                  <a:ext uri="{FF2B5EF4-FFF2-40B4-BE49-F238E27FC236}">
                    <a16:creationId xmlns:a16="http://schemas.microsoft.com/office/drawing/2014/main" id="{5AD07E8B-4BCE-1351-00AD-AD3033D9E663}"/>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57" name="Straight Connector 2656">
                <a:extLst>
                  <a:ext uri="{FF2B5EF4-FFF2-40B4-BE49-F238E27FC236}">
                    <a16:creationId xmlns:a16="http://schemas.microsoft.com/office/drawing/2014/main" id="{BBA6CAA6-322E-386E-C6C1-C67431CF8658}"/>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658" name="Group 2657">
              <a:extLst>
                <a:ext uri="{FF2B5EF4-FFF2-40B4-BE49-F238E27FC236}">
                  <a16:creationId xmlns:a16="http://schemas.microsoft.com/office/drawing/2014/main" id="{8FA07B6D-B5F5-2EEC-350A-7C4A5AAA6A19}"/>
                </a:ext>
              </a:extLst>
            </p:cNvPr>
            <p:cNvGrpSpPr/>
            <p:nvPr/>
          </p:nvGrpSpPr>
          <p:grpSpPr>
            <a:xfrm>
              <a:off x="10685022" y="2491713"/>
              <a:ext cx="84024" cy="84024"/>
              <a:chOff x="11521324" y="3611214"/>
              <a:chExt cx="82971" cy="82971"/>
            </a:xfrm>
          </p:grpSpPr>
          <p:cxnSp>
            <p:nvCxnSpPr>
              <p:cNvPr id="2659" name="Straight Connector 2658">
                <a:extLst>
                  <a:ext uri="{FF2B5EF4-FFF2-40B4-BE49-F238E27FC236}">
                    <a16:creationId xmlns:a16="http://schemas.microsoft.com/office/drawing/2014/main" id="{063C20A1-A92D-2C31-E7DA-B9993624D883}"/>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60" name="Straight Connector 2659">
                <a:extLst>
                  <a:ext uri="{FF2B5EF4-FFF2-40B4-BE49-F238E27FC236}">
                    <a16:creationId xmlns:a16="http://schemas.microsoft.com/office/drawing/2014/main" id="{D88B3BDB-448D-D23C-FA1A-38754A7E4002}"/>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661" name="Group 2660">
              <a:extLst>
                <a:ext uri="{FF2B5EF4-FFF2-40B4-BE49-F238E27FC236}">
                  <a16:creationId xmlns:a16="http://schemas.microsoft.com/office/drawing/2014/main" id="{0C53F53C-C285-88A6-ABA2-9591686185C6}"/>
                </a:ext>
              </a:extLst>
            </p:cNvPr>
            <p:cNvGrpSpPr/>
            <p:nvPr/>
          </p:nvGrpSpPr>
          <p:grpSpPr>
            <a:xfrm>
              <a:off x="10656447" y="2491713"/>
              <a:ext cx="84024" cy="84024"/>
              <a:chOff x="11521324" y="3611214"/>
              <a:chExt cx="82971" cy="82971"/>
            </a:xfrm>
          </p:grpSpPr>
          <p:cxnSp>
            <p:nvCxnSpPr>
              <p:cNvPr id="2662" name="Straight Connector 2661">
                <a:extLst>
                  <a:ext uri="{FF2B5EF4-FFF2-40B4-BE49-F238E27FC236}">
                    <a16:creationId xmlns:a16="http://schemas.microsoft.com/office/drawing/2014/main" id="{C3D3EC65-9900-DC32-5FA1-829400C924CB}"/>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63" name="Straight Connector 2662">
                <a:extLst>
                  <a:ext uri="{FF2B5EF4-FFF2-40B4-BE49-F238E27FC236}">
                    <a16:creationId xmlns:a16="http://schemas.microsoft.com/office/drawing/2014/main" id="{4EBF4912-3503-96FA-154E-0235CA607D63}"/>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664" name="Group 2663">
              <a:extLst>
                <a:ext uri="{FF2B5EF4-FFF2-40B4-BE49-F238E27FC236}">
                  <a16:creationId xmlns:a16="http://schemas.microsoft.com/office/drawing/2014/main" id="{49D0EA92-EE8C-3F44-FAEC-214FAD965FDF}"/>
                </a:ext>
              </a:extLst>
            </p:cNvPr>
            <p:cNvGrpSpPr/>
            <p:nvPr/>
          </p:nvGrpSpPr>
          <p:grpSpPr>
            <a:xfrm>
              <a:off x="10673116" y="2491713"/>
              <a:ext cx="84024" cy="84024"/>
              <a:chOff x="11521324" y="3611214"/>
              <a:chExt cx="82971" cy="82971"/>
            </a:xfrm>
          </p:grpSpPr>
          <p:cxnSp>
            <p:nvCxnSpPr>
              <p:cNvPr id="2665" name="Straight Connector 2664">
                <a:extLst>
                  <a:ext uri="{FF2B5EF4-FFF2-40B4-BE49-F238E27FC236}">
                    <a16:creationId xmlns:a16="http://schemas.microsoft.com/office/drawing/2014/main" id="{9B23B079-CCDF-22CE-888D-098714E1275B}"/>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66" name="Straight Connector 2665">
                <a:extLst>
                  <a:ext uri="{FF2B5EF4-FFF2-40B4-BE49-F238E27FC236}">
                    <a16:creationId xmlns:a16="http://schemas.microsoft.com/office/drawing/2014/main" id="{13A7DA63-6AF8-065B-13F6-8DDBE67D9992}"/>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667" name="Group 2666">
              <a:extLst>
                <a:ext uri="{FF2B5EF4-FFF2-40B4-BE49-F238E27FC236}">
                  <a16:creationId xmlns:a16="http://schemas.microsoft.com/office/drawing/2014/main" id="{A671073F-4820-A329-EFA5-B8EBD6BEDE6D}"/>
                </a:ext>
              </a:extLst>
            </p:cNvPr>
            <p:cNvGrpSpPr/>
            <p:nvPr/>
          </p:nvGrpSpPr>
          <p:grpSpPr>
            <a:xfrm>
              <a:off x="10632635" y="2491713"/>
              <a:ext cx="84024" cy="84024"/>
              <a:chOff x="11521324" y="3611214"/>
              <a:chExt cx="82971" cy="82971"/>
            </a:xfrm>
          </p:grpSpPr>
          <p:cxnSp>
            <p:nvCxnSpPr>
              <p:cNvPr id="2668" name="Straight Connector 2667">
                <a:extLst>
                  <a:ext uri="{FF2B5EF4-FFF2-40B4-BE49-F238E27FC236}">
                    <a16:creationId xmlns:a16="http://schemas.microsoft.com/office/drawing/2014/main" id="{8B608807-E381-39D8-EC83-DAE86F088A11}"/>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69" name="Straight Connector 2668">
                <a:extLst>
                  <a:ext uri="{FF2B5EF4-FFF2-40B4-BE49-F238E27FC236}">
                    <a16:creationId xmlns:a16="http://schemas.microsoft.com/office/drawing/2014/main" id="{9ED4EC1C-EC27-377D-5C7F-9CE2762E7C0E}"/>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670" name="Group 2669">
              <a:extLst>
                <a:ext uri="{FF2B5EF4-FFF2-40B4-BE49-F238E27FC236}">
                  <a16:creationId xmlns:a16="http://schemas.microsoft.com/office/drawing/2014/main" id="{595EBE9C-1714-567A-35C9-758935817898}"/>
                </a:ext>
              </a:extLst>
            </p:cNvPr>
            <p:cNvGrpSpPr/>
            <p:nvPr/>
          </p:nvGrpSpPr>
          <p:grpSpPr>
            <a:xfrm>
              <a:off x="10599297" y="2491713"/>
              <a:ext cx="84024" cy="84024"/>
              <a:chOff x="11521324" y="3611214"/>
              <a:chExt cx="82971" cy="82971"/>
            </a:xfrm>
          </p:grpSpPr>
          <p:cxnSp>
            <p:nvCxnSpPr>
              <p:cNvPr id="2671" name="Straight Connector 2670">
                <a:extLst>
                  <a:ext uri="{FF2B5EF4-FFF2-40B4-BE49-F238E27FC236}">
                    <a16:creationId xmlns:a16="http://schemas.microsoft.com/office/drawing/2014/main" id="{FD0C04BC-4F79-762C-6658-9DD901A2A534}"/>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72" name="Straight Connector 2671">
                <a:extLst>
                  <a:ext uri="{FF2B5EF4-FFF2-40B4-BE49-F238E27FC236}">
                    <a16:creationId xmlns:a16="http://schemas.microsoft.com/office/drawing/2014/main" id="{777CC9DE-E84E-273E-B3B0-77C1F5269632}"/>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673" name="Group 2672">
              <a:extLst>
                <a:ext uri="{FF2B5EF4-FFF2-40B4-BE49-F238E27FC236}">
                  <a16:creationId xmlns:a16="http://schemas.microsoft.com/office/drawing/2014/main" id="{B4F19F3A-B75A-A5FD-2C65-1FFF0F0E74C6}"/>
                </a:ext>
              </a:extLst>
            </p:cNvPr>
            <p:cNvGrpSpPr/>
            <p:nvPr/>
          </p:nvGrpSpPr>
          <p:grpSpPr>
            <a:xfrm>
              <a:off x="10570722" y="2473870"/>
              <a:ext cx="84024" cy="84024"/>
              <a:chOff x="11521324" y="3611214"/>
              <a:chExt cx="82971" cy="82971"/>
            </a:xfrm>
          </p:grpSpPr>
          <p:cxnSp>
            <p:nvCxnSpPr>
              <p:cNvPr id="2674" name="Straight Connector 2673">
                <a:extLst>
                  <a:ext uri="{FF2B5EF4-FFF2-40B4-BE49-F238E27FC236}">
                    <a16:creationId xmlns:a16="http://schemas.microsoft.com/office/drawing/2014/main" id="{02526185-0E5E-D1AE-E024-053BB67D41B1}"/>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75" name="Straight Connector 2674">
                <a:extLst>
                  <a:ext uri="{FF2B5EF4-FFF2-40B4-BE49-F238E27FC236}">
                    <a16:creationId xmlns:a16="http://schemas.microsoft.com/office/drawing/2014/main" id="{30A63CDC-BB53-8AA8-0897-101581FABFA4}"/>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676" name="Group 2675">
              <a:extLst>
                <a:ext uri="{FF2B5EF4-FFF2-40B4-BE49-F238E27FC236}">
                  <a16:creationId xmlns:a16="http://schemas.microsoft.com/office/drawing/2014/main" id="{24731210-0A3C-EAF8-4886-BCFD31D226D2}"/>
                </a:ext>
              </a:extLst>
            </p:cNvPr>
            <p:cNvGrpSpPr/>
            <p:nvPr/>
          </p:nvGrpSpPr>
          <p:grpSpPr>
            <a:xfrm>
              <a:off x="10544527" y="2473870"/>
              <a:ext cx="84024" cy="84024"/>
              <a:chOff x="11521324" y="3611214"/>
              <a:chExt cx="82971" cy="82971"/>
            </a:xfrm>
          </p:grpSpPr>
          <p:cxnSp>
            <p:nvCxnSpPr>
              <p:cNvPr id="2677" name="Straight Connector 2676">
                <a:extLst>
                  <a:ext uri="{FF2B5EF4-FFF2-40B4-BE49-F238E27FC236}">
                    <a16:creationId xmlns:a16="http://schemas.microsoft.com/office/drawing/2014/main" id="{AC0B3165-AE72-8B83-ABF0-6E7C65DCBE86}"/>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78" name="Straight Connector 2677">
                <a:extLst>
                  <a:ext uri="{FF2B5EF4-FFF2-40B4-BE49-F238E27FC236}">
                    <a16:creationId xmlns:a16="http://schemas.microsoft.com/office/drawing/2014/main" id="{71525D11-A78D-AF98-48D2-86E2D47B6346}"/>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679" name="Group 2678">
              <a:extLst>
                <a:ext uri="{FF2B5EF4-FFF2-40B4-BE49-F238E27FC236}">
                  <a16:creationId xmlns:a16="http://schemas.microsoft.com/office/drawing/2014/main" id="{B35D8E32-B755-4325-72BF-FF656D0BCC4B}"/>
                </a:ext>
              </a:extLst>
            </p:cNvPr>
            <p:cNvGrpSpPr/>
            <p:nvPr/>
          </p:nvGrpSpPr>
          <p:grpSpPr>
            <a:xfrm>
              <a:off x="10511190" y="2473870"/>
              <a:ext cx="84024" cy="84024"/>
              <a:chOff x="11521324" y="3611214"/>
              <a:chExt cx="82971" cy="82971"/>
            </a:xfrm>
          </p:grpSpPr>
          <p:cxnSp>
            <p:nvCxnSpPr>
              <p:cNvPr id="2680" name="Straight Connector 2679">
                <a:extLst>
                  <a:ext uri="{FF2B5EF4-FFF2-40B4-BE49-F238E27FC236}">
                    <a16:creationId xmlns:a16="http://schemas.microsoft.com/office/drawing/2014/main" id="{AE0E8940-250A-33B1-0D50-D4008D5730F6}"/>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81" name="Straight Connector 2680">
                <a:extLst>
                  <a:ext uri="{FF2B5EF4-FFF2-40B4-BE49-F238E27FC236}">
                    <a16:creationId xmlns:a16="http://schemas.microsoft.com/office/drawing/2014/main" id="{62B96844-4DC2-05DD-AE08-9AB5B1C9A8C3}"/>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682" name="Group 2681">
              <a:extLst>
                <a:ext uri="{FF2B5EF4-FFF2-40B4-BE49-F238E27FC236}">
                  <a16:creationId xmlns:a16="http://schemas.microsoft.com/office/drawing/2014/main" id="{F5E2195A-A3A9-1E5F-EE66-AE697F0C213D}"/>
                </a:ext>
              </a:extLst>
            </p:cNvPr>
            <p:cNvGrpSpPr/>
            <p:nvPr/>
          </p:nvGrpSpPr>
          <p:grpSpPr>
            <a:xfrm>
              <a:off x="10520715" y="2473870"/>
              <a:ext cx="84024" cy="84024"/>
              <a:chOff x="11521324" y="3611214"/>
              <a:chExt cx="82971" cy="82971"/>
            </a:xfrm>
          </p:grpSpPr>
          <p:cxnSp>
            <p:nvCxnSpPr>
              <p:cNvPr id="2683" name="Straight Connector 2682">
                <a:extLst>
                  <a:ext uri="{FF2B5EF4-FFF2-40B4-BE49-F238E27FC236}">
                    <a16:creationId xmlns:a16="http://schemas.microsoft.com/office/drawing/2014/main" id="{2F3FC4DD-1453-0FCA-B151-2A5800562EC4}"/>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84" name="Straight Connector 2683">
                <a:extLst>
                  <a:ext uri="{FF2B5EF4-FFF2-40B4-BE49-F238E27FC236}">
                    <a16:creationId xmlns:a16="http://schemas.microsoft.com/office/drawing/2014/main" id="{2CD3AD33-D364-8852-10A7-DCC082AF2E99}"/>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685" name="Group 2684">
              <a:extLst>
                <a:ext uri="{FF2B5EF4-FFF2-40B4-BE49-F238E27FC236}">
                  <a16:creationId xmlns:a16="http://schemas.microsoft.com/office/drawing/2014/main" id="{347F84CA-DF9E-2145-35B8-7B55830F3CE3}"/>
                </a:ext>
              </a:extLst>
            </p:cNvPr>
            <p:cNvGrpSpPr/>
            <p:nvPr/>
          </p:nvGrpSpPr>
          <p:grpSpPr>
            <a:xfrm>
              <a:off x="10527858" y="2473870"/>
              <a:ext cx="84024" cy="84024"/>
              <a:chOff x="11521324" y="3611214"/>
              <a:chExt cx="82971" cy="82971"/>
            </a:xfrm>
          </p:grpSpPr>
          <p:cxnSp>
            <p:nvCxnSpPr>
              <p:cNvPr id="2686" name="Straight Connector 2685">
                <a:extLst>
                  <a:ext uri="{FF2B5EF4-FFF2-40B4-BE49-F238E27FC236}">
                    <a16:creationId xmlns:a16="http://schemas.microsoft.com/office/drawing/2014/main" id="{696A294D-7A2E-4433-1ED0-EA74065D8FBE}"/>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87" name="Straight Connector 2686">
                <a:extLst>
                  <a:ext uri="{FF2B5EF4-FFF2-40B4-BE49-F238E27FC236}">
                    <a16:creationId xmlns:a16="http://schemas.microsoft.com/office/drawing/2014/main" id="{06FD3C90-D255-7DA0-64B5-C6B25BF41D11}"/>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688" name="Group 2687">
              <a:extLst>
                <a:ext uri="{FF2B5EF4-FFF2-40B4-BE49-F238E27FC236}">
                  <a16:creationId xmlns:a16="http://schemas.microsoft.com/office/drawing/2014/main" id="{7251A1D9-95E2-EC01-269C-D6AED5B025EA}"/>
                </a:ext>
              </a:extLst>
            </p:cNvPr>
            <p:cNvGrpSpPr/>
            <p:nvPr/>
          </p:nvGrpSpPr>
          <p:grpSpPr>
            <a:xfrm>
              <a:off x="10487377" y="2473870"/>
              <a:ext cx="84024" cy="84024"/>
              <a:chOff x="11521324" y="3611214"/>
              <a:chExt cx="82971" cy="82971"/>
            </a:xfrm>
          </p:grpSpPr>
          <p:cxnSp>
            <p:nvCxnSpPr>
              <p:cNvPr id="2689" name="Straight Connector 2688">
                <a:extLst>
                  <a:ext uri="{FF2B5EF4-FFF2-40B4-BE49-F238E27FC236}">
                    <a16:creationId xmlns:a16="http://schemas.microsoft.com/office/drawing/2014/main" id="{33371C80-706F-B221-3159-DEEDCE33C1D8}"/>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90" name="Straight Connector 2689">
                <a:extLst>
                  <a:ext uri="{FF2B5EF4-FFF2-40B4-BE49-F238E27FC236}">
                    <a16:creationId xmlns:a16="http://schemas.microsoft.com/office/drawing/2014/main" id="{9C817166-5930-53D3-AC82-8D76F8112052}"/>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691" name="Group 2690">
              <a:extLst>
                <a:ext uri="{FF2B5EF4-FFF2-40B4-BE49-F238E27FC236}">
                  <a16:creationId xmlns:a16="http://schemas.microsoft.com/office/drawing/2014/main" id="{17FFA1E0-DFBF-6E1F-F405-15A9AA25CE9E}"/>
                </a:ext>
              </a:extLst>
            </p:cNvPr>
            <p:cNvGrpSpPr/>
            <p:nvPr/>
          </p:nvGrpSpPr>
          <p:grpSpPr>
            <a:xfrm>
              <a:off x="10442133" y="2466727"/>
              <a:ext cx="84024" cy="84024"/>
              <a:chOff x="11521324" y="3611214"/>
              <a:chExt cx="82971" cy="82971"/>
            </a:xfrm>
          </p:grpSpPr>
          <p:cxnSp>
            <p:nvCxnSpPr>
              <p:cNvPr id="2692" name="Straight Connector 2691">
                <a:extLst>
                  <a:ext uri="{FF2B5EF4-FFF2-40B4-BE49-F238E27FC236}">
                    <a16:creationId xmlns:a16="http://schemas.microsoft.com/office/drawing/2014/main" id="{5BA61EC2-DDF2-BA04-A2F9-05E4610CF15E}"/>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93" name="Straight Connector 2692">
                <a:extLst>
                  <a:ext uri="{FF2B5EF4-FFF2-40B4-BE49-F238E27FC236}">
                    <a16:creationId xmlns:a16="http://schemas.microsoft.com/office/drawing/2014/main" id="{6EB9621A-E667-9A74-4FCE-9436A108A37F}"/>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694" name="Group 2693">
              <a:extLst>
                <a:ext uri="{FF2B5EF4-FFF2-40B4-BE49-F238E27FC236}">
                  <a16:creationId xmlns:a16="http://schemas.microsoft.com/office/drawing/2014/main" id="{A58D0758-053E-FABA-9268-979E437F8D58}"/>
                </a:ext>
              </a:extLst>
            </p:cNvPr>
            <p:cNvGrpSpPr/>
            <p:nvPr/>
          </p:nvGrpSpPr>
          <p:grpSpPr>
            <a:xfrm>
              <a:off x="10456421" y="2466727"/>
              <a:ext cx="84024" cy="84024"/>
              <a:chOff x="11521324" y="3611214"/>
              <a:chExt cx="82971" cy="82971"/>
            </a:xfrm>
          </p:grpSpPr>
          <p:cxnSp>
            <p:nvCxnSpPr>
              <p:cNvPr id="2695" name="Straight Connector 2694">
                <a:extLst>
                  <a:ext uri="{FF2B5EF4-FFF2-40B4-BE49-F238E27FC236}">
                    <a16:creationId xmlns:a16="http://schemas.microsoft.com/office/drawing/2014/main" id="{40003F32-4A9A-C957-C101-C26B595AB937}"/>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96" name="Straight Connector 2695">
                <a:extLst>
                  <a:ext uri="{FF2B5EF4-FFF2-40B4-BE49-F238E27FC236}">
                    <a16:creationId xmlns:a16="http://schemas.microsoft.com/office/drawing/2014/main" id="{C71188C6-C644-1817-C9D1-DBA186BE846A}"/>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697" name="Group 2696">
              <a:extLst>
                <a:ext uri="{FF2B5EF4-FFF2-40B4-BE49-F238E27FC236}">
                  <a16:creationId xmlns:a16="http://schemas.microsoft.com/office/drawing/2014/main" id="{A4987463-D4A4-1FE6-82A2-60131EF31013}"/>
                </a:ext>
              </a:extLst>
            </p:cNvPr>
            <p:cNvGrpSpPr/>
            <p:nvPr/>
          </p:nvGrpSpPr>
          <p:grpSpPr>
            <a:xfrm>
              <a:off x="10470709" y="2466727"/>
              <a:ext cx="84024" cy="84024"/>
              <a:chOff x="11521324" y="3611214"/>
              <a:chExt cx="82971" cy="82971"/>
            </a:xfrm>
          </p:grpSpPr>
          <p:cxnSp>
            <p:nvCxnSpPr>
              <p:cNvPr id="2698" name="Straight Connector 2697">
                <a:extLst>
                  <a:ext uri="{FF2B5EF4-FFF2-40B4-BE49-F238E27FC236}">
                    <a16:creationId xmlns:a16="http://schemas.microsoft.com/office/drawing/2014/main" id="{462E259A-0F45-E637-8885-1C5B9C5F2000}"/>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99" name="Straight Connector 2698">
                <a:extLst>
                  <a:ext uri="{FF2B5EF4-FFF2-40B4-BE49-F238E27FC236}">
                    <a16:creationId xmlns:a16="http://schemas.microsoft.com/office/drawing/2014/main" id="{A3A2CE65-2006-7B95-C87B-C2A2A7644992}"/>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700" name="Group 2699">
              <a:extLst>
                <a:ext uri="{FF2B5EF4-FFF2-40B4-BE49-F238E27FC236}">
                  <a16:creationId xmlns:a16="http://schemas.microsoft.com/office/drawing/2014/main" id="{F1EFE33E-B5EA-3FD6-9FBA-D913801943DD}"/>
                </a:ext>
              </a:extLst>
            </p:cNvPr>
            <p:cNvGrpSpPr/>
            <p:nvPr/>
          </p:nvGrpSpPr>
          <p:grpSpPr>
            <a:xfrm>
              <a:off x="10415940" y="2466727"/>
              <a:ext cx="84024" cy="84024"/>
              <a:chOff x="11521324" y="3611214"/>
              <a:chExt cx="82971" cy="82971"/>
            </a:xfrm>
          </p:grpSpPr>
          <p:cxnSp>
            <p:nvCxnSpPr>
              <p:cNvPr id="2701" name="Straight Connector 2700">
                <a:extLst>
                  <a:ext uri="{FF2B5EF4-FFF2-40B4-BE49-F238E27FC236}">
                    <a16:creationId xmlns:a16="http://schemas.microsoft.com/office/drawing/2014/main" id="{5AACDD2A-517A-F4E0-3BA9-D037B6C491A8}"/>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02" name="Straight Connector 2701">
                <a:extLst>
                  <a:ext uri="{FF2B5EF4-FFF2-40B4-BE49-F238E27FC236}">
                    <a16:creationId xmlns:a16="http://schemas.microsoft.com/office/drawing/2014/main" id="{A41E8562-7439-96D6-52DF-D7A9DCDE7AD2}"/>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703" name="Group 2702">
              <a:extLst>
                <a:ext uri="{FF2B5EF4-FFF2-40B4-BE49-F238E27FC236}">
                  <a16:creationId xmlns:a16="http://schemas.microsoft.com/office/drawing/2014/main" id="{5AC56D78-0CC8-2A18-CD12-E3EC4D13B68D}"/>
                </a:ext>
              </a:extLst>
            </p:cNvPr>
            <p:cNvGrpSpPr/>
            <p:nvPr/>
          </p:nvGrpSpPr>
          <p:grpSpPr>
            <a:xfrm>
              <a:off x="10408797" y="2466727"/>
              <a:ext cx="84024" cy="84024"/>
              <a:chOff x="11521324" y="3611214"/>
              <a:chExt cx="82971" cy="82971"/>
            </a:xfrm>
          </p:grpSpPr>
          <p:cxnSp>
            <p:nvCxnSpPr>
              <p:cNvPr id="2704" name="Straight Connector 2703">
                <a:extLst>
                  <a:ext uri="{FF2B5EF4-FFF2-40B4-BE49-F238E27FC236}">
                    <a16:creationId xmlns:a16="http://schemas.microsoft.com/office/drawing/2014/main" id="{CB5B985D-7619-A858-E95D-94AC20F8FB71}"/>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05" name="Straight Connector 2704">
                <a:extLst>
                  <a:ext uri="{FF2B5EF4-FFF2-40B4-BE49-F238E27FC236}">
                    <a16:creationId xmlns:a16="http://schemas.microsoft.com/office/drawing/2014/main" id="{C324EBE4-7862-55E8-BEDB-6EE69A13611D}"/>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706" name="Group 2705">
              <a:extLst>
                <a:ext uri="{FF2B5EF4-FFF2-40B4-BE49-F238E27FC236}">
                  <a16:creationId xmlns:a16="http://schemas.microsoft.com/office/drawing/2014/main" id="{82A6929A-AFB5-6895-9D30-A9AE41C84B36}"/>
                </a:ext>
              </a:extLst>
            </p:cNvPr>
            <p:cNvGrpSpPr/>
            <p:nvPr/>
          </p:nvGrpSpPr>
          <p:grpSpPr>
            <a:xfrm>
              <a:off x="10384985" y="2466727"/>
              <a:ext cx="84024" cy="84024"/>
              <a:chOff x="11521324" y="3611214"/>
              <a:chExt cx="82971" cy="82971"/>
            </a:xfrm>
          </p:grpSpPr>
          <p:cxnSp>
            <p:nvCxnSpPr>
              <p:cNvPr id="2707" name="Straight Connector 2706">
                <a:extLst>
                  <a:ext uri="{FF2B5EF4-FFF2-40B4-BE49-F238E27FC236}">
                    <a16:creationId xmlns:a16="http://schemas.microsoft.com/office/drawing/2014/main" id="{A84071B6-F2B7-216F-BE2C-FC250F7AECCD}"/>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08" name="Straight Connector 2707">
                <a:extLst>
                  <a:ext uri="{FF2B5EF4-FFF2-40B4-BE49-F238E27FC236}">
                    <a16:creationId xmlns:a16="http://schemas.microsoft.com/office/drawing/2014/main" id="{F128FF3B-22D1-E91E-376D-69C137D1EC5A}"/>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709" name="Group 2708">
              <a:extLst>
                <a:ext uri="{FF2B5EF4-FFF2-40B4-BE49-F238E27FC236}">
                  <a16:creationId xmlns:a16="http://schemas.microsoft.com/office/drawing/2014/main" id="{C7D9D6AF-B0E0-E3CD-77B3-A47824F2E13C}"/>
                </a:ext>
              </a:extLst>
            </p:cNvPr>
            <p:cNvGrpSpPr/>
            <p:nvPr/>
          </p:nvGrpSpPr>
          <p:grpSpPr>
            <a:xfrm>
              <a:off x="10361172" y="2466727"/>
              <a:ext cx="84024" cy="84024"/>
              <a:chOff x="11521324" y="3611214"/>
              <a:chExt cx="82971" cy="82971"/>
            </a:xfrm>
          </p:grpSpPr>
          <p:cxnSp>
            <p:nvCxnSpPr>
              <p:cNvPr id="2710" name="Straight Connector 2709">
                <a:extLst>
                  <a:ext uri="{FF2B5EF4-FFF2-40B4-BE49-F238E27FC236}">
                    <a16:creationId xmlns:a16="http://schemas.microsoft.com/office/drawing/2014/main" id="{AEA0ECAD-7C70-459D-DC62-004F33FCBDA6}"/>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11" name="Straight Connector 2710">
                <a:extLst>
                  <a:ext uri="{FF2B5EF4-FFF2-40B4-BE49-F238E27FC236}">
                    <a16:creationId xmlns:a16="http://schemas.microsoft.com/office/drawing/2014/main" id="{729369D2-6A6E-12A5-DBFA-C1750E18151E}"/>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712" name="Group 2711">
              <a:extLst>
                <a:ext uri="{FF2B5EF4-FFF2-40B4-BE49-F238E27FC236}">
                  <a16:creationId xmlns:a16="http://schemas.microsoft.com/office/drawing/2014/main" id="{8D56607E-A0C1-8365-C699-8D3199CFEC80}"/>
                </a:ext>
              </a:extLst>
            </p:cNvPr>
            <p:cNvGrpSpPr/>
            <p:nvPr/>
          </p:nvGrpSpPr>
          <p:grpSpPr>
            <a:xfrm>
              <a:off x="10370697" y="2466727"/>
              <a:ext cx="84024" cy="84024"/>
              <a:chOff x="11521324" y="3611214"/>
              <a:chExt cx="82971" cy="82971"/>
            </a:xfrm>
          </p:grpSpPr>
          <p:cxnSp>
            <p:nvCxnSpPr>
              <p:cNvPr id="2713" name="Straight Connector 2712">
                <a:extLst>
                  <a:ext uri="{FF2B5EF4-FFF2-40B4-BE49-F238E27FC236}">
                    <a16:creationId xmlns:a16="http://schemas.microsoft.com/office/drawing/2014/main" id="{1E7A1350-06BE-0835-5A04-894D73229A87}"/>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14" name="Straight Connector 2713">
                <a:extLst>
                  <a:ext uri="{FF2B5EF4-FFF2-40B4-BE49-F238E27FC236}">
                    <a16:creationId xmlns:a16="http://schemas.microsoft.com/office/drawing/2014/main" id="{A186A711-EE6F-258C-B9DE-E70BDBD4B15C}"/>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715" name="Group 2714">
              <a:extLst>
                <a:ext uri="{FF2B5EF4-FFF2-40B4-BE49-F238E27FC236}">
                  <a16:creationId xmlns:a16="http://schemas.microsoft.com/office/drawing/2014/main" id="{5865F7B7-C654-22AD-0E8E-41C03323C4A4}"/>
                </a:ext>
              </a:extLst>
            </p:cNvPr>
            <p:cNvGrpSpPr/>
            <p:nvPr/>
          </p:nvGrpSpPr>
          <p:grpSpPr>
            <a:xfrm>
              <a:off x="10337358" y="2457203"/>
              <a:ext cx="84024" cy="84024"/>
              <a:chOff x="11521324" y="3611214"/>
              <a:chExt cx="82971" cy="82971"/>
            </a:xfrm>
          </p:grpSpPr>
          <p:cxnSp>
            <p:nvCxnSpPr>
              <p:cNvPr id="2716" name="Straight Connector 2715">
                <a:extLst>
                  <a:ext uri="{FF2B5EF4-FFF2-40B4-BE49-F238E27FC236}">
                    <a16:creationId xmlns:a16="http://schemas.microsoft.com/office/drawing/2014/main" id="{8A6DD632-A8B0-CB47-ED40-8FDD2FF8D4B8}"/>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17" name="Straight Connector 2716">
                <a:extLst>
                  <a:ext uri="{FF2B5EF4-FFF2-40B4-BE49-F238E27FC236}">
                    <a16:creationId xmlns:a16="http://schemas.microsoft.com/office/drawing/2014/main" id="{717ECFA5-4355-29BB-EAC4-9457EAF9A496}"/>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718" name="Group 2717">
              <a:extLst>
                <a:ext uri="{FF2B5EF4-FFF2-40B4-BE49-F238E27FC236}">
                  <a16:creationId xmlns:a16="http://schemas.microsoft.com/office/drawing/2014/main" id="{700451FA-0A6A-FFB4-E889-DE23F1A4C4DE}"/>
                </a:ext>
              </a:extLst>
            </p:cNvPr>
            <p:cNvGrpSpPr/>
            <p:nvPr/>
          </p:nvGrpSpPr>
          <p:grpSpPr>
            <a:xfrm>
              <a:off x="10320690" y="2457203"/>
              <a:ext cx="84024" cy="84024"/>
              <a:chOff x="11521324" y="3611214"/>
              <a:chExt cx="82971" cy="82971"/>
            </a:xfrm>
          </p:grpSpPr>
          <p:cxnSp>
            <p:nvCxnSpPr>
              <p:cNvPr id="2719" name="Straight Connector 2718">
                <a:extLst>
                  <a:ext uri="{FF2B5EF4-FFF2-40B4-BE49-F238E27FC236}">
                    <a16:creationId xmlns:a16="http://schemas.microsoft.com/office/drawing/2014/main" id="{44160CC3-F040-BCEF-0F30-0396CF6F924B}"/>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20" name="Straight Connector 2719">
                <a:extLst>
                  <a:ext uri="{FF2B5EF4-FFF2-40B4-BE49-F238E27FC236}">
                    <a16:creationId xmlns:a16="http://schemas.microsoft.com/office/drawing/2014/main" id="{D638E6E8-8C66-9424-7B52-30706230311A}"/>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721" name="Group 2720">
              <a:extLst>
                <a:ext uri="{FF2B5EF4-FFF2-40B4-BE49-F238E27FC236}">
                  <a16:creationId xmlns:a16="http://schemas.microsoft.com/office/drawing/2014/main" id="{18B2AF11-D6C8-A30A-4D91-BA06CA4860D1}"/>
                </a:ext>
              </a:extLst>
            </p:cNvPr>
            <p:cNvGrpSpPr/>
            <p:nvPr/>
          </p:nvGrpSpPr>
          <p:grpSpPr>
            <a:xfrm>
              <a:off x="10304021" y="2457203"/>
              <a:ext cx="84024" cy="84024"/>
              <a:chOff x="11521324" y="3611214"/>
              <a:chExt cx="82971" cy="82971"/>
            </a:xfrm>
          </p:grpSpPr>
          <p:cxnSp>
            <p:nvCxnSpPr>
              <p:cNvPr id="2722" name="Straight Connector 2721">
                <a:extLst>
                  <a:ext uri="{FF2B5EF4-FFF2-40B4-BE49-F238E27FC236}">
                    <a16:creationId xmlns:a16="http://schemas.microsoft.com/office/drawing/2014/main" id="{35444A05-448A-9AD8-BAE2-361B796361B2}"/>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23" name="Straight Connector 2722">
                <a:extLst>
                  <a:ext uri="{FF2B5EF4-FFF2-40B4-BE49-F238E27FC236}">
                    <a16:creationId xmlns:a16="http://schemas.microsoft.com/office/drawing/2014/main" id="{497D1553-5C03-FB1E-88B8-0A6B78E19243}"/>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724" name="Group 2723">
              <a:extLst>
                <a:ext uri="{FF2B5EF4-FFF2-40B4-BE49-F238E27FC236}">
                  <a16:creationId xmlns:a16="http://schemas.microsoft.com/office/drawing/2014/main" id="{A759D02B-EC27-8050-DAA8-52EAFA5FE37B}"/>
                </a:ext>
              </a:extLst>
            </p:cNvPr>
            <p:cNvGrpSpPr/>
            <p:nvPr/>
          </p:nvGrpSpPr>
          <p:grpSpPr>
            <a:xfrm>
              <a:off x="10287352" y="2457203"/>
              <a:ext cx="84024" cy="84024"/>
              <a:chOff x="11521324" y="3611214"/>
              <a:chExt cx="82971" cy="82971"/>
            </a:xfrm>
          </p:grpSpPr>
          <p:cxnSp>
            <p:nvCxnSpPr>
              <p:cNvPr id="2725" name="Straight Connector 2724">
                <a:extLst>
                  <a:ext uri="{FF2B5EF4-FFF2-40B4-BE49-F238E27FC236}">
                    <a16:creationId xmlns:a16="http://schemas.microsoft.com/office/drawing/2014/main" id="{AD5398E0-8CA1-4E61-B040-C4C8B0DBB79E}"/>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26" name="Straight Connector 2725">
                <a:extLst>
                  <a:ext uri="{FF2B5EF4-FFF2-40B4-BE49-F238E27FC236}">
                    <a16:creationId xmlns:a16="http://schemas.microsoft.com/office/drawing/2014/main" id="{7AC4727A-6799-45C4-DF1F-C580847697B8}"/>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727" name="Group 2726">
              <a:extLst>
                <a:ext uri="{FF2B5EF4-FFF2-40B4-BE49-F238E27FC236}">
                  <a16:creationId xmlns:a16="http://schemas.microsoft.com/office/drawing/2014/main" id="{A58570E6-67A2-AF4F-9E58-0FA634FAEA91}"/>
                </a:ext>
              </a:extLst>
            </p:cNvPr>
            <p:cNvGrpSpPr/>
            <p:nvPr/>
          </p:nvGrpSpPr>
          <p:grpSpPr>
            <a:xfrm>
              <a:off x="10270684" y="2457203"/>
              <a:ext cx="84024" cy="84024"/>
              <a:chOff x="11521324" y="3611214"/>
              <a:chExt cx="82971" cy="82971"/>
            </a:xfrm>
          </p:grpSpPr>
          <p:cxnSp>
            <p:nvCxnSpPr>
              <p:cNvPr id="2728" name="Straight Connector 2727">
                <a:extLst>
                  <a:ext uri="{FF2B5EF4-FFF2-40B4-BE49-F238E27FC236}">
                    <a16:creationId xmlns:a16="http://schemas.microsoft.com/office/drawing/2014/main" id="{640E0F34-2248-E316-D03C-6246E7520BEF}"/>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29" name="Straight Connector 2728">
                <a:extLst>
                  <a:ext uri="{FF2B5EF4-FFF2-40B4-BE49-F238E27FC236}">
                    <a16:creationId xmlns:a16="http://schemas.microsoft.com/office/drawing/2014/main" id="{2E39A6B2-FF3C-E934-C8E5-49127A75294C}"/>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730" name="Group 2729">
              <a:extLst>
                <a:ext uri="{FF2B5EF4-FFF2-40B4-BE49-F238E27FC236}">
                  <a16:creationId xmlns:a16="http://schemas.microsoft.com/office/drawing/2014/main" id="{636057E5-C216-82C5-2B4D-9D4FCC66A586}"/>
                </a:ext>
              </a:extLst>
            </p:cNvPr>
            <p:cNvGrpSpPr/>
            <p:nvPr/>
          </p:nvGrpSpPr>
          <p:grpSpPr>
            <a:xfrm>
              <a:off x="10254015" y="2452441"/>
              <a:ext cx="84024" cy="84024"/>
              <a:chOff x="11521324" y="3611214"/>
              <a:chExt cx="82971" cy="82971"/>
            </a:xfrm>
          </p:grpSpPr>
          <p:cxnSp>
            <p:nvCxnSpPr>
              <p:cNvPr id="2731" name="Straight Connector 2730">
                <a:extLst>
                  <a:ext uri="{FF2B5EF4-FFF2-40B4-BE49-F238E27FC236}">
                    <a16:creationId xmlns:a16="http://schemas.microsoft.com/office/drawing/2014/main" id="{220F5BF6-946A-82D1-68F8-128C9E570A55}"/>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32" name="Straight Connector 2731">
                <a:extLst>
                  <a:ext uri="{FF2B5EF4-FFF2-40B4-BE49-F238E27FC236}">
                    <a16:creationId xmlns:a16="http://schemas.microsoft.com/office/drawing/2014/main" id="{5DAE0106-70E9-3393-BCBE-43515409C364}"/>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733" name="Group 2732">
              <a:extLst>
                <a:ext uri="{FF2B5EF4-FFF2-40B4-BE49-F238E27FC236}">
                  <a16:creationId xmlns:a16="http://schemas.microsoft.com/office/drawing/2014/main" id="{DC1D91BB-7386-7F22-70A2-29960B44F71B}"/>
                </a:ext>
              </a:extLst>
            </p:cNvPr>
            <p:cNvGrpSpPr/>
            <p:nvPr/>
          </p:nvGrpSpPr>
          <p:grpSpPr>
            <a:xfrm>
              <a:off x="10246872" y="2447677"/>
              <a:ext cx="84024" cy="84024"/>
              <a:chOff x="11521324" y="3611214"/>
              <a:chExt cx="82971" cy="82971"/>
            </a:xfrm>
          </p:grpSpPr>
          <p:cxnSp>
            <p:nvCxnSpPr>
              <p:cNvPr id="2734" name="Straight Connector 2733">
                <a:extLst>
                  <a:ext uri="{FF2B5EF4-FFF2-40B4-BE49-F238E27FC236}">
                    <a16:creationId xmlns:a16="http://schemas.microsoft.com/office/drawing/2014/main" id="{2D848A4B-0D8E-2813-3B8A-2180996F9B84}"/>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35" name="Straight Connector 2734">
                <a:extLst>
                  <a:ext uri="{FF2B5EF4-FFF2-40B4-BE49-F238E27FC236}">
                    <a16:creationId xmlns:a16="http://schemas.microsoft.com/office/drawing/2014/main" id="{B30D2F6D-F013-DB00-FC29-4666D43DDA84}"/>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736" name="Group 2735">
              <a:extLst>
                <a:ext uri="{FF2B5EF4-FFF2-40B4-BE49-F238E27FC236}">
                  <a16:creationId xmlns:a16="http://schemas.microsoft.com/office/drawing/2014/main" id="{1A0314C3-F96B-F8FB-5349-3C66A41ED128}"/>
                </a:ext>
              </a:extLst>
            </p:cNvPr>
            <p:cNvGrpSpPr/>
            <p:nvPr/>
          </p:nvGrpSpPr>
          <p:grpSpPr>
            <a:xfrm>
              <a:off x="10223059" y="2438153"/>
              <a:ext cx="84024" cy="84024"/>
              <a:chOff x="11521324" y="3611214"/>
              <a:chExt cx="82971" cy="82971"/>
            </a:xfrm>
          </p:grpSpPr>
          <p:cxnSp>
            <p:nvCxnSpPr>
              <p:cNvPr id="2737" name="Straight Connector 2736">
                <a:extLst>
                  <a:ext uri="{FF2B5EF4-FFF2-40B4-BE49-F238E27FC236}">
                    <a16:creationId xmlns:a16="http://schemas.microsoft.com/office/drawing/2014/main" id="{8093717A-1854-E307-02CB-06390CF7E47C}"/>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38" name="Straight Connector 2737">
                <a:extLst>
                  <a:ext uri="{FF2B5EF4-FFF2-40B4-BE49-F238E27FC236}">
                    <a16:creationId xmlns:a16="http://schemas.microsoft.com/office/drawing/2014/main" id="{81C8A5AC-F7C2-70C5-E7FA-BA72AD653E9D}"/>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739" name="Group 2738">
              <a:extLst>
                <a:ext uri="{FF2B5EF4-FFF2-40B4-BE49-F238E27FC236}">
                  <a16:creationId xmlns:a16="http://schemas.microsoft.com/office/drawing/2014/main" id="{E55D9A3E-B1D4-E2A9-6A1D-067D15C16D7A}"/>
                </a:ext>
              </a:extLst>
            </p:cNvPr>
            <p:cNvGrpSpPr/>
            <p:nvPr/>
          </p:nvGrpSpPr>
          <p:grpSpPr>
            <a:xfrm>
              <a:off x="10206390" y="2438153"/>
              <a:ext cx="84024" cy="84024"/>
              <a:chOff x="11521324" y="3611214"/>
              <a:chExt cx="82971" cy="82971"/>
            </a:xfrm>
          </p:grpSpPr>
          <p:cxnSp>
            <p:nvCxnSpPr>
              <p:cNvPr id="2740" name="Straight Connector 2739">
                <a:extLst>
                  <a:ext uri="{FF2B5EF4-FFF2-40B4-BE49-F238E27FC236}">
                    <a16:creationId xmlns:a16="http://schemas.microsoft.com/office/drawing/2014/main" id="{F16D7A89-2EBB-474E-7A31-78B879E591C5}"/>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41" name="Straight Connector 2740">
                <a:extLst>
                  <a:ext uri="{FF2B5EF4-FFF2-40B4-BE49-F238E27FC236}">
                    <a16:creationId xmlns:a16="http://schemas.microsoft.com/office/drawing/2014/main" id="{DF9098A0-2D51-8B14-6C56-D5057E45EA95}"/>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742" name="Group 2741">
              <a:extLst>
                <a:ext uri="{FF2B5EF4-FFF2-40B4-BE49-F238E27FC236}">
                  <a16:creationId xmlns:a16="http://schemas.microsoft.com/office/drawing/2014/main" id="{57400580-6184-C934-61BE-A7461D275AF8}"/>
                </a:ext>
              </a:extLst>
            </p:cNvPr>
            <p:cNvGrpSpPr/>
            <p:nvPr/>
          </p:nvGrpSpPr>
          <p:grpSpPr>
            <a:xfrm>
              <a:off x="10192102" y="2438153"/>
              <a:ext cx="84024" cy="84024"/>
              <a:chOff x="11521324" y="3611214"/>
              <a:chExt cx="82971" cy="82971"/>
            </a:xfrm>
          </p:grpSpPr>
          <p:cxnSp>
            <p:nvCxnSpPr>
              <p:cNvPr id="2743" name="Straight Connector 2742">
                <a:extLst>
                  <a:ext uri="{FF2B5EF4-FFF2-40B4-BE49-F238E27FC236}">
                    <a16:creationId xmlns:a16="http://schemas.microsoft.com/office/drawing/2014/main" id="{40EEA287-88ED-ED51-0878-0D96ACCA38B7}"/>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44" name="Straight Connector 2743">
                <a:extLst>
                  <a:ext uri="{FF2B5EF4-FFF2-40B4-BE49-F238E27FC236}">
                    <a16:creationId xmlns:a16="http://schemas.microsoft.com/office/drawing/2014/main" id="{24960682-724A-52F8-9B53-AF833F10C153}"/>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745" name="Group 2744">
              <a:extLst>
                <a:ext uri="{FF2B5EF4-FFF2-40B4-BE49-F238E27FC236}">
                  <a16:creationId xmlns:a16="http://schemas.microsoft.com/office/drawing/2014/main" id="{A38C8328-9606-624F-3DD6-9AD11DC90719}"/>
                </a:ext>
              </a:extLst>
            </p:cNvPr>
            <p:cNvGrpSpPr/>
            <p:nvPr/>
          </p:nvGrpSpPr>
          <p:grpSpPr>
            <a:xfrm>
              <a:off x="10175434" y="2431010"/>
              <a:ext cx="84024" cy="84024"/>
              <a:chOff x="11521324" y="3611214"/>
              <a:chExt cx="82971" cy="82971"/>
            </a:xfrm>
          </p:grpSpPr>
          <p:cxnSp>
            <p:nvCxnSpPr>
              <p:cNvPr id="2746" name="Straight Connector 2745">
                <a:extLst>
                  <a:ext uri="{FF2B5EF4-FFF2-40B4-BE49-F238E27FC236}">
                    <a16:creationId xmlns:a16="http://schemas.microsoft.com/office/drawing/2014/main" id="{7747AB64-F5D5-E8F4-EAC6-D49883AA4396}"/>
                  </a:ext>
                </a:extLst>
              </p:cNvPr>
              <p:cNvCxnSpPr>
                <a:cxnSpLocks/>
              </p:cNvCxnSpPr>
              <p:nvPr/>
            </p:nvCxnSpPr>
            <p:spPr>
              <a:xfrm>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47" name="Straight Connector 2746">
                <a:extLst>
                  <a:ext uri="{FF2B5EF4-FFF2-40B4-BE49-F238E27FC236}">
                    <a16:creationId xmlns:a16="http://schemas.microsoft.com/office/drawing/2014/main" id="{48B49663-0646-BD14-CE0F-FC5FAFC202B5}"/>
                  </a:ext>
                </a:extLst>
              </p:cNvPr>
              <p:cNvCxnSpPr>
                <a:cxnSpLocks/>
              </p:cNvCxnSpPr>
              <p:nvPr/>
            </p:nvCxnSpPr>
            <p:spPr>
              <a:xfrm rot="5400000">
                <a:off x="11562810" y="3611214"/>
                <a:ext cx="0" cy="8297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4" name="Group 53">
              <a:extLst>
                <a:ext uri="{FF2B5EF4-FFF2-40B4-BE49-F238E27FC236}">
                  <a16:creationId xmlns:a16="http://schemas.microsoft.com/office/drawing/2014/main" id="{94B955EC-FB11-339B-DE90-57C52CEAA631}"/>
                </a:ext>
              </a:extLst>
            </p:cNvPr>
            <p:cNvGrpSpPr/>
            <p:nvPr/>
          </p:nvGrpSpPr>
          <p:grpSpPr>
            <a:xfrm>
              <a:off x="8649528" y="4211569"/>
              <a:ext cx="78548" cy="233348"/>
              <a:chOff x="9367817" y="4249669"/>
              <a:chExt cx="78548" cy="233348"/>
            </a:xfrm>
          </p:grpSpPr>
          <p:sp>
            <p:nvSpPr>
              <p:cNvPr id="59" name="TextBox 58">
                <a:extLst>
                  <a:ext uri="{FF2B5EF4-FFF2-40B4-BE49-F238E27FC236}">
                    <a16:creationId xmlns:a16="http://schemas.microsoft.com/office/drawing/2014/main" id="{27FA641A-91BC-F17C-0487-C5566DD56BDC}"/>
                  </a:ext>
                </a:extLst>
              </p:cNvPr>
              <p:cNvSpPr txBox="1"/>
              <p:nvPr/>
            </p:nvSpPr>
            <p:spPr>
              <a:xfrm>
                <a:off x="9367817" y="4313740"/>
                <a:ext cx="78548" cy="169277"/>
              </a:xfrm>
              <a:prstGeom prst="rect">
                <a:avLst/>
              </a:prstGeom>
              <a:noFill/>
            </p:spPr>
            <p:txBody>
              <a:bodyPr wrap="none" lIns="0" tIns="0" rIns="0" bIns="0"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0</a:t>
                </a:r>
              </a:p>
            </p:txBody>
          </p:sp>
          <p:cxnSp>
            <p:nvCxnSpPr>
              <p:cNvPr id="63" name="Straight Connector 62">
                <a:extLst>
                  <a:ext uri="{FF2B5EF4-FFF2-40B4-BE49-F238E27FC236}">
                    <a16:creationId xmlns:a16="http://schemas.microsoft.com/office/drawing/2014/main" id="{B611B82A-1893-1F25-B9A8-D461B346DB61}"/>
                  </a:ext>
                </a:extLst>
              </p:cNvPr>
              <p:cNvCxnSpPr>
                <a:cxnSpLocks/>
              </p:cNvCxnSpPr>
              <p:nvPr/>
            </p:nvCxnSpPr>
            <p:spPr>
              <a:xfrm>
                <a:off x="9407091" y="4249669"/>
                <a:ext cx="0" cy="45248"/>
              </a:xfrm>
              <a:prstGeom prst="line">
                <a:avLst/>
              </a:prstGeom>
              <a:ln w="19050" cap="sq">
                <a:solidFill>
                  <a:schemeClr val="tx1"/>
                </a:solidFill>
                <a:prstDash val="solid"/>
                <a:miter/>
              </a:ln>
            </p:spPr>
          </p:cxnSp>
        </p:grpSp>
        <p:grpSp>
          <p:nvGrpSpPr>
            <p:cNvPr id="2753" name="Group 2752">
              <a:extLst>
                <a:ext uri="{FF2B5EF4-FFF2-40B4-BE49-F238E27FC236}">
                  <a16:creationId xmlns:a16="http://schemas.microsoft.com/office/drawing/2014/main" id="{00A59E89-A2E6-20BC-4BB4-FB4CA05DF0F1}"/>
                </a:ext>
              </a:extLst>
            </p:cNvPr>
            <p:cNvGrpSpPr/>
            <p:nvPr/>
          </p:nvGrpSpPr>
          <p:grpSpPr>
            <a:xfrm>
              <a:off x="8524188" y="4117406"/>
              <a:ext cx="157471" cy="169277"/>
              <a:chOff x="8470848" y="3594638"/>
              <a:chExt cx="157471" cy="169277"/>
            </a:xfrm>
          </p:grpSpPr>
          <p:sp>
            <p:nvSpPr>
              <p:cNvPr id="2754" name="TextBox 2753">
                <a:extLst>
                  <a:ext uri="{FF2B5EF4-FFF2-40B4-BE49-F238E27FC236}">
                    <a16:creationId xmlns:a16="http://schemas.microsoft.com/office/drawing/2014/main" id="{67DBC1DF-412A-A025-37E3-9A476BB879F5}"/>
                  </a:ext>
                </a:extLst>
              </p:cNvPr>
              <p:cNvSpPr txBox="1"/>
              <p:nvPr/>
            </p:nvSpPr>
            <p:spPr>
              <a:xfrm>
                <a:off x="8470848" y="3594638"/>
                <a:ext cx="78547" cy="169277"/>
              </a:xfrm>
              <a:prstGeom prst="rect">
                <a:avLst/>
              </a:prstGeom>
              <a:noFill/>
            </p:spPr>
            <p:txBody>
              <a:bodyPr wrap="none" lIns="0" tIns="0" rIns="0" bIns="0" rtlCol="0" anchor="ctr">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0</a:t>
                </a:r>
              </a:p>
            </p:txBody>
          </p:sp>
          <p:cxnSp>
            <p:nvCxnSpPr>
              <p:cNvPr id="2755" name="Straight Connector 2754">
                <a:extLst>
                  <a:ext uri="{FF2B5EF4-FFF2-40B4-BE49-F238E27FC236}">
                    <a16:creationId xmlns:a16="http://schemas.microsoft.com/office/drawing/2014/main" id="{9566A3FE-3D3E-06F8-C425-13975DCAEEAD}"/>
                  </a:ext>
                </a:extLst>
              </p:cNvPr>
              <p:cNvCxnSpPr>
                <a:cxnSpLocks/>
              </p:cNvCxnSpPr>
              <p:nvPr/>
            </p:nvCxnSpPr>
            <p:spPr>
              <a:xfrm rot="16200000">
                <a:off x="8605695" y="3656654"/>
                <a:ext cx="0" cy="45248"/>
              </a:xfrm>
              <a:prstGeom prst="line">
                <a:avLst/>
              </a:prstGeom>
              <a:ln w="19050" cap="sq">
                <a:solidFill>
                  <a:schemeClr val="tx1"/>
                </a:solidFill>
                <a:prstDash val="solid"/>
                <a:miter/>
              </a:ln>
            </p:spPr>
          </p:cxnSp>
        </p:grpSp>
      </p:grpSp>
    </p:spTree>
    <p:extLst>
      <p:ext uri="{BB962C8B-B14F-4D97-AF65-F5344CB8AC3E}">
        <p14:creationId xmlns:p14="http://schemas.microsoft.com/office/powerpoint/2010/main" val="1062265743"/>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8D74E-9BBE-2522-2C4F-8533D6623AB3}"/>
              </a:ext>
            </a:extLst>
          </p:cNvPr>
          <p:cNvSpPr>
            <a:spLocks noGrp="1"/>
          </p:cNvSpPr>
          <p:nvPr>
            <p:ph type="title"/>
          </p:nvPr>
        </p:nvSpPr>
        <p:spPr>
          <a:xfrm>
            <a:off x="348343" y="274321"/>
            <a:ext cx="11437257" cy="861774"/>
          </a:xfrm>
        </p:spPr>
        <p:txBody>
          <a:bodyPr/>
          <a:lstStyle/>
          <a:p>
            <a:r>
              <a:rPr lang="en-US" sz="2800" dirty="0">
                <a:latin typeface="Arial" panose="020B0604020202020204" pitchFamily="34" charset="0"/>
                <a:cs typeface="Arial" panose="020B0604020202020204" pitchFamily="34" charset="0"/>
              </a:rPr>
              <a:t>CD20xCD3 bispecific antibodies engage and redirect T cells to eliminate malignant B cells</a:t>
            </a:r>
          </a:p>
        </p:txBody>
      </p:sp>
      <p:pic>
        <p:nvPicPr>
          <p:cNvPr id="5" name="Picture 4" descr="A diagram of a cell&#10;&#10;Description automatically generated">
            <a:extLst>
              <a:ext uri="{FF2B5EF4-FFF2-40B4-BE49-F238E27FC236}">
                <a16:creationId xmlns:a16="http://schemas.microsoft.com/office/drawing/2014/main" id="{7D8BC3CB-03AD-C353-D37D-531D9864F08B}"/>
              </a:ext>
            </a:extLst>
          </p:cNvPr>
          <p:cNvPicPr>
            <a:picLocks noChangeAspect="1"/>
          </p:cNvPicPr>
          <p:nvPr/>
        </p:nvPicPr>
        <p:blipFill>
          <a:blip r:embed="rId3"/>
          <a:stretch>
            <a:fillRect/>
          </a:stretch>
        </p:blipFill>
        <p:spPr>
          <a:xfrm>
            <a:off x="173620" y="1997869"/>
            <a:ext cx="5799560" cy="2899657"/>
          </a:xfrm>
          <a:prstGeom prst="rect">
            <a:avLst/>
          </a:prstGeom>
        </p:spPr>
      </p:pic>
      <p:sp>
        <p:nvSpPr>
          <p:cNvPr id="6" name="TextBox 5">
            <a:extLst>
              <a:ext uri="{FF2B5EF4-FFF2-40B4-BE49-F238E27FC236}">
                <a16:creationId xmlns:a16="http://schemas.microsoft.com/office/drawing/2014/main" id="{5C04706F-0B7C-D767-8274-513CA35F8480}"/>
              </a:ext>
            </a:extLst>
          </p:cNvPr>
          <p:cNvSpPr txBox="1"/>
          <p:nvPr/>
        </p:nvSpPr>
        <p:spPr>
          <a:xfrm>
            <a:off x="2775433" y="6583679"/>
            <a:ext cx="8382562" cy="230832"/>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ldoss</a:t>
            </a: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I, et al. Leukemia 2017;31:777–87. 2. Khosla AA, et al. Pharmaceuticals 2023;16:1461; 3. </a:t>
            </a:r>
            <a:r>
              <a:rPr kumimoji="0" lang="en-US" sz="9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assanello</a:t>
            </a: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G, et al. </a:t>
            </a:r>
            <a:r>
              <a:rPr kumimoji="0" lang="en-US" sz="9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ncoimmunology</a:t>
            </a: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024;13:2321648</a:t>
            </a:r>
          </a:p>
        </p:txBody>
      </p:sp>
      <p:pic>
        <p:nvPicPr>
          <p:cNvPr id="7" name="Picture 6">
            <a:extLst>
              <a:ext uri="{FF2B5EF4-FFF2-40B4-BE49-F238E27FC236}">
                <a16:creationId xmlns:a16="http://schemas.microsoft.com/office/drawing/2014/main" id="{74EA2C55-A235-B5A4-AEF4-C1EC7F414FF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73180" y="1136095"/>
            <a:ext cx="6045200" cy="5041900"/>
          </a:xfrm>
          <a:prstGeom prst="rect">
            <a:avLst/>
          </a:prstGeom>
        </p:spPr>
      </p:pic>
    </p:spTree>
    <p:extLst>
      <p:ext uri="{BB962C8B-B14F-4D97-AF65-F5344CB8AC3E}">
        <p14:creationId xmlns:p14="http://schemas.microsoft.com/office/powerpoint/2010/main" val="3930246811"/>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B19D0F-138D-4FE9-3AC7-E3A57C4D056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19C716F-A656-0616-5D21-5AB2B6AFF8B6}"/>
              </a:ext>
            </a:extLst>
          </p:cNvPr>
          <p:cNvSpPr>
            <a:spLocks noGrp="1"/>
          </p:cNvSpPr>
          <p:nvPr>
            <p:ph type="title"/>
          </p:nvPr>
        </p:nvSpPr>
        <p:spPr/>
        <p:txBody>
          <a:bodyPr>
            <a:noAutofit/>
          </a:bodyPr>
          <a:lstStyle/>
          <a:p>
            <a:r>
              <a:rPr lang="en-US" sz="2800" dirty="0">
                <a:latin typeface="Arial" panose="020B0604020202020204" pitchFamily="34" charset="0"/>
                <a:cs typeface="Arial" panose="020B0604020202020204" pitchFamily="34" charset="0"/>
              </a:rPr>
              <a:t> </a:t>
            </a:r>
            <a:r>
              <a:rPr lang="en-US" sz="2800" b="1" dirty="0">
                <a:solidFill>
                  <a:schemeClr val="tx2"/>
                </a:solidFill>
                <a:latin typeface="Arial" panose="020B0604020202020204" pitchFamily="34" charset="0"/>
                <a:cs typeface="Arial" panose="020B0604020202020204" pitchFamily="34" charset="0"/>
              </a:rPr>
              <a:t>Mosunetuzumab: </a:t>
            </a:r>
            <a:r>
              <a:rPr lang="en-US" sz="2800" dirty="0">
                <a:latin typeface="Arial" panose="020B0604020202020204" pitchFamily="34" charset="0"/>
                <a:cs typeface="Arial" panose="020B0604020202020204" pitchFamily="34" charset="0"/>
              </a:rPr>
              <a:t>Median PFS of 24 months at 5-year follow-up</a:t>
            </a:r>
          </a:p>
        </p:txBody>
      </p:sp>
      <p:sp>
        <p:nvSpPr>
          <p:cNvPr id="8" name="Footer Placeholder 7">
            <a:extLst>
              <a:ext uri="{FF2B5EF4-FFF2-40B4-BE49-F238E27FC236}">
                <a16:creationId xmlns:a16="http://schemas.microsoft.com/office/drawing/2014/main" id="{AE3FE29B-ECFF-A6F2-F41A-255737060114}"/>
              </a:ext>
            </a:extLst>
          </p:cNvPr>
          <p:cNvSpPr>
            <a:spLocks noGrp="1"/>
          </p:cNvSpPr>
          <p:nvPr>
            <p:ph type="ftr" sz="quarter" idx="11"/>
          </p:nvPr>
        </p:nvSpPr>
        <p:spPr>
          <a:xfrm>
            <a:off x="838200" y="6067250"/>
            <a:ext cx="10515600" cy="503999"/>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Median follow-up of 28.3 months; </a:t>
            </a: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b</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Median follow-up 18.3 months in the primary analysis.</a:t>
            </a:r>
            <a:b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L, third line; AE, adverse event; CRR, complete response rate; CRS, cytokine release syndrome; FL, follicular lymphoma; ICANS, immune effector cell-associated neurotoxicity syndrome; </a:t>
            </a:r>
            <a:r>
              <a:rPr kumimoji="0" lang="en-US" sz="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mFU</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median follow-up; NE, not estimable; NR, not reached; ORR, overall response rate; PFS, progression-free survival; R/R, relapsed/refractory.</a:t>
            </a:r>
            <a:b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 Shadman S, et al. ASH 2024. Oral presentation 864; 2. Bartlett NL, et al. Blood. 2022. Oral presentation 610; 3. Budde LE, et al ASH 2025 </a:t>
            </a:r>
          </a:p>
        </p:txBody>
      </p:sp>
      <p:grpSp>
        <p:nvGrpSpPr>
          <p:cNvPr id="4" name="Group 3">
            <a:extLst>
              <a:ext uri="{FF2B5EF4-FFF2-40B4-BE49-F238E27FC236}">
                <a16:creationId xmlns:a16="http://schemas.microsoft.com/office/drawing/2014/main" id="{5168FA21-47ED-F22E-FD19-577F6A555E4C}"/>
              </a:ext>
            </a:extLst>
          </p:cNvPr>
          <p:cNvGrpSpPr/>
          <p:nvPr/>
        </p:nvGrpSpPr>
        <p:grpSpPr>
          <a:xfrm>
            <a:off x="418358" y="1283390"/>
            <a:ext cx="2196000" cy="3562838"/>
            <a:chOff x="0" y="1286781"/>
            <a:chExt cx="2275840" cy="3562838"/>
          </a:xfrm>
        </p:grpSpPr>
        <p:sp>
          <p:nvSpPr>
            <p:cNvPr id="196" name="Flowchart: Process 195">
              <a:extLst>
                <a:ext uri="{FF2B5EF4-FFF2-40B4-BE49-F238E27FC236}">
                  <a16:creationId xmlns:a16="http://schemas.microsoft.com/office/drawing/2014/main" id="{BF551A0F-B935-1E54-7D92-066B1256893B}"/>
                </a:ext>
              </a:extLst>
            </p:cNvPr>
            <p:cNvSpPr/>
            <p:nvPr/>
          </p:nvSpPr>
          <p:spPr>
            <a:xfrm>
              <a:off x="0" y="1286781"/>
              <a:ext cx="2275840" cy="3562838"/>
            </a:xfrm>
            <a:prstGeom prst="flowChartProcess">
              <a:avLst/>
            </a:prstGeom>
            <a:solidFill>
              <a:schemeClr val="bg1"/>
            </a:solidFill>
            <a:ln w="6350">
              <a:solidFill>
                <a:schemeClr val="tx1"/>
              </a:solidFill>
            </a:ln>
            <a:effectLst>
              <a:outerShdw blurRad="50800" dist="38100" algn="l" rotWithShape="0">
                <a:prstClr val="black">
                  <a:alpha val="40000"/>
                </a:prstClr>
              </a:outerShdw>
            </a:effectLst>
          </p:spPr>
          <p:style>
            <a:lnRef idx="0">
              <a:schemeClr val="accent1"/>
            </a:lnRef>
            <a:fillRef idx="1">
              <a:schemeClr val="accent1"/>
            </a:fillRef>
            <a:effectRef idx="0">
              <a:srgbClr val="00000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Calibri Light" panose="020F0302020204030204"/>
                <a:ea typeface="+mn-ea"/>
                <a:cs typeface="Arial" panose="020B0604020202020204" pitchFamily="34" charset="0"/>
              </a:endParaRPr>
            </a:p>
          </p:txBody>
        </p:sp>
        <p:sp>
          <p:nvSpPr>
            <p:cNvPr id="200" name="Flowchart: Process 199">
              <a:extLst>
                <a:ext uri="{FF2B5EF4-FFF2-40B4-BE49-F238E27FC236}">
                  <a16:creationId xmlns:a16="http://schemas.microsoft.com/office/drawing/2014/main" id="{C6DFB8A3-E311-8E9B-86DB-1BE684C2688E}"/>
                </a:ext>
              </a:extLst>
            </p:cNvPr>
            <p:cNvSpPr/>
            <p:nvPr/>
          </p:nvSpPr>
          <p:spPr>
            <a:xfrm>
              <a:off x="109894" y="1364714"/>
              <a:ext cx="2056053" cy="408946"/>
            </a:xfrm>
            <a:prstGeom prst="flowChartProcess">
              <a:avLst/>
            </a:prstGeom>
            <a:solidFill>
              <a:schemeClr val="tx2"/>
            </a:solidFill>
            <a:ln>
              <a:noFill/>
            </a:ln>
          </p:spPr>
          <p:style>
            <a:lnRef idx="0">
              <a:schemeClr val="accent1"/>
            </a:lnRef>
            <a:fillRef idx="1">
              <a:schemeClr val="accent1"/>
            </a:fillRef>
            <a:effectRef idx="0">
              <a:srgbClr val="00000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O29781</a:t>
              </a:r>
            </a:p>
          </p:txBody>
        </p:sp>
        <p:sp>
          <p:nvSpPr>
            <p:cNvPr id="203" name="TextBox 202">
              <a:extLst>
                <a:ext uri="{FF2B5EF4-FFF2-40B4-BE49-F238E27FC236}">
                  <a16:creationId xmlns:a16="http://schemas.microsoft.com/office/drawing/2014/main" id="{63E58AED-4A14-6105-66A3-C38A4CBEA8C4}"/>
                </a:ext>
              </a:extLst>
            </p:cNvPr>
            <p:cNvSpPr txBox="1"/>
            <p:nvPr/>
          </p:nvSpPr>
          <p:spPr>
            <a:xfrm>
              <a:off x="56223" y="1843564"/>
              <a:ext cx="2198665" cy="1913344"/>
            </a:xfrm>
            <a:prstGeom prst="rect">
              <a:avLst/>
            </a:prstGeom>
            <a:noFill/>
          </p:spPr>
          <p:txBody>
            <a:bodyPr wrap="square">
              <a:spAutoFit/>
            </a:bodyPr>
            <a:lstStyle/>
            <a:p>
              <a:pPr marL="0" marR="0" lvl="0" indent="0" algn="ctr" defTabSz="914400" rtl="0" eaLnBrk="1" fontAlgn="auto" latinLnBrk="0" hangingPunct="1">
                <a:lnSpc>
                  <a:spcPct val="100000"/>
                </a:lnSpc>
                <a:spcBef>
                  <a:spcPts val="500"/>
                </a:spcBef>
                <a:spcAft>
                  <a:spcPts val="0"/>
                </a:spcAft>
                <a:buClr>
                  <a:srgbClr val="C30F3B"/>
                </a:buClr>
                <a:buSzPct val="120000"/>
                <a:buFontTx/>
                <a:buNone/>
                <a:tabLst/>
                <a:defRPr/>
              </a:pPr>
              <a:r>
                <a:rPr kumimoji="0" lang="en-US" sz="1600" b="1" i="0" u="none" strike="noStrike" kern="1200" cap="none" spc="0" normalizeH="0" baseline="0" noProof="0" dirty="0" err="1">
                  <a:ln>
                    <a:noFill/>
                  </a:ln>
                  <a:solidFill>
                    <a:srgbClr val="44546A"/>
                  </a:solidFill>
                  <a:effectLst/>
                  <a:uLnTx/>
                  <a:uFillTx/>
                  <a:latin typeface="Arial" panose="020B0604020202020204" pitchFamily="34" charset="0"/>
                  <a:ea typeface="+mn-ea"/>
                  <a:cs typeface="Arial" panose="020B0604020202020204" pitchFamily="34" charset="0"/>
                </a:rPr>
                <a:t>mFU</a:t>
              </a:r>
              <a:r>
                <a:rPr kumimoji="0" lang="en-US" sz="1600" b="1"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 60.2 months</a:t>
              </a:r>
            </a:p>
            <a:p>
              <a:pPr marL="0" marR="0" lvl="0" indent="0" algn="l" defTabSz="914400" rtl="0" eaLnBrk="1" fontAlgn="auto" latinLnBrk="0" hangingPunct="1">
                <a:lnSpc>
                  <a:spcPct val="100000"/>
                </a:lnSpc>
                <a:spcBef>
                  <a:spcPts val="500"/>
                </a:spcBef>
                <a:spcAft>
                  <a:spcPts val="0"/>
                </a:spcAft>
                <a:buClr>
                  <a:srgbClr val="C30F3B"/>
                </a:buClr>
                <a:buSzPct val="120000"/>
                <a:buFontTx/>
                <a:buNone/>
                <a:tabLst/>
                <a:defRPr/>
              </a:pPr>
              <a:r>
                <a:rPr kumimoji="0" lang="en-US" sz="1600" b="0" i="0" u="none" strike="noStrike" kern="120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rPr>
                <a:t>Phase 2, single-arm, multicenter trial of </a:t>
              </a:r>
              <a:br>
                <a:rPr kumimoji="0" lang="en-US" sz="1600" b="1" i="0" u="none" strike="noStrike" kern="120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rPr>
              </a:br>
              <a:r>
                <a:rPr kumimoji="0" lang="en-US" sz="1600" b="1"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mosunetuzumab </a:t>
              </a:r>
              <a:br>
                <a:rPr kumimoji="0" lang="en-US" sz="1600" b="1"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br>
              <a:r>
                <a:rPr kumimoji="0" lang="en-US" sz="1600" b="1"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n = 90) </a:t>
              </a:r>
              <a:r>
                <a:rPr kumimoji="0" lang="en-US" sz="1600" b="0" i="0" u="none" strike="noStrike" kern="120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rPr>
                <a:t>in patients with 3L+ R/R FL</a:t>
              </a:r>
              <a:r>
                <a:rPr kumimoji="0" lang="en-US" sz="1600" b="0" i="0" u="none" strike="noStrike" kern="1200" cap="none" spc="0" normalizeH="0" baseline="30000" noProof="0" dirty="0">
                  <a:ln>
                    <a:noFill/>
                  </a:ln>
                  <a:solidFill>
                    <a:srgbClr val="595454"/>
                  </a:solidFill>
                  <a:effectLst/>
                  <a:uLnTx/>
                  <a:uFillTx/>
                  <a:latin typeface="Arial" panose="020B0604020202020204" pitchFamily="34" charset="0"/>
                  <a:ea typeface="+mn-ea"/>
                  <a:cs typeface="Arial" panose="020B0604020202020204" pitchFamily="34" charset="0"/>
                </a:rPr>
                <a:t>1,2</a:t>
              </a:r>
              <a:endParaRPr kumimoji="0" lang="en-US" sz="2000" b="1" i="0"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500"/>
                </a:spcBef>
                <a:spcAft>
                  <a:spcPts val="0"/>
                </a:spcAft>
                <a:buClr>
                  <a:srgbClr val="C30F3B"/>
                </a:buClr>
                <a:buSzPct val="120000"/>
                <a:buFont typeface="System Font Regular"/>
                <a:buNone/>
                <a:tabLst/>
                <a:defRPr/>
              </a:pPr>
              <a:endParaRPr kumimoji="0" lang="en-US" sz="1400" b="1" i="0" u="none" strike="noStrike" kern="1200" cap="none" spc="0" normalizeH="0" baseline="0" noProof="0" dirty="0">
                <a:ln>
                  <a:noFill/>
                </a:ln>
                <a:solidFill>
                  <a:srgbClr val="BE2BBB"/>
                </a:solidFill>
                <a:effectLst/>
                <a:uLnTx/>
                <a:uFillTx/>
                <a:latin typeface="Arial" panose="020B0604020202020204" pitchFamily="34" charset="0"/>
                <a:ea typeface="+mn-ea"/>
                <a:cs typeface="Arial" panose="020B0604020202020204" pitchFamily="34" charset="0"/>
              </a:endParaRPr>
            </a:p>
          </p:txBody>
        </p:sp>
        <p:cxnSp>
          <p:nvCxnSpPr>
            <p:cNvPr id="204" name="Straight Connector 203">
              <a:extLst>
                <a:ext uri="{FF2B5EF4-FFF2-40B4-BE49-F238E27FC236}">
                  <a16:creationId xmlns:a16="http://schemas.microsoft.com/office/drawing/2014/main" id="{6923750B-7A8A-44FF-68A0-7D74E1CE13AB}"/>
                </a:ext>
              </a:extLst>
            </p:cNvPr>
            <p:cNvCxnSpPr>
              <a:cxnSpLocks/>
            </p:cNvCxnSpPr>
            <p:nvPr/>
          </p:nvCxnSpPr>
          <p:spPr>
            <a:xfrm>
              <a:off x="482283" y="4726409"/>
              <a:ext cx="1311275" cy="0"/>
            </a:xfrm>
            <a:prstGeom prst="line">
              <a:avLst/>
            </a:prstGeom>
            <a:ln w="28575" cap="rnd">
              <a:solidFill>
                <a:schemeClr val="tx1">
                  <a:lumMod val="65000"/>
                  <a:lumOff val="35000"/>
                </a:schemeClr>
              </a:solidFill>
            </a:ln>
          </p:spPr>
          <p:style>
            <a:lnRef idx="1">
              <a:srgbClr val="BE2BBB"/>
            </a:lnRef>
            <a:fillRef idx="0">
              <a:schemeClr val="accent1"/>
            </a:fillRef>
            <a:effectRef idx="0">
              <a:srgbClr val="000000"/>
            </a:effectRef>
            <a:fontRef idx="minor">
              <a:schemeClr val="lt1"/>
            </a:fontRef>
          </p:style>
        </p:cxnSp>
      </p:grpSp>
      <p:sp>
        <p:nvSpPr>
          <p:cNvPr id="208" name="Rectangle 207">
            <a:extLst>
              <a:ext uri="{FF2B5EF4-FFF2-40B4-BE49-F238E27FC236}">
                <a16:creationId xmlns:a16="http://schemas.microsoft.com/office/drawing/2014/main" id="{20AF4D62-D01A-25E1-0FA2-1B05F1D87F07}"/>
              </a:ext>
            </a:extLst>
          </p:cNvPr>
          <p:cNvSpPr/>
          <p:nvPr/>
        </p:nvSpPr>
        <p:spPr>
          <a:xfrm>
            <a:off x="8787623" y="1280159"/>
            <a:ext cx="3050535" cy="3831643"/>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210" name="Group 209">
            <a:extLst>
              <a:ext uri="{FF2B5EF4-FFF2-40B4-BE49-F238E27FC236}">
                <a16:creationId xmlns:a16="http://schemas.microsoft.com/office/drawing/2014/main" id="{9D00A60B-8035-1261-86B8-F2424A4D5CB5}"/>
              </a:ext>
            </a:extLst>
          </p:cNvPr>
          <p:cNvGrpSpPr/>
          <p:nvPr/>
        </p:nvGrpSpPr>
        <p:grpSpPr>
          <a:xfrm>
            <a:off x="8909923" y="2896630"/>
            <a:ext cx="2928235" cy="307777"/>
            <a:chOff x="8909923" y="2973037"/>
            <a:chExt cx="2928235" cy="399083"/>
          </a:xfrm>
        </p:grpSpPr>
        <p:sp>
          <p:nvSpPr>
            <p:cNvPr id="218" name="TextBox 217">
              <a:extLst>
                <a:ext uri="{FF2B5EF4-FFF2-40B4-BE49-F238E27FC236}">
                  <a16:creationId xmlns:a16="http://schemas.microsoft.com/office/drawing/2014/main" id="{1CEC2BEA-A5BE-59F4-F8AF-F45A492FD26E}"/>
                </a:ext>
              </a:extLst>
            </p:cNvPr>
            <p:cNvSpPr txBox="1"/>
            <p:nvPr/>
          </p:nvSpPr>
          <p:spPr bwMode="auto">
            <a:xfrm>
              <a:off x="8909923" y="3038636"/>
              <a:ext cx="719741" cy="289753"/>
            </a:xfrm>
            <a:prstGeom prst="rect">
              <a:avLst/>
            </a:prstGeom>
            <a:noFill/>
          </p:spPr>
          <p:txBody>
            <a:bodyPr lIns="0" tIns="0" rIns="0" bIns="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lumMod val="75000"/>
                      <a:lumOff val="25000"/>
                    </a:srgbClr>
                  </a:solidFill>
                  <a:effectLst/>
                  <a:uLnTx/>
                  <a:uFillTx/>
                  <a:latin typeface="Arial" panose="020B0604020202020204" pitchFamily="34" charset="0"/>
                  <a:ea typeface="+mn-ea"/>
                  <a:cs typeface="Arial" panose="020B0604020202020204" pitchFamily="34" charset="0"/>
                </a:rPr>
                <a:t>Grade ≥ 3 </a:t>
              </a:r>
              <a:r>
                <a:rPr kumimoji="0" lang="en-US" sz="1050" b="1" i="0" u="none" strike="noStrike" kern="0" cap="none" spc="0" normalizeH="0" baseline="0" noProof="0" dirty="0">
                  <a:ln>
                    <a:noFill/>
                  </a:ln>
                  <a:solidFill>
                    <a:srgbClr val="000000">
                      <a:lumMod val="75000"/>
                      <a:lumOff val="25000"/>
                    </a:srgbClr>
                  </a:solidFill>
                  <a:effectLst/>
                  <a:uLnTx/>
                  <a:uFillTx/>
                  <a:latin typeface="Arial" panose="020B0604020202020204" pitchFamily="34" charset="0"/>
                  <a:ea typeface="MS PGothic" panose="020B0600070205080204" pitchFamily="34" charset="-128"/>
                  <a:cs typeface="Arial" panose="020B0604020202020204" pitchFamily="34" charset="0"/>
                </a:rPr>
                <a:t>CRS, %</a:t>
              </a:r>
            </a:p>
          </p:txBody>
        </p:sp>
        <p:sp>
          <p:nvSpPr>
            <p:cNvPr id="225" name="Shape 932">
              <a:extLst>
                <a:ext uri="{FF2B5EF4-FFF2-40B4-BE49-F238E27FC236}">
                  <a16:creationId xmlns:a16="http://schemas.microsoft.com/office/drawing/2014/main" id="{3EAADFE4-5EF7-FAEE-3154-A84315F5FA79}"/>
                </a:ext>
              </a:extLst>
            </p:cNvPr>
            <p:cNvSpPr/>
            <p:nvPr/>
          </p:nvSpPr>
          <p:spPr bwMode="auto">
            <a:xfrm>
              <a:off x="10092158" y="3020548"/>
              <a:ext cx="1746000" cy="327600"/>
            </a:xfrm>
            <a:prstGeom prst="rect">
              <a:avLst/>
            </a:prstGeom>
            <a:solidFill>
              <a:schemeClr val="bg1"/>
            </a:solidFill>
            <a:ln w="12700" cap="flat">
              <a:noFill/>
              <a:miter lim="400000"/>
            </a:ln>
            <a:effectLst/>
          </p:spPr>
          <p:txBody>
            <a:bodyPr lIns="45719" tIns="45719" rIns="45719" bIns="45719"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733" b="0" i="0" u="none" strike="noStrike" kern="1200" cap="none" spc="0" normalizeH="0" baseline="0" noProof="0" dirty="0">
                <a:ln>
                  <a:noFill/>
                </a:ln>
                <a:solidFill>
                  <a:srgbClr val="B7B8B9"/>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endParaRPr>
            </a:p>
          </p:txBody>
        </p:sp>
        <p:sp>
          <p:nvSpPr>
            <p:cNvPr id="228" name="Rectangle 227">
              <a:extLst>
                <a:ext uri="{FF2B5EF4-FFF2-40B4-BE49-F238E27FC236}">
                  <a16:creationId xmlns:a16="http://schemas.microsoft.com/office/drawing/2014/main" id="{4E03D141-CACB-15F5-2E4E-A022F1771182}"/>
                </a:ext>
              </a:extLst>
            </p:cNvPr>
            <p:cNvSpPr/>
            <p:nvPr/>
          </p:nvSpPr>
          <p:spPr>
            <a:xfrm>
              <a:off x="10092159" y="3020548"/>
              <a:ext cx="36000" cy="327600"/>
            </a:xfrm>
            <a:prstGeom prst="rect">
              <a:avLst/>
            </a:prstGeom>
            <a:solidFill>
              <a:schemeClr val="tx2"/>
            </a:solidFill>
            <a:ln w="12700" cap="flat" cmpd="sng" algn="ctr">
              <a:no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29" name="TextBox 228">
              <a:extLst>
                <a:ext uri="{FF2B5EF4-FFF2-40B4-BE49-F238E27FC236}">
                  <a16:creationId xmlns:a16="http://schemas.microsoft.com/office/drawing/2014/main" id="{EBC524EE-85F8-D0D1-185F-3FDD1D0C829A}"/>
                </a:ext>
              </a:extLst>
            </p:cNvPr>
            <p:cNvSpPr txBox="1"/>
            <p:nvPr/>
          </p:nvSpPr>
          <p:spPr>
            <a:xfrm>
              <a:off x="10127869" y="2973037"/>
              <a:ext cx="223614" cy="399083"/>
            </a:xfrm>
            <a:prstGeom prst="rect">
              <a:avLst/>
            </a:prstGeom>
            <a:noFill/>
          </p:spPr>
          <p:txBody>
            <a:bodyPr wrap="squar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2</a:t>
              </a:r>
            </a:p>
          </p:txBody>
        </p:sp>
      </p:grpSp>
      <p:grpSp>
        <p:nvGrpSpPr>
          <p:cNvPr id="230" name="Group 229">
            <a:extLst>
              <a:ext uri="{FF2B5EF4-FFF2-40B4-BE49-F238E27FC236}">
                <a16:creationId xmlns:a16="http://schemas.microsoft.com/office/drawing/2014/main" id="{E2A74F3C-59C9-7FA7-AD40-1FC07EB1310E}"/>
              </a:ext>
            </a:extLst>
          </p:cNvPr>
          <p:cNvGrpSpPr/>
          <p:nvPr/>
        </p:nvGrpSpPr>
        <p:grpSpPr>
          <a:xfrm>
            <a:off x="8909923" y="3275121"/>
            <a:ext cx="2928235" cy="432000"/>
            <a:chOff x="8909923" y="3499588"/>
            <a:chExt cx="2928235" cy="560152"/>
          </a:xfrm>
        </p:grpSpPr>
        <p:sp>
          <p:nvSpPr>
            <p:cNvPr id="232" name="TextBox 231">
              <a:extLst>
                <a:ext uri="{FF2B5EF4-FFF2-40B4-BE49-F238E27FC236}">
                  <a16:creationId xmlns:a16="http://schemas.microsoft.com/office/drawing/2014/main" id="{685910D0-7A73-19A3-6A76-D4C6A0711A0B}"/>
                </a:ext>
              </a:extLst>
            </p:cNvPr>
            <p:cNvSpPr txBox="1"/>
            <p:nvPr/>
          </p:nvSpPr>
          <p:spPr bwMode="auto">
            <a:xfrm>
              <a:off x="8909923" y="3628675"/>
              <a:ext cx="997075" cy="292034"/>
            </a:xfrm>
            <a:prstGeom prst="rect">
              <a:avLst/>
            </a:prstGeom>
            <a:noFill/>
          </p:spPr>
          <p:txBody>
            <a:bodyPr lIns="0" tIns="0" rIns="0" bIns="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lumMod val="75000"/>
                      <a:lumOff val="25000"/>
                    </a:srgbClr>
                  </a:solidFill>
                  <a:effectLst/>
                  <a:uLnTx/>
                  <a:uFillTx/>
                  <a:latin typeface="Arial" panose="020B0604020202020204" pitchFamily="34" charset="0"/>
                  <a:ea typeface="+mn-ea"/>
                  <a:cs typeface="Arial" panose="020B0604020202020204" pitchFamily="34" charset="0"/>
                </a:rPr>
                <a:t>Grade ≥ 3 </a:t>
              </a:r>
              <a:br>
                <a:rPr kumimoji="0" lang="en-US" sz="1050" b="1" i="0" u="none" strike="noStrike" kern="1200" cap="none" spc="0" normalizeH="0" baseline="0" noProof="0" dirty="0">
                  <a:ln>
                    <a:noFill/>
                  </a:ln>
                  <a:solidFill>
                    <a:srgbClr val="000000">
                      <a:lumMod val="75000"/>
                      <a:lumOff val="25000"/>
                    </a:srgbClr>
                  </a:solidFill>
                  <a:effectLst/>
                  <a:uLnTx/>
                  <a:uFillTx/>
                  <a:latin typeface="Arial" panose="020B0604020202020204" pitchFamily="34" charset="0"/>
                  <a:ea typeface="+mn-ea"/>
                  <a:cs typeface="Arial" panose="020B0604020202020204" pitchFamily="34" charset="0"/>
                </a:rPr>
              </a:br>
              <a:r>
                <a:rPr kumimoji="0" lang="en-US" sz="1050" b="1" i="0" u="none" strike="noStrike" kern="0" cap="none" spc="0" normalizeH="0" baseline="0" noProof="0" dirty="0">
                  <a:ln>
                    <a:noFill/>
                  </a:ln>
                  <a:solidFill>
                    <a:srgbClr val="000000">
                      <a:lumMod val="75000"/>
                      <a:lumOff val="25000"/>
                    </a:srgbClr>
                  </a:solidFill>
                  <a:effectLst/>
                  <a:uLnTx/>
                  <a:uFillTx/>
                  <a:latin typeface="Arial" panose="020B0604020202020204" pitchFamily="34" charset="0"/>
                  <a:ea typeface="MS PGothic" panose="020B0600070205080204" pitchFamily="34" charset="-128"/>
                  <a:cs typeface="Arial" panose="020B0604020202020204" pitchFamily="34" charset="0"/>
                </a:rPr>
                <a:t>ICANS, %</a:t>
              </a:r>
              <a:r>
                <a:rPr kumimoji="0" lang="en-US" sz="1050" b="1" i="0" u="none" strike="noStrike" kern="0" cap="none" spc="0" normalizeH="0" baseline="30000" noProof="0" dirty="0">
                  <a:ln>
                    <a:noFill/>
                  </a:ln>
                  <a:solidFill>
                    <a:srgbClr val="000000">
                      <a:lumMod val="75000"/>
                      <a:lumOff val="25000"/>
                    </a:srgbClr>
                  </a:solidFill>
                  <a:effectLst/>
                  <a:uLnTx/>
                  <a:uFillTx/>
                  <a:latin typeface="Arial" panose="020B0604020202020204" pitchFamily="34" charset="0"/>
                  <a:ea typeface="MS PGothic" panose="020B0600070205080204" pitchFamily="34" charset="-128"/>
                  <a:cs typeface="Arial" panose="020B0604020202020204" pitchFamily="34" charset="0"/>
                </a:rPr>
                <a:t>b</a:t>
              </a:r>
              <a:endParaRPr kumimoji="0" lang="en-US" sz="1050" b="1" i="0" u="none" strike="noStrike" kern="0" cap="none" spc="0" normalizeH="0" baseline="0" noProof="0" dirty="0">
                <a:ln>
                  <a:noFill/>
                </a:ln>
                <a:solidFill>
                  <a:srgbClr val="000000">
                    <a:lumMod val="75000"/>
                    <a:lumOff val="25000"/>
                  </a:srgbClr>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241" name="Shape 932">
              <a:extLst>
                <a:ext uri="{FF2B5EF4-FFF2-40B4-BE49-F238E27FC236}">
                  <a16:creationId xmlns:a16="http://schemas.microsoft.com/office/drawing/2014/main" id="{F1A23A8B-FFCC-0163-940B-EFF11851CD2D}"/>
                </a:ext>
              </a:extLst>
            </p:cNvPr>
            <p:cNvSpPr/>
            <p:nvPr/>
          </p:nvSpPr>
          <p:spPr bwMode="auto">
            <a:xfrm>
              <a:off x="10092158" y="3600529"/>
              <a:ext cx="1746000" cy="327600"/>
            </a:xfrm>
            <a:prstGeom prst="rect">
              <a:avLst/>
            </a:prstGeom>
            <a:solidFill>
              <a:schemeClr val="bg1"/>
            </a:solidFill>
            <a:ln w="12700" cap="flat">
              <a:noFill/>
              <a:miter lim="400000"/>
            </a:ln>
            <a:effectLst/>
          </p:spPr>
          <p:txBody>
            <a:bodyPr lIns="45719" tIns="45719" rIns="45719" bIns="45719"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733" b="0" i="0" u="none" strike="noStrike" kern="1200" cap="none" spc="0" normalizeH="0" baseline="0" noProof="0" dirty="0">
                <a:ln>
                  <a:noFill/>
                </a:ln>
                <a:solidFill>
                  <a:srgbClr val="B7B8B9"/>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endParaRPr>
            </a:p>
          </p:txBody>
        </p:sp>
        <p:sp>
          <p:nvSpPr>
            <p:cNvPr id="242" name="TextBox 241">
              <a:extLst>
                <a:ext uri="{FF2B5EF4-FFF2-40B4-BE49-F238E27FC236}">
                  <a16:creationId xmlns:a16="http://schemas.microsoft.com/office/drawing/2014/main" id="{50B08FB6-F27C-7AE1-2890-BE4CC24D0DAB}"/>
                </a:ext>
              </a:extLst>
            </p:cNvPr>
            <p:cNvSpPr txBox="1"/>
            <p:nvPr/>
          </p:nvSpPr>
          <p:spPr>
            <a:xfrm>
              <a:off x="10045411" y="3499588"/>
              <a:ext cx="290464" cy="56015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0</a:t>
              </a:r>
            </a:p>
          </p:txBody>
        </p:sp>
      </p:grpSp>
      <p:grpSp>
        <p:nvGrpSpPr>
          <p:cNvPr id="520" name="Group 519">
            <a:extLst>
              <a:ext uri="{FF2B5EF4-FFF2-40B4-BE49-F238E27FC236}">
                <a16:creationId xmlns:a16="http://schemas.microsoft.com/office/drawing/2014/main" id="{AA29550E-63B0-B131-A6F1-ADEAF10014C7}"/>
              </a:ext>
            </a:extLst>
          </p:cNvPr>
          <p:cNvGrpSpPr/>
          <p:nvPr/>
        </p:nvGrpSpPr>
        <p:grpSpPr>
          <a:xfrm>
            <a:off x="8909923" y="4198971"/>
            <a:ext cx="2928235" cy="307777"/>
            <a:chOff x="8909923" y="4343580"/>
            <a:chExt cx="2928235" cy="219275"/>
          </a:xfrm>
        </p:grpSpPr>
        <p:sp>
          <p:nvSpPr>
            <p:cNvPr id="244" name="TextBox 243">
              <a:extLst>
                <a:ext uri="{FF2B5EF4-FFF2-40B4-BE49-F238E27FC236}">
                  <a16:creationId xmlns:a16="http://schemas.microsoft.com/office/drawing/2014/main" id="{EF356990-A3C9-F830-2FA0-BC9FB46B2427}"/>
                </a:ext>
              </a:extLst>
            </p:cNvPr>
            <p:cNvSpPr txBox="1"/>
            <p:nvPr/>
          </p:nvSpPr>
          <p:spPr bwMode="auto">
            <a:xfrm>
              <a:off x="8909923" y="4382597"/>
              <a:ext cx="997073" cy="130377"/>
            </a:xfrm>
            <a:prstGeom prst="rect">
              <a:avLst/>
            </a:prstGeom>
            <a:noFill/>
          </p:spPr>
          <p:txBody>
            <a:bodyPr lIns="0" tIns="0" rIns="0" bIns="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00000">
                      <a:lumMod val="75000"/>
                      <a:lumOff val="25000"/>
                    </a:srgbClr>
                  </a:solidFill>
                  <a:effectLst/>
                  <a:uLnTx/>
                  <a:uFillTx/>
                  <a:latin typeface="Arial" panose="020B0604020202020204" pitchFamily="34" charset="0"/>
                  <a:ea typeface="MS PGothic" panose="020B0600070205080204" pitchFamily="34" charset="-128"/>
                  <a:cs typeface="Arial" panose="020B0604020202020204" pitchFamily="34" charset="0"/>
                </a:rPr>
                <a:t>Serious infection, %</a:t>
              </a:r>
            </a:p>
          </p:txBody>
        </p:sp>
        <p:sp>
          <p:nvSpPr>
            <p:cNvPr id="245" name="Shape 932">
              <a:extLst>
                <a:ext uri="{FF2B5EF4-FFF2-40B4-BE49-F238E27FC236}">
                  <a16:creationId xmlns:a16="http://schemas.microsoft.com/office/drawing/2014/main" id="{82E35858-1B5F-AA60-302B-E7C2F287A1F1}"/>
                </a:ext>
              </a:extLst>
            </p:cNvPr>
            <p:cNvSpPr/>
            <p:nvPr/>
          </p:nvSpPr>
          <p:spPr bwMode="auto">
            <a:xfrm>
              <a:off x="10092158" y="4372659"/>
              <a:ext cx="1746000" cy="180000"/>
            </a:xfrm>
            <a:prstGeom prst="rect">
              <a:avLst/>
            </a:prstGeom>
            <a:solidFill>
              <a:schemeClr val="bg1"/>
            </a:solidFill>
            <a:ln w="12700" cap="flat">
              <a:noFill/>
              <a:miter lim="400000"/>
            </a:ln>
            <a:effectLst/>
          </p:spPr>
          <p:txBody>
            <a:bodyPr lIns="45719" tIns="45719" rIns="45719" bIns="45719"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733" b="0" i="0" u="none" strike="noStrike" kern="1200" cap="none" spc="0" normalizeH="0" baseline="0" noProof="0" dirty="0">
                <a:ln>
                  <a:noFill/>
                </a:ln>
                <a:solidFill>
                  <a:srgbClr val="B7B8B9"/>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endParaRPr>
            </a:p>
          </p:txBody>
        </p:sp>
        <p:sp>
          <p:nvSpPr>
            <p:cNvPr id="246" name="Rectangle 245">
              <a:extLst>
                <a:ext uri="{FF2B5EF4-FFF2-40B4-BE49-F238E27FC236}">
                  <a16:creationId xmlns:a16="http://schemas.microsoft.com/office/drawing/2014/main" id="{F7F99CBE-4F77-8F3A-4B7B-596C0B992772}"/>
                </a:ext>
              </a:extLst>
            </p:cNvPr>
            <p:cNvSpPr/>
            <p:nvPr/>
          </p:nvSpPr>
          <p:spPr>
            <a:xfrm>
              <a:off x="10092159" y="4372659"/>
              <a:ext cx="349200" cy="180000"/>
            </a:xfrm>
            <a:prstGeom prst="rect">
              <a:avLst/>
            </a:prstGeom>
            <a:solidFill>
              <a:schemeClr val="tx2"/>
            </a:solidFill>
            <a:ln w="12700" cap="flat" cmpd="sng" algn="ctr">
              <a:no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47" name="TextBox 246">
              <a:extLst>
                <a:ext uri="{FF2B5EF4-FFF2-40B4-BE49-F238E27FC236}">
                  <a16:creationId xmlns:a16="http://schemas.microsoft.com/office/drawing/2014/main" id="{5EC163A6-9031-0F95-217C-B95F7B5696BC}"/>
                </a:ext>
              </a:extLst>
            </p:cNvPr>
            <p:cNvSpPr txBox="1"/>
            <p:nvPr/>
          </p:nvSpPr>
          <p:spPr>
            <a:xfrm>
              <a:off x="10413044" y="4343580"/>
              <a:ext cx="383438" cy="219275"/>
            </a:xfrm>
            <a:prstGeom prst="rect">
              <a:avLst/>
            </a:prstGeom>
            <a:noFill/>
          </p:spPr>
          <p:txBody>
            <a:bodyPr wrap="non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20</a:t>
              </a:r>
            </a:p>
          </p:txBody>
        </p:sp>
      </p:grpSp>
      <p:grpSp>
        <p:nvGrpSpPr>
          <p:cNvPr id="248" name="Group 247">
            <a:extLst>
              <a:ext uri="{FF2B5EF4-FFF2-40B4-BE49-F238E27FC236}">
                <a16:creationId xmlns:a16="http://schemas.microsoft.com/office/drawing/2014/main" id="{2E275AFA-114E-B6AB-2C66-2849D06A89FF}"/>
              </a:ext>
            </a:extLst>
          </p:cNvPr>
          <p:cNvGrpSpPr/>
          <p:nvPr/>
        </p:nvGrpSpPr>
        <p:grpSpPr>
          <a:xfrm>
            <a:off x="8909922" y="4655291"/>
            <a:ext cx="2928236" cy="307777"/>
            <a:chOff x="8909922" y="4666926"/>
            <a:chExt cx="2928236" cy="399077"/>
          </a:xfrm>
        </p:grpSpPr>
        <p:sp>
          <p:nvSpPr>
            <p:cNvPr id="249" name="TextBox 248">
              <a:extLst>
                <a:ext uri="{FF2B5EF4-FFF2-40B4-BE49-F238E27FC236}">
                  <a16:creationId xmlns:a16="http://schemas.microsoft.com/office/drawing/2014/main" id="{76D8240E-554B-D50D-D9FE-A2880F72459F}"/>
                </a:ext>
              </a:extLst>
            </p:cNvPr>
            <p:cNvSpPr txBox="1"/>
            <p:nvPr/>
          </p:nvSpPr>
          <p:spPr bwMode="auto">
            <a:xfrm>
              <a:off x="8909922" y="4715893"/>
              <a:ext cx="1116000" cy="292033"/>
            </a:xfrm>
            <a:prstGeom prst="rect">
              <a:avLst/>
            </a:prstGeom>
            <a:noFill/>
          </p:spPr>
          <p:txBody>
            <a:bodyPr lIns="0" tIns="0" rIns="0" bIns="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lumMod val="75000"/>
                      <a:lumOff val="25000"/>
                    </a:srgbClr>
                  </a:solidFill>
                  <a:effectLst/>
                  <a:uLnTx/>
                  <a:uFillTx/>
                  <a:latin typeface="Arial" panose="020B0604020202020204" pitchFamily="34" charset="0"/>
                  <a:ea typeface="+mn-ea"/>
                  <a:cs typeface="Arial" panose="020B0604020202020204" pitchFamily="34" charset="0"/>
                </a:rPr>
                <a:t>Grade ≥ 3 s</a:t>
              </a:r>
              <a:r>
                <a:rPr kumimoji="0" lang="en-US" sz="1000" b="1" i="0" u="none" strike="noStrike" kern="0" cap="none" spc="0" normalizeH="0" baseline="0" noProof="0" dirty="0">
                  <a:ln>
                    <a:noFill/>
                  </a:ln>
                  <a:solidFill>
                    <a:srgbClr val="000000">
                      <a:lumMod val="75000"/>
                      <a:lumOff val="25000"/>
                    </a:srgbClr>
                  </a:solidFill>
                  <a:effectLst/>
                  <a:uLnTx/>
                  <a:uFillTx/>
                  <a:latin typeface="Arial" panose="020B0604020202020204" pitchFamily="34" charset="0"/>
                  <a:ea typeface="MS PGothic" panose="020B0600070205080204" pitchFamily="34" charset="-128"/>
                  <a:cs typeface="Arial" panose="020B0604020202020204" pitchFamily="34" charset="0"/>
                </a:rPr>
                <a:t>erious infection, %</a:t>
              </a:r>
            </a:p>
          </p:txBody>
        </p:sp>
        <p:sp>
          <p:nvSpPr>
            <p:cNvPr id="250" name="Shape 932">
              <a:extLst>
                <a:ext uri="{FF2B5EF4-FFF2-40B4-BE49-F238E27FC236}">
                  <a16:creationId xmlns:a16="http://schemas.microsoft.com/office/drawing/2014/main" id="{5BDCB710-5902-676B-B67A-F09FAEA84E62}"/>
                </a:ext>
              </a:extLst>
            </p:cNvPr>
            <p:cNvSpPr/>
            <p:nvPr/>
          </p:nvSpPr>
          <p:spPr bwMode="auto">
            <a:xfrm>
              <a:off x="10092158" y="4709517"/>
              <a:ext cx="1746000" cy="327600"/>
            </a:xfrm>
            <a:prstGeom prst="rect">
              <a:avLst/>
            </a:prstGeom>
            <a:solidFill>
              <a:schemeClr val="bg1"/>
            </a:solidFill>
            <a:ln w="12700" cap="flat">
              <a:noFill/>
              <a:miter lim="400000"/>
            </a:ln>
            <a:effectLst/>
          </p:spPr>
          <p:txBody>
            <a:bodyPr lIns="45719" tIns="45719" rIns="45719" bIns="45719"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733" b="0" i="0" u="none" strike="noStrike" kern="1200" cap="none" spc="0" normalizeH="0" baseline="0" noProof="0" dirty="0">
                <a:ln>
                  <a:noFill/>
                </a:ln>
                <a:solidFill>
                  <a:srgbClr val="B7B8B9"/>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endParaRPr>
            </a:p>
          </p:txBody>
        </p:sp>
        <p:sp>
          <p:nvSpPr>
            <p:cNvPr id="251" name="Rectangle 250">
              <a:extLst>
                <a:ext uri="{FF2B5EF4-FFF2-40B4-BE49-F238E27FC236}">
                  <a16:creationId xmlns:a16="http://schemas.microsoft.com/office/drawing/2014/main" id="{E64F9AE4-1D86-281F-33BB-27B59FDD2592}"/>
                </a:ext>
              </a:extLst>
            </p:cNvPr>
            <p:cNvSpPr/>
            <p:nvPr/>
          </p:nvSpPr>
          <p:spPr>
            <a:xfrm>
              <a:off x="10092159" y="4709517"/>
              <a:ext cx="244800" cy="327600"/>
            </a:xfrm>
            <a:prstGeom prst="rect">
              <a:avLst/>
            </a:prstGeom>
            <a:solidFill>
              <a:schemeClr val="tx2"/>
            </a:solidFill>
            <a:ln w="12700" cap="flat" cmpd="sng" algn="ctr">
              <a:no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52" name="TextBox 251">
              <a:extLst>
                <a:ext uri="{FF2B5EF4-FFF2-40B4-BE49-F238E27FC236}">
                  <a16:creationId xmlns:a16="http://schemas.microsoft.com/office/drawing/2014/main" id="{03923ACB-7147-D5E0-93CE-C4D4957D209D}"/>
                </a:ext>
              </a:extLst>
            </p:cNvPr>
            <p:cNvSpPr txBox="1"/>
            <p:nvPr/>
          </p:nvSpPr>
          <p:spPr>
            <a:xfrm>
              <a:off x="10329545" y="4666926"/>
              <a:ext cx="383438" cy="3990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16</a:t>
              </a:r>
            </a:p>
          </p:txBody>
        </p:sp>
      </p:grpSp>
      <p:sp>
        <p:nvSpPr>
          <p:cNvPr id="253" name="TextBox 252">
            <a:extLst>
              <a:ext uri="{FF2B5EF4-FFF2-40B4-BE49-F238E27FC236}">
                <a16:creationId xmlns:a16="http://schemas.microsoft.com/office/drawing/2014/main" id="{ACC648F1-0A05-3A86-81E9-0E907CB06702}"/>
              </a:ext>
            </a:extLst>
          </p:cNvPr>
          <p:cNvSpPr txBox="1"/>
          <p:nvPr/>
        </p:nvSpPr>
        <p:spPr>
          <a:xfrm>
            <a:off x="9138622" y="2538495"/>
            <a:ext cx="2348536" cy="307777"/>
          </a:xfrm>
          <a:prstGeom prst="rect">
            <a:avLst/>
          </a:prstGeom>
          <a:noFill/>
        </p:spPr>
        <p:txBody>
          <a:bodyPr wrap="square" rtlCol="0">
            <a:spAutoFit/>
          </a:bodyPr>
          <a:lstStyle/>
          <a:p>
            <a:pPr marL="0" marR="0" lvl="0" indent="0" algn="ctr" defTabSz="1219170" rtl="0" eaLnBrk="0" fontAlgn="base"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75000"/>
                    <a:lumOff val="25000"/>
                  </a:srgbClr>
                </a:solidFill>
                <a:effectLst/>
                <a:uLnTx/>
                <a:uFillTx/>
                <a:latin typeface="Arial" panose="020B0604020202020204" pitchFamily="34" charset="0"/>
                <a:ea typeface="+mn-ea"/>
                <a:cs typeface="Arial" panose="020B0604020202020204" pitchFamily="34" charset="0"/>
              </a:rPr>
              <a:t>AESIs</a:t>
            </a:r>
            <a:r>
              <a:rPr kumimoji="0" lang="en-US" sz="1400" b="1" i="0" u="none" strike="noStrike" kern="1200" cap="none" spc="0" normalizeH="0" baseline="30000" noProof="0" dirty="0">
                <a:ln>
                  <a:noFill/>
                </a:ln>
                <a:solidFill>
                  <a:srgbClr val="000000">
                    <a:lumMod val="75000"/>
                    <a:lumOff val="25000"/>
                  </a:srgbClr>
                </a:solidFill>
                <a:effectLst/>
                <a:uLnTx/>
                <a:uFillTx/>
                <a:latin typeface="Arial" panose="020B0604020202020204" pitchFamily="34" charset="0"/>
                <a:ea typeface="+mn-ea"/>
                <a:cs typeface="Arial" panose="020B0604020202020204" pitchFamily="34" charset="0"/>
              </a:rPr>
              <a:t>1,3</a:t>
            </a:r>
          </a:p>
        </p:txBody>
      </p:sp>
      <p:sp>
        <p:nvSpPr>
          <p:cNvPr id="254" name="TextBox 253">
            <a:extLst>
              <a:ext uri="{FF2B5EF4-FFF2-40B4-BE49-F238E27FC236}">
                <a16:creationId xmlns:a16="http://schemas.microsoft.com/office/drawing/2014/main" id="{07CED2B6-E9D6-62AE-8DF1-6BAF08FC574E}"/>
              </a:ext>
            </a:extLst>
          </p:cNvPr>
          <p:cNvSpPr txBox="1"/>
          <p:nvPr/>
        </p:nvSpPr>
        <p:spPr>
          <a:xfrm>
            <a:off x="9324845" y="1305350"/>
            <a:ext cx="1976091" cy="307777"/>
          </a:xfrm>
          <a:prstGeom prst="rect">
            <a:avLst/>
          </a:prstGeom>
          <a:noFill/>
        </p:spPr>
        <p:txBody>
          <a:bodyPr wrap="square" rtlCol="0">
            <a:spAutoFit/>
          </a:bodyPr>
          <a:lstStyle/>
          <a:p>
            <a:pPr marL="0" marR="0" lvl="0" indent="0" algn="ctr" defTabSz="1219170" rtl="0" eaLnBrk="0" fontAlgn="base"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75000"/>
                    <a:lumOff val="25000"/>
                  </a:srgbClr>
                </a:solidFill>
                <a:effectLst/>
                <a:uLnTx/>
                <a:uFillTx/>
                <a:latin typeface="Arial" panose="020B0604020202020204" pitchFamily="34" charset="0"/>
                <a:ea typeface="+mn-ea"/>
                <a:cs typeface="Arial" panose="020B0604020202020204" pitchFamily="34" charset="0"/>
              </a:rPr>
              <a:t>Response rates</a:t>
            </a:r>
            <a:r>
              <a:rPr kumimoji="0" lang="en-US" sz="1400" b="1" i="0" u="none" strike="noStrike" kern="1200" cap="none" spc="0" normalizeH="0" baseline="30000" noProof="0" dirty="0">
                <a:ln>
                  <a:noFill/>
                </a:ln>
                <a:solidFill>
                  <a:srgbClr val="000000">
                    <a:lumMod val="75000"/>
                    <a:lumOff val="25000"/>
                  </a:srgbClr>
                </a:solidFill>
                <a:effectLst/>
                <a:uLnTx/>
                <a:uFillTx/>
                <a:latin typeface="Arial" panose="020B0604020202020204" pitchFamily="34" charset="0"/>
                <a:ea typeface="+mn-ea"/>
                <a:cs typeface="Arial" panose="020B0604020202020204" pitchFamily="34" charset="0"/>
              </a:rPr>
              <a:t>1</a:t>
            </a:r>
          </a:p>
        </p:txBody>
      </p:sp>
      <p:sp>
        <p:nvSpPr>
          <p:cNvPr id="255" name="TextBox 254">
            <a:extLst>
              <a:ext uri="{FF2B5EF4-FFF2-40B4-BE49-F238E27FC236}">
                <a16:creationId xmlns:a16="http://schemas.microsoft.com/office/drawing/2014/main" id="{93055653-4B2D-EDE1-D4DC-8899E6286219}"/>
              </a:ext>
            </a:extLst>
          </p:cNvPr>
          <p:cNvSpPr txBox="1"/>
          <p:nvPr/>
        </p:nvSpPr>
        <p:spPr bwMode="auto">
          <a:xfrm>
            <a:off x="8909923" y="1683692"/>
            <a:ext cx="719741" cy="289753"/>
          </a:xfrm>
          <a:prstGeom prst="rect">
            <a:avLst/>
          </a:prstGeom>
          <a:noFill/>
        </p:spPr>
        <p:txBody>
          <a:bodyPr lIns="0" tIns="0" rIns="0" bIns="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lumMod val="75000"/>
                    <a:lumOff val="25000"/>
                  </a:srgbClr>
                </a:solidFill>
                <a:effectLst/>
                <a:uLnTx/>
                <a:uFillTx/>
                <a:latin typeface="Arial" panose="020B0604020202020204" pitchFamily="34" charset="0"/>
                <a:ea typeface="MS PGothic" panose="020B0600070205080204" pitchFamily="34" charset="-128"/>
                <a:cs typeface="Arial" panose="020B0604020202020204" pitchFamily="34" charset="0"/>
              </a:rPr>
              <a:t>ORR, %</a:t>
            </a:r>
          </a:p>
        </p:txBody>
      </p:sp>
      <p:sp>
        <p:nvSpPr>
          <p:cNvPr id="256" name="TextBox 255">
            <a:extLst>
              <a:ext uri="{FF2B5EF4-FFF2-40B4-BE49-F238E27FC236}">
                <a16:creationId xmlns:a16="http://schemas.microsoft.com/office/drawing/2014/main" id="{13582A64-E984-AD16-9354-AC00934706D8}"/>
              </a:ext>
            </a:extLst>
          </p:cNvPr>
          <p:cNvSpPr txBox="1"/>
          <p:nvPr/>
        </p:nvSpPr>
        <p:spPr bwMode="auto">
          <a:xfrm>
            <a:off x="8909923" y="2149906"/>
            <a:ext cx="997075" cy="292034"/>
          </a:xfrm>
          <a:prstGeom prst="rect">
            <a:avLst/>
          </a:prstGeom>
          <a:noFill/>
        </p:spPr>
        <p:txBody>
          <a:bodyPr lIns="0" tIns="0" rIns="0" bIns="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lumMod val="75000"/>
                    <a:lumOff val="25000"/>
                  </a:srgbClr>
                </a:solidFill>
                <a:effectLst/>
                <a:uLnTx/>
                <a:uFillTx/>
                <a:latin typeface="Arial" panose="020B0604020202020204" pitchFamily="34" charset="0"/>
                <a:ea typeface="MS PGothic" panose="020B0600070205080204" pitchFamily="34" charset="-128"/>
                <a:cs typeface="Arial" panose="020B0604020202020204" pitchFamily="34" charset="0"/>
              </a:rPr>
              <a:t>CRR, %</a:t>
            </a:r>
          </a:p>
        </p:txBody>
      </p:sp>
      <p:sp>
        <p:nvSpPr>
          <p:cNvPr id="257" name="Shape 932">
            <a:extLst>
              <a:ext uri="{FF2B5EF4-FFF2-40B4-BE49-F238E27FC236}">
                <a16:creationId xmlns:a16="http://schemas.microsoft.com/office/drawing/2014/main" id="{C2ABF59E-EAE5-B424-927F-CF35EF01A70F}"/>
              </a:ext>
            </a:extLst>
          </p:cNvPr>
          <p:cNvSpPr/>
          <p:nvPr/>
        </p:nvSpPr>
        <p:spPr bwMode="auto">
          <a:xfrm>
            <a:off x="10092158" y="1665604"/>
            <a:ext cx="1746000" cy="327600"/>
          </a:xfrm>
          <a:prstGeom prst="rect">
            <a:avLst/>
          </a:prstGeom>
          <a:solidFill>
            <a:schemeClr val="bg1"/>
          </a:solidFill>
          <a:ln w="12700" cap="flat">
            <a:noFill/>
            <a:miter lim="400000"/>
          </a:ln>
          <a:effectLst/>
        </p:spPr>
        <p:txBody>
          <a:bodyPr lIns="45719" tIns="45719" rIns="45719" bIns="45719"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733" b="0" i="0" u="none" strike="noStrike" kern="1200" cap="none" spc="0" normalizeH="0" baseline="0" noProof="0" dirty="0">
              <a:ln>
                <a:noFill/>
              </a:ln>
              <a:solidFill>
                <a:srgbClr val="B7B8B9"/>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endParaRPr>
          </a:p>
        </p:txBody>
      </p:sp>
      <p:sp>
        <p:nvSpPr>
          <p:cNvPr id="258" name="Rectangle 257">
            <a:extLst>
              <a:ext uri="{FF2B5EF4-FFF2-40B4-BE49-F238E27FC236}">
                <a16:creationId xmlns:a16="http://schemas.microsoft.com/office/drawing/2014/main" id="{0D1A82CC-8A9E-B932-1E1D-E3C5D99E57CE}"/>
              </a:ext>
            </a:extLst>
          </p:cNvPr>
          <p:cNvSpPr/>
          <p:nvPr/>
        </p:nvSpPr>
        <p:spPr>
          <a:xfrm>
            <a:off x="10092159" y="1665604"/>
            <a:ext cx="1360800" cy="327600"/>
          </a:xfrm>
          <a:prstGeom prst="rect">
            <a:avLst/>
          </a:prstGeom>
          <a:solidFill>
            <a:schemeClr val="tx2"/>
          </a:solidFill>
          <a:ln w="12700" cap="flat" cmpd="sng" algn="ctr">
            <a:no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59" name="TextBox 258">
            <a:extLst>
              <a:ext uri="{FF2B5EF4-FFF2-40B4-BE49-F238E27FC236}">
                <a16:creationId xmlns:a16="http://schemas.microsoft.com/office/drawing/2014/main" id="{B8B61C06-896C-09FF-CCEE-808A833FB217}"/>
              </a:ext>
            </a:extLst>
          </p:cNvPr>
          <p:cNvSpPr txBox="1"/>
          <p:nvPr/>
        </p:nvSpPr>
        <p:spPr>
          <a:xfrm>
            <a:off x="11076026" y="1678721"/>
            <a:ext cx="396262" cy="3077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78</a:t>
            </a:r>
          </a:p>
        </p:txBody>
      </p:sp>
      <p:sp>
        <p:nvSpPr>
          <p:cNvPr id="260" name="Shape 932">
            <a:extLst>
              <a:ext uri="{FF2B5EF4-FFF2-40B4-BE49-F238E27FC236}">
                <a16:creationId xmlns:a16="http://schemas.microsoft.com/office/drawing/2014/main" id="{0CE464C9-D083-8019-9FE5-92FD3F22EEA8}"/>
              </a:ext>
            </a:extLst>
          </p:cNvPr>
          <p:cNvSpPr/>
          <p:nvPr/>
        </p:nvSpPr>
        <p:spPr bwMode="auto">
          <a:xfrm>
            <a:off x="10092158" y="2121760"/>
            <a:ext cx="1746000" cy="327600"/>
          </a:xfrm>
          <a:prstGeom prst="rect">
            <a:avLst/>
          </a:prstGeom>
          <a:solidFill>
            <a:schemeClr val="bg1"/>
          </a:solidFill>
          <a:ln w="12700" cap="flat">
            <a:noFill/>
            <a:miter lim="400000"/>
          </a:ln>
          <a:effectLst/>
        </p:spPr>
        <p:txBody>
          <a:bodyPr lIns="45719" tIns="45719" rIns="45719" bIns="45719"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733" b="0" i="0" u="none" strike="noStrike" kern="1200" cap="none" spc="0" normalizeH="0" baseline="0" noProof="0" dirty="0">
              <a:ln>
                <a:noFill/>
              </a:ln>
              <a:solidFill>
                <a:srgbClr val="B7B8B9"/>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endParaRPr>
          </a:p>
        </p:txBody>
      </p:sp>
      <p:sp>
        <p:nvSpPr>
          <p:cNvPr id="261" name="Rectangle 260">
            <a:extLst>
              <a:ext uri="{FF2B5EF4-FFF2-40B4-BE49-F238E27FC236}">
                <a16:creationId xmlns:a16="http://schemas.microsoft.com/office/drawing/2014/main" id="{E95529A0-ACB9-E5B5-F633-5C7FA4604D23}"/>
              </a:ext>
            </a:extLst>
          </p:cNvPr>
          <p:cNvSpPr/>
          <p:nvPr/>
        </p:nvSpPr>
        <p:spPr>
          <a:xfrm>
            <a:off x="10092159" y="2121760"/>
            <a:ext cx="1044000" cy="327600"/>
          </a:xfrm>
          <a:prstGeom prst="rect">
            <a:avLst/>
          </a:prstGeom>
          <a:solidFill>
            <a:schemeClr val="tx2"/>
          </a:solidFill>
          <a:ln w="12700" cap="flat" cmpd="sng" algn="ctr">
            <a:no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62" name="TextBox 261">
            <a:extLst>
              <a:ext uri="{FF2B5EF4-FFF2-40B4-BE49-F238E27FC236}">
                <a16:creationId xmlns:a16="http://schemas.microsoft.com/office/drawing/2014/main" id="{88C1FA11-FAAD-4ED8-306E-72159B5C0A67}"/>
              </a:ext>
            </a:extLst>
          </p:cNvPr>
          <p:cNvSpPr txBox="1"/>
          <p:nvPr/>
        </p:nvSpPr>
        <p:spPr>
          <a:xfrm>
            <a:off x="10764775" y="2124830"/>
            <a:ext cx="396262" cy="3077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60</a:t>
            </a:r>
          </a:p>
        </p:txBody>
      </p:sp>
      <p:cxnSp>
        <p:nvCxnSpPr>
          <p:cNvPr id="304" name="Straight Connector 303">
            <a:extLst>
              <a:ext uri="{FF2B5EF4-FFF2-40B4-BE49-F238E27FC236}">
                <a16:creationId xmlns:a16="http://schemas.microsoft.com/office/drawing/2014/main" id="{DC8DB5C8-B7AC-C00B-7DA6-912105EDEF73}"/>
              </a:ext>
            </a:extLst>
          </p:cNvPr>
          <p:cNvCxnSpPr>
            <a:cxnSpLocks/>
          </p:cNvCxnSpPr>
          <p:nvPr/>
        </p:nvCxnSpPr>
        <p:spPr>
          <a:xfrm>
            <a:off x="8787623" y="1280160"/>
            <a:ext cx="12874" cy="3813305"/>
          </a:xfrm>
          <a:prstGeom prst="line">
            <a:avLst/>
          </a:prstGeom>
          <a:ln w="28575" cap="rnd">
            <a:solidFill>
              <a:schemeClr val="tx1"/>
            </a:solidFill>
          </a:ln>
        </p:spPr>
        <p:style>
          <a:lnRef idx="1">
            <a:srgbClr val="BE2BBB"/>
          </a:lnRef>
          <a:fillRef idx="0">
            <a:schemeClr val="accent1"/>
          </a:fillRef>
          <a:effectRef idx="0">
            <a:srgbClr val="000000"/>
          </a:effectRef>
          <a:fontRef idx="minor">
            <a:schemeClr val="lt1"/>
          </a:fontRef>
        </p:style>
      </p:cxnSp>
      <p:grpSp>
        <p:nvGrpSpPr>
          <p:cNvPr id="519" name="Group 518">
            <a:extLst>
              <a:ext uri="{FF2B5EF4-FFF2-40B4-BE49-F238E27FC236}">
                <a16:creationId xmlns:a16="http://schemas.microsoft.com/office/drawing/2014/main" id="{79D8B01A-69F1-AC8E-0A29-0FD7CF68A9CD}"/>
              </a:ext>
            </a:extLst>
          </p:cNvPr>
          <p:cNvGrpSpPr/>
          <p:nvPr/>
        </p:nvGrpSpPr>
        <p:grpSpPr>
          <a:xfrm>
            <a:off x="8909923" y="3777826"/>
            <a:ext cx="2928235" cy="307777"/>
            <a:chOff x="8909923" y="3944734"/>
            <a:chExt cx="2928235" cy="219275"/>
          </a:xfrm>
        </p:grpSpPr>
        <p:sp>
          <p:nvSpPr>
            <p:cNvPr id="315" name="TextBox 314">
              <a:extLst>
                <a:ext uri="{FF2B5EF4-FFF2-40B4-BE49-F238E27FC236}">
                  <a16:creationId xmlns:a16="http://schemas.microsoft.com/office/drawing/2014/main" id="{86F83363-C809-EACB-C6EF-B469BE050561}"/>
                </a:ext>
              </a:extLst>
            </p:cNvPr>
            <p:cNvSpPr txBox="1"/>
            <p:nvPr/>
          </p:nvSpPr>
          <p:spPr bwMode="auto">
            <a:xfrm>
              <a:off x="8909923" y="3984593"/>
              <a:ext cx="997075" cy="160458"/>
            </a:xfrm>
            <a:prstGeom prst="rect">
              <a:avLst/>
            </a:prstGeom>
            <a:noFill/>
          </p:spPr>
          <p:txBody>
            <a:bodyPr lIns="0" tIns="0" rIns="0" bIns="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00000">
                      <a:lumMod val="75000"/>
                      <a:lumOff val="25000"/>
                    </a:srgbClr>
                  </a:solidFill>
                  <a:effectLst/>
                  <a:uLnTx/>
                  <a:uFillTx/>
                  <a:latin typeface="Arial" panose="020B0604020202020204" pitchFamily="34" charset="0"/>
                  <a:ea typeface="MS PGothic" panose="020B0600070205080204" pitchFamily="34" charset="-128"/>
                  <a:cs typeface="Arial" panose="020B0604020202020204" pitchFamily="34" charset="0"/>
                </a:rPr>
                <a:t>Infection, %</a:t>
              </a:r>
            </a:p>
          </p:txBody>
        </p:sp>
        <p:sp>
          <p:nvSpPr>
            <p:cNvPr id="316" name="Shape 932">
              <a:extLst>
                <a:ext uri="{FF2B5EF4-FFF2-40B4-BE49-F238E27FC236}">
                  <a16:creationId xmlns:a16="http://schemas.microsoft.com/office/drawing/2014/main" id="{E518A4AA-FD3B-97ED-EE17-52EA26AD290C}"/>
                </a:ext>
              </a:extLst>
            </p:cNvPr>
            <p:cNvSpPr/>
            <p:nvPr/>
          </p:nvSpPr>
          <p:spPr bwMode="auto">
            <a:xfrm>
              <a:off x="10092158" y="3969128"/>
              <a:ext cx="1746000" cy="180000"/>
            </a:xfrm>
            <a:prstGeom prst="rect">
              <a:avLst/>
            </a:prstGeom>
            <a:solidFill>
              <a:schemeClr val="bg1"/>
            </a:solidFill>
            <a:ln w="12700" cap="flat">
              <a:noFill/>
              <a:miter lim="400000"/>
            </a:ln>
            <a:effectLst/>
          </p:spPr>
          <p:txBody>
            <a:bodyPr lIns="45719" tIns="45719" rIns="45719" bIns="45719"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733" b="0" i="0" u="none" strike="noStrike" kern="1200" cap="none" spc="0" normalizeH="0" baseline="0" noProof="0" dirty="0">
                <a:ln>
                  <a:noFill/>
                </a:ln>
                <a:solidFill>
                  <a:srgbClr val="B7B8B9"/>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endParaRPr>
            </a:p>
          </p:txBody>
        </p:sp>
        <p:sp>
          <p:nvSpPr>
            <p:cNvPr id="317" name="Rectangle 316">
              <a:extLst>
                <a:ext uri="{FF2B5EF4-FFF2-40B4-BE49-F238E27FC236}">
                  <a16:creationId xmlns:a16="http://schemas.microsoft.com/office/drawing/2014/main" id="{D6A66976-5372-E87A-0034-8E17C8A7919B}"/>
                </a:ext>
              </a:extLst>
            </p:cNvPr>
            <p:cNvSpPr/>
            <p:nvPr/>
          </p:nvSpPr>
          <p:spPr>
            <a:xfrm>
              <a:off x="10092159" y="3969128"/>
              <a:ext cx="874800" cy="180000"/>
            </a:xfrm>
            <a:prstGeom prst="rect">
              <a:avLst/>
            </a:prstGeom>
            <a:solidFill>
              <a:schemeClr val="tx2"/>
            </a:solidFill>
            <a:ln w="12700" cap="flat" cmpd="sng" algn="ctr">
              <a:no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18" name="TextBox 317">
              <a:extLst>
                <a:ext uri="{FF2B5EF4-FFF2-40B4-BE49-F238E27FC236}">
                  <a16:creationId xmlns:a16="http://schemas.microsoft.com/office/drawing/2014/main" id="{49BBFDB4-1E15-E8EA-094C-06F48A389B1F}"/>
                </a:ext>
              </a:extLst>
            </p:cNvPr>
            <p:cNvSpPr txBox="1"/>
            <p:nvPr/>
          </p:nvSpPr>
          <p:spPr>
            <a:xfrm>
              <a:off x="10937528" y="3944734"/>
              <a:ext cx="383438" cy="219275"/>
            </a:xfrm>
            <a:prstGeom prst="rect">
              <a:avLst/>
            </a:prstGeom>
            <a:noFill/>
          </p:spPr>
          <p:txBody>
            <a:bodyPr wrap="non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50</a:t>
              </a:r>
            </a:p>
          </p:txBody>
        </p:sp>
      </p:grpSp>
      <p:grpSp>
        <p:nvGrpSpPr>
          <p:cNvPr id="3" name="Group 2">
            <a:extLst>
              <a:ext uri="{FF2B5EF4-FFF2-40B4-BE49-F238E27FC236}">
                <a16:creationId xmlns:a16="http://schemas.microsoft.com/office/drawing/2014/main" id="{475CB362-E014-6D98-8781-A0CF293FB2C6}"/>
              </a:ext>
            </a:extLst>
          </p:cNvPr>
          <p:cNvGrpSpPr/>
          <p:nvPr/>
        </p:nvGrpSpPr>
        <p:grpSpPr>
          <a:xfrm>
            <a:off x="9956802" y="5006472"/>
            <a:ext cx="2110641" cy="246221"/>
            <a:chOff x="9819717" y="4658474"/>
            <a:chExt cx="1751009" cy="246221"/>
          </a:xfrm>
        </p:grpSpPr>
        <p:sp>
          <p:nvSpPr>
            <p:cNvPr id="5" name="TextBox 4">
              <a:extLst>
                <a:ext uri="{FF2B5EF4-FFF2-40B4-BE49-F238E27FC236}">
                  <a16:creationId xmlns:a16="http://schemas.microsoft.com/office/drawing/2014/main" id="{48CEB49B-7E1E-203C-F07B-BBFF2C957735}"/>
                </a:ext>
              </a:extLst>
            </p:cNvPr>
            <p:cNvSpPr txBox="1"/>
            <p:nvPr/>
          </p:nvSpPr>
          <p:spPr>
            <a:xfrm>
              <a:off x="9819717" y="4658474"/>
              <a:ext cx="211716"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p>
          </p:txBody>
        </p:sp>
        <p:grpSp>
          <p:nvGrpSpPr>
            <p:cNvPr id="6" name="Group 5">
              <a:extLst>
                <a:ext uri="{FF2B5EF4-FFF2-40B4-BE49-F238E27FC236}">
                  <a16:creationId xmlns:a16="http://schemas.microsoft.com/office/drawing/2014/main" id="{F80CF1C4-E86B-83F6-E65C-BAD7033B7952}"/>
                </a:ext>
              </a:extLst>
            </p:cNvPr>
            <p:cNvGrpSpPr/>
            <p:nvPr/>
          </p:nvGrpSpPr>
          <p:grpSpPr>
            <a:xfrm>
              <a:off x="9919129" y="4665930"/>
              <a:ext cx="1490400" cy="46936"/>
              <a:chOff x="9919129" y="4665930"/>
              <a:chExt cx="1414860" cy="46936"/>
            </a:xfrm>
          </p:grpSpPr>
          <p:cxnSp>
            <p:nvCxnSpPr>
              <p:cNvPr id="9" name="Straight Connector 8">
                <a:extLst>
                  <a:ext uri="{FF2B5EF4-FFF2-40B4-BE49-F238E27FC236}">
                    <a16:creationId xmlns:a16="http://schemas.microsoft.com/office/drawing/2014/main" id="{F7803653-05C4-116D-B968-E22417589F22}"/>
                  </a:ext>
                </a:extLst>
              </p:cNvPr>
              <p:cNvCxnSpPr>
                <a:cxnSpLocks/>
              </p:cNvCxnSpPr>
              <p:nvPr/>
            </p:nvCxnSpPr>
            <p:spPr>
              <a:xfrm flipV="1">
                <a:off x="9919129" y="4665930"/>
                <a:ext cx="14148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D58E95B3-2EC9-2C98-65F9-933C8A914190}"/>
                  </a:ext>
                </a:extLst>
              </p:cNvPr>
              <p:cNvGrpSpPr/>
              <p:nvPr/>
            </p:nvGrpSpPr>
            <p:grpSpPr>
              <a:xfrm>
                <a:off x="9919655" y="4665930"/>
                <a:ext cx="1414334" cy="46936"/>
                <a:chOff x="9919655" y="4665930"/>
                <a:chExt cx="1414334" cy="46936"/>
              </a:xfrm>
            </p:grpSpPr>
            <p:cxnSp>
              <p:nvCxnSpPr>
                <p:cNvPr id="11" name="Straight Connector 10">
                  <a:extLst>
                    <a:ext uri="{FF2B5EF4-FFF2-40B4-BE49-F238E27FC236}">
                      <a16:creationId xmlns:a16="http://schemas.microsoft.com/office/drawing/2014/main" id="{A3729921-1AAF-223B-F934-E51206748851}"/>
                    </a:ext>
                  </a:extLst>
                </p:cNvPr>
                <p:cNvCxnSpPr>
                  <a:cxnSpLocks/>
                </p:cNvCxnSpPr>
                <p:nvPr/>
              </p:nvCxnSpPr>
              <p:spPr>
                <a:xfrm>
                  <a:off x="9919655" y="4665930"/>
                  <a:ext cx="0" cy="4693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151FD47C-5498-8996-B97D-AA606788C371}"/>
                    </a:ext>
                  </a:extLst>
                </p:cNvPr>
                <p:cNvCxnSpPr>
                  <a:cxnSpLocks/>
                </p:cNvCxnSpPr>
                <p:nvPr/>
              </p:nvCxnSpPr>
              <p:spPr>
                <a:xfrm>
                  <a:off x="10202522" y="4665930"/>
                  <a:ext cx="0" cy="4693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0541A66-274C-ED39-747B-648249A3CB8D}"/>
                    </a:ext>
                  </a:extLst>
                </p:cNvPr>
                <p:cNvCxnSpPr>
                  <a:cxnSpLocks/>
                </p:cNvCxnSpPr>
                <p:nvPr/>
              </p:nvCxnSpPr>
              <p:spPr>
                <a:xfrm>
                  <a:off x="10485389" y="4665930"/>
                  <a:ext cx="0" cy="4693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46D6C62-9750-5F3F-439B-A0F9E39F4D0A}"/>
                    </a:ext>
                  </a:extLst>
                </p:cNvPr>
                <p:cNvCxnSpPr>
                  <a:cxnSpLocks/>
                </p:cNvCxnSpPr>
                <p:nvPr/>
              </p:nvCxnSpPr>
              <p:spPr>
                <a:xfrm>
                  <a:off x="10768256" y="4665930"/>
                  <a:ext cx="0" cy="4693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532532D-2F6D-712F-DE75-C0E131FD3340}"/>
                    </a:ext>
                  </a:extLst>
                </p:cNvPr>
                <p:cNvCxnSpPr>
                  <a:cxnSpLocks/>
                </p:cNvCxnSpPr>
                <p:nvPr/>
              </p:nvCxnSpPr>
              <p:spPr>
                <a:xfrm>
                  <a:off x="11051123" y="4665930"/>
                  <a:ext cx="0" cy="4693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80390881-4220-87DB-7D9D-E0F97A4A1FA4}"/>
                    </a:ext>
                  </a:extLst>
                </p:cNvPr>
                <p:cNvCxnSpPr>
                  <a:cxnSpLocks/>
                </p:cNvCxnSpPr>
                <p:nvPr/>
              </p:nvCxnSpPr>
              <p:spPr>
                <a:xfrm>
                  <a:off x="11333989" y="4665930"/>
                  <a:ext cx="0" cy="4693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7" name="TextBox 6">
              <a:extLst>
                <a:ext uri="{FF2B5EF4-FFF2-40B4-BE49-F238E27FC236}">
                  <a16:creationId xmlns:a16="http://schemas.microsoft.com/office/drawing/2014/main" id="{139C5812-C2B7-A089-6B57-0675392E7D0B}"/>
                </a:ext>
              </a:extLst>
            </p:cNvPr>
            <p:cNvSpPr txBox="1"/>
            <p:nvPr/>
          </p:nvSpPr>
          <p:spPr>
            <a:xfrm>
              <a:off x="11241982" y="4658474"/>
              <a:ext cx="328744"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00</a:t>
              </a:r>
            </a:p>
          </p:txBody>
        </p:sp>
      </p:grpSp>
      <p:sp>
        <p:nvSpPr>
          <p:cNvPr id="18" name="Flowchart: Process 17">
            <a:extLst>
              <a:ext uri="{FF2B5EF4-FFF2-40B4-BE49-F238E27FC236}">
                <a16:creationId xmlns:a16="http://schemas.microsoft.com/office/drawing/2014/main" id="{648AD816-AEA7-E2D0-640F-82D76775350B}"/>
              </a:ext>
            </a:extLst>
          </p:cNvPr>
          <p:cNvSpPr/>
          <p:nvPr/>
        </p:nvSpPr>
        <p:spPr>
          <a:xfrm>
            <a:off x="106278" y="5351271"/>
            <a:ext cx="12085722" cy="540000"/>
          </a:xfrm>
          <a:prstGeom prst="flowChartProcess">
            <a:avLst/>
          </a:prstGeom>
          <a:solidFill>
            <a:schemeClr val="tx2"/>
          </a:solidFill>
          <a:ln>
            <a:noFill/>
          </a:ln>
        </p:spPr>
        <p:style>
          <a:lnRef idx="0">
            <a:schemeClr val="accent1"/>
          </a:lnRef>
          <a:fillRef idx="1">
            <a:schemeClr val="accent1"/>
          </a:fillRef>
          <a:effectRef idx="0">
            <a:srgbClr val="00000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erious infections as reported by investigators: 20%; Median TTNT 64 </a:t>
            </a:r>
            <a:r>
              <a:rPr kumimoji="0" lang="en-US" sz="1600" b="1"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mnths</a:t>
            </a: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Similar </a:t>
            </a:r>
            <a:r>
              <a:rPr kumimoji="0" lang="en-US" sz="1600" b="1"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mPFS</a:t>
            </a: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in POD24 vs Non-POD24</a:t>
            </a:r>
          </a:p>
        </p:txBody>
      </p:sp>
      <p:grpSp>
        <p:nvGrpSpPr>
          <p:cNvPr id="21" name="Group 20">
            <a:extLst>
              <a:ext uri="{FF2B5EF4-FFF2-40B4-BE49-F238E27FC236}">
                <a16:creationId xmlns:a16="http://schemas.microsoft.com/office/drawing/2014/main" id="{3E3B6B30-8880-C874-76D5-B6141574E0F5}"/>
              </a:ext>
            </a:extLst>
          </p:cNvPr>
          <p:cNvGrpSpPr/>
          <p:nvPr/>
        </p:nvGrpSpPr>
        <p:grpSpPr>
          <a:xfrm>
            <a:off x="3156385" y="1061054"/>
            <a:ext cx="4954117" cy="4219256"/>
            <a:chOff x="3156385" y="1061054"/>
            <a:chExt cx="4954117" cy="4219256"/>
          </a:xfrm>
        </p:grpSpPr>
        <p:pic>
          <p:nvPicPr>
            <p:cNvPr id="19" name="Picture 18">
              <a:extLst>
                <a:ext uri="{FF2B5EF4-FFF2-40B4-BE49-F238E27FC236}">
                  <a16:creationId xmlns:a16="http://schemas.microsoft.com/office/drawing/2014/main" id="{4B7905A6-4191-33CB-3254-D39A6CC06BDC}"/>
                </a:ext>
              </a:extLst>
            </p:cNvPr>
            <p:cNvPicPr>
              <a:picLocks noChangeAspect="1"/>
            </p:cNvPicPr>
            <p:nvPr/>
          </p:nvPicPr>
          <p:blipFill>
            <a:blip r:embed="rId3"/>
            <a:srcRect r="1172"/>
            <a:stretch>
              <a:fillRect/>
            </a:stretch>
          </p:blipFill>
          <p:spPr>
            <a:xfrm>
              <a:off x="3156385" y="1061054"/>
              <a:ext cx="4954117" cy="4219256"/>
            </a:xfrm>
            <a:prstGeom prst="rect">
              <a:avLst/>
            </a:prstGeom>
          </p:spPr>
        </p:pic>
        <p:sp>
          <p:nvSpPr>
            <p:cNvPr id="20" name="Rectangle 19">
              <a:extLst>
                <a:ext uri="{FF2B5EF4-FFF2-40B4-BE49-F238E27FC236}">
                  <a16:creationId xmlns:a16="http://schemas.microsoft.com/office/drawing/2014/main" id="{B3AE9716-6934-3623-A62E-A0055F2CBF7C}"/>
                </a:ext>
              </a:extLst>
            </p:cNvPr>
            <p:cNvSpPr/>
            <p:nvPr/>
          </p:nvSpPr>
          <p:spPr>
            <a:xfrm>
              <a:off x="3156385" y="1061054"/>
              <a:ext cx="380445" cy="39818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9923140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B8C3B3-36EF-839F-E120-9C55B287469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54719B4-1A30-495C-85C9-E88AC4EEBF2F}"/>
              </a:ext>
            </a:extLst>
          </p:cNvPr>
          <p:cNvSpPr>
            <a:spLocks noGrp="1"/>
          </p:cNvSpPr>
          <p:nvPr>
            <p:ph type="title"/>
          </p:nvPr>
        </p:nvSpPr>
        <p:spPr>
          <a:xfrm>
            <a:off x="883928" y="73232"/>
            <a:ext cx="11460479" cy="915035"/>
          </a:xfrm>
        </p:spPr>
        <p:txBody>
          <a:bodyPr>
            <a:noAutofit/>
          </a:bodyPr>
          <a:lstStyle/>
          <a:p>
            <a:r>
              <a:rPr lang="en-US" sz="2800" dirty="0">
                <a:latin typeface="Arial" panose="020B0604020202020204" pitchFamily="34" charset="0"/>
                <a:cs typeface="Arial" panose="020B0604020202020204" pitchFamily="34" charset="0"/>
              </a:rPr>
              <a:t>Epcoritamab</a:t>
            </a:r>
            <a:r>
              <a:rPr lang="en-US" sz="2800" b="1" dirty="0">
                <a:solidFill>
                  <a:schemeClr val="tx2"/>
                </a:solidFill>
                <a:latin typeface="Arial" panose="020B0604020202020204" pitchFamily="34" charset="0"/>
                <a:cs typeface="Arial" panose="020B0604020202020204" pitchFamily="34" charset="0"/>
              </a:rPr>
              <a:t>: </a:t>
            </a:r>
            <a:r>
              <a:rPr lang="en-US" sz="2800" dirty="0">
                <a:latin typeface="Arial" panose="020B0604020202020204" pitchFamily="34" charset="0"/>
                <a:cs typeface="Arial" panose="020B0604020202020204" pitchFamily="34" charset="0"/>
              </a:rPr>
              <a:t>Median PFS of 15 months at 3-year follow-up</a:t>
            </a:r>
          </a:p>
        </p:txBody>
      </p:sp>
      <p:sp>
        <p:nvSpPr>
          <p:cNvPr id="8" name="Footer Placeholder 7">
            <a:extLst>
              <a:ext uri="{FF2B5EF4-FFF2-40B4-BE49-F238E27FC236}">
                <a16:creationId xmlns:a16="http://schemas.microsoft.com/office/drawing/2014/main" id="{789C3109-14C3-5012-612A-7BDDC5B391FB}"/>
              </a:ext>
            </a:extLst>
          </p:cNvPr>
          <p:cNvSpPr>
            <a:spLocks noGrp="1"/>
          </p:cNvSpPr>
          <p:nvPr>
            <p:ph type="ftr" sz="quarter" idx="11"/>
          </p:nvPr>
        </p:nvSpPr>
        <p:spPr>
          <a:xfrm>
            <a:off x="4649198" y="6330911"/>
            <a:ext cx="10515600" cy="503999"/>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Vitolo U et al. EHA 2025;Abstract PF881</a:t>
            </a:r>
          </a:p>
        </p:txBody>
      </p:sp>
      <p:grpSp>
        <p:nvGrpSpPr>
          <p:cNvPr id="4" name="Group 3">
            <a:extLst>
              <a:ext uri="{FF2B5EF4-FFF2-40B4-BE49-F238E27FC236}">
                <a16:creationId xmlns:a16="http://schemas.microsoft.com/office/drawing/2014/main" id="{6C3BD883-78AF-9E41-35FA-EAF8C0A3B1D9}"/>
              </a:ext>
            </a:extLst>
          </p:cNvPr>
          <p:cNvGrpSpPr/>
          <p:nvPr/>
        </p:nvGrpSpPr>
        <p:grpSpPr>
          <a:xfrm>
            <a:off x="144378" y="966729"/>
            <a:ext cx="2196000" cy="3882890"/>
            <a:chOff x="0" y="966729"/>
            <a:chExt cx="2275840" cy="3882890"/>
          </a:xfrm>
        </p:grpSpPr>
        <p:sp>
          <p:nvSpPr>
            <p:cNvPr id="196" name="Flowchart: Process 195">
              <a:extLst>
                <a:ext uri="{FF2B5EF4-FFF2-40B4-BE49-F238E27FC236}">
                  <a16:creationId xmlns:a16="http://schemas.microsoft.com/office/drawing/2014/main" id="{1CDB84B5-2AF8-683F-9CE7-A20C76B7CD7A}"/>
                </a:ext>
              </a:extLst>
            </p:cNvPr>
            <p:cNvSpPr/>
            <p:nvPr/>
          </p:nvSpPr>
          <p:spPr>
            <a:xfrm>
              <a:off x="0" y="1286781"/>
              <a:ext cx="2275840" cy="3562838"/>
            </a:xfrm>
            <a:prstGeom prst="flowChartProcess">
              <a:avLst/>
            </a:prstGeom>
            <a:solidFill>
              <a:schemeClr val="bg1"/>
            </a:solidFill>
            <a:ln w="6350">
              <a:solidFill>
                <a:schemeClr val="tx1"/>
              </a:solidFill>
            </a:ln>
            <a:effectLst>
              <a:outerShdw blurRad="50800" dist="38100" algn="l" rotWithShape="0">
                <a:prstClr val="black">
                  <a:alpha val="40000"/>
                </a:prstClr>
              </a:outerShdw>
            </a:effectLst>
          </p:spPr>
          <p:style>
            <a:lnRef idx="0">
              <a:schemeClr val="accent1"/>
            </a:lnRef>
            <a:fillRef idx="1">
              <a:schemeClr val="accent1"/>
            </a:fillRef>
            <a:effectRef idx="0">
              <a:srgbClr val="00000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Calibri Light" panose="020F0302020204030204"/>
                <a:ea typeface="+mn-ea"/>
                <a:cs typeface="Arial" panose="020B0604020202020204" pitchFamily="34" charset="0"/>
              </a:endParaRPr>
            </a:p>
          </p:txBody>
        </p:sp>
        <p:sp>
          <p:nvSpPr>
            <p:cNvPr id="200" name="Flowchart: Process 199">
              <a:extLst>
                <a:ext uri="{FF2B5EF4-FFF2-40B4-BE49-F238E27FC236}">
                  <a16:creationId xmlns:a16="http://schemas.microsoft.com/office/drawing/2014/main" id="{0605BE1E-F240-F985-6FF6-257BBF0DA8EC}"/>
                </a:ext>
              </a:extLst>
            </p:cNvPr>
            <p:cNvSpPr/>
            <p:nvPr/>
          </p:nvSpPr>
          <p:spPr>
            <a:xfrm>
              <a:off x="109894" y="966729"/>
              <a:ext cx="2056053" cy="806931"/>
            </a:xfrm>
            <a:prstGeom prst="flowChartProcess">
              <a:avLst/>
            </a:prstGeom>
            <a:solidFill>
              <a:schemeClr val="tx2"/>
            </a:solidFill>
            <a:ln>
              <a:noFill/>
            </a:ln>
          </p:spPr>
          <p:style>
            <a:lnRef idx="0">
              <a:schemeClr val="accent1"/>
            </a:lnRef>
            <a:fillRef idx="1">
              <a:schemeClr val="accent1"/>
            </a:fillRef>
            <a:effectRef idx="0">
              <a:srgbClr val="00000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PCORE NHL-1 / NHL-3 (pooled EXP cohort)</a:t>
              </a:r>
            </a:p>
          </p:txBody>
        </p:sp>
        <p:sp>
          <p:nvSpPr>
            <p:cNvPr id="203" name="TextBox 202">
              <a:extLst>
                <a:ext uri="{FF2B5EF4-FFF2-40B4-BE49-F238E27FC236}">
                  <a16:creationId xmlns:a16="http://schemas.microsoft.com/office/drawing/2014/main" id="{68C39C46-A199-53CA-7001-B1A3BC6B3BF3}"/>
                </a:ext>
              </a:extLst>
            </p:cNvPr>
            <p:cNvSpPr txBox="1"/>
            <p:nvPr/>
          </p:nvSpPr>
          <p:spPr>
            <a:xfrm>
              <a:off x="56223" y="1843564"/>
              <a:ext cx="2198665" cy="2159566"/>
            </a:xfrm>
            <a:prstGeom prst="rect">
              <a:avLst/>
            </a:prstGeom>
            <a:noFill/>
          </p:spPr>
          <p:txBody>
            <a:bodyPr wrap="square">
              <a:spAutoFit/>
            </a:bodyPr>
            <a:lstStyle/>
            <a:p>
              <a:pPr marL="0" marR="0" lvl="0" indent="0" algn="ctr" defTabSz="914400" rtl="0" eaLnBrk="1" fontAlgn="auto" latinLnBrk="0" hangingPunct="1">
                <a:lnSpc>
                  <a:spcPct val="100000"/>
                </a:lnSpc>
                <a:spcBef>
                  <a:spcPts val="500"/>
                </a:spcBef>
                <a:spcAft>
                  <a:spcPts val="0"/>
                </a:spcAft>
                <a:buClr>
                  <a:srgbClr val="C30F3B"/>
                </a:buClr>
                <a:buSzPct val="120000"/>
                <a:buFontTx/>
                <a:buNone/>
                <a:tabLst/>
                <a:defRPr/>
              </a:pPr>
              <a:r>
                <a:rPr kumimoji="0" lang="en-US" sz="1600" b="1" i="0" u="none" strike="noStrike" kern="1200" cap="none" spc="0" normalizeH="0" baseline="0" noProof="0" dirty="0" err="1">
                  <a:ln>
                    <a:noFill/>
                  </a:ln>
                  <a:solidFill>
                    <a:srgbClr val="44546A"/>
                  </a:solidFill>
                  <a:effectLst/>
                  <a:uLnTx/>
                  <a:uFillTx/>
                  <a:latin typeface="Arial" panose="020B0604020202020204" pitchFamily="34" charset="0"/>
                  <a:ea typeface="+mn-ea"/>
                  <a:cs typeface="Arial" panose="020B0604020202020204" pitchFamily="34" charset="0"/>
                </a:rPr>
                <a:t>mFU</a:t>
              </a:r>
              <a:r>
                <a:rPr kumimoji="0" lang="en-US" sz="1600" b="1"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 35 months</a:t>
              </a:r>
            </a:p>
            <a:p>
              <a:pPr marL="0" marR="0" lvl="0" indent="0" algn="l" defTabSz="914400" rtl="0" eaLnBrk="1" fontAlgn="auto" latinLnBrk="0" hangingPunct="1">
                <a:lnSpc>
                  <a:spcPct val="100000"/>
                </a:lnSpc>
                <a:spcBef>
                  <a:spcPts val="500"/>
                </a:spcBef>
                <a:spcAft>
                  <a:spcPts val="0"/>
                </a:spcAft>
                <a:buClr>
                  <a:srgbClr val="C30F3B"/>
                </a:buClr>
                <a:buSzPct val="120000"/>
                <a:buFontTx/>
                <a:buNone/>
                <a:tabLst/>
                <a:defRPr/>
              </a:pPr>
              <a:r>
                <a:rPr kumimoji="0" lang="en-US" sz="1600" b="0" i="0" u="none" strike="noStrike" kern="120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rPr>
                <a:t>Phase 1/2, single-arm, multicenter trial of </a:t>
              </a:r>
              <a:br>
                <a:rPr kumimoji="0" lang="en-US" sz="1600" b="1" i="0" u="none" strike="noStrike" kern="120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rPr>
              </a:br>
              <a:r>
                <a:rPr kumimoji="0" lang="en-US" sz="1600" b="1"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Epcoritamab </a:t>
              </a:r>
              <a:br>
                <a:rPr kumimoji="0" lang="en-US" sz="1600" b="1"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br>
              <a:r>
                <a:rPr kumimoji="0" lang="en-US" sz="1600" b="1"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n = 149) </a:t>
              </a:r>
              <a:r>
                <a:rPr kumimoji="0" lang="en-US" sz="1600" b="0" i="0" u="none" strike="noStrike" kern="120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rPr>
                <a:t>in patients with 3L+ R/R FL</a:t>
              </a:r>
              <a:r>
                <a:rPr kumimoji="0" lang="en-US" sz="1600" b="0" i="0" u="none" strike="noStrike" kern="1200" cap="none" spc="0" normalizeH="0" baseline="30000" noProof="0" dirty="0">
                  <a:ln>
                    <a:noFill/>
                  </a:ln>
                  <a:solidFill>
                    <a:srgbClr val="595454"/>
                  </a:solidFill>
                  <a:effectLst/>
                  <a:uLnTx/>
                  <a:uFillTx/>
                  <a:latin typeface="Arial" panose="020B0604020202020204" pitchFamily="34" charset="0"/>
                  <a:ea typeface="+mn-ea"/>
                  <a:cs typeface="Arial" panose="020B0604020202020204" pitchFamily="34" charset="0"/>
                </a:rPr>
                <a:t>1,2</a:t>
              </a:r>
              <a:endParaRPr kumimoji="0" lang="en-US" sz="2000" b="1" i="0"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500"/>
                </a:spcBef>
                <a:spcAft>
                  <a:spcPts val="0"/>
                </a:spcAft>
                <a:buClr>
                  <a:srgbClr val="C30F3B"/>
                </a:buClr>
                <a:buSzPct val="120000"/>
                <a:buFont typeface="System Font Regular"/>
                <a:buNone/>
                <a:tabLst/>
                <a:defRPr/>
              </a:pPr>
              <a:endParaRPr kumimoji="0" lang="en-US" sz="1400" b="1" i="0" u="none" strike="noStrike" kern="1200" cap="none" spc="0" normalizeH="0" baseline="0" noProof="0" dirty="0">
                <a:ln>
                  <a:noFill/>
                </a:ln>
                <a:solidFill>
                  <a:srgbClr val="BE2BBB"/>
                </a:solidFill>
                <a:effectLst/>
                <a:uLnTx/>
                <a:uFillTx/>
                <a:latin typeface="Arial" panose="020B0604020202020204" pitchFamily="34" charset="0"/>
                <a:ea typeface="+mn-ea"/>
                <a:cs typeface="Arial" panose="020B0604020202020204" pitchFamily="34" charset="0"/>
              </a:endParaRPr>
            </a:p>
          </p:txBody>
        </p:sp>
        <p:cxnSp>
          <p:nvCxnSpPr>
            <p:cNvPr id="204" name="Straight Connector 203">
              <a:extLst>
                <a:ext uri="{FF2B5EF4-FFF2-40B4-BE49-F238E27FC236}">
                  <a16:creationId xmlns:a16="http://schemas.microsoft.com/office/drawing/2014/main" id="{478BA370-AC18-55C2-4ED4-835477A59C86}"/>
                </a:ext>
              </a:extLst>
            </p:cNvPr>
            <p:cNvCxnSpPr>
              <a:cxnSpLocks/>
            </p:cNvCxnSpPr>
            <p:nvPr/>
          </p:nvCxnSpPr>
          <p:spPr>
            <a:xfrm>
              <a:off x="482283" y="4726409"/>
              <a:ext cx="1311275" cy="0"/>
            </a:xfrm>
            <a:prstGeom prst="line">
              <a:avLst/>
            </a:prstGeom>
            <a:ln w="28575" cap="rnd">
              <a:solidFill>
                <a:schemeClr val="tx1">
                  <a:lumMod val="65000"/>
                  <a:lumOff val="35000"/>
                </a:schemeClr>
              </a:solidFill>
            </a:ln>
          </p:spPr>
          <p:style>
            <a:lnRef idx="1">
              <a:srgbClr val="BE2BBB"/>
            </a:lnRef>
            <a:fillRef idx="0">
              <a:schemeClr val="accent1"/>
            </a:fillRef>
            <a:effectRef idx="0">
              <a:srgbClr val="000000"/>
            </a:effectRef>
            <a:fontRef idx="minor">
              <a:schemeClr val="lt1"/>
            </a:fontRef>
          </p:style>
        </p:cxnSp>
      </p:grpSp>
      <p:sp>
        <p:nvSpPr>
          <p:cNvPr id="208" name="Rectangle 207">
            <a:extLst>
              <a:ext uri="{FF2B5EF4-FFF2-40B4-BE49-F238E27FC236}">
                <a16:creationId xmlns:a16="http://schemas.microsoft.com/office/drawing/2014/main" id="{B4578619-9744-76E3-4A39-F597526C55C9}"/>
              </a:ext>
            </a:extLst>
          </p:cNvPr>
          <p:cNvSpPr/>
          <p:nvPr/>
        </p:nvSpPr>
        <p:spPr>
          <a:xfrm>
            <a:off x="8787623" y="1280159"/>
            <a:ext cx="3050535" cy="3831643"/>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210" name="Group 209">
            <a:extLst>
              <a:ext uri="{FF2B5EF4-FFF2-40B4-BE49-F238E27FC236}">
                <a16:creationId xmlns:a16="http://schemas.microsoft.com/office/drawing/2014/main" id="{BA7A87F8-D2D4-779C-47A4-F727B26F3B92}"/>
              </a:ext>
            </a:extLst>
          </p:cNvPr>
          <p:cNvGrpSpPr/>
          <p:nvPr/>
        </p:nvGrpSpPr>
        <p:grpSpPr>
          <a:xfrm>
            <a:off x="8909923" y="2896630"/>
            <a:ext cx="2928235" cy="307777"/>
            <a:chOff x="8909923" y="2973037"/>
            <a:chExt cx="2928235" cy="399083"/>
          </a:xfrm>
        </p:grpSpPr>
        <p:sp>
          <p:nvSpPr>
            <p:cNvPr id="218" name="TextBox 217">
              <a:extLst>
                <a:ext uri="{FF2B5EF4-FFF2-40B4-BE49-F238E27FC236}">
                  <a16:creationId xmlns:a16="http://schemas.microsoft.com/office/drawing/2014/main" id="{55F4DED1-1617-AA71-1DFF-8C78EB394982}"/>
                </a:ext>
              </a:extLst>
            </p:cNvPr>
            <p:cNvSpPr txBox="1"/>
            <p:nvPr/>
          </p:nvSpPr>
          <p:spPr bwMode="auto">
            <a:xfrm>
              <a:off x="8909923" y="3038636"/>
              <a:ext cx="719741" cy="289753"/>
            </a:xfrm>
            <a:prstGeom prst="rect">
              <a:avLst/>
            </a:prstGeom>
            <a:noFill/>
          </p:spPr>
          <p:txBody>
            <a:bodyPr lIns="0" tIns="0" rIns="0" bIns="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lumMod val="75000"/>
                      <a:lumOff val="25000"/>
                    </a:srgbClr>
                  </a:solidFill>
                  <a:effectLst/>
                  <a:uLnTx/>
                  <a:uFillTx/>
                  <a:latin typeface="Arial" panose="020B0604020202020204" pitchFamily="34" charset="0"/>
                  <a:ea typeface="+mn-ea"/>
                  <a:cs typeface="Arial" panose="020B0604020202020204" pitchFamily="34" charset="0"/>
                </a:rPr>
                <a:t>Grade low </a:t>
              </a:r>
              <a:r>
                <a:rPr kumimoji="0" lang="en-US" sz="1050" b="1" i="0" u="none" strike="noStrike" kern="0" cap="none" spc="0" normalizeH="0" baseline="0" noProof="0" dirty="0">
                  <a:ln>
                    <a:noFill/>
                  </a:ln>
                  <a:solidFill>
                    <a:srgbClr val="000000">
                      <a:lumMod val="75000"/>
                      <a:lumOff val="25000"/>
                    </a:srgbClr>
                  </a:solidFill>
                  <a:effectLst/>
                  <a:uLnTx/>
                  <a:uFillTx/>
                  <a:latin typeface="Arial" panose="020B0604020202020204" pitchFamily="34" charset="0"/>
                  <a:ea typeface="MS PGothic" panose="020B0600070205080204" pitchFamily="34" charset="-128"/>
                  <a:cs typeface="Arial" panose="020B0604020202020204" pitchFamily="34" charset="0"/>
                </a:rPr>
                <a:t>CRS, %</a:t>
              </a:r>
            </a:p>
          </p:txBody>
        </p:sp>
        <p:sp>
          <p:nvSpPr>
            <p:cNvPr id="225" name="Shape 932">
              <a:extLst>
                <a:ext uri="{FF2B5EF4-FFF2-40B4-BE49-F238E27FC236}">
                  <a16:creationId xmlns:a16="http://schemas.microsoft.com/office/drawing/2014/main" id="{BB2AAF07-9021-17BD-758B-EE71835D2078}"/>
                </a:ext>
              </a:extLst>
            </p:cNvPr>
            <p:cNvSpPr/>
            <p:nvPr/>
          </p:nvSpPr>
          <p:spPr bwMode="auto">
            <a:xfrm>
              <a:off x="10092158" y="3020548"/>
              <a:ext cx="1746000" cy="327600"/>
            </a:xfrm>
            <a:prstGeom prst="rect">
              <a:avLst/>
            </a:prstGeom>
            <a:solidFill>
              <a:schemeClr val="bg1"/>
            </a:solidFill>
            <a:ln w="12700" cap="flat">
              <a:noFill/>
              <a:miter lim="400000"/>
            </a:ln>
            <a:effectLst/>
          </p:spPr>
          <p:txBody>
            <a:bodyPr lIns="45719" tIns="45719" rIns="45719" bIns="45719"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733" b="0" i="0" u="none" strike="noStrike" kern="1200" cap="none" spc="0" normalizeH="0" baseline="0" noProof="0" dirty="0">
                <a:ln>
                  <a:noFill/>
                </a:ln>
                <a:solidFill>
                  <a:srgbClr val="B7B8B9"/>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endParaRPr>
            </a:p>
          </p:txBody>
        </p:sp>
        <p:sp>
          <p:nvSpPr>
            <p:cNvPr id="228" name="Rectangle 227">
              <a:extLst>
                <a:ext uri="{FF2B5EF4-FFF2-40B4-BE49-F238E27FC236}">
                  <a16:creationId xmlns:a16="http://schemas.microsoft.com/office/drawing/2014/main" id="{7C5D0069-7CA3-0336-B46F-CC80CCF9779F}"/>
                </a:ext>
              </a:extLst>
            </p:cNvPr>
            <p:cNvSpPr/>
            <p:nvPr/>
          </p:nvSpPr>
          <p:spPr>
            <a:xfrm>
              <a:off x="10092159" y="3020548"/>
              <a:ext cx="36000" cy="327600"/>
            </a:xfrm>
            <a:prstGeom prst="rect">
              <a:avLst/>
            </a:prstGeom>
            <a:solidFill>
              <a:schemeClr val="tx2"/>
            </a:solidFill>
            <a:ln w="12700" cap="flat" cmpd="sng" algn="ctr">
              <a:no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29" name="TextBox 228">
              <a:extLst>
                <a:ext uri="{FF2B5EF4-FFF2-40B4-BE49-F238E27FC236}">
                  <a16:creationId xmlns:a16="http://schemas.microsoft.com/office/drawing/2014/main" id="{EA77EA1B-EF3F-DF9D-A127-BD3DD95CCB77}"/>
                </a:ext>
              </a:extLst>
            </p:cNvPr>
            <p:cNvSpPr txBox="1"/>
            <p:nvPr/>
          </p:nvSpPr>
          <p:spPr>
            <a:xfrm>
              <a:off x="10127868" y="2973037"/>
              <a:ext cx="558949" cy="399083"/>
            </a:xfrm>
            <a:prstGeom prst="rect">
              <a:avLst/>
            </a:prstGeom>
            <a:noFill/>
          </p:spPr>
          <p:txBody>
            <a:bodyPr wrap="squar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49</a:t>
              </a:r>
            </a:p>
          </p:txBody>
        </p:sp>
      </p:grpSp>
      <p:grpSp>
        <p:nvGrpSpPr>
          <p:cNvPr id="230" name="Group 229">
            <a:extLst>
              <a:ext uri="{FF2B5EF4-FFF2-40B4-BE49-F238E27FC236}">
                <a16:creationId xmlns:a16="http://schemas.microsoft.com/office/drawing/2014/main" id="{33D088DC-212F-6288-E22B-BA10220415CB}"/>
              </a:ext>
            </a:extLst>
          </p:cNvPr>
          <p:cNvGrpSpPr/>
          <p:nvPr/>
        </p:nvGrpSpPr>
        <p:grpSpPr>
          <a:xfrm>
            <a:off x="8909923" y="3352966"/>
            <a:ext cx="2928235" cy="508031"/>
            <a:chOff x="8909923" y="3600529"/>
            <a:chExt cx="2928235" cy="658738"/>
          </a:xfrm>
        </p:grpSpPr>
        <p:sp>
          <p:nvSpPr>
            <p:cNvPr id="232" name="TextBox 231">
              <a:extLst>
                <a:ext uri="{FF2B5EF4-FFF2-40B4-BE49-F238E27FC236}">
                  <a16:creationId xmlns:a16="http://schemas.microsoft.com/office/drawing/2014/main" id="{9AB9AC83-DB9C-C751-3B55-0690CCB1C052}"/>
                </a:ext>
              </a:extLst>
            </p:cNvPr>
            <p:cNvSpPr txBox="1"/>
            <p:nvPr/>
          </p:nvSpPr>
          <p:spPr bwMode="auto">
            <a:xfrm>
              <a:off x="8909923" y="3628675"/>
              <a:ext cx="997075" cy="292034"/>
            </a:xfrm>
            <a:prstGeom prst="rect">
              <a:avLst/>
            </a:prstGeom>
            <a:noFill/>
          </p:spPr>
          <p:txBody>
            <a:bodyPr lIns="0" tIns="0" rIns="0" bIns="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lumMod val="75000"/>
                      <a:lumOff val="25000"/>
                    </a:srgbClr>
                  </a:solidFill>
                  <a:effectLst/>
                  <a:uLnTx/>
                  <a:uFillTx/>
                  <a:latin typeface="Arial" panose="020B0604020202020204" pitchFamily="34" charset="0"/>
                  <a:ea typeface="+mn-ea"/>
                  <a:cs typeface="Arial" panose="020B0604020202020204" pitchFamily="34" charset="0"/>
                </a:rPr>
                <a:t> </a:t>
              </a:r>
              <a:br>
                <a:rPr kumimoji="0" lang="en-US" sz="1050" b="1" i="0" u="none" strike="noStrike" kern="1200" cap="none" spc="0" normalizeH="0" baseline="0" noProof="0" dirty="0">
                  <a:ln>
                    <a:noFill/>
                  </a:ln>
                  <a:solidFill>
                    <a:srgbClr val="000000">
                      <a:lumMod val="75000"/>
                      <a:lumOff val="25000"/>
                    </a:srgbClr>
                  </a:solidFill>
                  <a:effectLst/>
                  <a:uLnTx/>
                  <a:uFillTx/>
                  <a:latin typeface="Arial" panose="020B0604020202020204" pitchFamily="34" charset="0"/>
                  <a:ea typeface="+mn-ea"/>
                  <a:cs typeface="Arial" panose="020B0604020202020204" pitchFamily="34" charset="0"/>
                </a:rPr>
              </a:br>
              <a:r>
                <a:rPr kumimoji="0" lang="en-US" sz="1050" b="1" i="0" u="none" strike="noStrike" kern="0" cap="none" spc="0" normalizeH="0" baseline="0" noProof="0" dirty="0">
                  <a:ln>
                    <a:noFill/>
                  </a:ln>
                  <a:solidFill>
                    <a:srgbClr val="000000">
                      <a:lumMod val="75000"/>
                      <a:lumOff val="25000"/>
                    </a:srgbClr>
                  </a:solidFill>
                  <a:effectLst/>
                  <a:uLnTx/>
                  <a:uFillTx/>
                  <a:latin typeface="Arial" panose="020B0604020202020204" pitchFamily="34" charset="0"/>
                  <a:ea typeface="MS PGothic" panose="020B0600070205080204" pitchFamily="34" charset="-128"/>
                  <a:cs typeface="Arial" panose="020B0604020202020204" pitchFamily="34" charset="0"/>
                </a:rPr>
                <a:t>ICANS, %</a:t>
              </a:r>
              <a:r>
                <a:rPr kumimoji="0" lang="en-US" sz="1050" b="1" i="0" u="none" strike="noStrike" kern="0" cap="none" spc="0" normalizeH="0" baseline="30000" noProof="0" dirty="0">
                  <a:ln>
                    <a:noFill/>
                  </a:ln>
                  <a:solidFill>
                    <a:srgbClr val="000000">
                      <a:lumMod val="75000"/>
                      <a:lumOff val="25000"/>
                    </a:srgbClr>
                  </a:solidFill>
                  <a:effectLst/>
                  <a:uLnTx/>
                  <a:uFillTx/>
                  <a:latin typeface="Arial" panose="020B0604020202020204" pitchFamily="34" charset="0"/>
                  <a:ea typeface="MS PGothic" panose="020B0600070205080204" pitchFamily="34" charset="-128"/>
                  <a:cs typeface="Arial" panose="020B0604020202020204" pitchFamily="34" charset="0"/>
                </a:rPr>
                <a:t>b</a:t>
              </a:r>
              <a:endParaRPr kumimoji="0" lang="en-US" sz="1050" b="1" i="0" u="none" strike="noStrike" kern="0" cap="none" spc="0" normalizeH="0" baseline="0" noProof="0" dirty="0">
                <a:ln>
                  <a:noFill/>
                </a:ln>
                <a:solidFill>
                  <a:srgbClr val="000000">
                    <a:lumMod val="75000"/>
                    <a:lumOff val="25000"/>
                  </a:srgbClr>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241" name="Shape 932">
              <a:extLst>
                <a:ext uri="{FF2B5EF4-FFF2-40B4-BE49-F238E27FC236}">
                  <a16:creationId xmlns:a16="http://schemas.microsoft.com/office/drawing/2014/main" id="{5EF16B3D-A769-3BA5-D536-F9DDF66AFE19}"/>
                </a:ext>
              </a:extLst>
            </p:cNvPr>
            <p:cNvSpPr/>
            <p:nvPr/>
          </p:nvSpPr>
          <p:spPr bwMode="auto">
            <a:xfrm>
              <a:off x="10092158" y="3600529"/>
              <a:ext cx="1746000" cy="327600"/>
            </a:xfrm>
            <a:prstGeom prst="rect">
              <a:avLst/>
            </a:prstGeom>
            <a:solidFill>
              <a:schemeClr val="bg1"/>
            </a:solidFill>
            <a:ln w="12700" cap="flat">
              <a:noFill/>
              <a:miter lim="400000"/>
            </a:ln>
            <a:effectLst/>
          </p:spPr>
          <p:txBody>
            <a:bodyPr lIns="45719" tIns="45719" rIns="45719" bIns="45719"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733" b="0" i="0" u="none" strike="noStrike" kern="1200" cap="none" spc="0" normalizeH="0" baseline="0" noProof="0" dirty="0">
                <a:ln>
                  <a:noFill/>
                </a:ln>
                <a:solidFill>
                  <a:srgbClr val="B7B8B9"/>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endParaRPr>
            </a:p>
          </p:txBody>
        </p:sp>
        <p:sp>
          <p:nvSpPr>
            <p:cNvPr id="242" name="TextBox 241">
              <a:extLst>
                <a:ext uri="{FF2B5EF4-FFF2-40B4-BE49-F238E27FC236}">
                  <a16:creationId xmlns:a16="http://schemas.microsoft.com/office/drawing/2014/main" id="{ED8864DF-1B12-2995-9049-0C20A749BDEB}"/>
                </a:ext>
              </a:extLst>
            </p:cNvPr>
            <p:cNvSpPr txBox="1"/>
            <p:nvPr/>
          </p:nvSpPr>
          <p:spPr>
            <a:xfrm>
              <a:off x="10028863" y="3699115"/>
              <a:ext cx="290464" cy="56015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0</a:t>
              </a:r>
            </a:p>
          </p:txBody>
        </p:sp>
      </p:grpSp>
      <p:grpSp>
        <p:nvGrpSpPr>
          <p:cNvPr id="248" name="Group 247">
            <a:extLst>
              <a:ext uri="{FF2B5EF4-FFF2-40B4-BE49-F238E27FC236}">
                <a16:creationId xmlns:a16="http://schemas.microsoft.com/office/drawing/2014/main" id="{7C813B0C-0EED-2A3C-AD86-D1B4F2EFAF90}"/>
              </a:ext>
            </a:extLst>
          </p:cNvPr>
          <p:cNvGrpSpPr/>
          <p:nvPr/>
        </p:nvGrpSpPr>
        <p:grpSpPr>
          <a:xfrm>
            <a:off x="8928327" y="4011729"/>
            <a:ext cx="2928236" cy="307777"/>
            <a:chOff x="8909922" y="4666926"/>
            <a:chExt cx="2928236" cy="399077"/>
          </a:xfrm>
        </p:grpSpPr>
        <p:sp>
          <p:nvSpPr>
            <p:cNvPr id="249" name="TextBox 248">
              <a:extLst>
                <a:ext uri="{FF2B5EF4-FFF2-40B4-BE49-F238E27FC236}">
                  <a16:creationId xmlns:a16="http://schemas.microsoft.com/office/drawing/2014/main" id="{D4D86AAE-5E3E-FF7F-EB7C-9A17CAB7D80F}"/>
                </a:ext>
              </a:extLst>
            </p:cNvPr>
            <p:cNvSpPr txBox="1"/>
            <p:nvPr/>
          </p:nvSpPr>
          <p:spPr bwMode="auto">
            <a:xfrm>
              <a:off x="8909922" y="4715893"/>
              <a:ext cx="1116000" cy="292033"/>
            </a:xfrm>
            <a:prstGeom prst="rect">
              <a:avLst/>
            </a:prstGeom>
            <a:noFill/>
          </p:spPr>
          <p:txBody>
            <a:bodyPr lIns="0" tIns="0" rIns="0" bIns="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lumMod val="75000"/>
                      <a:lumOff val="25000"/>
                    </a:srgbClr>
                  </a:solidFill>
                  <a:effectLst/>
                  <a:uLnTx/>
                  <a:uFillTx/>
                  <a:latin typeface="Arial" panose="020B0604020202020204" pitchFamily="34" charset="0"/>
                  <a:ea typeface="+mn-ea"/>
                  <a:cs typeface="Arial" panose="020B0604020202020204" pitchFamily="34" charset="0"/>
                </a:rPr>
                <a:t>Grade ≥ 3 s</a:t>
              </a:r>
              <a:r>
                <a:rPr kumimoji="0" lang="en-US" sz="1000" b="1" i="0" u="none" strike="noStrike" kern="0" cap="none" spc="0" normalizeH="0" baseline="0" noProof="0" dirty="0">
                  <a:ln>
                    <a:noFill/>
                  </a:ln>
                  <a:solidFill>
                    <a:srgbClr val="000000">
                      <a:lumMod val="75000"/>
                      <a:lumOff val="25000"/>
                    </a:srgbClr>
                  </a:solidFill>
                  <a:effectLst/>
                  <a:uLnTx/>
                  <a:uFillTx/>
                  <a:latin typeface="Arial" panose="020B0604020202020204" pitchFamily="34" charset="0"/>
                  <a:ea typeface="MS PGothic" panose="020B0600070205080204" pitchFamily="34" charset="-128"/>
                  <a:cs typeface="Arial" panose="020B0604020202020204" pitchFamily="34" charset="0"/>
                </a:rPr>
                <a:t>erious infection, %</a:t>
              </a:r>
            </a:p>
          </p:txBody>
        </p:sp>
        <p:sp>
          <p:nvSpPr>
            <p:cNvPr id="250" name="Shape 932">
              <a:extLst>
                <a:ext uri="{FF2B5EF4-FFF2-40B4-BE49-F238E27FC236}">
                  <a16:creationId xmlns:a16="http://schemas.microsoft.com/office/drawing/2014/main" id="{DC4DDCE3-AFB0-DAE8-9EEC-D260528913B6}"/>
                </a:ext>
              </a:extLst>
            </p:cNvPr>
            <p:cNvSpPr/>
            <p:nvPr/>
          </p:nvSpPr>
          <p:spPr bwMode="auto">
            <a:xfrm>
              <a:off x="10092158" y="4709517"/>
              <a:ext cx="1746000" cy="327600"/>
            </a:xfrm>
            <a:prstGeom prst="rect">
              <a:avLst/>
            </a:prstGeom>
            <a:solidFill>
              <a:schemeClr val="bg1"/>
            </a:solidFill>
            <a:ln w="12700" cap="flat">
              <a:noFill/>
              <a:miter lim="400000"/>
            </a:ln>
            <a:effectLst/>
          </p:spPr>
          <p:txBody>
            <a:bodyPr lIns="45719" tIns="45719" rIns="45719" bIns="45719"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733" b="0" i="0" u="none" strike="noStrike" kern="1200" cap="none" spc="0" normalizeH="0" baseline="0" noProof="0" dirty="0">
                <a:ln>
                  <a:noFill/>
                </a:ln>
                <a:solidFill>
                  <a:srgbClr val="B7B8B9"/>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endParaRPr>
            </a:p>
          </p:txBody>
        </p:sp>
        <p:sp>
          <p:nvSpPr>
            <p:cNvPr id="251" name="Rectangle 250">
              <a:extLst>
                <a:ext uri="{FF2B5EF4-FFF2-40B4-BE49-F238E27FC236}">
                  <a16:creationId xmlns:a16="http://schemas.microsoft.com/office/drawing/2014/main" id="{8DEE9E4D-9CAA-CAB4-035B-FA54C5123B77}"/>
                </a:ext>
              </a:extLst>
            </p:cNvPr>
            <p:cNvSpPr/>
            <p:nvPr/>
          </p:nvSpPr>
          <p:spPr>
            <a:xfrm>
              <a:off x="10092159" y="4709517"/>
              <a:ext cx="244800" cy="327600"/>
            </a:xfrm>
            <a:prstGeom prst="rect">
              <a:avLst/>
            </a:prstGeom>
            <a:solidFill>
              <a:schemeClr val="tx2"/>
            </a:solidFill>
            <a:ln w="12700" cap="flat" cmpd="sng" algn="ctr">
              <a:no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52" name="TextBox 251">
              <a:extLst>
                <a:ext uri="{FF2B5EF4-FFF2-40B4-BE49-F238E27FC236}">
                  <a16:creationId xmlns:a16="http://schemas.microsoft.com/office/drawing/2014/main" id="{D51F4869-B483-56D6-65B9-E806CD4BE15F}"/>
                </a:ext>
              </a:extLst>
            </p:cNvPr>
            <p:cNvSpPr txBox="1"/>
            <p:nvPr/>
          </p:nvSpPr>
          <p:spPr>
            <a:xfrm>
              <a:off x="10329545" y="4666926"/>
              <a:ext cx="383438" cy="3990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35</a:t>
              </a:r>
            </a:p>
          </p:txBody>
        </p:sp>
      </p:grpSp>
      <p:sp>
        <p:nvSpPr>
          <p:cNvPr id="253" name="TextBox 252">
            <a:extLst>
              <a:ext uri="{FF2B5EF4-FFF2-40B4-BE49-F238E27FC236}">
                <a16:creationId xmlns:a16="http://schemas.microsoft.com/office/drawing/2014/main" id="{6019E70E-BCC8-020A-0D44-279C056EECBD}"/>
              </a:ext>
            </a:extLst>
          </p:cNvPr>
          <p:cNvSpPr txBox="1"/>
          <p:nvPr/>
        </p:nvSpPr>
        <p:spPr>
          <a:xfrm>
            <a:off x="9138622" y="2538495"/>
            <a:ext cx="2348536" cy="307777"/>
          </a:xfrm>
          <a:prstGeom prst="rect">
            <a:avLst/>
          </a:prstGeom>
          <a:noFill/>
        </p:spPr>
        <p:txBody>
          <a:bodyPr wrap="square" rtlCol="0">
            <a:spAutoFit/>
          </a:bodyPr>
          <a:lstStyle/>
          <a:p>
            <a:pPr marL="0" marR="0" lvl="0" indent="0" algn="ctr" defTabSz="1219170" rtl="0" eaLnBrk="0" fontAlgn="base"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75000"/>
                    <a:lumOff val="25000"/>
                  </a:srgbClr>
                </a:solidFill>
                <a:effectLst/>
                <a:uLnTx/>
                <a:uFillTx/>
                <a:latin typeface="Arial" panose="020B0604020202020204" pitchFamily="34" charset="0"/>
                <a:ea typeface="+mn-ea"/>
                <a:cs typeface="Arial" panose="020B0604020202020204" pitchFamily="34" charset="0"/>
              </a:rPr>
              <a:t>AESIs</a:t>
            </a:r>
            <a:r>
              <a:rPr kumimoji="0" lang="en-US" sz="1400" b="1" i="0" u="none" strike="noStrike" kern="1200" cap="none" spc="0" normalizeH="0" baseline="30000" noProof="0" dirty="0">
                <a:ln>
                  <a:noFill/>
                </a:ln>
                <a:solidFill>
                  <a:srgbClr val="000000">
                    <a:lumMod val="75000"/>
                    <a:lumOff val="25000"/>
                  </a:srgbClr>
                </a:solidFill>
                <a:effectLst/>
                <a:uLnTx/>
                <a:uFillTx/>
                <a:latin typeface="Arial" panose="020B0604020202020204" pitchFamily="34" charset="0"/>
                <a:ea typeface="+mn-ea"/>
                <a:cs typeface="Arial" panose="020B0604020202020204" pitchFamily="34" charset="0"/>
              </a:rPr>
              <a:t>1,3</a:t>
            </a:r>
          </a:p>
        </p:txBody>
      </p:sp>
      <p:sp>
        <p:nvSpPr>
          <p:cNvPr id="254" name="TextBox 253">
            <a:extLst>
              <a:ext uri="{FF2B5EF4-FFF2-40B4-BE49-F238E27FC236}">
                <a16:creationId xmlns:a16="http://schemas.microsoft.com/office/drawing/2014/main" id="{706F5EDC-CCAC-18E5-8F7F-D64A60439D2B}"/>
              </a:ext>
            </a:extLst>
          </p:cNvPr>
          <p:cNvSpPr txBox="1"/>
          <p:nvPr/>
        </p:nvSpPr>
        <p:spPr>
          <a:xfrm>
            <a:off x="9324845" y="1305350"/>
            <a:ext cx="1976091" cy="307777"/>
          </a:xfrm>
          <a:prstGeom prst="rect">
            <a:avLst/>
          </a:prstGeom>
          <a:noFill/>
        </p:spPr>
        <p:txBody>
          <a:bodyPr wrap="square" rtlCol="0">
            <a:spAutoFit/>
          </a:bodyPr>
          <a:lstStyle/>
          <a:p>
            <a:pPr marL="0" marR="0" lvl="0" indent="0" algn="ctr" defTabSz="1219170" rtl="0" eaLnBrk="0" fontAlgn="base"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75000"/>
                    <a:lumOff val="25000"/>
                  </a:srgbClr>
                </a:solidFill>
                <a:effectLst/>
                <a:uLnTx/>
                <a:uFillTx/>
                <a:latin typeface="Arial" panose="020B0604020202020204" pitchFamily="34" charset="0"/>
                <a:ea typeface="+mn-ea"/>
                <a:cs typeface="Arial" panose="020B0604020202020204" pitchFamily="34" charset="0"/>
              </a:rPr>
              <a:t>Response rates</a:t>
            </a:r>
            <a:r>
              <a:rPr kumimoji="0" lang="en-US" sz="1400" b="1" i="0" u="none" strike="noStrike" kern="1200" cap="none" spc="0" normalizeH="0" baseline="30000" noProof="0" dirty="0">
                <a:ln>
                  <a:noFill/>
                </a:ln>
                <a:solidFill>
                  <a:srgbClr val="000000">
                    <a:lumMod val="75000"/>
                    <a:lumOff val="25000"/>
                  </a:srgbClr>
                </a:solidFill>
                <a:effectLst/>
                <a:uLnTx/>
                <a:uFillTx/>
                <a:latin typeface="Arial" panose="020B0604020202020204" pitchFamily="34" charset="0"/>
                <a:ea typeface="+mn-ea"/>
                <a:cs typeface="Arial" panose="020B0604020202020204" pitchFamily="34" charset="0"/>
              </a:rPr>
              <a:t>1</a:t>
            </a:r>
          </a:p>
        </p:txBody>
      </p:sp>
      <p:sp>
        <p:nvSpPr>
          <p:cNvPr id="255" name="TextBox 254">
            <a:extLst>
              <a:ext uri="{FF2B5EF4-FFF2-40B4-BE49-F238E27FC236}">
                <a16:creationId xmlns:a16="http://schemas.microsoft.com/office/drawing/2014/main" id="{E08A9824-932B-9AE1-5653-94C5E6D2B0F4}"/>
              </a:ext>
            </a:extLst>
          </p:cNvPr>
          <p:cNvSpPr txBox="1"/>
          <p:nvPr/>
        </p:nvSpPr>
        <p:spPr bwMode="auto">
          <a:xfrm>
            <a:off x="8909923" y="1683692"/>
            <a:ext cx="719741" cy="289753"/>
          </a:xfrm>
          <a:prstGeom prst="rect">
            <a:avLst/>
          </a:prstGeom>
          <a:noFill/>
        </p:spPr>
        <p:txBody>
          <a:bodyPr lIns="0" tIns="0" rIns="0" bIns="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lumMod val="75000"/>
                    <a:lumOff val="25000"/>
                  </a:srgbClr>
                </a:solidFill>
                <a:effectLst/>
                <a:uLnTx/>
                <a:uFillTx/>
                <a:latin typeface="Arial" panose="020B0604020202020204" pitchFamily="34" charset="0"/>
                <a:ea typeface="MS PGothic" panose="020B0600070205080204" pitchFamily="34" charset="-128"/>
                <a:cs typeface="Arial" panose="020B0604020202020204" pitchFamily="34" charset="0"/>
              </a:rPr>
              <a:t>ORR, %</a:t>
            </a:r>
          </a:p>
        </p:txBody>
      </p:sp>
      <p:sp>
        <p:nvSpPr>
          <p:cNvPr id="256" name="TextBox 255">
            <a:extLst>
              <a:ext uri="{FF2B5EF4-FFF2-40B4-BE49-F238E27FC236}">
                <a16:creationId xmlns:a16="http://schemas.microsoft.com/office/drawing/2014/main" id="{801282B9-1F8F-76E9-7FE3-E234B24D465B}"/>
              </a:ext>
            </a:extLst>
          </p:cNvPr>
          <p:cNvSpPr txBox="1"/>
          <p:nvPr/>
        </p:nvSpPr>
        <p:spPr bwMode="auto">
          <a:xfrm>
            <a:off x="8909923" y="2149906"/>
            <a:ext cx="997075" cy="292034"/>
          </a:xfrm>
          <a:prstGeom prst="rect">
            <a:avLst/>
          </a:prstGeom>
          <a:noFill/>
        </p:spPr>
        <p:txBody>
          <a:bodyPr lIns="0" tIns="0" rIns="0" bIns="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lumMod val="75000"/>
                    <a:lumOff val="25000"/>
                  </a:srgbClr>
                </a:solidFill>
                <a:effectLst/>
                <a:uLnTx/>
                <a:uFillTx/>
                <a:latin typeface="Arial" panose="020B0604020202020204" pitchFamily="34" charset="0"/>
                <a:ea typeface="MS PGothic" panose="020B0600070205080204" pitchFamily="34" charset="-128"/>
                <a:cs typeface="Arial" panose="020B0604020202020204" pitchFamily="34" charset="0"/>
              </a:rPr>
              <a:t>CRR, %</a:t>
            </a:r>
          </a:p>
        </p:txBody>
      </p:sp>
      <p:sp>
        <p:nvSpPr>
          <p:cNvPr id="257" name="Shape 932">
            <a:extLst>
              <a:ext uri="{FF2B5EF4-FFF2-40B4-BE49-F238E27FC236}">
                <a16:creationId xmlns:a16="http://schemas.microsoft.com/office/drawing/2014/main" id="{E36515E5-04B1-9D81-2253-CDD7A5180323}"/>
              </a:ext>
            </a:extLst>
          </p:cNvPr>
          <p:cNvSpPr/>
          <p:nvPr/>
        </p:nvSpPr>
        <p:spPr bwMode="auto">
          <a:xfrm>
            <a:off x="10092158" y="1665604"/>
            <a:ext cx="1746000" cy="327600"/>
          </a:xfrm>
          <a:prstGeom prst="rect">
            <a:avLst/>
          </a:prstGeom>
          <a:solidFill>
            <a:schemeClr val="bg1"/>
          </a:solidFill>
          <a:ln w="12700" cap="flat">
            <a:noFill/>
            <a:miter lim="400000"/>
          </a:ln>
          <a:effectLst/>
        </p:spPr>
        <p:txBody>
          <a:bodyPr lIns="45719" tIns="45719" rIns="45719" bIns="45719"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733" b="0" i="0" u="none" strike="noStrike" kern="1200" cap="none" spc="0" normalizeH="0" baseline="0" noProof="0" dirty="0">
              <a:ln>
                <a:noFill/>
              </a:ln>
              <a:solidFill>
                <a:srgbClr val="B7B8B9"/>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endParaRPr>
          </a:p>
        </p:txBody>
      </p:sp>
      <p:sp>
        <p:nvSpPr>
          <p:cNvPr id="258" name="Rectangle 257">
            <a:extLst>
              <a:ext uri="{FF2B5EF4-FFF2-40B4-BE49-F238E27FC236}">
                <a16:creationId xmlns:a16="http://schemas.microsoft.com/office/drawing/2014/main" id="{0E75622F-6E89-74A2-95B2-51C2FC08F6E1}"/>
              </a:ext>
            </a:extLst>
          </p:cNvPr>
          <p:cNvSpPr/>
          <p:nvPr/>
        </p:nvSpPr>
        <p:spPr>
          <a:xfrm>
            <a:off x="10092159" y="1665604"/>
            <a:ext cx="1360800" cy="327600"/>
          </a:xfrm>
          <a:prstGeom prst="rect">
            <a:avLst/>
          </a:prstGeom>
          <a:solidFill>
            <a:schemeClr val="tx2"/>
          </a:solidFill>
          <a:ln w="12700" cap="flat" cmpd="sng" algn="ctr">
            <a:no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59" name="TextBox 258">
            <a:extLst>
              <a:ext uri="{FF2B5EF4-FFF2-40B4-BE49-F238E27FC236}">
                <a16:creationId xmlns:a16="http://schemas.microsoft.com/office/drawing/2014/main" id="{013CAF5D-15F1-D3BE-A648-92CC08BDD2ED}"/>
              </a:ext>
            </a:extLst>
          </p:cNvPr>
          <p:cNvSpPr txBox="1"/>
          <p:nvPr/>
        </p:nvSpPr>
        <p:spPr>
          <a:xfrm>
            <a:off x="11076026" y="1678721"/>
            <a:ext cx="383438" cy="3077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83</a:t>
            </a:r>
          </a:p>
        </p:txBody>
      </p:sp>
      <p:sp>
        <p:nvSpPr>
          <p:cNvPr id="260" name="Shape 932">
            <a:extLst>
              <a:ext uri="{FF2B5EF4-FFF2-40B4-BE49-F238E27FC236}">
                <a16:creationId xmlns:a16="http://schemas.microsoft.com/office/drawing/2014/main" id="{50542CA7-697B-AAB4-6EF7-F484231EB8ED}"/>
              </a:ext>
            </a:extLst>
          </p:cNvPr>
          <p:cNvSpPr/>
          <p:nvPr/>
        </p:nvSpPr>
        <p:spPr bwMode="auto">
          <a:xfrm>
            <a:off x="10092158" y="2121760"/>
            <a:ext cx="1746000" cy="327600"/>
          </a:xfrm>
          <a:prstGeom prst="rect">
            <a:avLst/>
          </a:prstGeom>
          <a:solidFill>
            <a:schemeClr val="bg1"/>
          </a:solidFill>
          <a:ln w="12700" cap="flat">
            <a:noFill/>
            <a:miter lim="400000"/>
          </a:ln>
          <a:effectLst/>
        </p:spPr>
        <p:txBody>
          <a:bodyPr lIns="45719" tIns="45719" rIns="45719" bIns="45719"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733" b="0" i="0" u="none" strike="noStrike" kern="1200" cap="none" spc="0" normalizeH="0" baseline="0" noProof="0" dirty="0">
              <a:ln>
                <a:noFill/>
              </a:ln>
              <a:solidFill>
                <a:srgbClr val="B7B8B9"/>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endParaRPr>
          </a:p>
        </p:txBody>
      </p:sp>
      <p:sp>
        <p:nvSpPr>
          <p:cNvPr id="261" name="Rectangle 260">
            <a:extLst>
              <a:ext uri="{FF2B5EF4-FFF2-40B4-BE49-F238E27FC236}">
                <a16:creationId xmlns:a16="http://schemas.microsoft.com/office/drawing/2014/main" id="{5D4D6777-B77D-CDB5-285A-CD657CD44E8C}"/>
              </a:ext>
            </a:extLst>
          </p:cNvPr>
          <p:cNvSpPr/>
          <p:nvPr/>
        </p:nvSpPr>
        <p:spPr>
          <a:xfrm>
            <a:off x="10092159" y="2121760"/>
            <a:ext cx="1044000" cy="327600"/>
          </a:xfrm>
          <a:prstGeom prst="rect">
            <a:avLst/>
          </a:prstGeom>
          <a:solidFill>
            <a:schemeClr val="tx2"/>
          </a:solidFill>
          <a:ln w="12700" cap="flat" cmpd="sng" algn="ctr">
            <a:no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62" name="TextBox 261">
            <a:extLst>
              <a:ext uri="{FF2B5EF4-FFF2-40B4-BE49-F238E27FC236}">
                <a16:creationId xmlns:a16="http://schemas.microsoft.com/office/drawing/2014/main" id="{4CA36487-C0B2-2308-104E-8B1C181070C9}"/>
              </a:ext>
            </a:extLst>
          </p:cNvPr>
          <p:cNvSpPr txBox="1"/>
          <p:nvPr/>
        </p:nvSpPr>
        <p:spPr>
          <a:xfrm>
            <a:off x="10764775" y="2124830"/>
            <a:ext cx="383438" cy="3077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65</a:t>
            </a:r>
          </a:p>
        </p:txBody>
      </p:sp>
      <p:cxnSp>
        <p:nvCxnSpPr>
          <p:cNvPr id="304" name="Straight Connector 303">
            <a:extLst>
              <a:ext uri="{FF2B5EF4-FFF2-40B4-BE49-F238E27FC236}">
                <a16:creationId xmlns:a16="http://schemas.microsoft.com/office/drawing/2014/main" id="{D5DDB389-ACA0-AAE5-373F-093957F8FCEC}"/>
              </a:ext>
            </a:extLst>
          </p:cNvPr>
          <p:cNvCxnSpPr>
            <a:cxnSpLocks/>
          </p:cNvCxnSpPr>
          <p:nvPr/>
        </p:nvCxnSpPr>
        <p:spPr>
          <a:xfrm>
            <a:off x="8787623" y="1280160"/>
            <a:ext cx="12874" cy="3813305"/>
          </a:xfrm>
          <a:prstGeom prst="line">
            <a:avLst/>
          </a:prstGeom>
          <a:ln w="28575" cap="rnd">
            <a:solidFill>
              <a:schemeClr val="tx1"/>
            </a:solidFill>
          </a:ln>
        </p:spPr>
        <p:style>
          <a:lnRef idx="1">
            <a:srgbClr val="BE2BBB"/>
          </a:lnRef>
          <a:fillRef idx="0">
            <a:schemeClr val="accent1"/>
          </a:fillRef>
          <a:effectRef idx="0">
            <a:srgbClr val="000000"/>
          </a:effectRef>
          <a:fontRef idx="minor">
            <a:schemeClr val="lt1"/>
          </a:fontRef>
        </p:style>
      </p:cxnSp>
      <p:cxnSp>
        <p:nvCxnSpPr>
          <p:cNvPr id="417" name="Straight Connector 416">
            <a:extLst>
              <a:ext uri="{FF2B5EF4-FFF2-40B4-BE49-F238E27FC236}">
                <a16:creationId xmlns:a16="http://schemas.microsoft.com/office/drawing/2014/main" id="{B8E4E8F4-1D34-8BAB-0E86-C610CABEA0DC}"/>
              </a:ext>
            </a:extLst>
          </p:cNvPr>
          <p:cNvCxnSpPr>
            <a:cxnSpLocks/>
          </p:cNvCxnSpPr>
          <p:nvPr/>
        </p:nvCxnSpPr>
        <p:spPr>
          <a:xfrm flipH="1">
            <a:off x="3249243" y="1943777"/>
            <a:ext cx="78301" cy="0"/>
          </a:xfrm>
          <a:prstGeom prst="line">
            <a:avLst/>
          </a:prstGeom>
          <a:ln w="12700" cap="rnd">
            <a:solidFill>
              <a:srgbClr val="097789"/>
            </a:solidFill>
          </a:ln>
        </p:spPr>
        <p:style>
          <a:lnRef idx="1">
            <a:srgbClr val="BE2BBB"/>
          </a:lnRef>
          <a:fillRef idx="0">
            <a:schemeClr val="accent1"/>
          </a:fillRef>
          <a:effectRef idx="0">
            <a:srgbClr val="000000"/>
          </a:effectRef>
          <a:fontRef idx="minor">
            <a:schemeClr val="lt1"/>
          </a:fontRef>
        </p:style>
      </p:cxnSp>
      <p:cxnSp>
        <p:nvCxnSpPr>
          <p:cNvPr id="407" name="Straight Connector 406">
            <a:extLst>
              <a:ext uri="{FF2B5EF4-FFF2-40B4-BE49-F238E27FC236}">
                <a16:creationId xmlns:a16="http://schemas.microsoft.com/office/drawing/2014/main" id="{0778AC57-11B0-BD22-4684-D5F0C46DFAB0}"/>
              </a:ext>
            </a:extLst>
          </p:cNvPr>
          <p:cNvCxnSpPr>
            <a:cxnSpLocks/>
          </p:cNvCxnSpPr>
          <p:nvPr/>
        </p:nvCxnSpPr>
        <p:spPr>
          <a:xfrm flipH="1">
            <a:off x="4110451" y="2581107"/>
            <a:ext cx="78301" cy="0"/>
          </a:xfrm>
          <a:prstGeom prst="line">
            <a:avLst/>
          </a:prstGeom>
          <a:ln w="12700" cap="rnd">
            <a:solidFill>
              <a:srgbClr val="097789"/>
            </a:solidFill>
          </a:ln>
        </p:spPr>
        <p:style>
          <a:lnRef idx="1">
            <a:srgbClr val="BE2BBB"/>
          </a:lnRef>
          <a:fillRef idx="0">
            <a:schemeClr val="accent1"/>
          </a:fillRef>
          <a:effectRef idx="0">
            <a:srgbClr val="000000"/>
          </a:effectRef>
          <a:fontRef idx="minor">
            <a:schemeClr val="lt1"/>
          </a:fontRef>
        </p:style>
      </p:cxnSp>
      <p:cxnSp>
        <p:nvCxnSpPr>
          <p:cNvPr id="404" name="Straight Connector 403">
            <a:extLst>
              <a:ext uri="{FF2B5EF4-FFF2-40B4-BE49-F238E27FC236}">
                <a16:creationId xmlns:a16="http://schemas.microsoft.com/office/drawing/2014/main" id="{0C2AEB39-1031-69C0-C883-07DA55CEEFAE}"/>
              </a:ext>
            </a:extLst>
          </p:cNvPr>
          <p:cNvCxnSpPr/>
          <p:nvPr/>
        </p:nvCxnSpPr>
        <p:spPr>
          <a:xfrm>
            <a:off x="4174369" y="2674594"/>
            <a:ext cx="0" cy="84392"/>
          </a:xfrm>
          <a:prstGeom prst="line">
            <a:avLst/>
          </a:prstGeom>
          <a:ln w="12700" cap="rnd">
            <a:solidFill>
              <a:srgbClr val="097789"/>
            </a:solidFill>
          </a:ln>
        </p:spPr>
        <p:style>
          <a:lnRef idx="1">
            <a:srgbClr val="BE2BBB"/>
          </a:lnRef>
          <a:fillRef idx="0">
            <a:schemeClr val="accent1"/>
          </a:fillRef>
          <a:effectRef idx="0">
            <a:srgbClr val="000000"/>
          </a:effectRef>
          <a:fontRef idx="minor">
            <a:schemeClr val="lt1"/>
          </a:fontRef>
        </p:style>
      </p:cxnSp>
      <p:cxnSp>
        <p:nvCxnSpPr>
          <p:cNvPr id="402" name="Straight Connector 401">
            <a:extLst>
              <a:ext uri="{FF2B5EF4-FFF2-40B4-BE49-F238E27FC236}">
                <a16:creationId xmlns:a16="http://schemas.microsoft.com/office/drawing/2014/main" id="{F249ED25-3190-AD5F-A954-648C2B4788AA}"/>
              </a:ext>
            </a:extLst>
          </p:cNvPr>
          <p:cNvCxnSpPr/>
          <p:nvPr/>
        </p:nvCxnSpPr>
        <p:spPr>
          <a:xfrm>
            <a:off x="4534948" y="2767810"/>
            <a:ext cx="0" cy="84392"/>
          </a:xfrm>
          <a:prstGeom prst="line">
            <a:avLst/>
          </a:prstGeom>
          <a:ln w="12700" cap="rnd">
            <a:solidFill>
              <a:srgbClr val="097789"/>
            </a:solidFill>
          </a:ln>
        </p:spPr>
        <p:style>
          <a:lnRef idx="1">
            <a:srgbClr val="BE2BBB"/>
          </a:lnRef>
          <a:fillRef idx="0">
            <a:schemeClr val="accent1"/>
          </a:fillRef>
          <a:effectRef idx="0">
            <a:srgbClr val="000000"/>
          </a:effectRef>
          <a:fontRef idx="minor">
            <a:schemeClr val="lt1"/>
          </a:fontRef>
        </p:style>
      </p:cxnSp>
      <p:cxnSp>
        <p:nvCxnSpPr>
          <p:cNvPr id="400" name="Straight Connector 399">
            <a:extLst>
              <a:ext uri="{FF2B5EF4-FFF2-40B4-BE49-F238E27FC236}">
                <a16:creationId xmlns:a16="http://schemas.microsoft.com/office/drawing/2014/main" id="{0CEAD416-6E50-3DAF-64C9-1ED92D42BCE0}"/>
              </a:ext>
            </a:extLst>
          </p:cNvPr>
          <p:cNvCxnSpPr/>
          <p:nvPr/>
        </p:nvCxnSpPr>
        <p:spPr>
          <a:xfrm>
            <a:off x="5632617" y="3108392"/>
            <a:ext cx="0" cy="84392"/>
          </a:xfrm>
          <a:prstGeom prst="line">
            <a:avLst/>
          </a:prstGeom>
          <a:ln w="12700" cap="rnd">
            <a:solidFill>
              <a:srgbClr val="097789"/>
            </a:solidFill>
          </a:ln>
        </p:spPr>
        <p:style>
          <a:lnRef idx="1">
            <a:srgbClr val="BE2BBB"/>
          </a:lnRef>
          <a:fillRef idx="0">
            <a:schemeClr val="accent1"/>
          </a:fillRef>
          <a:effectRef idx="0">
            <a:srgbClr val="000000"/>
          </a:effectRef>
          <a:fontRef idx="minor">
            <a:schemeClr val="lt1"/>
          </a:fontRef>
        </p:style>
      </p:cxnSp>
      <p:cxnSp>
        <p:nvCxnSpPr>
          <p:cNvPr id="401" name="Straight Connector 400">
            <a:extLst>
              <a:ext uri="{FF2B5EF4-FFF2-40B4-BE49-F238E27FC236}">
                <a16:creationId xmlns:a16="http://schemas.microsoft.com/office/drawing/2014/main" id="{721923A8-12BA-B0A0-98F5-ABB795EA29A1}"/>
              </a:ext>
            </a:extLst>
          </p:cNvPr>
          <p:cNvCxnSpPr>
            <a:cxnSpLocks/>
          </p:cNvCxnSpPr>
          <p:nvPr/>
        </p:nvCxnSpPr>
        <p:spPr>
          <a:xfrm flipH="1">
            <a:off x="5592537" y="3148627"/>
            <a:ext cx="78301" cy="0"/>
          </a:xfrm>
          <a:prstGeom prst="line">
            <a:avLst/>
          </a:prstGeom>
          <a:ln w="12700" cap="rnd">
            <a:solidFill>
              <a:srgbClr val="097789"/>
            </a:solidFill>
          </a:ln>
        </p:spPr>
        <p:style>
          <a:lnRef idx="1">
            <a:srgbClr val="BE2BBB"/>
          </a:lnRef>
          <a:fillRef idx="0">
            <a:schemeClr val="accent1"/>
          </a:fillRef>
          <a:effectRef idx="0">
            <a:srgbClr val="000000"/>
          </a:effectRef>
          <a:fontRef idx="minor">
            <a:schemeClr val="lt1"/>
          </a:fontRef>
        </p:style>
      </p:cxnSp>
      <p:cxnSp>
        <p:nvCxnSpPr>
          <p:cNvPr id="398" name="Straight Connector 397">
            <a:extLst>
              <a:ext uri="{FF2B5EF4-FFF2-40B4-BE49-F238E27FC236}">
                <a16:creationId xmlns:a16="http://schemas.microsoft.com/office/drawing/2014/main" id="{10F55D82-3B4A-A4C4-26E0-ABFB41E0D20B}"/>
              </a:ext>
            </a:extLst>
          </p:cNvPr>
          <p:cNvCxnSpPr/>
          <p:nvPr/>
        </p:nvCxnSpPr>
        <p:spPr>
          <a:xfrm>
            <a:off x="5692580" y="3108392"/>
            <a:ext cx="0" cy="84392"/>
          </a:xfrm>
          <a:prstGeom prst="line">
            <a:avLst/>
          </a:prstGeom>
          <a:ln w="12700" cap="rnd">
            <a:solidFill>
              <a:srgbClr val="097789"/>
            </a:solidFill>
          </a:ln>
        </p:spPr>
        <p:style>
          <a:lnRef idx="1">
            <a:srgbClr val="BE2BBB"/>
          </a:lnRef>
          <a:fillRef idx="0">
            <a:schemeClr val="accent1"/>
          </a:fillRef>
          <a:effectRef idx="0">
            <a:srgbClr val="000000"/>
          </a:effectRef>
          <a:fontRef idx="minor">
            <a:schemeClr val="lt1"/>
          </a:fontRef>
        </p:style>
      </p:cxnSp>
      <p:cxnSp>
        <p:nvCxnSpPr>
          <p:cNvPr id="399" name="Straight Connector 398">
            <a:extLst>
              <a:ext uri="{FF2B5EF4-FFF2-40B4-BE49-F238E27FC236}">
                <a16:creationId xmlns:a16="http://schemas.microsoft.com/office/drawing/2014/main" id="{9B850D9D-7BCA-355D-5EB8-1FBC6500FFB2}"/>
              </a:ext>
            </a:extLst>
          </p:cNvPr>
          <p:cNvCxnSpPr>
            <a:cxnSpLocks/>
          </p:cNvCxnSpPr>
          <p:nvPr/>
        </p:nvCxnSpPr>
        <p:spPr>
          <a:xfrm flipH="1">
            <a:off x="5652500" y="3148627"/>
            <a:ext cx="78301" cy="0"/>
          </a:xfrm>
          <a:prstGeom prst="line">
            <a:avLst/>
          </a:prstGeom>
          <a:ln w="12700" cap="rnd">
            <a:solidFill>
              <a:srgbClr val="097789"/>
            </a:solidFill>
          </a:ln>
        </p:spPr>
        <p:style>
          <a:lnRef idx="1">
            <a:srgbClr val="BE2BBB"/>
          </a:lnRef>
          <a:fillRef idx="0">
            <a:schemeClr val="accent1"/>
          </a:fillRef>
          <a:effectRef idx="0">
            <a:srgbClr val="000000"/>
          </a:effectRef>
          <a:fontRef idx="minor">
            <a:schemeClr val="lt1"/>
          </a:fontRef>
        </p:style>
      </p:cxnSp>
      <p:cxnSp>
        <p:nvCxnSpPr>
          <p:cNvPr id="396" name="Straight Connector 395">
            <a:extLst>
              <a:ext uri="{FF2B5EF4-FFF2-40B4-BE49-F238E27FC236}">
                <a16:creationId xmlns:a16="http://schemas.microsoft.com/office/drawing/2014/main" id="{F0BE55CE-1EE5-75E8-B1B1-C4D50BB615A3}"/>
              </a:ext>
            </a:extLst>
          </p:cNvPr>
          <p:cNvCxnSpPr/>
          <p:nvPr/>
        </p:nvCxnSpPr>
        <p:spPr>
          <a:xfrm>
            <a:off x="6462620" y="3108392"/>
            <a:ext cx="0" cy="84392"/>
          </a:xfrm>
          <a:prstGeom prst="line">
            <a:avLst/>
          </a:prstGeom>
          <a:ln w="12700" cap="rnd">
            <a:solidFill>
              <a:srgbClr val="097789"/>
            </a:solidFill>
          </a:ln>
        </p:spPr>
        <p:style>
          <a:lnRef idx="1">
            <a:srgbClr val="BE2BBB"/>
          </a:lnRef>
          <a:fillRef idx="0">
            <a:schemeClr val="accent1"/>
          </a:fillRef>
          <a:effectRef idx="0">
            <a:srgbClr val="000000"/>
          </a:effectRef>
          <a:fontRef idx="minor">
            <a:schemeClr val="lt1"/>
          </a:fontRef>
        </p:style>
      </p:cxnSp>
      <p:cxnSp>
        <p:nvCxnSpPr>
          <p:cNvPr id="397" name="Straight Connector 396">
            <a:extLst>
              <a:ext uri="{FF2B5EF4-FFF2-40B4-BE49-F238E27FC236}">
                <a16:creationId xmlns:a16="http://schemas.microsoft.com/office/drawing/2014/main" id="{4D62C786-909A-EC80-2E08-2FFDA3A2D7A2}"/>
              </a:ext>
            </a:extLst>
          </p:cNvPr>
          <p:cNvCxnSpPr>
            <a:cxnSpLocks/>
          </p:cNvCxnSpPr>
          <p:nvPr/>
        </p:nvCxnSpPr>
        <p:spPr>
          <a:xfrm flipH="1">
            <a:off x="6422540" y="3148627"/>
            <a:ext cx="78301" cy="0"/>
          </a:xfrm>
          <a:prstGeom prst="line">
            <a:avLst/>
          </a:prstGeom>
          <a:ln w="12700" cap="rnd">
            <a:solidFill>
              <a:srgbClr val="097789"/>
            </a:solidFill>
          </a:ln>
        </p:spPr>
        <p:style>
          <a:lnRef idx="1">
            <a:srgbClr val="BE2BBB"/>
          </a:lnRef>
          <a:fillRef idx="0">
            <a:schemeClr val="accent1"/>
          </a:fillRef>
          <a:effectRef idx="0">
            <a:srgbClr val="000000"/>
          </a:effectRef>
          <a:fontRef idx="minor">
            <a:schemeClr val="lt1"/>
          </a:fontRef>
        </p:style>
      </p:cxnSp>
      <p:cxnSp>
        <p:nvCxnSpPr>
          <p:cNvPr id="394" name="Straight Connector 393">
            <a:extLst>
              <a:ext uri="{FF2B5EF4-FFF2-40B4-BE49-F238E27FC236}">
                <a16:creationId xmlns:a16="http://schemas.microsoft.com/office/drawing/2014/main" id="{46BB6877-8B62-0CEA-1198-5E60AE6C97E4}"/>
              </a:ext>
            </a:extLst>
          </p:cNvPr>
          <p:cNvCxnSpPr/>
          <p:nvPr/>
        </p:nvCxnSpPr>
        <p:spPr>
          <a:xfrm>
            <a:off x="6510323" y="3108392"/>
            <a:ext cx="0" cy="84392"/>
          </a:xfrm>
          <a:prstGeom prst="line">
            <a:avLst/>
          </a:prstGeom>
          <a:ln w="12700" cap="rnd">
            <a:solidFill>
              <a:srgbClr val="097789"/>
            </a:solidFill>
          </a:ln>
        </p:spPr>
        <p:style>
          <a:lnRef idx="1">
            <a:srgbClr val="BE2BBB"/>
          </a:lnRef>
          <a:fillRef idx="0">
            <a:schemeClr val="accent1"/>
          </a:fillRef>
          <a:effectRef idx="0">
            <a:srgbClr val="000000"/>
          </a:effectRef>
          <a:fontRef idx="minor">
            <a:schemeClr val="lt1"/>
          </a:fontRef>
        </p:style>
      </p:cxnSp>
      <p:cxnSp>
        <p:nvCxnSpPr>
          <p:cNvPr id="395" name="Straight Connector 394">
            <a:extLst>
              <a:ext uri="{FF2B5EF4-FFF2-40B4-BE49-F238E27FC236}">
                <a16:creationId xmlns:a16="http://schemas.microsoft.com/office/drawing/2014/main" id="{D9D8F493-ECE7-2DA7-38FF-7F936E017BFE}"/>
              </a:ext>
            </a:extLst>
          </p:cNvPr>
          <p:cNvCxnSpPr>
            <a:cxnSpLocks/>
          </p:cNvCxnSpPr>
          <p:nvPr/>
        </p:nvCxnSpPr>
        <p:spPr>
          <a:xfrm flipH="1">
            <a:off x="6470243" y="3148627"/>
            <a:ext cx="78301" cy="0"/>
          </a:xfrm>
          <a:prstGeom prst="line">
            <a:avLst/>
          </a:prstGeom>
          <a:ln w="12700" cap="rnd">
            <a:solidFill>
              <a:srgbClr val="097789"/>
            </a:solidFill>
          </a:ln>
        </p:spPr>
        <p:style>
          <a:lnRef idx="1">
            <a:srgbClr val="BE2BBB"/>
          </a:lnRef>
          <a:fillRef idx="0">
            <a:schemeClr val="accent1"/>
          </a:fillRef>
          <a:effectRef idx="0">
            <a:srgbClr val="000000"/>
          </a:effectRef>
          <a:fontRef idx="minor">
            <a:schemeClr val="lt1"/>
          </a:fontRef>
        </p:style>
      </p:cxnSp>
      <p:cxnSp>
        <p:nvCxnSpPr>
          <p:cNvPr id="392" name="Straight Connector 391">
            <a:extLst>
              <a:ext uri="{FF2B5EF4-FFF2-40B4-BE49-F238E27FC236}">
                <a16:creationId xmlns:a16="http://schemas.microsoft.com/office/drawing/2014/main" id="{00475841-E3D9-44F9-271B-106C44FFFF66}"/>
              </a:ext>
            </a:extLst>
          </p:cNvPr>
          <p:cNvCxnSpPr/>
          <p:nvPr/>
        </p:nvCxnSpPr>
        <p:spPr>
          <a:xfrm>
            <a:off x="6554128" y="3108392"/>
            <a:ext cx="0" cy="84392"/>
          </a:xfrm>
          <a:prstGeom prst="line">
            <a:avLst/>
          </a:prstGeom>
          <a:ln w="12700" cap="rnd">
            <a:solidFill>
              <a:srgbClr val="097789"/>
            </a:solidFill>
          </a:ln>
        </p:spPr>
        <p:style>
          <a:lnRef idx="1">
            <a:srgbClr val="BE2BBB"/>
          </a:lnRef>
          <a:fillRef idx="0">
            <a:schemeClr val="accent1"/>
          </a:fillRef>
          <a:effectRef idx="0">
            <a:srgbClr val="000000"/>
          </a:effectRef>
          <a:fontRef idx="minor">
            <a:schemeClr val="lt1"/>
          </a:fontRef>
        </p:style>
      </p:cxnSp>
      <p:cxnSp>
        <p:nvCxnSpPr>
          <p:cNvPr id="393" name="Straight Connector 392">
            <a:extLst>
              <a:ext uri="{FF2B5EF4-FFF2-40B4-BE49-F238E27FC236}">
                <a16:creationId xmlns:a16="http://schemas.microsoft.com/office/drawing/2014/main" id="{40253A82-7EAA-99AB-ED2A-7E8D974A7CAA}"/>
              </a:ext>
            </a:extLst>
          </p:cNvPr>
          <p:cNvCxnSpPr>
            <a:cxnSpLocks/>
          </p:cNvCxnSpPr>
          <p:nvPr/>
        </p:nvCxnSpPr>
        <p:spPr>
          <a:xfrm flipH="1">
            <a:off x="6514048" y="3148627"/>
            <a:ext cx="78301" cy="0"/>
          </a:xfrm>
          <a:prstGeom prst="line">
            <a:avLst/>
          </a:prstGeom>
          <a:ln w="12700" cap="rnd">
            <a:solidFill>
              <a:srgbClr val="097789"/>
            </a:solidFill>
          </a:ln>
        </p:spPr>
        <p:style>
          <a:lnRef idx="1">
            <a:srgbClr val="BE2BBB"/>
          </a:lnRef>
          <a:fillRef idx="0">
            <a:schemeClr val="accent1"/>
          </a:fillRef>
          <a:effectRef idx="0">
            <a:srgbClr val="000000"/>
          </a:effectRef>
          <a:fontRef idx="minor">
            <a:schemeClr val="lt1"/>
          </a:fontRef>
        </p:style>
      </p:cxnSp>
      <p:cxnSp>
        <p:nvCxnSpPr>
          <p:cNvPr id="390" name="Straight Connector 389">
            <a:extLst>
              <a:ext uri="{FF2B5EF4-FFF2-40B4-BE49-F238E27FC236}">
                <a16:creationId xmlns:a16="http://schemas.microsoft.com/office/drawing/2014/main" id="{661BC9D4-49F2-DF8F-1999-FFE4EEA3535D}"/>
              </a:ext>
            </a:extLst>
          </p:cNvPr>
          <p:cNvCxnSpPr/>
          <p:nvPr/>
        </p:nvCxnSpPr>
        <p:spPr>
          <a:xfrm>
            <a:off x="6561826" y="3108392"/>
            <a:ext cx="0" cy="84392"/>
          </a:xfrm>
          <a:prstGeom prst="line">
            <a:avLst/>
          </a:prstGeom>
          <a:ln w="12700" cap="rnd">
            <a:solidFill>
              <a:srgbClr val="097789"/>
            </a:solidFill>
          </a:ln>
        </p:spPr>
        <p:style>
          <a:lnRef idx="1">
            <a:srgbClr val="BE2BBB"/>
          </a:lnRef>
          <a:fillRef idx="0">
            <a:schemeClr val="accent1"/>
          </a:fillRef>
          <a:effectRef idx="0">
            <a:srgbClr val="000000"/>
          </a:effectRef>
          <a:fontRef idx="minor">
            <a:schemeClr val="lt1"/>
          </a:fontRef>
        </p:style>
      </p:cxnSp>
      <p:cxnSp>
        <p:nvCxnSpPr>
          <p:cNvPr id="391" name="Straight Connector 390">
            <a:extLst>
              <a:ext uri="{FF2B5EF4-FFF2-40B4-BE49-F238E27FC236}">
                <a16:creationId xmlns:a16="http://schemas.microsoft.com/office/drawing/2014/main" id="{E5B8CFDE-8EF3-6F00-61E1-7B21E09E0280}"/>
              </a:ext>
            </a:extLst>
          </p:cNvPr>
          <p:cNvCxnSpPr>
            <a:cxnSpLocks/>
          </p:cNvCxnSpPr>
          <p:nvPr/>
        </p:nvCxnSpPr>
        <p:spPr>
          <a:xfrm flipH="1">
            <a:off x="6521746" y="3148627"/>
            <a:ext cx="78301" cy="0"/>
          </a:xfrm>
          <a:prstGeom prst="line">
            <a:avLst/>
          </a:prstGeom>
          <a:ln w="12700" cap="rnd">
            <a:solidFill>
              <a:srgbClr val="097789"/>
            </a:solidFill>
          </a:ln>
        </p:spPr>
        <p:style>
          <a:lnRef idx="1">
            <a:srgbClr val="BE2BBB"/>
          </a:lnRef>
          <a:fillRef idx="0">
            <a:schemeClr val="accent1"/>
          </a:fillRef>
          <a:effectRef idx="0">
            <a:srgbClr val="000000"/>
          </a:effectRef>
          <a:fontRef idx="minor">
            <a:schemeClr val="lt1"/>
          </a:fontRef>
        </p:style>
      </p:cxnSp>
      <p:cxnSp>
        <p:nvCxnSpPr>
          <p:cNvPr id="388" name="Straight Connector 387">
            <a:extLst>
              <a:ext uri="{FF2B5EF4-FFF2-40B4-BE49-F238E27FC236}">
                <a16:creationId xmlns:a16="http://schemas.microsoft.com/office/drawing/2014/main" id="{B6879CEE-4C79-A0FA-E09B-D7D07DD8FC78}"/>
              </a:ext>
            </a:extLst>
          </p:cNvPr>
          <p:cNvCxnSpPr/>
          <p:nvPr/>
        </p:nvCxnSpPr>
        <p:spPr>
          <a:xfrm>
            <a:off x="6575947" y="3108392"/>
            <a:ext cx="0" cy="84392"/>
          </a:xfrm>
          <a:prstGeom prst="line">
            <a:avLst/>
          </a:prstGeom>
          <a:ln w="12700" cap="rnd">
            <a:solidFill>
              <a:srgbClr val="097789"/>
            </a:solidFill>
          </a:ln>
        </p:spPr>
        <p:style>
          <a:lnRef idx="1">
            <a:srgbClr val="BE2BBB"/>
          </a:lnRef>
          <a:fillRef idx="0">
            <a:schemeClr val="accent1"/>
          </a:fillRef>
          <a:effectRef idx="0">
            <a:srgbClr val="000000"/>
          </a:effectRef>
          <a:fontRef idx="minor">
            <a:schemeClr val="lt1"/>
          </a:fontRef>
        </p:style>
      </p:cxnSp>
      <p:cxnSp>
        <p:nvCxnSpPr>
          <p:cNvPr id="389" name="Straight Connector 388">
            <a:extLst>
              <a:ext uri="{FF2B5EF4-FFF2-40B4-BE49-F238E27FC236}">
                <a16:creationId xmlns:a16="http://schemas.microsoft.com/office/drawing/2014/main" id="{D3A2C90B-4F11-DC92-3593-A7FE68C53368}"/>
              </a:ext>
            </a:extLst>
          </p:cNvPr>
          <p:cNvCxnSpPr>
            <a:cxnSpLocks/>
          </p:cNvCxnSpPr>
          <p:nvPr/>
        </p:nvCxnSpPr>
        <p:spPr>
          <a:xfrm flipH="1">
            <a:off x="6535867" y="3148627"/>
            <a:ext cx="78301" cy="0"/>
          </a:xfrm>
          <a:prstGeom prst="line">
            <a:avLst/>
          </a:prstGeom>
          <a:ln w="12700" cap="rnd">
            <a:solidFill>
              <a:srgbClr val="097789"/>
            </a:solidFill>
          </a:ln>
        </p:spPr>
        <p:style>
          <a:lnRef idx="1">
            <a:srgbClr val="BE2BBB"/>
          </a:lnRef>
          <a:fillRef idx="0">
            <a:schemeClr val="accent1"/>
          </a:fillRef>
          <a:effectRef idx="0">
            <a:srgbClr val="000000"/>
          </a:effectRef>
          <a:fontRef idx="minor">
            <a:schemeClr val="lt1"/>
          </a:fontRef>
        </p:style>
      </p:cxnSp>
      <p:cxnSp>
        <p:nvCxnSpPr>
          <p:cNvPr id="386" name="Straight Connector 385">
            <a:extLst>
              <a:ext uri="{FF2B5EF4-FFF2-40B4-BE49-F238E27FC236}">
                <a16:creationId xmlns:a16="http://schemas.microsoft.com/office/drawing/2014/main" id="{F2925B8A-559B-5D42-B961-A6E7C577BD81}"/>
              </a:ext>
            </a:extLst>
          </p:cNvPr>
          <p:cNvCxnSpPr/>
          <p:nvPr/>
        </p:nvCxnSpPr>
        <p:spPr>
          <a:xfrm>
            <a:off x="6640404" y="3153724"/>
            <a:ext cx="0" cy="84392"/>
          </a:xfrm>
          <a:prstGeom prst="line">
            <a:avLst/>
          </a:prstGeom>
          <a:ln w="12700" cap="rnd">
            <a:solidFill>
              <a:srgbClr val="097789"/>
            </a:solidFill>
          </a:ln>
        </p:spPr>
        <p:style>
          <a:lnRef idx="1">
            <a:srgbClr val="BE2BBB"/>
          </a:lnRef>
          <a:fillRef idx="0">
            <a:schemeClr val="accent1"/>
          </a:fillRef>
          <a:effectRef idx="0">
            <a:srgbClr val="000000"/>
          </a:effectRef>
          <a:fontRef idx="minor">
            <a:schemeClr val="lt1"/>
          </a:fontRef>
        </p:style>
      </p:cxnSp>
      <p:cxnSp>
        <p:nvCxnSpPr>
          <p:cNvPr id="387" name="Straight Connector 386">
            <a:extLst>
              <a:ext uri="{FF2B5EF4-FFF2-40B4-BE49-F238E27FC236}">
                <a16:creationId xmlns:a16="http://schemas.microsoft.com/office/drawing/2014/main" id="{5D6B404F-8E0B-749E-A230-C12F0577C709}"/>
              </a:ext>
            </a:extLst>
          </p:cNvPr>
          <p:cNvCxnSpPr>
            <a:cxnSpLocks/>
          </p:cNvCxnSpPr>
          <p:nvPr/>
        </p:nvCxnSpPr>
        <p:spPr>
          <a:xfrm flipH="1">
            <a:off x="6600324" y="3193959"/>
            <a:ext cx="78301" cy="0"/>
          </a:xfrm>
          <a:prstGeom prst="line">
            <a:avLst/>
          </a:prstGeom>
          <a:ln w="12700" cap="rnd">
            <a:solidFill>
              <a:srgbClr val="097789"/>
            </a:solidFill>
          </a:ln>
        </p:spPr>
        <p:style>
          <a:lnRef idx="1">
            <a:srgbClr val="BE2BBB"/>
          </a:lnRef>
          <a:fillRef idx="0">
            <a:schemeClr val="accent1"/>
          </a:fillRef>
          <a:effectRef idx="0">
            <a:srgbClr val="000000"/>
          </a:effectRef>
          <a:fontRef idx="minor">
            <a:schemeClr val="lt1"/>
          </a:fontRef>
        </p:style>
      </p:cxnSp>
      <p:cxnSp>
        <p:nvCxnSpPr>
          <p:cNvPr id="384" name="Straight Connector 383">
            <a:extLst>
              <a:ext uri="{FF2B5EF4-FFF2-40B4-BE49-F238E27FC236}">
                <a16:creationId xmlns:a16="http://schemas.microsoft.com/office/drawing/2014/main" id="{E3DE326B-0D93-E5EA-2B05-C1FFF01C498E}"/>
              </a:ext>
            </a:extLst>
          </p:cNvPr>
          <p:cNvCxnSpPr/>
          <p:nvPr/>
        </p:nvCxnSpPr>
        <p:spPr>
          <a:xfrm>
            <a:off x="6893382" y="3255761"/>
            <a:ext cx="0" cy="84392"/>
          </a:xfrm>
          <a:prstGeom prst="line">
            <a:avLst/>
          </a:prstGeom>
          <a:ln w="12700" cap="rnd">
            <a:solidFill>
              <a:srgbClr val="097789"/>
            </a:solidFill>
          </a:ln>
        </p:spPr>
        <p:style>
          <a:lnRef idx="1">
            <a:srgbClr val="BE2BBB"/>
          </a:lnRef>
          <a:fillRef idx="0">
            <a:schemeClr val="accent1"/>
          </a:fillRef>
          <a:effectRef idx="0">
            <a:srgbClr val="000000"/>
          </a:effectRef>
          <a:fontRef idx="minor">
            <a:schemeClr val="lt1"/>
          </a:fontRef>
        </p:style>
      </p:cxnSp>
      <p:cxnSp>
        <p:nvCxnSpPr>
          <p:cNvPr id="385" name="Straight Connector 384">
            <a:extLst>
              <a:ext uri="{FF2B5EF4-FFF2-40B4-BE49-F238E27FC236}">
                <a16:creationId xmlns:a16="http://schemas.microsoft.com/office/drawing/2014/main" id="{383F1791-5320-9B21-6433-DE0605624427}"/>
              </a:ext>
            </a:extLst>
          </p:cNvPr>
          <p:cNvCxnSpPr>
            <a:cxnSpLocks/>
          </p:cNvCxnSpPr>
          <p:nvPr/>
        </p:nvCxnSpPr>
        <p:spPr>
          <a:xfrm flipH="1">
            <a:off x="6853302" y="3295996"/>
            <a:ext cx="78301" cy="0"/>
          </a:xfrm>
          <a:prstGeom prst="line">
            <a:avLst/>
          </a:prstGeom>
          <a:ln w="12700" cap="rnd">
            <a:solidFill>
              <a:srgbClr val="097789"/>
            </a:solidFill>
          </a:ln>
        </p:spPr>
        <p:style>
          <a:lnRef idx="1">
            <a:srgbClr val="BE2BBB"/>
          </a:lnRef>
          <a:fillRef idx="0">
            <a:schemeClr val="accent1"/>
          </a:fillRef>
          <a:effectRef idx="0">
            <a:srgbClr val="000000"/>
          </a:effectRef>
          <a:fontRef idx="minor">
            <a:schemeClr val="lt1"/>
          </a:fontRef>
        </p:style>
      </p:cxnSp>
      <p:cxnSp>
        <p:nvCxnSpPr>
          <p:cNvPr id="382" name="Straight Connector 381">
            <a:extLst>
              <a:ext uri="{FF2B5EF4-FFF2-40B4-BE49-F238E27FC236}">
                <a16:creationId xmlns:a16="http://schemas.microsoft.com/office/drawing/2014/main" id="{93A741C4-8C6F-9242-14C7-615247F71379}"/>
              </a:ext>
            </a:extLst>
          </p:cNvPr>
          <p:cNvCxnSpPr/>
          <p:nvPr/>
        </p:nvCxnSpPr>
        <p:spPr>
          <a:xfrm>
            <a:off x="7192997" y="3256261"/>
            <a:ext cx="0" cy="84392"/>
          </a:xfrm>
          <a:prstGeom prst="line">
            <a:avLst/>
          </a:prstGeom>
          <a:ln w="12700" cap="rnd">
            <a:solidFill>
              <a:srgbClr val="097789"/>
            </a:solidFill>
          </a:ln>
        </p:spPr>
        <p:style>
          <a:lnRef idx="1">
            <a:srgbClr val="BE2BBB"/>
          </a:lnRef>
          <a:fillRef idx="0">
            <a:schemeClr val="accent1"/>
          </a:fillRef>
          <a:effectRef idx="0">
            <a:srgbClr val="000000"/>
          </a:effectRef>
          <a:fontRef idx="minor">
            <a:schemeClr val="lt1"/>
          </a:fontRef>
        </p:style>
      </p:cxnSp>
      <p:cxnSp>
        <p:nvCxnSpPr>
          <p:cNvPr id="383" name="Straight Connector 382">
            <a:extLst>
              <a:ext uri="{FF2B5EF4-FFF2-40B4-BE49-F238E27FC236}">
                <a16:creationId xmlns:a16="http://schemas.microsoft.com/office/drawing/2014/main" id="{F63F7F39-3A16-9F4A-8EED-BBC385117F94}"/>
              </a:ext>
            </a:extLst>
          </p:cNvPr>
          <p:cNvCxnSpPr>
            <a:cxnSpLocks/>
          </p:cNvCxnSpPr>
          <p:nvPr/>
        </p:nvCxnSpPr>
        <p:spPr>
          <a:xfrm flipH="1">
            <a:off x="7152917" y="3296496"/>
            <a:ext cx="78301" cy="0"/>
          </a:xfrm>
          <a:prstGeom prst="line">
            <a:avLst/>
          </a:prstGeom>
          <a:ln w="12700" cap="rnd">
            <a:solidFill>
              <a:srgbClr val="097789"/>
            </a:solidFill>
          </a:ln>
        </p:spPr>
        <p:style>
          <a:lnRef idx="1">
            <a:srgbClr val="BE2BBB"/>
          </a:lnRef>
          <a:fillRef idx="0">
            <a:schemeClr val="accent1"/>
          </a:fillRef>
          <a:effectRef idx="0">
            <a:srgbClr val="000000"/>
          </a:effectRef>
          <a:fontRef idx="minor">
            <a:schemeClr val="lt1"/>
          </a:fontRef>
        </p:style>
      </p:cxnSp>
      <p:cxnSp>
        <p:nvCxnSpPr>
          <p:cNvPr id="380" name="Straight Connector 379">
            <a:extLst>
              <a:ext uri="{FF2B5EF4-FFF2-40B4-BE49-F238E27FC236}">
                <a16:creationId xmlns:a16="http://schemas.microsoft.com/office/drawing/2014/main" id="{3761F84B-2C29-F7C6-1DE9-5F29EF93964E}"/>
              </a:ext>
            </a:extLst>
          </p:cNvPr>
          <p:cNvCxnSpPr/>
          <p:nvPr/>
        </p:nvCxnSpPr>
        <p:spPr>
          <a:xfrm>
            <a:off x="7580908" y="3256261"/>
            <a:ext cx="0" cy="84392"/>
          </a:xfrm>
          <a:prstGeom prst="line">
            <a:avLst/>
          </a:prstGeom>
          <a:ln w="12700" cap="rnd">
            <a:solidFill>
              <a:srgbClr val="097789"/>
            </a:solidFill>
          </a:ln>
        </p:spPr>
        <p:style>
          <a:lnRef idx="1">
            <a:srgbClr val="BE2BBB"/>
          </a:lnRef>
          <a:fillRef idx="0">
            <a:schemeClr val="accent1"/>
          </a:fillRef>
          <a:effectRef idx="0">
            <a:srgbClr val="000000"/>
          </a:effectRef>
          <a:fontRef idx="minor">
            <a:schemeClr val="lt1"/>
          </a:fontRef>
        </p:style>
      </p:cxnSp>
      <p:cxnSp>
        <p:nvCxnSpPr>
          <p:cNvPr id="381" name="Straight Connector 380">
            <a:extLst>
              <a:ext uri="{FF2B5EF4-FFF2-40B4-BE49-F238E27FC236}">
                <a16:creationId xmlns:a16="http://schemas.microsoft.com/office/drawing/2014/main" id="{00429C49-FA33-4A39-803D-3983FAC3F006}"/>
              </a:ext>
            </a:extLst>
          </p:cNvPr>
          <p:cNvCxnSpPr>
            <a:cxnSpLocks/>
          </p:cNvCxnSpPr>
          <p:nvPr/>
        </p:nvCxnSpPr>
        <p:spPr>
          <a:xfrm flipH="1">
            <a:off x="7540828" y="3296496"/>
            <a:ext cx="78301" cy="0"/>
          </a:xfrm>
          <a:prstGeom prst="line">
            <a:avLst/>
          </a:prstGeom>
          <a:ln w="12700" cap="rnd">
            <a:solidFill>
              <a:srgbClr val="097789"/>
            </a:solidFill>
          </a:ln>
        </p:spPr>
        <p:style>
          <a:lnRef idx="1">
            <a:srgbClr val="BE2BBB"/>
          </a:lnRef>
          <a:fillRef idx="0">
            <a:schemeClr val="accent1"/>
          </a:fillRef>
          <a:effectRef idx="0">
            <a:srgbClr val="000000"/>
          </a:effectRef>
          <a:fontRef idx="minor">
            <a:schemeClr val="lt1"/>
          </a:fontRef>
        </p:style>
      </p:cxnSp>
      <p:cxnSp>
        <p:nvCxnSpPr>
          <p:cNvPr id="378" name="Straight Connector 377">
            <a:extLst>
              <a:ext uri="{FF2B5EF4-FFF2-40B4-BE49-F238E27FC236}">
                <a16:creationId xmlns:a16="http://schemas.microsoft.com/office/drawing/2014/main" id="{05807DD6-A91B-9B17-6619-D01B05BCC397}"/>
              </a:ext>
            </a:extLst>
          </p:cNvPr>
          <p:cNvCxnSpPr/>
          <p:nvPr/>
        </p:nvCxnSpPr>
        <p:spPr>
          <a:xfrm>
            <a:off x="7680030" y="3256261"/>
            <a:ext cx="0" cy="84392"/>
          </a:xfrm>
          <a:prstGeom prst="line">
            <a:avLst/>
          </a:prstGeom>
          <a:ln w="12700" cap="rnd">
            <a:solidFill>
              <a:srgbClr val="097789"/>
            </a:solidFill>
          </a:ln>
        </p:spPr>
        <p:style>
          <a:lnRef idx="1">
            <a:srgbClr val="BE2BBB"/>
          </a:lnRef>
          <a:fillRef idx="0">
            <a:schemeClr val="accent1"/>
          </a:fillRef>
          <a:effectRef idx="0">
            <a:srgbClr val="000000"/>
          </a:effectRef>
          <a:fontRef idx="minor">
            <a:schemeClr val="lt1"/>
          </a:fontRef>
        </p:style>
      </p:cxnSp>
      <p:cxnSp>
        <p:nvCxnSpPr>
          <p:cNvPr id="379" name="Straight Connector 378">
            <a:extLst>
              <a:ext uri="{FF2B5EF4-FFF2-40B4-BE49-F238E27FC236}">
                <a16:creationId xmlns:a16="http://schemas.microsoft.com/office/drawing/2014/main" id="{2E5B5D3F-0CA2-DC80-5C63-C09BD904D64C}"/>
              </a:ext>
            </a:extLst>
          </p:cNvPr>
          <p:cNvCxnSpPr>
            <a:cxnSpLocks/>
          </p:cNvCxnSpPr>
          <p:nvPr/>
        </p:nvCxnSpPr>
        <p:spPr>
          <a:xfrm flipH="1">
            <a:off x="7639950" y="3296496"/>
            <a:ext cx="78301" cy="0"/>
          </a:xfrm>
          <a:prstGeom prst="line">
            <a:avLst/>
          </a:prstGeom>
          <a:ln w="12700" cap="rnd">
            <a:solidFill>
              <a:srgbClr val="097789"/>
            </a:solidFill>
          </a:ln>
        </p:spPr>
        <p:style>
          <a:lnRef idx="1">
            <a:srgbClr val="BE2BBB"/>
          </a:lnRef>
          <a:fillRef idx="0">
            <a:schemeClr val="accent1"/>
          </a:fillRef>
          <a:effectRef idx="0">
            <a:srgbClr val="000000"/>
          </a:effectRef>
          <a:fontRef idx="minor">
            <a:schemeClr val="lt1"/>
          </a:fontRef>
        </p:style>
      </p:cxnSp>
      <p:cxnSp>
        <p:nvCxnSpPr>
          <p:cNvPr id="376" name="Straight Connector 375">
            <a:extLst>
              <a:ext uri="{FF2B5EF4-FFF2-40B4-BE49-F238E27FC236}">
                <a16:creationId xmlns:a16="http://schemas.microsoft.com/office/drawing/2014/main" id="{59C833C6-807B-97CA-39AC-6AACF704FC7E}"/>
              </a:ext>
            </a:extLst>
          </p:cNvPr>
          <p:cNvCxnSpPr/>
          <p:nvPr/>
        </p:nvCxnSpPr>
        <p:spPr>
          <a:xfrm>
            <a:off x="7733164" y="3256261"/>
            <a:ext cx="0" cy="84392"/>
          </a:xfrm>
          <a:prstGeom prst="line">
            <a:avLst/>
          </a:prstGeom>
          <a:ln w="12700" cap="rnd">
            <a:solidFill>
              <a:srgbClr val="097789"/>
            </a:solidFill>
          </a:ln>
        </p:spPr>
        <p:style>
          <a:lnRef idx="1">
            <a:srgbClr val="BE2BBB"/>
          </a:lnRef>
          <a:fillRef idx="0">
            <a:schemeClr val="accent1"/>
          </a:fillRef>
          <a:effectRef idx="0">
            <a:srgbClr val="000000"/>
          </a:effectRef>
          <a:fontRef idx="minor">
            <a:schemeClr val="lt1"/>
          </a:fontRef>
        </p:style>
      </p:cxnSp>
      <p:cxnSp>
        <p:nvCxnSpPr>
          <p:cNvPr id="377" name="Straight Connector 376">
            <a:extLst>
              <a:ext uri="{FF2B5EF4-FFF2-40B4-BE49-F238E27FC236}">
                <a16:creationId xmlns:a16="http://schemas.microsoft.com/office/drawing/2014/main" id="{8B74DB0A-6186-F3C1-6BEE-49D3FF2C69C7}"/>
              </a:ext>
            </a:extLst>
          </p:cNvPr>
          <p:cNvCxnSpPr>
            <a:cxnSpLocks/>
          </p:cNvCxnSpPr>
          <p:nvPr/>
        </p:nvCxnSpPr>
        <p:spPr>
          <a:xfrm flipH="1">
            <a:off x="7693084" y="3296496"/>
            <a:ext cx="78301" cy="0"/>
          </a:xfrm>
          <a:prstGeom prst="line">
            <a:avLst/>
          </a:prstGeom>
          <a:ln w="12700" cap="rnd">
            <a:solidFill>
              <a:srgbClr val="097789"/>
            </a:solidFill>
          </a:ln>
        </p:spPr>
        <p:style>
          <a:lnRef idx="1">
            <a:srgbClr val="BE2BBB"/>
          </a:lnRef>
          <a:fillRef idx="0">
            <a:schemeClr val="accent1"/>
          </a:fillRef>
          <a:effectRef idx="0">
            <a:srgbClr val="000000"/>
          </a:effectRef>
          <a:fontRef idx="minor">
            <a:schemeClr val="lt1"/>
          </a:fontRef>
        </p:style>
      </p:cxnSp>
      <p:cxnSp>
        <p:nvCxnSpPr>
          <p:cNvPr id="374" name="Straight Connector 373">
            <a:extLst>
              <a:ext uri="{FF2B5EF4-FFF2-40B4-BE49-F238E27FC236}">
                <a16:creationId xmlns:a16="http://schemas.microsoft.com/office/drawing/2014/main" id="{850852BF-D8C0-8C07-0FB1-0D6AF4C5FDF6}"/>
              </a:ext>
            </a:extLst>
          </p:cNvPr>
          <p:cNvCxnSpPr/>
          <p:nvPr/>
        </p:nvCxnSpPr>
        <p:spPr>
          <a:xfrm>
            <a:off x="7770363" y="3256261"/>
            <a:ext cx="0" cy="84392"/>
          </a:xfrm>
          <a:prstGeom prst="line">
            <a:avLst/>
          </a:prstGeom>
          <a:ln w="12700" cap="rnd">
            <a:solidFill>
              <a:srgbClr val="097789"/>
            </a:solidFill>
          </a:ln>
        </p:spPr>
        <p:style>
          <a:lnRef idx="1">
            <a:srgbClr val="BE2BBB"/>
          </a:lnRef>
          <a:fillRef idx="0">
            <a:schemeClr val="accent1"/>
          </a:fillRef>
          <a:effectRef idx="0">
            <a:srgbClr val="000000"/>
          </a:effectRef>
          <a:fontRef idx="minor">
            <a:schemeClr val="lt1"/>
          </a:fontRef>
        </p:style>
      </p:cxnSp>
      <p:cxnSp>
        <p:nvCxnSpPr>
          <p:cNvPr id="375" name="Straight Connector 374">
            <a:extLst>
              <a:ext uri="{FF2B5EF4-FFF2-40B4-BE49-F238E27FC236}">
                <a16:creationId xmlns:a16="http://schemas.microsoft.com/office/drawing/2014/main" id="{DD5A16F8-FFA9-62B5-5480-00297576AE74}"/>
              </a:ext>
            </a:extLst>
          </p:cNvPr>
          <p:cNvCxnSpPr>
            <a:cxnSpLocks/>
          </p:cNvCxnSpPr>
          <p:nvPr/>
        </p:nvCxnSpPr>
        <p:spPr>
          <a:xfrm flipH="1">
            <a:off x="7730283" y="3296496"/>
            <a:ext cx="78301" cy="0"/>
          </a:xfrm>
          <a:prstGeom prst="line">
            <a:avLst/>
          </a:prstGeom>
          <a:ln w="12700" cap="rnd">
            <a:solidFill>
              <a:srgbClr val="097789"/>
            </a:solidFill>
          </a:ln>
        </p:spPr>
        <p:style>
          <a:lnRef idx="1">
            <a:srgbClr val="BE2BBB"/>
          </a:lnRef>
          <a:fillRef idx="0">
            <a:schemeClr val="accent1"/>
          </a:fillRef>
          <a:effectRef idx="0">
            <a:srgbClr val="000000"/>
          </a:effectRef>
          <a:fontRef idx="minor">
            <a:schemeClr val="lt1"/>
          </a:fontRef>
        </p:style>
      </p:cxnSp>
      <p:cxnSp>
        <p:nvCxnSpPr>
          <p:cNvPr id="372" name="Straight Connector 371">
            <a:extLst>
              <a:ext uri="{FF2B5EF4-FFF2-40B4-BE49-F238E27FC236}">
                <a16:creationId xmlns:a16="http://schemas.microsoft.com/office/drawing/2014/main" id="{FB877B10-C467-B8FF-8E61-21BC5840BE7F}"/>
              </a:ext>
            </a:extLst>
          </p:cNvPr>
          <p:cNvCxnSpPr/>
          <p:nvPr/>
        </p:nvCxnSpPr>
        <p:spPr>
          <a:xfrm>
            <a:off x="7814858" y="3344608"/>
            <a:ext cx="0" cy="84392"/>
          </a:xfrm>
          <a:prstGeom prst="line">
            <a:avLst/>
          </a:prstGeom>
          <a:ln w="12700" cap="rnd">
            <a:solidFill>
              <a:srgbClr val="097789"/>
            </a:solidFill>
          </a:ln>
        </p:spPr>
        <p:style>
          <a:lnRef idx="1">
            <a:srgbClr val="BE2BBB"/>
          </a:lnRef>
          <a:fillRef idx="0">
            <a:schemeClr val="accent1"/>
          </a:fillRef>
          <a:effectRef idx="0">
            <a:srgbClr val="000000"/>
          </a:effectRef>
          <a:fontRef idx="minor">
            <a:schemeClr val="lt1"/>
          </a:fontRef>
        </p:style>
      </p:cxnSp>
      <p:cxnSp>
        <p:nvCxnSpPr>
          <p:cNvPr id="373" name="Straight Connector 372">
            <a:extLst>
              <a:ext uri="{FF2B5EF4-FFF2-40B4-BE49-F238E27FC236}">
                <a16:creationId xmlns:a16="http://schemas.microsoft.com/office/drawing/2014/main" id="{D5C14B7A-AA6D-657E-F159-A3F06DB7E8CB}"/>
              </a:ext>
            </a:extLst>
          </p:cNvPr>
          <p:cNvCxnSpPr>
            <a:cxnSpLocks/>
          </p:cNvCxnSpPr>
          <p:nvPr/>
        </p:nvCxnSpPr>
        <p:spPr>
          <a:xfrm flipH="1">
            <a:off x="7774778" y="3384843"/>
            <a:ext cx="78301" cy="0"/>
          </a:xfrm>
          <a:prstGeom prst="line">
            <a:avLst/>
          </a:prstGeom>
          <a:ln w="12700" cap="rnd">
            <a:solidFill>
              <a:srgbClr val="097789"/>
            </a:solidFill>
          </a:ln>
        </p:spPr>
        <p:style>
          <a:lnRef idx="1">
            <a:srgbClr val="BE2BBB"/>
          </a:lnRef>
          <a:fillRef idx="0">
            <a:schemeClr val="accent1"/>
          </a:fillRef>
          <a:effectRef idx="0">
            <a:srgbClr val="000000"/>
          </a:effectRef>
          <a:fontRef idx="minor">
            <a:schemeClr val="lt1"/>
          </a:fontRef>
        </p:style>
      </p:cxnSp>
      <p:cxnSp>
        <p:nvCxnSpPr>
          <p:cNvPr id="370" name="Straight Connector 369">
            <a:extLst>
              <a:ext uri="{FF2B5EF4-FFF2-40B4-BE49-F238E27FC236}">
                <a16:creationId xmlns:a16="http://schemas.microsoft.com/office/drawing/2014/main" id="{04F25F08-535B-C97F-1705-7FBE5208BA2E}"/>
              </a:ext>
            </a:extLst>
          </p:cNvPr>
          <p:cNvCxnSpPr/>
          <p:nvPr/>
        </p:nvCxnSpPr>
        <p:spPr>
          <a:xfrm>
            <a:off x="7836376" y="3344608"/>
            <a:ext cx="0" cy="84392"/>
          </a:xfrm>
          <a:prstGeom prst="line">
            <a:avLst/>
          </a:prstGeom>
          <a:ln w="12700" cap="rnd">
            <a:solidFill>
              <a:srgbClr val="097789"/>
            </a:solidFill>
          </a:ln>
        </p:spPr>
        <p:style>
          <a:lnRef idx="1">
            <a:srgbClr val="BE2BBB"/>
          </a:lnRef>
          <a:fillRef idx="0">
            <a:schemeClr val="accent1"/>
          </a:fillRef>
          <a:effectRef idx="0">
            <a:srgbClr val="000000"/>
          </a:effectRef>
          <a:fontRef idx="minor">
            <a:schemeClr val="lt1"/>
          </a:fontRef>
        </p:style>
      </p:cxnSp>
      <p:cxnSp>
        <p:nvCxnSpPr>
          <p:cNvPr id="371" name="Straight Connector 370">
            <a:extLst>
              <a:ext uri="{FF2B5EF4-FFF2-40B4-BE49-F238E27FC236}">
                <a16:creationId xmlns:a16="http://schemas.microsoft.com/office/drawing/2014/main" id="{B947E648-E30E-D073-43D3-87F5984EAE16}"/>
              </a:ext>
            </a:extLst>
          </p:cNvPr>
          <p:cNvCxnSpPr>
            <a:cxnSpLocks/>
          </p:cNvCxnSpPr>
          <p:nvPr/>
        </p:nvCxnSpPr>
        <p:spPr>
          <a:xfrm flipH="1">
            <a:off x="7796296" y="3384843"/>
            <a:ext cx="78301" cy="0"/>
          </a:xfrm>
          <a:prstGeom prst="line">
            <a:avLst/>
          </a:prstGeom>
          <a:ln w="12700" cap="rnd">
            <a:solidFill>
              <a:srgbClr val="097789"/>
            </a:solidFill>
          </a:ln>
        </p:spPr>
        <p:style>
          <a:lnRef idx="1">
            <a:srgbClr val="BE2BBB"/>
          </a:lnRef>
          <a:fillRef idx="0">
            <a:schemeClr val="accent1"/>
          </a:fillRef>
          <a:effectRef idx="0">
            <a:srgbClr val="000000"/>
          </a:effectRef>
          <a:fontRef idx="minor">
            <a:schemeClr val="lt1"/>
          </a:fontRef>
        </p:style>
      </p:cxnSp>
      <p:cxnSp>
        <p:nvCxnSpPr>
          <p:cNvPr id="368" name="Straight Connector 367">
            <a:extLst>
              <a:ext uri="{FF2B5EF4-FFF2-40B4-BE49-F238E27FC236}">
                <a16:creationId xmlns:a16="http://schemas.microsoft.com/office/drawing/2014/main" id="{13D54945-8EF5-8528-A38D-C76EED180C7F}"/>
              </a:ext>
            </a:extLst>
          </p:cNvPr>
          <p:cNvCxnSpPr/>
          <p:nvPr/>
        </p:nvCxnSpPr>
        <p:spPr>
          <a:xfrm>
            <a:off x="7863532" y="3344608"/>
            <a:ext cx="0" cy="84392"/>
          </a:xfrm>
          <a:prstGeom prst="line">
            <a:avLst/>
          </a:prstGeom>
          <a:ln w="12700" cap="rnd">
            <a:solidFill>
              <a:srgbClr val="097789"/>
            </a:solidFill>
          </a:ln>
        </p:spPr>
        <p:style>
          <a:lnRef idx="1">
            <a:srgbClr val="BE2BBB"/>
          </a:lnRef>
          <a:fillRef idx="0">
            <a:schemeClr val="accent1"/>
          </a:fillRef>
          <a:effectRef idx="0">
            <a:srgbClr val="000000"/>
          </a:effectRef>
          <a:fontRef idx="minor">
            <a:schemeClr val="lt1"/>
          </a:fontRef>
        </p:style>
      </p:cxnSp>
      <p:cxnSp>
        <p:nvCxnSpPr>
          <p:cNvPr id="369" name="Straight Connector 368">
            <a:extLst>
              <a:ext uri="{FF2B5EF4-FFF2-40B4-BE49-F238E27FC236}">
                <a16:creationId xmlns:a16="http://schemas.microsoft.com/office/drawing/2014/main" id="{7EEABE94-5DB1-D21F-88C1-FC67142EE973}"/>
              </a:ext>
            </a:extLst>
          </p:cNvPr>
          <p:cNvCxnSpPr>
            <a:cxnSpLocks/>
          </p:cNvCxnSpPr>
          <p:nvPr/>
        </p:nvCxnSpPr>
        <p:spPr>
          <a:xfrm flipH="1">
            <a:off x="7823452" y="3384843"/>
            <a:ext cx="78301" cy="0"/>
          </a:xfrm>
          <a:prstGeom prst="line">
            <a:avLst/>
          </a:prstGeom>
          <a:ln w="12700" cap="rnd">
            <a:solidFill>
              <a:srgbClr val="097789"/>
            </a:solidFill>
          </a:ln>
        </p:spPr>
        <p:style>
          <a:lnRef idx="1">
            <a:srgbClr val="BE2BBB"/>
          </a:lnRef>
          <a:fillRef idx="0">
            <a:schemeClr val="accent1"/>
          </a:fillRef>
          <a:effectRef idx="0">
            <a:srgbClr val="000000"/>
          </a:effectRef>
          <a:fontRef idx="minor">
            <a:schemeClr val="lt1"/>
          </a:fontRef>
        </p:style>
      </p:cxnSp>
      <p:cxnSp>
        <p:nvCxnSpPr>
          <p:cNvPr id="366" name="Straight Connector 365">
            <a:extLst>
              <a:ext uri="{FF2B5EF4-FFF2-40B4-BE49-F238E27FC236}">
                <a16:creationId xmlns:a16="http://schemas.microsoft.com/office/drawing/2014/main" id="{92665B25-2B6D-87C0-5978-12F5998EA4B8}"/>
              </a:ext>
            </a:extLst>
          </p:cNvPr>
          <p:cNvCxnSpPr/>
          <p:nvPr/>
        </p:nvCxnSpPr>
        <p:spPr>
          <a:xfrm>
            <a:off x="7889412" y="3344608"/>
            <a:ext cx="0" cy="84392"/>
          </a:xfrm>
          <a:prstGeom prst="line">
            <a:avLst/>
          </a:prstGeom>
          <a:ln w="12700" cap="rnd">
            <a:solidFill>
              <a:srgbClr val="097789"/>
            </a:solidFill>
          </a:ln>
        </p:spPr>
        <p:style>
          <a:lnRef idx="1">
            <a:srgbClr val="BE2BBB"/>
          </a:lnRef>
          <a:fillRef idx="0">
            <a:schemeClr val="accent1"/>
          </a:fillRef>
          <a:effectRef idx="0">
            <a:srgbClr val="000000"/>
          </a:effectRef>
          <a:fontRef idx="minor">
            <a:schemeClr val="lt1"/>
          </a:fontRef>
        </p:style>
      </p:cxnSp>
      <p:cxnSp>
        <p:nvCxnSpPr>
          <p:cNvPr id="367" name="Straight Connector 366">
            <a:extLst>
              <a:ext uri="{FF2B5EF4-FFF2-40B4-BE49-F238E27FC236}">
                <a16:creationId xmlns:a16="http://schemas.microsoft.com/office/drawing/2014/main" id="{9F9EA36C-E5A0-54E1-819A-A90EF3315E9D}"/>
              </a:ext>
            </a:extLst>
          </p:cNvPr>
          <p:cNvCxnSpPr>
            <a:cxnSpLocks/>
          </p:cNvCxnSpPr>
          <p:nvPr/>
        </p:nvCxnSpPr>
        <p:spPr>
          <a:xfrm flipH="1">
            <a:off x="7849332" y="3384843"/>
            <a:ext cx="78301" cy="0"/>
          </a:xfrm>
          <a:prstGeom prst="line">
            <a:avLst/>
          </a:prstGeom>
          <a:ln w="12700" cap="rnd">
            <a:solidFill>
              <a:srgbClr val="097789"/>
            </a:solidFill>
          </a:ln>
        </p:spPr>
        <p:style>
          <a:lnRef idx="1">
            <a:srgbClr val="BE2BBB"/>
          </a:lnRef>
          <a:fillRef idx="0">
            <a:schemeClr val="accent1"/>
          </a:fillRef>
          <a:effectRef idx="0">
            <a:srgbClr val="000000"/>
          </a:effectRef>
          <a:fontRef idx="minor">
            <a:schemeClr val="lt1"/>
          </a:fontRef>
        </p:style>
      </p:cxnSp>
      <p:cxnSp>
        <p:nvCxnSpPr>
          <p:cNvPr id="364" name="Straight Connector 363">
            <a:extLst>
              <a:ext uri="{FF2B5EF4-FFF2-40B4-BE49-F238E27FC236}">
                <a16:creationId xmlns:a16="http://schemas.microsoft.com/office/drawing/2014/main" id="{BD02D720-37A4-85BA-CA3E-3168A33BF59D}"/>
              </a:ext>
            </a:extLst>
          </p:cNvPr>
          <p:cNvCxnSpPr/>
          <p:nvPr/>
        </p:nvCxnSpPr>
        <p:spPr>
          <a:xfrm>
            <a:off x="7923869" y="3344608"/>
            <a:ext cx="0" cy="84392"/>
          </a:xfrm>
          <a:prstGeom prst="line">
            <a:avLst/>
          </a:prstGeom>
          <a:ln w="12700" cap="rnd">
            <a:solidFill>
              <a:srgbClr val="097789"/>
            </a:solidFill>
          </a:ln>
        </p:spPr>
        <p:style>
          <a:lnRef idx="1">
            <a:srgbClr val="BE2BBB"/>
          </a:lnRef>
          <a:fillRef idx="0">
            <a:schemeClr val="accent1"/>
          </a:fillRef>
          <a:effectRef idx="0">
            <a:srgbClr val="000000"/>
          </a:effectRef>
          <a:fontRef idx="minor">
            <a:schemeClr val="lt1"/>
          </a:fontRef>
        </p:style>
      </p:cxnSp>
      <p:cxnSp>
        <p:nvCxnSpPr>
          <p:cNvPr id="365" name="Straight Connector 364">
            <a:extLst>
              <a:ext uri="{FF2B5EF4-FFF2-40B4-BE49-F238E27FC236}">
                <a16:creationId xmlns:a16="http://schemas.microsoft.com/office/drawing/2014/main" id="{04D4F936-A825-B5B8-ADE5-FF4E6D980DB1}"/>
              </a:ext>
            </a:extLst>
          </p:cNvPr>
          <p:cNvCxnSpPr>
            <a:cxnSpLocks/>
          </p:cNvCxnSpPr>
          <p:nvPr/>
        </p:nvCxnSpPr>
        <p:spPr>
          <a:xfrm flipH="1">
            <a:off x="7883789" y="3384843"/>
            <a:ext cx="78301" cy="0"/>
          </a:xfrm>
          <a:prstGeom prst="line">
            <a:avLst/>
          </a:prstGeom>
          <a:ln w="12700" cap="rnd">
            <a:solidFill>
              <a:srgbClr val="097789"/>
            </a:solidFill>
          </a:ln>
        </p:spPr>
        <p:style>
          <a:lnRef idx="1">
            <a:srgbClr val="BE2BBB"/>
          </a:lnRef>
          <a:fillRef idx="0">
            <a:schemeClr val="accent1"/>
          </a:fillRef>
          <a:effectRef idx="0">
            <a:srgbClr val="000000"/>
          </a:effectRef>
          <a:fontRef idx="minor">
            <a:schemeClr val="lt1"/>
          </a:fontRef>
        </p:style>
      </p:cxnSp>
      <p:cxnSp>
        <p:nvCxnSpPr>
          <p:cNvPr id="362" name="Straight Connector 361">
            <a:extLst>
              <a:ext uri="{FF2B5EF4-FFF2-40B4-BE49-F238E27FC236}">
                <a16:creationId xmlns:a16="http://schemas.microsoft.com/office/drawing/2014/main" id="{0FAFC381-9C1F-C3C3-433A-B1B83C15424A}"/>
              </a:ext>
            </a:extLst>
          </p:cNvPr>
          <p:cNvCxnSpPr/>
          <p:nvPr/>
        </p:nvCxnSpPr>
        <p:spPr>
          <a:xfrm>
            <a:off x="7932640" y="3344608"/>
            <a:ext cx="0" cy="84392"/>
          </a:xfrm>
          <a:prstGeom prst="line">
            <a:avLst/>
          </a:prstGeom>
          <a:ln w="12700" cap="rnd">
            <a:solidFill>
              <a:srgbClr val="097789"/>
            </a:solidFill>
          </a:ln>
        </p:spPr>
        <p:style>
          <a:lnRef idx="1">
            <a:srgbClr val="BE2BBB"/>
          </a:lnRef>
          <a:fillRef idx="0">
            <a:schemeClr val="accent1"/>
          </a:fillRef>
          <a:effectRef idx="0">
            <a:srgbClr val="000000"/>
          </a:effectRef>
          <a:fontRef idx="minor">
            <a:schemeClr val="lt1"/>
          </a:fontRef>
        </p:style>
      </p:cxnSp>
      <p:cxnSp>
        <p:nvCxnSpPr>
          <p:cNvPr id="363" name="Straight Connector 362">
            <a:extLst>
              <a:ext uri="{FF2B5EF4-FFF2-40B4-BE49-F238E27FC236}">
                <a16:creationId xmlns:a16="http://schemas.microsoft.com/office/drawing/2014/main" id="{B53F6544-7E5E-6817-5768-8F47DCC61C3C}"/>
              </a:ext>
            </a:extLst>
          </p:cNvPr>
          <p:cNvCxnSpPr>
            <a:cxnSpLocks/>
          </p:cNvCxnSpPr>
          <p:nvPr/>
        </p:nvCxnSpPr>
        <p:spPr>
          <a:xfrm flipH="1">
            <a:off x="7892560" y="3384843"/>
            <a:ext cx="78301" cy="0"/>
          </a:xfrm>
          <a:prstGeom prst="line">
            <a:avLst/>
          </a:prstGeom>
          <a:ln w="12700" cap="rnd">
            <a:solidFill>
              <a:srgbClr val="097789"/>
            </a:solidFill>
          </a:ln>
        </p:spPr>
        <p:style>
          <a:lnRef idx="1">
            <a:srgbClr val="BE2BBB"/>
          </a:lnRef>
          <a:fillRef idx="0">
            <a:schemeClr val="accent1"/>
          </a:fillRef>
          <a:effectRef idx="0">
            <a:srgbClr val="000000"/>
          </a:effectRef>
          <a:fontRef idx="minor">
            <a:schemeClr val="lt1"/>
          </a:fontRef>
        </p:style>
      </p:cxnSp>
      <p:cxnSp>
        <p:nvCxnSpPr>
          <p:cNvPr id="360" name="Straight Connector 359">
            <a:extLst>
              <a:ext uri="{FF2B5EF4-FFF2-40B4-BE49-F238E27FC236}">
                <a16:creationId xmlns:a16="http://schemas.microsoft.com/office/drawing/2014/main" id="{E57DE522-5554-8197-5266-A01EBCE55D7A}"/>
              </a:ext>
            </a:extLst>
          </p:cNvPr>
          <p:cNvCxnSpPr/>
          <p:nvPr/>
        </p:nvCxnSpPr>
        <p:spPr>
          <a:xfrm>
            <a:off x="7942258" y="3344608"/>
            <a:ext cx="0" cy="84392"/>
          </a:xfrm>
          <a:prstGeom prst="line">
            <a:avLst/>
          </a:prstGeom>
          <a:ln w="12700" cap="rnd">
            <a:solidFill>
              <a:srgbClr val="097789"/>
            </a:solidFill>
          </a:ln>
        </p:spPr>
        <p:style>
          <a:lnRef idx="1">
            <a:srgbClr val="BE2BBB"/>
          </a:lnRef>
          <a:fillRef idx="0">
            <a:schemeClr val="accent1"/>
          </a:fillRef>
          <a:effectRef idx="0">
            <a:srgbClr val="000000"/>
          </a:effectRef>
          <a:fontRef idx="minor">
            <a:schemeClr val="lt1"/>
          </a:fontRef>
        </p:style>
      </p:cxnSp>
      <p:cxnSp>
        <p:nvCxnSpPr>
          <p:cNvPr id="361" name="Straight Connector 360">
            <a:extLst>
              <a:ext uri="{FF2B5EF4-FFF2-40B4-BE49-F238E27FC236}">
                <a16:creationId xmlns:a16="http://schemas.microsoft.com/office/drawing/2014/main" id="{63A6F51D-2FCD-74B2-D549-74EEC2646206}"/>
              </a:ext>
            </a:extLst>
          </p:cNvPr>
          <p:cNvCxnSpPr>
            <a:cxnSpLocks/>
          </p:cNvCxnSpPr>
          <p:nvPr/>
        </p:nvCxnSpPr>
        <p:spPr>
          <a:xfrm flipH="1">
            <a:off x="7902178" y="3384843"/>
            <a:ext cx="78301" cy="0"/>
          </a:xfrm>
          <a:prstGeom prst="line">
            <a:avLst/>
          </a:prstGeom>
          <a:ln w="12700" cap="rnd">
            <a:solidFill>
              <a:srgbClr val="097789"/>
            </a:solidFill>
          </a:ln>
        </p:spPr>
        <p:style>
          <a:lnRef idx="1">
            <a:srgbClr val="BE2BBB"/>
          </a:lnRef>
          <a:fillRef idx="0">
            <a:schemeClr val="accent1"/>
          </a:fillRef>
          <a:effectRef idx="0">
            <a:srgbClr val="000000"/>
          </a:effectRef>
          <a:fontRef idx="minor">
            <a:schemeClr val="lt1"/>
          </a:fontRef>
        </p:style>
      </p:cxnSp>
      <p:cxnSp>
        <p:nvCxnSpPr>
          <p:cNvPr id="358" name="Straight Connector 357">
            <a:extLst>
              <a:ext uri="{FF2B5EF4-FFF2-40B4-BE49-F238E27FC236}">
                <a16:creationId xmlns:a16="http://schemas.microsoft.com/office/drawing/2014/main" id="{321343E8-5661-7728-88EC-8CCCF26ED298}"/>
              </a:ext>
            </a:extLst>
          </p:cNvPr>
          <p:cNvCxnSpPr/>
          <p:nvPr/>
        </p:nvCxnSpPr>
        <p:spPr>
          <a:xfrm>
            <a:off x="8227581" y="3344608"/>
            <a:ext cx="0" cy="84392"/>
          </a:xfrm>
          <a:prstGeom prst="line">
            <a:avLst/>
          </a:prstGeom>
          <a:ln w="12700" cap="rnd">
            <a:solidFill>
              <a:srgbClr val="097789"/>
            </a:solidFill>
          </a:ln>
        </p:spPr>
        <p:style>
          <a:lnRef idx="1">
            <a:srgbClr val="BE2BBB"/>
          </a:lnRef>
          <a:fillRef idx="0">
            <a:schemeClr val="accent1"/>
          </a:fillRef>
          <a:effectRef idx="0">
            <a:srgbClr val="000000"/>
          </a:effectRef>
          <a:fontRef idx="minor">
            <a:schemeClr val="lt1"/>
          </a:fontRef>
        </p:style>
      </p:cxnSp>
      <p:cxnSp>
        <p:nvCxnSpPr>
          <p:cNvPr id="359" name="Straight Connector 358">
            <a:extLst>
              <a:ext uri="{FF2B5EF4-FFF2-40B4-BE49-F238E27FC236}">
                <a16:creationId xmlns:a16="http://schemas.microsoft.com/office/drawing/2014/main" id="{24C7751F-E555-AD60-EA3F-080441C04134}"/>
              </a:ext>
            </a:extLst>
          </p:cNvPr>
          <p:cNvCxnSpPr>
            <a:cxnSpLocks/>
          </p:cNvCxnSpPr>
          <p:nvPr/>
        </p:nvCxnSpPr>
        <p:spPr>
          <a:xfrm flipH="1">
            <a:off x="8187501" y="3384843"/>
            <a:ext cx="78301" cy="0"/>
          </a:xfrm>
          <a:prstGeom prst="line">
            <a:avLst/>
          </a:prstGeom>
          <a:ln w="12700" cap="rnd">
            <a:solidFill>
              <a:srgbClr val="097789"/>
            </a:solidFill>
          </a:ln>
        </p:spPr>
        <p:style>
          <a:lnRef idx="1">
            <a:srgbClr val="BE2BBB"/>
          </a:lnRef>
          <a:fillRef idx="0">
            <a:schemeClr val="accent1"/>
          </a:fillRef>
          <a:effectRef idx="0">
            <a:srgbClr val="000000"/>
          </a:effectRef>
          <a:fontRef idx="minor">
            <a:schemeClr val="lt1"/>
          </a:fontRef>
        </p:style>
      </p:cxnSp>
      <p:cxnSp>
        <p:nvCxnSpPr>
          <p:cNvPr id="356" name="Straight Connector 355">
            <a:extLst>
              <a:ext uri="{FF2B5EF4-FFF2-40B4-BE49-F238E27FC236}">
                <a16:creationId xmlns:a16="http://schemas.microsoft.com/office/drawing/2014/main" id="{D2A3A8C6-752A-70CA-E068-6C6AD413E1FD}"/>
              </a:ext>
            </a:extLst>
          </p:cNvPr>
          <p:cNvCxnSpPr/>
          <p:nvPr/>
        </p:nvCxnSpPr>
        <p:spPr>
          <a:xfrm>
            <a:off x="8289472" y="3344608"/>
            <a:ext cx="0" cy="84392"/>
          </a:xfrm>
          <a:prstGeom prst="line">
            <a:avLst/>
          </a:prstGeom>
          <a:ln w="12700" cap="rnd">
            <a:solidFill>
              <a:srgbClr val="097789"/>
            </a:solidFill>
          </a:ln>
        </p:spPr>
        <p:style>
          <a:lnRef idx="1">
            <a:srgbClr val="BE2BBB"/>
          </a:lnRef>
          <a:fillRef idx="0">
            <a:schemeClr val="accent1"/>
          </a:fillRef>
          <a:effectRef idx="0">
            <a:srgbClr val="000000"/>
          </a:effectRef>
          <a:fontRef idx="minor">
            <a:schemeClr val="lt1"/>
          </a:fontRef>
        </p:style>
      </p:cxnSp>
      <p:cxnSp>
        <p:nvCxnSpPr>
          <p:cNvPr id="357" name="Straight Connector 356">
            <a:extLst>
              <a:ext uri="{FF2B5EF4-FFF2-40B4-BE49-F238E27FC236}">
                <a16:creationId xmlns:a16="http://schemas.microsoft.com/office/drawing/2014/main" id="{3B5D45A4-C9AA-312F-A4C8-6859C86AE127}"/>
              </a:ext>
            </a:extLst>
          </p:cNvPr>
          <p:cNvCxnSpPr>
            <a:cxnSpLocks/>
          </p:cNvCxnSpPr>
          <p:nvPr/>
        </p:nvCxnSpPr>
        <p:spPr>
          <a:xfrm flipH="1">
            <a:off x="8249392" y="3384843"/>
            <a:ext cx="78301" cy="0"/>
          </a:xfrm>
          <a:prstGeom prst="line">
            <a:avLst/>
          </a:prstGeom>
          <a:ln w="12700" cap="rnd">
            <a:solidFill>
              <a:srgbClr val="097789"/>
            </a:solidFill>
          </a:ln>
        </p:spPr>
        <p:style>
          <a:lnRef idx="1">
            <a:srgbClr val="BE2BBB"/>
          </a:lnRef>
          <a:fillRef idx="0">
            <a:schemeClr val="accent1"/>
          </a:fillRef>
          <a:effectRef idx="0">
            <a:srgbClr val="000000"/>
          </a:effectRef>
          <a:fontRef idx="minor">
            <a:schemeClr val="lt1"/>
          </a:fontRef>
        </p:style>
      </p:cxnSp>
      <p:grpSp>
        <p:nvGrpSpPr>
          <p:cNvPr id="3" name="Group 2">
            <a:extLst>
              <a:ext uri="{FF2B5EF4-FFF2-40B4-BE49-F238E27FC236}">
                <a16:creationId xmlns:a16="http://schemas.microsoft.com/office/drawing/2014/main" id="{D8D3A9C2-99E6-C3BA-5775-DD44AD5623F4}"/>
              </a:ext>
            </a:extLst>
          </p:cNvPr>
          <p:cNvGrpSpPr/>
          <p:nvPr/>
        </p:nvGrpSpPr>
        <p:grpSpPr>
          <a:xfrm>
            <a:off x="9956802" y="5006472"/>
            <a:ext cx="2110641" cy="246221"/>
            <a:chOff x="9819717" y="4658474"/>
            <a:chExt cx="1751009" cy="246221"/>
          </a:xfrm>
        </p:grpSpPr>
        <p:sp>
          <p:nvSpPr>
            <p:cNvPr id="5" name="TextBox 4">
              <a:extLst>
                <a:ext uri="{FF2B5EF4-FFF2-40B4-BE49-F238E27FC236}">
                  <a16:creationId xmlns:a16="http://schemas.microsoft.com/office/drawing/2014/main" id="{F628198B-A53C-D9A8-6AA3-88E31215499A}"/>
                </a:ext>
              </a:extLst>
            </p:cNvPr>
            <p:cNvSpPr txBox="1"/>
            <p:nvPr/>
          </p:nvSpPr>
          <p:spPr>
            <a:xfrm>
              <a:off x="9819717" y="4658474"/>
              <a:ext cx="211716"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p>
          </p:txBody>
        </p:sp>
        <p:grpSp>
          <p:nvGrpSpPr>
            <p:cNvPr id="6" name="Group 5">
              <a:extLst>
                <a:ext uri="{FF2B5EF4-FFF2-40B4-BE49-F238E27FC236}">
                  <a16:creationId xmlns:a16="http://schemas.microsoft.com/office/drawing/2014/main" id="{09F524BD-65A7-8E8F-5402-6677D257A945}"/>
                </a:ext>
              </a:extLst>
            </p:cNvPr>
            <p:cNvGrpSpPr/>
            <p:nvPr/>
          </p:nvGrpSpPr>
          <p:grpSpPr>
            <a:xfrm>
              <a:off x="9919129" y="4665930"/>
              <a:ext cx="1490400" cy="46936"/>
              <a:chOff x="9919129" y="4665930"/>
              <a:chExt cx="1414860" cy="46936"/>
            </a:xfrm>
          </p:grpSpPr>
          <p:cxnSp>
            <p:nvCxnSpPr>
              <p:cNvPr id="9" name="Straight Connector 8">
                <a:extLst>
                  <a:ext uri="{FF2B5EF4-FFF2-40B4-BE49-F238E27FC236}">
                    <a16:creationId xmlns:a16="http://schemas.microsoft.com/office/drawing/2014/main" id="{44F60BFD-C8B1-3A8C-C1A9-45E4A5A2B1B7}"/>
                  </a:ext>
                </a:extLst>
              </p:cNvPr>
              <p:cNvCxnSpPr>
                <a:cxnSpLocks/>
              </p:cNvCxnSpPr>
              <p:nvPr/>
            </p:nvCxnSpPr>
            <p:spPr>
              <a:xfrm flipV="1">
                <a:off x="9919129" y="4665930"/>
                <a:ext cx="14148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D720AEDF-DD4E-71D8-1ED7-A5BA32115DC8}"/>
                  </a:ext>
                </a:extLst>
              </p:cNvPr>
              <p:cNvGrpSpPr/>
              <p:nvPr/>
            </p:nvGrpSpPr>
            <p:grpSpPr>
              <a:xfrm>
                <a:off x="9919655" y="4665930"/>
                <a:ext cx="1414334" cy="46936"/>
                <a:chOff x="9919655" y="4665930"/>
                <a:chExt cx="1414334" cy="46936"/>
              </a:xfrm>
            </p:grpSpPr>
            <p:cxnSp>
              <p:nvCxnSpPr>
                <p:cNvPr id="11" name="Straight Connector 10">
                  <a:extLst>
                    <a:ext uri="{FF2B5EF4-FFF2-40B4-BE49-F238E27FC236}">
                      <a16:creationId xmlns:a16="http://schemas.microsoft.com/office/drawing/2014/main" id="{9C5140EC-4FD8-2ABE-5470-35E225FB196D}"/>
                    </a:ext>
                  </a:extLst>
                </p:cNvPr>
                <p:cNvCxnSpPr>
                  <a:cxnSpLocks/>
                </p:cNvCxnSpPr>
                <p:nvPr/>
              </p:nvCxnSpPr>
              <p:spPr>
                <a:xfrm>
                  <a:off x="9919655" y="4665930"/>
                  <a:ext cx="0" cy="4693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3AA583A-7823-AC2C-E62F-DF1848B96257}"/>
                    </a:ext>
                  </a:extLst>
                </p:cNvPr>
                <p:cNvCxnSpPr>
                  <a:cxnSpLocks/>
                </p:cNvCxnSpPr>
                <p:nvPr/>
              </p:nvCxnSpPr>
              <p:spPr>
                <a:xfrm>
                  <a:off x="10202522" y="4665930"/>
                  <a:ext cx="0" cy="4693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0FD6862-C7BE-C149-68E6-437A20CEB5EB}"/>
                    </a:ext>
                  </a:extLst>
                </p:cNvPr>
                <p:cNvCxnSpPr>
                  <a:cxnSpLocks/>
                </p:cNvCxnSpPr>
                <p:nvPr/>
              </p:nvCxnSpPr>
              <p:spPr>
                <a:xfrm>
                  <a:off x="10485389" y="4665930"/>
                  <a:ext cx="0" cy="4693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ADD58D-68CA-FF73-EA40-2A4AA6706854}"/>
                    </a:ext>
                  </a:extLst>
                </p:cNvPr>
                <p:cNvCxnSpPr>
                  <a:cxnSpLocks/>
                </p:cNvCxnSpPr>
                <p:nvPr/>
              </p:nvCxnSpPr>
              <p:spPr>
                <a:xfrm>
                  <a:off x="10768256" y="4665930"/>
                  <a:ext cx="0" cy="4693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3090F95-C7F2-DFBD-DCA5-0F3F382E716E}"/>
                    </a:ext>
                  </a:extLst>
                </p:cNvPr>
                <p:cNvCxnSpPr>
                  <a:cxnSpLocks/>
                </p:cNvCxnSpPr>
                <p:nvPr/>
              </p:nvCxnSpPr>
              <p:spPr>
                <a:xfrm>
                  <a:off x="11051123" y="4665930"/>
                  <a:ext cx="0" cy="4693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58A01BB-63A9-582E-07EC-BF87FCEF6F3E}"/>
                    </a:ext>
                  </a:extLst>
                </p:cNvPr>
                <p:cNvCxnSpPr>
                  <a:cxnSpLocks/>
                </p:cNvCxnSpPr>
                <p:nvPr/>
              </p:nvCxnSpPr>
              <p:spPr>
                <a:xfrm>
                  <a:off x="11333989" y="4665930"/>
                  <a:ext cx="0" cy="4693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7" name="TextBox 6">
              <a:extLst>
                <a:ext uri="{FF2B5EF4-FFF2-40B4-BE49-F238E27FC236}">
                  <a16:creationId xmlns:a16="http://schemas.microsoft.com/office/drawing/2014/main" id="{05A4F605-305D-D550-6A3D-3C5FFB4A1E7F}"/>
                </a:ext>
              </a:extLst>
            </p:cNvPr>
            <p:cNvSpPr txBox="1"/>
            <p:nvPr/>
          </p:nvSpPr>
          <p:spPr>
            <a:xfrm>
              <a:off x="11241982" y="4658474"/>
              <a:ext cx="328744"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00</a:t>
              </a:r>
            </a:p>
          </p:txBody>
        </p:sp>
      </p:grpSp>
      <p:sp>
        <p:nvSpPr>
          <p:cNvPr id="18" name="Flowchart: Process 17">
            <a:extLst>
              <a:ext uri="{FF2B5EF4-FFF2-40B4-BE49-F238E27FC236}">
                <a16:creationId xmlns:a16="http://schemas.microsoft.com/office/drawing/2014/main" id="{F1D0BCBD-D1D9-8FD9-100C-B99DFEABEFC6}"/>
              </a:ext>
            </a:extLst>
          </p:cNvPr>
          <p:cNvSpPr/>
          <p:nvPr/>
        </p:nvSpPr>
        <p:spPr>
          <a:xfrm>
            <a:off x="106278" y="5351271"/>
            <a:ext cx="12085722" cy="540000"/>
          </a:xfrm>
          <a:prstGeom prst="flowChartProcess">
            <a:avLst/>
          </a:prstGeom>
          <a:solidFill>
            <a:schemeClr val="tx2"/>
          </a:solidFill>
          <a:ln>
            <a:noFill/>
          </a:ln>
        </p:spPr>
        <p:style>
          <a:lnRef idx="0">
            <a:schemeClr val="accent1"/>
          </a:lnRef>
          <a:fillRef idx="1">
            <a:schemeClr val="accent1"/>
          </a:fillRef>
          <a:effectRef idx="0">
            <a:srgbClr val="00000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30 month OS 7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erious infections as reported by investigators: 35%; Median TTNT 45 months; MRD 70%</a:t>
            </a:r>
          </a:p>
        </p:txBody>
      </p:sp>
      <p:pic>
        <p:nvPicPr>
          <p:cNvPr id="19" name="Picture 18" descr="A graph of covid-19&#10;&#10;AI-generated content may be incorrect.">
            <a:extLst>
              <a:ext uri="{FF2B5EF4-FFF2-40B4-BE49-F238E27FC236}">
                <a16:creationId xmlns:a16="http://schemas.microsoft.com/office/drawing/2014/main" id="{0E60644E-F15A-6CFF-955B-9548F41ECC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76127" y="1176987"/>
            <a:ext cx="6225273" cy="3848100"/>
          </a:xfrm>
          <a:prstGeom prst="rect">
            <a:avLst/>
          </a:prstGeom>
        </p:spPr>
      </p:pic>
    </p:spTree>
    <p:extLst>
      <p:ext uri="{BB962C8B-B14F-4D97-AF65-F5344CB8AC3E}">
        <p14:creationId xmlns:p14="http://schemas.microsoft.com/office/powerpoint/2010/main" val="11393387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29CAF6-7E14-448E-B88B-4443FD75A8FC}"/>
              </a:ext>
            </a:extLst>
          </p:cNvPr>
          <p:cNvSpPr>
            <a:spLocks noGrp="1"/>
          </p:cNvSpPr>
          <p:nvPr>
            <p:ph type="ctrTitle"/>
          </p:nvPr>
        </p:nvSpPr>
        <p:spPr>
          <a:xfrm>
            <a:off x="434486" y="1185393"/>
            <a:ext cx="11398214" cy="1477328"/>
          </a:xfrm>
        </p:spPr>
        <p:txBody>
          <a:bodyPr wrap="square" anchor="ctr">
            <a:spAutoFit/>
          </a:bodyPr>
          <a:lstStyle/>
          <a:p>
            <a:pPr defTabSz="457200">
              <a:lnSpc>
                <a:spcPct val="100000"/>
              </a:lnSpc>
              <a:spcBef>
                <a:spcPts val="0"/>
              </a:spcBef>
              <a:defRPr sz="2800" b="1">
                <a:solidFill>
                  <a:srgbClr val="FFFFFF"/>
                </a:solidFill>
                <a:latin typeface="Calibri"/>
                <a:ea typeface="Calibri"/>
                <a:cs typeface="Calibri"/>
                <a:sym typeface="Calibri"/>
              </a:defRPr>
            </a:pPr>
            <a:r>
              <a:rPr lang="en-US" sz="3200" b="1" kern="0" dirty="0">
                <a:effectLst/>
                <a:latin typeface="Arial" panose="020B0604020202020204" pitchFamily="34" charset="0"/>
                <a:ea typeface="Times New Roman" panose="02020603050405020304" pitchFamily="18" charset="0"/>
                <a:cs typeface="Times New Roman" panose="02020603050405020304" pitchFamily="18" charset="0"/>
              </a:rPr>
              <a:t>Primary Phase 3 Results From the EPCORE FL-1 Trial of Epcoritamab With Rituximab and Lenalidomide (R</a:t>
            </a:r>
            <a:r>
              <a:rPr lang="en-US" sz="3200" b="1" kern="0" baseline="30000" dirty="0">
                <a:effectLst/>
                <a:latin typeface="Arial" panose="020B0604020202020204" pitchFamily="34" charset="0"/>
                <a:ea typeface="Times New Roman" panose="02020603050405020304" pitchFamily="18" charset="0"/>
                <a:cs typeface="Times New Roman" panose="02020603050405020304" pitchFamily="18" charset="0"/>
              </a:rPr>
              <a:t>2</a:t>
            </a:r>
            <a:r>
              <a:rPr lang="en-US" sz="3200" b="1" kern="0" dirty="0">
                <a:effectLst/>
                <a:latin typeface="Arial" panose="020B0604020202020204" pitchFamily="34" charset="0"/>
                <a:ea typeface="Times New Roman" panose="02020603050405020304" pitchFamily="18" charset="0"/>
                <a:cs typeface="Times New Roman" panose="02020603050405020304" pitchFamily="18" charset="0"/>
              </a:rPr>
              <a:t>) Versus R</a:t>
            </a:r>
            <a:r>
              <a:rPr lang="en-US" sz="3200" b="1" kern="0" baseline="30000" dirty="0">
                <a:effectLst/>
                <a:latin typeface="Arial" panose="020B0604020202020204" pitchFamily="34" charset="0"/>
                <a:ea typeface="Times New Roman" panose="02020603050405020304" pitchFamily="18" charset="0"/>
                <a:cs typeface="Times New Roman" panose="02020603050405020304" pitchFamily="18" charset="0"/>
              </a:rPr>
              <a:t>2</a:t>
            </a:r>
            <a:r>
              <a:rPr lang="en-US" sz="3200" b="1" kern="0" dirty="0">
                <a:effectLst/>
                <a:latin typeface="Arial" panose="020B0604020202020204" pitchFamily="34" charset="0"/>
                <a:ea typeface="Times New Roman" panose="02020603050405020304" pitchFamily="18" charset="0"/>
                <a:cs typeface="Times New Roman" panose="02020603050405020304" pitchFamily="18" charset="0"/>
              </a:rPr>
              <a:t> for Relapsed or Refractory Follicular Lymphoma </a:t>
            </a:r>
            <a:endParaRPr lang="en-US" sz="3200" kern="0" dirty="0">
              <a:latin typeface="Arial" panose="020B0604020202020204" pitchFamily="34" charset="0"/>
              <a:ea typeface="MS Mincho" panose="02020609040205080304" pitchFamily="49" charset="-128"/>
              <a:cs typeface="Arial" panose="020B0604020202020204" pitchFamily="34" charset="0"/>
            </a:endParaRPr>
          </a:p>
        </p:txBody>
      </p:sp>
      <p:sp>
        <p:nvSpPr>
          <p:cNvPr id="3" name="TextBox 2">
            <a:extLst>
              <a:ext uri="{FF2B5EF4-FFF2-40B4-BE49-F238E27FC236}">
                <a16:creationId xmlns:a16="http://schemas.microsoft.com/office/drawing/2014/main" id="{F1D3F76E-DE8D-684F-9DDD-F340BBF5413D}"/>
              </a:ext>
            </a:extLst>
          </p:cNvPr>
          <p:cNvSpPr txBox="1"/>
          <p:nvPr/>
        </p:nvSpPr>
        <p:spPr>
          <a:xfrm>
            <a:off x="434414" y="3166003"/>
            <a:ext cx="10972800" cy="1641475"/>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Lorenzo Falchi</a:t>
            </a:r>
            <a:r>
              <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a:t>
            </a:r>
            <a:r>
              <a:rPr kumimoji="0" lang="en-US" sz="1600" b="0" i="0" u="none" strike="noStrike" kern="1200" cap="none" spc="0" normalizeH="0" baseline="3000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1</a:t>
            </a:r>
            <a:r>
              <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 Marcel Nijland,</a:t>
            </a:r>
            <a:r>
              <a:rPr kumimoji="0" lang="en-US" sz="1600" b="0" i="0" u="none" strike="noStrike" kern="1200" cap="none" spc="0" normalizeH="0" baseline="3000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2</a:t>
            </a:r>
            <a:r>
              <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 Huiqiang Huang,</a:t>
            </a:r>
            <a:r>
              <a:rPr kumimoji="0" lang="en-US" sz="1600" b="0" i="0" u="none" strike="noStrike" kern="1200" cap="none" spc="0" normalizeH="0" baseline="3000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3 </a:t>
            </a:r>
            <a:r>
              <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Kim M. Linton,</a:t>
            </a:r>
            <a:r>
              <a:rPr kumimoji="0" lang="en-US" sz="1600" b="0" i="0" u="none" strike="noStrike" kern="1200" cap="none" spc="0" normalizeH="0" baseline="3000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4 </a:t>
            </a:r>
            <a:r>
              <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John F. Seymour,</a:t>
            </a:r>
            <a:r>
              <a:rPr kumimoji="0" lang="en-US" sz="1600" b="0" i="0" u="none" strike="noStrike" kern="1200" cap="none" spc="0" normalizeH="0" baseline="3000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5</a:t>
            </a:r>
            <a:r>
              <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 Rong Tao,</a:t>
            </a:r>
            <a:r>
              <a:rPr kumimoji="0" lang="en-US" sz="1600" b="0" i="0" u="none" strike="noStrike" kern="1200" cap="none" spc="0" normalizeH="0" baseline="3000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6 </a:t>
            </a:r>
            <a:r>
              <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Michal Kwiatek,</a:t>
            </a:r>
            <a:r>
              <a:rPr kumimoji="0" lang="en-US" sz="1600" b="0" i="0" u="none" strike="noStrike" kern="1200" cap="none" spc="0" normalizeH="0" baseline="3000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7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Abel Costa,</a:t>
            </a:r>
            <a:r>
              <a:rPr kumimoji="0" lang="en-US" sz="1600" b="0" i="0" u="none" strike="noStrike" kern="1200" cap="none" spc="0" normalizeH="0" baseline="3000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8</a:t>
            </a:r>
            <a:r>
              <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 Theodoros P. Vassilakopoulos,</a:t>
            </a:r>
            <a:r>
              <a:rPr kumimoji="0" lang="en-US" sz="1600" b="0" i="0" u="none" strike="noStrike" kern="1200" cap="none" spc="0" normalizeH="0" baseline="3000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9</a:t>
            </a:r>
            <a:r>
              <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 Richard Greil,</a:t>
            </a:r>
            <a:r>
              <a:rPr kumimoji="0" lang="en-US" sz="1600" b="0" i="0" u="none" strike="noStrike" kern="1200" cap="none" spc="0" normalizeH="0" baseline="3000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10</a:t>
            </a:r>
            <a:r>
              <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 Ana Jiménez-Ubieto,</a:t>
            </a:r>
            <a:r>
              <a:rPr kumimoji="0" lang="en-US" sz="1600" b="0" i="0" u="none" strike="noStrike" kern="1200" cap="none" spc="0" normalizeH="0" baseline="3000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11</a:t>
            </a:r>
            <a:r>
              <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 Shane Gangatharan,</a:t>
            </a:r>
            <a:r>
              <a:rPr kumimoji="0" lang="en-US" sz="1600" b="0" i="0" u="none" strike="noStrike" kern="1200" cap="none" spc="0" normalizeH="0" baseline="3000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12</a:t>
            </a:r>
            <a:r>
              <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Ohad Benjamini,</a:t>
            </a:r>
            <a:r>
              <a:rPr kumimoji="0" lang="en-US" sz="1600" b="0" i="0" u="none" strike="noStrike" kern="1200" cap="none" spc="0" normalizeH="0" baseline="3000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13</a:t>
            </a:r>
            <a:r>
              <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 Catherine Thieblemont,</a:t>
            </a:r>
            <a:r>
              <a:rPr kumimoji="0" lang="en-US" sz="1600" b="0" i="0" u="none" strike="noStrike" kern="1200" cap="none" spc="0" normalizeH="0" baseline="3000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14</a:t>
            </a:r>
            <a:r>
              <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 Alessandra Tucci,</a:t>
            </a:r>
            <a:r>
              <a:rPr kumimoji="0" lang="en-US" sz="1600" b="0" i="0" u="none" strike="noStrike" kern="1200" cap="none" spc="0" normalizeH="0" baseline="3000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15</a:t>
            </a:r>
            <a:r>
              <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 Anna Elinder-Camburn,</a:t>
            </a:r>
            <a:r>
              <a:rPr kumimoji="0" lang="en-US" sz="1600" b="0" i="0" u="none" strike="noStrike" kern="1200" cap="none" spc="0" normalizeH="0" baseline="3000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16</a:t>
            </a:r>
            <a:r>
              <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 Arpad Illes,</a:t>
            </a:r>
            <a:r>
              <a:rPr kumimoji="0" lang="en-US" sz="1600" b="0" i="0" u="none" strike="noStrike" kern="1200" cap="none" spc="0" normalizeH="0" baseline="3000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17</a:t>
            </a:r>
            <a:r>
              <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 Jan Novak,</a:t>
            </a:r>
            <a:r>
              <a:rPr kumimoji="0" lang="en-US" sz="1600" b="0" i="0" u="none" strike="noStrike" kern="1200" cap="none" spc="0" normalizeH="0" baseline="3000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18</a:t>
            </a:r>
            <a:r>
              <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 Miguel Pavlovsky,</a:t>
            </a:r>
            <a:r>
              <a:rPr kumimoji="0" lang="en-US" sz="1600" b="0" i="0" u="none" strike="noStrike" kern="1200" cap="none" spc="0" normalizeH="0" baseline="3000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19</a:t>
            </a:r>
            <a:r>
              <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 Andrew McDonald,</a:t>
            </a:r>
            <a:r>
              <a:rPr kumimoji="0" lang="en-US" sz="1600" b="0" i="0" u="none" strike="noStrike" kern="1200" cap="none" spc="0" normalizeH="0" baseline="3000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20</a:t>
            </a:r>
            <a:r>
              <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 Dok Hyun Yoon,</a:t>
            </a:r>
            <a:r>
              <a:rPr kumimoji="0" lang="en-US" sz="1600" b="0" i="0" u="none" strike="noStrike" kern="1200" cap="none" spc="0" normalizeH="0" baseline="3000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21</a:t>
            </a:r>
            <a:r>
              <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 Yuko Mishima,</a:t>
            </a:r>
            <a:r>
              <a:rPr kumimoji="0" lang="en-US" sz="1600" b="0" i="0" u="none" strike="noStrike" kern="1200" cap="none" spc="0" normalizeH="0" baseline="3000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22</a:t>
            </a:r>
            <a:r>
              <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 Gauri Sunkersett,</a:t>
            </a:r>
            <a:r>
              <a:rPr kumimoji="0" lang="en-US" sz="1600" b="0" i="0" u="none" strike="noStrike" kern="1200" cap="none" spc="0" normalizeH="0" baseline="3000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23</a:t>
            </a:r>
            <a:r>
              <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 JP Mei,</a:t>
            </a:r>
            <a:r>
              <a:rPr kumimoji="0" lang="en-US" sz="1600" b="0" i="0" u="none" strike="noStrike" kern="1200" cap="none" spc="0" normalizeH="0" baseline="3000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23</a:t>
            </a:r>
            <a:r>
              <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Nabanita Mukherjee,</a:t>
            </a:r>
            <a:r>
              <a:rPr kumimoji="0" lang="en-US" sz="1600" b="0" i="0" u="none" strike="noStrike" kern="1200" cap="none" spc="0" normalizeH="0" baseline="3000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23</a:t>
            </a:r>
            <a:r>
              <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 Feng Zhu,</a:t>
            </a:r>
            <a:r>
              <a:rPr kumimoji="0" lang="en-US" sz="1600" b="0" i="0" u="none" strike="noStrike" kern="1200" cap="none" spc="0" normalizeH="0" baseline="3000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23</a:t>
            </a:r>
            <a:r>
              <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 Elena Favaro,</a:t>
            </a:r>
            <a:r>
              <a:rPr kumimoji="0" lang="en-US" sz="1600" b="0" i="0" u="none" strike="noStrike" kern="1200" cap="none" spc="0" normalizeH="0" baseline="3000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24</a:t>
            </a:r>
            <a:r>
              <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 Franck Morschhauser</a:t>
            </a:r>
            <a:r>
              <a:rPr kumimoji="0" lang="en-US" sz="1600" b="0" i="0" u="none" strike="noStrike" kern="1200" cap="none" spc="0" normalizeH="0" baseline="3000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25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3000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Presenting author</a:t>
            </a:r>
          </a:p>
        </p:txBody>
      </p:sp>
      <p:sp>
        <p:nvSpPr>
          <p:cNvPr id="4" name="TextBox 3">
            <a:extLst>
              <a:ext uri="{FF2B5EF4-FFF2-40B4-BE49-F238E27FC236}">
                <a16:creationId xmlns:a16="http://schemas.microsoft.com/office/drawing/2014/main" id="{85D47347-4F94-DF44-AB3A-34EA644FBB51}"/>
              </a:ext>
            </a:extLst>
          </p:cNvPr>
          <p:cNvSpPr txBox="1"/>
          <p:nvPr/>
        </p:nvSpPr>
        <p:spPr>
          <a:xfrm>
            <a:off x="434486" y="5212253"/>
            <a:ext cx="11398214" cy="877163"/>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dirty="0">
                <a:ln>
                  <a:noFill/>
                </a:ln>
                <a:solidFill>
                  <a:srgbClr val="FFFFFF"/>
                </a:solidFill>
                <a:effectLst/>
                <a:uLnTx/>
                <a:uFillTx/>
                <a:latin typeface="Arial" panose="020B0604020202020204" pitchFamily="34" charset="0"/>
                <a:ea typeface="MS Mincho" panose="02020609040205080304" pitchFamily="49" charset="-128"/>
                <a:cs typeface="Arial" panose="020B0604020202020204" pitchFamily="34" charset="0"/>
              </a:rPr>
              <a:t>1</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MS Mincho" panose="02020609040205080304" pitchFamily="49" charset="-128"/>
                <a:cs typeface="Arial" panose="020B0604020202020204" pitchFamily="34" charset="0"/>
              </a:rPr>
              <a:t>Lymphoma Service, Memorial Sloan Kettering Cancer Center, New York, NY, USA; </a:t>
            </a:r>
            <a:r>
              <a:rPr kumimoji="0" lang="en-US" sz="800" b="0" i="0" u="none" strike="noStrike" kern="1200" cap="none" spc="0" normalizeH="0" baseline="3000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2</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University Medical Center Groningen, University of Groningen, Groningen, Netherlands; </a:t>
            </a:r>
            <a:r>
              <a:rPr kumimoji="0" lang="en-US" sz="800" b="0" i="0" u="none" strike="noStrike" kern="1200" cap="none" spc="0" normalizeH="0" baseline="3000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3</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Sun Yat-sen University, Guangzhou, China; </a:t>
            </a:r>
            <a:r>
              <a:rPr kumimoji="0" lang="en-US" sz="800" b="0" i="0" u="none" strike="noStrike" kern="1200" cap="none" spc="0" normalizeH="0" baseline="3000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4</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The Christie NHS Foundation Trust, Manchester Cancer Research Centre, and Division of Cancer Sciences, University of Manchester, Manchester, UK; </a:t>
            </a:r>
            <a:r>
              <a:rPr kumimoji="0" lang="en-US" sz="800" b="0" i="0" u="none" strike="noStrike" kern="1200" cap="none" spc="0" normalizeH="0" baseline="3000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5</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Peter MacCallum Cancer Centre and The Royal Melbourne Hospital, Melbourne, Australia</a:t>
            </a:r>
            <a:r>
              <a:rPr kumimoji="0" lang="en-US" sz="9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Times New Roman" panose="02020603050405020304" pitchFamily="18" charset="0"/>
              </a:rPr>
              <a:t>; </a:t>
            </a:r>
            <a:r>
              <a:rPr kumimoji="0" lang="en-US" sz="800" b="0" i="0" u="none" strike="noStrike" kern="1200" cap="none" spc="0" normalizeH="0" baseline="3000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6</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Fudan University Cancer Hospital, Shanghai, China; </a:t>
            </a:r>
            <a:r>
              <a:rPr kumimoji="0" lang="en-US" sz="800" b="0" i="0" u="none" strike="noStrike" kern="1200" cap="none" spc="0" normalizeH="0" baseline="3000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7</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Aidport Clinical Trials Hospital, </a:t>
            </a:r>
            <a:r>
              <a:rPr kumimoji="0" lang="en-US" sz="800" b="0" i="0" u="none" strike="noStrike" kern="1200" cap="none" spc="0" normalizeH="0" baseline="0" noProof="0" dirty="0" err="1">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Skorzewo</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 (Poznan), Poland; </a:t>
            </a:r>
            <a:r>
              <a:rPr kumimoji="0" lang="en-US" sz="800" b="0" i="0" u="none" strike="noStrike" kern="1200" cap="none" spc="0" normalizeH="0" baseline="3000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8</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Instituto D’Or de Pesquisa e Ensino, São Paulo, Brazil; </a:t>
            </a:r>
            <a:r>
              <a:rPr kumimoji="0" lang="en-US" sz="800" b="0" i="0" u="none" strike="noStrike" kern="1200" cap="none" spc="0" normalizeH="0" baseline="3000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9</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Laikon General Hospital, National and </a:t>
            </a:r>
            <a:r>
              <a:rPr kumimoji="0" lang="en-US" sz="800" b="0" i="0" u="none" strike="noStrike" kern="1200" cap="none" spc="0" normalizeH="0" baseline="0" noProof="0" dirty="0" err="1">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Kapodistrian</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 University of Athens, Athens, Greece; </a:t>
            </a:r>
            <a:r>
              <a:rPr kumimoji="0" lang="en-US" sz="800" b="0" i="0" u="none" strike="noStrike" kern="1200" cap="none" spc="0" normalizeH="0" baseline="3000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10</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Paracelsus Medical University Salzburg; Salzburg Cancer Research Institute-Center for Clinical Cancer and Immunology Trials; Cancer Cluster Salzburg, Salzburg, Austria; </a:t>
            </a:r>
            <a:r>
              <a:rPr kumimoji="0" lang="en-US" sz="800" b="0" i="0" u="none" strike="noStrike" kern="1200" cap="none" spc="0" normalizeH="0" baseline="3000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11</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Hospital Universitario 12 de </a:t>
            </a:r>
            <a:r>
              <a:rPr kumimoji="0" lang="en-US" sz="800" b="0" i="0" u="none" strike="noStrike" kern="1200" cap="none" spc="0" normalizeH="0" baseline="0" noProof="0" dirty="0" err="1">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Octubre</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 Madrid, Spain; </a:t>
            </a:r>
            <a:r>
              <a:rPr kumimoji="0" lang="en-US" sz="800" b="0" i="0" u="none" strike="noStrike" kern="1200" cap="none" spc="0" normalizeH="0" baseline="3000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12</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Fiona Stanley Hospital, Murdoch, Australia; </a:t>
            </a:r>
            <a:r>
              <a:rPr kumimoji="0" lang="en-US" sz="800" b="0" i="0" u="none" strike="noStrike" kern="1200" cap="none" spc="0" normalizeH="0" baseline="3000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13</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The Chaim Sheba Medical Center, Ramat Gan, Israel; </a:t>
            </a:r>
            <a:r>
              <a:rPr kumimoji="0" lang="en-US" sz="800" b="0" i="0" u="none" strike="noStrike" kern="1200" cap="none" spc="0" normalizeH="0" baseline="3000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14</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Hôpital Saint-Louis, Paris, France; </a:t>
            </a:r>
            <a:r>
              <a:rPr kumimoji="0" lang="en-US" sz="800" b="0" i="0" u="none" strike="noStrike" kern="1200" cap="none" spc="0" normalizeH="0" baseline="3000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15</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ASST degli </a:t>
            </a:r>
            <a:r>
              <a:rPr kumimoji="0" lang="en-US" sz="800" b="0" i="0" u="none" strike="noStrike" kern="1200" cap="none" spc="0" normalizeH="0" baseline="0" noProof="0" dirty="0" err="1">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Spedali</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 </a:t>
            </a:r>
            <a:r>
              <a:rPr kumimoji="0" lang="en-US" sz="800" b="0" i="0" u="none" strike="noStrike" kern="1200" cap="none" spc="0" normalizeH="0" baseline="0" noProof="0" dirty="0" err="1">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Civili</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 di Brescia, Brescia, Italy; </a:t>
            </a:r>
            <a:r>
              <a:rPr kumimoji="0" lang="en-US" sz="800" b="0" i="0" u="none" strike="noStrike" kern="1200" cap="none" spc="0" normalizeH="0" baseline="3000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16</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North Shore Hospital, Auckland, New Zealand; </a:t>
            </a:r>
            <a:r>
              <a:rPr kumimoji="0" lang="en-US" sz="800" b="0" i="0" u="none" strike="noStrike" kern="1200" cap="none" spc="0" normalizeH="0" baseline="3000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17</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Debreceni </a:t>
            </a:r>
            <a:r>
              <a:rPr kumimoji="0" lang="en-US" sz="800" b="0" i="0" u="none" strike="noStrike" kern="1200" cap="none" spc="0" normalizeH="0" baseline="0" noProof="0" dirty="0" err="1">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Egyetem-Klinikai</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 </a:t>
            </a:r>
            <a:r>
              <a:rPr kumimoji="0" lang="en-US" sz="800" b="0" i="0" u="none" strike="noStrike" kern="1200" cap="none" spc="0" normalizeH="0" baseline="0" noProof="0" dirty="0" err="1">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Kozpont</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 Debrecen, Hungary; </a:t>
            </a:r>
            <a:r>
              <a:rPr kumimoji="0" lang="en-US" sz="800" b="0" i="0" u="none" strike="noStrike" kern="1200" cap="none" spc="0" normalizeH="0" baseline="3000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18</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Fakultni </a:t>
            </a:r>
            <a:r>
              <a:rPr kumimoji="0" lang="en-US" sz="800" b="0" i="0" u="none" strike="noStrike" kern="1200" cap="none" spc="0" normalizeH="0" baseline="0" noProof="0" dirty="0" err="1">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nemocnice</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 </a:t>
            </a:r>
            <a:r>
              <a:rPr kumimoji="0" lang="en-US" sz="800" b="0" i="0" u="none" strike="noStrike" kern="1200" cap="none" spc="0" normalizeH="0" baseline="0" noProof="0" dirty="0" err="1">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Kralovske</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 Vinohrady, Prague, Czechia; </a:t>
            </a:r>
            <a:r>
              <a:rPr kumimoji="0" lang="en-US" sz="800" b="0" i="0" u="none" strike="noStrike" kern="1200" cap="none" spc="0" normalizeH="0" baseline="3000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19</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FUNDALEU, Buenos Aires, Argentina; </a:t>
            </a:r>
            <a:r>
              <a:rPr kumimoji="0" lang="en-US" sz="800" b="0" i="0" u="none" strike="noStrike" kern="1200" cap="none" spc="0" normalizeH="0" baseline="3000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20</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Alberts Cellular Therapy, Gauteng, South Africa; </a:t>
            </a:r>
            <a:r>
              <a:rPr kumimoji="0" lang="en-US" sz="800" b="0" i="0" u="none" strike="noStrike" kern="1200" cap="none" spc="0" normalizeH="0" baseline="3000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21</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Asan Medical Center, University of Ulsan, College of Medicine, Seoul, South Korea; </a:t>
            </a:r>
            <a:r>
              <a:rPr kumimoji="0" lang="en-US" sz="800" b="0" i="0" u="none" strike="noStrike" kern="1200" cap="none" spc="0" normalizeH="0" baseline="3000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22</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Cancer Institute Hospital, Japanese Foundation for Cancer Research, Tokyo, Japan; </a:t>
            </a:r>
            <a:r>
              <a:rPr kumimoji="0" lang="en-US" sz="800" b="0" i="0" u="none" strike="noStrike" kern="1200" cap="none" spc="0" normalizeH="0" baseline="3000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23</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AbbVie, North Chicago, IL, USA; </a:t>
            </a:r>
            <a:r>
              <a:rPr kumimoji="0" lang="en-US" sz="800" b="0" i="0" u="none" strike="noStrike" kern="1200" cap="none" spc="0" normalizeH="0" baseline="3000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24</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Genmab, Copenhagen, Denmark; </a:t>
            </a:r>
            <a:r>
              <a:rPr kumimoji="0" lang="en-US" sz="800" b="0" i="0" u="none" strike="noStrike" kern="1200" cap="none" spc="0" normalizeH="0" baseline="3000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25</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Hôpital Claude </a:t>
            </a:r>
            <a:r>
              <a:rPr kumimoji="0" lang="en-US" sz="800" b="0" i="0" u="none" strike="noStrike" kern="1200" cap="none" spc="0" normalizeH="0" baseline="0" noProof="0" dirty="0" err="1">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Huriez</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 Lille, France.</a:t>
            </a:r>
            <a:endParaRPr kumimoji="0" lang="en-US" sz="900"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p:txBody>
      </p:sp>
      <p:sp>
        <p:nvSpPr>
          <p:cNvPr id="5" name="Footer Placeholder 1">
            <a:extLst>
              <a:ext uri="{FF2B5EF4-FFF2-40B4-BE49-F238E27FC236}">
                <a16:creationId xmlns:a16="http://schemas.microsoft.com/office/drawing/2014/main" id="{76F75562-5CAE-4D62-83B3-B46AD2BCA7C6}"/>
              </a:ext>
            </a:extLst>
          </p:cNvPr>
          <p:cNvSpPr txBox="1">
            <a:spLocks/>
          </p:cNvSpPr>
          <p:nvPr/>
        </p:nvSpPr>
        <p:spPr>
          <a:xfrm>
            <a:off x="434486" y="6452026"/>
            <a:ext cx="10972800" cy="153888"/>
          </a:xfrm>
          <a:prstGeom prst="rect">
            <a:avLst/>
          </a:prstGeom>
        </p:spPr>
        <p:txBody>
          <a:bodyPr vert="horz" lIns="0" tIns="0" rIns="0" bIns="0" rtlCol="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Arial" panose="020B0604020202020204"/>
                <a:ea typeface="+mn-ea"/>
                <a:cs typeface="+mn-cs"/>
              </a:rPr>
              <a:t>Presented at the American Society of Hematology; December 6–9, 2025; Orlando, FL, USA; DV-017521</a:t>
            </a:r>
          </a:p>
        </p:txBody>
      </p:sp>
      <p:sp>
        <p:nvSpPr>
          <p:cNvPr id="6" name="TextBox 5">
            <a:extLst>
              <a:ext uri="{FF2B5EF4-FFF2-40B4-BE49-F238E27FC236}">
                <a16:creationId xmlns:a16="http://schemas.microsoft.com/office/drawing/2014/main" id="{F605D76D-4328-7E48-1391-AA35B53BEFFA}"/>
              </a:ext>
            </a:extLst>
          </p:cNvPr>
          <p:cNvSpPr txBox="1"/>
          <p:nvPr/>
        </p:nvSpPr>
        <p:spPr>
          <a:xfrm>
            <a:off x="9784080" y="274320"/>
            <a:ext cx="1828800" cy="276999"/>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466</a:t>
            </a:r>
          </a:p>
        </p:txBody>
      </p:sp>
      <p:sp>
        <p:nvSpPr>
          <p:cNvPr id="8" name="Slide Number Placeholder 7">
            <a:extLst>
              <a:ext uri="{FF2B5EF4-FFF2-40B4-BE49-F238E27FC236}">
                <a16:creationId xmlns:a16="http://schemas.microsoft.com/office/drawing/2014/main" id="{7F5513E6-600C-A2E7-7FA5-D8611F38878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en-US" sz="100" b="0" i="0" u="none" strike="noStrike" kern="1200" cap="none" spc="0" normalizeH="0" baseline="0" noProof="0" smtClean="0">
                <a:ln>
                  <a:noFill/>
                </a:ln>
                <a:no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6</a:t>
            </a:fld>
            <a:endParaRPr kumimoji="0" lang="en-US" sz="100" b="0" i="0" u="none" strike="noStrike" kern="1200" cap="none" spc="0" normalizeH="0" baseline="0" noProof="0" dirty="0">
              <a:ln>
                <a:noFill/>
              </a:ln>
              <a:noFill/>
              <a:effectLst/>
              <a:uLnTx/>
              <a:uFillTx/>
              <a:latin typeface="Calibri" panose="020F0502020204030204"/>
              <a:ea typeface="+mn-ea"/>
              <a:cs typeface="+mn-cs"/>
            </a:endParaRPr>
          </a:p>
        </p:txBody>
      </p:sp>
    </p:spTree>
    <p:custDataLst>
      <p:tags r:id="rId1"/>
    </p:custDataLst>
    <p:extLst>
      <p:ext uri="{BB962C8B-B14F-4D97-AF65-F5344CB8AC3E}">
        <p14:creationId xmlns:p14="http://schemas.microsoft.com/office/powerpoint/2010/main" val="3952495908"/>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E2B4A1-5D4D-1BE6-DC68-07C8FEDE5260}"/>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0D489430-E4B7-FC60-9EA6-E80EF07193AE}"/>
              </a:ext>
            </a:extLst>
          </p:cNvPr>
          <p:cNvPicPr>
            <a:picLocks noChangeAspect="1"/>
          </p:cNvPicPr>
          <p:nvPr/>
        </p:nvPicPr>
        <p:blipFill>
          <a:blip r:embed="rId3"/>
          <a:srcRect t="15224" r="218"/>
          <a:stretch/>
        </p:blipFill>
        <p:spPr>
          <a:xfrm>
            <a:off x="-2" y="6530274"/>
            <a:ext cx="12192002" cy="327726"/>
          </a:xfrm>
          <a:prstGeom prst="rect">
            <a:avLst/>
          </a:prstGeom>
        </p:spPr>
      </p:pic>
      <p:sp>
        <p:nvSpPr>
          <p:cNvPr id="7" name="Rectangle: Top Corners Rounded 6">
            <a:extLst>
              <a:ext uri="{FF2B5EF4-FFF2-40B4-BE49-F238E27FC236}">
                <a16:creationId xmlns:a16="http://schemas.microsoft.com/office/drawing/2014/main" id="{EAB595A3-B3F4-4268-479F-2E7A39FDC4A0}"/>
              </a:ext>
            </a:extLst>
          </p:cNvPr>
          <p:cNvSpPr/>
          <p:nvPr/>
        </p:nvSpPr>
        <p:spPr>
          <a:xfrm rot="10800000">
            <a:off x="10046524" y="0"/>
            <a:ext cx="2145474" cy="327358"/>
          </a:xfrm>
          <a:prstGeom prst="round2SameRect">
            <a:avLst/>
          </a:prstGeom>
          <a:gradFill flip="none" rotWithShape="1">
            <a:gsLst>
              <a:gs pos="0">
                <a:srgbClr val="009B92"/>
              </a:gs>
              <a:gs pos="100000">
                <a:srgbClr val="041E49"/>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8" name="TextBox 7">
            <a:extLst>
              <a:ext uri="{FF2B5EF4-FFF2-40B4-BE49-F238E27FC236}">
                <a16:creationId xmlns:a16="http://schemas.microsoft.com/office/drawing/2014/main" id="{DCE5201A-9338-44A9-5A2A-8F54C7135386}"/>
              </a:ext>
            </a:extLst>
          </p:cNvPr>
          <p:cNvSpPr txBox="1"/>
          <p:nvPr/>
        </p:nvSpPr>
        <p:spPr>
          <a:xfrm>
            <a:off x="10229407" y="74603"/>
            <a:ext cx="1811393"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pcoritamab+R</a:t>
            </a:r>
            <a:r>
              <a:rPr kumimoji="0" lang="en-US" sz="1200" b="0" i="0" u="none" strike="noStrike" kern="120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rPr>
              <a:t>2</a:t>
            </a: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in R/R FL</a:t>
            </a:r>
          </a:p>
        </p:txBody>
      </p:sp>
      <p:sp>
        <p:nvSpPr>
          <p:cNvPr id="9" name="TextBox 8">
            <a:extLst>
              <a:ext uri="{FF2B5EF4-FFF2-40B4-BE49-F238E27FC236}">
                <a16:creationId xmlns:a16="http://schemas.microsoft.com/office/drawing/2014/main" id="{73D61B24-3785-F490-D60D-E3AC2B5C9294}"/>
              </a:ext>
            </a:extLst>
          </p:cNvPr>
          <p:cNvSpPr txBox="1"/>
          <p:nvPr/>
        </p:nvSpPr>
        <p:spPr>
          <a:xfrm>
            <a:off x="10229407" y="6571026"/>
            <a:ext cx="1840568"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alchi et al., ASH 2025; #466</a:t>
            </a:r>
          </a:p>
        </p:txBody>
      </p:sp>
      <p:cxnSp>
        <p:nvCxnSpPr>
          <p:cNvPr id="2" name="Straight Arrow Connector 1">
            <a:extLst>
              <a:ext uri="{FF2B5EF4-FFF2-40B4-BE49-F238E27FC236}">
                <a16:creationId xmlns:a16="http://schemas.microsoft.com/office/drawing/2014/main" id="{CD2E039A-4D92-4A68-5D80-9F1E07326BFD}"/>
              </a:ext>
            </a:extLst>
          </p:cNvPr>
          <p:cNvCxnSpPr>
            <a:cxnSpLocks/>
          </p:cNvCxnSpPr>
          <p:nvPr/>
        </p:nvCxnSpPr>
        <p:spPr>
          <a:xfrm>
            <a:off x="2802048" y="2503227"/>
            <a:ext cx="245952" cy="0"/>
          </a:xfrm>
          <a:prstGeom prst="straightConnector1">
            <a:avLst/>
          </a:prstGeom>
          <a:noFill/>
          <a:ln w="28575" cap="flat" cmpd="sng" algn="ctr">
            <a:solidFill>
              <a:srgbClr val="000000"/>
            </a:solidFill>
            <a:prstDash val="solid"/>
            <a:miter lim="800000"/>
            <a:tailEnd type="triangle"/>
          </a:ln>
          <a:effectLst/>
        </p:spPr>
      </p:cxnSp>
      <p:cxnSp>
        <p:nvCxnSpPr>
          <p:cNvPr id="3" name="Straight Arrow Connector 2">
            <a:extLst>
              <a:ext uri="{FF2B5EF4-FFF2-40B4-BE49-F238E27FC236}">
                <a16:creationId xmlns:a16="http://schemas.microsoft.com/office/drawing/2014/main" id="{2520A4D6-FF01-662F-91FD-25ED638F5A12}"/>
              </a:ext>
            </a:extLst>
          </p:cNvPr>
          <p:cNvCxnSpPr>
            <a:cxnSpLocks/>
          </p:cNvCxnSpPr>
          <p:nvPr/>
        </p:nvCxnSpPr>
        <p:spPr>
          <a:xfrm>
            <a:off x="3408382" y="1908813"/>
            <a:ext cx="237928" cy="0"/>
          </a:xfrm>
          <a:prstGeom prst="straightConnector1">
            <a:avLst/>
          </a:prstGeom>
          <a:noFill/>
          <a:ln w="28575" cap="flat" cmpd="sng" algn="ctr">
            <a:solidFill>
              <a:srgbClr val="000000"/>
            </a:solidFill>
            <a:prstDash val="solid"/>
            <a:miter lim="800000"/>
            <a:tailEnd type="triangle"/>
          </a:ln>
          <a:effectLst/>
        </p:spPr>
      </p:cxnSp>
      <p:sp>
        <p:nvSpPr>
          <p:cNvPr id="10" name="Rectangle 9">
            <a:extLst>
              <a:ext uri="{FF2B5EF4-FFF2-40B4-BE49-F238E27FC236}">
                <a16:creationId xmlns:a16="http://schemas.microsoft.com/office/drawing/2014/main" id="{79406109-2E47-0E1C-1A3E-66FE1F03CD5B}"/>
              </a:ext>
            </a:extLst>
          </p:cNvPr>
          <p:cNvSpPr/>
          <p:nvPr/>
        </p:nvSpPr>
        <p:spPr>
          <a:xfrm>
            <a:off x="3054120" y="1555506"/>
            <a:ext cx="346375" cy="1888845"/>
          </a:xfrm>
          <a:prstGeom prst="rect">
            <a:avLst/>
          </a:prstGeom>
          <a:solidFill>
            <a:srgbClr val="FFFFFF"/>
          </a:solidFill>
          <a:ln w="28575"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11" name="TextBox 10">
            <a:extLst>
              <a:ext uri="{FF2B5EF4-FFF2-40B4-BE49-F238E27FC236}">
                <a16:creationId xmlns:a16="http://schemas.microsoft.com/office/drawing/2014/main" id="{7EFC16E1-AB8A-26FE-CCF1-07A7B909E821}"/>
              </a:ext>
            </a:extLst>
          </p:cNvPr>
          <p:cNvSpPr txBox="1"/>
          <p:nvPr/>
        </p:nvSpPr>
        <p:spPr>
          <a:xfrm rot="16200000">
            <a:off x="2586346" y="2429538"/>
            <a:ext cx="1277594"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Randomization 1:1</a:t>
            </a:r>
          </a:p>
        </p:txBody>
      </p:sp>
      <p:sp>
        <p:nvSpPr>
          <p:cNvPr id="12" name="Rectangle 11">
            <a:extLst>
              <a:ext uri="{FF2B5EF4-FFF2-40B4-BE49-F238E27FC236}">
                <a16:creationId xmlns:a16="http://schemas.microsoft.com/office/drawing/2014/main" id="{A58D7320-85B0-B051-3E8C-FB5D2D214CD5}"/>
              </a:ext>
            </a:extLst>
          </p:cNvPr>
          <p:cNvSpPr/>
          <p:nvPr/>
        </p:nvSpPr>
        <p:spPr>
          <a:xfrm>
            <a:off x="394465" y="3951868"/>
            <a:ext cx="3000450" cy="1373891"/>
          </a:xfrm>
          <a:prstGeom prst="rect">
            <a:avLst/>
          </a:prstGeom>
          <a:solidFill>
            <a:schemeClr val="bg1">
              <a:lumMod val="95000"/>
            </a:schemeClr>
          </a:solidFill>
          <a:ln w="12700" cap="flat" cmpd="sng" algn="ctr">
            <a:noFill/>
            <a:prstDash val="solid"/>
            <a:miter lim="800000"/>
          </a:ln>
          <a:effectLst/>
        </p:spPr>
        <p:txBody>
          <a:bodyPr rtlCol="0" anchor="ctr"/>
          <a:lstStyle/>
          <a:p>
            <a:pPr marL="0" marR="0" lvl="0" indent="0" algn="l" defTabSz="1767383" rtl="0" eaLnBrk="1" fontAlgn="auto" latinLnBrk="0" hangingPunct="1">
              <a:lnSpc>
                <a:spcPct val="100000"/>
              </a:lnSpc>
              <a:spcBef>
                <a:spcPts val="0"/>
              </a:spcBef>
              <a:spcAft>
                <a:spcPts val="500"/>
              </a:spcAft>
              <a:buClr>
                <a:srgbClr val="000000"/>
              </a:buClr>
              <a:buSzTx/>
              <a:buFontTx/>
              <a:buNone/>
              <a:tabLst>
                <a:tab pos="1539875" algn="l"/>
              </a:tabLst>
              <a:defRPr/>
            </a:pPr>
            <a:r>
              <a:rPr kumimoji="0" lang="en-US" sz="120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tratification factors</a:t>
            </a:r>
            <a:endParaRPr kumimoji="0" lang="en-US" sz="1200" b="1" i="0" u="none" strike="noStrike" kern="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182880" marR="0" lvl="0" indent="-182880" algn="l" defTabSz="914400" rtl="0" eaLnBrk="1" fontAlgn="auto" latinLnBrk="0" hangingPunct="1">
              <a:lnSpc>
                <a:spcPct val="100000"/>
              </a:lnSpc>
              <a:spcBef>
                <a:spcPts val="0"/>
              </a:spcBef>
              <a:spcAft>
                <a:spcPts val="0"/>
              </a:spcAft>
              <a:buClr>
                <a:srgbClr val="041E49"/>
              </a:buClr>
              <a:buSzTx/>
              <a:buFont typeface="Arial" panose="020B0604020202020204" pitchFamily="34" charset="0"/>
              <a:buChar char="•"/>
              <a:tabLst>
                <a:tab pos="1539875" algn="l"/>
              </a:tabLst>
              <a:defRPr/>
            </a:pPr>
            <a:r>
              <a:rPr kumimoji="0" lang="en-US" sz="1200" b="0" i="0" u="none" strike="noStrike" kern="0" cap="none" spc="0" normalizeH="0" baseline="0" noProof="0" dirty="0">
                <a:ln>
                  <a:noFill/>
                </a:ln>
                <a:solidFill>
                  <a:srgbClr val="000000"/>
                </a:solidFill>
                <a:effectLst/>
                <a:uLnTx/>
                <a:uFillTx/>
                <a:latin typeface="Arial"/>
                <a:ea typeface="+mn-ea"/>
                <a:cs typeface="Arial"/>
              </a:rPr>
              <a:t>Disease status: </a:t>
            </a:r>
          </a:p>
          <a:p>
            <a:pPr marL="396875" marR="0" lvl="1" indent="-182245" algn="l" defTabSz="914400" rtl="0" eaLnBrk="1" fontAlgn="auto" latinLnBrk="0" hangingPunct="1">
              <a:lnSpc>
                <a:spcPct val="100000"/>
              </a:lnSpc>
              <a:spcBef>
                <a:spcPts val="0"/>
              </a:spcBef>
              <a:spcAft>
                <a:spcPts val="0"/>
              </a:spcAft>
              <a:buClr>
                <a:srgbClr val="041E49"/>
              </a:buClr>
              <a:buSzTx/>
              <a:buFont typeface="Arial" panose="020B0604020202020204" pitchFamily="34" charset="0"/>
              <a:buChar char="•"/>
              <a:tabLst>
                <a:tab pos="1539875" algn="l"/>
              </a:tabLst>
              <a:defRPr/>
            </a:pPr>
            <a:r>
              <a:rPr kumimoji="0" lang="en-US" sz="1200" b="0" i="0" u="none" strike="noStrike" kern="0" cap="none" spc="0" normalizeH="0" baseline="0" noProof="0" dirty="0">
                <a:ln>
                  <a:noFill/>
                </a:ln>
                <a:solidFill>
                  <a:srgbClr val="000000"/>
                </a:solidFill>
                <a:effectLst/>
                <a:uLnTx/>
                <a:uFillTx/>
                <a:latin typeface="Arial"/>
                <a:ea typeface="+mn-ea"/>
                <a:cs typeface="Arial"/>
              </a:rPr>
              <a:t>2L: &gt; or ≤ 2 years since last therapy </a:t>
            </a:r>
          </a:p>
          <a:p>
            <a:pPr marL="396875" marR="0" lvl="1" indent="-182245" algn="l" defTabSz="914400" rtl="0" eaLnBrk="1" fontAlgn="auto" latinLnBrk="0" hangingPunct="1">
              <a:lnSpc>
                <a:spcPct val="100000"/>
              </a:lnSpc>
              <a:spcBef>
                <a:spcPts val="0"/>
              </a:spcBef>
              <a:spcAft>
                <a:spcPts val="0"/>
              </a:spcAft>
              <a:buClr>
                <a:srgbClr val="041E49"/>
              </a:buClr>
              <a:buSzTx/>
              <a:buFont typeface="Arial" panose="020B0604020202020204" pitchFamily="34" charset="0"/>
              <a:buChar char="•"/>
              <a:tabLst>
                <a:tab pos="1539875" algn="l"/>
              </a:tabLst>
              <a:defRPr/>
            </a:pPr>
            <a:r>
              <a:rPr kumimoji="0" lang="en-US" sz="1200" b="0" i="0" u="none" strike="noStrike" kern="0" cap="none" spc="0" normalizeH="0" baseline="0" noProof="0" dirty="0">
                <a:ln>
                  <a:noFill/>
                </a:ln>
                <a:solidFill>
                  <a:srgbClr val="000000"/>
                </a:solidFill>
                <a:effectLst/>
                <a:uLnTx/>
                <a:uFillTx/>
                <a:latin typeface="Arial"/>
                <a:ea typeface="+mn-ea"/>
                <a:cs typeface="Arial"/>
              </a:rPr>
              <a:t>3L+: &gt; or &lt; 6 months since last therapy</a:t>
            </a:r>
          </a:p>
          <a:p>
            <a:pPr marL="182880" marR="0" lvl="0" indent="-182880" algn="l" defTabSz="914400" rtl="0" eaLnBrk="1" fontAlgn="auto" latinLnBrk="0" hangingPunct="1">
              <a:lnSpc>
                <a:spcPct val="100000"/>
              </a:lnSpc>
              <a:spcBef>
                <a:spcPts val="0"/>
              </a:spcBef>
              <a:spcAft>
                <a:spcPts val="0"/>
              </a:spcAft>
              <a:buClr>
                <a:srgbClr val="041E49"/>
              </a:buClr>
              <a:buSzTx/>
              <a:buFont typeface="Arial" panose="020B0604020202020204" pitchFamily="34" charset="0"/>
              <a:buChar char="•"/>
              <a:tabLst>
                <a:tab pos="1539875" algn="l"/>
              </a:tabLst>
              <a:defRPr/>
            </a:pPr>
            <a:r>
              <a:rPr kumimoji="0" lang="en-US" sz="1200" b="0" i="0" u="none" strike="noStrike" kern="0" cap="none" spc="0" normalizeH="0" baseline="0" noProof="0" dirty="0">
                <a:ln>
                  <a:noFill/>
                </a:ln>
                <a:solidFill>
                  <a:srgbClr val="000000"/>
                </a:solidFill>
                <a:effectLst/>
                <a:uLnTx/>
                <a:uFillTx/>
                <a:latin typeface="Arial"/>
                <a:ea typeface="+mn-ea"/>
                <a:cs typeface="Arial"/>
              </a:rPr>
              <a:t>Region: US/EU vs Rest of World</a:t>
            </a:r>
          </a:p>
        </p:txBody>
      </p:sp>
      <p:sp>
        <p:nvSpPr>
          <p:cNvPr id="13" name="TextBox 12">
            <a:extLst>
              <a:ext uri="{FF2B5EF4-FFF2-40B4-BE49-F238E27FC236}">
                <a16:creationId xmlns:a16="http://schemas.microsoft.com/office/drawing/2014/main" id="{4BB2E5FE-282A-471D-5AAC-3D7CB7C8BDFD}"/>
              </a:ext>
            </a:extLst>
          </p:cNvPr>
          <p:cNvSpPr txBox="1"/>
          <p:nvPr/>
        </p:nvSpPr>
        <p:spPr>
          <a:xfrm>
            <a:off x="575996" y="5762992"/>
            <a:ext cx="11284572" cy="692497"/>
          </a:xfrm>
          <a:prstGeom prst="rect">
            <a:avLst/>
          </a:prstGeom>
          <a:noFill/>
        </p:spPr>
        <p:txBody>
          <a:bodyPr wrap="squar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30000" noProof="0" dirty="0">
                <a:ln>
                  <a:noFill/>
                </a:ln>
                <a:solidFill>
                  <a:srgbClr val="000000"/>
                </a:solidFill>
                <a:effectLst/>
                <a:uLnTx/>
                <a:uFillTx/>
                <a:latin typeface="Arial"/>
                <a:ea typeface="+mn-ea"/>
                <a:cs typeface="Arial"/>
              </a:rPr>
              <a:t> </a:t>
            </a:r>
            <a:r>
              <a:rPr kumimoji="0" lang="en-US" sz="900" b="0" i="0" u="none" strike="noStrike" kern="0" cap="none" spc="0" normalizeH="0" baseline="30000" noProof="0" dirty="0" err="1">
                <a:ln>
                  <a:noFill/>
                </a:ln>
                <a:solidFill>
                  <a:srgbClr val="000000"/>
                </a:solidFill>
                <a:effectLst/>
                <a:uLnTx/>
                <a:uFillTx/>
                <a:latin typeface="Arial"/>
                <a:ea typeface="+mn-ea"/>
                <a:cs typeface="Arial"/>
              </a:rPr>
              <a:t>a</a:t>
            </a:r>
            <a:r>
              <a:rPr kumimoji="0" lang="en-US" sz="900" b="0" i="0" u="none" strike="noStrike" kern="0" cap="none" spc="0" normalizeH="0" baseline="0" noProof="0" dirty="0" err="1">
                <a:ln>
                  <a:noFill/>
                </a:ln>
                <a:solidFill>
                  <a:srgbClr val="000000"/>
                </a:solidFill>
                <a:effectLst/>
                <a:uLnTx/>
                <a:uFillTx/>
                <a:latin typeface="Arial"/>
                <a:ea typeface="+mn-ea"/>
                <a:cs typeface="Arial"/>
              </a:rPr>
              <a:t>Two</a:t>
            </a:r>
            <a:r>
              <a:rPr kumimoji="0" lang="en-US" sz="900" b="0" i="0" u="none" strike="noStrike" kern="0" cap="none" spc="0" normalizeH="0" baseline="0" noProof="0" dirty="0">
                <a:ln>
                  <a:noFill/>
                </a:ln>
                <a:solidFill>
                  <a:srgbClr val="000000"/>
                </a:solidFill>
                <a:effectLst/>
                <a:uLnTx/>
                <a:uFillTx/>
                <a:latin typeface="Arial"/>
                <a:ea typeface="+mn-ea"/>
                <a:cs typeface="Arial"/>
              </a:rPr>
              <a:t> step-up dosing (SUD) regimens during cycle 1 to mitigate the risk of cytokine release syndrome: either a 2-SUD (0.16 mg on cycle 1 day 1, 0.8 mg on cycle 1 day 8), or 3-SUD (0.16 mg on cycle 1 day 1, 0.8 mg on cycle 1 day 8, 3 mg on cycle 1 day 15) regimen, followed by full dose 48 mg. The 3-SUD regimen was implemented after reduced CRS severity and incidence had been observed in the EPCORE NHL-1 FL trial (NCT03625037).</a:t>
            </a:r>
            <a:r>
              <a:rPr kumimoji="0" lang="en-US" sz="900" b="0" i="0" u="none" strike="noStrike" kern="0" cap="none" spc="0" normalizeH="0" baseline="30000" noProof="0" dirty="0">
                <a:ln>
                  <a:noFill/>
                </a:ln>
                <a:solidFill>
                  <a:srgbClr val="000000"/>
                </a:solidFill>
                <a:effectLst/>
                <a:uLnTx/>
                <a:uFillTx/>
                <a:latin typeface="Arial"/>
                <a:ea typeface="+mn-ea"/>
                <a:cs typeface="Arial"/>
              </a:rPr>
              <a:t>1</a:t>
            </a:r>
            <a:r>
              <a:rPr kumimoji="0" lang="en-US" sz="900" b="0" i="0" u="none" strike="noStrike" kern="0" cap="none" spc="0" normalizeH="0" baseline="0" noProof="0" dirty="0">
                <a:ln>
                  <a:noFill/>
                </a:ln>
                <a:solidFill>
                  <a:srgbClr val="000000"/>
                </a:solidFill>
                <a:effectLst/>
                <a:uLnTx/>
                <a:uFillTx/>
                <a:latin typeface="Arial"/>
                <a:ea typeface="+mn-ea"/>
                <a:cs typeface="Arial"/>
              </a:rPr>
              <a:t> </a:t>
            </a:r>
            <a:r>
              <a:rPr kumimoji="0" lang="en-US" sz="900" b="0" i="0" u="none" strike="noStrike" kern="0" cap="none" spc="0" normalizeH="0" baseline="30000" noProof="0" dirty="0" err="1">
                <a:ln>
                  <a:noFill/>
                </a:ln>
                <a:solidFill>
                  <a:srgbClr val="000000"/>
                </a:solidFill>
                <a:effectLst/>
                <a:uLnTx/>
                <a:uFillTx/>
                <a:latin typeface="Arial"/>
                <a:ea typeface="+mn-ea"/>
                <a:cs typeface="Arial"/>
              </a:rPr>
              <a:t>b</a:t>
            </a:r>
            <a:r>
              <a:rPr kumimoji="0" lang="en-US" sz="900" b="0" i="0" u="none" strike="noStrike" kern="0" cap="none" spc="0" normalizeH="0" baseline="0" noProof="0" dirty="0" err="1">
                <a:ln>
                  <a:noFill/>
                </a:ln>
                <a:solidFill>
                  <a:srgbClr val="000000"/>
                </a:solidFill>
                <a:effectLst/>
                <a:uLnTx/>
                <a:uFillTx/>
                <a:latin typeface="Arial"/>
                <a:ea typeface="+mn-ea"/>
                <a:cs typeface="Arial"/>
              </a:rPr>
              <a:t>The</a:t>
            </a:r>
            <a:r>
              <a:rPr kumimoji="0" lang="en-US" sz="900" b="0" i="0" u="none" strike="noStrike" kern="0" cap="none" spc="0" normalizeH="0" baseline="0" noProof="0" dirty="0">
                <a:ln>
                  <a:noFill/>
                </a:ln>
                <a:solidFill>
                  <a:srgbClr val="000000"/>
                </a:solidFill>
                <a:effectLst/>
                <a:uLnTx/>
                <a:uFillTx/>
                <a:latin typeface="Arial"/>
                <a:ea typeface="+mn-ea"/>
                <a:cs typeface="Arial"/>
              </a:rPr>
              <a:t> 24 mg epcoritamab plus R</a:t>
            </a:r>
            <a:r>
              <a:rPr kumimoji="0" lang="en-US" sz="900" b="0" i="0" u="none" strike="noStrike" kern="0" cap="none" spc="0" normalizeH="0" baseline="30000" noProof="0" dirty="0">
                <a:ln>
                  <a:noFill/>
                </a:ln>
                <a:solidFill>
                  <a:srgbClr val="000000"/>
                </a:solidFill>
                <a:effectLst/>
                <a:uLnTx/>
                <a:uFillTx/>
                <a:latin typeface="Arial"/>
                <a:ea typeface="+mn-ea"/>
                <a:cs typeface="Arial"/>
              </a:rPr>
              <a:t>2</a:t>
            </a:r>
            <a:r>
              <a:rPr kumimoji="0" lang="en-US" sz="900" b="0" i="0" u="none" strike="noStrike" kern="0" cap="none" spc="0" normalizeH="0" baseline="0" noProof="0" dirty="0">
                <a:ln>
                  <a:noFill/>
                </a:ln>
                <a:solidFill>
                  <a:srgbClr val="000000"/>
                </a:solidFill>
                <a:effectLst/>
                <a:uLnTx/>
                <a:uFillTx/>
                <a:latin typeface="Arial"/>
                <a:ea typeface="+mn-ea"/>
                <a:cs typeface="Arial"/>
              </a:rPr>
              <a:t> arm was closed to enrollment based on the superior efficacy for the 48 mg dose from EPCORE NHL-2.</a:t>
            </a:r>
            <a:r>
              <a:rPr kumimoji="0" lang="en-US" sz="900" b="0" i="0" u="none" strike="noStrike" kern="0" cap="none" spc="0" normalizeH="0" baseline="30000" noProof="0" dirty="0">
                <a:ln>
                  <a:noFill/>
                </a:ln>
                <a:solidFill>
                  <a:srgbClr val="000000"/>
                </a:solidFill>
                <a:effectLst/>
                <a:uLnTx/>
                <a:uFillTx/>
                <a:latin typeface="Arial"/>
                <a:ea typeface="+mn-ea"/>
                <a:cs typeface="Arial"/>
              </a:rPr>
              <a:t>2</a:t>
            </a:r>
            <a:r>
              <a:rPr kumimoji="0" lang="en-US" sz="900" b="0" i="0" u="none" strike="noStrike" kern="0" cap="none" spc="0" normalizeH="0" baseline="0" noProof="0" dirty="0">
                <a:ln>
                  <a:noFill/>
                </a:ln>
                <a:solidFill>
                  <a:srgbClr val="000000"/>
                </a:solidFill>
                <a:effectLst/>
                <a:uLnTx/>
                <a:uFillTx/>
                <a:latin typeface="Arial"/>
                <a:ea typeface="+mn-ea"/>
                <a:cs typeface="Arial"/>
              </a:rPr>
              <a:t> Only the data for the optimal dose explored (48 mg) are presented here. </a:t>
            </a:r>
            <a:r>
              <a:rPr kumimoji="0" lang="en-US" sz="900" b="0" i="0" u="none" strike="noStrike" kern="0" cap="none" spc="0" normalizeH="0" baseline="30000" noProof="0" dirty="0" err="1">
                <a:ln>
                  <a:noFill/>
                </a:ln>
                <a:solidFill>
                  <a:srgbClr val="000000"/>
                </a:solidFill>
                <a:effectLst/>
                <a:uLnTx/>
                <a:uFillTx/>
                <a:latin typeface="Arial"/>
                <a:ea typeface="+mn-ea"/>
                <a:cs typeface="Arial"/>
              </a:rPr>
              <a:t>c</a:t>
            </a:r>
            <a:r>
              <a:rPr kumimoji="0" lang="en-US" sz="900" b="0" i="0" u="none" strike="noStrike" kern="0" cap="none" spc="0" normalizeH="0" baseline="0" noProof="0" dirty="0" err="1">
                <a:ln>
                  <a:noFill/>
                </a:ln>
                <a:solidFill>
                  <a:srgbClr val="000000"/>
                </a:solidFill>
                <a:effectLst/>
                <a:uLnTx/>
                <a:uFillTx/>
                <a:latin typeface="Arial"/>
                <a:ea typeface="+mn-ea"/>
                <a:cs typeface="Arial"/>
              </a:rPr>
              <a:t>Minimal</a:t>
            </a:r>
            <a:r>
              <a:rPr kumimoji="0" lang="en-US" sz="900" b="0" i="0" u="none" strike="noStrike" kern="0" cap="none" spc="0" normalizeH="0" baseline="0" noProof="0" dirty="0">
                <a:ln>
                  <a:noFill/>
                </a:ln>
                <a:solidFill>
                  <a:srgbClr val="000000"/>
                </a:solidFill>
                <a:effectLst/>
                <a:uLnTx/>
                <a:uFillTx/>
                <a:latin typeface="Arial"/>
                <a:ea typeface="+mn-ea"/>
                <a:cs typeface="Arial"/>
              </a:rPr>
              <a:t> residual disease data are forthcoming in a future analysis. </a:t>
            </a:r>
            <a:r>
              <a:rPr kumimoji="0" lang="en-US" sz="900" b="0" i="0" u="none" strike="noStrike" kern="0" cap="none" spc="0" normalizeH="0" baseline="30000" noProof="0" dirty="0" err="1">
                <a:ln>
                  <a:noFill/>
                </a:ln>
                <a:solidFill>
                  <a:srgbClr val="000000"/>
                </a:solidFill>
                <a:effectLst/>
                <a:uLnTx/>
                <a:uFillTx/>
                <a:latin typeface="Arial"/>
                <a:ea typeface="+mn-ea"/>
                <a:cs typeface="Arial"/>
              </a:rPr>
              <a:t>d</a:t>
            </a:r>
            <a:r>
              <a:rPr kumimoji="0" lang="en-US" sz="900" b="0" i="0" u="none" strike="noStrike" kern="0" cap="none" spc="0" normalizeH="0" baseline="0" noProof="0" dirty="0" err="1">
                <a:ln>
                  <a:noFill/>
                </a:ln>
                <a:solidFill>
                  <a:srgbClr val="000000"/>
                </a:solidFill>
                <a:effectLst/>
                <a:uLnTx/>
                <a:uFillTx/>
                <a:latin typeface="Arial"/>
                <a:ea typeface="+mn-ea"/>
                <a:cs typeface="Arial"/>
              </a:rPr>
              <a:t>The</a:t>
            </a:r>
            <a:r>
              <a:rPr kumimoji="0" lang="en-US" sz="900" b="0" i="0" u="none" strike="noStrike" kern="0" cap="none" spc="0" normalizeH="0" baseline="0" noProof="0" dirty="0">
                <a:ln>
                  <a:noFill/>
                </a:ln>
                <a:solidFill>
                  <a:srgbClr val="000000"/>
                </a:solidFill>
                <a:effectLst/>
                <a:uLnTx/>
                <a:uFillTx/>
                <a:latin typeface="Arial"/>
                <a:ea typeface="+mn-ea"/>
                <a:cs typeface="Arial"/>
              </a:rPr>
              <a:t> data presented here are from the second planned interim analysis (May 24, 2025) after 78% Information Fraction for PFS had occurre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 Vose J, et al. </a:t>
            </a:r>
            <a:r>
              <a:rPr kumimoji="0" lang="en-US" sz="900" b="0" i="1"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J Clin Oncol. </a:t>
            </a:r>
            <a:r>
              <a:rPr kumimoji="0" lang="en-US" sz="9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24;42(16_suppl):7015–7015.</a:t>
            </a:r>
            <a:r>
              <a:rPr kumimoji="0" lang="en-US" sz="900" b="0" i="0" u="none" strike="noStrike" kern="0" cap="none" spc="0" normalizeH="0" baseline="0" noProof="0" dirty="0">
                <a:ln>
                  <a:noFill/>
                </a:ln>
                <a:solidFill>
                  <a:srgbClr val="000000"/>
                </a:solidFill>
                <a:effectLst/>
                <a:uLnTx/>
                <a:uFillTx/>
                <a:latin typeface="Arial"/>
                <a:ea typeface="+mn-ea"/>
                <a:cs typeface="Arial"/>
              </a:rPr>
              <a:t> </a:t>
            </a:r>
            <a:r>
              <a:rPr kumimoji="0" lang="en-US" sz="9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 Falchi L, et al. </a:t>
            </a:r>
            <a:r>
              <a:rPr kumimoji="0" lang="en-US" sz="900" b="0" i="1"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lood</a:t>
            </a:r>
            <a:r>
              <a:rPr kumimoji="0" lang="en-US" sz="9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24;144(Supplement 1):342–342. </a:t>
            </a:r>
          </a:p>
        </p:txBody>
      </p:sp>
      <p:sp>
        <p:nvSpPr>
          <p:cNvPr id="14" name="Rectangle 13">
            <a:extLst>
              <a:ext uri="{FF2B5EF4-FFF2-40B4-BE49-F238E27FC236}">
                <a16:creationId xmlns:a16="http://schemas.microsoft.com/office/drawing/2014/main" id="{43CFBA02-D2E4-A51B-D76E-7F3570DA8136}"/>
              </a:ext>
            </a:extLst>
          </p:cNvPr>
          <p:cNvSpPr/>
          <p:nvPr/>
        </p:nvSpPr>
        <p:spPr>
          <a:xfrm>
            <a:off x="3653643" y="902052"/>
            <a:ext cx="8104471" cy="355333"/>
          </a:xfrm>
          <a:prstGeom prst="rect">
            <a:avLst/>
          </a:prstGeom>
          <a:noFill/>
          <a:ln w="12700" cap="flat" cmpd="sng" algn="ctr">
            <a:noFill/>
            <a:prstDash val="solid"/>
            <a:miter lim="800000"/>
          </a:ln>
          <a:effectLst/>
        </p:spPr>
        <p:txBody>
          <a:bodyPr rtlCol="0" anchor="ctr"/>
          <a:lstStyle/>
          <a:p>
            <a:pPr marL="0" marR="0" lvl="0" indent="0" algn="ctr" defTabSz="1767383" rtl="0" eaLnBrk="1" fontAlgn="auto" latinLnBrk="0" hangingPunct="1">
              <a:lnSpc>
                <a:spcPct val="100000"/>
              </a:lnSpc>
              <a:spcBef>
                <a:spcPts val="0"/>
              </a:spcBef>
              <a:spcAft>
                <a:spcPts val="0"/>
              </a:spcAft>
              <a:buClr>
                <a:srgbClr val="000000"/>
              </a:buClr>
              <a:buSzTx/>
              <a:buFontTx/>
              <a:buNone/>
              <a:tabLst>
                <a:tab pos="1539875" algn="l"/>
              </a:tabLst>
              <a:defRPr/>
            </a:pPr>
            <a:r>
              <a:rPr kumimoji="0" lang="en-US" sz="180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ixed-Duration: 12 Cycles (28-Day Cycles)</a:t>
            </a: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5" name="Rectangle: Rounded Corners 14">
            <a:extLst>
              <a:ext uri="{FF2B5EF4-FFF2-40B4-BE49-F238E27FC236}">
                <a16:creationId xmlns:a16="http://schemas.microsoft.com/office/drawing/2014/main" id="{658C3DF4-172E-3E34-CC6B-8759D992CC6C}"/>
              </a:ext>
            </a:extLst>
          </p:cNvPr>
          <p:cNvSpPr/>
          <p:nvPr/>
        </p:nvSpPr>
        <p:spPr>
          <a:xfrm>
            <a:off x="3653645" y="3951869"/>
            <a:ext cx="8104470" cy="936810"/>
          </a:xfrm>
          <a:prstGeom prst="roundRect">
            <a:avLst>
              <a:gd name="adj" fmla="val 0"/>
            </a:avLst>
          </a:prstGeom>
          <a:solidFill>
            <a:srgbClr val="FFFFFF">
              <a:lumMod val="95000"/>
            </a:srgbClr>
          </a:solidFill>
          <a:ln w="12700" cap="flat" cmpd="sng" algn="ctr">
            <a:noFill/>
            <a:prstDash val="solid"/>
            <a:miter lim="800000"/>
          </a:ln>
          <a:effectLst/>
        </p:spPr>
        <p:txBody>
          <a:bodyPr rtlCol="0" anchor="ctr"/>
          <a:lstStyle/>
          <a:p>
            <a:pPr marL="285750" marR="0" lvl="0" indent="-285750" algn="l" defTabSz="914400" rtl="0" eaLnBrk="1" fontAlgn="auto" latinLnBrk="0" hangingPunct="1">
              <a:lnSpc>
                <a:spcPct val="100000"/>
              </a:lnSpc>
              <a:spcBef>
                <a:spcPts val="0"/>
              </a:spcBef>
              <a:spcAft>
                <a:spcPts val="500"/>
              </a:spcAft>
              <a:buClr>
                <a:srgbClr val="041E49"/>
              </a:buClr>
              <a:buSzTx/>
              <a:buFont typeface="Arial" panose="020B0604020202020204" pitchFamily="34" charset="0"/>
              <a:buChar char="•"/>
              <a:tabLst>
                <a:tab pos="1539875" algn="l"/>
              </a:tabLst>
              <a:defRPr/>
            </a:pPr>
            <a:r>
              <a:rPr kumimoji="0" lang="en-US" sz="1600" b="1" i="0" u="none" strike="noStrike" kern="0" cap="none" spc="0" normalizeH="0" baseline="0" noProof="0" dirty="0">
                <a:ln>
                  <a:noFill/>
                </a:ln>
                <a:solidFill>
                  <a:srgbClr val="009B92"/>
                </a:solidFill>
                <a:effectLst/>
                <a:uLnTx/>
                <a:uFillTx/>
                <a:latin typeface="Arial" panose="020B0604020202020204" pitchFamily="34" charset="0"/>
                <a:ea typeface="+mn-ea"/>
                <a:cs typeface="Arial" panose="020B0604020202020204" pitchFamily="34" charset="0"/>
              </a:rPr>
              <a:t>Dual primary endpoints: ORR per IRC and PFS per IRC</a:t>
            </a:r>
            <a:endPar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500"/>
              </a:spcAft>
              <a:buClr>
                <a:srgbClr val="041E49"/>
              </a:buClr>
              <a:buSzTx/>
              <a:buFont typeface="Arial" panose="020B0604020202020204" pitchFamily="34" charset="0"/>
              <a:buChar char="•"/>
              <a:tabLst>
                <a:tab pos="1539875" algn="l"/>
              </a:tabLst>
              <a:defRPr/>
            </a:pPr>
            <a:r>
              <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Key s</a:t>
            </a:r>
            <a:r>
              <a:rPr kumimoji="0" lang="en-US" sz="1400" b="0" i="0" u="none" strike="noStrike" kern="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econdary</a:t>
            </a:r>
            <a:r>
              <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endpoints: CR rate per IRC, OS, and </a:t>
            </a:r>
            <a:r>
              <a:rPr kumimoji="0" lang="en-US" sz="1400" b="0" i="0" u="none" strike="noStrike" kern="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MRD</a:t>
            </a:r>
            <a:r>
              <a:rPr kumimoji="0" lang="en-US" sz="1400" b="0" i="0" u="none" strike="noStrike" kern="0" cap="none" spc="0" normalizeH="0" baseline="30000" noProof="0" dirty="0" err="1">
                <a:ln>
                  <a:noFill/>
                </a:ln>
                <a:solidFill>
                  <a:srgbClr val="000000"/>
                </a:solidFill>
                <a:effectLst/>
                <a:uLnTx/>
                <a:uFillTx/>
                <a:latin typeface="Arial" panose="020B0604020202020204" pitchFamily="34" charset="0"/>
                <a:ea typeface="+mn-ea"/>
                <a:cs typeface="Arial" panose="020B0604020202020204" pitchFamily="34" charset="0"/>
              </a:rPr>
              <a:t>c</a:t>
            </a: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500"/>
              </a:spcAft>
              <a:buClr>
                <a:srgbClr val="041E49"/>
              </a:buClr>
              <a:buSzTx/>
              <a:buFont typeface="Arial" panose="020B0604020202020204" pitchFamily="34" charset="0"/>
              <a:buChar char="•"/>
              <a:tabLst>
                <a:tab pos="1539875" algn="l"/>
              </a:tabLst>
              <a:defRPr/>
            </a:pPr>
            <a:r>
              <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dditional secondary endpoints: DOR, DOCR, TTNLT, safety, and PRO assessments</a:t>
            </a:r>
          </a:p>
        </p:txBody>
      </p:sp>
      <p:sp>
        <p:nvSpPr>
          <p:cNvPr id="16" name="TextBox 15">
            <a:extLst>
              <a:ext uri="{FF2B5EF4-FFF2-40B4-BE49-F238E27FC236}">
                <a16:creationId xmlns:a16="http://schemas.microsoft.com/office/drawing/2014/main" id="{ED74649B-DC72-CF86-B3DF-502F01E0D0BE}"/>
              </a:ext>
            </a:extLst>
          </p:cNvPr>
          <p:cNvSpPr txBox="1"/>
          <p:nvPr/>
        </p:nvSpPr>
        <p:spPr>
          <a:xfrm>
            <a:off x="3676793" y="5121835"/>
            <a:ext cx="4315593"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Data cutoff: May 24, 2025;</a:t>
            </a:r>
            <a:r>
              <a:rPr kumimoji="0" lang="en-US" sz="1200" b="1" i="0" u="none" strike="noStrike" kern="1200" cap="none" spc="0" normalizeH="0" baseline="30000" noProof="0" dirty="0">
                <a:ln>
                  <a:noFill/>
                </a:ln>
                <a:solidFill>
                  <a:srgbClr val="000000"/>
                </a:solidFill>
                <a:effectLst/>
                <a:uLnTx/>
                <a:uFillTx/>
                <a:latin typeface="Arial"/>
                <a:ea typeface="+mn-ea"/>
                <a:cs typeface="+mn-cs"/>
              </a:rPr>
              <a:t> </a:t>
            </a:r>
            <a:r>
              <a:rPr kumimoji="0" lang="en-US" sz="1200" b="1" i="0" u="none" strike="noStrike" kern="1200" cap="none" spc="0" normalizeH="0" baseline="0" noProof="0" dirty="0">
                <a:ln>
                  <a:noFill/>
                </a:ln>
                <a:solidFill>
                  <a:srgbClr val="000000"/>
                </a:solidFill>
                <a:effectLst/>
                <a:uLnTx/>
                <a:uFillTx/>
                <a:latin typeface="Arial"/>
                <a:ea typeface="+mn-ea"/>
                <a:cs typeface="+mn-cs"/>
              </a:rPr>
              <a:t>median follow-up: 14.8 </a:t>
            </a:r>
            <a:r>
              <a:rPr kumimoji="0" lang="en-US" sz="1200" b="1" i="0" u="none" strike="noStrike" kern="1200" cap="none" spc="0" normalizeH="0" baseline="0" noProof="0" dirty="0" err="1">
                <a:ln>
                  <a:noFill/>
                </a:ln>
                <a:solidFill>
                  <a:srgbClr val="000000"/>
                </a:solidFill>
                <a:effectLst/>
                <a:uLnTx/>
                <a:uFillTx/>
                <a:latin typeface="Arial"/>
                <a:ea typeface="+mn-ea"/>
                <a:cs typeface="+mn-cs"/>
              </a:rPr>
              <a:t>months</a:t>
            </a:r>
            <a:r>
              <a:rPr kumimoji="0" lang="en-US" sz="1200" b="1" i="0" u="none" strike="noStrike" kern="1200" cap="none" spc="0" normalizeH="0" baseline="30000" noProof="0" dirty="0" err="1">
                <a:ln>
                  <a:noFill/>
                </a:ln>
                <a:solidFill>
                  <a:srgbClr val="000000"/>
                </a:solidFill>
                <a:effectLst/>
                <a:uLnTx/>
                <a:uFillTx/>
                <a:latin typeface="Arial"/>
                <a:ea typeface="+mn-ea"/>
                <a:cs typeface="+mn-cs"/>
              </a:rPr>
              <a:t>d</a:t>
            </a:r>
            <a:r>
              <a:rPr kumimoji="0" lang="en-US" sz="1200" b="1" i="0" u="none" strike="noStrike" kern="1200" cap="none" spc="0" normalizeH="0" baseline="30000" noProof="0" dirty="0">
                <a:ln>
                  <a:noFill/>
                </a:ln>
                <a:solidFill>
                  <a:srgbClr val="000000"/>
                </a:solidFill>
                <a:effectLst/>
                <a:uLnTx/>
                <a:uFillTx/>
                <a:latin typeface="Arial"/>
                <a:ea typeface="+mn-ea"/>
                <a:cs typeface="+mn-cs"/>
              </a:rPr>
              <a:t> </a:t>
            </a: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nrollment period: October 2022 - January 2025</a:t>
            </a:r>
            <a:endParaRPr kumimoji="0" lang="en-US" sz="11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17" name="Straight Arrow Connector 16">
            <a:extLst>
              <a:ext uri="{FF2B5EF4-FFF2-40B4-BE49-F238E27FC236}">
                <a16:creationId xmlns:a16="http://schemas.microsoft.com/office/drawing/2014/main" id="{A541017F-9791-61F7-7B1D-02CC2C04FFCC}"/>
              </a:ext>
            </a:extLst>
          </p:cNvPr>
          <p:cNvCxnSpPr>
            <a:cxnSpLocks/>
          </p:cNvCxnSpPr>
          <p:nvPr/>
        </p:nvCxnSpPr>
        <p:spPr>
          <a:xfrm>
            <a:off x="3400495" y="3186750"/>
            <a:ext cx="245815" cy="0"/>
          </a:xfrm>
          <a:prstGeom prst="straightConnector1">
            <a:avLst/>
          </a:prstGeom>
          <a:noFill/>
          <a:ln w="28575" cap="flat" cmpd="sng" algn="ctr">
            <a:solidFill>
              <a:srgbClr val="000000"/>
            </a:solidFill>
            <a:prstDash val="solid"/>
            <a:miter lim="800000"/>
            <a:tailEnd type="triangle"/>
          </a:ln>
          <a:effectLst/>
        </p:spPr>
      </p:cxnSp>
      <p:sp>
        <p:nvSpPr>
          <p:cNvPr id="18" name="Title 1">
            <a:extLst>
              <a:ext uri="{FF2B5EF4-FFF2-40B4-BE49-F238E27FC236}">
                <a16:creationId xmlns:a16="http://schemas.microsoft.com/office/drawing/2014/main" id="{25F3B2E2-EDCA-C07D-846D-F0CD0B6CA34D}"/>
              </a:ext>
            </a:extLst>
          </p:cNvPr>
          <p:cNvSpPr txBox="1">
            <a:spLocks/>
          </p:cNvSpPr>
          <p:nvPr/>
        </p:nvSpPr>
        <p:spPr>
          <a:xfrm>
            <a:off x="575996" y="358830"/>
            <a:ext cx="10972800" cy="369332"/>
          </a:xfrm>
          <a:prstGeom prst="rect">
            <a:avLst/>
          </a:prstGeom>
        </p:spPr>
        <p:txBody>
          <a:bodyPr vert="horz" lIns="0" tIns="0" rIns="0" bIns="0" rtlCol="0" anchor="t" anchorCtr="0">
            <a:spAutoFit/>
          </a:bodyPr>
          <a:lstStyle>
            <a:lvl1pPr algn="l" defTabSz="914400" rtl="0" eaLnBrk="1" latinLnBrk="0" hangingPunct="1">
              <a:lnSpc>
                <a:spcPct val="95000"/>
              </a:lnSpc>
              <a:spcBef>
                <a:spcPct val="0"/>
              </a:spcBef>
              <a:buNone/>
              <a:defRPr sz="2800" b="1" kern="1200">
                <a:solidFill>
                  <a:srgbClr val="00A195"/>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0" cap="none" spc="0" normalizeH="0" baseline="0" noProof="0" dirty="0">
                <a:ln>
                  <a:noFill/>
                </a:ln>
                <a:solidFill>
                  <a:srgbClr val="00A195"/>
                </a:solidFill>
                <a:effectLst/>
                <a:uLnTx/>
                <a:uFillTx/>
                <a:latin typeface="Arial" panose="020B0604020202020204" pitchFamily="34" charset="0"/>
                <a:ea typeface="+mj-ea"/>
                <a:cs typeface="Arial" panose="020B0604020202020204" pitchFamily="34" charset="0"/>
              </a:rPr>
              <a:t>EPCORE FL-1: Phase 3, Global, Randomized, Open-Label Study </a:t>
            </a:r>
          </a:p>
        </p:txBody>
      </p:sp>
      <p:sp>
        <p:nvSpPr>
          <p:cNvPr id="19" name="Rectangle 18">
            <a:extLst>
              <a:ext uri="{FF2B5EF4-FFF2-40B4-BE49-F238E27FC236}">
                <a16:creationId xmlns:a16="http://schemas.microsoft.com/office/drawing/2014/main" id="{6ED3001C-5BA2-4CD6-CE56-A045F57B2C2C}"/>
              </a:ext>
            </a:extLst>
          </p:cNvPr>
          <p:cNvSpPr/>
          <p:nvPr/>
        </p:nvSpPr>
        <p:spPr>
          <a:xfrm>
            <a:off x="390393" y="1546242"/>
            <a:ext cx="2410577" cy="1888843"/>
          </a:xfrm>
          <a:prstGeom prst="rect">
            <a:avLst/>
          </a:prstGeom>
          <a:solidFill>
            <a:srgbClr val="FFFFFF">
              <a:lumMod val="95000"/>
            </a:srgbClr>
          </a:solidFill>
          <a:ln w="28575" cap="flat" cmpd="sng" algn="ctr">
            <a:solidFill>
              <a:srgbClr val="000000"/>
            </a:solidFill>
            <a:prstDash val="solid"/>
            <a:miter lim="800000"/>
          </a:ln>
          <a:effectLst/>
        </p:spPr>
        <p:txBody>
          <a:bodyPr lIns="91440" tIns="45720" rIns="91440" bIns="45720" rtlCol="0" anchor="ctr"/>
          <a:lstStyle/>
          <a:p>
            <a:pPr marL="0" marR="0" lvl="0" indent="0" algn="l" defTabSz="1767383" rtl="0" eaLnBrk="1" fontAlgn="auto" latinLnBrk="0" hangingPunct="1">
              <a:lnSpc>
                <a:spcPct val="100000"/>
              </a:lnSpc>
              <a:spcBef>
                <a:spcPts val="0"/>
              </a:spcBef>
              <a:spcAft>
                <a:spcPts val="500"/>
              </a:spcAft>
              <a:buClr>
                <a:srgbClr val="000000"/>
              </a:buClr>
              <a:buSzTx/>
              <a:buFontTx/>
              <a:buNone/>
              <a:tabLst>
                <a:tab pos="1539875" algn="l"/>
              </a:tabLst>
              <a:defRPr/>
            </a:pPr>
            <a:r>
              <a:rPr kumimoji="0" lang="en-US" sz="1200" b="1" i="0" u="none" strike="noStrike" kern="0" cap="none" spc="0" normalizeH="0" baseline="0" noProof="0" dirty="0">
                <a:ln>
                  <a:noFill/>
                </a:ln>
                <a:solidFill>
                  <a:srgbClr val="000000"/>
                </a:solidFill>
                <a:effectLst/>
                <a:uLnTx/>
                <a:uFillTx/>
                <a:latin typeface="Arial"/>
                <a:ea typeface="+mn-ea"/>
                <a:cs typeface="Arial"/>
              </a:rPr>
              <a:t>Key eligibility criteria</a:t>
            </a:r>
            <a:endParaRPr kumimoji="0" lang="en-US" sz="1200" b="1" i="0" u="none" strike="noStrike" kern="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182880" marR="0" lvl="0" indent="-182880" algn="l" defTabSz="914400" rtl="0" eaLnBrk="1" fontAlgn="auto" latinLnBrk="0" hangingPunct="1">
              <a:lnSpc>
                <a:spcPct val="100000"/>
              </a:lnSpc>
              <a:spcBef>
                <a:spcPts val="0"/>
              </a:spcBef>
              <a:spcAft>
                <a:spcPts val="0"/>
              </a:spcAft>
              <a:buClr>
                <a:srgbClr val="041E49"/>
              </a:buClr>
              <a:buSzTx/>
              <a:buFont typeface="Arial" panose="020B0604020202020204" pitchFamily="34" charset="0"/>
              <a:buChar char="•"/>
              <a:tabLst>
                <a:tab pos="1539875" algn="l"/>
              </a:tabLst>
              <a:defRPr/>
            </a:pPr>
            <a:r>
              <a:rPr kumimoji="0" lang="en-US" sz="1200" b="0" i="0" u="none" strike="noStrike" kern="0" cap="none" spc="0" normalizeH="0" baseline="0" noProof="0" dirty="0">
                <a:ln>
                  <a:noFill/>
                </a:ln>
                <a:solidFill>
                  <a:srgbClr val="000000"/>
                </a:solidFill>
                <a:effectLst/>
                <a:uLnTx/>
                <a:uFillTx/>
                <a:latin typeface="Arial"/>
                <a:ea typeface="+mn-ea"/>
                <a:cs typeface="Arial"/>
              </a:rPr>
              <a:t>Histologically confirmed CD20+ FL</a:t>
            </a:r>
          </a:p>
          <a:p>
            <a:pPr marL="182880" marR="0" lvl="0" indent="-182880" algn="l" defTabSz="914400" rtl="0" eaLnBrk="1" fontAlgn="auto" latinLnBrk="0" hangingPunct="1">
              <a:lnSpc>
                <a:spcPct val="100000"/>
              </a:lnSpc>
              <a:spcBef>
                <a:spcPts val="0"/>
              </a:spcBef>
              <a:spcAft>
                <a:spcPts val="0"/>
              </a:spcAft>
              <a:buClr>
                <a:srgbClr val="041E49"/>
              </a:buClr>
              <a:buSzTx/>
              <a:buFont typeface="Arial" panose="020B0604020202020204" pitchFamily="34" charset="0"/>
              <a:buChar char="•"/>
              <a:tabLst>
                <a:tab pos="1539875" algn="l"/>
              </a:tabLst>
              <a:defRPr/>
            </a:pPr>
            <a:r>
              <a:rPr kumimoji="0" lang="en-US" sz="1200" b="0" i="0" u="none" strike="noStrike" kern="0" cap="none" spc="0" normalizeH="0" baseline="0" noProof="0" dirty="0">
                <a:ln>
                  <a:noFill/>
                </a:ln>
                <a:solidFill>
                  <a:srgbClr val="000000"/>
                </a:solidFill>
                <a:effectLst/>
                <a:uLnTx/>
                <a:uFillTx/>
                <a:latin typeface="Arial"/>
                <a:ea typeface="+mn-ea"/>
                <a:cs typeface="Arial"/>
              </a:rPr>
              <a:t>Grade 1-3a, Stage II-IV</a:t>
            </a:r>
          </a:p>
          <a:p>
            <a:pPr marL="182880" marR="0" lvl="0" indent="-182880" algn="l" defTabSz="914400" rtl="0" eaLnBrk="1" fontAlgn="auto" latinLnBrk="0" hangingPunct="1">
              <a:lnSpc>
                <a:spcPct val="100000"/>
              </a:lnSpc>
              <a:spcBef>
                <a:spcPts val="0"/>
              </a:spcBef>
              <a:spcAft>
                <a:spcPts val="0"/>
              </a:spcAft>
              <a:buClr>
                <a:srgbClr val="041E49"/>
              </a:buClr>
              <a:buSzTx/>
              <a:buFont typeface="Arial" panose="020B0604020202020204" pitchFamily="34" charset="0"/>
              <a:buChar char="•"/>
              <a:tabLst>
                <a:tab pos="1539875" algn="l"/>
              </a:tabLst>
              <a:defRPr/>
            </a:pPr>
            <a:r>
              <a:rPr kumimoji="0" lang="en-US" sz="1200" b="0" i="0" u="none" strike="noStrike" kern="0" cap="none" spc="0" normalizeH="0" baseline="0" noProof="0" dirty="0">
                <a:ln>
                  <a:noFill/>
                </a:ln>
                <a:solidFill>
                  <a:srgbClr val="000000"/>
                </a:solidFill>
                <a:effectLst/>
                <a:uLnTx/>
                <a:uFillTx/>
                <a:latin typeface="Arial"/>
                <a:ea typeface="+mn-ea"/>
                <a:cs typeface="Arial"/>
              </a:rPr>
              <a:t>≥ 1 prior treatment            including anti-CD20 </a:t>
            </a:r>
            <a:r>
              <a:rPr kumimoji="0" lang="en-US" sz="1200" b="0" i="0" u="none" strike="noStrike" kern="0" cap="none" spc="0" normalizeH="0" baseline="0" noProof="0" dirty="0" err="1">
                <a:ln>
                  <a:noFill/>
                </a:ln>
                <a:solidFill>
                  <a:srgbClr val="000000"/>
                </a:solidFill>
                <a:effectLst/>
                <a:uLnTx/>
                <a:uFillTx/>
                <a:latin typeface="Arial"/>
                <a:ea typeface="+mn-ea"/>
                <a:cs typeface="Arial"/>
              </a:rPr>
              <a:t>mAb</a:t>
            </a:r>
            <a:r>
              <a:rPr kumimoji="0" lang="en-US" sz="1200" b="0" i="0" u="none" strike="noStrike" kern="0" cap="none" spc="0" normalizeH="0" baseline="0" noProof="0" dirty="0">
                <a:ln>
                  <a:noFill/>
                </a:ln>
                <a:solidFill>
                  <a:srgbClr val="000000"/>
                </a:solidFill>
                <a:effectLst/>
                <a:uLnTx/>
                <a:uFillTx/>
                <a:latin typeface="Arial"/>
                <a:ea typeface="+mn-ea"/>
                <a:cs typeface="Arial"/>
              </a:rPr>
              <a:t> plus an alkylating agent</a:t>
            </a:r>
          </a:p>
          <a:p>
            <a:pPr marL="182880" marR="0" lvl="0" indent="-182880" algn="l" defTabSz="914400" rtl="0" eaLnBrk="1" fontAlgn="auto" latinLnBrk="0" hangingPunct="1">
              <a:lnSpc>
                <a:spcPct val="100000"/>
              </a:lnSpc>
              <a:spcBef>
                <a:spcPts val="0"/>
              </a:spcBef>
              <a:spcAft>
                <a:spcPts val="0"/>
              </a:spcAft>
              <a:buClr>
                <a:srgbClr val="041E49"/>
              </a:buClr>
              <a:buSzTx/>
              <a:buFont typeface="Arial" panose="020B0604020202020204" pitchFamily="34" charset="0"/>
              <a:buChar char="•"/>
              <a:tabLst>
                <a:tab pos="1539875" algn="l"/>
              </a:tabLst>
              <a:defRPr/>
            </a:pPr>
            <a:r>
              <a:rPr kumimoji="0" lang="en-US" sz="1200" b="0" i="0" u="none" strike="noStrike" kern="0" cap="none" spc="0" normalizeH="0" baseline="0" noProof="0" dirty="0">
                <a:ln>
                  <a:noFill/>
                </a:ln>
                <a:solidFill>
                  <a:srgbClr val="000000"/>
                </a:solidFill>
                <a:effectLst/>
                <a:uLnTx/>
                <a:uFillTx/>
                <a:latin typeface="Arial"/>
                <a:ea typeface="+mn-ea"/>
                <a:cs typeface="Arial"/>
              </a:rPr>
              <a:t>Met ≥ 1 GELF criterion</a:t>
            </a:r>
          </a:p>
        </p:txBody>
      </p:sp>
      <p:sp>
        <p:nvSpPr>
          <p:cNvPr id="20" name="Rectangle: Rounded Corners 19">
            <a:extLst>
              <a:ext uri="{FF2B5EF4-FFF2-40B4-BE49-F238E27FC236}">
                <a16:creationId xmlns:a16="http://schemas.microsoft.com/office/drawing/2014/main" id="{952AF4E8-BA27-4BD4-E58A-B90A6E5A0C47}"/>
              </a:ext>
            </a:extLst>
          </p:cNvPr>
          <p:cNvSpPr>
            <a:spLocks/>
          </p:cNvSpPr>
          <p:nvPr/>
        </p:nvSpPr>
        <p:spPr>
          <a:xfrm>
            <a:off x="3654197" y="1298590"/>
            <a:ext cx="8104471" cy="1200702"/>
          </a:xfrm>
          <a:prstGeom prst="roundRect">
            <a:avLst>
              <a:gd name="adj" fmla="val 0"/>
            </a:avLst>
          </a:prstGeom>
          <a:solidFill>
            <a:srgbClr val="C2E8E6"/>
          </a:solidFill>
          <a:ln w="28575" cap="flat" cmpd="sng" algn="ctr">
            <a:solidFill>
              <a:srgbClr val="00A195"/>
            </a:solidFill>
            <a:prstDash val="solid"/>
            <a:miter lim="800000"/>
          </a:ln>
          <a:effectLst/>
        </p:spPr>
        <p:txBody>
          <a:bodyPr lIns="71933" tIns="71933" rIns="71933" bIns="71933" rtlCol="0" anchor="ctr">
            <a:noAutofit/>
          </a:bodyPr>
          <a:lstStyle/>
          <a:p>
            <a:pPr marL="0" marR="0" lvl="0" indent="0" algn="l" defTabSz="913506" rtl="0" eaLnBrk="1" fontAlgn="auto" latinLnBrk="0" hangingPunct="1">
              <a:lnSpc>
                <a:spcPct val="100000"/>
              </a:lnSpc>
              <a:spcBef>
                <a:spcPts val="400"/>
              </a:spcBef>
              <a:spcAft>
                <a:spcPts val="0"/>
              </a:spcAft>
              <a:buClrTx/>
              <a:buSzTx/>
              <a:buFontTx/>
              <a:buNone/>
              <a:tabLst/>
              <a:defRPr/>
            </a:pPr>
            <a:r>
              <a:rPr kumimoji="0" lang="en-US" sz="1800" b="1" i="0" u="none" strike="noStrike" kern="0" cap="none" spc="0" normalizeH="0" baseline="0" noProof="0" dirty="0">
                <a:ln>
                  <a:noFill/>
                </a:ln>
                <a:solidFill>
                  <a:srgbClr val="006C64"/>
                </a:solidFill>
                <a:effectLst/>
                <a:uLnTx/>
                <a:uFillTx/>
                <a:latin typeface="Arial" panose="020B0604020202020204" pitchFamily="34" charset="0"/>
                <a:ea typeface="+mn-ea"/>
                <a:cs typeface="Arial" panose="020B0604020202020204" pitchFamily="34" charset="0"/>
              </a:rPr>
              <a:t>  Epcoritamab </a:t>
            </a:r>
            <a:r>
              <a:rPr kumimoji="0" lang="en-US" sz="1800" b="1" i="0" u="none" strike="noStrike" kern="1200" cap="none" spc="0" normalizeH="0" baseline="0" noProof="0" dirty="0">
                <a:ln>
                  <a:noFill/>
                </a:ln>
                <a:solidFill>
                  <a:srgbClr val="006C64"/>
                </a:solidFill>
                <a:effectLst/>
                <a:uLnTx/>
                <a:uFillTx/>
                <a:latin typeface="Arial" panose="020B0604020202020204" pitchFamily="34" charset="0"/>
                <a:ea typeface="+mn-ea"/>
                <a:cs typeface="Arial" panose="020B0604020202020204" pitchFamily="34" charset="0"/>
              </a:rPr>
              <a:t>(48 mg) </a:t>
            </a:r>
            <a:r>
              <a:rPr kumimoji="0" lang="en-US" sz="1800" b="1" i="0" u="none" strike="noStrike" kern="0" cap="none" spc="0" normalizeH="0" baseline="0" noProof="0" dirty="0">
                <a:ln>
                  <a:noFill/>
                </a:ln>
                <a:solidFill>
                  <a:srgbClr val="006C64"/>
                </a:solidFill>
                <a:effectLst/>
                <a:uLnTx/>
                <a:uFillTx/>
                <a:latin typeface="Arial" panose="020B0604020202020204" pitchFamily="34" charset="0"/>
                <a:ea typeface="+mn-ea"/>
                <a:cs typeface="Arial" panose="020B0604020202020204" pitchFamily="34" charset="0"/>
              </a:rPr>
              <a:t>plus R</a:t>
            </a:r>
            <a:r>
              <a:rPr kumimoji="0" lang="en-US" sz="1800" b="1" i="0" u="none" strike="noStrike" kern="0" cap="none" spc="0" normalizeH="0" baseline="30000" noProof="0" dirty="0">
                <a:ln>
                  <a:noFill/>
                </a:ln>
                <a:solidFill>
                  <a:srgbClr val="006C64"/>
                </a:solidFill>
                <a:effectLst/>
                <a:uLnTx/>
                <a:uFillTx/>
                <a:latin typeface="Arial" panose="020B0604020202020204" pitchFamily="34" charset="0"/>
                <a:ea typeface="+mn-ea"/>
                <a:cs typeface="Arial" panose="020B0604020202020204" pitchFamily="34" charset="0"/>
              </a:rPr>
              <a:t>2</a:t>
            </a:r>
            <a:r>
              <a:rPr kumimoji="0" lang="en-US" sz="1800" b="1" i="0" u="none" strike="noStrike" kern="0" cap="none" spc="0" normalizeH="0" baseline="0" noProof="0" dirty="0">
                <a:ln>
                  <a:noFill/>
                </a:ln>
                <a:solidFill>
                  <a:srgbClr val="006C64"/>
                </a:solidFill>
                <a:effectLst/>
                <a:uLnTx/>
                <a:uFillTx/>
                <a:latin typeface="Arial" panose="020B0604020202020204" pitchFamily="34" charset="0"/>
                <a:ea typeface="+mn-ea"/>
                <a:cs typeface="Arial" panose="020B0604020202020204" pitchFamily="34" charset="0"/>
              </a:rPr>
              <a:t> </a:t>
            </a:r>
          </a:p>
          <a:p>
            <a:pPr marL="399660" marR="0" lvl="0" indent="-115775" algn="l" defTabSz="913506"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pcoritamab</a:t>
            </a: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3-SUD cycle 1: </a:t>
            </a:r>
            <a:r>
              <a:rPr kumimoji="0" lang="en-US" sz="1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QW;</a:t>
            </a:r>
            <a:r>
              <a:rPr kumimoji="0" lang="en-US" sz="1400" b="0" i="0" u="none" strike="noStrike" kern="1200" cap="none" spc="0" normalizeH="0" baseline="30000" noProof="0" dirty="0" err="1">
                <a:ln>
                  <a:noFill/>
                </a:ln>
                <a:solidFill>
                  <a:srgbClr val="000000"/>
                </a:solidFill>
                <a:effectLst/>
                <a:uLnTx/>
                <a:uFillTx/>
                <a:latin typeface="Arial" panose="020B0604020202020204" pitchFamily="34" charset="0"/>
                <a:ea typeface="+mn-ea"/>
                <a:cs typeface="Arial" panose="020B0604020202020204" pitchFamily="34" charset="0"/>
              </a:rPr>
              <a:t>a,b</a:t>
            </a: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cycles 2</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 QW; cycles 4</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2, Q4W)</a:t>
            </a:r>
          </a:p>
          <a:p>
            <a:pPr marL="399660" marR="0" lvl="0" indent="-115775" algn="l" defTabSz="913506"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ituximab</a:t>
            </a: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375 mg/m</a:t>
            </a:r>
            <a:r>
              <a:rPr kumimoji="0" lang="en-US" sz="14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2</a:t>
            </a: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5 cycles (cycle 1, QW; cycles 2</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5, </a:t>
            </a: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Q4W)</a:t>
            </a:r>
          </a:p>
          <a:p>
            <a:pPr marL="399660" marR="0" lvl="0" indent="-115775" algn="l" defTabSz="913506"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enalidomide</a:t>
            </a: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 mg), 12 cycles (cycle 1</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2, QD, D1-21)</a:t>
            </a: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 name="Rectangle: Rounded Corners 20">
            <a:extLst>
              <a:ext uri="{FF2B5EF4-FFF2-40B4-BE49-F238E27FC236}">
                <a16:creationId xmlns:a16="http://schemas.microsoft.com/office/drawing/2014/main" id="{F12AB50D-5916-3956-A54A-12BB631079FB}"/>
              </a:ext>
            </a:extLst>
          </p:cNvPr>
          <p:cNvSpPr>
            <a:spLocks/>
          </p:cNvSpPr>
          <p:nvPr/>
        </p:nvSpPr>
        <p:spPr>
          <a:xfrm>
            <a:off x="3653645" y="2631145"/>
            <a:ext cx="8104471" cy="1162843"/>
          </a:xfrm>
          <a:prstGeom prst="roundRect">
            <a:avLst>
              <a:gd name="adj" fmla="val 0"/>
            </a:avLst>
          </a:prstGeom>
          <a:solidFill>
            <a:srgbClr val="9DCDF9"/>
          </a:solidFill>
          <a:ln w="28575" cap="flat" cmpd="sng" algn="ctr">
            <a:solidFill>
              <a:srgbClr val="041EA8"/>
            </a:solidFill>
            <a:prstDash val="solid"/>
            <a:miter lim="800000"/>
          </a:ln>
          <a:effectLst/>
        </p:spPr>
        <p:txBody>
          <a:bodyPr lIns="71933" tIns="71933" rIns="71933" bIns="71933" rtlCol="0" anchor="ctr">
            <a:noAutofit/>
          </a:bodyPr>
          <a:lstStyle/>
          <a:p>
            <a:pPr marL="0" marR="0" lvl="0" indent="0" algn="l" defTabSz="913506" rtl="0" eaLnBrk="1" fontAlgn="auto" latinLnBrk="0" hangingPunct="1">
              <a:lnSpc>
                <a:spcPct val="100000"/>
              </a:lnSpc>
              <a:spcBef>
                <a:spcPts val="400"/>
              </a:spcBef>
              <a:spcAft>
                <a:spcPts val="0"/>
              </a:spcAft>
              <a:buClrTx/>
              <a:buSzTx/>
              <a:buFontTx/>
              <a:buNone/>
              <a:tabLst/>
              <a:defRPr/>
            </a:pPr>
            <a:r>
              <a:rPr kumimoji="0" lang="en-US" sz="1600" b="1" i="0" u="none" strike="noStrike" kern="0" cap="none" spc="0" normalizeH="0" baseline="0" noProof="0" dirty="0">
                <a:ln>
                  <a:noFill/>
                </a:ln>
                <a:solidFill>
                  <a:srgbClr val="187D9B"/>
                </a:solidFill>
                <a:effectLst/>
                <a:uLnTx/>
                <a:uFillTx/>
                <a:latin typeface="Arial" panose="020B0604020202020204" pitchFamily="34" charset="0"/>
                <a:ea typeface="+mn-ea"/>
                <a:cs typeface="Arial" panose="020B0604020202020204" pitchFamily="34" charset="0"/>
              </a:rPr>
              <a:t>  </a:t>
            </a:r>
            <a:r>
              <a:rPr kumimoji="0" lang="en-US" sz="1800" b="1" i="0" u="none" strike="noStrike" kern="0" cap="none" spc="0" normalizeH="0" baseline="0" noProof="0" dirty="0">
                <a:ln>
                  <a:noFill/>
                </a:ln>
                <a:solidFill>
                  <a:srgbClr val="041EA8"/>
                </a:solidFill>
                <a:effectLst/>
                <a:uLnTx/>
                <a:uFillTx/>
                <a:latin typeface="Arial" panose="020B0604020202020204" pitchFamily="34" charset="0"/>
                <a:ea typeface="+mn-ea"/>
                <a:cs typeface="Arial" panose="020B0604020202020204" pitchFamily="34" charset="0"/>
              </a:rPr>
              <a:t>R</a:t>
            </a:r>
            <a:r>
              <a:rPr kumimoji="0" lang="en-US" sz="1800" b="1" i="0" u="none" strike="noStrike" kern="0" cap="none" spc="0" normalizeH="0" baseline="30000" noProof="0" dirty="0">
                <a:ln>
                  <a:noFill/>
                </a:ln>
                <a:solidFill>
                  <a:srgbClr val="041EA8"/>
                </a:solidFill>
                <a:effectLst/>
                <a:uLnTx/>
                <a:uFillTx/>
                <a:latin typeface="Arial" panose="020B0604020202020204" pitchFamily="34" charset="0"/>
                <a:ea typeface="+mn-ea"/>
                <a:cs typeface="Arial" panose="020B0604020202020204" pitchFamily="34" charset="0"/>
              </a:rPr>
              <a:t>2</a:t>
            </a:r>
            <a:r>
              <a:rPr kumimoji="0" lang="en-US" sz="1800" b="1" i="0" u="none" strike="noStrike" kern="0" cap="none" spc="0" normalizeH="0" baseline="0" noProof="0" dirty="0">
                <a:ln>
                  <a:noFill/>
                </a:ln>
                <a:solidFill>
                  <a:srgbClr val="187D9B"/>
                </a:solidFill>
                <a:effectLst/>
                <a:uLnTx/>
                <a:uFillTx/>
                <a:latin typeface="Arial" panose="020B0604020202020204" pitchFamily="34" charset="0"/>
                <a:ea typeface="+mn-ea"/>
                <a:cs typeface="Arial" panose="020B0604020202020204" pitchFamily="34" charset="0"/>
              </a:rPr>
              <a:t> </a:t>
            </a:r>
          </a:p>
          <a:p>
            <a:pPr marL="399660" marR="0" lvl="0" indent="-115775" algn="l" defTabSz="913506"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ituximab</a:t>
            </a: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375 mg/m</a:t>
            </a:r>
            <a:r>
              <a:rPr kumimoji="0" lang="en-US" sz="14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2</a:t>
            </a: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5 cycles (cycle 1, QW; cycles 2</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5, </a:t>
            </a: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Q4W)</a:t>
            </a:r>
          </a:p>
          <a:p>
            <a:pPr marL="399660" marR="0" lvl="0" indent="-115775" algn="l" defTabSz="913506"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enalidomide</a:t>
            </a: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 mg), 12 cycles (cycle 1</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2, QD, D1-21)</a:t>
            </a: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299928719"/>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2E7D31-4021-7029-23B7-017433E4DD2E}"/>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734C127B-BF8E-A491-9D06-24459428922A}"/>
              </a:ext>
            </a:extLst>
          </p:cNvPr>
          <p:cNvPicPr>
            <a:picLocks noChangeAspect="1"/>
          </p:cNvPicPr>
          <p:nvPr/>
        </p:nvPicPr>
        <p:blipFill>
          <a:blip r:embed="rId3"/>
          <a:srcRect t="15224" r="218"/>
          <a:stretch/>
        </p:blipFill>
        <p:spPr>
          <a:xfrm>
            <a:off x="-2" y="6530274"/>
            <a:ext cx="12192002" cy="327726"/>
          </a:xfrm>
          <a:prstGeom prst="rect">
            <a:avLst/>
          </a:prstGeom>
        </p:spPr>
      </p:pic>
      <p:sp>
        <p:nvSpPr>
          <p:cNvPr id="7" name="Rectangle: Top Corners Rounded 6">
            <a:extLst>
              <a:ext uri="{FF2B5EF4-FFF2-40B4-BE49-F238E27FC236}">
                <a16:creationId xmlns:a16="http://schemas.microsoft.com/office/drawing/2014/main" id="{52EBB586-7F49-0F80-5DAF-1FB15C176AB8}"/>
              </a:ext>
            </a:extLst>
          </p:cNvPr>
          <p:cNvSpPr/>
          <p:nvPr/>
        </p:nvSpPr>
        <p:spPr>
          <a:xfrm rot="10800000">
            <a:off x="10046524" y="0"/>
            <a:ext cx="2145474" cy="327358"/>
          </a:xfrm>
          <a:prstGeom prst="round2SameRect">
            <a:avLst/>
          </a:prstGeom>
          <a:gradFill flip="none" rotWithShape="1">
            <a:gsLst>
              <a:gs pos="0">
                <a:srgbClr val="009B92"/>
              </a:gs>
              <a:gs pos="100000">
                <a:srgbClr val="041E49"/>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8" name="TextBox 7">
            <a:extLst>
              <a:ext uri="{FF2B5EF4-FFF2-40B4-BE49-F238E27FC236}">
                <a16:creationId xmlns:a16="http://schemas.microsoft.com/office/drawing/2014/main" id="{992FB4F4-939E-97D4-30F9-64CE099D8028}"/>
              </a:ext>
            </a:extLst>
          </p:cNvPr>
          <p:cNvSpPr txBox="1"/>
          <p:nvPr/>
        </p:nvSpPr>
        <p:spPr>
          <a:xfrm>
            <a:off x="10229407" y="74603"/>
            <a:ext cx="1811393"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pcoritamab+R</a:t>
            </a:r>
            <a:r>
              <a:rPr kumimoji="0" lang="en-US" sz="1200" b="0" i="0" u="none" strike="noStrike" kern="120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rPr>
              <a:t>2</a:t>
            </a: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in R/R FL</a:t>
            </a:r>
          </a:p>
        </p:txBody>
      </p:sp>
      <p:sp>
        <p:nvSpPr>
          <p:cNvPr id="9" name="TextBox 8">
            <a:extLst>
              <a:ext uri="{FF2B5EF4-FFF2-40B4-BE49-F238E27FC236}">
                <a16:creationId xmlns:a16="http://schemas.microsoft.com/office/drawing/2014/main" id="{A6FC7BD4-3298-ED6C-27D5-70FC0D249819}"/>
              </a:ext>
            </a:extLst>
          </p:cNvPr>
          <p:cNvSpPr txBox="1"/>
          <p:nvPr/>
        </p:nvSpPr>
        <p:spPr>
          <a:xfrm>
            <a:off x="10229407" y="6571026"/>
            <a:ext cx="1840568"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alchi et al., ASH 2025; #466</a:t>
            </a:r>
          </a:p>
        </p:txBody>
      </p:sp>
      <p:graphicFrame>
        <p:nvGraphicFramePr>
          <p:cNvPr id="2" name="Table 1">
            <a:extLst>
              <a:ext uri="{FF2B5EF4-FFF2-40B4-BE49-F238E27FC236}">
                <a16:creationId xmlns:a16="http://schemas.microsoft.com/office/drawing/2014/main" id="{6FB552FA-3A56-B22E-0064-C2054937D52F}"/>
              </a:ext>
            </a:extLst>
          </p:cNvPr>
          <p:cNvGraphicFramePr>
            <a:graphicFrameLocks noGrp="1"/>
          </p:cNvGraphicFramePr>
          <p:nvPr/>
        </p:nvGraphicFramePr>
        <p:xfrm>
          <a:off x="879777" y="938903"/>
          <a:ext cx="10429001" cy="4979526"/>
        </p:xfrm>
        <a:graphic>
          <a:graphicData uri="http://schemas.openxmlformats.org/drawingml/2006/table">
            <a:tbl>
              <a:tblPr firstRow="1" bandRow="1"/>
              <a:tblGrid>
                <a:gridCol w="5470766">
                  <a:extLst>
                    <a:ext uri="{9D8B030D-6E8A-4147-A177-3AD203B41FA5}">
                      <a16:colId xmlns:a16="http://schemas.microsoft.com/office/drawing/2014/main" val="127670386"/>
                    </a:ext>
                  </a:extLst>
                </a:gridCol>
                <a:gridCol w="1652745">
                  <a:extLst>
                    <a:ext uri="{9D8B030D-6E8A-4147-A177-3AD203B41FA5}">
                      <a16:colId xmlns:a16="http://schemas.microsoft.com/office/drawing/2014/main" val="3014508552"/>
                    </a:ext>
                  </a:extLst>
                </a:gridCol>
                <a:gridCol w="1652745">
                  <a:extLst>
                    <a:ext uri="{9D8B030D-6E8A-4147-A177-3AD203B41FA5}">
                      <a16:colId xmlns:a16="http://schemas.microsoft.com/office/drawing/2014/main" val="2864096497"/>
                    </a:ext>
                  </a:extLst>
                </a:gridCol>
                <a:gridCol w="1652745">
                  <a:extLst>
                    <a:ext uri="{9D8B030D-6E8A-4147-A177-3AD203B41FA5}">
                      <a16:colId xmlns:a16="http://schemas.microsoft.com/office/drawing/2014/main" val="4108214338"/>
                    </a:ext>
                  </a:extLst>
                </a:gridCol>
              </a:tblGrid>
              <a:tr h="614310">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nSpc>
                          <a:spcPct val="100000"/>
                        </a:lnSpc>
                      </a:pPr>
                      <a:endParaRPr lang="en-US" sz="1400" strike="sngStrike" kern="0" dirty="0">
                        <a:solidFill>
                          <a:srgbClr val="FF0000"/>
                        </a:solidFill>
                        <a:latin typeface="Arial" panose="020B0604020202020204" pitchFamily="34" charset="0"/>
                        <a:cs typeface="Arial" panose="020B0604020202020204" pitchFamily="34"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635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041E49"/>
                    </a:solid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lnSpc>
                          <a:spcPct val="100000"/>
                        </a:lnSpc>
                      </a:pPr>
                      <a:r>
                        <a:rPr lang="en-US" sz="1400" b="1" kern="0" dirty="0">
                          <a:solidFill>
                            <a:schemeClr val="bg1"/>
                          </a:solidFill>
                          <a:latin typeface="Arial" panose="020B0604020202020204" pitchFamily="34" charset="0"/>
                          <a:cs typeface="Arial" panose="020B0604020202020204" pitchFamily="34" charset="0"/>
                        </a:rPr>
                        <a:t>Epcoritamab+R</a:t>
                      </a:r>
                      <a:r>
                        <a:rPr lang="en-US" sz="1400" b="1" kern="0" baseline="30000" dirty="0">
                          <a:solidFill>
                            <a:schemeClr val="bg1"/>
                          </a:solidFill>
                          <a:latin typeface="Arial" panose="020B0604020202020204" pitchFamily="34" charset="0"/>
                          <a:cs typeface="Arial" panose="020B0604020202020204" pitchFamily="34" charset="0"/>
                        </a:rPr>
                        <a:t>2</a:t>
                      </a:r>
                    </a:p>
                    <a:p>
                      <a:pPr algn="ctr">
                        <a:lnSpc>
                          <a:spcPct val="100000"/>
                        </a:lnSpc>
                      </a:pPr>
                      <a:r>
                        <a:rPr lang="en-US" sz="1400" b="1" kern="0" dirty="0">
                          <a:solidFill>
                            <a:schemeClr val="bg1"/>
                          </a:solidFill>
                          <a:latin typeface="Arial" panose="020B0604020202020204" pitchFamily="34" charset="0"/>
                          <a:cs typeface="Arial" panose="020B0604020202020204" pitchFamily="34" charset="0"/>
                        </a:rPr>
                        <a:t>(N = 243)</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635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041E49"/>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ct val="100000"/>
                        </a:lnSpc>
                      </a:pPr>
                      <a:r>
                        <a:rPr lang="en-US" sz="1400" b="1" kern="0" dirty="0">
                          <a:solidFill>
                            <a:schemeClr val="bg1"/>
                          </a:solidFill>
                          <a:latin typeface="Arial" panose="020B0604020202020204" pitchFamily="34" charset="0"/>
                          <a:cs typeface="Arial" panose="020B0604020202020204" pitchFamily="34" charset="0"/>
                        </a:rPr>
                        <a:t>R</a:t>
                      </a:r>
                      <a:r>
                        <a:rPr lang="en-US" sz="1400" b="1" kern="0" baseline="30000" dirty="0">
                          <a:solidFill>
                            <a:schemeClr val="bg1"/>
                          </a:solidFill>
                          <a:latin typeface="Arial" panose="020B0604020202020204" pitchFamily="34" charset="0"/>
                          <a:cs typeface="Arial" panose="020B0604020202020204" pitchFamily="34" charset="0"/>
                        </a:rPr>
                        <a:t>2</a:t>
                      </a:r>
                    </a:p>
                    <a:p>
                      <a:pPr algn="ctr">
                        <a:lnSpc>
                          <a:spcPct val="100000"/>
                        </a:lnSpc>
                      </a:pPr>
                      <a:r>
                        <a:rPr lang="en-US" sz="1400" b="1" kern="0" dirty="0">
                          <a:solidFill>
                            <a:schemeClr val="bg1"/>
                          </a:solidFill>
                          <a:latin typeface="Arial" panose="020B0604020202020204" pitchFamily="34" charset="0"/>
                          <a:cs typeface="Arial" panose="020B0604020202020204" pitchFamily="34" charset="0"/>
                        </a:rPr>
                        <a:t>(N = 245)</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635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041E49"/>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ct val="100000"/>
                        </a:lnSpc>
                      </a:pPr>
                      <a:r>
                        <a:rPr lang="en-US" sz="1400" b="1" kern="0" dirty="0">
                          <a:solidFill>
                            <a:schemeClr val="bg1"/>
                          </a:solidFill>
                          <a:latin typeface="Arial" panose="020B0604020202020204" pitchFamily="34" charset="0"/>
                          <a:cs typeface="Arial" panose="020B0604020202020204" pitchFamily="34" charset="0"/>
                        </a:rPr>
                        <a:t>Overall</a:t>
                      </a:r>
                    </a:p>
                    <a:p>
                      <a:pPr algn="ctr">
                        <a:lnSpc>
                          <a:spcPct val="100000"/>
                        </a:lnSpc>
                      </a:pPr>
                      <a:r>
                        <a:rPr lang="en-US" sz="1400" b="1" kern="0" dirty="0">
                          <a:solidFill>
                            <a:schemeClr val="bg1"/>
                          </a:solidFill>
                          <a:latin typeface="Arial" panose="020B0604020202020204" pitchFamily="34" charset="0"/>
                          <a:cs typeface="Arial" panose="020B0604020202020204" pitchFamily="34" charset="0"/>
                        </a:rPr>
                        <a:t>(N = 488)</a:t>
                      </a:r>
                    </a:p>
                  </a:txBody>
                  <a:tcPr anchor="ctr">
                    <a:lnL w="28575" cap="flat" cmpd="sng" algn="ctr">
                      <a:solidFill>
                        <a:srgbClr val="FFFFFF"/>
                      </a:solidFill>
                      <a:prstDash val="solid"/>
                      <a:round/>
                      <a:headEnd type="none" w="med" len="med"/>
                      <a:tailEnd type="none" w="med" len="med"/>
                    </a:lnL>
                    <a:lnR w="28575" cap="flat" cmpd="sng" algn="ctr">
                      <a:noFill/>
                      <a:prstDash val="solid"/>
                      <a:round/>
                      <a:headEnd type="none" w="med" len="med"/>
                      <a:tailEnd type="none" w="med" len="med"/>
                    </a:lnR>
                    <a:lnT w="635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041E49"/>
                    </a:solidFill>
                  </a:tcPr>
                </a:tc>
                <a:extLst>
                  <a:ext uri="{0D108BD9-81ED-4DB2-BD59-A6C34878D82A}">
                    <a16:rowId xmlns:a16="http://schemas.microsoft.com/office/drawing/2014/main" val="1152947047"/>
                  </a:ext>
                </a:extLst>
              </a:tr>
              <a:tr h="296314">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l" rtl="0" fontAlgn="base">
                        <a:lnSpc>
                          <a:spcPct val="100000"/>
                        </a:lnSpc>
                      </a:pPr>
                      <a:r>
                        <a:rPr lang="en-US" sz="1400" kern="1200" dirty="0">
                          <a:solidFill>
                            <a:schemeClr val="tx1"/>
                          </a:solidFill>
                          <a:latin typeface="Arial" panose="020B0604020202020204" pitchFamily="34" charset="0"/>
                          <a:ea typeface="+mn-ea"/>
                          <a:cs typeface="Arial" panose="020B0604020202020204" pitchFamily="34" charset="0"/>
                        </a:rPr>
                        <a:t>Median time from initial diagnosis to randomization, years (range)</a:t>
                      </a:r>
                      <a:endParaRPr lang="en-US" sz="1400" kern="1200" baseline="30000" dirty="0">
                        <a:solidFill>
                          <a:schemeClr val="tx1"/>
                        </a:solidFill>
                        <a:latin typeface="Arial" panose="020B0604020202020204" pitchFamily="34" charset="0"/>
                        <a:ea typeface="+mn-ea"/>
                        <a:cs typeface="Arial" panose="020B0604020202020204" pitchFamily="34" charset="0"/>
                      </a:endParaRPr>
                    </a:p>
                  </a:txBody>
                  <a:tcPr marT="18288" marB="18288" anchor="ctr">
                    <a:lnL w="28575" cap="flat" cmpd="sng" algn="ctr">
                      <a:noFill/>
                      <a:prstDash val="solid"/>
                      <a:round/>
                      <a:headEnd type="none" w="med" len="med"/>
                      <a:tailEnd type="none" w="med" len="med"/>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Aptos" panose="020B0004020202020204" pitchFamily="34" charset="0"/>
                          <a:cs typeface="Arial" panose="020B0604020202020204" pitchFamily="34" charset="0"/>
                        </a:rPr>
                        <a:t>4.5 (0.2, 30.3)</a:t>
                      </a:r>
                      <a:endPar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905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Aptos" panose="020B0004020202020204" pitchFamily="34" charset="0"/>
                          <a:cs typeface="Arial" panose="020B0604020202020204" pitchFamily="34" charset="0"/>
                        </a:rPr>
                        <a:t>5.3 (0.1, 43.0)</a:t>
                      </a:r>
                      <a:endPar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905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Aptos" panose="020B0004020202020204" pitchFamily="34" charset="0"/>
                          <a:cs typeface="Arial" panose="020B0604020202020204" pitchFamily="34" charset="0"/>
                        </a:rPr>
                        <a:t>5.0 (0.1, 43.0)</a:t>
                      </a:r>
                      <a:endPar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905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3392239597"/>
                  </a:ext>
                </a:extLst>
              </a:tr>
              <a:tr h="317996">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nSpc>
                          <a:spcPct val="100000"/>
                        </a:lnSpc>
                      </a:pPr>
                      <a:r>
                        <a:rPr lang="en-US" sz="1400" kern="0" dirty="0">
                          <a:solidFill>
                            <a:schemeClr val="tx1"/>
                          </a:solidFill>
                          <a:latin typeface="Arial" panose="020B0604020202020204" pitchFamily="34" charset="0"/>
                          <a:cs typeface="Arial" panose="020B0604020202020204" pitchFamily="34" charset="0"/>
                        </a:rPr>
                        <a:t>Number of prior lines of therapy, median (range)</a:t>
                      </a:r>
                    </a:p>
                  </a:txBody>
                  <a:tcPr marT="27432" marB="27432" anchor="ctr">
                    <a:lnL w="28575" cap="flat" cmpd="sng" algn="ctr">
                      <a:noFill/>
                      <a:prstDash val="solid"/>
                      <a:round/>
                      <a:headEnd type="none" w="med" len="med"/>
                      <a:tailEnd type="none" w="med" len="med"/>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1 (1, 7)</a:t>
                      </a:r>
                    </a:p>
                  </a:txBody>
                  <a:tcPr marL="68580" marR="68580" marT="0" marB="0" anchor="ctr">
                    <a:lnL w="1905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1 (1, 6)</a:t>
                      </a:r>
                    </a:p>
                  </a:txBody>
                  <a:tcPr marL="68580" marR="68580" marT="0" marB="0" anchor="ctr">
                    <a:lnL w="1905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1 (1, 7)</a:t>
                      </a:r>
                    </a:p>
                  </a:txBody>
                  <a:tcPr marL="68580" marR="68580" marT="0" marB="0" anchor="ctr">
                    <a:lnL w="1905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943872824"/>
                  </a:ext>
                </a:extLst>
              </a:tr>
              <a:tr h="317996">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2880">
                        <a:lnSpc>
                          <a:spcPct val="100000"/>
                        </a:lnSpc>
                      </a:pPr>
                      <a:r>
                        <a:rPr lang="en-US" sz="1400" i="1" kern="0" dirty="0">
                          <a:solidFill>
                            <a:schemeClr val="tx1"/>
                          </a:solidFill>
                          <a:latin typeface="Arial" panose="020B0604020202020204" pitchFamily="34" charset="0"/>
                          <a:cs typeface="Arial" panose="020B0604020202020204" pitchFamily="34" charset="0"/>
                        </a:rPr>
                        <a:t>1, n (%)</a:t>
                      </a:r>
                    </a:p>
                  </a:txBody>
                  <a:tcPr marT="27432" marB="27432" anchor="ctr">
                    <a:lnL w="28575"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145 (60)</a:t>
                      </a:r>
                    </a:p>
                  </a:txBody>
                  <a:tcPr marL="68580" marR="68580" marT="0" marB="0" anchor="ctr">
                    <a:lnL w="19050" cap="flat" cmpd="sng" algn="ctr">
                      <a:noFill/>
                      <a:prstDash val="solid"/>
                      <a:round/>
                      <a:headEnd type="none" w="med" len="med"/>
                      <a:tailEnd type="none" w="med" len="med"/>
                    </a:lnL>
                    <a:lnR w="28575" cap="flat" cmpd="sng" algn="ctr">
                      <a:noFill/>
                      <a:prstDash val="solid"/>
                      <a:round/>
                      <a:headEnd type="none" w="med" len="med"/>
                      <a:tailEnd type="none" w="med" len="med"/>
                    </a:lnR>
                    <a:lnT w="381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141 (58)</a:t>
                      </a:r>
                    </a:p>
                  </a:txBody>
                  <a:tcPr marL="68580" marR="68580" marT="0" marB="0" anchor="ctr">
                    <a:lnL w="19050" cap="flat" cmpd="sng" algn="ctr">
                      <a:noFill/>
                      <a:prstDash val="solid"/>
                      <a:round/>
                      <a:headEnd type="none" w="med" len="med"/>
                      <a:tailEnd type="none" w="med" len="med"/>
                    </a:lnL>
                    <a:lnR w="28575" cap="flat" cmpd="sng" algn="ctr">
                      <a:noFill/>
                      <a:prstDash val="solid"/>
                      <a:round/>
                      <a:headEnd type="none" w="med" len="med"/>
                      <a:tailEnd type="none" w="med" len="med"/>
                    </a:lnR>
                    <a:lnT w="381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286 (59)</a:t>
                      </a:r>
                    </a:p>
                  </a:txBody>
                  <a:tcPr marL="68580" marR="68580" marT="0" marB="0" anchor="ctr">
                    <a:lnL w="19050" cap="flat" cmpd="sng" algn="ctr">
                      <a:noFill/>
                      <a:prstDash val="solid"/>
                      <a:round/>
                      <a:headEnd type="none" w="med" len="med"/>
                      <a:tailEnd type="none" w="med" len="med"/>
                    </a:lnL>
                    <a:lnR w="28575" cap="flat" cmpd="sng" algn="ctr">
                      <a:noFill/>
                      <a:prstDash val="solid"/>
                      <a:round/>
                      <a:headEnd type="none" w="med" len="med"/>
                      <a:tailEnd type="none" w="med" len="med"/>
                    </a:lnR>
                    <a:lnT w="381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041326683"/>
                  </a:ext>
                </a:extLst>
              </a:tr>
              <a:tr h="317996">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2880" marR="0" lvl="0" indent="0" algn="l" defTabSz="914400" rtl="0" eaLnBrk="1" fontAlgn="auto" latinLnBrk="0" hangingPunct="1">
                        <a:lnSpc>
                          <a:spcPct val="100000"/>
                        </a:lnSpc>
                        <a:spcBef>
                          <a:spcPts val="0"/>
                        </a:spcBef>
                        <a:spcAft>
                          <a:spcPts val="0"/>
                        </a:spcAft>
                        <a:buClrTx/>
                        <a:buSzTx/>
                        <a:buFontTx/>
                        <a:buNone/>
                        <a:tabLst/>
                        <a:defRPr/>
                      </a:pPr>
                      <a:r>
                        <a:rPr lang="en-US" sz="1400" i="1" kern="0" dirty="0">
                          <a:solidFill>
                            <a:schemeClr val="tx1"/>
                          </a:solidFill>
                          <a:latin typeface="Arial" panose="020B0604020202020204" pitchFamily="34" charset="0"/>
                          <a:ea typeface="+mn-ea"/>
                          <a:cs typeface="Arial" panose="020B0604020202020204" pitchFamily="34" charset="0"/>
                        </a:rPr>
                        <a:t>2, n (%)</a:t>
                      </a:r>
                    </a:p>
                  </a:txBody>
                  <a:tcPr marT="27432" marB="27432" anchor="ctr">
                    <a:lnL w="28575"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58 (24)</a:t>
                      </a:r>
                    </a:p>
                  </a:txBody>
                  <a:tcPr marL="68580" marR="68580" marT="0" marB="0" anchor="ctr">
                    <a:lnL w="19050" cap="flat" cmpd="sng" algn="ctr">
                      <a:noFill/>
                      <a:prstDash val="solid"/>
                      <a:round/>
                      <a:headEnd type="none" w="med" len="med"/>
                      <a:tailEnd type="none" w="med" len="med"/>
                    </a:lnL>
                    <a:lnR w="28575" cap="flat" cmpd="sng" algn="ctr">
                      <a:noFill/>
                      <a:prstDash val="solid"/>
                      <a:round/>
                      <a:headEnd type="none" w="med" len="med"/>
                      <a:tailEnd type="none" w="med" len="med"/>
                    </a:lnR>
                    <a:lnT w="381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61 (25)</a:t>
                      </a:r>
                    </a:p>
                  </a:txBody>
                  <a:tcPr marL="68580" marR="68580" marT="0" marB="0" anchor="ctr">
                    <a:lnL w="19050" cap="flat" cmpd="sng" algn="ctr">
                      <a:noFill/>
                      <a:prstDash val="solid"/>
                      <a:round/>
                      <a:headEnd type="none" w="med" len="med"/>
                      <a:tailEnd type="none" w="med" len="med"/>
                    </a:lnL>
                    <a:lnR w="28575" cap="flat" cmpd="sng" algn="ctr">
                      <a:noFill/>
                      <a:prstDash val="solid"/>
                      <a:round/>
                      <a:headEnd type="none" w="med" len="med"/>
                      <a:tailEnd type="none" w="med" len="med"/>
                    </a:lnR>
                    <a:lnT w="381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119 (24)</a:t>
                      </a:r>
                    </a:p>
                  </a:txBody>
                  <a:tcPr marL="68580" marR="68580" marT="0" marB="0" anchor="ctr">
                    <a:lnL w="19050" cap="flat" cmpd="sng" algn="ctr">
                      <a:noFill/>
                      <a:prstDash val="solid"/>
                      <a:round/>
                      <a:headEnd type="none" w="med" len="med"/>
                      <a:tailEnd type="none" w="med" len="med"/>
                    </a:lnL>
                    <a:lnR w="28575" cap="flat" cmpd="sng" algn="ctr">
                      <a:noFill/>
                      <a:prstDash val="solid"/>
                      <a:round/>
                      <a:headEnd type="none" w="med" len="med"/>
                      <a:tailEnd type="none" w="med" len="med"/>
                    </a:lnR>
                    <a:lnT w="381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89449590"/>
                  </a:ext>
                </a:extLst>
              </a:tr>
              <a:tr h="317996">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2880" marR="0" lvl="0" indent="0" algn="l" defTabSz="914400" rtl="0" eaLnBrk="1" fontAlgn="auto" latinLnBrk="0" hangingPunct="1">
                        <a:lnSpc>
                          <a:spcPct val="100000"/>
                        </a:lnSpc>
                        <a:spcBef>
                          <a:spcPts val="0"/>
                        </a:spcBef>
                        <a:spcAft>
                          <a:spcPts val="0"/>
                        </a:spcAft>
                        <a:buClrTx/>
                        <a:buSzTx/>
                        <a:buFontTx/>
                        <a:buNone/>
                        <a:tabLst/>
                        <a:defRPr/>
                      </a:pPr>
                      <a:r>
                        <a:rPr lang="en-US" sz="1400" i="1" kern="0" dirty="0">
                          <a:solidFill>
                            <a:schemeClr val="tx1"/>
                          </a:solidFill>
                          <a:latin typeface="Arial" panose="020B0604020202020204" pitchFamily="34" charset="0"/>
                          <a:ea typeface="+mn-ea"/>
                          <a:cs typeface="Arial" panose="020B0604020202020204" pitchFamily="34" charset="0"/>
                        </a:rPr>
                        <a:t>≥ 3, n (%)</a:t>
                      </a:r>
                    </a:p>
                  </a:txBody>
                  <a:tcPr marT="27432" marB="27432" anchor="ctr">
                    <a:lnL w="28575"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40 (16)</a:t>
                      </a:r>
                    </a:p>
                  </a:txBody>
                  <a:tcPr marL="68580" marR="68580" marT="0" marB="0" anchor="ctr">
                    <a:lnL w="19050" cap="flat" cmpd="sng" algn="ctr">
                      <a:noFill/>
                      <a:prstDash val="solid"/>
                      <a:round/>
                      <a:headEnd type="none" w="med" len="med"/>
                      <a:tailEnd type="none" w="med" len="med"/>
                    </a:lnL>
                    <a:lnR w="28575" cap="flat" cmpd="sng" algn="ctr">
                      <a:noFill/>
                      <a:prstDash val="solid"/>
                      <a:round/>
                      <a:headEnd type="none" w="med" len="med"/>
                      <a:tailEnd type="none" w="med" len="med"/>
                    </a:lnR>
                    <a:lnT w="381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43 (18)</a:t>
                      </a:r>
                    </a:p>
                  </a:txBody>
                  <a:tcPr marL="68580" marR="68580" marT="0" marB="0" anchor="ctr">
                    <a:lnL w="19050" cap="flat" cmpd="sng" algn="ctr">
                      <a:noFill/>
                      <a:prstDash val="solid"/>
                      <a:round/>
                      <a:headEnd type="none" w="med" len="med"/>
                      <a:tailEnd type="none" w="med" len="med"/>
                    </a:lnL>
                    <a:lnR w="28575" cap="flat" cmpd="sng" algn="ctr">
                      <a:noFill/>
                      <a:prstDash val="solid"/>
                      <a:round/>
                      <a:headEnd type="none" w="med" len="med"/>
                      <a:tailEnd type="none" w="med" len="med"/>
                    </a:lnR>
                    <a:lnT w="381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83 (17)</a:t>
                      </a:r>
                    </a:p>
                  </a:txBody>
                  <a:tcPr marL="68580" marR="68580" marT="0" marB="0" anchor="ctr">
                    <a:lnL w="19050" cap="flat" cmpd="sng" algn="ctr">
                      <a:noFill/>
                      <a:prstDash val="solid"/>
                      <a:round/>
                      <a:headEnd type="none" w="med" len="med"/>
                      <a:tailEnd type="none" w="med" len="med"/>
                    </a:lnL>
                    <a:lnR w="28575" cap="flat" cmpd="sng" algn="ctr">
                      <a:noFill/>
                      <a:prstDash val="solid"/>
                      <a:round/>
                      <a:headEnd type="none" w="med" len="med"/>
                      <a:tailEnd type="none" w="med" len="med"/>
                    </a:lnR>
                    <a:lnT w="381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82319977"/>
                  </a:ext>
                </a:extLst>
              </a:tr>
              <a:tr h="317996">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indent="0">
                        <a:lnSpc>
                          <a:spcPct val="100000"/>
                        </a:lnSpc>
                      </a:pPr>
                      <a:r>
                        <a:rPr lang="en-US" sz="1400" i="0" kern="1200" dirty="0">
                          <a:solidFill>
                            <a:schemeClr val="tx1"/>
                          </a:solidFill>
                          <a:effectLst/>
                          <a:latin typeface="Arial" panose="020B0604020202020204" pitchFamily="34" charset="0"/>
                          <a:ea typeface="+mn-ea"/>
                          <a:cs typeface="Arial" panose="020B0604020202020204" pitchFamily="34" charset="0"/>
                        </a:rPr>
                        <a:t>Prior anti-CD20 antibody, n (%)</a:t>
                      </a:r>
                      <a:endParaRPr lang="en-US" sz="1400" i="0" kern="0" dirty="0">
                        <a:solidFill>
                          <a:schemeClr val="tx1"/>
                        </a:solidFill>
                        <a:latin typeface="Arial" panose="020B0604020202020204" pitchFamily="34" charset="0"/>
                        <a:cs typeface="Arial" panose="020B0604020202020204" pitchFamily="34" charset="0"/>
                      </a:endParaRPr>
                    </a:p>
                  </a:txBody>
                  <a:tcPr marT="27432" marB="27432" anchor="ctr">
                    <a:lnL w="12700" cmpd="sng">
                      <a:noFill/>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243 (100)</a:t>
                      </a:r>
                    </a:p>
                  </a:txBody>
                  <a:tcPr marL="68580" marR="6858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245 (100)</a:t>
                      </a:r>
                    </a:p>
                  </a:txBody>
                  <a:tcPr marL="68580" marR="6858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488 (100)</a:t>
                      </a:r>
                    </a:p>
                  </a:txBody>
                  <a:tcPr marL="68580" marR="6858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2067335303"/>
                  </a:ext>
                </a:extLst>
              </a:tr>
              <a:tr h="317996">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indent="0">
                        <a:lnSpc>
                          <a:spcPct val="100000"/>
                        </a:lnSpc>
                      </a:pPr>
                      <a:r>
                        <a:rPr lang="en-US" sz="1400" i="0" kern="1200" dirty="0">
                          <a:solidFill>
                            <a:schemeClr val="tx1"/>
                          </a:solidFill>
                          <a:effectLst/>
                          <a:latin typeface="Arial" panose="020B0604020202020204" pitchFamily="34" charset="0"/>
                          <a:ea typeface="+mn-ea"/>
                          <a:cs typeface="Arial" panose="020B0604020202020204" pitchFamily="34" charset="0"/>
                        </a:rPr>
                        <a:t>Prior anti-CD20 antibody containing chemotherapy, n (%)</a:t>
                      </a:r>
                    </a:p>
                  </a:txBody>
                  <a:tcPr marT="27432" marB="27432" anchor="ctr">
                    <a:lnL w="12700" cmpd="sng">
                      <a:noFill/>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239 (98)</a:t>
                      </a:r>
                    </a:p>
                  </a:txBody>
                  <a:tcPr marL="68580" marR="6858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240 (98)</a:t>
                      </a:r>
                    </a:p>
                  </a:txBody>
                  <a:tcPr marL="68580" marR="6858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479 (98)</a:t>
                      </a:r>
                    </a:p>
                  </a:txBody>
                  <a:tcPr marL="68580" marR="6858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498432316"/>
                  </a:ext>
                </a:extLst>
              </a:tr>
              <a:tr h="317996">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0" dirty="0">
                          <a:solidFill>
                            <a:schemeClr val="tx1"/>
                          </a:solidFill>
                          <a:latin typeface="Arial" panose="020B0604020202020204" pitchFamily="34" charset="0"/>
                          <a:cs typeface="Arial" panose="020B0604020202020204" pitchFamily="34" charset="0"/>
                        </a:rPr>
                        <a:t>Prior </a:t>
                      </a:r>
                      <a:r>
                        <a:rPr lang="en-US" sz="1400" kern="0" dirty="0" err="1">
                          <a:solidFill>
                            <a:schemeClr val="tx1"/>
                          </a:solidFill>
                          <a:latin typeface="Arial" panose="020B0604020202020204" pitchFamily="34" charset="0"/>
                          <a:cs typeface="Arial" panose="020B0604020202020204" pitchFamily="34" charset="0"/>
                        </a:rPr>
                        <a:t>bendamustine</a:t>
                      </a:r>
                      <a:r>
                        <a:rPr lang="en-US" sz="1400" kern="0" dirty="0">
                          <a:solidFill>
                            <a:schemeClr val="tx1"/>
                          </a:solidFill>
                          <a:latin typeface="Arial" panose="020B0604020202020204" pitchFamily="34" charset="0"/>
                          <a:cs typeface="Arial" panose="020B0604020202020204" pitchFamily="34" charset="0"/>
                        </a:rPr>
                        <a:t> in last line, n (%)</a:t>
                      </a:r>
                      <a:endParaRPr lang="en-US" sz="1400" kern="0" dirty="0">
                        <a:solidFill>
                          <a:schemeClr val="tx1"/>
                        </a:solidFill>
                        <a:highlight>
                          <a:srgbClr val="00FF00"/>
                        </a:highlight>
                        <a:latin typeface="Arial" panose="020B0604020202020204" pitchFamily="34" charset="0"/>
                        <a:cs typeface="Arial" panose="020B0604020202020204" pitchFamily="34" charset="0"/>
                      </a:endParaRPr>
                    </a:p>
                  </a:txBody>
                  <a:tcPr marT="27432" marB="27432" anchor="ctr">
                    <a:lnL w="12700" cmpd="sng">
                      <a:noFill/>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53 (22)</a:t>
                      </a:r>
                    </a:p>
                  </a:txBody>
                  <a:tcPr marL="68580" marR="6858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47 (19)</a:t>
                      </a:r>
                    </a:p>
                  </a:txBody>
                  <a:tcPr marL="68580" marR="6858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100 (20)</a:t>
                      </a:r>
                    </a:p>
                  </a:txBody>
                  <a:tcPr marL="68580" marR="6858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2175181182"/>
                  </a:ext>
                </a:extLst>
              </a:tr>
              <a:tr h="317996">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0" dirty="0">
                          <a:solidFill>
                            <a:schemeClr val="tx1"/>
                          </a:solidFill>
                          <a:latin typeface="Arial" panose="020B0604020202020204" pitchFamily="34" charset="0"/>
                          <a:cs typeface="Arial" panose="020B0604020202020204" pitchFamily="34" charset="0"/>
                        </a:rPr>
                        <a:t>Prior R</a:t>
                      </a:r>
                      <a:r>
                        <a:rPr lang="en-US" sz="1400" kern="0" baseline="30000" dirty="0">
                          <a:solidFill>
                            <a:schemeClr val="tx1"/>
                          </a:solidFill>
                          <a:latin typeface="Arial" panose="020B0604020202020204" pitchFamily="34" charset="0"/>
                          <a:cs typeface="Arial" panose="020B0604020202020204" pitchFamily="34" charset="0"/>
                        </a:rPr>
                        <a:t>2</a:t>
                      </a:r>
                      <a:r>
                        <a:rPr lang="en-US" sz="1400" kern="0" dirty="0">
                          <a:solidFill>
                            <a:schemeClr val="tx1"/>
                          </a:solidFill>
                          <a:latin typeface="Arial" panose="020B0604020202020204" pitchFamily="34" charset="0"/>
                          <a:cs typeface="Arial" panose="020B0604020202020204" pitchFamily="34" charset="0"/>
                        </a:rPr>
                        <a:t>, n (%)</a:t>
                      </a:r>
                    </a:p>
                  </a:txBody>
                  <a:tcPr marT="27432" marB="27432" anchor="ctr">
                    <a:lnL w="12700" cmpd="sng">
                      <a:noFill/>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8 (3)</a:t>
                      </a:r>
                    </a:p>
                  </a:txBody>
                  <a:tcPr marL="68580" marR="6858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9 (4)</a:t>
                      </a:r>
                    </a:p>
                  </a:txBody>
                  <a:tcPr marL="68580" marR="6858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17 (3)</a:t>
                      </a:r>
                    </a:p>
                  </a:txBody>
                  <a:tcPr marL="68580" marR="6858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396670678"/>
                  </a:ext>
                </a:extLst>
              </a:tr>
              <a:tr h="317996">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0" dirty="0">
                          <a:solidFill>
                            <a:schemeClr val="tx1"/>
                          </a:solidFill>
                          <a:latin typeface="Arial" panose="020B0604020202020204" pitchFamily="34" charset="0"/>
                          <a:cs typeface="Arial" panose="020B0604020202020204" pitchFamily="34" charset="0"/>
                        </a:rPr>
                        <a:t>POD24,</a:t>
                      </a:r>
                      <a:r>
                        <a:rPr lang="en-US" sz="1400" kern="0" baseline="30000" dirty="0">
                          <a:solidFill>
                            <a:schemeClr val="tx1"/>
                          </a:solidFill>
                          <a:latin typeface="Arial" panose="020B0604020202020204" pitchFamily="34" charset="0"/>
                          <a:cs typeface="Arial" panose="020B0604020202020204" pitchFamily="34" charset="0"/>
                        </a:rPr>
                        <a:t>a</a:t>
                      </a:r>
                      <a:r>
                        <a:rPr lang="en-US" sz="1400" kern="0" dirty="0">
                          <a:solidFill>
                            <a:schemeClr val="tx1"/>
                          </a:solidFill>
                          <a:latin typeface="Arial" panose="020B0604020202020204" pitchFamily="34" charset="0"/>
                          <a:cs typeface="Arial" panose="020B0604020202020204" pitchFamily="34" charset="0"/>
                        </a:rPr>
                        <a:t> n (%)</a:t>
                      </a:r>
                    </a:p>
                  </a:txBody>
                  <a:tcPr marT="27432" marB="27432" anchor="ctr">
                    <a:lnL w="12700" cmpd="sng">
                      <a:noFill/>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Aptos" panose="020B0004020202020204" pitchFamily="34" charset="0"/>
                          <a:cs typeface="Arial" panose="020B0604020202020204" pitchFamily="34" charset="0"/>
                        </a:rPr>
                        <a:t>106 (44)</a:t>
                      </a:r>
                      <a:endPar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Aptos" panose="020B0004020202020204" pitchFamily="34" charset="0"/>
                          <a:cs typeface="Arial" panose="020B0604020202020204" pitchFamily="34" charset="0"/>
                        </a:rPr>
                        <a:t>93 (38)</a:t>
                      </a:r>
                      <a:endPar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Aptos" panose="020B0004020202020204" pitchFamily="34" charset="0"/>
                          <a:cs typeface="Arial" panose="020B0604020202020204" pitchFamily="34" charset="0"/>
                        </a:rPr>
                        <a:t>199 (41)</a:t>
                      </a:r>
                      <a:endPar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3117482837"/>
                  </a:ext>
                </a:extLst>
              </a:tr>
              <a:tr h="317996">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effectLst/>
                          <a:latin typeface="Arial" panose="020B0604020202020204" pitchFamily="34" charset="0"/>
                          <a:ea typeface="+mn-ea"/>
                          <a:cs typeface="Arial" panose="020B0604020202020204" pitchFamily="34" charset="0"/>
                        </a:rPr>
                        <a:t>Refractory to 1L therapy, n (%)</a:t>
                      </a:r>
                      <a:endParaRPr lang="en-US" sz="1400" kern="0" dirty="0">
                        <a:solidFill>
                          <a:schemeClr val="tx1"/>
                        </a:solidFill>
                        <a:latin typeface="Arial" panose="020B0604020202020204" pitchFamily="34" charset="0"/>
                        <a:cs typeface="Arial" panose="020B0604020202020204" pitchFamily="34" charset="0"/>
                      </a:endParaRPr>
                    </a:p>
                  </a:txBody>
                  <a:tcPr marT="27432" marB="27432" anchor="ctr">
                    <a:lnL w="12700" cmpd="sng">
                      <a:noFill/>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Aptos" panose="020B0004020202020204" pitchFamily="34" charset="0"/>
                          <a:cs typeface="Arial" panose="020B0604020202020204" pitchFamily="34" charset="0"/>
                        </a:rPr>
                        <a:t>86 (35)</a:t>
                      </a:r>
                      <a:endPar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Aptos" panose="020B0004020202020204" pitchFamily="34" charset="0"/>
                          <a:cs typeface="Arial" panose="020B0604020202020204" pitchFamily="34" charset="0"/>
                        </a:rPr>
                        <a:t>81 (33)</a:t>
                      </a:r>
                      <a:endPar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Aptos" panose="020B0004020202020204" pitchFamily="34" charset="0"/>
                          <a:cs typeface="Arial" panose="020B0604020202020204" pitchFamily="34" charset="0"/>
                        </a:rPr>
                        <a:t>167 (34)</a:t>
                      </a:r>
                      <a:endPar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241117350"/>
                  </a:ext>
                </a:extLst>
              </a:tr>
              <a:tr h="296314">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l" rtl="0" fontAlgn="base">
                        <a:lnSpc>
                          <a:spcPct val="100000"/>
                        </a:lnSpc>
                      </a:pPr>
                      <a:r>
                        <a:rPr lang="en-US" sz="1400" kern="1200" baseline="0" dirty="0">
                          <a:solidFill>
                            <a:schemeClr val="tx1"/>
                          </a:solidFill>
                          <a:latin typeface="Arial" panose="020B0604020202020204" pitchFamily="34" charset="0"/>
                          <a:ea typeface="+mn-ea"/>
                          <a:cs typeface="Arial" panose="020B0604020202020204" pitchFamily="34" charset="0"/>
                        </a:rPr>
                        <a:t>Refractory to anti-CD20 antibody, n (%)</a:t>
                      </a:r>
                    </a:p>
                  </a:txBody>
                  <a:tcPr marT="18288" marB="18288" anchor="ctr">
                    <a:lnL w="12700" cmpd="sng">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104 (43)</a:t>
                      </a:r>
                    </a:p>
                  </a:txBody>
                  <a:tcPr marL="68580" marR="6858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103 (42)</a:t>
                      </a:r>
                    </a:p>
                  </a:txBody>
                  <a:tcPr marL="68580" marR="6858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207 (42)</a:t>
                      </a:r>
                    </a:p>
                  </a:txBody>
                  <a:tcPr marL="68580" marR="6858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2317659103"/>
                  </a:ext>
                </a:extLst>
              </a:tr>
              <a:tr h="296314">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l" rtl="0" fontAlgn="base">
                        <a:lnSpc>
                          <a:spcPct val="100000"/>
                        </a:lnSpc>
                      </a:pPr>
                      <a:r>
                        <a:rPr lang="en-US" sz="1400" kern="1200" dirty="0">
                          <a:solidFill>
                            <a:schemeClr val="tx1"/>
                          </a:solidFill>
                          <a:effectLst/>
                          <a:latin typeface="Arial" panose="020B0604020202020204" pitchFamily="34" charset="0"/>
                          <a:ea typeface="+mn-ea"/>
                          <a:cs typeface="Arial" panose="020B0604020202020204" pitchFamily="34" charset="0"/>
                        </a:rPr>
                        <a:t>Refractory to last line of therapy, n (%)</a:t>
                      </a:r>
                      <a:endParaRPr lang="en-US" sz="1400" kern="1200" baseline="30000" dirty="0">
                        <a:solidFill>
                          <a:schemeClr val="tx1"/>
                        </a:solidFill>
                        <a:latin typeface="Arial" panose="020B0604020202020204" pitchFamily="34" charset="0"/>
                        <a:ea typeface="+mn-ea"/>
                        <a:cs typeface="Arial" panose="020B0604020202020204" pitchFamily="34" charset="0"/>
                      </a:endParaRPr>
                    </a:p>
                  </a:txBody>
                  <a:tcPr marT="18288" marB="18288" anchor="ctr">
                    <a:lnL w="12700" cmpd="sng">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Aptos" panose="020B0004020202020204" pitchFamily="34" charset="0"/>
                          <a:cs typeface="Arial" panose="020B0604020202020204" pitchFamily="34" charset="0"/>
                        </a:rPr>
                        <a:t>84 (35)</a:t>
                      </a:r>
                      <a:endPar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Aptos" panose="020B0004020202020204" pitchFamily="34" charset="0"/>
                          <a:cs typeface="Arial" panose="020B0604020202020204" pitchFamily="34" charset="0"/>
                        </a:rPr>
                        <a:t>82 (33)</a:t>
                      </a:r>
                      <a:endPar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Aptos" panose="020B0004020202020204" pitchFamily="34" charset="0"/>
                          <a:cs typeface="Arial" panose="020B0604020202020204" pitchFamily="34" charset="0"/>
                        </a:rPr>
                        <a:t>166 (34)</a:t>
                      </a:r>
                      <a:endPar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392781812"/>
                  </a:ext>
                </a:extLst>
              </a:tr>
              <a:tr h="296314">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l" rtl="0" fontAlgn="base">
                        <a:lnSpc>
                          <a:spcPct val="100000"/>
                        </a:lnSpc>
                      </a:pPr>
                      <a:r>
                        <a:rPr lang="en-US" sz="1400" kern="1200" baseline="0" dirty="0">
                          <a:solidFill>
                            <a:schemeClr val="tx1"/>
                          </a:solidFill>
                          <a:latin typeface="Arial" panose="020B0604020202020204" pitchFamily="34" charset="0"/>
                          <a:ea typeface="+mn-ea"/>
                          <a:cs typeface="Arial" panose="020B0604020202020204" pitchFamily="34" charset="0"/>
                        </a:rPr>
                        <a:t>Double </a:t>
                      </a:r>
                      <a:r>
                        <a:rPr lang="en-US" sz="1400" kern="1200" baseline="0" dirty="0" err="1">
                          <a:solidFill>
                            <a:schemeClr val="tx1"/>
                          </a:solidFill>
                          <a:latin typeface="Arial" panose="020B0604020202020204" pitchFamily="34" charset="0"/>
                          <a:ea typeface="+mn-ea"/>
                          <a:cs typeface="Arial" panose="020B0604020202020204" pitchFamily="34" charset="0"/>
                        </a:rPr>
                        <a:t>refractory</a:t>
                      </a:r>
                      <a:r>
                        <a:rPr lang="en-US" sz="1400" kern="1200" baseline="30000" dirty="0" err="1">
                          <a:solidFill>
                            <a:schemeClr val="tx1"/>
                          </a:solidFill>
                          <a:latin typeface="Arial" panose="020B0604020202020204" pitchFamily="34" charset="0"/>
                          <a:ea typeface="+mn-ea"/>
                          <a:cs typeface="Arial" panose="020B0604020202020204" pitchFamily="34" charset="0"/>
                        </a:rPr>
                        <a:t>b</a:t>
                      </a:r>
                      <a:endParaRPr lang="en-US" sz="1400" kern="1200" baseline="30000" dirty="0">
                        <a:solidFill>
                          <a:schemeClr val="tx1"/>
                        </a:solidFill>
                        <a:latin typeface="Arial" panose="020B0604020202020204" pitchFamily="34" charset="0"/>
                        <a:ea typeface="+mn-ea"/>
                        <a:cs typeface="Arial" panose="020B0604020202020204" pitchFamily="34" charset="0"/>
                      </a:endParaRPr>
                    </a:p>
                  </a:txBody>
                  <a:tcPr marT="18288" marB="18288" anchor="ctr">
                    <a:lnL w="12700" cmpd="sng">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91 (37)</a:t>
                      </a:r>
                    </a:p>
                  </a:txBody>
                  <a:tcPr marL="68580" marR="6858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91 (37)</a:t>
                      </a:r>
                    </a:p>
                  </a:txBody>
                  <a:tcPr marL="68580" marR="6858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182 (37)</a:t>
                      </a:r>
                    </a:p>
                  </a:txBody>
                  <a:tcPr marL="68580" marR="6858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4223970289"/>
                  </a:ext>
                </a:extLst>
              </a:tr>
            </a:tbl>
          </a:graphicData>
        </a:graphic>
      </p:graphicFrame>
      <p:sp>
        <p:nvSpPr>
          <p:cNvPr id="3" name="TextBox 2">
            <a:extLst>
              <a:ext uri="{FF2B5EF4-FFF2-40B4-BE49-F238E27FC236}">
                <a16:creationId xmlns:a16="http://schemas.microsoft.com/office/drawing/2014/main" id="{132B0D0B-EBA0-3990-DC29-B3A3B9CDC8B2}"/>
              </a:ext>
            </a:extLst>
          </p:cNvPr>
          <p:cNvSpPr txBox="1"/>
          <p:nvPr/>
        </p:nvSpPr>
        <p:spPr>
          <a:xfrm>
            <a:off x="711617" y="6270620"/>
            <a:ext cx="11036567" cy="138499"/>
          </a:xfrm>
          <a:prstGeom prst="rect">
            <a:avLst/>
          </a:prstGeom>
          <a:noFill/>
        </p:spPr>
        <p:txBody>
          <a:bodyPr wrap="squar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a</a:t>
            </a:r>
            <a:r>
              <a:rPr kumimoji="0" lang="en-US" sz="9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OD24 is defined as progression of disease ≤ 2 years from the date of initiation of frontline therapy. </a:t>
            </a:r>
            <a:r>
              <a:rPr kumimoji="0" lang="en-US" sz="900" b="0" i="0" u="none" strike="noStrike" kern="0" cap="none" spc="0" normalizeH="0" baseline="30000" noProof="0" dirty="0" err="1">
                <a:ln>
                  <a:noFill/>
                </a:ln>
                <a:solidFill>
                  <a:srgbClr val="000000"/>
                </a:solidFill>
                <a:effectLst/>
                <a:uLnTx/>
                <a:uFillTx/>
                <a:latin typeface="Arial" panose="020B0604020202020204" pitchFamily="34" charset="0"/>
                <a:ea typeface="+mn-ea"/>
                <a:cs typeface="Arial" panose="020B0604020202020204" pitchFamily="34" charset="0"/>
              </a:rPr>
              <a:t>b</a:t>
            </a:r>
            <a:r>
              <a:rPr kumimoji="0" lang="en-US" sz="900" b="0" i="0" u="none" strike="noStrike" kern="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Double</a:t>
            </a:r>
            <a:r>
              <a:rPr kumimoji="0" lang="en-US" sz="9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refractory is refractory to prior anti-CD20 therapy and prior alkylator therapy. </a:t>
            </a:r>
          </a:p>
        </p:txBody>
      </p:sp>
      <p:sp>
        <p:nvSpPr>
          <p:cNvPr id="4" name="Title 1">
            <a:extLst>
              <a:ext uri="{FF2B5EF4-FFF2-40B4-BE49-F238E27FC236}">
                <a16:creationId xmlns:a16="http://schemas.microsoft.com/office/drawing/2014/main" id="{B3EE7593-ABF9-023A-4804-C2B1849DD668}"/>
              </a:ext>
            </a:extLst>
          </p:cNvPr>
          <p:cNvSpPr txBox="1">
            <a:spLocks/>
          </p:cNvSpPr>
          <p:nvPr/>
        </p:nvSpPr>
        <p:spPr>
          <a:xfrm>
            <a:off x="575995" y="413679"/>
            <a:ext cx="10972800" cy="369332"/>
          </a:xfrm>
          <a:prstGeom prst="rect">
            <a:avLst/>
          </a:prstGeom>
        </p:spPr>
        <p:txBody>
          <a:bodyPr lIns="0" tIns="0" rIns="0" bIns="0">
            <a:spAutoFit/>
          </a:bodyPr>
          <a:lstStyle>
            <a:lvl1pPr algn="l" defTabSz="914400" rtl="0" eaLnBrk="1" latinLnBrk="0" hangingPunct="1">
              <a:lnSpc>
                <a:spcPct val="95000"/>
              </a:lnSpc>
              <a:spcBef>
                <a:spcPct val="0"/>
              </a:spcBef>
              <a:buNone/>
              <a:defRPr sz="2800" b="1" kern="1200">
                <a:solidFill>
                  <a:srgbClr val="00A195"/>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0" cap="none" spc="0" normalizeH="0" baseline="0" noProof="0" dirty="0">
                <a:ln>
                  <a:noFill/>
                </a:ln>
                <a:solidFill>
                  <a:srgbClr val="009B92"/>
                </a:solidFill>
                <a:effectLst/>
                <a:uLnTx/>
                <a:uFillTx/>
                <a:latin typeface="Arial" panose="020B0604020202020204" pitchFamily="34" charset="0"/>
                <a:ea typeface="+mj-ea"/>
                <a:cs typeface="Arial" panose="020B0604020202020204" pitchFamily="34" charset="0"/>
              </a:rPr>
              <a:t>Treatment History Was Generally Balanced Across Epcoritamab+R</a:t>
            </a:r>
            <a:r>
              <a:rPr kumimoji="0" lang="en-US" sz="2400" b="1" i="0" u="none" strike="noStrike" kern="0" cap="none" spc="0" normalizeH="0" baseline="30000" noProof="0" dirty="0">
                <a:ln>
                  <a:noFill/>
                </a:ln>
                <a:solidFill>
                  <a:srgbClr val="009B92"/>
                </a:solidFill>
                <a:effectLst/>
                <a:uLnTx/>
                <a:uFillTx/>
                <a:latin typeface="Arial" panose="020B0604020202020204" pitchFamily="34" charset="0"/>
                <a:ea typeface="+mj-ea"/>
                <a:cs typeface="Arial" panose="020B0604020202020204" pitchFamily="34" charset="0"/>
              </a:rPr>
              <a:t>2</a:t>
            </a:r>
            <a:r>
              <a:rPr kumimoji="0" lang="en-US" sz="2400" b="1" i="0" u="none" strike="noStrike" kern="0" cap="none" spc="0" normalizeH="0" baseline="0" noProof="0" dirty="0">
                <a:ln>
                  <a:noFill/>
                </a:ln>
                <a:solidFill>
                  <a:srgbClr val="009B92"/>
                </a:solidFill>
                <a:effectLst/>
                <a:uLnTx/>
                <a:uFillTx/>
                <a:latin typeface="Arial" panose="020B0604020202020204" pitchFamily="34" charset="0"/>
                <a:ea typeface="+mj-ea"/>
                <a:cs typeface="Arial" panose="020B0604020202020204" pitchFamily="34" charset="0"/>
              </a:rPr>
              <a:t> and R</a:t>
            </a:r>
            <a:r>
              <a:rPr kumimoji="0" lang="en-US" sz="2400" b="1" i="0" u="none" strike="noStrike" kern="0" cap="none" spc="0" normalizeH="0" baseline="30000" noProof="0" dirty="0">
                <a:ln>
                  <a:noFill/>
                </a:ln>
                <a:solidFill>
                  <a:srgbClr val="009B92"/>
                </a:solidFill>
                <a:effectLst/>
                <a:uLnTx/>
                <a:uFillTx/>
                <a:latin typeface="Arial" panose="020B0604020202020204" pitchFamily="34" charset="0"/>
                <a:ea typeface="+mj-ea"/>
                <a:cs typeface="Arial" panose="020B0604020202020204" pitchFamily="34" charset="0"/>
              </a:rPr>
              <a:t>2</a:t>
            </a:r>
            <a:r>
              <a:rPr kumimoji="0" lang="en-US" sz="2400" b="1" i="0" u="none" strike="noStrike" kern="0" cap="none" spc="0" normalizeH="0" baseline="0" noProof="0" dirty="0">
                <a:ln>
                  <a:noFill/>
                </a:ln>
                <a:solidFill>
                  <a:srgbClr val="009B92"/>
                </a:solidFill>
                <a:effectLst/>
                <a:uLnTx/>
                <a:uFillTx/>
                <a:latin typeface="Arial" panose="020B0604020202020204" pitchFamily="34" charset="0"/>
                <a:ea typeface="+mj-ea"/>
                <a:cs typeface="Arial" panose="020B0604020202020204" pitchFamily="34" charset="0"/>
              </a:rPr>
              <a:t> </a:t>
            </a:r>
          </a:p>
        </p:txBody>
      </p:sp>
    </p:spTree>
    <p:extLst>
      <p:ext uri="{BB962C8B-B14F-4D97-AF65-F5344CB8AC3E}">
        <p14:creationId xmlns:p14="http://schemas.microsoft.com/office/powerpoint/2010/main" val="4227590936"/>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E8CA90-F697-4B0E-A030-1AD37DA0EC3C}"/>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9703F823-D71F-93C0-0FDF-53A774DBC881}"/>
              </a:ext>
            </a:extLst>
          </p:cNvPr>
          <p:cNvPicPr>
            <a:picLocks noChangeAspect="1"/>
          </p:cNvPicPr>
          <p:nvPr/>
        </p:nvPicPr>
        <p:blipFill>
          <a:blip r:embed="rId3"/>
          <a:srcRect t="15224" r="218"/>
          <a:stretch/>
        </p:blipFill>
        <p:spPr>
          <a:xfrm>
            <a:off x="-2" y="6530274"/>
            <a:ext cx="12192002" cy="327726"/>
          </a:xfrm>
          <a:prstGeom prst="rect">
            <a:avLst/>
          </a:prstGeom>
        </p:spPr>
      </p:pic>
      <p:sp>
        <p:nvSpPr>
          <p:cNvPr id="7" name="Rectangle: Top Corners Rounded 6">
            <a:extLst>
              <a:ext uri="{FF2B5EF4-FFF2-40B4-BE49-F238E27FC236}">
                <a16:creationId xmlns:a16="http://schemas.microsoft.com/office/drawing/2014/main" id="{45508D88-BCFA-A751-8B6D-C6ABF6D87262}"/>
              </a:ext>
            </a:extLst>
          </p:cNvPr>
          <p:cNvSpPr/>
          <p:nvPr/>
        </p:nvSpPr>
        <p:spPr>
          <a:xfrm rot="10800000">
            <a:off x="10046524" y="0"/>
            <a:ext cx="2145474" cy="327358"/>
          </a:xfrm>
          <a:prstGeom prst="round2SameRect">
            <a:avLst/>
          </a:prstGeom>
          <a:gradFill flip="none" rotWithShape="1">
            <a:gsLst>
              <a:gs pos="0">
                <a:srgbClr val="009B92"/>
              </a:gs>
              <a:gs pos="100000">
                <a:srgbClr val="041E49"/>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8" name="TextBox 7">
            <a:extLst>
              <a:ext uri="{FF2B5EF4-FFF2-40B4-BE49-F238E27FC236}">
                <a16:creationId xmlns:a16="http://schemas.microsoft.com/office/drawing/2014/main" id="{721B372D-DDA1-3291-777E-FE0F5D9B78A0}"/>
              </a:ext>
            </a:extLst>
          </p:cNvPr>
          <p:cNvSpPr txBox="1"/>
          <p:nvPr/>
        </p:nvSpPr>
        <p:spPr>
          <a:xfrm>
            <a:off x="10229407" y="74603"/>
            <a:ext cx="1811393"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pcoritamab+R</a:t>
            </a:r>
            <a:r>
              <a:rPr kumimoji="0" lang="en-US" sz="1200" b="0" i="0" u="none" strike="noStrike" kern="120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rPr>
              <a:t>2</a:t>
            </a: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in R/R FL</a:t>
            </a:r>
          </a:p>
        </p:txBody>
      </p:sp>
      <p:sp>
        <p:nvSpPr>
          <p:cNvPr id="9" name="TextBox 8">
            <a:extLst>
              <a:ext uri="{FF2B5EF4-FFF2-40B4-BE49-F238E27FC236}">
                <a16:creationId xmlns:a16="http://schemas.microsoft.com/office/drawing/2014/main" id="{81172708-6CC6-9827-AF56-724E03B220A0}"/>
              </a:ext>
            </a:extLst>
          </p:cNvPr>
          <p:cNvSpPr txBox="1"/>
          <p:nvPr/>
        </p:nvSpPr>
        <p:spPr>
          <a:xfrm>
            <a:off x="10229407" y="6571026"/>
            <a:ext cx="1840568"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alchi et al., ASH 2025; #466</a:t>
            </a:r>
          </a:p>
        </p:txBody>
      </p:sp>
      <p:sp>
        <p:nvSpPr>
          <p:cNvPr id="2" name="TextBox 1">
            <a:extLst>
              <a:ext uri="{FF2B5EF4-FFF2-40B4-BE49-F238E27FC236}">
                <a16:creationId xmlns:a16="http://schemas.microsoft.com/office/drawing/2014/main" id="{89295A37-F91D-BB10-070D-D36BB0460E59}"/>
              </a:ext>
            </a:extLst>
          </p:cNvPr>
          <p:cNvSpPr txBox="1"/>
          <p:nvPr/>
        </p:nvSpPr>
        <p:spPr>
          <a:xfrm>
            <a:off x="586627" y="6011994"/>
            <a:ext cx="11036567" cy="415498"/>
          </a:xfrm>
          <a:prstGeom prst="rect">
            <a:avLst/>
          </a:prstGeom>
          <a:noFill/>
        </p:spPr>
        <p:txBody>
          <a:bodyPr wrap="squar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Arial"/>
                <a:ea typeface="+mn-ea"/>
                <a:cs typeface="Arial"/>
              </a:rPr>
              <a:t>Median follow-up for PFS: epcoritamab+R</a:t>
            </a:r>
            <a:r>
              <a:rPr kumimoji="0" lang="en-US" sz="900" b="0" i="0" u="none" strike="noStrike" kern="0" cap="none" spc="0" normalizeH="0" baseline="30000" noProof="0" dirty="0">
                <a:ln>
                  <a:noFill/>
                </a:ln>
                <a:solidFill>
                  <a:srgbClr val="000000"/>
                </a:solidFill>
                <a:effectLst/>
                <a:uLnTx/>
                <a:uFillTx/>
                <a:latin typeface="Arial"/>
                <a:ea typeface="+mn-ea"/>
                <a:cs typeface="Arial"/>
              </a:rPr>
              <a:t>2</a:t>
            </a:r>
            <a:r>
              <a:rPr kumimoji="0" lang="en-US" sz="900" b="0" i="0" u="none" strike="noStrike" kern="0" cap="none" spc="0" normalizeH="0" baseline="0" noProof="0" dirty="0">
                <a:ln>
                  <a:noFill/>
                </a:ln>
                <a:solidFill>
                  <a:srgbClr val="000000"/>
                </a:solidFill>
                <a:effectLst/>
                <a:uLnTx/>
                <a:uFillTx/>
                <a:latin typeface="Arial"/>
                <a:ea typeface="+mn-ea"/>
                <a:cs typeface="Arial"/>
              </a:rPr>
              <a:t> (14.4m), R</a:t>
            </a:r>
            <a:r>
              <a:rPr kumimoji="0" lang="en-US" sz="900" b="0" i="0" u="none" strike="noStrike" kern="0" cap="none" spc="0" normalizeH="0" baseline="30000" noProof="0" dirty="0">
                <a:ln>
                  <a:noFill/>
                </a:ln>
                <a:solidFill>
                  <a:srgbClr val="000000"/>
                </a:solidFill>
                <a:effectLst/>
                <a:uLnTx/>
                <a:uFillTx/>
                <a:latin typeface="Arial"/>
                <a:ea typeface="+mn-ea"/>
                <a:cs typeface="Arial"/>
              </a:rPr>
              <a:t>2</a:t>
            </a:r>
            <a:r>
              <a:rPr kumimoji="0" lang="en-US" sz="900" b="0" i="0" u="none" strike="noStrike" kern="0" cap="none" spc="0" normalizeH="0" baseline="0" noProof="0" dirty="0">
                <a:ln>
                  <a:noFill/>
                </a:ln>
                <a:solidFill>
                  <a:srgbClr val="000000"/>
                </a:solidFill>
                <a:effectLst/>
                <a:uLnTx/>
                <a:uFillTx/>
                <a:latin typeface="Arial"/>
                <a:ea typeface="+mn-ea"/>
                <a:cs typeface="Arial"/>
              </a:rPr>
              <a:t> (11.5m). The first planned interim analysis (January 10, 2025) achieved statistical significance on PFS, HR 0.21 (95% CI 0.13, 0.33) </a:t>
            </a:r>
            <a:r>
              <a:rPr kumimoji="0" lang="en-US" sz="900" b="0" i="1" u="none" strike="noStrike" kern="0" cap="none" spc="0" normalizeH="0" baseline="0" noProof="0" dirty="0">
                <a:ln>
                  <a:noFill/>
                </a:ln>
                <a:solidFill>
                  <a:srgbClr val="000000"/>
                </a:solidFill>
                <a:effectLst/>
                <a:uLnTx/>
                <a:uFillTx/>
                <a:latin typeface="Arial"/>
                <a:ea typeface="+mn-ea"/>
                <a:cs typeface="Arial"/>
              </a:rPr>
              <a:t>P</a:t>
            </a:r>
            <a:r>
              <a:rPr kumimoji="0" lang="en-US" sz="900" b="0" i="0" u="none" strike="noStrike" kern="0" cap="none" spc="0" normalizeH="0" baseline="0" noProof="0" dirty="0">
                <a:ln>
                  <a:noFill/>
                </a:ln>
                <a:solidFill>
                  <a:srgbClr val="000000"/>
                </a:solidFill>
                <a:effectLst/>
                <a:uLnTx/>
                <a:uFillTx/>
                <a:latin typeface="Arial"/>
                <a:ea typeface="+mn-ea"/>
                <a:cs typeface="Arial"/>
              </a:rPr>
              <a:t> &lt; 0.0001, with a 1-sided significance level of 0.0023.</a:t>
            </a:r>
            <a:endParaRPr kumimoji="0" lang="en-US" sz="900" b="0" i="0" u="none" strike="sngStrike" kern="0" cap="none" spc="0" normalizeH="0" baseline="0" noProof="0" dirty="0">
              <a:ln>
                <a:noFill/>
              </a:ln>
              <a:solidFill>
                <a:srgbClr val="000000"/>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30000" noProof="0" dirty="0" err="1">
                <a:ln>
                  <a:noFill/>
                </a:ln>
                <a:solidFill>
                  <a:srgbClr val="000000"/>
                </a:solidFill>
                <a:effectLst/>
                <a:uLnTx/>
                <a:uFillTx/>
                <a:latin typeface="Arial"/>
                <a:ea typeface="+mn-ea"/>
                <a:cs typeface="Arial"/>
              </a:rPr>
              <a:t>a</a:t>
            </a:r>
            <a:r>
              <a:rPr kumimoji="0" lang="en-US" sz="900" b="0" i="0" u="none" strike="noStrike" kern="0" cap="none" spc="0" normalizeH="0" baseline="0" noProof="0" dirty="0" err="1">
                <a:ln>
                  <a:noFill/>
                </a:ln>
                <a:solidFill>
                  <a:srgbClr val="000000"/>
                </a:solidFill>
                <a:effectLst/>
                <a:uLnTx/>
                <a:uFillTx/>
                <a:latin typeface="Arial"/>
                <a:ea typeface="+mn-ea"/>
                <a:cs typeface="Arial"/>
              </a:rPr>
              <a:t>Nominal</a:t>
            </a:r>
            <a:r>
              <a:rPr kumimoji="0" lang="en-US" sz="900" b="0" i="0" u="none" strike="noStrike" kern="0" cap="none" spc="0" normalizeH="0" baseline="0" noProof="0" dirty="0">
                <a:ln>
                  <a:noFill/>
                </a:ln>
                <a:solidFill>
                  <a:srgbClr val="000000"/>
                </a:solidFill>
                <a:effectLst/>
                <a:uLnTx/>
                <a:uFillTx/>
                <a:latin typeface="Arial"/>
                <a:ea typeface="+mn-ea"/>
                <a:cs typeface="Arial"/>
              </a:rPr>
              <a:t> </a:t>
            </a:r>
            <a:r>
              <a:rPr kumimoji="0" lang="en-US" sz="900" b="0" i="1" u="none" strike="noStrike" kern="0" cap="none" spc="0" normalizeH="0" baseline="0" noProof="0" dirty="0">
                <a:ln>
                  <a:noFill/>
                </a:ln>
                <a:solidFill>
                  <a:srgbClr val="000000"/>
                </a:solidFill>
                <a:effectLst/>
                <a:uLnTx/>
                <a:uFillTx/>
                <a:latin typeface="Arial"/>
                <a:ea typeface="+mn-ea"/>
                <a:cs typeface="Arial"/>
              </a:rPr>
              <a:t>P</a:t>
            </a:r>
            <a:r>
              <a:rPr kumimoji="0" lang="en-US" sz="900" b="0" i="0" u="none" strike="noStrike" kern="0" cap="none" spc="0" normalizeH="0" baseline="0" noProof="0" dirty="0">
                <a:ln>
                  <a:noFill/>
                </a:ln>
                <a:solidFill>
                  <a:srgbClr val="000000"/>
                </a:solidFill>
                <a:effectLst/>
                <a:uLnTx/>
                <a:uFillTx/>
                <a:latin typeface="Arial"/>
                <a:ea typeface="+mn-ea"/>
                <a:cs typeface="Arial"/>
              </a:rPr>
              <a:t> value is based on stratified log-rank test. Hazard ratio is estimated using stratified Cox proportional hazards model. This analysis was performed on the 78% information fraction.</a:t>
            </a:r>
          </a:p>
        </p:txBody>
      </p:sp>
      <p:sp>
        <p:nvSpPr>
          <p:cNvPr id="3" name="TextBox 2">
            <a:extLst>
              <a:ext uri="{FF2B5EF4-FFF2-40B4-BE49-F238E27FC236}">
                <a16:creationId xmlns:a16="http://schemas.microsoft.com/office/drawing/2014/main" id="{EC05A690-3DA4-1BDD-105B-82ECCF0A9F2A}"/>
              </a:ext>
            </a:extLst>
          </p:cNvPr>
          <p:cNvSpPr txBox="1"/>
          <p:nvPr/>
        </p:nvSpPr>
        <p:spPr>
          <a:xfrm>
            <a:off x="575994" y="5320790"/>
            <a:ext cx="11230819" cy="492443"/>
          </a:xfrm>
          <a:prstGeom prst="rect">
            <a:avLst/>
          </a:prstGeom>
          <a:noFill/>
        </p:spPr>
        <p:txBody>
          <a:bodyPr wrap="square" lIns="0" tIns="0" rIns="0" bIns="0" rtlCol="0" anchor="b" anchorCtr="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oncordance rate was 94% for PFS between IRC and investigator assessm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e estimated 16-month PFS was 85.5% (95% CI: 79.7, 89.7) for epcoritamab+R</a:t>
            </a:r>
            <a:r>
              <a:rPr kumimoji="0" lang="en-US" sz="1600" b="0" i="0" u="none" strike="noStrike" kern="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2</a:t>
            </a: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nd 40.2% (95% CI: 31.8, 48.4) for R</a:t>
            </a:r>
            <a:r>
              <a:rPr kumimoji="0" lang="en-US" sz="1600" b="0" i="0" u="none" strike="noStrike" kern="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2</a:t>
            </a:r>
          </a:p>
        </p:txBody>
      </p:sp>
      <p:sp>
        <p:nvSpPr>
          <p:cNvPr id="6" name="Title 2">
            <a:extLst>
              <a:ext uri="{FF2B5EF4-FFF2-40B4-BE49-F238E27FC236}">
                <a16:creationId xmlns:a16="http://schemas.microsoft.com/office/drawing/2014/main" id="{AB74DCA3-167B-A143-A858-1B32488A3D4C}"/>
              </a:ext>
            </a:extLst>
          </p:cNvPr>
          <p:cNvSpPr txBox="1">
            <a:spLocks/>
          </p:cNvSpPr>
          <p:nvPr/>
        </p:nvSpPr>
        <p:spPr>
          <a:xfrm>
            <a:off x="575998" y="394330"/>
            <a:ext cx="11502588" cy="505668"/>
          </a:xfrm>
          <a:prstGeom prst="rect">
            <a:avLst/>
          </a:prstGeom>
        </p:spPr>
        <p:txBody>
          <a:bodyPr vert="horz" lIns="0" tIns="0" rIns="0" bIns="0" rtlCol="0" anchor="t" anchorCtr="0">
            <a:noAutofit/>
          </a:bodyPr>
          <a:lstStyle>
            <a:lvl1pPr algn="l" defTabSz="914400" rtl="0" eaLnBrk="1" latinLnBrk="0" hangingPunct="1">
              <a:lnSpc>
                <a:spcPct val="95000"/>
              </a:lnSpc>
              <a:spcBef>
                <a:spcPct val="0"/>
              </a:spcBef>
              <a:buNone/>
              <a:defRPr sz="2800" b="1" kern="1200">
                <a:solidFill>
                  <a:srgbClr val="00A195"/>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9B92"/>
                </a:solidFill>
                <a:effectLst/>
                <a:uLnTx/>
                <a:uFillTx/>
                <a:latin typeface="Arial" panose="020B0604020202020204" pitchFamily="34" charset="0"/>
                <a:ea typeface="Arial" panose="020B0604020202020204" pitchFamily="34" charset="0"/>
                <a:cs typeface="+mj-cs"/>
              </a:rPr>
              <a:t>Epcoritamab+R</a:t>
            </a:r>
            <a:r>
              <a:rPr kumimoji="0" lang="en-US" sz="2400" b="1" i="0" u="none" strike="noStrike" kern="1200" cap="none" spc="0" normalizeH="0" baseline="30000" noProof="0" dirty="0">
                <a:ln>
                  <a:noFill/>
                </a:ln>
                <a:solidFill>
                  <a:srgbClr val="009B92"/>
                </a:solidFill>
                <a:effectLst/>
                <a:uLnTx/>
                <a:uFillTx/>
                <a:latin typeface="Arial" panose="020B0604020202020204" pitchFamily="34" charset="0"/>
                <a:ea typeface="Arial" panose="020B0604020202020204" pitchFamily="34" charset="0"/>
                <a:cs typeface="+mj-cs"/>
              </a:rPr>
              <a:t>2</a:t>
            </a:r>
            <a:r>
              <a:rPr kumimoji="0" lang="en-US" sz="2400" b="1" i="0" u="none" strike="noStrike" kern="1200" cap="none" spc="0" normalizeH="0" baseline="0" noProof="0" dirty="0">
                <a:ln>
                  <a:noFill/>
                </a:ln>
                <a:solidFill>
                  <a:srgbClr val="009B92"/>
                </a:solidFill>
                <a:effectLst/>
                <a:uLnTx/>
                <a:uFillTx/>
                <a:latin typeface="Arial" panose="020B0604020202020204" pitchFamily="34" charset="0"/>
                <a:ea typeface="Arial" panose="020B0604020202020204" pitchFamily="34" charset="0"/>
                <a:cs typeface="+mj-cs"/>
              </a:rPr>
              <a:t> Resulted in Superior PFS per IRC With 79% Risk Reduction</a:t>
            </a:r>
            <a:endParaRPr kumimoji="0" lang="en-US" sz="2400" b="1" i="0" u="none" strike="noStrike" kern="1200" cap="none" spc="0" normalizeH="0" baseline="0" noProof="0" dirty="0">
              <a:ln>
                <a:noFill/>
              </a:ln>
              <a:solidFill>
                <a:srgbClr val="009B92"/>
              </a:solidFill>
              <a:effectLst/>
              <a:uLnTx/>
              <a:uFillTx/>
              <a:latin typeface="Arial"/>
              <a:ea typeface="+mj-ea"/>
              <a:cs typeface="+mj-cs"/>
            </a:endParaRPr>
          </a:p>
        </p:txBody>
      </p:sp>
      <p:grpSp>
        <p:nvGrpSpPr>
          <p:cNvPr id="18" name="Group 17">
            <a:extLst>
              <a:ext uri="{FF2B5EF4-FFF2-40B4-BE49-F238E27FC236}">
                <a16:creationId xmlns:a16="http://schemas.microsoft.com/office/drawing/2014/main" id="{7CD03A2C-89A8-20B9-179C-794CD0D371E6}"/>
              </a:ext>
            </a:extLst>
          </p:cNvPr>
          <p:cNvGrpSpPr/>
          <p:nvPr/>
        </p:nvGrpSpPr>
        <p:grpSpPr>
          <a:xfrm>
            <a:off x="575994" y="997302"/>
            <a:ext cx="6391476" cy="4272097"/>
            <a:chOff x="1705148" y="914486"/>
            <a:chExt cx="8777658" cy="4272097"/>
          </a:xfrm>
        </p:grpSpPr>
        <p:pic>
          <p:nvPicPr>
            <p:cNvPr id="12" name="Picture 11" descr="A screen shot of a graph&#10;&#10;AI-generated content may be incorrect.">
              <a:extLst>
                <a:ext uri="{FF2B5EF4-FFF2-40B4-BE49-F238E27FC236}">
                  <a16:creationId xmlns:a16="http://schemas.microsoft.com/office/drawing/2014/main" id="{5D0A79DD-D3F0-0805-2B3A-AE2D05CBBDF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05148" y="914486"/>
              <a:ext cx="8777658" cy="4272097"/>
            </a:xfrm>
            <a:prstGeom prst="rect">
              <a:avLst/>
            </a:prstGeom>
          </p:spPr>
        </p:pic>
        <p:sp>
          <p:nvSpPr>
            <p:cNvPr id="14" name="Rectangle 13">
              <a:extLst>
                <a:ext uri="{FF2B5EF4-FFF2-40B4-BE49-F238E27FC236}">
                  <a16:creationId xmlns:a16="http://schemas.microsoft.com/office/drawing/2014/main" id="{667A925A-774F-2A6A-645E-99C4AC2B4711}"/>
                </a:ext>
              </a:extLst>
            </p:cNvPr>
            <p:cNvSpPr/>
            <p:nvPr/>
          </p:nvSpPr>
          <p:spPr>
            <a:xfrm>
              <a:off x="1705148" y="5010150"/>
              <a:ext cx="399877" cy="17643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5" name="Picture 14" descr="A screen shot of a graph&#10;&#10;AI-generated content may be incorrect.">
              <a:extLst>
                <a:ext uri="{FF2B5EF4-FFF2-40B4-BE49-F238E27FC236}">
                  <a16:creationId xmlns:a16="http://schemas.microsoft.com/office/drawing/2014/main" id="{CC601BC7-4288-084E-5979-30B21593FD14}"/>
                </a:ext>
              </a:extLst>
            </p:cNvPr>
            <p:cNvPicPr>
              <a:picLocks noChangeAspect="1"/>
            </p:cNvPicPr>
            <p:nvPr/>
          </p:nvPicPr>
          <p:blipFill>
            <a:blip r:embed="rId4">
              <a:extLst>
                <a:ext uri="{28A0092B-C50C-407E-A947-70E740481C1C}">
                  <a14:useLocalDpi xmlns:a14="http://schemas.microsoft.com/office/drawing/2010/main" val="0"/>
                </a:ext>
              </a:extLst>
            </a:blip>
            <a:srcRect t="95647" r="98264"/>
            <a:stretch>
              <a:fillRect/>
            </a:stretch>
          </p:blipFill>
          <p:spPr>
            <a:xfrm>
              <a:off x="1708880" y="5000625"/>
              <a:ext cx="152400" cy="185958"/>
            </a:xfrm>
            <a:prstGeom prst="rect">
              <a:avLst/>
            </a:prstGeom>
          </p:spPr>
        </p:pic>
        <p:pic>
          <p:nvPicPr>
            <p:cNvPr id="16" name="Picture 15" descr="A screen shot of a graph&#10;&#10;AI-generated content may be incorrect.">
              <a:extLst>
                <a:ext uri="{FF2B5EF4-FFF2-40B4-BE49-F238E27FC236}">
                  <a16:creationId xmlns:a16="http://schemas.microsoft.com/office/drawing/2014/main" id="{EFD14E1E-31C3-3020-3171-92DBCCF8716D}"/>
                </a:ext>
              </a:extLst>
            </p:cNvPr>
            <p:cNvPicPr>
              <a:picLocks noChangeAspect="1"/>
            </p:cNvPicPr>
            <p:nvPr/>
          </p:nvPicPr>
          <p:blipFill>
            <a:blip r:embed="rId4">
              <a:extLst>
                <a:ext uri="{28A0092B-C50C-407E-A947-70E740481C1C}">
                  <a14:useLocalDpi xmlns:a14="http://schemas.microsoft.com/office/drawing/2010/main" val="0"/>
                </a:ext>
              </a:extLst>
            </a:blip>
            <a:srcRect l="2106" t="95647" r="94034"/>
            <a:stretch>
              <a:fillRect/>
            </a:stretch>
          </p:blipFill>
          <p:spPr>
            <a:xfrm>
              <a:off x="1854996" y="5000625"/>
              <a:ext cx="338776" cy="185958"/>
            </a:xfrm>
            <a:prstGeom prst="rect">
              <a:avLst/>
            </a:prstGeom>
          </p:spPr>
        </p:pic>
      </p:grpSp>
      <p:pic>
        <p:nvPicPr>
          <p:cNvPr id="11" name="Picture 10" descr="A graph of a number of blue and green bars&#10;&#10;AI-generated content may be incorrect.">
            <a:extLst>
              <a:ext uri="{FF2B5EF4-FFF2-40B4-BE49-F238E27FC236}">
                <a16:creationId xmlns:a16="http://schemas.microsoft.com/office/drawing/2014/main" id="{995BB9C4-D4E8-2C82-0225-8928CEEC50E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73865" y="1044400"/>
            <a:ext cx="5044412" cy="3463207"/>
          </a:xfrm>
          <a:prstGeom prst="rect">
            <a:avLst/>
          </a:prstGeom>
        </p:spPr>
      </p:pic>
    </p:spTree>
    <p:extLst>
      <p:ext uri="{BB962C8B-B14F-4D97-AF65-F5344CB8AC3E}">
        <p14:creationId xmlns:p14="http://schemas.microsoft.com/office/powerpoint/2010/main" val="28741087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1C8088-72EA-B979-2C1E-9591EA8ED560}"/>
              </a:ext>
            </a:extLst>
          </p:cNvPr>
          <p:cNvSpPr>
            <a:spLocks noGrp="1"/>
          </p:cNvSpPr>
          <p:nvPr>
            <p:ph type="ctrTitle"/>
          </p:nvPr>
        </p:nvSpPr>
        <p:spPr>
          <a:xfrm>
            <a:off x="609600" y="2227669"/>
            <a:ext cx="10972800" cy="1377976"/>
          </a:xfrm>
        </p:spPr>
        <p:txBody>
          <a:bodyPr>
            <a:noAutofit/>
          </a:bodyPr>
          <a:lstStyle/>
          <a:p>
            <a:r>
              <a:rPr lang="en-US" sz="4000" dirty="0"/>
              <a:t>Evidence-Based Incorporation of Antibody-Drug Conjugates and Other Novel Strategies into the Management of DLBCL </a:t>
            </a:r>
          </a:p>
        </p:txBody>
      </p:sp>
      <p:sp>
        <p:nvSpPr>
          <p:cNvPr id="4" name="Text Placeholder 3">
            <a:extLst>
              <a:ext uri="{FF2B5EF4-FFF2-40B4-BE49-F238E27FC236}">
                <a16:creationId xmlns:a16="http://schemas.microsoft.com/office/drawing/2014/main" id="{2741B2E2-1051-2EE0-3DE0-6B5E97A6D486}"/>
              </a:ext>
            </a:extLst>
          </p:cNvPr>
          <p:cNvSpPr>
            <a:spLocks noGrp="1"/>
          </p:cNvSpPr>
          <p:nvPr>
            <p:ph type="body" sz="quarter" idx="14"/>
          </p:nvPr>
        </p:nvSpPr>
        <p:spPr/>
        <p:txBody>
          <a:bodyPr/>
          <a:lstStyle/>
          <a:p>
            <a:pPr>
              <a:spcBef>
                <a:spcPts val="0"/>
              </a:spcBef>
            </a:pPr>
            <a:r>
              <a:rPr lang="en-US" dirty="0"/>
              <a:t>Gilles SALLES</a:t>
            </a:r>
          </a:p>
          <a:p>
            <a:pPr>
              <a:spcBef>
                <a:spcPts val="0"/>
              </a:spcBef>
            </a:pPr>
            <a:r>
              <a:rPr lang="en-US" altLang="zh-TW" sz="2000" dirty="0"/>
              <a:t>Lymphoma Service, Steven Greenberg Chair, Memorial Sloan Kettering Cancer Center</a:t>
            </a:r>
          </a:p>
          <a:p>
            <a:pPr>
              <a:spcBef>
                <a:spcPts val="0"/>
              </a:spcBef>
            </a:pPr>
            <a:r>
              <a:rPr lang="en-US" altLang="zh-TW" sz="2000" dirty="0"/>
              <a:t>Weill Cornell Medical College, New York, US</a:t>
            </a:r>
            <a:endParaRPr lang="en-US" dirty="0"/>
          </a:p>
          <a:p>
            <a:endParaRPr lang="en-US" dirty="0"/>
          </a:p>
        </p:txBody>
      </p:sp>
      <p:pic>
        <p:nvPicPr>
          <p:cNvPr id="6" name="Image 24">
            <a:extLst>
              <a:ext uri="{FF2B5EF4-FFF2-40B4-BE49-F238E27FC236}">
                <a16:creationId xmlns:a16="http://schemas.microsoft.com/office/drawing/2014/main" id="{644D83E9-365F-B04C-6D11-0F40A4A0ED0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037054"/>
            <a:ext cx="2016224" cy="983995"/>
          </a:xfrm>
          <a:prstGeom prst="rect">
            <a:avLst/>
          </a:prstGeom>
        </p:spPr>
      </p:pic>
    </p:spTree>
    <p:extLst>
      <p:ext uri="{BB962C8B-B14F-4D97-AF65-F5344CB8AC3E}">
        <p14:creationId xmlns:p14="http://schemas.microsoft.com/office/powerpoint/2010/main" val="15828324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046CAA-87D4-8453-C347-1D16FDE5E007}"/>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2837D2F2-B933-A362-D3A8-63EC0DACDFD0}"/>
              </a:ext>
            </a:extLst>
          </p:cNvPr>
          <p:cNvPicPr>
            <a:picLocks noChangeAspect="1"/>
          </p:cNvPicPr>
          <p:nvPr/>
        </p:nvPicPr>
        <p:blipFill>
          <a:blip r:embed="rId3"/>
          <a:srcRect t="15224" r="218"/>
          <a:stretch/>
        </p:blipFill>
        <p:spPr>
          <a:xfrm>
            <a:off x="-2" y="6530274"/>
            <a:ext cx="12192002" cy="327726"/>
          </a:xfrm>
          <a:prstGeom prst="rect">
            <a:avLst/>
          </a:prstGeom>
        </p:spPr>
      </p:pic>
      <p:sp>
        <p:nvSpPr>
          <p:cNvPr id="7" name="Rectangle: Top Corners Rounded 6">
            <a:extLst>
              <a:ext uri="{FF2B5EF4-FFF2-40B4-BE49-F238E27FC236}">
                <a16:creationId xmlns:a16="http://schemas.microsoft.com/office/drawing/2014/main" id="{52D9C1A1-4C8C-D10F-3B55-4618D5BBAAE0}"/>
              </a:ext>
            </a:extLst>
          </p:cNvPr>
          <p:cNvSpPr/>
          <p:nvPr/>
        </p:nvSpPr>
        <p:spPr>
          <a:xfrm rot="10800000">
            <a:off x="10046524" y="0"/>
            <a:ext cx="2145474" cy="327358"/>
          </a:xfrm>
          <a:prstGeom prst="round2SameRect">
            <a:avLst/>
          </a:prstGeom>
          <a:gradFill flip="none" rotWithShape="1">
            <a:gsLst>
              <a:gs pos="0">
                <a:srgbClr val="009B92"/>
              </a:gs>
              <a:gs pos="100000">
                <a:srgbClr val="041E49"/>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FF5E5E80-8AD9-B371-1DDA-98EBB3D03581}"/>
              </a:ext>
            </a:extLst>
          </p:cNvPr>
          <p:cNvSpPr txBox="1"/>
          <p:nvPr/>
        </p:nvSpPr>
        <p:spPr>
          <a:xfrm>
            <a:off x="10229407" y="6571026"/>
            <a:ext cx="1840568"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alchi et al., ASH 2025; #466</a:t>
            </a:r>
          </a:p>
        </p:txBody>
      </p:sp>
      <p:sp>
        <p:nvSpPr>
          <p:cNvPr id="2" name="TextBox 1">
            <a:extLst>
              <a:ext uri="{FF2B5EF4-FFF2-40B4-BE49-F238E27FC236}">
                <a16:creationId xmlns:a16="http://schemas.microsoft.com/office/drawing/2014/main" id="{98DC19D0-230C-0575-905F-80077329C5D4}"/>
              </a:ext>
            </a:extLst>
          </p:cNvPr>
          <p:cNvSpPr txBox="1"/>
          <p:nvPr/>
        </p:nvSpPr>
        <p:spPr>
          <a:xfrm>
            <a:off x="642607" y="6038552"/>
            <a:ext cx="11103802" cy="415498"/>
          </a:xfrm>
          <a:prstGeom prst="rect">
            <a:avLst/>
          </a:prstGeom>
          <a:noFill/>
        </p:spPr>
        <p:txBody>
          <a:bodyPr wrap="squar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Arial"/>
                <a:ea typeface="+mn-ea"/>
                <a:cs typeface="Arial"/>
              </a:rPr>
              <a:t>The first planned interim analysis (January 10, 2025) achieved statistical significance for ORR (N = 232; 95.7% vs 81.0%; </a:t>
            </a:r>
            <a:r>
              <a:rPr kumimoji="0" lang="en-US" sz="900" b="0" i="1" u="none" strike="noStrike" kern="0" cap="none" spc="0" normalizeH="0" baseline="0" noProof="0" dirty="0">
                <a:ln>
                  <a:noFill/>
                </a:ln>
                <a:solidFill>
                  <a:srgbClr val="000000"/>
                </a:solidFill>
                <a:effectLst/>
                <a:uLnTx/>
                <a:uFillTx/>
                <a:latin typeface="Arial"/>
                <a:ea typeface="+mn-ea"/>
                <a:cs typeface="Arial"/>
              </a:rPr>
              <a:t>P </a:t>
            </a:r>
            <a:r>
              <a:rPr kumimoji="0" lang="en-US" sz="900" b="0" i="0" u="none" strike="noStrike" kern="0" cap="none" spc="0" normalizeH="0" baseline="0" noProof="0" dirty="0">
                <a:ln>
                  <a:noFill/>
                </a:ln>
                <a:solidFill>
                  <a:srgbClr val="000000"/>
                </a:solidFill>
                <a:effectLst/>
                <a:uLnTx/>
                <a:uFillTx/>
                <a:latin typeface="Arial"/>
                <a:ea typeface="+mn-ea"/>
                <a:cs typeface="Arial"/>
              </a:rPr>
              <a:t>&lt; 0.0001, with a 1-sided significance level of 0.005) and CR (74.5% vs 43.3%; </a:t>
            </a:r>
            <a:r>
              <a:rPr kumimoji="0" lang="en-US" sz="900" b="0" i="1" u="none" strike="noStrike" kern="0" cap="none" spc="0" normalizeH="0" baseline="0" noProof="0" dirty="0">
                <a:ln>
                  <a:noFill/>
                </a:ln>
                <a:solidFill>
                  <a:srgbClr val="000000"/>
                </a:solidFill>
                <a:effectLst/>
                <a:uLnTx/>
                <a:uFillTx/>
                <a:latin typeface="Arial"/>
                <a:ea typeface="+mn-ea"/>
                <a:cs typeface="Arial"/>
              </a:rPr>
              <a:t>P</a:t>
            </a:r>
            <a:r>
              <a:rPr kumimoji="0" lang="en-US" sz="900" b="0" i="0" u="none" strike="noStrike" kern="0" cap="none" spc="0" normalizeH="0" baseline="0" noProof="0" dirty="0">
                <a:ln>
                  <a:noFill/>
                </a:ln>
                <a:solidFill>
                  <a:srgbClr val="000000"/>
                </a:solidFill>
                <a:effectLst/>
                <a:uLnTx/>
                <a:uFillTx/>
                <a:latin typeface="Arial"/>
                <a:ea typeface="+mn-ea"/>
                <a:cs typeface="Arial"/>
              </a:rPr>
              <a:t> &lt; 0.0001, with a 1-sided significance level of 0.025).</a:t>
            </a:r>
            <a:r>
              <a:rPr kumimoji="0" lang="en-US" sz="900" b="0" i="0" u="none" strike="noStrike" kern="0" cap="none" spc="0" normalizeH="0" baseline="30000" noProof="0" dirty="0">
                <a:ln>
                  <a:noFill/>
                </a:ln>
                <a:solidFill>
                  <a:srgbClr val="000000"/>
                </a:solidFill>
                <a:effectLst/>
                <a:uLnTx/>
                <a:uFillTx/>
                <a:latin typeface="Arial"/>
                <a:ea typeface="+mn-ea"/>
                <a:cs typeface="Arial"/>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30000" noProof="0" dirty="0" err="1">
                <a:ln>
                  <a:noFill/>
                </a:ln>
                <a:solidFill>
                  <a:srgbClr val="000000"/>
                </a:solidFill>
                <a:effectLst/>
                <a:uLnTx/>
                <a:uFillTx/>
                <a:latin typeface="Arial"/>
                <a:ea typeface="+mn-ea"/>
                <a:cs typeface="Arial"/>
              </a:rPr>
              <a:t>a</a:t>
            </a:r>
            <a:r>
              <a:rPr kumimoji="0" lang="en-US" sz="900" b="0" i="0" u="none" strike="noStrike" kern="0" cap="none" spc="0" normalizeH="0" baseline="0" noProof="0" dirty="0" err="1">
                <a:ln>
                  <a:noFill/>
                </a:ln>
                <a:solidFill>
                  <a:srgbClr val="000000"/>
                </a:solidFill>
                <a:effectLst/>
                <a:uLnTx/>
                <a:uFillTx/>
                <a:latin typeface="Arial"/>
                <a:ea typeface="+mn-ea"/>
                <a:cs typeface="Arial"/>
              </a:rPr>
              <a:t>Nominal</a:t>
            </a:r>
            <a:r>
              <a:rPr kumimoji="0" lang="en-US" sz="900" b="0" i="0" u="none" strike="noStrike" kern="0" cap="none" spc="0" normalizeH="0" baseline="30000" noProof="0" dirty="0">
                <a:ln>
                  <a:noFill/>
                </a:ln>
                <a:solidFill>
                  <a:srgbClr val="000000"/>
                </a:solidFill>
                <a:effectLst/>
                <a:uLnTx/>
                <a:uFillTx/>
                <a:latin typeface="Arial"/>
                <a:ea typeface="+mn-ea"/>
                <a:cs typeface="Arial"/>
              </a:rPr>
              <a:t> </a:t>
            </a:r>
            <a:r>
              <a:rPr kumimoji="0" lang="en-US" sz="900" b="0" i="1" u="none" strike="noStrike" kern="0" cap="none" spc="0" normalizeH="0" baseline="0" noProof="0" dirty="0">
                <a:ln>
                  <a:noFill/>
                </a:ln>
                <a:solidFill>
                  <a:srgbClr val="000000"/>
                </a:solidFill>
                <a:effectLst/>
                <a:uLnTx/>
                <a:uFillTx/>
                <a:latin typeface="Arial"/>
                <a:ea typeface="+mn-ea"/>
                <a:cs typeface="Arial"/>
              </a:rPr>
              <a:t>P</a:t>
            </a:r>
            <a:r>
              <a:rPr kumimoji="0" lang="en-US" sz="900" b="0" i="0" u="none" strike="noStrike" kern="0" cap="none" spc="0" normalizeH="0" baseline="0" noProof="0" dirty="0">
                <a:ln>
                  <a:noFill/>
                </a:ln>
                <a:solidFill>
                  <a:srgbClr val="000000"/>
                </a:solidFill>
                <a:effectLst/>
                <a:uLnTx/>
                <a:uFillTx/>
                <a:latin typeface="Arial"/>
                <a:ea typeface="+mn-ea"/>
                <a:cs typeface="Arial"/>
              </a:rPr>
              <a:t> value by stratified Cochran-Mantel-Haenszel method. </a:t>
            </a:r>
            <a:r>
              <a:rPr kumimoji="0" lang="en-US" sz="900" b="0" i="0" u="none" strike="noStrike" kern="0" cap="none" spc="0" normalizeH="0" baseline="30000" noProof="0" dirty="0" err="1">
                <a:ln>
                  <a:noFill/>
                </a:ln>
                <a:solidFill>
                  <a:srgbClr val="000000"/>
                </a:solidFill>
                <a:effectLst/>
                <a:uLnTx/>
                <a:uFillTx/>
                <a:latin typeface="Arial"/>
                <a:ea typeface="+mn-ea"/>
                <a:cs typeface="Arial"/>
              </a:rPr>
              <a:t>b</a:t>
            </a:r>
            <a:r>
              <a:rPr kumimoji="0" lang="en-US" sz="900" b="0" i="0" u="none" strike="noStrike" kern="0" cap="none" spc="0" normalizeH="0" baseline="0" noProof="0" dirty="0" err="1">
                <a:ln>
                  <a:noFill/>
                </a:ln>
                <a:solidFill>
                  <a:srgbClr val="000000"/>
                </a:solidFill>
                <a:effectLst/>
                <a:uLnTx/>
                <a:uFillTx/>
                <a:latin typeface="Arial"/>
                <a:ea typeface="+mn-ea"/>
                <a:cs typeface="Arial"/>
              </a:rPr>
              <a:t>Patients</a:t>
            </a:r>
            <a:r>
              <a:rPr kumimoji="0" lang="en-US" sz="900" b="0" i="0" u="none" strike="noStrike" kern="0" cap="none" spc="0" normalizeH="0" baseline="0" noProof="0" dirty="0">
                <a:ln>
                  <a:noFill/>
                </a:ln>
                <a:solidFill>
                  <a:srgbClr val="000000"/>
                </a:solidFill>
                <a:effectLst/>
                <a:uLnTx/>
                <a:uFillTx/>
                <a:latin typeface="Arial"/>
                <a:ea typeface="+mn-ea"/>
                <a:cs typeface="Arial"/>
              </a:rPr>
              <a:t> with no post-baseline disease assessment were also included. </a:t>
            </a:r>
          </a:p>
        </p:txBody>
      </p:sp>
      <p:graphicFrame>
        <p:nvGraphicFramePr>
          <p:cNvPr id="3" name="Table 2">
            <a:extLst>
              <a:ext uri="{FF2B5EF4-FFF2-40B4-BE49-F238E27FC236}">
                <a16:creationId xmlns:a16="http://schemas.microsoft.com/office/drawing/2014/main" id="{E665D746-39DC-500B-BE24-B967786553D4}"/>
              </a:ext>
            </a:extLst>
          </p:cNvPr>
          <p:cNvGraphicFramePr>
            <a:graphicFrameLocks noGrp="1"/>
          </p:cNvGraphicFramePr>
          <p:nvPr/>
        </p:nvGraphicFramePr>
        <p:xfrm>
          <a:off x="7123814" y="1553423"/>
          <a:ext cx="4764789" cy="3182077"/>
        </p:xfrm>
        <a:graphic>
          <a:graphicData uri="http://schemas.openxmlformats.org/drawingml/2006/table">
            <a:tbl>
              <a:tblPr firstRow="1" bandRow="1"/>
              <a:tblGrid>
                <a:gridCol w="1394021">
                  <a:extLst>
                    <a:ext uri="{9D8B030D-6E8A-4147-A177-3AD203B41FA5}">
                      <a16:colId xmlns:a16="http://schemas.microsoft.com/office/drawing/2014/main" val="127670386"/>
                    </a:ext>
                  </a:extLst>
                </a:gridCol>
                <a:gridCol w="1685384">
                  <a:extLst>
                    <a:ext uri="{9D8B030D-6E8A-4147-A177-3AD203B41FA5}">
                      <a16:colId xmlns:a16="http://schemas.microsoft.com/office/drawing/2014/main" val="3014508552"/>
                    </a:ext>
                  </a:extLst>
                </a:gridCol>
                <a:gridCol w="1685384">
                  <a:extLst>
                    <a:ext uri="{9D8B030D-6E8A-4147-A177-3AD203B41FA5}">
                      <a16:colId xmlns:a16="http://schemas.microsoft.com/office/drawing/2014/main" val="2864096497"/>
                    </a:ext>
                  </a:extLst>
                </a:gridCol>
              </a:tblGrid>
              <a:tr h="594241">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nSpc>
                          <a:spcPct val="100000"/>
                        </a:lnSpc>
                      </a:pPr>
                      <a:endParaRPr lang="en-US" sz="1400" i="0" strike="sngStrike" kern="0" dirty="0">
                        <a:solidFill>
                          <a:srgbClr val="FF0000"/>
                        </a:solidFill>
                        <a:latin typeface="Arial" panose="020B0604020202020204" pitchFamily="34" charset="0"/>
                        <a:cs typeface="Arial" panose="020B0604020202020204" pitchFamily="34"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635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041E49"/>
                    </a:solid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lnSpc>
                          <a:spcPct val="100000"/>
                        </a:lnSpc>
                      </a:pPr>
                      <a:r>
                        <a:rPr lang="en-US" sz="1400" b="1" i="0" kern="0" dirty="0">
                          <a:solidFill>
                            <a:schemeClr val="bg1"/>
                          </a:solidFill>
                          <a:latin typeface="Arial" panose="020B0604020202020204" pitchFamily="34" charset="0"/>
                          <a:cs typeface="Arial" panose="020B0604020202020204" pitchFamily="34" charset="0"/>
                        </a:rPr>
                        <a:t>Epcoritamab+R</a:t>
                      </a:r>
                      <a:r>
                        <a:rPr lang="en-US" sz="1400" b="1" i="0" kern="0" baseline="30000" dirty="0">
                          <a:solidFill>
                            <a:schemeClr val="bg1"/>
                          </a:solidFill>
                          <a:latin typeface="Arial" panose="020B0604020202020204" pitchFamily="34" charset="0"/>
                          <a:cs typeface="Arial" panose="020B0604020202020204" pitchFamily="34" charset="0"/>
                        </a:rPr>
                        <a:t>2</a:t>
                      </a:r>
                    </a:p>
                    <a:p>
                      <a:pPr algn="ctr">
                        <a:lnSpc>
                          <a:spcPct val="100000"/>
                        </a:lnSpc>
                      </a:pPr>
                      <a:r>
                        <a:rPr lang="en-US" sz="1400" b="1" i="0" kern="0" dirty="0">
                          <a:solidFill>
                            <a:schemeClr val="bg1"/>
                          </a:solidFill>
                          <a:latin typeface="Arial" panose="020B0604020202020204" pitchFamily="34" charset="0"/>
                          <a:cs typeface="Arial" panose="020B0604020202020204" pitchFamily="34" charset="0"/>
                        </a:rPr>
                        <a:t>(N = 243)</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635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041E49"/>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ct val="100000"/>
                        </a:lnSpc>
                      </a:pPr>
                      <a:r>
                        <a:rPr lang="en-US" sz="1400" b="1" i="0" kern="0" dirty="0">
                          <a:solidFill>
                            <a:schemeClr val="bg1"/>
                          </a:solidFill>
                          <a:latin typeface="Arial" panose="020B0604020202020204" pitchFamily="34" charset="0"/>
                          <a:cs typeface="Arial" panose="020B0604020202020204" pitchFamily="34" charset="0"/>
                        </a:rPr>
                        <a:t>R</a:t>
                      </a:r>
                      <a:r>
                        <a:rPr lang="en-US" sz="1400" b="1" i="0" kern="0" baseline="30000" dirty="0">
                          <a:solidFill>
                            <a:schemeClr val="bg1"/>
                          </a:solidFill>
                          <a:latin typeface="Arial" panose="020B0604020202020204" pitchFamily="34" charset="0"/>
                          <a:cs typeface="Arial" panose="020B0604020202020204" pitchFamily="34" charset="0"/>
                        </a:rPr>
                        <a:t>2</a:t>
                      </a:r>
                    </a:p>
                    <a:p>
                      <a:pPr algn="ctr">
                        <a:lnSpc>
                          <a:spcPct val="100000"/>
                        </a:lnSpc>
                      </a:pPr>
                      <a:r>
                        <a:rPr lang="en-US" sz="1400" b="1" i="0" kern="0" dirty="0">
                          <a:solidFill>
                            <a:schemeClr val="bg1"/>
                          </a:solidFill>
                          <a:latin typeface="Arial" panose="020B0604020202020204" pitchFamily="34" charset="0"/>
                          <a:cs typeface="Arial" panose="020B0604020202020204" pitchFamily="34" charset="0"/>
                        </a:rPr>
                        <a:t>(N = 245)</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635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041E49"/>
                    </a:solidFill>
                  </a:tcPr>
                </a:tc>
                <a:extLst>
                  <a:ext uri="{0D108BD9-81ED-4DB2-BD59-A6C34878D82A}">
                    <a16:rowId xmlns:a16="http://schemas.microsoft.com/office/drawing/2014/main" val="1152947047"/>
                  </a:ext>
                </a:extLst>
              </a:tr>
              <a:tr h="463532">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nSpc>
                          <a:spcPct val="100000"/>
                        </a:lnSpc>
                        <a:buNone/>
                      </a:pPr>
                      <a:r>
                        <a:rPr lang="en-US" sz="1400" b="1" i="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ORR</a:t>
                      </a:r>
                      <a:r>
                        <a:rPr lang="en-US" sz="1400" i="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n (%)</a:t>
                      </a:r>
                      <a:endParaRPr lang="en-US" sz="1400" i="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mpd="sng">
                      <a:noFill/>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0000"/>
                        </a:lnSpc>
                        <a:buNone/>
                      </a:pPr>
                      <a:r>
                        <a:rPr lang="en-US" sz="1400" i="0" dirty="0">
                          <a:effectLst/>
                          <a:latin typeface="Arial" panose="020B0604020202020204" pitchFamily="34" charset="0"/>
                          <a:ea typeface="Aptos" panose="020B0004020202020204" pitchFamily="34" charset="0"/>
                          <a:cs typeface="Arial" panose="020B0604020202020204" pitchFamily="34" charset="0"/>
                        </a:rPr>
                        <a:t>231 (95)</a:t>
                      </a:r>
                      <a:endParaRPr lang="en-US" sz="1400" i="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0000"/>
                        </a:lnSpc>
                        <a:buNone/>
                      </a:pPr>
                      <a:r>
                        <a:rPr lang="en-US" sz="1400" i="0" dirty="0">
                          <a:effectLst/>
                          <a:latin typeface="Arial" panose="020B0604020202020204" pitchFamily="34" charset="0"/>
                          <a:ea typeface="Aptos" panose="020B0004020202020204" pitchFamily="34" charset="0"/>
                          <a:cs typeface="Arial" panose="020B0604020202020204" pitchFamily="34" charset="0"/>
                        </a:rPr>
                        <a:t>194 (79)</a:t>
                      </a:r>
                      <a:endParaRPr lang="en-US" sz="1400" i="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3630251338"/>
                  </a:ext>
                </a:extLst>
              </a:tr>
              <a:tr h="39686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nSpc>
                          <a:spcPct val="100000"/>
                        </a:lnSpc>
                        <a:buNone/>
                      </a:pPr>
                      <a:r>
                        <a:rPr lang="en-US" sz="1400" b="1" i="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CRR</a:t>
                      </a:r>
                      <a:r>
                        <a:rPr lang="en-US" sz="1400" i="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n (%)</a:t>
                      </a:r>
                      <a:r>
                        <a:rPr lang="en-US" sz="1400" i="0" baseline="300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US" sz="1400" i="0" baseline="300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mpd="sng">
                      <a:noFill/>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0000"/>
                        </a:lnSpc>
                        <a:buNone/>
                      </a:pPr>
                      <a:r>
                        <a:rPr lang="en-US" sz="1400" i="0" strike="noStrike" dirty="0">
                          <a:solidFill>
                            <a:schemeClr val="tx1"/>
                          </a:solidFill>
                          <a:effectLst/>
                          <a:latin typeface="Arial" panose="020B0604020202020204" pitchFamily="34" charset="0"/>
                          <a:ea typeface="Aptos" panose="020B0004020202020204" pitchFamily="34" charset="0"/>
                          <a:cs typeface="Arial" panose="020B0604020202020204" pitchFamily="34" charset="0"/>
                        </a:rPr>
                        <a:t>201 (83)</a:t>
                      </a:r>
                      <a:endParaRPr lang="en-US" sz="1400" i="0" strike="sngStrike"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0000"/>
                        </a:lnSpc>
                        <a:buNone/>
                      </a:pPr>
                      <a:r>
                        <a:rPr lang="en-US" sz="1400" i="0" strike="noStrike" kern="1200" dirty="0">
                          <a:solidFill>
                            <a:schemeClr val="tx1"/>
                          </a:solidFill>
                          <a:effectLst/>
                          <a:latin typeface="Arial" panose="020B0604020202020204" pitchFamily="34" charset="0"/>
                          <a:ea typeface="Aptos" panose="020B0004020202020204" pitchFamily="34" charset="0"/>
                          <a:cs typeface="Arial" panose="020B0604020202020204" pitchFamily="34" charset="0"/>
                        </a:rPr>
                        <a:t>122 (50)</a:t>
                      </a:r>
                      <a:endParaRPr lang="en-US" sz="1400" i="0" strike="sngStrike"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067335303"/>
                  </a:ext>
                </a:extLst>
              </a:tr>
              <a:tr h="536852">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nSpc>
                          <a:spcPct val="100000"/>
                        </a:lnSpc>
                        <a:buNone/>
                      </a:pPr>
                      <a:r>
                        <a:rPr lang="en-US" sz="1400" i="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PR, n (%)</a:t>
                      </a:r>
                      <a:endParaRPr lang="en-US" sz="1400" i="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mpd="sng">
                      <a:noFill/>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0000"/>
                        </a:lnSpc>
                        <a:buNone/>
                      </a:pPr>
                      <a:r>
                        <a:rPr lang="en-US" sz="1400" i="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30 (12)</a:t>
                      </a:r>
                      <a:endParaRPr lang="en-US" sz="1400" i="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0000"/>
                        </a:lnSpc>
                        <a:buNone/>
                      </a:pPr>
                      <a:r>
                        <a:rPr lang="en-US" sz="1400" i="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72 (29)</a:t>
                      </a:r>
                      <a:endParaRPr lang="en-US" sz="1400" i="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2498432316"/>
                  </a:ext>
                </a:extLst>
              </a:tr>
              <a:tr h="39686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nSpc>
                          <a:spcPct val="100000"/>
                        </a:lnSpc>
                        <a:buNone/>
                      </a:pPr>
                      <a:r>
                        <a:rPr lang="en-US" sz="1400" i="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SD, n (%)</a:t>
                      </a:r>
                      <a:endParaRPr lang="en-US" sz="1400" i="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mpd="sng">
                      <a:noFill/>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0000"/>
                        </a:lnSpc>
                        <a:buNone/>
                      </a:pPr>
                      <a:r>
                        <a:rPr lang="en-US" sz="1400" i="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1 (&lt; 1)</a:t>
                      </a:r>
                      <a:endParaRPr lang="en-US" sz="1400" i="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0000"/>
                        </a:lnSpc>
                        <a:buNone/>
                      </a:pPr>
                      <a:r>
                        <a:rPr lang="en-US" sz="1400" i="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17 (7)</a:t>
                      </a:r>
                      <a:endParaRPr lang="en-US" sz="1400" i="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7922417"/>
                  </a:ext>
                </a:extLst>
              </a:tr>
              <a:tr h="39686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nSpc>
                          <a:spcPct val="100000"/>
                        </a:lnSpc>
                        <a:buNone/>
                      </a:pPr>
                      <a:r>
                        <a:rPr lang="en-US" sz="1400" i="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PD, n (%)</a:t>
                      </a:r>
                      <a:endParaRPr lang="en-US" sz="1400" i="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mpd="sng">
                      <a:noFill/>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0000"/>
                        </a:lnSpc>
                        <a:buNone/>
                      </a:pPr>
                      <a:r>
                        <a:rPr lang="en-US" sz="1400" i="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7 (3)</a:t>
                      </a:r>
                      <a:endParaRPr lang="en-US" sz="1400" i="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0000"/>
                        </a:lnSpc>
                        <a:buNone/>
                      </a:pPr>
                      <a:r>
                        <a:rPr lang="en-US" sz="1400" i="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16 (7)</a:t>
                      </a:r>
                      <a:endParaRPr lang="en-US" sz="1400" i="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2422626006"/>
                  </a:ext>
                </a:extLst>
              </a:tr>
              <a:tr h="39686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nSpc>
                          <a:spcPct val="100000"/>
                        </a:lnSpc>
                        <a:buNone/>
                      </a:pPr>
                      <a:r>
                        <a:rPr lang="en-US" sz="1400" i="0" dirty="0" err="1">
                          <a:solidFill>
                            <a:srgbClr val="000000"/>
                          </a:solidFill>
                          <a:effectLst/>
                          <a:latin typeface="Arial" panose="020B0604020202020204" pitchFamily="34" charset="0"/>
                          <a:ea typeface="Times New Roman" panose="02020603050405020304" pitchFamily="18" charset="0"/>
                          <a:cs typeface="Arial" panose="020B0604020202020204" pitchFamily="34" charset="0"/>
                        </a:rPr>
                        <a:t>NE,</a:t>
                      </a:r>
                      <a:r>
                        <a:rPr lang="en-US" sz="1400" i="0" baseline="30000" dirty="0" err="1">
                          <a:solidFill>
                            <a:srgbClr val="000000"/>
                          </a:solidFill>
                          <a:effectLst/>
                          <a:latin typeface="Arial" panose="020B0604020202020204" pitchFamily="34" charset="0"/>
                          <a:ea typeface="Times New Roman" panose="02020603050405020304" pitchFamily="18" charset="0"/>
                          <a:cs typeface="Arial" panose="020B0604020202020204" pitchFamily="34" charset="0"/>
                        </a:rPr>
                        <a:t>b</a:t>
                      </a:r>
                      <a:r>
                        <a:rPr lang="en-US" sz="1400" i="0" baseline="300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r>
                        <a:rPr lang="en-US" sz="1400" i="0" baseline="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n (%)</a:t>
                      </a:r>
                      <a:endParaRPr lang="en-US" sz="1400" i="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mpd="sng">
                      <a:noFill/>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0000"/>
                        </a:lnSpc>
                        <a:buNone/>
                      </a:pPr>
                      <a:r>
                        <a:rPr lang="en-US" sz="1400" i="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4 (2)</a:t>
                      </a:r>
                      <a:endParaRPr lang="en-US" sz="1400" i="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0000"/>
                        </a:lnSpc>
                        <a:buNone/>
                      </a:pPr>
                      <a:r>
                        <a:rPr lang="en-US" sz="1400" i="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18 (7)</a:t>
                      </a:r>
                      <a:endParaRPr lang="en-US" sz="1400" i="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5675953"/>
                  </a:ext>
                </a:extLst>
              </a:tr>
            </a:tbl>
          </a:graphicData>
        </a:graphic>
      </p:graphicFrame>
      <p:graphicFrame>
        <p:nvGraphicFramePr>
          <p:cNvPr id="4" name="Object 3">
            <a:extLst>
              <a:ext uri="{FF2B5EF4-FFF2-40B4-BE49-F238E27FC236}">
                <a16:creationId xmlns:a16="http://schemas.microsoft.com/office/drawing/2014/main" id="{D4D975A3-EA1C-281D-5649-7C016014C61C}"/>
              </a:ext>
            </a:extLst>
          </p:cNvPr>
          <p:cNvGraphicFramePr>
            <a:graphicFrameLocks noChangeAspect="1"/>
          </p:cNvGraphicFramePr>
          <p:nvPr/>
        </p:nvGraphicFramePr>
        <p:xfrm>
          <a:off x="571500" y="954088"/>
          <a:ext cx="6765925" cy="4683125"/>
        </p:xfrm>
        <a:graphic>
          <a:graphicData uri="http://schemas.openxmlformats.org/presentationml/2006/ole">
            <mc:AlternateContent xmlns:mc="http://schemas.openxmlformats.org/markup-compatibility/2006">
              <mc:Choice xmlns:v="urn:schemas-microsoft-com:vml" Requires="v">
                <p:oleObj name="Prism 10" r:id="rId4" imgW="6208019" imgH="4298078" progId="Prism10.Document">
                  <p:embed/>
                </p:oleObj>
              </mc:Choice>
              <mc:Fallback>
                <p:oleObj name="Prism 10" r:id="rId4" imgW="6208019" imgH="4298078" progId="Prism10.Document">
                  <p:embed/>
                  <p:pic>
                    <p:nvPicPr>
                      <p:cNvPr id="4" name="Object 3">
                        <a:extLst>
                          <a:ext uri="{FF2B5EF4-FFF2-40B4-BE49-F238E27FC236}">
                            <a16:creationId xmlns:a16="http://schemas.microsoft.com/office/drawing/2014/main" id="{D4D975A3-EA1C-281D-5649-7C016014C61C}"/>
                          </a:ext>
                        </a:extLst>
                      </p:cNvPr>
                      <p:cNvPicPr/>
                      <p:nvPr/>
                    </p:nvPicPr>
                    <p:blipFill>
                      <a:blip r:embed="rId5"/>
                      <a:stretch>
                        <a:fillRect/>
                      </a:stretch>
                    </p:blipFill>
                    <p:spPr>
                      <a:xfrm>
                        <a:off x="571500" y="954088"/>
                        <a:ext cx="6765925" cy="4683125"/>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5C747C6F-1947-A11B-3198-C04D61144FD9}"/>
              </a:ext>
            </a:extLst>
          </p:cNvPr>
          <p:cNvSpPr txBox="1"/>
          <p:nvPr/>
        </p:nvSpPr>
        <p:spPr>
          <a:xfrm>
            <a:off x="2945219" y="1482517"/>
            <a:ext cx="67326" cy="14362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30000" noProof="0" dirty="0">
                <a:ln>
                  <a:noFill/>
                </a:ln>
                <a:solidFill>
                  <a:srgbClr val="000000"/>
                </a:solidFill>
                <a:effectLst/>
                <a:uLnTx/>
                <a:uFillTx/>
                <a:latin typeface="Arial"/>
                <a:ea typeface="+mn-ea"/>
                <a:cs typeface="+mn-cs"/>
              </a:rPr>
              <a:t>a</a:t>
            </a:r>
          </a:p>
        </p:txBody>
      </p:sp>
      <p:sp>
        <p:nvSpPr>
          <p:cNvPr id="10" name="TextBox 9">
            <a:extLst>
              <a:ext uri="{FF2B5EF4-FFF2-40B4-BE49-F238E27FC236}">
                <a16:creationId xmlns:a16="http://schemas.microsoft.com/office/drawing/2014/main" id="{173A276A-2FDA-0B74-1C87-3DC45AC294DF}"/>
              </a:ext>
            </a:extLst>
          </p:cNvPr>
          <p:cNvSpPr txBox="1"/>
          <p:nvPr/>
        </p:nvSpPr>
        <p:spPr>
          <a:xfrm>
            <a:off x="5723861" y="1794974"/>
            <a:ext cx="67326" cy="14362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30000" noProof="0" dirty="0">
                <a:ln>
                  <a:noFill/>
                </a:ln>
                <a:solidFill>
                  <a:srgbClr val="000000"/>
                </a:solidFill>
                <a:effectLst/>
                <a:uLnTx/>
                <a:uFillTx/>
                <a:latin typeface="Arial"/>
                <a:ea typeface="+mn-ea"/>
                <a:cs typeface="+mn-cs"/>
              </a:rPr>
              <a:t>a</a:t>
            </a:r>
          </a:p>
        </p:txBody>
      </p:sp>
      <p:sp>
        <p:nvSpPr>
          <p:cNvPr id="11" name="Title 2">
            <a:extLst>
              <a:ext uri="{FF2B5EF4-FFF2-40B4-BE49-F238E27FC236}">
                <a16:creationId xmlns:a16="http://schemas.microsoft.com/office/drawing/2014/main" id="{2EA9D260-96E3-0C28-6B7F-D967CAC95912}"/>
              </a:ext>
            </a:extLst>
          </p:cNvPr>
          <p:cNvSpPr txBox="1">
            <a:spLocks/>
          </p:cNvSpPr>
          <p:nvPr/>
        </p:nvSpPr>
        <p:spPr>
          <a:xfrm>
            <a:off x="571500" y="383734"/>
            <a:ext cx="11502588" cy="505668"/>
          </a:xfrm>
          <a:prstGeom prst="rect">
            <a:avLst/>
          </a:prstGeom>
        </p:spPr>
        <p:txBody>
          <a:bodyPr vert="horz" lIns="0" tIns="0" rIns="0" bIns="0" rtlCol="0" anchor="t" anchorCtr="0">
            <a:noAutofit/>
          </a:bodyPr>
          <a:lstStyle>
            <a:lvl1pPr algn="l" defTabSz="914400" rtl="0" eaLnBrk="1" latinLnBrk="0" hangingPunct="1">
              <a:lnSpc>
                <a:spcPct val="95000"/>
              </a:lnSpc>
              <a:spcBef>
                <a:spcPct val="0"/>
              </a:spcBef>
              <a:buNone/>
              <a:defRPr sz="2800" b="1" kern="1200">
                <a:solidFill>
                  <a:srgbClr val="00A195"/>
                </a:solidFill>
                <a:latin typeface="+mj-lt"/>
                <a:ea typeface="+mj-ea"/>
                <a:cs typeface="+mj-cs"/>
              </a:defRPr>
            </a:lvl1pPr>
          </a:lstStyle>
          <a:p>
            <a:pPr marL="182880" marR="0" lvl="0" indent="-182880" algn="l" defTabSz="914400" rtl="0" eaLnBrk="1" fontAlgn="auto" latinLnBrk="0" hangingPunct="1">
              <a:lnSpc>
                <a:spcPct val="100000"/>
              </a:lnSpc>
              <a:spcBef>
                <a:spcPct val="0"/>
              </a:spcBef>
              <a:spcAft>
                <a:spcPts val="600"/>
              </a:spcAft>
              <a:buClrTx/>
              <a:buSzTx/>
              <a:buFontTx/>
              <a:buNone/>
              <a:tabLst/>
              <a:defRPr/>
            </a:pPr>
            <a:r>
              <a:rPr kumimoji="0" lang="en-US" sz="2400" b="1" i="0" u="none" strike="noStrike" kern="1200" cap="none" spc="0" normalizeH="0" baseline="0" noProof="0" dirty="0">
                <a:ln>
                  <a:noFill/>
                </a:ln>
                <a:solidFill>
                  <a:srgbClr val="00A195"/>
                </a:solidFill>
                <a:effectLst/>
                <a:uLnTx/>
                <a:uFillTx/>
                <a:latin typeface="Arial" panose="020B0604020202020204" pitchFamily="34" charset="0"/>
                <a:ea typeface="Arial" panose="020B0604020202020204" pitchFamily="34" charset="0"/>
                <a:cs typeface="+mj-cs"/>
              </a:rPr>
              <a:t>Epcoritamab+R</a:t>
            </a:r>
            <a:r>
              <a:rPr kumimoji="0" lang="en-US" sz="2400" b="1" i="0" u="none" strike="noStrike" kern="1200" cap="none" spc="0" normalizeH="0" baseline="30000" noProof="0" dirty="0">
                <a:ln>
                  <a:noFill/>
                </a:ln>
                <a:solidFill>
                  <a:srgbClr val="00A195"/>
                </a:solidFill>
                <a:effectLst/>
                <a:uLnTx/>
                <a:uFillTx/>
                <a:latin typeface="Arial" panose="020B0604020202020204" pitchFamily="34" charset="0"/>
                <a:ea typeface="Arial" panose="020B0604020202020204" pitchFamily="34" charset="0"/>
                <a:cs typeface="+mj-cs"/>
              </a:rPr>
              <a:t>2</a:t>
            </a:r>
            <a:r>
              <a:rPr kumimoji="0" lang="en-US" sz="2400" b="1" i="0" u="none" strike="noStrike" kern="1200" cap="none" spc="0" normalizeH="0" baseline="0" noProof="0" dirty="0">
                <a:ln>
                  <a:noFill/>
                </a:ln>
                <a:solidFill>
                  <a:srgbClr val="00A195"/>
                </a:solidFill>
                <a:effectLst/>
                <a:uLnTx/>
                <a:uFillTx/>
                <a:latin typeface="Arial" panose="020B0604020202020204" pitchFamily="34" charset="0"/>
                <a:ea typeface="Arial" panose="020B0604020202020204" pitchFamily="34" charset="0"/>
                <a:cs typeface="+mj-cs"/>
              </a:rPr>
              <a:t> Resulted in Higher Response Rates Versus R</a:t>
            </a:r>
            <a:r>
              <a:rPr kumimoji="0" lang="en-US" sz="2400" b="1" i="0" u="none" strike="noStrike" kern="1200" cap="none" spc="0" normalizeH="0" baseline="30000" noProof="0" dirty="0">
                <a:ln>
                  <a:noFill/>
                </a:ln>
                <a:solidFill>
                  <a:srgbClr val="00A195"/>
                </a:solidFill>
                <a:effectLst/>
                <a:uLnTx/>
                <a:uFillTx/>
                <a:latin typeface="Arial" panose="020B0604020202020204" pitchFamily="34" charset="0"/>
                <a:ea typeface="Arial" panose="020B0604020202020204" pitchFamily="34" charset="0"/>
                <a:cs typeface="+mj-cs"/>
              </a:rPr>
              <a:t>2 </a:t>
            </a:r>
            <a:r>
              <a:rPr kumimoji="0" lang="en-US" sz="2400" b="1" i="0" u="none" strike="noStrike" kern="1200" cap="none" spc="0" normalizeH="0" baseline="0" noProof="0" dirty="0">
                <a:ln>
                  <a:noFill/>
                </a:ln>
                <a:solidFill>
                  <a:srgbClr val="00A195"/>
                </a:solidFill>
                <a:effectLst/>
                <a:uLnTx/>
                <a:uFillTx/>
                <a:latin typeface="Arial" panose="020B0604020202020204" pitchFamily="34" charset="0"/>
                <a:ea typeface="Arial" panose="020B0604020202020204" pitchFamily="34" charset="0"/>
                <a:cs typeface="+mj-cs"/>
              </a:rPr>
              <a:t> </a:t>
            </a:r>
          </a:p>
        </p:txBody>
      </p:sp>
      <p:sp>
        <p:nvSpPr>
          <p:cNvPr id="13" name="TextBox 12">
            <a:extLst>
              <a:ext uri="{FF2B5EF4-FFF2-40B4-BE49-F238E27FC236}">
                <a16:creationId xmlns:a16="http://schemas.microsoft.com/office/drawing/2014/main" id="{070FE476-86A4-FE78-9504-5C68C05E66EA}"/>
              </a:ext>
            </a:extLst>
          </p:cNvPr>
          <p:cNvSpPr txBox="1"/>
          <p:nvPr/>
        </p:nvSpPr>
        <p:spPr>
          <a:xfrm>
            <a:off x="10229407" y="74603"/>
            <a:ext cx="1811393"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pcoritamab+R</a:t>
            </a:r>
            <a:r>
              <a:rPr kumimoji="0" lang="en-US" sz="1200" b="0" i="0" u="none" strike="noStrike" kern="120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rPr>
              <a:t>2</a:t>
            </a: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in R/R FL</a:t>
            </a:r>
          </a:p>
        </p:txBody>
      </p:sp>
    </p:spTree>
    <p:extLst>
      <p:ext uri="{BB962C8B-B14F-4D97-AF65-F5344CB8AC3E}">
        <p14:creationId xmlns:p14="http://schemas.microsoft.com/office/powerpoint/2010/main" val="3890793127"/>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2CE922-B218-322C-43E2-BDE3AEF76C34}"/>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6EEAFCC2-CF32-ECED-3001-9E7E0AD956F7}"/>
              </a:ext>
            </a:extLst>
          </p:cNvPr>
          <p:cNvPicPr>
            <a:picLocks noChangeAspect="1"/>
          </p:cNvPicPr>
          <p:nvPr/>
        </p:nvPicPr>
        <p:blipFill>
          <a:blip r:embed="rId3"/>
          <a:srcRect t="15224" r="218"/>
          <a:stretch/>
        </p:blipFill>
        <p:spPr>
          <a:xfrm>
            <a:off x="-2" y="6530274"/>
            <a:ext cx="12192002" cy="327726"/>
          </a:xfrm>
          <a:prstGeom prst="rect">
            <a:avLst/>
          </a:prstGeom>
        </p:spPr>
      </p:pic>
      <p:sp>
        <p:nvSpPr>
          <p:cNvPr id="7" name="Rectangle: Top Corners Rounded 6">
            <a:extLst>
              <a:ext uri="{FF2B5EF4-FFF2-40B4-BE49-F238E27FC236}">
                <a16:creationId xmlns:a16="http://schemas.microsoft.com/office/drawing/2014/main" id="{0BCB3217-0C3D-ACB3-EADB-59A7E08D557E}"/>
              </a:ext>
            </a:extLst>
          </p:cNvPr>
          <p:cNvSpPr/>
          <p:nvPr/>
        </p:nvSpPr>
        <p:spPr>
          <a:xfrm rot="10800000">
            <a:off x="10046524" y="0"/>
            <a:ext cx="2145474" cy="327358"/>
          </a:xfrm>
          <a:prstGeom prst="round2SameRect">
            <a:avLst/>
          </a:prstGeom>
          <a:gradFill flip="none" rotWithShape="1">
            <a:gsLst>
              <a:gs pos="0">
                <a:srgbClr val="009B92"/>
              </a:gs>
              <a:gs pos="100000">
                <a:srgbClr val="041E49"/>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C6FE0742-1B41-0315-1458-32C4BD0254B4}"/>
              </a:ext>
            </a:extLst>
          </p:cNvPr>
          <p:cNvSpPr txBox="1"/>
          <p:nvPr/>
        </p:nvSpPr>
        <p:spPr>
          <a:xfrm>
            <a:off x="10229407" y="6571026"/>
            <a:ext cx="1840568"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alchi et al., ASH 2025; #466</a:t>
            </a:r>
          </a:p>
        </p:txBody>
      </p:sp>
      <p:sp>
        <p:nvSpPr>
          <p:cNvPr id="2" name="TextBox 1">
            <a:extLst>
              <a:ext uri="{FF2B5EF4-FFF2-40B4-BE49-F238E27FC236}">
                <a16:creationId xmlns:a16="http://schemas.microsoft.com/office/drawing/2014/main" id="{DADDE283-1A08-1941-A7BD-8C06B6A3D359}"/>
              </a:ext>
            </a:extLst>
          </p:cNvPr>
          <p:cNvSpPr txBox="1"/>
          <p:nvPr/>
        </p:nvSpPr>
        <p:spPr>
          <a:xfrm>
            <a:off x="672852" y="6174450"/>
            <a:ext cx="11036567" cy="276999"/>
          </a:xfrm>
          <a:prstGeom prst="rect">
            <a:avLst/>
          </a:prstGeom>
          <a:noFill/>
        </p:spPr>
        <p:txBody>
          <a:bodyPr wrap="squar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Arial"/>
                <a:ea typeface="+mn-ea"/>
                <a:cs typeface="Arial"/>
              </a:rPr>
              <a:t>Median follow-up for OS: epcoritamab+R</a:t>
            </a:r>
            <a:r>
              <a:rPr kumimoji="0" lang="en-US" sz="900" b="0" i="0" u="none" strike="noStrike" kern="0" cap="none" spc="0" normalizeH="0" baseline="30000" noProof="0" dirty="0">
                <a:ln>
                  <a:noFill/>
                </a:ln>
                <a:solidFill>
                  <a:srgbClr val="000000"/>
                </a:solidFill>
                <a:effectLst/>
                <a:uLnTx/>
                <a:uFillTx/>
                <a:latin typeface="Arial"/>
                <a:ea typeface="+mn-ea"/>
                <a:cs typeface="Arial"/>
              </a:rPr>
              <a:t>2</a:t>
            </a:r>
            <a:r>
              <a:rPr kumimoji="0" lang="en-US" sz="900" b="0" i="0" u="none" strike="noStrike" kern="0" cap="none" spc="0" normalizeH="0" baseline="0" noProof="0" dirty="0">
                <a:ln>
                  <a:noFill/>
                </a:ln>
                <a:solidFill>
                  <a:srgbClr val="000000"/>
                </a:solidFill>
                <a:effectLst/>
                <a:uLnTx/>
                <a:uFillTx/>
                <a:latin typeface="Arial"/>
                <a:ea typeface="+mn-ea"/>
                <a:cs typeface="Arial"/>
              </a:rPr>
              <a:t> (14.8m), R</a:t>
            </a:r>
            <a:r>
              <a:rPr kumimoji="0" lang="en-US" sz="900" b="0" i="0" u="none" strike="noStrike" kern="0" cap="none" spc="0" normalizeH="0" baseline="30000" noProof="0" dirty="0">
                <a:ln>
                  <a:noFill/>
                </a:ln>
                <a:solidFill>
                  <a:srgbClr val="000000"/>
                </a:solidFill>
                <a:effectLst/>
                <a:uLnTx/>
                <a:uFillTx/>
                <a:latin typeface="Arial"/>
                <a:ea typeface="+mn-ea"/>
                <a:cs typeface="Arial"/>
              </a:rPr>
              <a:t>2 </a:t>
            </a:r>
            <a:r>
              <a:rPr kumimoji="0" lang="en-US" sz="900" b="0" i="0" u="none" strike="noStrike" kern="0" cap="none" spc="0" normalizeH="0" baseline="0" noProof="0" dirty="0">
                <a:ln>
                  <a:noFill/>
                </a:ln>
                <a:solidFill>
                  <a:srgbClr val="000000"/>
                </a:solidFill>
                <a:effectLst/>
                <a:uLnTx/>
                <a:uFillTx/>
                <a:latin typeface="Arial"/>
                <a:ea typeface="+mn-ea"/>
                <a:cs typeface="Arial"/>
              </a:rPr>
              <a:t>(14.6m). The OS data is based on the 24% (35/146 events) information fraction and has not yet reached statistical significance; additional analyses are forthcom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30000" noProof="0" dirty="0" err="1">
                <a:ln>
                  <a:noFill/>
                </a:ln>
                <a:solidFill>
                  <a:srgbClr val="000000"/>
                </a:solidFill>
                <a:effectLst/>
                <a:uLnTx/>
                <a:uFillTx/>
                <a:latin typeface="Arial"/>
                <a:ea typeface="+mn-ea"/>
                <a:cs typeface="Arial"/>
              </a:rPr>
              <a:t>a</a:t>
            </a:r>
            <a:r>
              <a:rPr kumimoji="0" lang="en-US" sz="900" b="0" i="1" u="none" strike="noStrike" kern="0" cap="none" spc="0" normalizeH="0" baseline="0" noProof="0" dirty="0" err="1">
                <a:ln>
                  <a:noFill/>
                </a:ln>
                <a:solidFill>
                  <a:srgbClr val="000000"/>
                </a:solidFill>
                <a:effectLst/>
                <a:uLnTx/>
                <a:uFillTx/>
                <a:latin typeface="Arial"/>
                <a:ea typeface="+mn-ea"/>
                <a:cs typeface="Arial"/>
              </a:rPr>
              <a:t>P</a:t>
            </a:r>
            <a:r>
              <a:rPr kumimoji="0" lang="en-US" sz="900" b="0" i="0" u="none" strike="noStrike" kern="0" cap="none" spc="0" normalizeH="0" baseline="0" noProof="0" dirty="0">
                <a:ln>
                  <a:noFill/>
                </a:ln>
                <a:solidFill>
                  <a:srgbClr val="000000"/>
                </a:solidFill>
                <a:effectLst/>
                <a:uLnTx/>
                <a:uFillTx/>
                <a:latin typeface="Arial"/>
                <a:ea typeface="+mn-ea"/>
                <a:cs typeface="Arial"/>
              </a:rPr>
              <a:t> value is based on stratified log-rank test with 1-sided significance level of 0.000005. Hazard ratio is estimated using stratified Cox proportional hazards model. </a:t>
            </a:r>
            <a:endParaRPr kumimoji="0" lang="en-US" sz="900" b="0" i="0" u="none" strike="sngStrike" kern="0" cap="none" spc="0" normalizeH="0" baseline="0" noProof="0" dirty="0">
              <a:ln>
                <a:noFill/>
              </a:ln>
              <a:solidFill>
                <a:srgbClr val="000000"/>
              </a:solidFill>
              <a:effectLst/>
              <a:uLnTx/>
              <a:uFillTx/>
              <a:latin typeface="Arial"/>
              <a:ea typeface="+mn-ea"/>
              <a:cs typeface="Arial"/>
            </a:endParaRPr>
          </a:p>
        </p:txBody>
      </p:sp>
      <p:sp>
        <p:nvSpPr>
          <p:cNvPr id="3" name="TextBox 2">
            <a:extLst>
              <a:ext uri="{FF2B5EF4-FFF2-40B4-BE49-F238E27FC236}">
                <a16:creationId xmlns:a16="http://schemas.microsoft.com/office/drawing/2014/main" id="{BAABA9CA-0049-B6CA-08F9-458B60AA9B04}"/>
              </a:ext>
            </a:extLst>
          </p:cNvPr>
          <p:cNvSpPr txBox="1"/>
          <p:nvPr/>
        </p:nvSpPr>
        <p:spPr>
          <a:xfrm>
            <a:off x="575994" y="5513781"/>
            <a:ext cx="11036567" cy="246221"/>
          </a:xfrm>
          <a:prstGeom prst="rect">
            <a:avLst/>
          </a:prstGeom>
          <a:noFill/>
        </p:spPr>
        <p:txBody>
          <a:bodyPr wrap="square" lIns="0" tIns="0" rIns="0" bIns="0" rtlCol="0" anchor="b" anchorCtr="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mn-lt"/>
                <a:cs typeface="Arial"/>
              </a:rPr>
              <a:t>The 16-month estimate for OS was 95.8% </a:t>
            </a:r>
            <a:r>
              <a:rPr kumimoji="0" lang="en-US" sz="1600" b="0" i="0" u="none" strike="noStrike" kern="0" cap="none" spc="0" normalizeH="0" baseline="0" noProof="0" dirty="0">
                <a:ln>
                  <a:noFill/>
                </a:ln>
                <a:solidFill>
                  <a:srgbClr val="000000"/>
                </a:solidFill>
                <a:effectLst/>
                <a:uLnTx/>
                <a:uFillTx/>
                <a:latin typeface="Arial"/>
                <a:ea typeface="+mn-lt"/>
                <a:cs typeface="Arial"/>
              </a:rPr>
              <a:t>with epcoritamab+R</a:t>
            </a:r>
            <a:r>
              <a:rPr kumimoji="0" lang="en-US" sz="1600" b="0" i="0" u="none" strike="noStrike" kern="0" cap="none" spc="0" normalizeH="0" baseline="30000" noProof="0" dirty="0">
                <a:ln>
                  <a:noFill/>
                </a:ln>
                <a:solidFill>
                  <a:srgbClr val="000000"/>
                </a:solidFill>
                <a:effectLst/>
                <a:uLnTx/>
                <a:uFillTx/>
                <a:latin typeface="Arial"/>
                <a:ea typeface="+mn-lt"/>
                <a:cs typeface="Arial"/>
              </a:rPr>
              <a:t>2</a:t>
            </a:r>
            <a:r>
              <a:rPr kumimoji="0" lang="en-US" sz="1600" b="0" i="0" u="none" strike="noStrike" kern="0" cap="none" spc="0" normalizeH="0" baseline="0" noProof="0" dirty="0">
                <a:ln>
                  <a:noFill/>
                </a:ln>
                <a:solidFill>
                  <a:srgbClr val="000000"/>
                </a:solidFill>
                <a:effectLst/>
                <a:uLnTx/>
                <a:uFillTx/>
                <a:latin typeface="Arial"/>
                <a:ea typeface="+mn-lt"/>
                <a:cs typeface="Arial"/>
              </a:rPr>
              <a:t> </a:t>
            </a: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mn-lt"/>
                <a:cs typeface="Arial"/>
              </a:rPr>
              <a:t>and 88.8% </a:t>
            </a:r>
            <a:r>
              <a:rPr kumimoji="0" lang="en-US" sz="1600" b="0" i="0" u="none" strike="noStrike" kern="0" cap="none" spc="0" normalizeH="0" baseline="0" noProof="0" dirty="0">
                <a:ln>
                  <a:noFill/>
                </a:ln>
                <a:solidFill>
                  <a:srgbClr val="000000"/>
                </a:solidFill>
                <a:effectLst/>
                <a:uLnTx/>
                <a:uFillTx/>
                <a:latin typeface="Arial"/>
                <a:ea typeface="+mn-lt"/>
                <a:cs typeface="Arial"/>
              </a:rPr>
              <a:t>with R</a:t>
            </a:r>
            <a:r>
              <a:rPr kumimoji="0" lang="en-US" sz="1600" b="0" i="0" u="none" strike="noStrike" kern="0" cap="none" spc="0" normalizeH="0" baseline="30000" noProof="0" dirty="0">
                <a:ln>
                  <a:noFill/>
                </a:ln>
                <a:solidFill>
                  <a:srgbClr val="000000"/>
                </a:solidFill>
                <a:effectLst/>
                <a:uLnTx/>
                <a:uFillTx/>
                <a:latin typeface="Arial"/>
                <a:ea typeface="+mn-lt"/>
                <a:cs typeface="Arial"/>
              </a:rPr>
              <a:t>2</a:t>
            </a:r>
            <a:r>
              <a:rPr kumimoji="0" lang="en-US" sz="1600" b="0" i="0" u="none" strike="noStrike" kern="0" cap="none" spc="0" normalizeH="0" baseline="0" noProof="0" dirty="0">
                <a:ln>
                  <a:noFill/>
                </a:ln>
                <a:solidFill>
                  <a:srgbClr val="000000"/>
                </a:solidFill>
                <a:effectLst/>
                <a:uLnTx/>
                <a:uFillTx/>
                <a:latin typeface="Arial"/>
                <a:ea typeface="+mn-lt"/>
                <a:cs typeface="Arial"/>
              </a:rPr>
              <a:t> </a:t>
            </a:r>
            <a:endPar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 name="Title 2">
            <a:extLst>
              <a:ext uri="{FF2B5EF4-FFF2-40B4-BE49-F238E27FC236}">
                <a16:creationId xmlns:a16="http://schemas.microsoft.com/office/drawing/2014/main" id="{FEF5C5D1-FDF5-AF7A-33AC-B2A2CEC76E8F}"/>
              </a:ext>
            </a:extLst>
          </p:cNvPr>
          <p:cNvSpPr txBox="1">
            <a:spLocks/>
          </p:cNvSpPr>
          <p:nvPr/>
        </p:nvSpPr>
        <p:spPr>
          <a:xfrm>
            <a:off x="575998" y="381690"/>
            <a:ext cx="11502588" cy="505668"/>
          </a:xfrm>
          <a:prstGeom prst="rect">
            <a:avLst/>
          </a:prstGeom>
        </p:spPr>
        <p:txBody>
          <a:bodyPr vert="horz" lIns="0" tIns="0" rIns="0" bIns="0" rtlCol="0" anchor="t" anchorCtr="0">
            <a:noAutofit/>
          </a:bodyPr>
          <a:lstStyle>
            <a:lvl1pPr algn="l" defTabSz="914400" rtl="0" eaLnBrk="1" latinLnBrk="0" hangingPunct="1">
              <a:lnSpc>
                <a:spcPct val="95000"/>
              </a:lnSpc>
              <a:spcBef>
                <a:spcPct val="0"/>
              </a:spcBef>
              <a:buNone/>
              <a:defRPr sz="2800" b="1" kern="1200">
                <a:solidFill>
                  <a:srgbClr val="00A195"/>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A195"/>
                </a:solidFill>
                <a:effectLst/>
                <a:uLnTx/>
                <a:uFillTx/>
                <a:latin typeface="Arial"/>
                <a:ea typeface="+mj-ea"/>
                <a:cs typeface="+mj-cs"/>
              </a:rPr>
              <a:t>Positive Trend for Overall Survival With Epcoritamab+R</a:t>
            </a:r>
            <a:r>
              <a:rPr kumimoji="0" lang="en-US" sz="2400" b="1" i="0" u="none" strike="noStrike" kern="1200" cap="none" spc="0" normalizeH="0" baseline="30000" noProof="0" dirty="0">
                <a:ln>
                  <a:noFill/>
                </a:ln>
                <a:solidFill>
                  <a:srgbClr val="00A195"/>
                </a:solidFill>
                <a:effectLst/>
                <a:uLnTx/>
                <a:uFillTx/>
                <a:latin typeface="Arial"/>
                <a:ea typeface="+mj-ea"/>
                <a:cs typeface="+mj-cs"/>
              </a:rPr>
              <a:t>2</a:t>
            </a:r>
            <a:r>
              <a:rPr kumimoji="0" lang="en-US" sz="2400" b="1" i="0" u="none" strike="noStrike" kern="1200" cap="none" spc="0" normalizeH="0" baseline="0" noProof="0" dirty="0">
                <a:ln>
                  <a:noFill/>
                </a:ln>
                <a:solidFill>
                  <a:srgbClr val="00A195"/>
                </a:solidFill>
                <a:effectLst/>
                <a:uLnTx/>
                <a:uFillTx/>
                <a:latin typeface="Arial"/>
                <a:ea typeface="+mj-ea"/>
                <a:cs typeface="+mj-cs"/>
              </a:rPr>
              <a:t> </a:t>
            </a:r>
            <a:endParaRPr kumimoji="0" lang="en-US" sz="2400" b="1" i="0" u="none" strike="noStrike" kern="1200" cap="none" spc="0" normalizeH="0" baseline="0" noProof="0" dirty="0">
              <a:ln>
                <a:noFill/>
              </a:ln>
              <a:solidFill>
                <a:srgbClr val="FF0000"/>
              </a:solidFill>
              <a:effectLst/>
              <a:uLnTx/>
              <a:uFillTx/>
              <a:latin typeface="Arial"/>
              <a:ea typeface="+mj-ea"/>
              <a:cs typeface="Arial"/>
            </a:endParaRPr>
          </a:p>
        </p:txBody>
      </p:sp>
      <p:sp>
        <p:nvSpPr>
          <p:cNvPr id="11" name="TextBox 10">
            <a:extLst>
              <a:ext uri="{FF2B5EF4-FFF2-40B4-BE49-F238E27FC236}">
                <a16:creationId xmlns:a16="http://schemas.microsoft.com/office/drawing/2014/main" id="{3CC400CC-8A11-F419-02A1-33B5B00B7B14}"/>
              </a:ext>
            </a:extLst>
          </p:cNvPr>
          <p:cNvSpPr txBox="1"/>
          <p:nvPr/>
        </p:nvSpPr>
        <p:spPr>
          <a:xfrm>
            <a:off x="10229407" y="74603"/>
            <a:ext cx="1811393"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pcoritamab+R</a:t>
            </a:r>
            <a:r>
              <a:rPr kumimoji="0" lang="en-US" sz="1200" b="0" i="0" u="none" strike="noStrike" kern="120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rPr>
              <a:t>2</a:t>
            </a: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in R/R FL</a:t>
            </a:r>
          </a:p>
        </p:txBody>
      </p:sp>
      <p:grpSp>
        <p:nvGrpSpPr>
          <p:cNvPr id="8" name="Group 7">
            <a:extLst>
              <a:ext uri="{FF2B5EF4-FFF2-40B4-BE49-F238E27FC236}">
                <a16:creationId xmlns:a16="http://schemas.microsoft.com/office/drawing/2014/main" id="{574E2B06-5D32-B4A3-D877-40AE6E8BE6FD}"/>
              </a:ext>
            </a:extLst>
          </p:cNvPr>
          <p:cNvGrpSpPr/>
          <p:nvPr/>
        </p:nvGrpSpPr>
        <p:grpSpPr>
          <a:xfrm>
            <a:off x="1244009" y="920988"/>
            <a:ext cx="9789700" cy="4398786"/>
            <a:chOff x="1244009" y="920988"/>
            <a:chExt cx="9789700" cy="4398786"/>
          </a:xfrm>
        </p:grpSpPr>
        <p:pic>
          <p:nvPicPr>
            <p:cNvPr id="16" name="Picture 15" descr="A screen shot of a graph&#10;&#10;AI-generated content may be incorrect.">
              <a:extLst>
                <a:ext uri="{FF2B5EF4-FFF2-40B4-BE49-F238E27FC236}">
                  <a16:creationId xmlns:a16="http://schemas.microsoft.com/office/drawing/2014/main" id="{3BAEE1F8-5DFE-D786-98F6-D13FF82DF343}"/>
                </a:ext>
              </a:extLst>
            </p:cNvPr>
            <p:cNvPicPr>
              <a:picLocks noChangeAspect="1"/>
            </p:cNvPicPr>
            <p:nvPr/>
          </p:nvPicPr>
          <p:blipFill>
            <a:blip r:embed="rId4">
              <a:extLst>
                <a:ext uri="{28A0092B-C50C-407E-A947-70E740481C1C}">
                  <a14:useLocalDpi xmlns:a14="http://schemas.microsoft.com/office/drawing/2010/main" val="0"/>
                </a:ext>
              </a:extLst>
            </a:blip>
            <a:srcRect b="16840"/>
            <a:stretch>
              <a:fillRect/>
            </a:stretch>
          </p:blipFill>
          <p:spPr>
            <a:xfrm>
              <a:off x="1729139" y="920988"/>
              <a:ext cx="8631954" cy="3601851"/>
            </a:xfrm>
            <a:prstGeom prst="rect">
              <a:avLst/>
            </a:prstGeom>
          </p:spPr>
        </p:pic>
        <p:pic>
          <p:nvPicPr>
            <p:cNvPr id="18" name="Picture 17" descr="A screen shot of a graph&#10;&#10;AI-generated content may be incorrect.">
              <a:extLst>
                <a:ext uri="{FF2B5EF4-FFF2-40B4-BE49-F238E27FC236}">
                  <a16:creationId xmlns:a16="http://schemas.microsoft.com/office/drawing/2014/main" id="{CE6F065B-D554-8F5E-C104-43EEB4D83AE0}"/>
                </a:ext>
              </a:extLst>
            </p:cNvPr>
            <p:cNvPicPr>
              <a:picLocks noChangeAspect="1"/>
            </p:cNvPicPr>
            <p:nvPr/>
          </p:nvPicPr>
          <p:blipFill>
            <a:blip r:embed="rId4">
              <a:extLst>
                <a:ext uri="{28A0092B-C50C-407E-A947-70E740481C1C}">
                  <a14:useLocalDpi xmlns:a14="http://schemas.microsoft.com/office/drawing/2010/main" val="0"/>
                </a:ext>
              </a:extLst>
            </a:blip>
            <a:srcRect t="89666" b="4649"/>
            <a:stretch>
              <a:fillRect/>
            </a:stretch>
          </p:blipFill>
          <p:spPr>
            <a:xfrm>
              <a:off x="1729139" y="4766111"/>
              <a:ext cx="8631954" cy="246221"/>
            </a:xfrm>
            <a:prstGeom prst="rect">
              <a:avLst/>
            </a:prstGeom>
          </p:spPr>
        </p:pic>
        <p:pic>
          <p:nvPicPr>
            <p:cNvPr id="19" name="Picture 18" descr="A screen shot of a graph&#10;&#10;AI-generated content may be incorrect.">
              <a:extLst>
                <a:ext uri="{FF2B5EF4-FFF2-40B4-BE49-F238E27FC236}">
                  <a16:creationId xmlns:a16="http://schemas.microsoft.com/office/drawing/2014/main" id="{91591806-83F2-F148-4DF2-4CBFA83524BE}"/>
                </a:ext>
              </a:extLst>
            </p:cNvPr>
            <p:cNvPicPr>
              <a:picLocks noChangeAspect="1"/>
            </p:cNvPicPr>
            <p:nvPr/>
          </p:nvPicPr>
          <p:blipFill>
            <a:blip r:embed="rId4">
              <a:extLst>
                <a:ext uri="{28A0092B-C50C-407E-A947-70E740481C1C}">
                  <a14:useLocalDpi xmlns:a14="http://schemas.microsoft.com/office/drawing/2010/main" val="0"/>
                </a:ext>
              </a:extLst>
            </a:blip>
            <a:srcRect t="82161" r="87797" b="9167"/>
            <a:stretch>
              <a:fillRect/>
            </a:stretch>
          </p:blipFill>
          <p:spPr>
            <a:xfrm>
              <a:off x="1729139" y="4444181"/>
              <a:ext cx="1053390" cy="375600"/>
            </a:xfrm>
            <a:prstGeom prst="rect">
              <a:avLst/>
            </a:prstGeom>
          </p:spPr>
        </p:pic>
        <p:pic>
          <p:nvPicPr>
            <p:cNvPr id="20" name="Picture 19" descr="A screen shot of a graph&#10;&#10;AI-generated content may be incorrect.">
              <a:extLst>
                <a:ext uri="{FF2B5EF4-FFF2-40B4-BE49-F238E27FC236}">
                  <a16:creationId xmlns:a16="http://schemas.microsoft.com/office/drawing/2014/main" id="{EE7AF22D-B7DA-B96A-D2AF-8DC85C834AF8}"/>
                </a:ext>
              </a:extLst>
            </p:cNvPr>
            <p:cNvPicPr>
              <a:picLocks noChangeAspect="1"/>
            </p:cNvPicPr>
            <p:nvPr/>
          </p:nvPicPr>
          <p:blipFill>
            <a:blip r:embed="rId4">
              <a:extLst>
                <a:ext uri="{28A0092B-C50C-407E-A947-70E740481C1C}">
                  <a14:useLocalDpi xmlns:a14="http://schemas.microsoft.com/office/drawing/2010/main" val="0"/>
                </a:ext>
              </a:extLst>
            </a:blip>
            <a:srcRect t="95894"/>
            <a:stretch>
              <a:fillRect/>
            </a:stretch>
          </p:blipFill>
          <p:spPr>
            <a:xfrm>
              <a:off x="1729139" y="5012563"/>
              <a:ext cx="8631954" cy="177834"/>
            </a:xfrm>
            <a:prstGeom prst="rect">
              <a:avLst/>
            </a:prstGeom>
          </p:spPr>
        </p:pic>
        <p:sp>
          <p:nvSpPr>
            <p:cNvPr id="21" name="Rectangle 20">
              <a:extLst>
                <a:ext uri="{FF2B5EF4-FFF2-40B4-BE49-F238E27FC236}">
                  <a16:creationId xmlns:a16="http://schemas.microsoft.com/office/drawing/2014/main" id="{F87E9CD1-AC5D-86AD-ACBE-D3334E308B98}"/>
                </a:ext>
              </a:extLst>
            </p:cNvPr>
            <p:cNvSpPr/>
            <p:nvPr/>
          </p:nvSpPr>
          <p:spPr>
            <a:xfrm>
              <a:off x="1244009" y="4603898"/>
              <a:ext cx="1520456" cy="14885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2" name="Picture 21" descr="A graph on a black background&#10;&#10;AI-generated content may be incorrect.">
              <a:extLst>
                <a:ext uri="{FF2B5EF4-FFF2-40B4-BE49-F238E27FC236}">
                  <a16:creationId xmlns:a16="http://schemas.microsoft.com/office/drawing/2014/main" id="{A2B39205-2099-2DB4-E77D-DD5B49EF6469}"/>
                </a:ext>
              </a:extLst>
            </p:cNvPr>
            <p:cNvPicPr>
              <a:picLocks noChangeAspect="1"/>
            </p:cNvPicPr>
            <p:nvPr/>
          </p:nvPicPr>
          <p:blipFill>
            <a:blip r:embed="rId5">
              <a:extLst>
                <a:ext uri="{28A0092B-C50C-407E-A947-70E740481C1C}">
                  <a14:useLocalDpi xmlns:a14="http://schemas.microsoft.com/office/drawing/2010/main" val="0"/>
                </a:ext>
              </a:extLst>
            </a:blip>
            <a:srcRect l="2123" t="86724" r="88803" b="6683"/>
            <a:stretch>
              <a:fillRect/>
            </a:stretch>
          </p:blipFill>
          <p:spPr>
            <a:xfrm>
              <a:off x="1743740" y="4603898"/>
              <a:ext cx="861237" cy="277091"/>
            </a:xfrm>
            <a:prstGeom prst="rect">
              <a:avLst/>
            </a:prstGeom>
          </p:spPr>
        </p:pic>
        <p:sp>
          <p:nvSpPr>
            <p:cNvPr id="23" name="Rectangle 22">
              <a:extLst>
                <a:ext uri="{FF2B5EF4-FFF2-40B4-BE49-F238E27FC236}">
                  <a16:creationId xmlns:a16="http://schemas.microsoft.com/office/drawing/2014/main" id="{9C8B7A7D-8AD1-4606-3552-F1DEEB6DEB99}"/>
                </a:ext>
              </a:extLst>
            </p:cNvPr>
            <p:cNvSpPr/>
            <p:nvPr/>
          </p:nvSpPr>
          <p:spPr>
            <a:xfrm>
              <a:off x="1542218" y="4603898"/>
              <a:ext cx="1427319" cy="71587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 name="Rectangle 23">
              <a:extLst>
                <a:ext uri="{FF2B5EF4-FFF2-40B4-BE49-F238E27FC236}">
                  <a16:creationId xmlns:a16="http://schemas.microsoft.com/office/drawing/2014/main" id="{BE695180-9A25-69D1-FE02-2B9B7C119429}"/>
                </a:ext>
              </a:extLst>
            </p:cNvPr>
            <p:cNvSpPr/>
            <p:nvPr/>
          </p:nvSpPr>
          <p:spPr>
            <a:xfrm>
              <a:off x="1665524" y="4626321"/>
              <a:ext cx="1050516" cy="39008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5" name="Picture 24" descr="A screen shot of a graph&#10;&#10;AI-generated content may be incorrect.">
              <a:extLst>
                <a:ext uri="{FF2B5EF4-FFF2-40B4-BE49-F238E27FC236}">
                  <a16:creationId xmlns:a16="http://schemas.microsoft.com/office/drawing/2014/main" id="{EE212DD4-4129-D44C-A057-3F3F84378FEE}"/>
                </a:ext>
              </a:extLst>
            </p:cNvPr>
            <p:cNvPicPr>
              <a:picLocks noChangeAspect="1"/>
            </p:cNvPicPr>
            <p:nvPr/>
          </p:nvPicPr>
          <p:blipFill>
            <a:blip r:embed="rId6">
              <a:extLst>
                <a:ext uri="{28A0092B-C50C-407E-A947-70E740481C1C}">
                  <a14:useLocalDpi xmlns:a14="http://schemas.microsoft.com/office/drawing/2010/main" val="0"/>
                </a:ext>
              </a:extLst>
            </a:blip>
            <a:srcRect l="-2154" t="83341" r="100000" b="2151"/>
            <a:stretch>
              <a:fillRect/>
            </a:stretch>
          </p:blipFill>
          <p:spPr>
            <a:xfrm>
              <a:off x="1535723" y="4493343"/>
              <a:ext cx="189089" cy="620819"/>
            </a:xfrm>
            <a:prstGeom prst="rect">
              <a:avLst/>
            </a:prstGeom>
          </p:spPr>
        </p:pic>
        <p:pic>
          <p:nvPicPr>
            <p:cNvPr id="26" name="Picture 25" descr="A screen shot of a graph&#10;&#10;AI-generated content may be incorrect.">
              <a:extLst>
                <a:ext uri="{FF2B5EF4-FFF2-40B4-BE49-F238E27FC236}">
                  <a16:creationId xmlns:a16="http://schemas.microsoft.com/office/drawing/2014/main" id="{4341EC9A-B7E8-0C55-B935-27AE74A8E1AE}"/>
                </a:ext>
              </a:extLst>
            </p:cNvPr>
            <p:cNvPicPr>
              <a:picLocks noChangeAspect="1"/>
            </p:cNvPicPr>
            <p:nvPr/>
          </p:nvPicPr>
          <p:blipFill>
            <a:blip r:embed="rId7">
              <a:extLst>
                <a:ext uri="{28A0092B-C50C-407E-A947-70E740481C1C}">
                  <a14:useLocalDpi xmlns:a14="http://schemas.microsoft.com/office/drawing/2010/main" val="0"/>
                </a:ext>
              </a:extLst>
            </a:blip>
            <a:srcRect t="85860" r="85262"/>
            <a:stretch>
              <a:fillRect/>
            </a:stretch>
          </p:blipFill>
          <p:spPr>
            <a:xfrm>
              <a:off x="1705148" y="4582504"/>
              <a:ext cx="1293690" cy="604079"/>
            </a:xfrm>
            <a:prstGeom prst="rect">
              <a:avLst/>
            </a:prstGeom>
          </p:spPr>
        </p:pic>
        <p:sp>
          <p:nvSpPr>
            <p:cNvPr id="27" name="Rectangle 26">
              <a:extLst>
                <a:ext uri="{FF2B5EF4-FFF2-40B4-BE49-F238E27FC236}">
                  <a16:creationId xmlns:a16="http://schemas.microsoft.com/office/drawing/2014/main" id="{F0001895-7C24-D193-EC98-5CEB541719BF}"/>
                </a:ext>
              </a:extLst>
            </p:cNvPr>
            <p:cNvSpPr/>
            <p:nvPr/>
          </p:nvSpPr>
          <p:spPr>
            <a:xfrm>
              <a:off x="1705148" y="5010150"/>
              <a:ext cx="399877" cy="17643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8" name="Picture 27" descr="A screen shot of a graph&#10;&#10;AI-generated content may be incorrect.">
              <a:extLst>
                <a:ext uri="{FF2B5EF4-FFF2-40B4-BE49-F238E27FC236}">
                  <a16:creationId xmlns:a16="http://schemas.microsoft.com/office/drawing/2014/main" id="{0BBAC16E-00A4-87E8-A9D1-7E23AEDC8452}"/>
                </a:ext>
              </a:extLst>
            </p:cNvPr>
            <p:cNvPicPr>
              <a:picLocks noChangeAspect="1"/>
            </p:cNvPicPr>
            <p:nvPr/>
          </p:nvPicPr>
          <p:blipFill>
            <a:blip r:embed="rId7">
              <a:extLst>
                <a:ext uri="{28A0092B-C50C-407E-A947-70E740481C1C}">
                  <a14:useLocalDpi xmlns:a14="http://schemas.microsoft.com/office/drawing/2010/main" val="0"/>
                </a:ext>
              </a:extLst>
            </a:blip>
            <a:srcRect t="95647" r="98264"/>
            <a:stretch>
              <a:fillRect/>
            </a:stretch>
          </p:blipFill>
          <p:spPr>
            <a:xfrm>
              <a:off x="1708880" y="5000625"/>
              <a:ext cx="152400" cy="185958"/>
            </a:xfrm>
            <a:prstGeom prst="rect">
              <a:avLst/>
            </a:prstGeom>
          </p:spPr>
        </p:pic>
        <p:pic>
          <p:nvPicPr>
            <p:cNvPr id="29" name="Picture 28" descr="A screen shot of a graph&#10;&#10;AI-generated content may be incorrect.">
              <a:extLst>
                <a:ext uri="{FF2B5EF4-FFF2-40B4-BE49-F238E27FC236}">
                  <a16:creationId xmlns:a16="http://schemas.microsoft.com/office/drawing/2014/main" id="{43F38188-91C2-94F8-6F60-A5F915E0EC70}"/>
                </a:ext>
              </a:extLst>
            </p:cNvPr>
            <p:cNvPicPr>
              <a:picLocks noChangeAspect="1"/>
            </p:cNvPicPr>
            <p:nvPr/>
          </p:nvPicPr>
          <p:blipFill>
            <a:blip r:embed="rId7">
              <a:extLst>
                <a:ext uri="{28A0092B-C50C-407E-A947-70E740481C1C}">
                  <a14:useLocalDpi xmlns:a14="http://schemas.microsoft.com/office/drawing/2010/main" val="0"/>
                </a:ext>
              </a:extLst>
            </a:blip>
            <a:srcRect l="2106" t="95647" r="94034"/>
            <a:stretch>
              <a:fillRect/>
            </a:stretch>
          </p:blipFill>
          <p:spPr>
            <a:xfrm>
              <a:off x="1854996" y="5000625"/>
              <a:ext cx="338776" cy="185958"/>
            </a:xfrm>
            <a:prstGeom prst="rect">
              <a:avLst/>
            </a:prstGeom>
          </p:spPr>
        </p:pic>
        <p:pic>
          <p:nvPicPr>
            <p:cNvPr id="6" name="Picture 5" descr="A graph on a black background&#10;&#10;AI-generated content may be incorrect.">
              <a:extLst>
                <a:ext uri="{FF2B5EF4-FFF2-40B4-BE49-F238E27FC236}">
                  <a16:creationId xmlns:a16="http://schemas.microsoft.com/office/drawing/2014/main" id="{5C4B9FCE-6113-3A7C-717A-7C4BED089B82}"/>
                </a:ext>
              </a:extLst>
            </p:cNvPr>
            <p:cNvPicPr>
              <a:picLocks noChangeAspect="1"/>
            </p:cNvPicPr>
            <p:nvPr/>
          </p:nvPicPr>
          <p:blipFill>
            <a:blip r:embed="rId5">
              <a:extLst>
                <a:ext uri="{28A0092B-C50C-407E-A947-70E740481C1C}">
                  <a14:useLocalDpi xmlns:a14="http://schemas.microsoft.com/office/drawing/2010/main" val="0"/>
                </a:ext>
              </a:extLst>
            </a:blip>
            <a:srcRect l="12367" t="84992" b="9843"/>
            <a:stretch>
              <a:fillRect/>
            </a:stretch>
          </p:blipFill>
          <p:spPr>
            <a:xfrm>
              <a:off x="2716040" y="4493130"/>
              <a:ext cx="8317669" cy="217094"/>
            </a:xfrm>
            <a:prstGeom prst="rect">
              <a:avLst/>
            </a:prstGeom>
          </p:spPr>
        </p:pic>
      </p:grpSp>
    </p:spTree>
    <p:extLst>
      <p:ext uri="{BB962C8B-B14F-4D97-AF65-F5344CB8AC3E}">
        <p14:creationId xmlns:p14="http://schemas.microsoft.com/office/powerpoint/2010/main" val="2969601605"/>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FF8C26-A6F5-4DC3-9516-662702F569B3}"/>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833E8E13-9D59-4C14-DF66-BE58439C71E1}"/>
              </a:ext>
            </a:extLst>
          </p:cNvPr>
          <p:cNvPicPr>
            <a:picLocks noChangeAspect="1"/>
          </p:cNvPicPr>
          <p:nvPr/>
        </p:nvPicPr>
        <p:blipFill>
          <a:blip r:embed="rId3"/>
          <a:srcRect t="15224" r="218"/>
          <a:stretch/>
        </p:blipFill>
        <p:spPr>
          <a:xfrm>
            <a:off x="-2" y="6530274"/>
            <a:ext cx="12192002" cy="327726"/>
          </a:xfrm>
          <a:prstGeom prst="rect">
            <a:avLst/>
          </a:prstGeom>
        </p:spPr>
      </p:pic>
      <p:sp>
        <p:nvSpPr>
          <p:cNvPr id="7" name="Rectangle: Top Corners Rounded 6">
            <a:extLst>
              <a:ext uri="{FF2B5EF4-FFF2-40B4-BE49-F238E27FC236}">
                <a16:creationId xmlns:a16="http://schemas.microsoft.com/office/drawing/2014/main" id="{C346AEDC-13C1-90CF-82A1-9C3F98278C7A}"/>
              </a:ext>
            </a:extLst>
          </p:cNvPr>
          <p:cNvSpPr/>
          <p:nvPr/>
        </p:nvSpPr>
        <p:spPr>
          <a:xfrm rot="10800000">
            <a:off x="10046524" y="0"/>
            <a:ext cx="2145474" cy="327358"/>
          </a:xfrm>
          <a:prstGeom prst="round2SameRect">
            <a:avLst/>
          </a:prstGeom>
          <a:gradFill flip="none" rotWithShape="1">
            <a:gsLst>
              <a:gs pos="0">
                <a:srgbClr val="009B92"/>
              </a:gs>
              <a:gs pos="100000">
                <a:srgbClr val="041E49"/>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6EB68F7D-F380-CB95-1CDF-FEB79EE74CB2}"/>
              </a:ext>
            </a:extLst>
          </p:cNvPr>
          <p:cNvSpPr txBox="1"/>
          <p:nvPr/>
        </p:nvSpPr>
        <p:spPr>
          <a:xfrm>
            <a:off x="10229407" y="6571026"/>
            <a:ext cx="1840568"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alchi et al., ASH 2025; #466</a:t>
            </a:r>
          </a:p>
        </p:txBody>
      </p:sp>
      <p:graphicFrame>
        <p:nvGraphicFramePr>
          <p:cNvPr id="2" name="Table 1">
            <a:extLst>
              <a:ext uri="{FF2B5EF4-FFF2-40B4-BE49-F238E27FC236}">
                <a16:creationId xmlns:a16="http://schemas.microsoft.com/office/drawing/2014/main" id="{4BF67725-94EC-5ADB-CEED-70AA11E45390}"/>
              </a:ext>
            </a:extLst>
          </p:cNvPr>
          <p:cNvGraphicFramePr>
            <a:graphicFrameLocks noGrp="1"/>
          </p:cNvGraphicFramePr>
          <p:nvPr/>
        </p:nvGraphicFramePr>
        <p:xfrm>
          <a:off x="151200" y="1009322"/>
          <a:ext cx="6545810" cy="5056108"/>
        </p:xfrm>
        <a:graphic>
          <a:graphicData uri="http://schemas.openxmlformats.org/drawingml/2006/table">
            <a:tbl>
              <a:tblPr firstRow="1" bandRow="1"/>
              <a:tblGrid>
                <a:gridCol w="2917466">
                  <a:extLst>
                    <a:ext uri="{9D8B030D-6E8A-4147-A177-3AD203B41FA5}">
                      <a16:colId xmlns:a16="http://schemas.microsoft.com/office/drawing/2014/main" val="127670386"/>
                    </a:ext>
                  </a:extLst>
                </a:gridCol>
                <a:gridCol w="907086">
                  <a:extLst>
                    <a:ext uri="{9D8B030D-6E8A-4147-A177-3AD203B41FA5}">
                      <a16:colId xmlns:a16="http://schemas.microsoft.com/office/drawing/2014/main" val="3904600249"/>
                    </a:ext>
                  </a:extLst>
                </a:gridCol>
                <a:gridCol w="907086">
                  <a:extLst>
                    <a:ext uri="{9D8B030D-6E8A-4147-A177-3AD203B41FA5}">
                      <a16:colId xmlns:a16="http://schemas.microsoft.com/office/drawing/2014/main" val="2805014902"/>
                    </a:ext>
                  </a:extLst>
                </a:gridCol>
                <a:gridCol w="907086">
                  <a:extLst>
                    <a:ext uri="{9D8B030D-6E8A-4147-A177-3AD203B41FA5}">
                      <a16:colId xmlns:a16="http://schemas.microsoft.com/office/drawing/2014/main" val="2951061480"/>
                    </a:ext>
                  </a:extLst>
                </a:gridCol>
                <a:gridCol w="907086">
                  <a:extLst>
                    <a:ext uri="{9D8B030D-6E8A-4147-A177-3AD203B41FA5}">
                      <a16:colId xmlns:a16="http://schemas.microsoft.com/office/drawing/2014/main" val="487576236"/>
                    </a:ext>
                  </a:extLst>
                </a:gridCol>
              </a:tblGrid>
              <a:tr h="582138">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nSpc>
                          <a:spcPct val="100000"/>
                        </a:lnSpc>
                      </a:pPr>
                      <a:endParaRPr lang="en-US" sz="1400" b="1" kern="0" dirty="0">
                        <a:solidFill>
                          <a:schemeClr val="tx1"/>
                        </a:solidFill>
                        <a:latin typeface="Arial" panose="020B0604020202020204" pitchFamily="34" charset="0"/>
                        <a:cs typeface="Arial" panose="020B0604020202020204" pitchFamily="34" charset="0"/>
                      </a:endParaRPr>
                    </a:p>
                  </a:txBody>
                  <a:tcPr marT="73152" marB="73152" anchor="ctr">
                    <a:lnL w="6350" cap="flat" cmpd="sng" algn="ctr">
                      <a:noFill/>
                      <a:prstDash val="solid"/>
                      <a:round/>
                      <a:headEnd type="none" w="med" len="med"/>
                      <a:tailEnd type="none" w="med" len="med"/>
                    </a:lnL>
                    <a:lnR w="28575" cap="flat" cmpd="sng" algn="ctr">
                      <a:solidFill>
                        <a:srgbClr val="FFFFFF"/>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41E49"/>
                    </a:solidFill>
                  </a:tcPr>
                </a:tc>
                <a:tc gridSpan="2">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lnSpc>
                          <a:spcPct val="100000"/>
                        </a:lnSpc>
                      </a:pPr>
                      <a:r>
                        <a:rPr lang="en-US" sz="1400" b="1" kern="0" dirty="0">
                          <a:solidFill>
                            <a:schemeClr val="bg1"/>
                          </a:solidFill>
                          <a:latin typeface="Arial" panose="020B0604020202020204" pitchFamily="34" charset="0"/>
                          <a:cs typeface="Arial" panose="020B0604020202020204" pitchFamily="34" charset="0"/>
                        </a:rPr>
                        <a:t>Epcoritamab+R</a:t>
                      </a:r>
                      <a:r>
                        <a:rPr lang="en-US" sz="1400" b="1" kern="0" baseline="30000" dirty="0">
                          <a:solidFill>
                            <a:schemeClr val="bg1"/>
                          </a:solidFill>
                          <a:latin typeface="Arial" panose="020B0604020202020204" pitchFamily="34" charset="0"/>
                          <a:cs typeface="Arial" panose="020B0604020202020204" pitchFamily="34" charset="0"/>
                        </a:rPr>
                        <a:t>2</a:t>
                      </a:r>
                    </a:p>
                    <a:p>
                      <a:pPr algn="ctr">
                        <a:lnSpc>
                          <a:spcPct val="100000"/>
                        </a:lnSpc>
                      </a:pPr>
                      <a:r>
                        <a:rPr lang="en-US" sz="1400" b="1" kern="0" dirty="0">
                          <a:solidFill>
                            <a:schemeClr val="bg1"/>
                          </a:solidFill>
                          <a:latin typeface="Arial" panose="020B0604020202020204" pitchFamily="34" charset="0"/>
                          <a:cs typeface="Arial" panose="020B0604020202020204" pitchFamily="34" charset="0"/>
                        </a:rPr>
                        <a:t>(N = 243)</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41E49"/>
                    </a:solidFill>
                  </a:tcPr>
                </a:tc>
                <a:tc hMerge="1">
                  <a:txBody>
                    <a:bodyPr/>
                    <a:lstStyle/>
                    <a:p>
                      <a:pPr algn="ctr">
                        <a:lnSpc>
                          <a:spcPct val="100000"/>
                        </a:lnSpc>
                      </a:pPr>
                      <a:endParaRPr lang="en-US" sz="1200" b="1" kern="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41E49"/>
                    </a:solidFill>
                  </a:tcPr>
                </a:tc>
                <a:tc gridSpan="2">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lnSpc>
                          <a:spcPct val="100000"/>
                        </a:lnSpc>
                      </a:pPr>
                      <a:r>
                        <a:rPr lang="en-US" sz="1400" b="1" kern="0" dirty="0">
                          <a:solidFill>
                            <a:schemeClr val="bg1"/>
                          </a:solidFill>
                          <a:latin typeface="Arial" panose="020B0604020202020204" pitchFamily="34" charset="0"/>
                          <a:ea typeface="+mn-ea"/>
                          <a:cs typeface="Arial" panose="020B0604020202020204" pitchFamily="34" charset="0"/>
                        </a:rPr>
                        <a:t>R</a:t>
                      </a:r>
                      <a:r>
                        <a:rPr lang="en-US" sz="1400" b="1" kern="0" baseline="30000" dirty="0">
                          <a:solidFill>
                            <a:schemeClr val="bg1"/>
                          </a:solidFill>
                          <a:latin typeface="Arial" panose="020B0604020202020204" pitchFamily="34" charset="0"/>
                          <a:ea typeface="+mn-ea"/>
                          <a:cs typeface="Arial" panose="020B0604020202020204" pitchFamily="34" charset="0"/>
                        </a:rPr>
                        <a:t>2</a:t>
                      </a:r>
                    </a:p>
                    <a:p>
                      <a:pPr algn="ctr">
                        <a:lnSpc>
                          <a:spcPct val="100000"/>
                        </a:lnSpc>
                      </a:pPr>
                      <a:r>
                        <a:rPr lang="en-US" sz="1400" b="1" kern="0" dirty="0">
                          <a:solidFill>
                            <a:schemeClr val="bg1"/>
                          </a:solidFill>
                          <a:latin typeface="Arial" panose="020B0604020202020204" pitchFamily="34" charset="0"/>
                          <a:ea typeface="+mn-ea"/>
                          <a:cs typeface="Arial" panose="020B0604020202020204" pitchFamily="34" charset="0"/>
                        </a:rPr>
                        <a:t>(N = 238)</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41E49"/>
                    </a:solidFill>
                  </a:tcPr>
                </a:tc>
                <a:tc hMerge="1">
                  <a:txBody>
                    <a:bodyPr/>
                    <a:lstStyle/>
                    <a:p>
                      <a:pPr algn="ctr">
                        <a:lnSpc>
                          <a:spcPct val="100000"/>
                        </a:lnSpc>
                      </a:pPr>
                      <a:endParaRPr lang="en-US" sz="1200" b="1" kern="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41E49"/>
                    </a:solidFill>
                  </a:tcPr>
                </a:tc>
                <a:extLst>
                  <a:ext uri="{0D108BD9-81ED-4DB2-BD59-A6C34878D82A}">
                    <a16:rowId xmlns:a16="http://schemas.microsoft.com/office/drawing/2014/main" val="1152947047"/>
                  </a:ext>
                </a:extLst>
              </a:tr>
              <a:tr h="404073">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nSpc>
                          <a:spcPct val="100000"/>
                        </a:lnSpc>
                      </a:pPr>
                      <a:r>
                        <a:rPr lang="en-US" sz="1400" b="1" kern="0" dirty="0">
                          <a:solidFill>
                            <a:schemeClr val="bg1"/>
                          </a:solidFill>
                          <a:latin typeface="Arial" panose="020B0604020202020204" pitchFamily="34" charset="0"/>
                          <a:cs typeface="Arial" panose="020B0604020202020204" pitchFamily="34" charset="0"/>
                        </a:rPr>
                        <a:t>Adverse Event, n (%)</a:t>
                      </a:r>
                    </a:p>
                  </a:txBody>
                  <a:tcPr marT="73152" marB="73152" anchor="ctr">
                    <a:lnL w="6350" cap="flat" cmpd="sng" algn="ctr">
                      <a:noFill/>
                      <a:prstDash val="solid"/>
                      <a:round/>
                      <a:headEnd type="none" w="med" len="med"/>
                      <a:tailEnd type="none" w="med" len="med"/>
                    </a:lnL>
                    <a:lnR w="28575" cap="flat" cmpd="sng" algn="ctr">
                      <a:solidFill>
                        <a:srgbClr val="FFFFFF"/>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41E49"/>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buNone/>
                      </a:pPr>
                      <a:r>
                        <a:rPr lang="en-US" sz="14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Any Grade</a:t>
                      </a:r>
                      <a:endParaRPr lang="en-US" sz="14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41E49"/>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algn="ctr">
                        <a:lnSpc>
                          <a:spcPct val="100000"/>
                        </a:lnSpc>
                        <a:buNone/>
                      </a:pPr>
                      <a:r>
                        <a:rPr lang="en-US" sz="1400" b="1" dirty="0">
                          <a:solidFill>
                            <a:schemeClr val="bg1"/>
                          </a:solidFill>
                          <a:effectLst/>
                          <a:latin typeface="Arial" panose="020B0604020202020204" pitchFamily="34" charset="0"/>
                          <a:cs typeface="Arial" panose="020B0604020202020204" pitchFamily="34" charset="0"/>
                        </a:rPr>
                        <a:t>Grade ≥ 3</a:t>
                      </a:r>
                      <a:endParaRPr lang="en-US" sz="1400" dirty="0">
                        <a:solidFill>
                          <a:schemeClr val="bg1"/>
                        </a:solidFill>
                        <a:effectLst/>
                        <a:latin typeface="Arial" panose="020B0604020202020204" pitchFamily="34" charset="0"/>
                        <a:cs typeface="Arial" panose="020B0604020202020204" pitchFamily="34" charset="0"/>
                      </a:endParaRPr>
                    </a:p>
                  </a:txBody>
                  <a:tcPr marL="68580" marR="68580" marT="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41E49"/>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buNone/>
                      </a:pPr>
                      <a:r>
                        <a:rPr lang="en-US" sz="14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Any Grade</a:t>
                      </a:r>
                      <a:endParaRPr lang="en-US" sz="14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41E49"/>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buNone/>
                      </a:pPr>
                      <a:r>
                        <a:rPr lang="en-US" sz="14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Grade ≥ 3</a:t>
                      </a:r>
                      <a:endParaRPr lang="en-US" sz="14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41E49"/>
                    </a:solidFill>
                  </a:tcPr>
                </a:tc>
                <a:extLst>
                  <a:ext uri="{0D108BD9-81ED-4DB2-BD59-A6C34878D82A}">
                    <a16:rowId xmlns:a16="http://schemas.microsoft.com/office/drawing/2014/main" val="2210504314"/>
                  </a:ext>
                </a:extLst>
              </a:tr>
              <a:tr h="23970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nSpc>
                          <a:spcPct val="100000"/>
                        </a:lnSpc>
                        <a:buNone/>
                      </a:pPr>
                      <a:r>
                        <a:rPr lang="en-US" sz="1400" i="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ny adverse event</a:t>
                      </a:r>
                    </a:p>
                  </a:txBody>
                  <a:tcPr marL="68580" marR="6858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Aptos" panose="020B0004020202020204" pitchFamily="34" charset="0"/>
                          <a:cs typeface="Arial" panose="020B0604020202020204" pitchFamily="34" charset="0"/>
                        </a:rPr>
                        <a:t>242 (100)</a:t>
                      </a:r>
                      <a:endPar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Aptos" panose="020B0004020202020204" pitchFamily="34" charset="0"/>
                          <a:cs typeface="Arial" panose="020B0604020202020204" pitchFamily="34" charset="0"/>
                        </a:rPr>
                        <a:t>219 (90)</a:t>
                      </a:r>
                      <a:endPar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Aptos" panose="020B0004020202020204" pitchFamily="34" charset="0"/>
                          <a:cs typeface="Arial" panose="020B0604020202020204" pitchFamily="34" charset="0"/>
                        </a:rPr>
                        <a:t>235 (99)</a:t>
                      </a:r>
                      <a:endPar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Aptos" panose="020B0004020202020204" pitchFamily="34" charset="0"/>
                          <a:cs typeface="Arial" panose="020B0604020202020204" pitchFamily="34" charset="0"/>
                        </a:rPr>
                        <a:t>161 (68)</a:t>
                      </a:r>
                      <a:endPar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3224073473"/>
                  </a:ext>
                </a:extLst>
              </a:tr>
              <a:tr h="23970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nSpc>
                          <a:spcPct val="100000"/>
                        </a:lnSpc>
                        <a:buNone/>
                      </a:pPr>
                      <a:r>
                        <a:rPr lang="en-US" sz="1400" kern="1200" dirty="0">
                          <a:solidFill>
                            <a:schemeClr val="tx1"/>
                          </a:solidFill>
                          <a:effectLst/>
                          <a:latin typeface="Arial" panose="020B0604020202020204" pitchFamily="34" charset="0"/>
                          <a:ea typeface="+mn-ea"/>
                          <a:cs typeface="Arial" panose="020B0604020202020204" pitchFamily="34" charset="0"/>
                        </a:rPr>
                        <a:t>Serious adverse event </a:t>
                      </a:r>
                      <a:endParaRPr lang="en-US" sz="1400" i="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Aptos" panose="020B0004020202020204" pitchFamily="34" charset="0"/>
                          <a:cs typeface="Arial" panose="020B0604020202020204" pitchFamily="34" charset="0"/>
                        </a:rPr>
                        <a:t>135 (56)</a:t>
                      </a:r>
                      <a:endPar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Aptos" panose="020B0004020202020204" pitchFamily="34" charset="0"/>
                          <a:cs typeface="Arial" panose="020B0604020202020204" pitchFamily="34" charset="0"/>
                        </a:rPr>
                        <a:t>69 (29)</a:t>
                      </a:r>
                      <a:endPar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115938383"/>
                  </a:ext>
                </a:extLst>
              </a:tr>
              <a:tr h="479408">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nSpc>
                          <a:spcPct val="100000"/>
                        </a:lnSpc>
                        <a:buNone/>
                      </a:pPr>
                      <a:r>
                        <a:rPr lang="en-US" sz="1400" i="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dverse event leading to treatment discontinuation</a:t>
                      </a:r>
                    </a:p>
                  </a:txBody>
                  <a:tcPr marL="68580" marR="6858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Aptos" panose="020B0004020202020204" pitchFamily="34" charset="0"/>
                          <a:cs typeface="Arial" panose="020B0604020202020204" pitchFamily="34" charset="0"/>
                        </a:rPr>
                        <a:t>46 (19)</a:t>
                      </a:r>
                      <a:endPar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Aptos" panose="020B0004020202020204" pitchFamily="34" charset="0"/>
                          <a:cs typeface="Arial" panose="020B0604020202020204" pitchFamily="34" charset="0"/>
                        </a:rPr>
                        <a:t>-</a:t>
                      </a:r>
                      <a:endPar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Aptos" panose="020B0004020202020204" pitchFamily="34" charset="0"/>
                          <a:cs typeface="Arial" panose="020B0604020202020204" pitchFamily="34" charset="0"/>
                        </a:rPr>
                        <a:t>29 (12)</a:t>
                      </a:r>
                      <a:endPar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Aptos" panose="020B0004020202020204" pitchFamily="34" charset="0"/>
                          <a:cs typeface="Arial" panose="020B0604020202020204" pitchFamily="34" charset="0"/>
                        </a:rPr>
                        <a:t>-</a:t>
                      </a:r>
                      <a:endPar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2347399231"/>
                  </a:ext>
                </a:extLst>
              </a:tr>
              <a:tr h="23970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nSpc>
                          <a:spcPct val="100000"/>
                        </a:lnSpc>
                        <a:buNone/>
                      </a:pPr>
                      <a:r>
                        <a:rPr lang="en-US" sz="1400" i="1"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Epcoritamab</a:t>
                      </a:r>
                    </a:p>
                  </a:txBody>
                  <a:tcPr marL="68580" marR="6858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Aptos" panose="020B0004020202020204" pitchFamily="34" charset="0"/>
                          <a:cs typeface="Arial" panose="020B0604020202020204" pitchFamily="34" charset="0"/>
                        </a:rPr>
                        <a:t>21 (9)</a:t>
                      </a:r>
                      <a:endPar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3277570020"/>
                  </a:ext>
                </a:extLst>
              </a:tr>
              <a:tr h="23970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nSpc>
                          <a:spcPct val="100000"/>
                        </a:lnSpc>
                        <a:buNone/>
                      </a:pPr>
                      <a:r>
                        <a:rPr lang="en-US" sz="1400" i="1"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Rituximab</a:t>
                      </a:r>
                    </a:p>
                  </a:txBody>
                  <a:tcPr marL="68580" marR="6858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Aptos" panose="020B0004020202020204" pitchFamily="34" charset="0"/>
                          <a:cs typeface="Arial" panose="020B0604020202020204" pitchFamily="34" charset="0"/>
                        </a:rPr>
                        <a:t>7 (3)</a:t>
                      </a:r>
                      <a:endPar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Aptos" panose="020B0004020202020204" pitchFamily="34" charset="0"/>
                          <a:cs typeface="Arial" panose="020B0604020202020204" pitchFamily="34" charset="0"/>
                        </a:rPr>
                        <a:t>12 (5)</a:t>
                      </a:r>
                      <a:endPar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2976444227"/>
                  </a:ext>
                </a:extLst>
              </a:tr>
              <a:tr h="23970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nSpc>
                          <a:spcPct val="100000"/>
                        </a:lnSpc>
                        <a:buNone/>
                      </a:pPr>
                      <a:r>
                        <a:rPr lang="en-US" sz="1400" i="1"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Lenalidomide</a:t>
                      </a:r>
                    </a:p>
                  </a:txBody>
                  <a:tcPr marL="68580" marR="6858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Aptos" panose="020B0004020202020204" pitchFamily="34" charset="0"/>
                          <a:cs typeface="Arial" panose="020B0604020202020204" pitchFamily="34" charset="0"/>
                        </a:rPr>
                        <a:t>45 (19)</a:t>
                      </a:r>
                      <a:endPar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Aptos" panose="020B0004020202020204" pitchFamily="34" charset="0"/>
                          <a:cs typeface="Arial" panose="020B0604020202020204" pitchFamily="34" charset="0"/>
                        </a:rPr>
                        <a:t>29 (12)</a:t>
                      </a:r>
                      <a:endPar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3233841658"/>
                  </a:ext>
                </a:extLst>
              </a:tr>
              <a:tr h="23970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nSpc>
                          <a:spcPct val="100000"/>
                        </a:lnSpc>
                        <a:buNone/>
                      </a:pPr>
                      <a:r>
                        <a:rPr lang="en-US" sz="1400" i="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dverse event of clinical interest &gt; 20%</a:t>
                      </a:r>
                      <a:r>
                        <a:rPr lang="en-US" sz="1400" i="0" baseline="300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b</a:t>
                      </a:r>
                    </a:p>
                  </a:txBody>
                  <a:tcPr marL="68580" marR="6858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buNone/>
                      </a:pPr>
                      <a:endPar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buNone/>
                      </a:pPr>
                      <a:endPar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buNone/>
                      </a:pPr>
                      <a:endPar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buNone/>
                      </a:pPr>
                      <a:endPar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15569744"/>
                  </a:ext>
                </a:extLst>
              </a:tr>
              <a:tr h="23970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nSpc>
                          <a:spcPct val="100000"/>
                        </a:lnSpc>
                        <a:buNone/>
                      </a:pPr>
                      <a:r>
                        <a:rPr lang="en-US" sz="1400" i="1"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r>
                        <a:rPr lang="en-US" sz="1400" i="1" dirty="0" err="1">
                          <a:solidFill>
                            <a:schemeClr val="tx1"/>
                          </a:solidFill>
                          <a:effectLst/>
                          <a:latin typeface="Arial" panose="020B0604020202020204" pitchFamily="34" charset="0"/>
                          <a:ea typeface="Times New Roman" panose="02020603050405020304" pitchFamily="18" charset="0"/>
                          <a:cs typeface="Arial" panose="020B0604020202020204" pitchFamily="34" charset="0"/>
                        </a:rPr>
                        <a:t>Infections</a:t>
                      </a:r>
                      <a:r>
                        <a:rPr lang="en-US" sz="1400" i="1" baseline="30000" dirty="0" err="1">
                          <a:solidFill>
                            <a:schemeClr val="tx1"/>
                          </a:solidFill>
                          <a:effectLst/>
                          <a:latin typeface="Arial" panose="020B0604020202020204" pitchFamily="34" charset="0"/>
                          <a:ea typeface="Times New Roman" panose="02020603050405020304" pitchFamily="18" charset="0"/>
                          <a:cs typeface="Arial" panose="020B0604020202020204" pitchFamily="34" charset="0"/>
                        </a:rPr>
                        <a:t>c</a:t>
                      </a:r>
                      <a:endParaRPr lang="en-US" sz="1400" i="1" baseline="300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188 (77)</a:t>
                      </a: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Aptos" panose="020B0004020202020204" pitchFamily="34" charset="0"/>
                          <a:cs typeface="Arial" panose="020B0604020202020204" pitchFamily="34" charset="0"/>
                        </a:rPr>
                        <a:t>81 (33)</a:t>
                      </a:r>
                      <a:endPar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125 (53)</a:t>
                      </a: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Aptos" panose="020B0004020202020204" pitchFamily="34" charset="0"/>
                          <a:cs typeface="Arial" panose="020B0604020202020204" pitchFamily="34" charset="0"/>
                        </a:rPr>
                        <a:t>37 (16)</a:t>
                      </a:r>
                      <a:endPar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863418482"/>
                  </a:ext>
                </a:extLst>
              </a:tr>
              <a:tr h="23970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nSpc>
                          <a:spcPct val="100000"/>
                        </a:lnSpc>
                        <a:buNone/>
                      </a:pPr>
                      <a:r>
                        <a:rPr lang="en-US" sz="1400" i="1"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Neutropenia</a:t>
                      </a:r>
                    </a:p>
                  </a:txBody>
                  <a:tcPr marL="68580" marR="6858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180 (74)</a:t>
                      </a: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Aptos" panose="020B0004020202020204" pitchFamily="34" charset="0"/>
                          <a:cs typeface="Arial" panose="020B0604020202020204" pitchFamily="34" charset="0"/>
                        </a:rPr>
                        <a:t>167 (69)</a:t>
                      </a:r>
                      <a:endPar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123 (52)</a:t>
                      </a: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Aptos" panose="020B0004020202020204" pitchFamily="34" charset="0"/>
                          <a:cs typeface="Arial" panose="020B0604020202020204" pitchFamily="34" charset="0"/>
                        </a:rPr>
                        <a:t>100 (42)</a:t>
                      </a:r>
                      <a:endPar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61206903"/>
                  </a:ext>
                </a:extLst>
              </a:tr>
              <a:tr h="23970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nSpc>
                          <a:spcPct val="100000"/>
                        </a:lnSpc>
                        <a:buNone/>
                      </a:pPr>
                      <a:r>
                        <a:rPr lang="en-US" sz="1400" i="1"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Cytokine release syndrome</a:t>
                      </a:r>
                      <a:endParaRPr lang="en-US" sz="1400" i="1" baseline="300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85 (35)</a:t>
                      </a: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1 (&lt; 1)</a:t>
                      </a: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86934869"/>
                  </a:ext>
                </a:extLst>
              </a:tr>
              <a:tr h="23970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nSpc>
                          <a:spcPct val="100000"/>
                        </a:lnSpc>
                        <a:buNone/>
                      </a:pPr>
                      <a:r>
                        <a:rPr lang="en-US" sz="1400" i="1"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r>
                        <a:rPr lang="en-US" sz="1400" b="0" i="1"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nemia</a:t>
                      </a:r>
                      <a:endParaRPr lang="en-US" sz="1400" b="0" i="1" baseline="300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68 (28)</a:t>
                      </a: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Aptos" panose="020B0004020202020204" pitchFamily="34" charset="0"/>
                          <a:cs typeface="Arial" panose="020B0604020202020204" pitchFamily="34" charset="0"/>
                        </a:rPr>
                        <a:t>19 (8)</a:t>
                      </a:r>
                      <a:endPar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41 (17)</a:t>
                      </a: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Aptos" panose="020B0004020202020204" pitchFamily="34" charset="0"/>
                          <a:cs typeface="Arial" panose="020B0604020202020204" pitchFamily="34" charset="0"/>
                        </a:rPr>
                        <a:t>11 (5)</a:t>
                      </a:r>
                      <a:endPar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34930463"/>
                  </a:ext>
                </a:extLst>
              </a:tr>
              <a:tr h="25218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nSpc>
                          <a:spcPct val="100000"/>
                        </a:lnSpc>
                        <a:buNone/>
                      </a:pPr>
                      <a:r>
                        <a:rPr lang="en-US" sz="1400" i="1"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Thrombocytopenia</a:t>
                      </a:r>
                    </a:p>
                  </a:txBody>
                  <a:tcPr marL="68580" marR="6858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15000"/>
                        </a:lnSpc>
                        <a:buNone/>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67 (28)</a:t>
                      </a: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15000"/>
                        </a:lnSpc>
                        <a:buNone/>
                      </a:pPr>
                      <a:r>
                        <a:rPr lang="en-US" sz="1400" dirty="0">
                          <a:solidFill>
                            <a:schemeClr val="tx1"/>
                          </a:solidFill>
                          <a:effectLst/>
                          <a:latin typeface="Arial" panose="020B0604020202020204" pitchFamily="34" charset="0"/>
                          <a:ea typeface="Aptos" panose="020B0004020202020204" pitchFamily="34" charset="0"/>
                          <a:cs typeface="Arial" panose="020B0604020202020204" pitchFamily="34" charset="0"/>
                        </a:rPr>
                        <a:t>23 (9)</a:t>
                      </a:r>
                      <a:endPar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15000"/>
                        </a:lnSpc>
                        <a:buNone/>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44 (18)</a:t>
                      </a: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15000"/>
                        </a:lnSpc>
                        <a:buNone/>
                      </a:pPr>
                      <a:r>
                        <a:rPr lang="en-US" sz="1400" dirty="0">
                          <a:solidFill>
                            <a:schemeClr val="tx1"/>
                          </a:solidFill>
                          <a:effectLst/>
                          <a:latin typeface="Arial" panose="020B0604020202020204" pitchFamily="34" charset="0"/>
                          <a:ea typeface="Aptos" panose="020B0004020202020204" pitchFamily="34" charset="0"/>
                          <a:cs typeface="Arial" panose="020B0604020202020204" pitchFamily="34" charset="0"/>
                        </a:rPr>
                        <a:t>15 (6)</a:t>
                      </a:r>
                      <a:endPar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98515264"/>
                  </a:ext>
                </a:extLst>
              </a:tr>
              <a:tr h="23970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nSpc>
                          <a:spcPct val="100000"/>
                        </a:lnSpc>
                        <a:buNone/>
                      </a:pPr>
                      <a:r>
                        <a:rPr lang="en-US" sz="1400" i="1"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Pyrexia</a:t>
                      </a:r>
                    </a:p>
                  </a:txBody>
                  <a:tcPr marL="68580" marR="6858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58 (24)</a:t>
                      </a: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Aptos" panose="020B0004020202020204" pitchFamily="34" charset="0"/>
                          <a:cs typeface="Arial" panose="020B0604020202020204" pitchFamily="34" charset="0"/>
                        </a:rPr>
                        <a:t>1 (&lt; 1)</a:t>
                      </a:r>
                      <a:endPar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33 (14)</a:t>
                      </a: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Aptos" panose="020B0004020202020204" pitchFamily="34" charset="0"/>
                          <a:cs typeface="Arial" panose="020B0604020202020204" pitchFamily="34" charset="0"/>
                        </a:rPr>
                        <a:t>3 (1)</a:t>
                      </a:r>
                      <a:endPar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06854841"/>
                  </a:ext>
                </a:extLst>
              </a:tr>
              <a:tr h="23970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nSpc>
                          <a:spcPct val="100000"/>
                        </a:lnSpc>
                        <a:buNone/>
                      </a:pPr>
                      <a:r>
                        <a:rPr lang="en-US" sz="1400" i="1"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Rash</a:t>
                      </a:r>
                    </a:p>
                  </a:txBody>
                  <a:tcPr marL="68580" marR="6858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58 (24)</a:t>
                      </a: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Aptos" panose="020B0004020202020204" pitchFamily="34" charset="0"/>
                          <a:cs typeface="Arial" panose="020B0604020202020204" pitchFamily="34" charset="0"/>
                        </a:rPr>
                        <a:t>19 (8)</a:t>
                      </a:r>
                      <a:endPar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53 (22)</a:t>
                      </a: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buNone/>
                      </a:pPr>
                      <a:r>
                        <a:rPr lang="en-US" sz="1400" dirty="0">
                          <a:solidFill>
                            <a:schemeClr val="tx1"/>
                          </a:solidFill>
                          <a:effectLst/>
                          <a:latin typeface="Arial" panose="020B0604020202020204" pitchFamily="34" charset="0"/>
                          <a:ea typeface="Aptos" panose="020B0004020202020204" pitchFamily="34" charset="0"/>
                          <a:cs typeface="Arial" panose="020B0604020202020204" pitchFamily="34" charset="0"/>
                        </a:rPr>
                        <a:t>9 (4)</a:t>
                      </a:r>
                      <a:endPar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04865078"/>
                  </a:ext>
                </a:extLst>
              </a:tr>
              <a:tr h="25218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nSpc>
                          <a:spcPct val="100000"/>
                        </a:lnSpc>
                        <a:buNone/>
                      </a:pPr>
                      <a:r>
                        <a:rPr lang="en-US" sz="1400" i="1"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COVID-19</a:t>
                      </a:r>
                    </a:p>
                  </a:txBody>
                  <a:tcPr marL="68580" marR="6858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15000"/>
                        </a:lnSpc>
                        <a:buNone/>
                      </a:pPr>
                      <a:r>
                        <a:rPr lang="en-US"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54 (22)</a:t>
                      </a:r>
                      <a:endParaRPr lang="en-US" sz="14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15000"/>
                        </a:lnSpc>
                        <a:buNone/>
                      </a:pPr>
                      <a:r>
                        <a:rPr lang="en-US" sz="1400" dirty="0">
                          <a:solidFill>
                            <a:srgbClr val="000000"/>
                          </a:solidFill>
                          <a:effectLst/>
                          <a:latin typeface="Arial" panose="020B0604020202020204" pitchFamily="34" charset="0"/>
                          <a:ea typeface="Aptos" panose="020B0004020202020204" pitchFamily="34" charset="0"/>
                          <a:cs typeface="Arial" panose="020B0604020202020204" pitchFamily="34" charset="0"/>
                        </a:rPr>
                        <a:t>7 (3)</a:t>
                      </a:r>
                      <a:endParaRPr lang="en-US" sz="14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15000"/>
                        </a:lnSpc>
                        <a:buNone/>
                      </a:pPr>
                      <a:r>
                        <a:rPr lang="en-US"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32 (13)</a:t>
                      </a:r>
                      <a:endParaRPr lang="en-US" sz="14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15000"/>
                        </a:lnSpc>
                        <a:buNone/>
                      </a:pPr>
                      <a:r>
                        <a:rPr lang="en-US" sz="1400" dirty="0">
                          <a:solidFill>
                            <a:srgbClr val="000000"/>
                          </a:solidFill>
                          <a:effectLst/>
                          <a:latin typeface="Arial" panose="020B0604020202020204" pitchFamily="34" charset="0"/>
                          <a:ea typeface="Aptos" panose="020B0004020202020204" pitchFamily="34" charset="0"/>
                          <a:cs typeface="Arial" panose="020B0604020202020204" pitchFamily="34" charset="0"/>
                        </a:rPr>
                        <a:t>4 (2)</a:t>
                      </a:r>
                      <a:endParaRPr lang="en-US" sz="14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06403401"/>
                  </a:ext>
                </a:extLst>
              </a:tr>
            </a:tbl>
          </a:graphicData>
        </a:graphic>
      </p:graphicFrame>
      <p:sp>
        <p:nvSpPr>
          <p:cNvPr id="3" name="TextBox 2">
            <a:extLst>
              <a:ext uri="{FF2B5EF4-FFF2-40B4-BE49-F238E27FC236}">
                <a16:creationId xmlns:a16="http://schemas.microsoft.com/office/drawing/2014/main" id="{D4EF4F47-5C3C-C478-3C40-837E55029662}"/>
              </a:ext>
            </a:extLst>
          </p:cNvPr>
          <p:cNvSpPr txBox="1"/>
          <p:nvPr/>
        </p:nvSpPr>
        <p:spPr>
          <a:xfrm>
            <a:off x="597015" y="6178897"/>
            <a:ext cx="11036567" cy="276999"/>
          </a:xfrm>
          <a:prstGeom prst="rect">
            <a:avLst/>
          </a:prstGeom>
          <a:noFill/>
        </p:spPr>
        <p:txBody>
          <a:bodyPr wrap="squar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30000" noProof="0" dirty="0" err="1">
                <a:ln>
                  <a:noFill/>
                </a:ln>
                <a:solidFill>
                  <a:srgbClr val="000000"/>
                </a:solidFill>
                <a:effectLst/>
                <a:uLnTx/>
                <a:uFillTx/>
                <a:latin typeface="Arial"/>
                <a:ea typeface="+mn-ea"/>
                <a:cs typeface="Arial"/>
              </a:rPr>
              <a:t>a</a:t>
            </a:r>
            <a:r>
              <a:rPr kumimoji="0" lang="en-US" sz="900" b="0" i="0" u="none" strike="noStrike" kern="0" cap="none" spc="0" normalizeH="0" baseline="0" noProof="0" dirty="0" err="1">
                <a:ln>
                  <a:noFill/>
                </a:ln>
                <a:solidFill>
                  <a:srgbClr val="000000"/>
                </a:solidFill>
                <a:effectLst/>
                <a:uLnTx/>
                <a:uFillTx/>
                <a:latin typeface="Arial"/>
                <a:ea typeface="+mn-ea"/>
                <a:cs typeface="Arial"/>
              </a:rPr>
              <a:t>Neutropenia</a:t>
            </a:r>
            <a:r>
              <a:rPr kumimoji="0" lang="en-US" sz="900" b="0" i="0" u="none" strike="noStrike" kern="0" cap="none" spc="0" normalizeH="0" baseline="0" noProof="0" dirty="0">
                <a:ln>
                  <a:noFill/>
                </a:ln>
                <a:solidFill>
                  <a:srgbClr val="000000"/>
                </a:solidFill>
                <a:effectLst/>
                <a:uLnTx/>
                <a:uFillTx/>
                <a:latin typeface="Arial"/>
                <a:ea typeface="+mn-ea"/>
                <a:cs typeface="Arial"/>
              </a:rPr>
              <a:t>, anemia, pyrexia, rash and COVID-19 are grouped terms comprising multiple clinically related Preferred Terms.</a:t>
            </a:r>
            <a:r>
              <a:rPr kumimoji="0" lang="en-US" sz="900" b="0" i="0" u="none" strike="noStrike" kern="0" cap="none" spc="0" normalizeH="0" baseline="30000" noProof="0" dirty="0">
                <a:ln>
                  <a:noFill/>
                </a:ln>
                <a:solidFill>
                  <a:srgbClr val="000000"/>
                </a:solidFill>
                <a:effectLst/>
                <a:uLnTx/>
                <a:uFillTx/>
                <a:latin typeface="Arial"/>
                <a:ea typeface="+mn-ea"/>
                <a:cs typeface="Arial"/>
              </a:rPr>
              <a:t> </a:t>
            </a:r>
            <a:r>
              <a:rPr kumimoji="0" lang="en-US" sz="900" b="0" i="0" u="none" strike="noStrike" kern="0" cap="none" spc="0" normalizeH="0" baseline="30000" noProof="0" dirty="0" err="1">
                <a:ln>
                  <a:noFill/>
                </a:ln>
                <a:solidFill>
                  <a:srgbClr val="000000"/>
                </a:solidFill>
                <a:effectLst/>
                <a:uLnTx/>
                <a:uFillTx/>
                <a:latin typeface="Arial"/>
                <a:ea typeface="+mn-ea"/>
                <a:cs typeface="Arial"/>
              </a:rPr>
              <a:t>b</a:t>
            </a:r>
            <a:r>
              <a:rPr kumimoji="0" lang="en-US" sz="900" b="0" i="0" u="none" strike="noStrike" kern="0" cap="none" spc="0" normalizeH="0" baseline="0" noProof="0" dirty="0" err="1">
                <a:ln>
                  <a:noFill/>
                </a:ln>
                <a:solidFill>
                  <a:srgbClr val="000000"/>
                </a:solidFill>
                <a:effectLst/>
                <a:uLnTx/>
                <a:uFillTx/>
                <a:latin typeface="Arial"/>
                <a:ea typeface="+mn-ea"/>
                <a:cs typeface="Arial"/>
              </a:rPr>
              <a:t>This</a:t>
            </a:r>
            <a:r>
              <a:rPr kumimoji="0" lang="en-US" sz="900" b="0" i="0" u="none" strike="noStrike" kern="0" cap="none" spc="0" normalizeH="0" baseline="0" noProof="0" dirty="0">
                <a:ln>
                  <a:noFill/>
                </a:ln>
                <a:solidFill>
                  <a:srgbClr val="000000"/>
                </a:solidFill>
                <a:effectLst/>
                <a:uLnTx/>
                <a:uFillTx/>
                <a:latin typeface="Arial"/>
                <a:ea typeface="+mn-ea"/>
                <a:cs typeface="Arial"/>
              </a:rPr>
              <a:t> includes the AESI of CRS. </a:t>
            </a:r>
            <a:r>
              <a:rPr kumimoji="0" lang="en-US" sz="900" b="0" i="0" u="none" strike="noStrike" kern="0" cap="none" spc="0" normalizeH="0" baseline="30000" noProof="0" dirty="0" err="1">
                <a:ln>
                  <a:noFill/>
                </a:ln>
                <a:solidFill>
                  <a:srgbClr val="000000"/>
                </a:solidFill>
                <a:effectLst/>
                <a:uLnTx/>
                <a:uFillTx/>
                <a:latin typeface="Arial"/>
                <a:ea typeface="+mn-ea"/>
                <a:cs typeface="Arial"/>
              </a:rPr>
              <a:t>c</a:t>
            </a:r>
            <a:r>
              <a:rPr kumimoji="0" lang="en-US" sz="900" b="0" i="0" u="none" strike="noStrike" kern="0" cap="none" spc="0" normalizeH="0" baseline="0" noProof="0" dirty="0" err="1">
                <a:ln>
                  <a:noFill/>
                </a:ln>
                <a:solidFill>
                  <a:srgbClr val="000000"/>
                </a:solidFill>
                <a:effectLst/>
                <a:uLnTx/>
                <a:uFillTx/>
                <a:latin typeface="Arial"/>
                <a:ea typeface="+mn-ea"/>
                <a:cs typeface="Arial"/>
              </a:rPr>
              <a:t>Events</a:t>
            </a:r>
            <a:r>
              <a:rPr kumimoji="0" lang="en-US" sz="900" b="0" i="0" u="none" strike="noStrike" kern="0" cap="none" spc="0" normalizeH="0" baseline="0" noProof="0" dirty="0">
                <a:ln>
                  <a:noFill/>
                </a:ln>
                <a:solidFill>
                  <a:srgbClr val="000000"/>
                </a:solidFill>
                <a:effectLst/>
                <a:uLnTx/>
                <a:uFillTx/>
                <a:latin typeface="Arial"/>
                <a:ea typeface="+mn-ea"/>
                <a:cs typeface="Arial"/>
              </a:rPr>
              <a:t> were in the MedDRA system organ class “Infections and Infestations.” No grade 5 infections were reported. </a:t>
            </a:r>
          </a:p>
        </p:txBody>
      </p:sp>
      <p:sp>
        <p:nvSpPr>
          <p:cNvPr id="6" name="Title 2">
            <a:extLst>
              <a:ext uri="{FF2B5EF4-FFF2-40B4-BE49-F238E27FC236}">
                <a16:creationId xmlns:a16="http://schemas.microsoft.com/office/drawing/2014/main" id="{C2CC9CF3-4546-E140-706A-AF8C1F5476C3}"/>
              </a:ext>
            </a:extLst>
          </p:cNvPr>
          <p:cNvSpPr txBox="1">
            <a:spLocks/>
          </p:cNvSpPr>
          <p:nvPr/>
        </p:nvSpPr>
        <p:spPr>
          <a:xfrm>
            <a:off x="575998" y="381690"/>
            <a:ext cx="11502588" cy="505668"/>
          </a:xfrm>
          <a:prstGeom prst="rect">
            <a:avLst/>
          </a:prstGeom>
        </p:spPr>
        <p:txBody>
          <a:bodyPr vert="horz" lIns="0" tIns="0" rIns="0" bIns="0" rtlCol="0" anchor="t" anchorCtr="0">
            <a:noAutofit/>
          </a:bodyPr>
          <a:lstStyle>
            <a:lvl1pPr algn="l" defTabSz="914400" rtl="0" eaLnBrk="1" latinLnBrk="0" hangingPunct="1">
              <a:lnSpc>
                <a:spcPct val="95000"/>
              </a:lnSpc>
              <a:spcBef>
                <a:spcPct val="0"/>
              </a:spcBef>
              <a:buNone/>
              <a:defRPr sz="2800" b="1" kern="1200">
                <a:solidFill>
                  <a:srgbClr val="00A195"/>
                </a:solidFill>
                <a:latin typeface="+mj-lt"/>
                <a:ea typeface="+mj-ea"/>
                <a:cs typeface="+mj-cs"/>
              </a:defRPr>
            </a:lvl1pPr>
          </a:lstStyle>
          <a:p>
            <a:pPr marL="0" marR="0" lvl="0" indent="0" algn="l" defTabSz="609493"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B050"/>
                </a:solidFill>
                <a:effectLst/>
                <a:uLnTx/>
                <a:uFillTx/>
                <a:latin typeface="Arial" panose="020B0604020202020204"/>
                <a:ea typeface="+mj-ea"/>
                <a:cs typeface="+mj-cs"/>
              </a:rPr>
              <a:t>EPCORE FL-1: Safety</a:t>
            </a:r>
          </a:p>
        </p:txBody>
      </p:sp>
      <p:sp>
        <p:nvSpPr>
          <p:cNvPr id="11" name="TextBox 10">
            <a:extLst>
              <a:ext uri="{FF2B5EF4-FFF2-40B4-BE49-F238E27FC236}">
                <a16:creationId xmlns:a16="http://schemas.microsoft.com/office/drawing/2014/main" id="{0D2B74D3-0A04-BF53-9C8A-0AAE240B34C2}"/>
              </a:ext>
            </a:extLst>
          </p:cNvPr>
          <p:cNvSpPr txBox="1"/>
          <p:nvPr/>
        </p:nvSpPr>
        <p:spPr>
          <a:xfrm>
            <a:off x="10229407" y="74603"/>
            <a:ext cx="1811393"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pcoritamab+R</a:t>
            </a:r>
            <a:r>
              <a:rPr kumimoji="0" lang="en-US" sz="1200" b="0" i="0" u="none" strike="noStrike" kern="120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rPr>
              <a:t>2</a:t>
            </a: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in R/R FL</a:t>
            </a:r>
          </a:p>
        </p:txBody>
      </p:sp>
      <p:pic>
        <p:nvPicPr>
          <p:cNvPr id="12" name="Picture 11" descr="A graph with numbers and a bar graph&#10;&#10;AI-generated content may be incorrect.">
            <a:extLst>
              <a:ext uri="{FF2B5EF4-FFF2-40B4-BE49-F238E27FC236}">
                <a16:creationId xmlns:a16="http://schemas.microsoft.com/office/drawing/2014/main" id="{AB33BEAD-2AD8-085F-6BC4-E4E50CB7480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97300" y="939705"/>
            <a:ext cx="5143500" cy="5092700"/>
          </a:xfrm>
          <a:prstGeom prst="rect">
            <a:avLst/>
          </a:prstGeom>
        </p:spPr>
      </p:pic>
    </p:spTree>
    <p:extLst>
      <p:ext uri="{BB962C8B-B14F-4D97-AF65-F5344CB8AC3E}">
        <p14:creationId xmlns:p14="http://schemas.microsoft.com/office/powerpoint/2010/main" val="2578898191"/>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9CD7266-A011-99B0-147D-E5439F8C6C23}"/>
              </a:ext>
            </a:extLst>
          </p:cNvPr>
          <p:cNvPicPr>
            <a:picLocks noChangeAspect="1"/>
          </p:cNvPicPr>
          <p:nvPr/>
        </p:nvPicPr>
        <p:blipFill>
          <a:blip r:embed="rId3"/>
          <a:stretch>
            <a:fillRect/>
          </a:stretch>
        </p:blipFill>
        <p:spPr>
          <a:xfrm>
            <a:off x="6259132" y="0"/>
            <a:ext cx="5932868" cy="6858000"/>
          </a:xfrm>
          <a:prstGeom prst="rect">
            <a:avLst/>
          </a:prstGeom>
        </p:spPr>
      </p:pic>
      <p:pic>
        <p:nvPicPr>
          <p:cNvPr id="5" name="Content Placeholder 4" descr="A blue screen with white text&#10;&#10;AI-generated content may be incorrect.">
            <a:extLst>
              <a:ext uri="{FF2B5EF4-FFF2-40B4-BE49-F238E27FC236}">
                <a16:creationId xmlns:a16="http://schemas.microsoft.com/office/drawing/2014/main" id="{CAAE30C3-1838-51FB-8187-B2B12C39218F}"/>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a:off x="0" y="0"/>
            <a:ext cx="6259132" cy="3313000"/>
          </a:xfrm>
          <a:prstGeom prst="rect">
            <a:avLst/>
          </a:prstGeom>
        </p:spPr>
      </p:pic>
      <p:pic>
        <p:nvPicPr>
          <p:cNvPr id="6" name="Picture 5">
            <a:extLst>
              <a:ext uri="{FF2B5EF4-FFF2-40B4-BE49-F238E27FC236}">
                <a16:creationId xmlns:a16="http://schemas.microsoft.com/office/drawing/2014/main" id="{43C7096A-C291-CF9B-B4D9-7A4ACAFD5C28}"/>
              </a:ext>
            </a:extLst>
          </p:cNvPr>
          <p:cNvPicPr>
            <a:picLocks noChangeAspect="1"/>
          </p:cNvPicPr>
          <p:nvPr/>
        </p:nvPicPr>
        <p:blipFill>
          <a:blip r:embed="rId5"/>
          <a:stretch>
            <a:fillRect/>
          </a:stretch>
        </p:blipFill>
        <p:spPr>
          <a:xfrm>
            <a:off x="0" y="3313000"/>
            <a:ext cx="6259132" cy="3545000"/>
          </a:xfrm>
          <a:prstGeom prst="rect">
            <a:avLst/>
          </a:prstGeom>
        </p:spPr>
      </p:pic>
    </p:spTree>
    <p:extLst>
      <p:ext uri="{BB962C8B-B14F-4D97-AF65-F5344CB8AC3E}">
        <p14:creationId xmlns:p14="http://schemas.microsoft.com/office/powerpoint/2010/main" val="40885445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BB1CFB-50B9-65CC-E07B-43B3BF930189}"/>
              </a:ext>
            </a:extLst>
          </p:cNvPr>
          <p:cNvSpPr>
            <a:spLocks noGrp="1"/>
          </p:cNvSpPr>
          <p:nvPr>
            <p:ph type="title"/>
          </p:nvPr>
        </p:nvSpPr>
        <p:spPr>
          <a:xfrm>
            <a:off x="365760" y="0"/>
            <a:ext cx="11460479" cy="915035"/>
          </a:xfrm>
        </p:spPr>
        <p:txBody>
          <a:bodyPr/>
          <a:lstStyle/>
          <a:p>
            <a:r>
              <a:rPr lang="en-US" dirty="0"/>
              <a:t>                              </a:t>
            </a:r>
            <a:r>
              <a:rPr lang="en-US" sz="3200" dirty="0">
                <a:latin typeface="Arial" panose="020B0604020202020204" pitchFamily="34" charset="0"/>
                <a:cs typeface="Arial" panose="020B0604020202020204" pitchFamily="34" charset="0"/>
              </a:rPr>
              <a:t>Efficacy and Safety </a:t>
            </a:r>
          </a:p>
        </p:txBody>
      </p:sp>
      <p:sp>
        <p:nvSpPr>
          <p:cNvPr id="5" name="Footer Placeholder 4">
            <a:extLst>
              <a:ext uri="{FF2B5EF4-FFF2-40B4-BE49-F238E27FC236}">
                <a16:creationId xmlns:a16="http://schemas.microsoft.com/office/drawing/2014/main" id="{6226C2D8-7AA5-B46B-D5A1-5DE5C074C6E2}"/>
              </a:ext>
            </a:extLst>
          </p:cNvPr>
          <p:cNvSpPr txBox="1">
            <a:spLocks noGrp="1"/>
          </p:cNvSpPr>
          <p:nvPr>
            <p:ph type="ftr" sz="quarter" idx="11"/>
          </p:nvPr>
        </p:nvSpPr>
        <p:spPr>
          <a:xfrm>
            <a:off x="318751" y="6168310"/>
            <a:ext cx="10515600" cy="365125"/>
          </a:xfrm>
          <a:prstGeom prst="rect">
            <a:avLst/>
          </a:prstGeom>
          <a:noFill/>
        </p:spPr>
        <p:txBody>
          <a:bodyPr wrap="none" rtlCol="0">
            <a:spAutoFit/>
          </a:bodyPr>
          <a:lstStyle/>
          <a:p>
            <a:pPr marL="0" marR="0" lvl="0" indent="0" algn="l" defTabSz="60949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ano D et al. ASH 2025;Abstract 2295.</a:t>
            </a:r>
          </a:p>
        </p:txBody>
      </p:sp>
      <p:pic>
        <p:nvPicPr>
          <p:cNvPr id="7" name="Picture 6" descr="A screenshot of a medical survey&#10;&#10;AI-generated content may be incorrect.">
            <a:extLst>
              <a:ext uri="{FF2B5EF4-FFF2-40B4-BE49-F238E27FC236}">
                <a16:creationId xmlns:a16="http://schemas.microsoft.com/office/drawing/2014/main" id="{5077C108-C6F0-9C28-8B1B-767469EA792D}"/>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tretch>
            <a:fillRect/>
          </a:stretch>
        </p:blipFill>
        <p:spPr>
          <a:xfrm>
            <a:off x="365760" y="1558343"/>
            <a:ext cx="5944887" cy="3464919"/>
          </a:xfrm>
          <a:prstGeom prst="rect">
            <a:avLst/>
          </a:prstGeom>
        </p:spPr>
      </p:pic>
      <p:pic>
        <p:nvPicPr>
          <p:cNvPr id="9" name="Picture 8" descr="A screenshot of a medical survey&#10;&#10;AI-generated content may be incorrect.">
            <a:extLst>
              <a:ext uri="{FF2B5EF4-FFF2-40B4-BE49-F238E27FC236}">
                <a16:creationId xmlns:a16="http://schemas.microsoft.com/office/drawing/2014/main" id="{73FFF579-A50E-0A34-C191-34734B8C45B7}"/>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 uri="{28A0092B-C50C-407E-A947-70E740481C1C}">
                <a14:useLocalDpi xmlns:a14="http://schemas.microsoft.com/office/drawing/2010/main" val="0"/>
              </a:ext>
            </a:extLst>
          </a:blip>
          <a:stretch>
            <a:fillRect/>
          </a:stretch>
        </p:blipFill>
        <p:spPr>
          <a:xfrm>
            <a:off x="6591699" y="881415"/>
            <a:ext cx="5450578" cy="5801934"/>
          </a:xfrm>
          <a:prstGeom prst="rect">
            <a:avLst/>
          </a:prstGeom>
        </p:spPr>
      </p:pic>
    </p:spTree>
    <p:extLst>
      <p:ext uri="{BB962C8B-B14F-4D97-AF65-F5344CB8AC3E}">
        <p14:creationId xmlns:p14="http://schemas.microsoft.com/office/powerpoint/2010/main" val="3045166449"/>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close-up of a medical report&#10;&#10;AI-generated content may be incorrect.">
            <a:extLst>
              <a:ext uri="{FF2B5EF4-FFF2-40B4-BE49-F238E27FC236}">
                <a16:creationId xmlns:a16="http://schemas.microsoft.com/office/drawing/2014/main" id="{8677B7BD-1280-5343-68ED-8AADAA7C41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1554" y="130138"/>
            <a:ext cx="11590595" cy="6597723"/>
          </a:xfrm>
          <a:prstGeom prst="rect">
            <a:avLst/>
          </a:prstGeom>
        </p:spPr>
      </p:pic>
    </p:spTree>
    <p:extLst>
      <p:ext uri="{BB962C8B-B14F-4D97-AF65-F5344CB8AC3E}">
        <p14:creationId xmlns:p14="http://schemas.microsoft.com/office/powerpoint/2010/main" val="5854584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06F17A-89BB-978A-FA3D-9C69771E162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D287643-A6D2-E96B-A93A-1BCB4A55B751}"/>
              </a:ext>
            </a:extLst>
          </p:cNvPr>
          <p:cNvSpPr>
            <a:spLocks noGrp="1"/>
          </p:cNvSpPr>
          <p:nvPr>
            <p:ph type="title"/>
          </p:nvPr>
        </p:nvSpPr>
        <p:spPr>
          <a:xfrm>
            <a:off x="531971" y="244015"/>
            <a:ext cx="11423957" cy="906658"/>
          </a:xfrm>
        </p:spPr>
        <p:txBody>
          <a:bodyPr>
            <a:normAutofit fontScale="90000"/>
          </a:bodyPr>
          <a:lstStyle/>
          <a:p>
            <a:r>
              <a:rPr lang="en-US" noProof="0" dirty="0" err="1"/>
              <a:t>MorningSun</a:t>
            </a:r>
            <a:r>
              <a:rPr lang="en-US" noProof="0" dirty="0"/>
              <a:t> Phase II Study: SC </a:t>
            </a:r>
            <a:r>
              <a:rPr lang="en-US" noProof="0" dirty="0" err="1"/>
              <a:t>Mosun</a:t>
            </a:r>
            <a:r>
              <a:rPr lang="en-US" noProof="0" dirty="0"/>
              <a:t> in 1L High </a:t>
            </a:r>
            <a:r>
              <a:rPr lang="en-US" noProof="0" dirty="0" err="1"/>
              <a:t>Tumour</a:t>
            </a:r>
            <a:r>
              <a:rPr lang="en-US" noProof="0" dirty="0"/>
              <a:t> Burden FL Cohort</a:t>
            </a:r>
          </a:p>
        </p:txBody>
      </p:sp>
      <p:sp>
        <p:nvSpPr>
          <p:cNvPr id="4" name="Text Placeholder 3">
            <a:extLst>
              <a:ext uri="{FF2B5EF4-FFF2-40B4-BE49-F238E27FC236}">
                <a16:creationId xmlns:a16="http://schemas.microsoft.com/office/drawing/2014/main" id="{991F4A94-AF76-E634-CAF8-F21FB87A4999}"/>
              </a:ext>
            </a:extLst>
          </p:cNvPr>
          <p:cNvSpPr>
            <a:spLocks noGrp="1"/>
          </p:cNvSpPr>
          <p:nvPr>
            <p:ph type="body" sz="quarter" idx="11"/>
          </p:nvPr>
        </p:nvSpPr>
        <p:spPr>
          <a:xfrm>
            <a:off x="520628" y="5484962"/>
            <a:ext cx="11115937" cy="910896"/>
          </a:xfrm>
        </p:spPr>
        <p:txBody>
          <a:bodyPr/>
          <a:lstStyle/>
          <a:p>
            <a:r>
              <a:rPr lang="en-US" sz="1200" dirty="0"/>
              <a:t>The HTB cohort was enrolled between March 3, 2022, and June 21, 2024 </a:t>
            </a:r>
            <a:r>
              <a:rPr lang="en-US" noProof="0" dirty="0">
                <a:ea typeface="Times New Roman" panose="02020603050405020304" pitchFamily="18" charset="0"/>
                <a:cs typeface="Times New Roman" panose="02020603050405020304" pitchFamily="18" charset="0"/>
              </a:rPr>
              <a:t>CCOD: February 10, 2025. *Dexamethasone (20mg) or methylprednisolone (80mg); premedication with oral acetaminophen or paracetamol and/or diphenhydramine could also be administered prior to administration of </a:t>
            </a:r>
            <a:r>
              <a:rPr lang="en-US" noProof="0" dirty="0" err="1">
                <a:ea typeface="Times New Roman" panose="02020603050405020304" pitchFamily="18" charset="0"/>
                <a:cs typeface="Times New Roman" panose="02020603050405020304" pitchFamily="18" charset="0"/>
              </a:rPr>
              <a:t>mosunetuzumab</a:t>
            </a:r>
            <a:r>
              <a:rPr lang="en-US" noProof="0" dirty="0">
                <a:ea typeface="Times New Roman" panose="02020603050405020304" pitchFamily="18" charset="0"/>
                <a:cs typeface="Times New Roman" panose="02020603050405020304" pitchFamily="18" charset="0"/>
              </a:rPr>
              <a:t>. </a:t>
            </a:r>
            <a:r>
              <a:rPr lang="en-US" sz="1200" baseline="30000" dirty="0"/>
              <a:t>†</a:t>
            </a:r>
            <a:r>
              <a:rPr lang="en-US" noProof="0" dirty="0"/>
              <a:t>ctDNA analysis was performed using the </a:t>
            </a:r>
            <a:r>
              <a:rPr lang="en-US" dirty="0"/>
              <a:t>AVENIO Oncology Assay Non-Hodgkin Lymphoma (AOA-NHL) </a:t>
            </a:r>
            <a:r>
              <a:rPr lang="en-US" noProof="0" dirty="0"/>
              <a:t>assay.</a:t>
            </a:r>
            <a:br>
              <a:rPr lang="en-US" noProof="0" dirty="0">
                <a:ea typeface="Times New Roman" panose="02020603050405020304" pitchFamily="18" charset="0"/>
                <a:cs typeface="Times New Roman" panose="02020603050405020304" pitchFamily="18" charset="0"/>
              </a:rPr>
            </a:br>
            <a:endParaRPr lang="en-US" noProof="0" dirty="0"/>
          </a:p>
        </p:txBody>
      </p:sp>
      <p:grpSp>
        <p:nvGrpSpPr>
          <p:cNvPr id="5" name="Group 4">
            <a:extLst>
              <a:ext uri="{FF2B5EF4-FFF2-40B4-BE49-F238E27FC236}">
                <a16:creationId xmlns:a16="http://schemas.microsoft.com/office/drawing/2014/main" id="{E16182E5-B367-F442-7E9F-3A3AF5822DC1}"/>
              </a:ext>
            </a:extLst>
          </p:cNvPr>
          <p:cNvGrpSpPr/>
          <p:nvPr/>
        </p:nvGrpSpPr>
        <p:grpSpPr>
          <a:xfrm>
            <a:off x="555435" y="1369134"/>
            <a:ext cx="4327339" cy="1241245"/>
            <a:chOff x="415294" y="1138481"/>
            <a:chExt cx="3246506" cy="931221"/>
          </a:xfrm>
        </p:grpSpPr>
        <p:sp>
          <p:nvSpPr>
            <p:cNvPr id="12" name="Google Shape;92;p14">
              <a:extLst>
                <a:ext uri="{FF2B5EF4-FFF2-40B4-BE49-F238E27FC236}">
                  <a16:creationId xmlns:a16="http://schemas.microsoft.com/office/drawing/2014/main" id="{3FB7E1F6-E199-FE8D-2448-137C5174672B}"/>
                </a:ext>
              </a:extLst>
            </p:cNvPr>
            <p:cNvSpPr/>
            <p:nvPr/>
          </p:nvSpPr>
          <p:spPr>
            <a:xfrm>
              <a:off x="415294" y="1358944"/>
              <a:ext cx="3246506" cy="710758"/>
            </a:xfrm>
            <a:prstGeom prst="rect">
              <a:avLst/>
            </a:prstGeom>
            <a:noFill/>
            <a:ln w="28575" cap="flat" cmpd="sng">
              <a:solidFill>
                <a:schemeClr val="tx2"/>
              </a:solidFill>
              <a:prstDash val="solid"/>
              <a:round/>
              <a:headEnd type="none" w="sm" len="sm"/>
              <a:tailEnd type="none" w="sm" len="sm"/>
            </a:ln>
          </p:spPr>
          <p:txBody>
            <a:bodyPr spcFirstLastPara="1" wrap="square" lIns="121820" tIns="95937" rIns="121820" bIns="47969" anchor="t" anchorCtr="0">
              <a:noAutofit/>
            </a:bodyPr>
            <a:lstStyle/>
            <a:p>
              <a:pPr marL="239922" marR="0" lvl="0" indent="-239850" algn="l" defTabSz="609493" rtl="0" eaLnBrk="1" fontAlgn="auto" latinLnBrk="0" hangingPunct="1">
                <a:lnSpc>
                  <a:spcPct val="100000"/>
                </a:lnSpc>
                <a:spcBef>
                  <a:spcPts val="0"/>
                </a:spcBef>
                <a:spcAft>
                  <a:spcPts val="267"/>
                </a:spcAft>
                <a:buClr>
                  <a:srgbClr val="0B41CD"/>
                </a:buClr>
                <a:buSzTx/>
                <a:buFont typeface="Arial" panose="020B0604020202020204" pitchFamily="34" charset="0"/>
                <a:buChar char="•"/>
                <a:tabLst/>
                <a:defRPr/>
              </a:pPr>
              <a:r>
                <a:rPr kumimoji="0" lang="en-US" sz="1466" b="0" i="0" u="none" strike="noStrike" kern="1200" cap="none" spc="0" normalizeH="0" baseline="0" noProof="0" dirty="0">
                  <a:ln>
                    <a:noFill/>
                  </a:ln>
                  <a:solidFill>
                    <a:srgbClr val="000000"/>
                  </a:solidFill>
                  <a:effectLst/>
                  <a:uLnTx/>
                  <a:uFillTx/>
                  <a:latin typeface="Arial" panose="020B0604020202020204"/>
                  <a:ea typeface="+mn-ea"/>
                  <a:cs typeface="+mn-cs"/>
                </a:rPr>
                <a:t>Previously untreated FL</a:t>
              </a:r>
            </a:p>
            <a:p>
              <a:pPr marL="239922" marR="0" lvl="0" indent="-239850" algn="l" defTabSz="609493" rtl="0" eaLnBrk="1" fontAlgn="auto" latinLnBrk="0" hangingPunct="1">
                <a:lnSpc>
                  <a:spcPct val="100000"/>
                </a:lnSpc>
                <a:spcBef>
                  <a:spcPts val="0"/>
                </a:spcBef>
                <a:spcAft>
                  <a:spcPts val="267"/>
                </a:spcAft>
                <a:buClr>
                  <a:srgbClr val="0B41CD"/>
                </a:buClr>
                <a:buSzTx/>
                <a:buFont typeface="Arial" panose="020B0604020202020204" pitchFamily="34" charset="0"/>
                <a:buChar char="•"/>
                <a:tabLst/>
                <a:defRPr/>
              </a:pPr>
              <a:r>
                <a:rPr kumimoji="0" lang="en-US" sz="1466" b="0" i="0" u="none" strike="noStrike" kern="1200" cap="none" spc="0" normalizeH="0" baseline="0" noProof="0" dirty="0">
                  <a:ln>
                    <a:noFill/>
                  </a:ln>
                  <a:solidFill>
                    <a:srgbClr val="000000"/>
                  </a:solidFill>
                  <a:effectLst/>
                  <a:uLnTx/>
                  <a:uFillTx/>
                  <a:latin typeface="Arial" panose="020B0604020202020204"/>
                  <a:ea typeface="+mn-ea"/>
                  <a:cs typeface="+mn-cs"/>
                </a:rPr>
                <a:t>HTB by GELF criteria</a:t>
              </a:r>
            </a:p>
            <a:p>
              <a:pPr marL="239922" marR="0" lvl="0" indent="-239850" algn="l" defTabSz="609493" rtl="0" eaLnBrk="1" fontAlgn="auto" latinLnBrk="0" hangingPunct="1">
                <a:lnSpc>
                  <a:spcPct val="100000"/>
                </a:lnSpc>
                <a:spcBef>
                  <a:spcPts val="0"/>
                </a:spcBef>
                <a:spcAft>
                  <a:spcPts val="267"/>
                </a:spcAft>
                <a:buClr>
                  <a:srgbClr val="0B41CD"/>
                </a:buClr>
                <a:buSzTx/>
                <a:buFont typeface="Arial" panose="020B0604020202020204" pitchFamily="34" charset="0"/>
                <a:buChar char="•"/>
                <a:tabLst/>
                <a:defRPr/>
              </a:pPr>
              <a:r>
                <a:rPr kumimoji="0" lang="en-US" sz="1466" b="0" i="0" u="none" strike="noStrike" kern="1200" cap="none" spc="0" normalizeH="0" baseline="0" noProof="0" dirty="0">
                  <a:ln>
                    <a:noFill/>
                  </a:ln>
                  <a:solidFill>
                    <a:srgbClr val="000000"/>
                  </a:solidFill>
                  <a:effectLst/>
                  <a:uLnTx/>
                  <a:uFillTx/>
                  <a:latin typeface="Arial" panose="020B0604020202020204"/>
                  <a:ea typeface="+mn-ea"/>
                  <a:cs typeface="+mn-cs"/>
                </a:rPr>
                <a:t>ECOG performance status 0–2</a:t>
              </a:r>
            </a:p>
          </p:txBody>
        </p:sp>
        <p:sp>
          <p:nvSpPr>
            <p:cNvPr id="13" name="Google Shape;128;p14">
              <a:extLst>
                <a:ext uri="{FF2B5EF4-FFF2-40B4-BE49-F238E27FC236}">
                  <a16:creationId xmlns:a16="http://schemas.microsoft.com/office/drawing/2014/main" id="{2332C37C-BF40-C71C-F284-D64823611227}"/>
                </a:ext>
              </a:extLst>
            </p:cNvPr>
            <p:cNvSpPr/>
            <p:nvPr/>
          </p:nvSpPr>
          <p:spPr>
            <a:xfrm>
              <a:off x="415294" y="1138481"/>
              <a:ext cx="3246506" cy="235049"/>
            </a:xfrm>
            <a:prstGeom prst="round1Rect">
              <a:avLst>
                <a:gd name="adj" fmla="val 16667"/>
              </a:avLst>
            </a:prstGeom>
            <a:solidFill>
              <a:srgbClr val="0B41CD"/>
            </a:solidFill>
            <a:ln w="28575" cap="flat" cmpd="sng">
              <a:solidFill>
                <a:schemeClr val="tx2"/>
              </a:solidFill>
              <a:prstDash val="solid"/>
              <a:round/>
              <a:headEnd type="none" w="sm" len="sm"/>
              <a:tailEnd type="none" w="sm" len="sm"/>
            </a:ln>
          </p:spPr>
          <p:txBody>
            <a:bodyPr spcFirstLastPara="1" wrap="square" lIns="121820" tIns="60893" rIns="121820" bIns="60893" anchor="ctr" anchorCtr="0">
              <a:noAutofit/>
            </a:bodyPr>
            <a:lstStyle/>
            <a:p>
              <a:pPr marL="0" marR="0" lvl="0" indent="0" algn="l" defTabSz="609493" rtl="0" eaLnBrk="1" fontAlgn="auto" latinLnBrk="0" hangingPunct="1">
                <a:lnSpc>
                  <a:spcPct val="100000"/>
                </a:lnSpc>
                <a:spcBef>
                  <a:spcPts val="0"/>
                </a:spcBef>
                <a:spcAft>
                  <a:spcPts val="0"/>
                </a:spcAft>
                <a:buClr>
                  <a:srgbClr val="FFFFFF"/>
                </a:buClr>
                <a:buSzPts val="1000"/>
                <a:buFontTx/>
                <a:buNone/>
                <a:tabLst/>
                <a:defRPr/>
              </a:pPr>
              <a:r>
                <a:rPr kumimoji="0" lang="en-US" sz="1599" b="1" i="0" u="none" strike="noStrike" kern="1200" cap="none" spc="0" normalizeH="0" baseline="0" noProof="0" dirty="0">
                  <a:ln>
                    <a:noFill/>
                  </a:ln>
                  <a:solidFill>
                    <a:srgbClr val="FFFFFF"/>
                  </a:solidFill>
                  <a:effectLst/>
                  <a:uLnTx/>
                  <a:uFillTx/>
                  <a:latin typeface="Arial" panose="020B0604020202020204"/>
                  <a:ea typeface="+mn-ea"/>
                  <a:cs typeface="+mn-cs"/>
                </a:rPr>
                <a:t>Key inclusion criteria</a:t>
              </a:r>
              <a:endParaRPr kumimoji="0" lang="en-US" sz="1599" b="0" i="0" u="none" strike="noStrike" kern="1200" cap="none" spc="0" normalizeH="0" baseline="0" noProof="0" dirty="0">
                <a:ln>
                  <a:noFill/>
                </a:ln>
                <a:solidFill>
                  <a:srgbClr val="FFFFFF"/>
                </a:solidFill>
                <a:effectLst/>
                <a:uLnTx/>
                <a:uFillTx/>
                <a:latin typeface="Arial"/>
                <a:ea typeface="Arial"/>
                <a:cs typeface="Arial"/>
                <a:sym typeface="Arial"/>
              </a:endParaRPr>
            </a:p>
          </p:txBody>
        </p:sp>
      </p:grpSp>
      <p:sp>
        <p:nvSpPr>
          <p:cNvPr id="16" name="Google Shape;128;p14">
            <a:extLst>
              <a:ext uri="{FF2B5EF4-FFF2-40B4-BE49-F238E27FC236}">
                <a16:creationId xmlns:a16="http://schemas.microsoft.com/office/drawing/2014/main" id="{FE7ACE38-6D56-E754-5CEA-32B3E77604ED}"/>
              </a:ext>
            </a:extLst>
          </p:cNvPr>
          <p:cNvSpPr/>
          <p:nvPr/>
        </p:nvSpPr>
        <p:spPr>
          <a:xfrm>
            <a:off x="5132431" y="1369133"/>
            <a:ext cx="6514207" cy="482166"/>
          </a:xfrm>
          <a:prstGeom prst="round1Rect">
            <a:avLst>
              <a:gd name="adj" fmla="val 16667"/>
            </a:avLst>
          </a:prstGeom>
          <a:solidFill>
            <a:srgbClr val="0B41CD"/>
          </a:solidFill>
          <a:ln w="28575" cap="flat" cmpd="sng">
            <a:solidFill>
              <a:schemeClr val="tx2"/>
            </a:solidFill>
            <a:prstDash val="solid"/>
            <a:round/>
            <a:headEnd type="none" w="sm" len="sm"/>
            <a:tailEnd type="none" w="sm" len="sm"/>
          </a:ln>
        </p:spPr>
        <p:txBody>
          <a:bodyPr spcFirstLastPara="1" wrap="square" lIns="121820" tIns="60893" rIns="121820" bIns="60893" anchor="ctr" anchorCtr="0">
            <a:noAutofit/>
          </a:bodyPr>
          <a:lstStyle/>
          <a:p>
            <a:pPr marL="0" marR="0" lvl="0" indent="0" algn="l" defTabSz="609493" rtl="0" eaLnBrk="1" fontAlgn="auto" latinLnBrk="0" hangingPunct="1">
              <a:lnSpc>
                <a:spcPct val="100000"/>
              </a:lnSpc>
              <a:spcBef>
                <a:spcPts val="0"/>
              </a:spcBef>
              <a:spcAft>
                <a:spcPts val="0"/>
              </a:spcAft>
              <a:buClr>
                <a:srgbClr val="FFFFFF"/>
              </a:buClr>
              <a:buSzPts val="1000"/>
              <a:buFontTx/>
              <a:buNone/>
              <a:tabLst/>
              <a:defRPr/>
            </a:pPr>
            <a:r>
              <a:rPr kumimoji="0" lang="en-US" sz="1599" b="1" i="0" u="none" strike="noStrike" kern="1200" cap="none" spc="0" normalizeH="0" baseline="0" noProof="0" dirty="0">
                <a:ln>
                  <a:noFill/>
                </a:ln>
                <a:solidFill>
                  <a:srgbClr val="FFFFFF"/>
                </a:solidFill>
                <a:effectLst/>
                <a:uLnTx/>
                <a:uFillTx/>
                <a:latin typeface="Arial" panose="020B0604020202020204"/>
                <a:ea typeface="+mn-ea"/>
                <a:cs typeface="+mn-cs"/>
              </a:rPr>
              <a:t>Mosunetuzumab SC administration</a:t>
            </a:r>
            <a:endParaRPr kumimoji="0" lang="en-US" sz="1599" b="0" i="0" u="none" strike="noStrike" kern="1200" cap="none" spc="0" normalizeH="0" baseline="0" noProof="0" dirty="0">
              <a:ln>
                <a:noFill/>
              </a:ln>
              <a:solidFill>
                <a:srgbClr val="FFFFFF"/>
              </a:solidFill>
              <a:effectLst/>
              <a:uLnTx/>
              <a:uFillTx/>
              <a:latin typeface="Arial"/>
              <a:ea typeface="Arial"/>
              <a:cs typeface="Arial"/>
              <a:sym typeface="Arial"/>
            </a:endParaRPr>
          </a:p>
        </p:txBody>
      </p:sp>
      <p:sp>
        <p:nvSpPr>
          <p:cNvPr id="43" name="Google Shape;92;p14">
            <a:extLst>
              <a:ext uri="{FF2B5EF4-FFF2-40B4-BE49-F238E27FC236}">
                <a16:creationId xmlns:a16="http://schemas.microsoft.com/office/drawing/2014/main" id="{162063D7-C3BE-7294-828E-888B7808507B}"/>
              </a:ext>
            </a:extLst>
          </p:cNvPr>
          <p:cNvSpPr/>
          <p:nvPr/>
        </p:nvSpPr>
        <p:spPr>
          <a:xfrm>
            <a:off x="5132431" y="1859882"/>
            <a:ext cx="6514207" cy="3700371"/>
          </a:xfrm>
          <a:prstGeom prst="rect">
            <a:avLst/>
          </a:prstGeom>
          <a:noFill/>
          <a:ln w="28575" cap="flat" cmpd="sng">
            <a:solidFill>
              <a:srgbClr val="0B41CD"/>
            </a:solidFill>
            <a:prstDash val="solid"/>
            <a:round/>
            <a:headEnd type="none" w="sm" len="sm"/>
            <a:tailEnd type="none" w="sm" len="sm"/>
          </a:ln>
        </p:spPr>
        <p:txBody>
          <a:bodyPr spcFirstLastPara="1" wrap="square" lIns="121820" tIns="143906" rIns="121820" bIns="60893" anchor="t" anchorCtr="0">
            <a:noAutofit/>
          </a:bodyPr>
          <a:lstStyle/>
          <a:p>
            <a:pPr marL="456914" marR="0" lvl="0" indent="-456914" algn="l" defTabSz="609493"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2133"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nvGrpSpPr>
          <p:cNvPr id="10" name="Group 9">
            <a:extLst>
              <a:ext uri="{FF2B5EF4-FFF2-40B4-BE49-F238E27FC236}">
                <a16:creationId xmlns:a16="http://schemas.microsoft.com/office/drawing/2014/main" id="{24C58163-7D31-D947-5069-189FDAC984E9}"/>
              </a:ext>
            </a:extLst>
          </p:cNvPr>
          <p:cNvGrpSpPr/>
          <p:nvPr/>
        </p:nvGrpSpPr>
        <p:grpSpPr>
          <a:xfrm>
            <a:off x="555436" y="2683628"/>
            <a:ext cx="4327340" cy="1535381"/>
            <a:chOff x="415294" y="2124656"/>
            <a:chExt cx="3246507" cy="1151891"/>
          </a:xfrm>
        </p:grpSpPr>
        <p:sp>
          <p:nvSpPr>
            <p:cNvPr id="51" name="Google Shape;92;p14">
              <a:extLst>
                <a:ext uri="{FF2B5EF4-FFF2-40B4-BE49-F238E27FC236}">
                  <a16:creationId xmlns:a16="http://schemas.microsoft.com/office/drawing/2014/main" id="{0B2BC06E-47A0-C6E7-4246-8E935F6CD3BE}"/>
                </a:ext>
              </a:extLst>
            </p:cNvPr>
            <p:cNvSpPr/>
            <p:nvPr/>
          </p:nvSpPr>
          <p:spPr>
            <a:xfrm>
              <a:off x="415294" y="2376859"/>
              <a:ext cx="3246507" cy="899688"/>
            </a:xfrm>
            <a:prstGeom prst="rect">
              <a:avLst/>
            </a:prstGeom>
            <a:noFill/>
            <a:ln w="28575" cap="flat" cmpd="sng">
              <a:solidFill>
                <a:schemeClr val="accent6"/>
              </a:solidFill>
              <a:prstDash val="solid"/>
              <a:round/>
              <a:headEnd type="none" w="sm" len="sm"/>
              <a:tailEnd type="none" w="sm" len="sm"/>
            </a:ln>
          </p:spPr>
          <p:txBody>
            <a:bodyPr spcFirstLastPara="1" wrap="square" lIns="95937" tIns="95937" rIns="0" bIns="47969" anchor="t" anchorCtr="0">
              <a:noAutofit/>
            </a:bodyPr>
            <a:lstStyle/>
            <a:p>
              <a:pPr marL="239922" marR="0" lvl="0" indent="-239850" algn="l" defTabSz="609493" rtl="0" eaLnBrk="1" fontAlgn="auto" latinLnBrk="0" hangingPunct="1">
                <a:lnSpc>
                  <a:spcPct val="100000"/>
                </a:lnSpc>
                <a:spcBef>
                  <a:spcPts val="0"/>
                </a:spcBef>
                <a:spcAft>
                  <a:spcPts val="267"/>
                </a:spcAft>
                <a:buClr>
                  <a:srgbClr val="ED4A0D"/>
                </a:buClr>
                <a:buSzTx/>
                <a:buFont typeface="Arial" panose="020B0604020202020204" pitchFamily="34" charset="0"/>
                <a:buChar char="•"/>
                <a:tabLst/>
                <a:defRPr/>
              </a:pPr>
              <a:r>
                <a:rPr kumimoji="0" lang="en-US" sz="1466" b="0" i="0" u="none" strike="noStrike" kern="1200" cap="none" spc="0" normalizeH="0" baseline="0" noProof="0" dirty="0">
                  <a:ln>
                    <a:noFill/>
                  </a:ln>
                  <a:solidFill>
                    <a:srgbClr val="000000"/>
                  </a:solidFill>
                  <a:effectLst/>
                  <a:uLnTx/>
                  <a:uFillTx/>
                  <a:latin typeface="Arial" panose="020B0604020202020204"/>
                  <a:ea typeface="+mn-ea"/>
                  <a:cs typeface="+mn-cs"/>
                </a:rPr>
                <a:t>Mosunetuzumab SC step-up dosing in C1</a:t>
              </a:r>
            </a:p>
            <a:p>
              <a:pPr marL="239922" marR="0" lvl="0" indent="-239850" algn="l" defTabSz="609493" rtl="0" eaLnBrk="1" fontAlgn="auto" latinLnBrk="0" hangingPunct="1">
                <a:lnSpc>
                  <a:spcPct val="100000"/>
                </a:lnSpc>
                <a:spcBef>
                  <a:spcPts val="0"/>
                </a:spcBef>
                <a:spcAft>
                  <a:spcPts val="267"/>
                </a:spcAft>
                <a:buClr>
                  <a:srgbClr val="ED4A0D"/>
                </a:buClr>
                <a:buSzTx/>
                <a:buFont typeface="Arial" panose="020B0604020202020204" pitchFamily="34" charset="0"/>
                <a:buChar char="•"/>
                <a:tabLst/>
                <a:defRPr/>
              </a:pPr>
              <a:r>
                <a:rPr kumimoji="0" lang="en-US" sz="1466" b="0" i="0" u="none" strike="noStrike" kern="1200" cap="none" spc="0" normalizeH="0" baseline="0" noProof="0" dirty="0">
                  <a:ln>
                    <a:noFill/>
                  </a:ln>
                  <a:solidFill>
                    <a:srgbClr val="000000"/>
                  </a:solidFill>
                  <a:effectLst/>
                  <a:uLnTx/>
                  <a:uFillTx/>
                  <a:latin typeface="Arial" panose="020B0604020202020204"/>
                  <a:ea typeface="+mn-ea"/>
                  <a:cs typeface="+mn-cs"/>
                </a:rPr>
                <a:t>Corticosteroid prophylaxis* was mandatory in C1–2 and optional thereafter</a:t>
              </a:r>
            </a:p>
            <a:p>
              <a:pPr marL="239922" marR="0" lvl="0" indent="-239850" algn="l" defTabSz="609493" rtl="0" eaLnBrk="1" fontAlgn="auto" latinLnBrk="0" hangingPunct="1">
                <a:lnSpc>
                  <a:spcPct val="100000"/>
                </a:lnSpc>
                <a:spcBef>
                  <a:spcPts val="0"/>
                </a:spcBef>
                <a:spcAft>
                  <a:spcPts val="267"/>
                </a:spcAft>
                <a:buClr>
                  <a:srgbClr val="ED4A0D"/>
                </a:buClr>
                <a:buSzTx/>
                <a:buFont typeface="Arial" panose="020B0604020202020204" pitchFamily="34" charset="0"/>
                <a:buChar char="•"/>
                <a:tabLst/>
                <a:defRPr/>
              </a:pPr>
              <a:r>
                <a:rPr kumimoji="0" lang="en-US" sz="1466" b="0" i="0" u="none" strike="noStrike" kern="1200" cap="none" spc="0" normalizeH="0" baseline="0" noProof="0" dirty="0">
                  <a:ln>
                    <a:noFill/>
                  </a:ln>
                  <a:solidFill>
                    <a:srgbClr val="000000"/>
                  </a:solidFill>
                  <a:effectLst/>
                  <a:uLnTx/>
                  <a:uFillTx/>
                  <a:latin typeface="Arial" panose="020B0604020202020204"/>
                  <a:ea typeface="+mn-ea"/>
                  <a:cs typeface="+mn-cs"/>
                </a:rPr>
                <a:t>Hospitalization was not mandatory</a:t>
              </a:r>
            </a:p>
          </p:txBody>
        </p:sp>
        <p:sp>
          <p:nvSpPr>
            <p:cNvPr id="52" name="Google Shape;128;p14">
              <a:extLst>
                <a:ext uri="{FF2B5EF4-FFF2-40B4-BE49-F238E27FC236}">
                  <a16:creationId xmlns:a16="http://schemas.microsoft.com/office/drawing/2014/main" id="{E5392443-9864-BBEE-0A99-46F7829624BB}"/>
                </a:ext>
              </a:extLst>
            </p:cNvPr>
            <p:cNvSpPr/>
            <p:nvPr/>
          </p:nvSpPr>
          <p:spPr>
            <a:xfrm>
              <a:off x="415294" y="2124656"/>
              <a:ext cx="3246507" cy="245116"/>
            </a:xfrm>
            <a:prstGeom prst="round1Rect">
              <a:avLst>
                <a:gd name="adj" fmla="val 16667"/>
              </a:avLst>
            </a:prstGeom>
            <a:solidFill>
              <a:schemeClr val="accent6"/>
            </a:solidFill>
            <a:ln w="28575" cap="flat" cmpd="sng">
              <a:solidFill>
                <a:schemeClr val="accent6"/>
              </a:solidFill>
              <a:prstDash val="solid"/>
              <a:round/>
              <a:headEnd type="none" w="sm" len="sm"/>
              <a:tailEnd type="none" w="sm" len="sm"/>
            </a:ln>
          </p:spPr>
          <p:txBody>
            <a:bodyPr spcFirstLastPara="1" wrap="square" lIns="121820" tIns="60893" rIns="0" bIns="60893" anchor="ctr" anchorCtr="0">
              <a:noAutofit/>
            </a:bodyPr>
            <a:lstStyle/>
            <a:p>
              <a:pPr marL="0" marR="0" lvl="0" indent="0" algn="l" defTabSz="609493" rtl="0" eaLnBrk="1" fontAlgn="auto" latinLnBrk="0" hangingPunct="1">
                <a:lnSpc>
                  <a:spcPct val="100000"/>
                </a:lnSpc>
                <a:spcBef>
                  <a:spcPts val="0"/>
                </a:spcBef>
                <a:spcAft>
                  <a:spcPts val="0"/>
                </a:spcAft>
                <a:buClr>
                  <a:srgbClr val="FFFFFF"/>
                </a:buClr>
                <a:buSzPts val="1000"/>
                <a:buFontTx/>
                <a:buNone/>
                <a:tabLst/>
                <a:defRPr/>
              </a:pPr>
              <a:r>
                <a:rPr kumimoji="0" lang="en-US" sz="1599" b="1" i="0" u="none" strike="noStrike" kern="1200" cap="none" spc="0" normalizeH="0" baseline="0" noProof="0" dirty="0">
                  <a:ln>
                    <a:noFill/>
                  </a:ln>
                  <a:solidFill>
                    <a:srgbClr val="FFFFFF"/>
                  </a:solidFill>
                  <a:effectLst/>
                  <a:uLnTx/>
                  <a:uFillTx/>
                  <a:latin typeface="Arial" panose="020B0604020202020204"/>
                  <a:ea typeface="+mn-ea"/>
                  <a:cs typeface="+mn-cs"/>
                </a:rPr>
                <a:t>CRS mitigation</a:t>
              </a:r>
              <a:endParaRPr kumimoji="0" lang="en-US" sz="1599" b="0" i="0" u="none" strike="noStrike" kern="1200" cap="none" spc="0" normalizeH="0" baseline="0" noProof="0" dirty="0">
                <a:ln>
                  <a:noFill/>
                </a:ln>
                <a:solidFill>
                  <a:srgbClr val="FFFFFF"/>
                </a:solidFill>
                <a:effectLst/>
                <a:highlight>
                  <a:srgbClr val="0000FF"/>
                </a:highlight>
                <a:uLnTx/>
                <a:uFillTx/>
                <a:latin typeface="Arial"/>
                <a:ea typeface="Arial"/>
                <a:cs typeface="Arial"/>
                <a:sym typeface="Arial"/>
              </a:endParaRPr>
            </a:p>
          </p:txBody>
        </p:sp>
      </p:grpSp>
      <p:grpSp>
        <p:nvGrpSpPr>
          <p:cNvPr id="18" name="Group 17">
            <a:extLst>
              <a:ext uri="{FF2B5EF4-FFF2-40B4-BE49-F238E27FC236}">
                <a16:creationId xmlns:a16="http://schemas.microsoft.com/office/drawing/2014/main" id="{8E07082D-3C8A-2B75-B0A9-7A09F941A3C3}"/>
              </a:ext>
            </a:extLst>
          </p:cNvPr>
          <p:cNvGrpSpPr/>
          <p:nvPr/>
        </p:nvGrpSpPr>
        <p:grpSpPr>
          <a:xfrm>
            <a:off x="555435" y="4295566"/>
            <a:ext cx="4327339" cy="1287847"/>
            <a:chOff x="415294" y="3333983"/>
            <a:chExt cx="3246506" cy="966183"/>
          </a:xfrm>
        </p:grpSpPr>
        <p:sp>
          <p:nvSpPr>
            <p:cNvPr id="54" name="Google Shape;92;p14">
              <a:extLst>
                <a:ext uri="{FF2B5EF4-FFF2-40B4-BE49-F238E27FC236}">
                  <a16:creationId xmlns:a16="http://schemas.microsoft.com/office/drawing/2014/main" id="{5831BF9F-D99B-395E-F270-B29B45ADBD88}"/>
                </a:ext>
              </a:extLst>
            </p:cNvPr>
            <p:cNvSpPr/>
            <p:nvPr/>
          </p:nvSpPr>
          <p:spPr>
            <a:xfrm>
              <a:off x="415294" y="3564949"/>
              <a:ext cx="3246506" cy="735217"/>
            </a:xfrm>
            <a:prstGeom prst="rect">
              <a:avLst/>
            </a:prstGeom>
            <a:noFill/>
            <a:ln w="28575" cap="flat" cmpd="sng">
              <a:solidFill>
                <a:schemeClr val="bg2"/>
              </a:solidFill>
              <a:prstDash val="solid"/>
              <a:round/>
              <a:headEnd type="none" w="sm" len="sm"/>
              <a:tailEnd type="none" w="sm" len="sm"/>
            </a:ln>
          </p:spPr>
          <p:txBody>
            <a:bodyPr spcFirstLastPara="1" wrap="square" lIns="95970" tIns="95970" rIns="0" bIns="47985" anchor="ctr" anchorCtr="0">
              <a:noAutofit/>
            </a:bodyPr>
            <a:lstStyle/>
            <a:p>
              <a:pPr marL="239922" marR="0" lvl="0" indent="-239850" algn="l" defTabSz="609493" rtl="0" eaLnBrk="1" fontAlgn="auto" latinLnBrk="0" hangingPunct="1">
                <a:lnSpc>
                  <a:spcPct val="100000"/>
                </a:lnSpc>
                <a:spcBef>
                  <a:spcPts val="0"/>
                </a:spcBef>
                <a:spcAft>
                  <a:spcPts val="267"/>
                </a:spcAft>
                <a:buClr>
                  <a:srgbClr val="544F4F"/>
                </a:buClr>
                <a:buSzTx/>
                <a:buFont typeface="Arial" panose="020B0604020202020204" pitchFamily="34" charset="0"/>
                <a:buChar char="•"/>
                <a:tabLst/>
                <a:defRPr/>
              </a:pPr>
              <a:r>
                <a:rPr kumimoji="0" lang="en-US" sz="1466" b="0" i="0" u="none" strike="noStrike" kern="1200" cap="none" spc="0" normalizeH="0" baseline="0" noProof="0" dirty="0">
                  <a:ln>
                    <a:noFill/>
                  </a:ln>
                  <a:solidFill>
                    <a:srgbClr val="000000"/>
                  </a:solidFill>
                  <a:effectLst/>
                  <a:uLnTx/>
                  <a:uFillTx/>
                  <a:latin typeface="Arial" panose="020B0604020202020204"/>
                  <a:ea typeface="+mn-ea"/>
                  <a:cs typeface="+mn-cs"/>
                </a:rPr>
                <a:t>Primary: PFS rate at 24 months</a:t>
              </a:r>
            </a:p>
            <a:p>
              <a:pPr marL="239922" marR="0" lvl="0" indent="-239850" algn="l" defTabSz="609493" rtl="0" eaLnBrk="1" fontAlgn="auto" latinLnBrk="0" hangingPunct="1">
                <a:lnSpc>
                  <a:spcPct val="100000"/>
                </a:lnSpc>
                <a:spcBef>
                  <a:spcPts val="0"/>
                </a:spcBef>
                <a:spcAft>
                  <a:spcPts val="267"/>
                </a:spcAft>
                <a:buClr>
                  <a:srgbClr val="544F4F"/>
                </a:buClr>
                <a:buSzTx/>
                <a:buFont typeface="Arial" panose="020B0604020202020204" pitchFamily="34" charset="0"/>
                <a:buChar char="•"/>
                <a:tabLst/>
                <a:defRPr/>
              </a:pPr>
              <a:r>
                <a:rPr kumimoji="0" lang="en-US" sz="1466" b="0" i="0" u="none" strike="noStrike" kern="1200" cap="none" spc="0" normalizeH="0" baseline="0" noProof="0" dirty="0">
                  <a:ln>
                    <a:noFill/>
                  </a:ln>
                  <a:solidFill>
                    <a:srgbClr val="000000"/>
                  </a:solidFill>
                  <a:effectLst/>
                  <a:uLnTx/>
                  <a:uFillTx/>
                  <a:latin typeface="Arial" panose="020B0604020202020204"/>
                  <a:ea typeface="+mn-ea"/>
                  <a:cs typeface="+mn-cs"/>
                </a:rPr>
                <a:t>Key secondary: ORR, DOR, DOCR, safety</a:t>
              </a:r>
            </a:p>
            <a:p>
              <a:pPr marL="239922" marR="0" lvl="0" indent="-239850" algn="l" defTabSz="609493" rtl="0" eaLnBrk="1" fontAlgn="auto" latinLnBrk="0" hangingPunct="1">
                <a:lnSpc>
                  <a:spcPct val="100000"/>
                </a:lnSpc>
                <a:spcBef>
                  <a:spcPts val="0"/>
                </a:spcBef>
                <a:spcAft>
                  <a:spcPts val="267"/>
                </a:spcAft>
                <a:buClr>
                  <a:srgbClr val="544F4F"/>
                </a:buClr>
                <a:buSzTx/>
                <a:buFont typeface="Arial" panose="020B0604020202020204" pitchFamily="34" charset="0"/>
                <a:buChar char="•"/>
                <a:tabLst/>
                <a:defRPr/>
              </a:pPr>
              <a:r>
                <a:rPr kumimoji="0" lang="en-US" sz="1466" b="0" i="0" u="none" strike="noStrike" kern="1200" cap="none" spc="0" normalizeH="0" baseline="0" noProof="0" dirty="0">
                  <a:ln>
                    <a:noFill/>
                  </a:ln>
                  <a:solidFill>
                    <a:srgbClr val="000000"/>
                  </a:solidFill>
                  <a:effectLst/>
                  <a:uLnTx/>
                  <a:uFillTx/>
                  <a:latin typeface="Arial" panose="020B0604020202020204"/>
                  <a:ea typeface="+mn-ea"/>
                  <a:cs typeface="+mn-cs"/>
                </a:rPr>
                <a:t>Exploratory analysis of ctDNA levels</a:t>
              </a:r>
              <a:r>
                <a:rPr kumimoji="0" lang="en-US" sz="1466" b="0" i="0" u="none" strike="noStrike" kern="1200" cap="none" spc="0" normalizeH="0" baseline="30000" noProof="0" dirty="0">
                  <a:ln>
                    <a:noFill/>
                  </a:ln>
                  <a:solidFill>
                    <a:srgbClr val="000000"/>
                  </a:solidFill>
                  <a:effectLst/>
                  <a:uLnTx/>
                  <a:uFillTx/>
                  <a:latin typeface="Arial" panose="020B0604020202020204"/>
                  <a:ea typeface="+mn-ea"/>
                  <a:cs typeface="+mn-cs"/>
                </a:rPr>
                <a:t>†</a:t>
              </a:r>
            </a:p>
          </p:txBody>
        </p:sp>
        <p:sp>
          <p:nvSpPr>
            <p:cNvPr id="55" name="Google Shape;128;p14">
              <a:extLst>
                <a:ext uri="{FF2B5EF4-FFF2-40B4-BE49-F238E27FC236}">
                  <a16:creationId xmlns:a16="http://schemas.microsoft.com/office/drawing/2014/main" id="{1E84522B-75A4-0050-8521-772E2653D409}"/>
                </a:ext>
              </a:extLst>
            </p:cNvPr>
            <p:cNvSpPr/>
            <p:nvPr/>
          </p:nvSpPr>
          <p:spPr>
            <a:xfrm>
              <a:off x="415294" y="3333983"/>
              <a:ext cx="3246506" cy="244800"/>
            </a:xfrm>
            <a:prstGeom prst="round1Rect">
              <a:avLst>
                <a:gd name="adj" fmla="val 16667"/>
              </a:avLst>
            </a:prstGeom>
            <a:solidFill>
              <a:schemeClr val="bg2"/>
            </a:solidFill>
            <a:ln w="28575" cap="flat" cmpd="sng">
              <a:solidFill>
                <a:schemeClr val="bg2"/>
              </a:solidFill>
              <a:prstDash val="solid"/>
              <a:round/>
              <a:headEnd type="none" w="sm" len="sm"/>
              <a:tailEnd type="none" w="sm" len="sm"/>
            </a:ln>
          </p:spPr>
          <p:txBody>
            <a:bodyPr spcFirstLastPara="1" wrap="square" lIns="121820" tIns="60893" rIns="121820" bIns="60893" anchor="ctr" anchorCtr="0">
              <a:noAutofit/>
            </a:bodyPr>
            <a:lstStyle/>
            <a:p>
              <a:pPr marL="0" marR="0" lvl="0" indent="0" algn="l" defTabSz="609493" rtl="0" eaLnBrk="1" fontAlgn="auto" latinLnBrk="0" hangingPunct="1">
                <a:lnSpc>
                  <a:spcPct val="100000"/>
                </a:lnSpc>
                <a:spcBef>
                  <a:spcPts val="0"/>
                </a:spcBef>
                <a:spcAft>
                  <a:spcPts val="0"/>
                </a:spcAft>
                <a:buClr>
                  <a:srgbClr val="FFFFFF"/>
                </a:buClr>
                <a:buSzPts val="1000"/>
                <a:buFontTx/>
                <a:buNone/>
                <a:tabLst/>
                <a:defRPr/>
              </a:pPr>
              <a:r>
                <a:rPr kumimoji="0" lang="en-US" sz="1599" b="1" i="0" u="none" strike="noStrike" kern="1200" cap="none" spc="0" normalizeH="0" baseline="0" noProof="0" dirty="0">
                  <a:ln>
                    <a:noFill/>
                  </a:ln>
                  <a:solidFill>
                    <a:srgbClr val="FFFFFF"/>
                  </a:solidFill>
                  <a:effectLst/>
                  <a:uLnTx/>
                  <a:uFillTx/>
                  <a:latin typeface="Arial" panose="020B0604020202020204"/>
                  <a:ea typeface="+mn-ea"/>
                  <a:cs typeface="+mn-cs"/>
                </a:rPr>
                <a:t>Endpoints</a:t>
              </a:r>
              <a:endParaRPr kumimoji="0" lang="en-US" sz="1599" b="0" i="0" u="none" strike="noStrike" kern="1200" cap="none" spc="0" normalizeH="0" baseline="0" noProof="0" dirty="0">
                <a:ln>
                  <a:noFill/>
                </a:ln>
                <a:solidFill>
                  <a:srgbClr val="FFFFFF"/>
                </a:solidFill>
                <a:effectLst/>
                <a:uLnTx/>
                <a:uFillTx/>
                <a:latin typeface="Arial"/>
                <a:ea typeface="Arial"/>
                <a:cs typeface="Arial"/>
                <a:sym typeface="Arial"/>
              </a:endParaRPr>
            </a:p>
          </p:txBody>
        </p:sp>
      </p:grpSp>
      <p:sp>
        <p:nvSpPr>
          <p:cNvPr id="7" name="Right Triangle 6">
            <a:extLst>
              <a:ext uri="{FF2B5EF4-FFF2-40B4-BE49-F238E27FC236}">
                <a16:creationId xmlns:a16="http://schemas.microsoft.com/office/drawing/2014/main" id="{46B78B08-F5BB-8213-0EE9-180ED4A1308A}"/>
              </a:ext>
            </a:extLst>
          </p:cNvPr>
          <p:cNvSpPr/>
          <p:nvPr/>
        </p:nvSpPr>
        <p:spPr>
          <a:xfrm flipH="1">
            <a:off x="6485436" y="7122578"/>
            <a:ext cx="3819319" cy="237071"/>
          </a:xfrm>
          <a:prstGeom prst="rtTriangle">
            <a:avLst/>
          </a:prstGeom>
          <a:solidFill>
            <a:schemeClr val="bg1">
              <a:alpha val="20000"/>
            </a:schemeClr>
          </a:solid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6594" rtl="0" eaLnBrk="1" fontAlgn="base" latinLnBrk="0" hangingPunct="1">
              <a:lnSpc>
                <a:spcPct val="100000"/>
              </a:lnSpc>
              <a:spcBef>
                <a:spcPct val="0"/>
              </a:spcBef>
              <a:spcAft>
                <a:spcPct val="0"/>
              </a:spcAft>
              <a:buClrTx/>
              <a:buSzTx/>
              <a:buFontTx/>
              <a:buNone/>
              <a:tabLst/>
              <a:defRPr/>
            </a:pPr>
            <a:endParaRPr kumimoji="0" lang="en-US" sz="2159"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15" name="Group 14">
            <a:extLst>
              <a:ext uri="{FF2B5EF4-FFF2-40B4-BE49-F238E27FC236}">
                <a16:creationId xmlns:a16="http://schemas.microsoft.com/office/drawing/2014/main" id="{6D4F7046-033B-C361-F476-AAA7315130D7}"/>
              </a:ext>
            </a:extLst>
          </p:cNvPr>
          <p:cNvGrpSpPr/>
          <p:nvPr/>
        </p:nvGrpSpPr>
        <p:grpSpPr>
          <a:xfrm>
            <a:off x="5225265" y="2325686"/>
            <a:ext cx="6207436" cy="3022129"/>
            <a:chOff x="3853671" y="1851747"/>
            <a:chExt cx="5281376" cy="2268083"/>
          </a:xfrm>
        </p:grpSpPr>
        <p:sp>
          <p:nvSpPr>
            <p:cNvPr id="35" name="Rectangle 34">
              <a:extLst>
                <a:ext uri="{FF2B5EF4-FFF2-40B4-BE49-F238E27FC236}">
                  <a16:creationId xmlns:a16="http://schemas.microsoft.com/office/drawing/2014/main" id="{C06EA4C3-6AF6-03B9-EDF7-77AE07ED2F2B}"/>
                </a:ext>
              </a:extLst>
            </p:cNvPr>
            <p:cNvSpPr/>
            <p:nvPr/>
          </p:nvSpPr>
          <p:spPr>
            <a:xfrm>
              <a:off x="4589485" y="3758626"/>
              <a:ext cx="2616861" cy="3612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493" rtl="0" eaLnBrk="1" fontAlgn="auto" latinLnBrk="0" hangingPunct="1">
                <a:lnSpc>
                  <a:spcPct val="100000"/>
                </a:lnSpc>
                <a:spcBef>
                  <a:spcPts val="0"/>
                </a:spcBef>
                <a:spcAft>
                  <a:spcPts val="0"/>
                </a:spcAft>
                <a:buClrTx/>
                <a:buSzTx/>
                <a:buFontTx/>
                <a:buNone/>
                <a:tabLst/>
                <a:defRPr/>
              </a:pPr>
              <a:r>
                <a:rPr kumimoji="0" lang="en-US" sz="1599" b="1" i="0" u="none" strike="noStrike" kern="1200" cap="none" spc="0" normalizeH="0" baseline="0" noProof="0" dirty="0">
                  <a:ln>
                    <a:noFill/>
                  </a:ln>
                  <a:solidFill>
                    <a:srgbClr val="000000"/>
                  </a:solidFill>
                  <a:effectLst/>
                  <a:uLnTx/>
                  <a:uFillTx/>
                  <a:latin typeface="Arial" panose="020B0604020202020204"/>
                  <a:ea typeface="+mn-ea"/>
                  <a:cs typeface="+mn-cs"/>
                </a:rPr>
                <a:t>21-day cycles (up to 1 year)</a:t>
              </a:r>
            </a:p>
          </p:txBody>
        </p:sp>
        <p:sp>
          <p:nvSpPr>
            <p:cNvPr id="39" name="Left Brace 38">
              <a:extLst>
                <a:ext uri="{FF2B5EF4-FFF2-40B4-BE49-F238E27FC236}">
                  <a16:creationId xmlns:a16="http://schemas.microsoft.com/office/drawing/2014/main" id="{CE87F2A5-AE86-76B9-41FC-311A4D435F9F}"/>
                </a:ext>
              </a:extLst>
            </p:cNvPr>
            <p:cNvSpPr/>
            <p:nvPr/>
          </p:nvSpPr>
          <p:spPr>
            <a:xfrm rot="16200000">
              <a:off x="5802780" y="2167739"/>
              <a:ext cx="138213" cy="3028283"/>
            </a:xfrm>
            <a:prstGeom prst="leftBrace">
              <a:avLst>
                <a:gd name="adj1" fmla="val 35899"/>
                <a:gd name="adj2" fmla="val 48637"/>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09493"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cxnSp>
          <p:nvCxnSpPr>
            <p:cNvPr id="6" name="Google Shape;139;p11">
              <a:extLst>
                <a:ext uri="{FF2B5EF4-FFF2-40B4-BE49-F238E27FC236}">
                  <a16:creationId xmlns:a16="http://schemas.microsoft.com/office/drawing/2014/main" id="{939D8245-AC8D-E13D-9B7F-8388F2D52520}"/>
                </a:ext>
              </a:extLst>
            </p:cNvPr>
            <p:cNvCxnSpPr>
              <a:cxnSpLocks/>
            </p:cNvCxnSpPr>
            <p:nvPr/>
          </p:nvCxnSpPr>
          <p:spPr>
            <a:xfrm>
              <a:off x="4882235" y="2066151"/>
              <a:ext cx="0" cy="1141807"/>
            </a:xfrm>
            <a:prstGeom prst="straightConnector1">
              <a:avLst/>
            </a:prstGeom>
            <a:noFill/>
            <a:ln w="12700" cap="flat" cmpd="sng">
              <a:solidFill>
                <a:srgbClr val="000000"/>
              </a:solidFill>
              <a:prstDash val="solid"/>
              <a:round/>
              <a:headEnd type="none" w="sm" len="sm"/>
              <a:tailEnd type="triangle" w="med" len="med"/>
            </a:ln>
          </p:spPr>
        </p:cxnSp>
        <p:cxnSp>
          <p:nvCxnSpPr>
            <p:cNvPr id="8" name="Google Shape;138;p11">
              <a:extLst>
                <a:ext uri="{FF2B5EF4-FFF2-40B4-BE49-F238E27FC236}">
                  <a16:creationId xmlns:a16="http://schemas.microsoft.com/office/drawing/2014/main" id="{CEA67361-969F-C6A7-6133-D10C8856D802}"/>
                </a:ext>
              </a:extLst>
            </p:cNvPr>
            <p:cNvCxnSpPr>
              <a:cxnSpLocks/>
            </p:cNvCxnSpPr>
            <p:nvPr/>
          </p:nvCxnSpPr>
          <p:spPr>
            <a:xfrm>
              <a:off x="5276937" y="1963773"/>
              <a:ext cx="0" cy="1245645"/>
            </a:xfrm>
            <a:prstGeom prst="straightConnector1">
              <a:avLst/>
            </a:prstGeom>
            <a:noFill/>
            <a:ln w="12700" cap="flat" cmpd="sng">
              <a:solidFill>
                <a:srgbClr val="000000"/>
              </a:solidFill>
              <a:prstDash val="solid"/>
              <a:round/>
              <a:headEnd type="none" w="sm" len="sm"/>
              <a:tailEnd type="triangle" w="med" len="med"/>
            </a:ln>
          </p:spPr>
        </p:cxnSp>
        <p:cxnSp>
          <p:nvCxnSpPr>
            <p:cNvPr id="9" name="Google Shape;140;p11">
              <a:extLst>
                <a:ext uri="{FF2B5EF4-FFF2-40B4-BE49-F238E27FC236}">
                  <a16:creationId xmlns:a16="http://schemas.microsoft.com/office/drawing/2014/main" id="{C5607ADA-1110-E1AE-D563-544E0B6EC6DF}"/>
                </a:ext>
              </a:extLst>
            </p:cNvPr>
            <p:cNvCxnSpPr>
              <a:cxnSpLocks/>
            </p:cNvCxnSpPr>
            <p:nvPr/>
          </p:nvCxnSpPr>
          <p:spPr>
            <a:xfrm>
              <a:off x="6416382" y="1964274"/>
              <a:ext cx="0" cy="1245145"/>
            </a:xfrm>
            <a:prstGeom prst="straightConnector1">
              <a:avLst/>
            </a:prstGeom>
            <a:noFill/>
            <a:ln w="12700" cap="flat" cmpd="sng">
              <a:solidFill>
                <a:srgbClr val="000000"/>
              </a:solidFill>
              <a:prstDash val="solid"/>
              <a:round/>
              <a:headEnd type="none" w="sm" len="sm"/>
              <a:tailEnd type="triangle" w="med" len="med"/>
            </a:ln>
          </p:spPr>
        </p:cxnSp>
        <p:sp>
          <p:nvSpPr>
            <p:cNvPr id="14" name="Google Shape;128;p11">
              <a:extLst>
                <a:ext uri="{FF2B5EF4-FFF2-40B4-BE49-F238E27FC236}">
                  <a16:creationId xmlns:a16="http://schemas.microsoft.com/office/drawing/2014/main" id="{34DE3944-CC4D-8072-74D6-7D64C01FB086}"/>
                </a:ext>
              </a:extLst>
            </p:cNvPr>
            <p:cNvSpPr/>
            <p:nvPr/>
          </p:nvSpPr>
          <p:spPr>
            <a:xfrm>
              <a:off x="4351941" y="3214176"/>
              <a:ext cx="846756" cy="246838"/>
            </a:xfrm>
            <a:prstGeom prst="rect">
              <a:avLst/>
            </a:prstGeom>
            <a:solidFill>
              <a:srgbClr val="7F7F7F"/>
            </a:solidFill>
            <a:ln>
              <a:noFill/>
            </a:ln>
          </p:spPr>
          <p:txBody>
            <a:bodyPr spcFirstLastPara="1" wrap="square" lIns="121820" tIns="60893" rIns="121820" bIns="60893" anchor="ctr" anchorCtr="0">
              <a:noAutofit/>
            </a:bodyPr>
            <a:lstStyle/>
            <a:p>
              <a:pPr marL="0" marR="0" lvl="0" indent="0" algn="ctr" defTabSz="609493" rtl="0" eaLnBrk="1" fontAlgn="auto" latinLnBrk="0" hangingPunct="1">
                <a:lnSpc>
                  <a:spcPct val="100000"/>
                </a:lnSpc>
                <a:spcBef>
                  <a:spcPts val="0"/>
                </a:spcBef>
                <a:spcAft>
                  <a:spcPts val="0"/>
                </a:spcAft>
                <a:buClr>
                  <a:srgbClr val="FFFFFF"/>
                </a:buClr>
                <a:buSzPts val="1050"/>
                <a:buFontTx/>
                <a:buNone/>
                <a:tabLst/>
                <a:defRPr/>
              </a:pPr>
              <a:r>
                <a:rPr kumimoji="0" lang="en-US" sz="1400" b="0" i="0" u="none" strike="noStrike" kern="1200" cap="none" spc="0" normalizeH="0" baseline="0" noProof="0" dirty="0">
                  <a:ln>
                    <a:noFill/>
                  </a:ln>
                  <a:solidFill>
                    <a:srgbClr val="FFFFFF"/>
                  </a:solidFill>
                  <a:effectLst/>
                  <a:uLnTx/>
                  <a:uFillTx/>
                  <a:latin typeface="Arial"/>
                  <a:ea typeface="Arial"/>
                  <a:cs typeface="Arial"/>
                  <a:sym typeface="Arial"/>
                </a:rPr>
                <a:t>C1</a:t>
              </a:r>
              <a:endParaRPr kumimoji="0" lang="en-US" sz="2398"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7" name="Google Shape;132;p11">
              <a:extLst>
                <a:ext uri="{FF2B5EF4-FFF2-40B4-BE49-F238E27FC236}">
                  <a16:creationId xmlns:a16="http://schemas.microsoft.com/office/drawing/2014/main" id="{27707109-BF41-8749-311B-1632A37B04D4}"/>
                </a:ext>
              </a:extLst>
            </p:cNvPr>
            <p:cNvSpPr/>
            <p:nvPr/>
          </p:nvSpPr>
          <p:spPr>
            <a:xfrm>
              <a:off x="6367807" y="3214176"/>
              <a:ext cx="846756" cy="246838"/>
            </a:xfrm>
            <a:prstGeom prst="rect">
              <a:avLst/>
            </a:prstGeom>
            <a:solidFill>
              <a:srgbClr val="7F7F7F"/>
            </a:solidFill>
            <a:ln>
              <a:noFill/>
            </a:ln>
          </p:spPr>
          <p:txBody>
            <a:bodyPr spcFirstLastPara="1" wrap="square" lIns="121820" tIns="60893" rIns="121820" bIns="60893" anchor="ctr" anchorCtr="0">
              <a:noAutofit/>
            </a:bodyPr>
            <a:lstStyle/>
            <a:p>
              <a:pPr marL="0" marR="0" lvl="0" indent="0" algn="ctr" defTabSz="609493" rtl="0" eaLnBrk="1" fontAlgn="auto" latinLnBrk="0" hangingPunct="1">
                <a:lnSpc>
                  <a:spcPct val="100000"/>
                </a:lnSpc>
                <a:spcBef>
                  <a:spcPts val="0"/>
                </a:spcBef>
                <a:spcAft>
                  <a:spcPts val="0"/>
                </a:spcAft>
                <a:buClr>
                  <a:srgbClr val="FFFFFF"/>
                </a:buClr>
                <a:buSzPts val="1050"/>
                <a:buFontTx/>
                <a:buNone/>
                <a:tabLst/>
                <a:defRPr/>
              </a:pPr>
              <a:r>
                <a:rPr kumimoji="0" lang="en-US" sz="1400" b="0" i="0" u="none" strike="noStrike" kern="1200" cap="none" spc="0" normalizeH="0" baseline="0" noProof="0" dirty="0">
                  <a:ln>
                    <a:noFill/>
                  </a:ln>
                  <a:solidFill>
                    <a:srgbClr val="FFFFFF"/>
                  </a:solidFill>
                  <a:effectLst/>
                  <a:uLnTx/>
                  <a:uFillTx/>
                  <a:latin typeface="Arial"/>
                  <a:ea typeface="Arial"/>
                  <a:cs typeface="Arial"/>
                  <a:sym typeface="Arial"/>
                </a:rPr>
                <a:t>C17</a:t>
              </a:r>
              <a:endParaRPr kumimoji="0" lang="en-US" sz="2398"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cxnSp>
          <p:nvCxnSpPr>
            <p:cNvPr id="26" name="Google Shape;134;p11">
              <a:extLst>
                <a:ext uri="{FF2B5EF4-FFF2-40B4-BE49-F238E27FC236}">
                  <a16:creationId xmlns:a16="http://schemas.microsoft.com/office/drawing/2014/main" id="{9DA1044A-154F-8883-CDA8-FE69FC0C87DF}"/>
                </a:ext>
              </a:extLst>
            </p:cNvPr>
            <p:cNvCxnSpPr>
              <a:cxnSpLocks/>
              <a:endCxn id="17" idx="1"/>
            </p:cNvCxnSpPr>
            <p:nvPr/>
          </p:nvCxnSpPr>
          <p:spPr>
            <a:xfrm>
              <a:off x="5892920" y="3337595"/>
              <a:ext cx="474886" cy="0"/>
            </a:xfrm>
            <a:prstGeom prst="straightConnector1">
              <a:avLst/>
            </a:prstGeom>
            <a:noFill/>
            <a:ln w="12700" cap="flat" cmpd="sng">
              <a:solidFill>
                <a:srgbClr val="000000"/>
              </a:solidFill>
              <a:prstDash val="dot"/>
              <a:round/>
              <a:headEnd type="none" w="sm" len="sm"/>
              <a:tailEnd type="triangle" w="med" len="med"/>
            </a:ln>
          </p:spPr>
        </p:cxnSp>
        <p:sp>
          <p:nvSpPr>
            <p:cNvPr id="27" name="Google Shape;135;p11">
              <a:extLst>
                <a:ext uri="{FF2B5EF4-FFF2-40B4-BE49-F238E27FC236}">
                  <a16:creationId xmlns:a16="http://schemas.microsoft.com/office/drawing/2014/main" id="{19A8745F-243D-74B6-0B16-5C84B4969DE4}"/>
                </a:ext>
              </a:extLst>
            </p:cNvPr>
            <p:cNvSpPr/>
            <p:nvPr/>
          </p:nvSpPr>
          <p:spPr>
            <a:xfrm>
              <a:off x="4193649" y="1851747"/>
              <a:ext cx="863382" cy="307774"/>
            </a:xfrm>
            <a:prstGeom prst="rect">
              <a:avLst/>
            </a:prstGeom>
            <a:solidFill>
              <a:schemeClr val="tx2"/>
            </a:solidFill>
            <a:ln>
              <a:noFill/>
            </a:ln>
          </p:spPr>
          <p:txBody>
            <a:bodyPr spcFirstLastPara="1" wrap="square" lIns="0" tIns="47969" rIns="0" bIns="47969" anchor="ctr" anchorCtr="0">
              <a:noAutofit/>
            </a:bodyPr>
            <a:lstStyle/>
            <a:p>
              <a:pPr marL="0" marR="0" lvl="0" indent="0" algn="ctr" defTabSz="609493" rtl="0" eaLnBrk="1" fontAlgn="auto" latinLnBrk="0" hangingPunct="1">
                <a:lnSpc>
                  <a:spcPct val="100000"/>
                </a:lnSpc>
                <a:spcBef>
                  <a:spcPts val="0"/>
                </a:spcBef>
                <a:spcAft>
                  <a:spcPts val="0"/>
                </a:spcAft>
                <a:buClr>
                  <a:srgbClr val="000000"/>
                </a:buClr>
                <a:buSzPts val="1050"/>
                <a:buFontTx/>
                <a:buNone/>
                <a:tabLst/>
                <a:defRPr/>
              </a:pPr>
              <a:r>
                <a:rPr kumimoji="0" lang="en-US" sz="1400" b="0" i="0" u="none" strike="noStrike" kern="1200" cap="none" spc="0" normalizeH="0" baseline="0" noProof="0" dirty="0">
                  <a:ln>
                    <a:noFill/>
                  </a:ln>
                  <a:solidFill>
                    <a:srgbClr val="FFFFFF"/>
                  </a:solidFill>
                  <a:effectLst/>
                  <a:uLnTx/>
                  <a:uFillTx/>
                  <a:latin typeface="Arial"/>
                  <a:ea typeface="Arial"/>
                  <a:cs typeface="Arial"/>
                  <a:sym typeface="Arial"/>
                </a:rPr>
                <a:t>D15: 45mg</a:t>
              </a:r>
              <a:endParaRPr kumimoji="0" lang="en-US" sz="2398"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cxnSp>
          <p:nvCxnSpPr>
            <p:cNvPr id="32" name="Google Shape;136;p11">
              <a:extLst>
                <a:ext uri="{FF2B5EF4-FFF2-40B4-BE49-F238E27FC236}">
                  <a16:creationId xmlns:a16="http://schemas.microsoft.com/office/drawing/2014/main" id="{37B8EC40-94CF-B394-3686-14CB5DF4C825}"/>
                </a:ext>
              </a:extLst>
            </p:cNvPr>
            <p:cNvCxnSpPr/>
            <p:nvPr/>
          </p:nvCxnSpPr>
          <p:spPr>
            <a:xfrm>
              <a:off x="4355664" y="3006516"/>
              <a:ext cx="0" cy="201440"/>
            </a:xfrm>
            <a:prstGeom prst="straightConnector1">
              <a:avLst/>
            </a:prstGeom>
            <a:noFill/>
            <a:ln w="12700" cap="flat" cmpd="sng">
              <a:solidFill>
                <a:srgbClr val="000000"/>
              </a:solidFill>
              <a:prstDash val="solid"/>
              <a:round/>
              <a:headEnd type="none" w="sm" len="sm"/>
              <a:tailEnd type="triangle" w="med" len="med"/>
            </a:ln>
          </p:spPr>
        </p:cxnSp>
        <p:cxnSp>
          <p:nvCxnSpPr>
            <p:cNvPr id="38" name="Google Shape;137;p11">
              <a:extLst>
                <a:ext uri="{FF2B5EF4-FFF2-40B4-BE49-F238E27FC236}">
                  <a16:creationId xmlns:a16="http://schemas.microsoft.com/office/drawing/2014/main" id="{D177C4DC-D23D-A0A6-E339-E1D317C54F0E}"/>
                </a:ext>
              </a:extLst>
            </p:cNvPr>
            <p:cNvCxnSpPr>
              <a:cxnSpLocks/>
            </p:cNvCxnSpPr>
            <p:nvPr/>
          </p:nvCxnSpPr>
          <p:spPr>
            <a:xfrm>
              <a:off x="4626944" y="2518643"/>
              <a:ext cx="0" cy="689312"/>
            </a:xfrm>
            <a:prstGeom prst="straightConnector1">
              <a:avLst/>
            </a:prstGeom>
            <a:noFill/>
            <a:ln w="12700" cap="flat" cmpd="sng">
              <a:solidFill>
                <a:srgbClr val="000000"/>
              </a:solidFill>
              <a:prstDash val="solid"/>
              <a:round/>
              <a:headEnd type="none" w="sm" len="sm"/>
              <a:tailEnd type="triangle" w="med" len="med"/>
            </a:ln>
          </p:spPr>
        </p:cxnSp>
        <p:sp>
          <p:nvSpPr>
            <p:cNvPr id="44" name="Google Shape;141;p11">
              <a:extLst>
                <a:ext uri="{FF2B5EF4-FFF2-40B4-BE49-F238E27FC236}">
                  <a16:creationId xmlns:a16="http://schemas.microsoft.com/office/drawing/2014/main" id="{50D03E71-37C8-4D56-FFA7-BA50E91AEC66}"/>
                </a:ext>
              </a:extLst>
            </p:cNvPr>
            <p:cNvSpPr/>
            <p:nvPr/>
          </p:nvSpPr>
          <p:spPr>
            <a:xfrm>
              <a:off x="3853671" y="2717259"/>
              <a:ext cx="715976" cy="307774"/>
            </a:xfrm>
            <a:prstGeom prst="rect">
              <a:avLst/>
            </a:prstGeom>
            <a:solidFill>
              <a:schemeClr val="accent3"/>
            </a:solidFill>
            <a:ln>
              <a:noFill/>
            </a:ln>
          </p:spPr>
          <p:txBody>
            <a:bodyPr spcFirstLastPara="1" wrap="square" lIns="0" tIns="47969" rIns="0" bIns="47969" anchor="ctr" anchorCtr="0">
              <a:noAutofit/>
            </a:bodyPr>
            <a:lstStyle/>
            <a:p>
              <a:pPr marL="0" marR="0" lvl="0" indent="0" algn="ctr" defTabSz="609493" rtl="0" eaLnBrk="1" fontAlgn="auto" latinLnBrk="0" hangingPunct="1">
                <a:lnSpc>
                  <a:spcPct val="100000"/>
                </a:lnSpc>
                <a:spcBef>
                  <a:spcPts val="0"/>
                </a:spcBef>
                <a:spcAft>
                  <a:spcPts val="0"/>
                </a:spcAft>
                <a:buClr>
                  <a:srgbClr val="000000"/>
                </a:buClr>
                <a:buSzPts val="1050"/>
                <a:buFontTx/>
                <a:buNone/>
                <a:tabLst/>
                <a:defRPr/>
              </a:pPr>
              <a:r>
                <a:rPr kumimoji="0" lang="en-US" sz="1400" b="0" i="0" u="none" strike="noStrike" kern="1200" cap="none" spc="0" normalizeH="0" baseline="0" noProof="0" dirty="0">
                  <a:ln>
                    <a:noFill/>
                  </a:ln>
                  <a:solidFill>
                    <a:srgbClr val="FFFFFF"/>
                  </a:solidFill>
                  <a:effectLst/>
                  <a:uLnTx/>
                  <a:uFillTx/>
                  <a:latin typeface="Arial"/>
                  <a:ea typeface="Arial"/>
                  <a:cs typeface="Arial"/>
                  <a:sym typeface="Arial"/>
                </a:rPr>
                <a:t>D1: 5mg</a:t>
              </a:r>
            </a:p>
          </p:txBody>
        </p:sp>
        <p:sp>
          <p:nvSpPr>
            <p:cNvPr id="45" name="Google Shape;135;p11">
              <a:extLst>
                <a:ext uri="{FF2B5EF4-FFF2-40B4-BE49-F238E27FC236}">
                  <a16:creationId xmlns:a16="http://schemas.microsoft.com/office/drawing/2014/main" id="{9C5354FE-8564-8B18-8809-6E58A58A0382}"/>
                </a:ext>
              </a:extLst>
            </p:cNvPr>
            <p:cNvSpPr/>
            <p:nvPr/>
          </p:nvSpPr>
          <p:spPr>
            <a:xfrm>
              <a:off x="5152427" y="1851747"/>
              <a:ext cx="863384" cy="307774"/>
            </a:xfrm>
            <a:prstGeom prst="rect">
              <a:avLst/>
            </a:prstGeom>
            <a:solidFill>
              <a:schemeClr val="tx2"/>
            </a:solidFill>
            <a:ln>
              <a:noFill/>
            </a:ln>
          </p:spPr>
          <p:txBody>
            <a:bodyPr spcFirstLastPara="1" wrap="square" lIns="0" tIns="47969" rIns="0" bIns="47969" anchor="ctr" anchorCtr="0">
              <a:noAutofit/>
            </a:bodyPr>
            <a:lstStyle/>
            <a:p>
              <a:pPr marL="0" marR="0" lvl="0" indent="0" algn="ctr" defTabSz="609493" rtl="0" eaLnBrk="1" fontAlgn="auto" latinLnBrk="0" hangingPunct="1">
                <a:lnSpc>
                  <a:spcPct val="100000"/>
                </a:lnSpc>
                <a:spcBef>
                  <a:spcPts val="0"/>
                </a:spcBef>
                <a:spcAft>
                  <a:spcPts val="0"/>
                </a:spcAft>
                <a:buClr>
                  <a:srgbClr val="000000"/>
                </a:buClr>
                <a:buSzPts val="1050"/>
                <a:buFontTx/>
                <a:buNone/>
                <a:tabLst/>
                <a:defRPr/>
              </a:pPr>
              <a:r>
                <a:rPr kumimoji="0" lang="en-US" sz="1400" b="0" i="0" u="none" strike="noStrike" kern="1200" cap="none" spc="0" normalizeH="0" baseline="0" noProof="0" dirty="0">
                  <a:ln>
                    <a:noFill/>
                  </a:ln>
                  <a:solidFill>
                    <a:srgbClr val="FFFFFF"/>
                  </a:solidFill>
                  <a:effectLst/>
                  <a:uLnTx/>
                  <a:uFillTx/>
                  <a:latin typeface="Arial"/>
                  <a:ea typeface="Arial"/>
                  <a:cs typeface="Arial"/>
                  <a:sym typeface="Arial"/>
                </a:rPr>
                <a:t>D1: 45mg</a:t>
              </a:r>
              <a:endParaRPr kumimoji="0" lang="en-US" sz="2398"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7" name="Google Shape;129;p11">
              <a:extLst>
                <a:ext uri="{FF2B5EF4-FFF2-40B4-BE49-F238E27FC236}">
                  <a16:creationId xmlns:a16="http://schemas.microsoft.com/office/drawing/2014/main" id="{663E01E4-9EF7-2843-B3CA-7659779EBA9C}"/>
                </a:ext>
              </a:extLst>
            </p:cNvPr>
            <p:cNvSpPr/>
            <p:nvPr/>
          </p:nvSpPr>
          <p:spPr>
            <a:xfrm>
              <a:off x="5220332" y="3214176"/>
              <a:ext cx="846756" cy="246838"/>
            </a:xfrm>
            <a:prstGeom prst="rect">
              <a:avLst/>
            </a:prstGeom>
            <a:solidFill>
              <a:srgbClr val="7F7F7F"/>
            </a:solidFill>
            <a:ln>
              <a:noFill/>
            </a:ln>
          </p:spPr>
          <p:txBody>
            <a:bodyPr spcFirstLastPara="1" wrap="square" lIns="121820" tIns="60893" rIns="121820" bIns="60893" anchor="ctr" anchorCtr="0">
              <a:noAutofit/>
            </a:bodyPr>
            <a:lstStyle/>
            <a:p>
              <a:pPr marL="0" marR="0" lvl="0" indent="0" algn="ctr" defTabSz="609493" rtl="0" eaLnBrk="1" fontAlgn="auto" latinLnBrk="0" hangingPunct="1">
                <a:lnSpc>
                  <a:spcPct val="100000"/>
                </a:lnSpc>
                <a:spcBef>
                  <a:spcPts val="0"/>
                </a:spcBef>
                <a:spcAft>
                  <a:spcPts val="0"/>
                </a:spcAft>
                <a:buClr>
                  <a:srgbClr val="FFFFFF"/>
                </a:buClr>
                <a:buSzPts val="1050"/>
                <a:buFontTx/>
                <a:buNone/>
                <a:tabLst/>
                <a:defRPr/>
              </a:pPr>
              <a:r>
                <a:rPr kumimoji="0" lang="en-US" sz="1400" b="0" i="0" u="none" strike="noStrike" kern="1200" cap="none" spc="0" normalizeH="0" baseline="0" noProof="0" dirty="0">
                  <a:ln>
                    <a:noFill/>
                  </a:ln>
                  <a:solidFill>
                    <a:srgbClr val="FFFFFF"/>
                  </a:solidFill>
                  <a:effectLst/>
                  <a:uLnTx/>
                  <a:uFillTx/>
                  <a:latin typeface="Arial"/>
                  <a:ea typeface="Arial"/>
                  <a:cs typeface="Arial"/>
                  <a:sym typeface="Arial"/>
                </a:rPr>
                <a:t>C2</a:t>
              </a:r>
              <a:endParaRPr kumimoji="0" lang="en-US" sz="2398"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8" name="Google Shape;131;p11">
              <a:extLst>
                <a:ext uri="{FF2B5EF4-FFF2-40B4-BE49-F238E27FC236}">
                  <a16:creationId xmlns:a16="http://schemas.microsoft.com/office/drawing/2014/main" id="{D076C77B-0E62-1175-73AF-CB3E8810E9B8}"/>
                </a:ext>
              </a:extLst>
            </p:cNvPr>
            <p:cNvSpPr/>
            <p:nvPr/>
          </p:nvSpPr>
          <p:spPr>
            <a:xfrm>
              <a:off x="4017851" y="2284185"/>
              <a:ext cx="807981" cy="307774"/>
            </a:xfrm>
            <a:prstGeom prst="rect">
              <a:avLst/>
            </a:prstGeom>
            <a:solidFill>
              <a:schemeClr val="tx2"/>
            </a:solidFill>
            <a:ln>
              <a:noFill/>
            </a:ln>
          </p:spPr>
          <p:txBody>
            <a:bodyPr spcFirstLastPara="1" wrap="square" lIns="0" tIns="47969" rIns="0" bIns="47969" anchor="ctr" anchorCtr="0">
              <a:noAutofit/>
            </a:bodyPr>
            <a:lstStyle/>
            <a:p>
              <a:pPr marL="0" marR="0" lvl="0" indent="0" algn="ctr" defTabSz="609493" rtl="0" eaLnBrk="1" fontAlgn="auto" latinLnBrk="0" hangingPunct="1">
                <a:lnSpc>
                  <a:spcPct val="100000"/>
                </a:lnSpc>
                <a:spcBef>
                  <a:spcPts val="0"/>
                </a:spcBef>
                <a:spcAft>
                  <a:spcPts val="0"/>
                </a:spcAft>
                <a:buClr>
                  <a:srgbClr val="000000"/>
                </a:buClr>
                <a:buSzPts val="1050"/>
                <a:buFontTx/>
                <a:buNone/>
                <a:tabLst/>
                <a:defRPr/>
              </a:pPr>
              <a:r>
                <a:rPr kumimoji="0" lang="en-US" sz="1400" b="0" i="0" u="none" strike="noStrike" kern="1200" cap="none" spc="0" normalizeH="0" baseline="0" noProof="0" dirty="0">
                  <a:ln>
                    <a:noFill/>
                  </a:ln>
                  <a:solidFill>
                    <a:srgbClr val="FFFFFF"/>
                  </a:solidFill>
                  <a:effectLst/>
                  <a:uLnTx/>
                  <a:uFillTx/>
                  <a:latin typeface="Arial"/>
                  <a:ea typeface="Arial"/>
                  <a:cs typeface="Arial"/>
                  <a:sym typeface="Arial"/>
                </a:rPr>
                <a:t>D8: 45mg</a:t>
              </a:r>
              <a:endParaRPr kumimoji="0" lang="en-US" sz="2398"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0" name="Google Shape;135;p11">
              <a:extLst>
                <a:ext uri="{FF2B5EF4-FFF2-40B4-BE49-F238E27FC236}">
                  <a16:creationId xmlns:a16="http://schemas.microsoft.com/office/drawing/2014/main" id="{2D33C1C0-F31E-C890-C110-BC9F601A640E}"/>
                </a:ext>
              </a:extLst>
            </p:cNvPr>
            <p:cNvSpPr/>
            <p:nvPr/>
          </p:nvSpPr>
          <p:spPr>
            <a:xfrm>
              <a:off x="6298696" y="1853056"/>
              <a:ext cx="863384" cy="307774"/>
            </a:xfrm>
            <a:prstGeom prst="rect">
              <a:avLst/>
            </a:prstGeom>
            <a:solidFill>
              <a:schemeClr val="tx2"/>
            </a:solidFill>
            <a:ln>
              <a:noFill/>
            </a:ln>
          </p:spPr>
          <p:txBody>
            <a:bodyPr spcFirstLastPara="1" wrap="square" lIns="0" tIns="47969" rIns="0" bIns="47969" anchor="ctr" anchorCtr="0">
              <a:noAutofit/>
            </a:bodyPr>
            <a:lstStyle/>
            <a:p>
              <a:pPr marL="0" marR="0" lvl="0" indent="0" algn="ctr" defTabSz="609493" rtl="0" eaLnBrk="1" fontAlgn="auto" latinLnBrk="0" hangingPunct="1">
                <a:lnSpc>
                  <a:spcPct val="100000"/>
                </a:lnSpc>
                <a:spcBef>
                  <a:spcPts val="0"/>
                </a:spcBef>
                <a:spcAft>
                  <a:spcPts val="0"/>
                </a:spcAft>
                <a:buClr>
                  <a:srgbClr val="000000"/>
                </a:buClr>
                <a:buSzPts val="1050"/>
                <a:buFontTx/>
                <a:buNone/>
                <a:tabLst/>
                <a:defRPr/>
              </a:pPr>
              <a:r>
                <a:rPr kumimoji="0" lang="en-US" sz="1400" b="0" i="0" u="none" strike="noStrike" kern="1200" cap="none" spc="0" normalizeH="0" baseline="0" noProof="0" dirty="0">
                  <a:ln>
                    <a:noFill/>
                  </a:ln>
                  <a:solidFill>
                    <a:srgbClr val="FFFFFF"/>
                  </a:solidFill>
                  <a:effectLst/>
                  <a:uLnTx/>
                  <a:uFillTx/>
                  <a:latin typeface="Arial"/>
                  <a:ea typeface="Arial"/>
                  <a:cs typeface="Arial"/>
                  <a:sym typeface="Arial"/>
                </a:rPr>
                <a:t>D1: 45mg</a:t>
              </a:r>
              <a:endParaRPr kumimoji="0" lang="en-US" sz="2398"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cxnSp>
          <p:nvCxnSpPr>
            <p:cNvPr id="3" name="Google Shape;134;p11">
              <a:extLst>
                <a:ext uri="{FF2B5EF4-FFF2-40B4-BE49-F238E27FC236}">
                  <a16:creationId xmlns:a16="http://schemas.microsoft.com/office/drawing/2014/main" id="{2814652D-7835-3D1B-A4E9-05044E20E5AA}"/>
                </a:ext>
              </a:extLst>
            </p:cNvPr>
            <p:cNvCxnSpPr>
              <a:cxnSpLocks/>
              <a:stCxn id="17" idx="3"/>
            </p:cNvCxnSpPr>
            <p:nvPr/>
          </p:nvCxnSpPr>
          <p:spPr>
            <a:xfrm>
              <a:off x="7214563" y="3337595"/>
              <a:ext cx="206302" cy="0"/>
            </a:xfrm>
            <a:prstGeom prst="straightConnector1">
              <a:avLst/>
            </a:prstGeom>
            <a:noFill/>
            <a:ln w="12700" cap="flat" cmpd="sng">
              <a:solidFill>
                <a:srgbClr val="000000"/>
              </a:solidFill>
              <a:prstDash val="dot"/>
              <a:round/>
              <a:headEnd type="none" w="sm" len="sm"/>
              <a:tailEnd type="triangle" w="med" len="med"/>
            </a:ln>
          </p:spPr>
        </p:cxnSp>
        <p:sp>
          <p:nvSpPr>
            <p:cNvPr id="11" name="Google Shape;135;p11">
              <a:extLst>
                <a:ext uri="{FF2B5EF4-FFF2-40B4-BE49-F238E27FC236}">
                  <a16:creationId xmlns:a16="http://schemas.microsoft.com/office/drawing/2014/main" id="{D1CBE0A1-E47B-244C-1FDA-0FDFB86532FB}"/>
                </a:ext>
              </a:extLst>
            </p:cNvPr>
            <p:cNvSpPr/>
            <p:nvPr/>
          </p:nvSpPr>
          <p:spPr>
            <a:xfrm>
              <a:off x="7438780" y="2388247"/>
              <a:ext cx="1696267" cy="1207957"/>
            </a:xfrm>
            <a:prstGeom prst="rect">
              <a:avLst/>
            </a:prstGeom>
            <a:solidFill>
              <a:schemeClr val="accent6">
                <a:lumMod val="20000"/>
                <a:lumOff val="80000"/>
              </a:schemeClr>
            </a:solidFill>
            <a:ln w="19050">
              <a:solidFill>
                <a:schemeClr val="accent6"/>
              </a:solidFill>
              <a:prstDash val="lgDash"/>
            </a:ln>
          </p:spPr>
          <p:txBody>
            <a:bodyPr spcFirstLastPara="1" wrap="square" lIns="0" tIns="47969" rIns="0" bIns="47969" anchor="ctr" anchorCtr="0">
              <a:noAutofit/>
            </a:bodyPr>
            <a:lstStyle/>
            <a:p>
              <a:pPr marL="0" marR="0" lvl="0" indent="0" algn="ctr" defTabSz="609493" rtl="0" eaLnBrk="1" fontAlgn="auto" latinLnBrk="0" hangingPunct="1">
                <a:lnSpc>
                  <a:spcPct val="100000"/>
                </a:lnSpc>
                <a:spcBef>
                  <a:spcPts val="0"/>
                </a:spcBef>
                <a:spcAft>
                  <a:spcPts val="0"/>
                </a:spcAft>
                <a:buClr>
                  <a:srgbClr val="000000"/>
                </a:buClr>
                <a:buSzPts val="1050"/>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a:sym typeface="Arial"/>
                </a:rPr>
                <a:t>Patients with </a:t>
              </a:r>
              <a:br>
                <a:rPr kumimoji="0" lang="en-US" sz="1200" b="1" i="0" u="none" strike="noStrike" kern="1200" cap="none" spc="0" normalizeH="0" baseline="0" noProof="0" dirty="0">
                  <a:ln>
                    <a:noFill/>
                  </a:ln>
                  <a:solidFill>
                    <a:srgbClr val="000000"/>
                  </a:solidFill>
                  <a:effectLst/>
                  <a:uLnTx/>
                  <a:uFillTx/>
                  <a:latin typeface="Arial"/>
                  <a:ea typeface="+mn-ea"/>
                  <a:cs typeface="Arial"/>
                  <a:sym typeface="Arial"/>
                </a:rPr>
              </a:br>
              <a:r>
                <a:rPr kumimoji="0" lang="en-US" sz="1200" b="1" i="0" u="none" strike="noStrike" kern="1200" cap="none" spc="0" normalizeH="0" baseline="0" noProof="0" dirty="0">
                  <a:ln>
                    <a:noFill/>
                  </a:ln>
                  <a:solidFill>
                    <a:srgbClr val="000000"/>
                  </a:solidFill>
                  <a:effectLst/>
                  <a:uLnTx/>
                  <a:uFillTx/>
                  <a:latin typeface="Arial"/>
                  <a:ea typeface="+mn-ea"/>
                  <a:cs typeface="Arial"/>
                  <a:sym typeface="Arial"/>
                </a:rPr>
                <a:t>PMR/CMR after C17: optional maintenance therapy</a:t>
              </a:r>
              <a:r>
                <a:rPr kumimoji="0" lang="en-US" sz="1200" b="0" i="0" u="none" strike="noStrike" kern="1200" cap="none" spc="0" normalizeH="0" baseline="0" noProof="0" dirty="0">
                  <a:ln>
                    <a:noFill/>
                  </a:ln>
                  <a:solidFill>
                    <a:srgbClr val="000000"/>
                  </a:solidFill>
                  <a:effectLst/>
                  <a:uLnTx/>
                  <a:uFillTx/>
                  <a:latin typeface="Arial"/>
                  <a:ea typeface="+mn-ea"/>
                  <a:cs typeface="Arial"/>
                  <a:sym typeface="Arial"/>
                </a:rPr>
                <a:t> with mosunetuzumab SC (45mg) every 8 weeks for </a:t>
              </a:r>
              <a:br>
                <a:rPr kumimoji="0" lang="en-US" sz="1200" b="0" i="0" u="none" strike="noStrike" kern="1200" cap="none" spc="0" normalizeH="0" baseline="0" noProof="0" dirty="0">
                  <a:ln>
                    <a:noFill/>
                  </a:ln>
                  <a:solidFill>
                    <a:srgbClr val="000000"/>
                  </a:solidFill>
                  <a:effectLst/>
                  <a:uLnTx/>
                  <a:uFillTx/>
                  <a:latin typeface="Arial"/>
                  <a:ea typeface="+mn-ea"/>
                  <a:cs typeface="Arial"/>
                  <a:sym typeface="Arial"/>
                </a:rPr>
              </a:br>
              <a:r>
                <a:rPr kumimoji="0" lang="en-US" sz="1200" b="0" i="0" u="none" strike="noStrike" kern="1200" cap="none" spc="0" normalizeH="0" baseline="0" noProof="0" dirty="0">
                  <a:ln>
                    <a:noFill/>
                  </a:ln>
                  <a:solidFill>
                    <a:srgbClr val="000000"/>
                  </a:solidFill>
                  <a:effectLst/>
                  <a:uLnTx/>
                  <a:uFillTx/>
                  <a:latin typeface="Arial"/>
                  <a:ea typeface="+mn-ea"/>
                  <a:cs typeface="Arial"/>
                  <a:sym typeface="Arial"/>
                </a:rPr>
                <a:t>up to 1 year</a:t>
              </a:r>
              <a:endParaRPr kumimoji="0" lang="en-US" sz="1866" b="0" i="0" u="none" strike="noStrike" kern="1200" cap="none" spc="0" normalizeH="0" baseline="30000" noProof="0" dirty="0">
                <a:ln>
                  <a:noFill/>
                </a:ln>
                <a:solidFill>
                  <a:srgbClr val="000000"/>
                </a:solidFill>
                <a:effectLst/>
                <a:uLnTx/>
                <a:uFillTx/>
                <a:latin typeface="Arial" panose="020B0604020202020204"/>
                <a:ea typeface="+mn-ea"/>
                <a:cs typeface="+mn-cs"/>
              </a:endParaRPr>
            </a:p>
          </p:txBody>
        </p:sp>
      </p:grpSp>
      <p:sp>
        <p:nvSpPr>
          <p:cNvPr id="19" name="TextBox 18">
            <a:extLst>
              <a:ext uri="{FF2B5EF4-FFF2-40B4-BE49-F238E27FC236}">
                <a16:creationId xmlns:a16="http://schemas.microsoft.com/office/drawing/2014/main" id="{DAB7E9D7-9317-84EF-0670-DAA4CA19BA4A}"/>
              </a:ext>
            </a:extLst>
          </p:cNvPr>
          <p:cNvSpPr txBox="1"/>
          <p:nvPr/>
        </p:nvSpPr>
        <p:spPr>
          <a:xfrm>
            <a:off x="8539327" y="6234478"/>
            <a:ext cx="3123906" cy="379463"/>
          </a:xfrm>
          <a:prstGeom prst="rect">
            <a:avLst/>
          </a:prstGeom>
          <a:noFill/>
        </p:spPr>
        <p:txBody>
          <a:bodyPr wrap="square" rtlCol="0">
            <a:spAutoFit/>
          </a:bodyPr>
          <a:lstStyle/>
          <a:p>
            <a:pPr marL="0" marR="0" lvl="0" indent="0" algn="l" defTabSz="609493" rtl="0" eaLnBrk="1" fontAlgn="auto" latinLnBrk="0" hangingPunct="1">
              <a:lnSpc>
                <a:spcPct val="100000"/>
              </a:lnSpc>
              <a:spcBef>
                <a:spcPts val="0"/>
              </a:spcBef>
              <a:spcAft>
                <a:spcPts val="0"/>
              </a:spcAft>
              <a:buClrTx/>
              <a:buSzTx/>
              <a:buFontTx/>
              <a:buNone/>
              <a:tabLst/>
              <a:defRPr/>
            </a:pPr>
            <a:r>
              <a:rPr kumimoji="0" lang="en-US" sz="1866" b="0" i="1" u="none" strike="noStrike" kern="1200" cap="none" spc="0" normalizeH="0" baseline="0" noProof="0" dirty="0">
                <a:ln>
                  <a:noFill/>
                </a:ln>
                <a:solidFill>
                  <a:srgbClr val="544F4F">
                    <a:lumMod val="50000"/>
                  </a:srgbClr>
                </a:solidFill>
                <a:effectLst/>
                <a:uLnTx/>
                <a:uFillTx/>
                <a:latin typeface="Arial" panose="020B0604020202020204"/>
                <a:ea typeface="+mn-ea"/>
                <a:cs typeface="+mn-cs"/>
              </a:rPr>
              <a:t>Burke JM, et al, ASH 2025</a:t>
            </a:r>
          </a:p>
        </p:txBody>
      </p:sp>
    </p:spTree>
    <p:extLst>
      <p:ext uri="{BB962C8B-B14F-4D97-AF65-F5344CB8AC3E}">
        <p14:creationId xmlns:p14="http://schemas.microsoft.com/office/powerpoint/2010/main" val="13375886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DC85C0-A7B3-EA82-9574-016CCBD37B09}"/>
              </a:ext>
            </a:extLst>
          </p:cNvPr>
          <p:cNvSpPr>
            <a:spLocks noGrp="1"/>
          </p:cNvSpPr>
          <p:nvPr>
            <p:ph type="title"/>
          </p:nvPr>
        </p:nvSpPr>
        <p:spPr>
          <a:xfrm>
            <a:off x="530039" y="241924"/>
            <a:ext cx="10911374" cy="907252"/>
          </a:xfrm>
        </p:spPr>
        <p:txBody>
          <a:bodyPr>
            <a:normAutofit fontScale="90000"/>
          </a:bodyPr>
          <a:lstStyle/>
          <a:p>
            <a:r>
              <a:rPr lang="en-US" noProof="0" dirty="0" err="1"/>
              <a:t>MorningSun</a:t>
            </a:r>
            <a:r>
              <a:rPr lang="en-US" noProof="0" dirty="0"/>
              <a:t> Phase II: Study </a:t>
            </a:r>
            <a:r>
              <a:rPr lang="en-US" dirty="0"/>
              <a:t>C</a:t>
            </a:r>
            <a:r>
              <a:rPr lang="en-US" noProof="0" dirty="0" err="1"/>
              <a:t>haracteristics</a:t>
            </a:r>
            <a:r>
              <a:rPr lang="en-US" noProof="0" dirty="0"/>
              <a:t> and Response</a:t>
            </a:r>
          </a:p>
        </p:txBody>
      </p:sp>
      <p:sp>
        <p:nvSpPr>
          <p:cNvPr id="8" name="TextBox 7">
            <a:extLst>
              <a:ext uri="{FF2B5EF4-FFF2-40B4-BE49-F238E27FC236}">
                <a16:creationId xmlns:a16="http://schemas.microsoft.com/office/drawing/2014/main" id="{6857BF8B-3F83-40AB-6FC1-8B241F484EFE}"/>
              </a:ext>
            </a:extLst>
          </p:cNvPr>
          <p:cNvSpPr txBox="1"/>
          <p:nvPr/>
        </p:nvSpPr>
        <p:spPr>
          <a:xfrm>
            <a:off x="3048941" y="1893544"/>
            <a:ext cx="6094119" cy="4030847"/>
          </a:xfrm>
          <a:prstGeom prst="rect">
            <a:avLst/>
          </a:prstGeom>
          <a:noFill/>
        </p:spPr>
        <p:txBody>
          <a:bodyPr wrap="square">
            <a:spAutoFit/>
          </a:bodyPr>
          <a:lstStyle/>
          <a:p>
            <a:pPr marL="0" marR="0" lvl="0" indent="0" algn="l" defTabSz="609493" rtl="0" eaLnBrk="1" fontAlgn="auto" latinLnBrk="0" hangingPunct="1">
              <a:lnSpc>
                <a:spcPct val="100000"/>
              </a:lnSpc>
              <a:spcBef>
                <a:spcPts val="0"/>
              </a:spcBef>
              <a:spcAft>
                <a:spcPts val="0"/>
              </a:spcAft>
              <a:buClrTx/>
              <a:buSzTx/>
              <a:buFontTx/>
              <a:buNone/>
              <a:tabLst/>
              <a:defRPr/>
            </a:pPr>
            <a:br>
              <a:rPr kumimoji="0" lang="en-US" sz="3199"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br>
            <a:endParaRPr kumimoji="0" lang="en-US" sz="3199"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a:p>
            <a:pPr marL="0" marR="0" lvl="0" indent="0" algn="l" defTabSz="609493" rtl="0" eaLnBrk="1" fontAlgn="auto" latinLnBrk="0" hangingPunct="1">
              <a:lnSpc>
                <a:spcPct val="100000"/>
              </a:lnSpc>
              <a:spcBef>
                <a:spcPts val="0"/>
              </a:spcBef>
              <a:spcAft>
                <a:spcPts val="0"/>
              </a:spcAft>
              <a:buClrTx/>
              <a:buSzTx/>
              <a:buFontTx/>
              <a:buNone/>
              <a:tabLst/>
              <a:defRPr/>
            </a:pPr>
            <a:br>
              <a:rPr kumimoji="0" lang="en-US" sz="3199"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br>
            <a:endParaRPr kumimoji="0" lang="en-US" sz="3199"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a:p>
            <a:pPr marL="0" marR="0" lvl="0" indent="0" algn="l" defTabSz="609493" rtl="0" eaLnBrk="1" fontAlgn="auto" latinLnBrk="0" hangingPunct="1">
              <a:lnSpc>
                <a:spcPct val="100000"/>
              </a:lnSpc>
              <a:spcBef>
                <a:spcPts val="0"/>
              </a:spcBef>
              <a:spcAft>
                <a:spcPts val="0"/>
              </a:spcAft>
              <a:buClrTx/>
              <a:buSzTx/>
              <a:buFontTx/>
              <a:buNone/>
              <a:tabLst/>
              <a:defRPr/>
            </a:pPr>
            <a:br>
              <a:rPr kumimoji="0" lang="en-US" sz="3199"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br>
            <a:endParaRPr kumimoji="0" lang="en-US" sz="3199"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a:p>
            <a:pPr marL="0" marR="0" lvl="0" indent="0" algn="l" defTabSz="609493" rtl="0" eaLnBrk="1" fontAlgn="auto" latinLnBrk="0" hangingPunct="1">
              <a:lnSpc>
                <a:spcPct val="100000"/>
              </a:lnSpc>
              <a:spcBef>
                <a:spcPts val="0"/>
              </a:spcBef>
              <a:spcAft>
                <a:spcPts val="0"/>
              </a:spcAft>
              <a:buClrTx/>
              <a:buSzTx/>
              <a:buFontTx/>
              <a:buNone/>
              <a:tabLst/>
              <a:defRPr/>
            </a:pPr>
            <a:br>
              <a:rPr kumimoji="0" lang="en-US" sz="3199"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br>
            <a:endParaRPr kumimoji="0" lang="en-US" sz="3199"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pic>
        <p:nvPicPr>
          <p:cNvPr id="9" name="Picture 8">
            <a:extLst>
              <a:ext uri="{FF2B5EF4-FFF2-40B4-BE49-F238E27FC236}">
                <a16:creationId xmlns:a16="http://schemas.microsoft.com/office/drawing/2014/main" id="{F1B2F31A-8400-A316-9CB0-795CB837C5D3}"/>
              </a:ext>
            </a:extLst>
          </p:cNvPr>
          <p:cNvPicPr>
            <a:picLocks noChangeAspect="1"/>
          </p:cNvPicPr>
          <p:nvPr/>
        </p:nvPicPr>
        <p:blipFill>
          <a:blip r:embed="rId3"/>
          <a:srcRect r="50505" b="77838"/>
          <a:stretch/>
        </p:blipFill>
        <p:spPr>
          <a:xfrm>
            <a:off x="381072" y="1798820"/>
            <a:ext cx="5227399" cy="1031560"/>
          </a:xfrm>
          <a:prstGeom prst="rect">
            <a:avLst/>
          </a:prstGeom>
        </p:spPr>
      </p:pic>
      <p:pic>
        <p:nvPicPr>
          <p:cNvPr id="10" name="Picture 9">
            <a:extLst>
              <a:ext uri="{FF2B5EF4-FFF2-40B4-BE49-F238E27FC236}">
                <a16:creationId xmlns:a16="http://schemas.microsoft.com/office/drawing/2014/main" id="{021C8360-67DE-F3CC-D018-82D91503FB7D}"/>
              </a:ext>
            </a:extLst>
          </p:cNvPr>
          <p:cNvPicPr>
            <a:picLocks noChangeAspect="1"/>
          </p:cNvPicPr>
          <p:nvPr/>
        </p:nvPicPr>
        <p:blipFill>
          <a:blip r:embed="rId3"/>
          <a:srcRect l="49102" t="17516" b="14115"/>
          <a:stretch/>
        </p:blipFill>
        <p:spPr>
          <a:xfrm>
            <a:off x="367530" y="2830379"/>
            <a:ext cx="5375537" cy="3182282"/>
          </a:xfrm>
          <a:prstGeom prst="rect">
            <a:avLst/>
          </a:prstGeom>
        </p:spPr>
      </p:pic>
      <p:pic>
        <p:nvPicPr>
          <p:cNvPr id="13" name="Picture 12">
            <a:extLst>
              <a:ext uri="{FF2B5EF4-FFF2-40B4-BE49-F238E27FC236}">
                <a16:creationId xmlns:a16="http://schemas.microsoft.com/office/drawing/2014/main" id="{890AD03C-7728-7BC9-1DF9-B488CA5484FF}"/>
              </a:ext>
            </a:extLst>
          </p:cNvPr>
          <p:cNvPicPr>
            <a:picLocks noChangeAspect="1"/>
          </p:cNvPicPr>
          <p:nvPr/>
        </p:nvPicPr>
        <p:blipFill>
          <a:blip r:embed="rId4"/>
          <a:stretch>
            <a:fillRect/>
          </a:stretch>
        </p:blipFill>
        <p:spPr>
          <a:xfrm>
            <a:off x="5676184" y="2411533"/>
            <a:ext cx="6361582" cy="3079977"/>
          </a:xfrm>
          <a:prstGeom prst="rect">
            <a:avLst/>
          </a:prstGeom>
        </p:spPr>
      </p:pic>
      <p:sp>
        <p:nvSpPr>
          <p:cNvPr id="14" name="Text Placeholder 2">
            <a:extLst>
              <a:ext uri="{FF2B5EF4-FFF2-40B4-BE49-F238E27FC236}">
                <a16:creationId xmlns:a16="http://schemas.microsoft.com/office/drawing/2014/main" id="{BD0723CB-DDD2-88C7-509F-F8075CB0F3CC}"/>
              </a:ext>
            </a:extLst>
          </p:cNvPr>
          <p:cNvSpPr>
            <a:spLocks noGrp="1"/>
          </p:cNvSpPr>
          <p:nvPr>
            <p:ph type="body" sz="quarter" idx="11"/>
          </p:nvPr>
        </p:nvSpPr>
        <p:spPr>
          <a:xfrm>
            <a:off x="6284323" y="5770380"/>
            <a:ext cx="5255757" cy="478239"/>
          </a:xfrm>
        </p:spPr>
        <p:txBody>
          <a:bodyPr/>
          <a:lstStyle/>
          <a:p>
            <a:r>
              <a:rPr lang="en-US" sz="1599" dirty="0"/>
              <a:t>Exploratory ctDNA analysis in a subset of patients with a CMR showed that 84.2% were MRD-negative at C4</a:t>
            </a:r>
          </a:p>
        </p:txBody>
      </p:sp>
      <p:sp>
        <p:nvSpPr>
          <p:cNvPr id="15" name="TextBox 14">
            <a:extLst>
              <a:ext uri="{FF2B5EF4-FFF2-40B4-BE49-F238E27FC236}">
                <a16:creationId xmlns:a16="http://schemas.microsoft.com/office/drawing/2014/main" id="{1F952ECF-DE78-2261-06D0-5112A142EF8E}"/>
              </a:ext>
            </a:extLst>
          </p:cNvPr>
          <p:cNvSpPr txBox="1"/>
          <p:nvPr/>
        </p:nvSpPr>
        <p:spPr>
          <a:xfrm>
            <a:off x="8539327" y="6378640"/>
            <a:ext cx="3123906" cy="379463"/>
          </a:xfrm>
          <a:prstGeom prst="rect">
            <a:avLst/>
          </a:prstGeom>
          <a:noFill/>
        </p:spPr>
        <p:txBody>
          <a:bodyPr wrap="square" rtlCol="0">
            <a:spAutoFit/>
          </a:bodyPr>
          <a:lstStyle/>
          <a:p>
            <a:pPr marL="0" marR="0" lvl="0" indent="0" algn="l" defTabSz="609493" rtl="0" eaLnBrk="1" fontAlgn="auto" latinLnBrk="0" hangingPunct="1">
              <a:lnSpc>
                <a:spcPct val="100000"/>
              </a:lnSpc>
              <a:spcBef>
                <a:spcPts val="0"/>
              </a:spcBef>
              <a:spcAft>
                <a:spcPts val="0"/>
              </a:spcAft>
              <a:buClrTx/>
              <a:buSzTx/>
              <a:buFontTx/>
              <a:buNone/>
              <a:tabLst/>
              <a:defRPr/>
            </a:pPr>
            <a:r>
              <a:rPr kumimoji="0" lang="en-US" sz="1866" b="0" i="1" u="none" strike="noStrike" kern="1200" cap="none" spc="0" normalizeH="0" baseline="0" noProof="0" dirty="0">
                <a:ln>
                  <a:noFill/>
                </a:ln>
                <a:solidFill>
                  <a:srgbClr val="544F4F">
                    <a:lumMod val="50000"/>
                  </a:srgbClr>
                </a:solidFill>
                <a:effectLst/>
                <a:uLnTx/>
                <a:uFillTx/>
                <a:latin typeface="Arial" panose="020B0604020202020204"/>
                <a:ea typeface="+mn-ea"/>
                <a:cs typeface="+mn-cs"/>
              </a:rPr>
              <a:t>Burke JM, et al, ASH 2025</a:t>
            </a:r>
          </a:p>
        </p:txBody>
      </p:sp>
    </p:spTree>
    <p:extLst>
      <p:ext uri="{BB962C8B-B14F-4D97-AF65-F5344CB8AC3E}">
        <p14:creationId xmlns:p14="http://schemas.microsoft.com/office/powerpoint/2010/main" val="3536359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53C954-F7A1-3BC4-7441-D53C9D9DAA4E}"/>
              </a:ext>
            </a:extLst>
          </p:cNvPr>
          <p:cNvSpPr>
            <a:spLocks noGrp="1"/>
          </p:cNvSpPr>
          <p:nvPr>
            <p:ph type="title"/>
          </p:nvPr>
        </p:nvSpPr>
        <p:spPr>
          <a:xfrm>
            <a:off x="530038" y="241924"/>
            <a:ext cx="10571265" cy="907252"/>
          </a:xfrm>
        </p:spPr>
        <p:txBody>
          <a:bodyPr/>
          <a:lstStyle/>
          <a:p>
            <a:r>
              <a:rPr lang="en-US" noProof="0" dirty="0" err="1"/>
              <a:t>MorningSun</a:t>
            </a:r>
            <a:r>
              <a:rPr lang="en-US" noProof="0" dirty="0"/>
              <a:t> Phase II Efficacy: PFS and DOR</a:t>
            </a:r>
          </a:p>
        </p:txBody>
      </p:sp>
      <p:sp>
        <p:nvSpPr>
          <p:cNvPr id="3" name="Text Placeholder 2">
            <a:extLst>
              <a:ext uri="{FF2B5EF4-FFF2-40B4-BE49-F238E27FC236}">
                <a16:creationId xmlns:a16="http://schemas.microsoft.com/office/drawing/2014/main" id="{A76D2D02-9760-9A6E-DF61-6171184063DE}"/>
              </a:ext>
            </a:extLst>
          </p:cNvPr>
          <p:cNvSpPr>
            <a:spLocks noGrp="1"/>
          </p:cNvSpPr>
          <p:nvPr>
            <p:ph type="body" sz="quarter" idx="11"/>
          </p:nvPr>
        </p:nvSpPr>
        <p:spPr>
          <a:xfrm>
            <a:off x="528767" y="5802046"/>
            <a:ext cx="4873316" cy="478239"/>
          </a:xfrm>
        </p:spPr>
        <p:txBody>
          <a:bodyPr/>
          <a:lstStyle/>
          <a:p>
            <a:r>
              <a:rPr lang="en-US" sz="1599" dirty="0"/>
              <a:t>Median follow-up was 22.3 months</a:t>
            </a:r>
          </a:p>
        </p:txBody>
      </p:sp>
      <p:pic>
        <p:nvPicPr>
          <p:cNvPr id="21" name="Picture 20">
            <a:extLst>
              <a:ext uri="{FF2B5EF4-FFF2-40B4-BE49-F238E27FC236}">
                <a16:creationId xmlns:a16="http://schemas.microsoft.com/office/drawing/2014/main" id="{C1381AED-B424-8687-ADC4-F512B0298FA5}"/>
              </a:ext>
            </a:extLst>
          </p:cNvPr>
          <p:cNvPicPr>
            <a:picLocks noChangeAspect="1"/>
          </p:cNvPicPr>
          <p:nvPr/>
        </p:nvPicPr>
        <p:blipFill>
          <a:blip r:embed="rId3"/>
          <a:stretch>
            <a:fillRect/>
          </a:stretch>
        </p:blipFill>
        <p:spPr>
          <a:xfrm>
            <a:off x="327877" y="1482879"/>
            <a:ext cx="5074206" cy="4366652"/>
          </a:xfrm>
          <a:prstGeom prst="rect">
            <a:avLst/>
          </a:prstGeom>
        </p:spPr>
      </p:pic>
      <p:pic>
        <p:nvPicPr>
          <p:cNvPr id="413" name="Picture 412">
            <a:extLst>
              <a:ext uri="{FF2B5EF4-FFF2-40B4-BE49-F238E27FC236}">
                <a16:creationId xmlns:a16="http://schemas.microsoft.com/office/drawing/2014/main" id="{55EA22C6-976E-1987-1FC6-543FBF8F8B6F}"/>
              </a:ext>
            </a:extLst>
          </p:cNvPr>
          <p:cNvPicPr>
            <a:picLocks noChangeAspect="1"/>
          </p:cNvPicPr>
          <p:nvPr/>
        </p:nvPicPr>
        <p:blipFill>
          <a:blip r:embed="rId4"/>
          <a:stretch>
            <a:fillRect/>
          </a:stretch>
        </p:blipFill>
        <p:spPr>
          <a:xfrm>
            <a:off x="5820060" y="1498688"/>
            <a:ext cx="5600553" cy="4126726"/>
          </a:xfrm>
          <a:prstGeom prst="rect">
            <a:avLst/>
          </a:prstGeom>
        </p:spPr>
      </p:pic>
      <p:sp>
        <p:nvSpPr>
          <p:cNvPr id="414" name="TextBox 413">
            <a:extLst>
              <a:ext uri="{FF2B5EF4-FFF2-40B4-BE49-F238E27FC236}">
                <a16:creationId xmlns:a16="http://schemas.microsoft.com/office/drawing/2014/main" id="{7116372F-F586-8CD0-E897-F66DB1099CD2}"/>
              </a:ext>
            </a:extLst>
          </p:cNvPr>
          <p:cNvSpPr txBox="1"/>
          <p:nvPr/>
        </p:nvSpPr>
        <p:spPr>
          <a:xfrm>
            <a:off x="5402082" y="5849532"/>
            <a:ext cx="6513936" cy="830612"/>
          </a:xfrm>
          <a:prstGeom prst="rect">
            <a:avLst/>
          </a:prstGeom>
          <a:noFill/>
        </p:spPr>
        <p:txBody>
          <a:bodyPr wrap="square" rtlCol="0">
            <a:spAutoFit/>
          </a:bodyPr>
          <a:lstStyle/>
          <a:p>
            <a:pPr marL="228526" marR="0" lvl="0" indent="-228526" algn="l" defTabSz="60949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99" b="0" i="0" u="none" strike="noStrike" kern="1200" cap="none" spc="0" normalizeH="0" baseline="0" noProof="0" dirty="0">
                <a:ln>
                  <a:noFill/>
                </a:ln>
                <a:solidFill>
                  <a:srgbClr val="544F4F">
                    <a:lumMod val="50000"/>
                  </a:srgbClr>
                </a:solidFill>
                <a:effectLst/>
                <a:uLnTx/>
                <a:uFillTx/>
                <a:latin typeface="Arial" panose="020B0604020202020204"/>
                <a:ea typeface="+mn-ea"/>
                <a:cs typeface="+mn-cs"/>
              </a:rPr>
              <a:t>66.7% were eligible for maintenance, 44.7% received maintenance</a:t>
            </a:r>
          </a:p>
          <a:p>
            <a:pPr marL="228526" marR="0" lvl="0" indent="-228526" algn="l" defTabSz="60949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99" b="0" i="0" u="none" strike="noStrike" kern="1200" cap="none" spc="0" normalizeH="0" baseline="0" noProof="0" dirty="0">
                <a:ln>
                  <a:noFill/>
                </a:ln>
                <a:solidFill>
                  <a:srgbClr val="544F4F">
                    <a:lumMod val="50000"/>
                  </a:srgbClr>
                </a:solidFill>
                <a:effectLst/>
                <a:uLnTx/>
                <a:uFillTx/>
                <a:latin typeface="Arial" panose="020B0604020202020204"/>
                <a:ea typeface="+mn-ea"/>
                <a:cs typeface="+mn-cs"/>
              </a:rPr>
              <a:t>No CRS occurred during maintenance</a:t>
            </a:r>
          </a:p>
          <a:p>
            <a:pPr marL="228526" marR="0" lvl="0" indent="-228526" algn="l" defTabSz="60949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99" b="0" i="0" u="none" strike="noStrike" kern="1200" cap="none" spc="0" normalizeH="0" baseline="0" noProof="0" dirty="0">
                <a:ln>
                  <a:noFill/>
                </a:ln>
                <a:solidFill>
                  <a:srgbClr val="544F4F">
                    <a:lumMod val="50000"/>
                  </a:srgbClr>
                </a:solidFill>
                <a:effectLst/>
                <a:uLnTx/>
                <a:uFillTx/>
                <a:latin typeface="Arial" panose="020B0604020202020204"/>
                <a:ea typeface="+mn-ea"/>
                <a:cs typeface="+mn-cs"/>
              </a:rPr>
              <a:t>Infections were common (Gr 3-5 19.4%), no increase over time</a:t>
            </a:r>
          </a:p>
        </p:txBody>
      </p:sp>
      <p:sp>
        <p:nvSpPr>
          <p:cNvPr id="415" name="TextBox 414">
            <a:extLst>
              <a:ext uri="{FF2B5EF4-FFF2-40B4-BE49-F238E27FC236}">
                <a16:creationId xmlns:a16="http://schemas.microsoft.com/office/drawing/2014/main" id="{32F340F1-4920-1780-9B1F-25327FD02B16}"/>
              </a:ext>
            </a:extLst>
          </p:cNvPr>
          <p:cNvSpPr txBox="1"/>
          <p:nvPr/>
        </p:nvSpPr>
        <p:spPr>
          <a:xfrm>
            <a:off x="436448" y="6348502"/>
            <a:ext cx="3123906" cy="379463"/>
          </a:xfrm>
          <a:prstGeom prst="rect">
            <a:avLst/>
          </a:prstGeom>
          <a:noFill/>
        </p:spPr>
        <p:txBody>
          <a:bodyPr wrap="square" rtlCol="0">
            <a:spAutoFit/>
          </a:bodyPr>
          <a:lstStyle/>
          <a:p>
            <a:pPr marL="0" marR="0" lvl="0" indent="0" algn="l" defTabSz="609493" rtl="0" eaLnBrk="1" fontAlgn="auto" latinLnBrk="0" hangingPunct="1">
              <a:lnSpc>
                <a:spcPct val="100000"/>
              </a:lnSpc>
              <a:spcBef>
                <a:spcPts val="0"/>
              </a:spcBef>
              <a:spcAft>
                <a:spcPts val="0"/>
              </a:spcAft>
              <a:buClrTx/>
              <a:buSzTx/>
              <a:buFontTx/>
              <a:buNone/>
              <a:tabLst/>
              <a:defRPr/>
            </a:pPr>
            <a:r>
              <a:rPr kumimoji="0" lang="en-US" sz="1866" b="0" i="1" u="none" strike="noStrike" kern="1200" cap="none" spc="0" normalizeH="0" baseline="0" noProof="0" dirty="0">
                <a:ln>
                  <a:noFill/>
                </a:ln>
                <a:solidFill>
                  <a:srgbClr val="544F4F">
                    <a:lumMod val="50000"/>
                  </a:srgbClr>
                </a:solidFill>
                <a:effectLst/>
                <a:uLnTx/>
                <a:uFillTx/>
                <a:latin typeface="Arial" panose="020B0604020202020204"/>
                <a:ea typeface="+mn-ea"/>
                <a:cs typeface="+mn-cs"/>
              </a:rPr>
              <a:t>Burke JM, et al, ASH 2025</a:t>
            </a:r>
          </a:p>
        </p:txBody>
      </p:sp>
      <p:sp>
        <p:nvSpPr>
          <p:cNvPr id="5" name="TextBox 4">
            <a:extLst>
              <a:ext uri="{FF2B5EF4-FFF2-40B4-BE49-F238E27FC236}">
                <a16:creationId xmlns:a16="http://schemas.microsoft.com/office/drawing/2014/main" id="{F840435E-01C3-DF46-0E13-5DB188458601}"/>
              </a:ext>
            </a:extLst>
          </p:cNvPr>
          <p:cNvSpPr txBox="1"/>
          <p:nvPr/>
        </p:nvSpPr>
        <p:spPr>
          <a:xfrm rot="16200000">
            <a:off x="5322011" y="2748629"/>
            <a:ext cx="1658983" cy="289587"/>
          </a:xfrm>
          <a:prstGeom prst="rect">
            <a:avLst/>
          </a:prstGeom>
          <a:solidFill>
            <a:schemeClr val="bg1"/>
          </a:solidFill>
        </p:spPr>
        <p:txBody>
          <a:bodyPr wrap="square" lIns="0" tIns="0" rIns="0" bIns="0">
            <a:noAutofit/>
          </a:bodyPr>
          <a:lstStyle/>
          <a:p>
            <a:pPr marL="0" marR="0" lvl="0" indent="0" algn="ctr" defTabSz="60949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rPr>
              <a:t>Survival Probability</a:t>
            </a:r>
          </a:p>
        </p:txBody>
      </p:sp>
      <p:sp>
        <p:nvSpPr>
          <p:cNvPr id="7" name="TextBox 6">
            <a:extLst>
              <a:ext uri="{FF2B5EF4-FFF2-40B4-BE49-F238E27FC236}">
                <a16:creationId xmlns:a16="http://schemas.microsoft.com/office/drawing/2014/main" id="{4F131672-1A46-9896-0C99-0BE303AADFE6}"/>
              </a:ext>
            </a:extLst>
          </p:cNvPr>
          <p:cNvSpPr txBox="1"/>
          <p:nvPr/>
        </p:nvSpPr>
        <p:spPr>
          <a:xfrm rot="16200000">
            <a:off x="-99075" y="2578810"/>
            <a:ext cx="1658983" cy="289587"/>
          </a:xfrm>
          <a:prstGeom prst="rect">
            <a:avLst/>
          </a:prstGeom>
          <a:solidFill>
            <a:schemeClr val="bg1"/>
          </a:solidFill>
        </p:spPr>
        <p:txBody>
          <a:bodyPr wrap="square" lIns="0" tIns="0" rIns="0" bIns="0">
            <a:noAutofit/>
          </a:bodyPr>
          <a:lstStyle/>
          <a:p>
            <a:pPr marL="0" marR="0" lvl="0" indent="0" algn="ctr" defTabSz="60949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rPr>
              <a:t>Survival Probability</a:t>
            </a:r>
          </a:p>
        </p:txBody>
      </p:sp>
    </p:spTree>
    <p:extLst>
      <p:ext uri="{BB962C8B-B14F-4D97-AF65-F5344CB8AC3E}">
        <p14:creationId xmlns:p14="http://schemas.microsoft.com/office/powerpoint/2010/main" val="18785748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019366-E29E-E88F-A8D5-5EC8074AC089}"/>
              </a:ext>
            </a:extLst>
          </p:cNvPr>
          <p:cNvSpPr>
            <a:spLocks noGrp="1"/>
          </p:cNvSpPr>
          <p:nvPr>
            <p:ph type="title"/>
          </p:nvPr>
        </p:nvSpPr>
        <p:spPr>
          <a:xfrm>
            <a:off x="558942" y="1"/>
            <a:ext cx="11460479" cy="1101780"/>
          </a:xfrm>
        </p:spPr>
        <p:txBody>
          <a:bodyPr>
            <a:normAutofit/>
          </a:bodyPr>
          <a:lstStyle/>
          <a:p>
            <a:r>
              <a:rPr lang="en-US" sz="3200" dirty="0">
                <a:latin typeface="Arial" panose="020B0604020202020204" pitchFamily="34" charset="0"/>
                <a:cs typeface="Arial" panose="020B0604020202020204" pitchFamily="34" charset="0"/>
              </a:rPr>
              <a:t>             Front Line Trials in High </a:t>
            </a:r>
            <a:r>
              <a:rPr lang="en-US" sz="3200" dirty="0" err="1">
                <a:latin typeface="Arial" panose="020B0604020202020204" pitchFamily="34" charset="0"/>
                <a:cs typeface="Arial" panose="020B0604020202020204" pitchFamily="34" charset="0"/>
              </a:rPr>
              <a:t>Tumour</a:t>
            </a:r>
            <a:r>
              <a:rPr lang="en-US" sz="3200" dirty="0">
                <a:latin typeface="Arial" panose="020B0604020202020204" pitchFamily="34" charset="0"/>
                <a:cs typeface="Arial" panose="020B0604020202020204" pitchFamily="34" charset="0"/>
              </a:rPr>
              <a:t> Burden FL </a:t>
            </a:r>
          </a:p>
        </p:txBody>
      </p:sp>
      <p:sp>
        <p:nvSpPr>
          <p:cNvPr id="4" name="Footer Placeholder 3">
            <a:extLst>
              <a:ext uri="{FF2B5EF4-FFF2-40B4-BE49-F238E27FC236}">
                <a16:creationId xmlns:a16="http://schemas.microsoft.com/office/drawing/2014/main" id="{8F85A30A-F136-5F99-E826-C363990EE61A}"/>
              </a:ext>
            </a:extLst>
          </p:cNvPr>
          <p:cNvSpPr>
            <a:spLocks noGrp="1"/>
          </p:cNvSpPr>
          <p:nvPr>
            <p:ph type="ftr" sz="quarter" idx="11"/>
          </p:nvPr>
        </p:nvSpPr>
        <p:spPr>
          <a:xfrm>
            <a:off x="10637949" y="6488692"/>
            <a:ext cx="1338329"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achy et al Blood 2025 </a:t>
            </a:r>
          </a:p>
        </p:txBody>
      </p:sp>
      <p:pic>
        <p:nvPicPr>
          <p:cNvPr id="7" name="Picture 6" descr="A table of medical records&#10;&#10;AI-generated content may be incorrect.">
            <a:extLst>
              <a:ext uri="{FF2B5EF4-FFF2-40B4-BE49-F238E27FC236}">
                <a16:creationId xmlns:a16="http://schemas.microsoft.com/office/drawing/2014/main" id="{74315233-7404-7443-9A0F-09C85EF8DC9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27531" y="960112"/>
            <a:ext cx="9323299" cy="5685387"/>
          </a:xfrm>
          <a:prstGeom prst="rect">
            <a:avLst/>
          </a:prstGeom>
        </p:spPr>
      </p:pic>
    </p:spTree>
    <p:extLst>
      <p:ext uri="{BB962C8B-B14F-4D97-AF65-F5344CB8AC3E}">
        <p14:creationId xmlns:p14="http://schemas.microsoft.com/office/powerpoint/2010/main" val="16779509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92F6B-9451-D446-7D02-506082DA2D4D}"/>
              </a:ext>
            </a:extLst>
          </p:cNvPr>
          <p:cNvSpPr>
            <a:spLocks noGrp="1"/>
          </p:cNvSpPr>
          <p:nvPr>
            <p:ph type="title"/>
          </p:nvPr>
        </p:nvSpPr>
        <p:spPr>
          <a:xfrm>
            <a:off x="528774" y="394334"/>
            <a:ext cx="11053625" cy="907252"/>
          </a:xfrm>
        </p:spPr>
        <p:txBody>
          <a:bodyPr anchor="t"/>
          <a:lstStyle/>
          <a:p>
            <a:pPr>
              <a:lnSpc>
                <a:spcPts val="3199"/>
              </a:lnSpc>
            </a:pPr>
            <a:r>
              <a:rPr lang="en-GB" sz="3200" dirty="0">
                <a:solidFill>
                  <a:srgbClr val="002060"/>
                </a:solidFill>
                <a:latin typeface="Calibri" panose="020F0502020204030204" pitchFamily="34" charset="0"/>
                <a:cs typeface="Calibri" panose="020F0502020204030204" pitchFamily="34" charset="0"/>
              </a:rPr>
              <a:t>Disclosures</a:t>
            </a:r>
          </a:p>
        </p:txBody>
      </p:sp>
      <p:graphicFrame>
        <p:nvGraphicFramePr>
          <p:cNvPr id="49" name="Table 48">
            <a:extLst>
              <a:ext uri="{FF2B5EF4-FFF2-40B4-BE49-F238E27FC236}">
                <a16:creationId xmlns:a16="http://schemas.microsoft.com/office/drawing/2014/main" id="{5A761F82-E81B-DC05-36A8-9CAB1F28CB40}"/>
              </a:ext>
            </a:extLst>
          </p:cNvPr>
          <p:cNvGraphicFramePr>
            <a:graphicFrameLocks noGrp="1"/>
          </p:cNvGraphicFramePr>
          <p:nvPr/>
        </p:nvGraphicFramePr>
        <p:xfrm>
          <a:off x="429658" y="1797614"/>
          <a:ext cx="11479576" cy="3634358"/>
        </p:xfrm>
        <a:graphic>
          <a:graphicData uri="http://schemas.openxmlformats.org/drawingml/2006/table">
            <a:tbl>
              <a:tblPr firstRow="1" bandRow="1">
                <a:tableStyleId>{5C22544A-7EE6-4342-B048-85BDC9FD1C3A}</a:tableStyleId>
              </a:tblPr>
              <a:tblGrid>
                <a:gridCol w="2496422">
                  <a:extLst>
                    <a:ext uri="{9D8B030D-6E8A-4147-A177-3AD203B41FA5}">
                      <a16:colId xmlns:a16="http://schemas.microsoft.com/office/drawing/2014/main" val="3498467246"/>
                    </a:ext>
                  </a:extLst>
                </a:gridCol>
                <a:gridCol w="8983154">
                  <a:extLst>
                    <a:ext uri="{9D8B030D-6E8A-4147-A177-3AD203B41FA5}">
                      <a16:colId xmlns:a16="http://schemas.microsoft.com/office/drawing/2014/main" val="2546099281"/>
                    </a:ext>
                  </a:extLst>
                </a:gridCol>
              </a:tblGrid>
              <a:tr h="1574888">
                <a:tc>
                  <a:txBody>
                    <a:bodyPr/>
                    <a:lstStyle/>
                    <a:p>
                      <a:r>
                        <a:rPr lang="en-US" sz="1800" b="1" dirty="0">
                          <a:solidFill>
                            <a:srgbClr val="000000"/>
                          </a:solidFill>
                          <a:latin typeface="Arial" panose="020B0604020202020204" pitchFamily="34" charset="0"/>
                          <a:cs typeface="Arial" panose="020B0604020202020204" pitchFamily="34" charset="0"/>
                        </a:rPr>
                        <a:t>Advisory Committees</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indent="0" algn="l" defTabSz="609585" rtl="0" eaLnBrk="1" fontAlgn="auto" latinLnBrk="0" hangingPunct="1">
                        <a:lnSpc>
                          <a:spcPct val="100000"/>
                        </a:lnSpc>
                        <a:spcBef>
                          <a:spcPts val="0"/>
                        </a:spcBef>
                        <a:spcAft>
                          <a:spcPts val="0"/>
                        </a:spcAft>
                        <a:buClrTx/>
                        <a:buSzTx/>
                        <a:buFontTx/>
                        <a:buNone/>
                        <a:tabLst/>
                        <a:defRPr/>
                      </a:pPr>
                      <a:r>
                        <a:rPr lang="en-US" sz="1800" b="0" dirty="0">
                          <a:solidFill>
                            <a:srgbClr val="000000"/>
                          </a:solidFill>
                          <a:latin typeface="Arial" panose="020B0604020202020204" pitchFamily="34" charset="0"/>
                          <a:cs typeface="Arial" panose="020B0604020202020204" pitchFamily="34" charset="0"/>
                        </a:rPr>
                        <a:t>AbbVie Inc, </a:t>
                      </a:r>
                      <a:r>
                        <a:rPr lang="en-US" sz="1800" b="0" dirty="0" err="1">
                          <a:solidFill>
                            <a:srgbClr val="000000"/>
                          </a:solidFill>
                          <a:latin typeface="Arial" panose="020B0604020202020204" pitchFamily="34" charset="0"/>
                          <a:cs typeface="Arial" panose="020B0604020202020204" pitchFamily="34" charset="0"/>
                        </a:rPr>
                        <a:t>BeOne</a:t>
                      </a:r>
                      <a:r>
                        <a:rPr lang="en-US" sz="1800" b="0" dirty="0">
                          <a:solidFill>
                            <a:srgbClr val="000000"/>
                          </a:solidFill>
                          <a:latin typeface="Arial" panose="020B0604020202020204" pitchFamily="34" charset="0"/>
                          <a:cs typeface="Arial" panose="020B0604020202020204" pitchFamily="34" charset="0"/>
                        </a:rPr>
                        <a:t>, Bristol Myers Squibb, Foresight Diagnostics, Genentech, a member of the Roche Group, Genmab US Inc, Incyte Corporation, Ipsen Biopharmaceuticals Inc, Janssen Biotech Inc, Kite, A Gilead Company, Lilly, Merck, Novartis, </a:t>
                      </a:r>
                      <a:r>
                        <a:rPr lang="en-US" sz="1800" b="0" dirty="0" err="1">
                          <a:solidFill>
                            <a:srgbClr val="000000"/>
                          </a:solidFill>
                          <a:latin typeface="Arial" panose="020B0604020202020204" pitchFamily="34" charset="0"/>
                          <a:cs typeface="Arial" panose="020B0604020202020204" pitchFamily="34" charset="0"/>
                        </a:rPr>
                        <a:t>Nurix</a:t>
                      </a:r>
                      <a:r>
                        <a:rPr lang="en-US" sz="1800" b="0" dirty="0">
                          <a:solidFill>
                            <a:srgbClr val="000000"/>
                          </a:solidFill>
                          <a:latin typeface="Arial" panose="020B0604020202020204" pitchFamily="34" charset="0"/>
                          <a:cs typeface="Arial" panose="020B0604020202020204" pitchFamily="34" charset="0"/>
                        </a:rPr>
                        <a:t> Therapeutics Inc, Pfizer Inc, SERB Pharmaceuticals</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98840359"/>
                  </a:ext>
                </a:extLst>
              </a:tr>
              <a:tr h="1211453">
                <a:tc>
                  <a:txBody>
                    <a:bodyPr/>
                    <a:lstStyle/>
                    <a:p>
                      <a:r>
                        <a:rPr lang="en-US" sz="1800" b="1" i="0" kern="1200" dirty="0">
                          <a:solidFill>
                            <a:schemeClr val="dk1"/>
                          </a:solidFill>
                          <a:effectLst/>
                          <a:latin typeface="Arial" panose="020B0604020202020204" pitchFamily="34" charset="0"/>
                          <a:ea typeface="+mn-ea"/>
                          <a:cs typeface="Arial" panose="020B0604020202020204" pitchFamily="34" charset="0"/>
                        </a:rPr>
                        <a:t>Consulting Agreements</a:t>
                      </a:r>
                      <a:endParaRPr lang="en-US" sz="1800" b="1" dirty="0">
                        <a:solidFill>
                          <a:srgbClr val="000000"/>
                        </a:solidFill>
                        <a:latin typeface="Arial" panose="020B0604020202020204" pitchFamily="34" charset="0"/>
                        <a:cs typeface="Arial" panose="020B0604020202020204" pitchFamily="34"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dirty="0">
                          <a:solidFill>
                            <a:srgbClr val="000000"/>
                          </a:solidFill>
                          <a:latin typeface="Arial" panose="020B0604020202020204" pitchFamily="34" charset="0"/>
                          <a:cs typeface="Arial" panose="020B0604020202020204" pitchFamily="34" charset="0"/>
                        </a:rPr>
                        <a:t>AbbVie Inc, Canopy Life Sciences, Daiichi Sankyo Inc, Ellipses Pharma, Genentech, a member of the Roche Group, Genmab US Inc, Incyte Corporation, Kite, A Gilead Company, </a:t>
                      </a:r>
                      <a:r>
                        <a:rPr lang="en-US" sz="1800" b="0" dirty="0" err="1">
                          <a:solidFill>
                            <a:srgbClr val="000000"/>
                          </a:solidFill>
                          <a:latin typeface="Arial" panose="020B0604020202020204" pitchFamily="34" charset="0"/>
                          <a:cs typeface="Arial" panose="020B0604020202020204" pitchFamily="34" charset="0"/>
                        </a:rPr>
                        <a:t>ModeX</a:t>
                      </a:r>
                      <a:r>
                        <a:rPr lang="en-US" sz="1800" b="0" dirty="0">
                          <a:solidFill>
                            <a:srgbClr val="000000"/>
                          </a:solidFill>
                          <a:latin typeface="Arial" panose="020B0604020202020204" pitchFamily="34" charset="0"/>
                          <a:cs typeface="Arial" panose="020B0604020202020204" pitchFamily="34" charset="0"/>
                        </a:rPr>
                        <a:t> Therapeutics, </a:t>
                      </a:r>
                      <a:r>
                        <a:rPr lang="en-US" sz="1800" b="0" dirty="0" err="1">
                          <a:solidFill>
                            <a:srgbClr val="000000"/>
                          </a:solidFill>
                          <a:latin typeface="Arial" panose="020B0604020202020204" pitchFamily="34" charset="0"/>
                          <a:cs typeface="Arial" panose="020B0604020202020204" pitchFamily="34" charset="0"/>
                        </a:rPr>
                        <a:t>Treeline</a:t>
                      </a:r>
                      <a:r>
                        <a:rPr lang="en-US" sz="1800" b="0" dirty="0">
                          <a:solidFill>
                            <a:srgbClr val="000000"/>
                          </a:solidFill>
                          <a:latin typeface="Arial" panose="020B0604020202020204" pitchFamily="34" charset="0"/>
                          <a:cs typeface="Arial" panose="020B0604020202020204" pitchFamily="34" charset="0"/>
                        </a:rPr>
                        <a:t> Biosciences</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27146788"/>
                  </a:ext>
                </a:extLst>
              </a:tr>
              <a:tr h="848017">
                <a:tc>
                  <a:txBody>
                    <a:bodyPr/>
                    <a:lstStyle/>
                    <a:p>
                      <a:r>
                        <a:rPr lang="en-US" sz="1800" b="1" dirty="0">
                          <a:solidFill>
                            <a:srgbClr val="000000"/>
                          </a:solidFill>
                          <a:latin typeface="Arial" panose="020B0604020202020204" pitchFamily="34" charset="0"/>
                          <a:cs typeface="Arial" panose="020B0604020202020204" pitchFamily="34" charset="0"/>
                        </a:rPr>
                        <a:t>Contracted Research</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dirty="0">
                          <a:solidFill>
                            <a:srgbClr val="000000"/>
                          </a:solidFill>
                          <a:latin typeface="Arial" panose="020B0604020202020204" pitchFamily="34" charset="0"/>
                          <a:cs typeface="Arial" panose="020B0604020202020204" pitchFamily="34" charset="0"/>
                        </a:rPr>
                        <a:t>AbbVie Inc, Genentech, a member of the Roche Group, Genmab US Inc, Ipsen Biopharmaceuticals Inc, Janssen Biotech Inc</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68284277"/>
                  </a:ext>
                </a:extLst>
              </a:tr>
            </a:tbl>
          </a:graphicData>
        </a:graphic>
      </p:graphicFrame>
    </p:spTree>
    <p:extLst>
      <p:ext uri="{BB962C8B-B14F-4D97-AF65-F5344CB8AC3E}">
        <p14:creationId xmlns:p14="http://schemas.microsoft.com/office/powerpoint/2010/main" val="1158377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045790-B784-5861-D7BD-09F405B1BF3D}"/>
              </a:ext>
            </a:extLst>
          </p:cNvPr>
          <p:cNvSpPr>
            <a:spLocks noGrp="1"/>
          </p:cNvSpPr>
          <p:nvPr>
            <p:ph type="title"/>
          </p:nvPr>
        </p:nvSpPr>
        <p:spPr>
          <a:xfrm>
            <a:off x="896620" y="392073"/>
            <a:ext cx="11295380" cy="430887"/>
          </a:xfrm>
        </p:spPr>
        <p:txBody>
          <a:bodyPr>
            <a:noAutofit/>
          </a:bodyPr>
          <a:lstStyle/>
          <a:p>
            <a:r>
              <a:rPr lang="en-US" sz="3200" dirty="0">
                <a:solidFill>
                  <a:schemeClr val="tx1"/>
                </a:solidFill>
                <a:latin typeface="Arial" panose="020B0604020202020204" pitchFamily="34" charset="0"/>
                <a:cs typeface="Arial" panose="020B0604020202020204" pitchFamily="34" charset="0"/>
              </a:rPr>
              <a:t>Phase III Front Line SWOG Trial in LOW </a:t>
            </a:r>
            <a:r>
              <a:rPr lang="en-US" sz="3200" dirty="0" err="1">
                <a:latin typeface="Arial" panose="020B0604020202020204" pitchFamily="34" charset="0"/>
                <a:cs typeface="Arial" panose="020B0604020202020204" pitchFamily="34" charset="0"/>
              </a:rPr>
              <a:t>T</a:t>
            </a:r>
            <a:r>
              <a:rPr lang="en-US" sz="3200" dirty="0" err="1">
                <a:solidFill>
                  <a:schemeClr val="tx1"/>
                </a:solidFill>
                <a:latin typeface="Arial" panose="020B0604020202020204" pitchFamily="34" charset="0"/>
                <a:cs typeface="Arial" panose="020B0604020202020204" pitchFamily="34" charset="0"/>
              </a:rPr>
              <a:t>umour</a:t>
            </a:r>
            <a:r>
              <a:rPr lang="en-US" sz="3200" dirty="0">
                <a:solidFill>
                  <a:schemeClr val="tx1"/>
                </a:solidFill>
                <a:latin typeface="Arial" panose="020B0604020202020204" pitchFamily="34" charset="0"/>
                <a:cs typeface="Arial" panose="020B0604020202020204" pitchFamily="34" charset="0"/>
              </a:rPr>
              <a:t> Burden FL</a:t>
            </a:r>
          </a:p>
        </p:txBody>
      </p:sp>
      <p:sp>
        <p:nvSpPr>
          <p:cNvPr id="3" name="Text Placeholder 2">
            <a:extLst>
              <a:ext uri="{FF2B5EF4-FFF2-40B4-BE49-F238E27FC236}">
                <a16:creationId xmlns:a16="http://schemas.microsoft.com/office/drawing/2014/main" id="{BC76B2BB-1DA7-E593-71E1-5670EC672670}"/>
              </a:ext>
            </a:extLst>
          </p:cNvPr>
          <p:cNvSpPr>
            <a:spLocks noGrp="1"/>
          </p:cNvSpPr>
          <p:nvPr>
            <p:ph type="body" idx="1"/>
          </p:nvPr>
        </p:nvSpPr>
        <p:spPr>
          <a:xfrm>
            <a:off x="448309" y="1295400"/>
            <a:ext cx="10067291" cy="707886"/>
          </a:xfrm>
        </p:spPr>
        <p:txBody>
          <a:bodyPr/>
          <a:lstStyle/>
          <a:p>
            <a:endParaRPr lang="en-US" sz="2800" dirty="0"/>
          </a:p>
          <a:p>
            <a:endParaRPr lang="en-US" dirty="0"/>
          </a:p>
        </p:txBody>
      </p:sp>
      <p:pic>
        <p:nvPicPr>
          <p:cNvPr id="4" name="Picture 3" descr="A diagram of a patient's injury&#10;&#10;Description automatically generated">
            <a:extLst>
              <a:ext uri="{FF2B5EF4-FFF2-40B4-BE49-F238E27FC236}">
                <a16:creationId xmlns:a16="http://schemas.microsoft.com/office/drawing/2014/main" id="{A9286B2F-CB5F-0387-7A48-CCF2F131224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76399" y="1295400"/>
            <a:ext cx="9103895" cy="4977063"/>
          </a:xfrm>
          <a:prstGeom prst="rect">
            <a:avLst/>
          </a:prstGeom>
        </p:spPr>
      </p:pic>
    </p:spTree>
    <p:extLst>
      <p:ext uri="{BB962C8B-B14F-4D97-AF65-F5344CB8AC3E}">
        <p14:creationId xmlns:p14="http://schemas.microsoft.com/office/powerpoint/2010/main" val="28115838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356943-2C72-DF00-18D2-82858DD325CE}"/>
              </a:ext>
            </a:extLst>
          </p:cNvPr>
          <p:cNvSpPr>
            <a:spLocks noGrp="1"/>
          </p:cNvSpPr>
          <p:nvPr>
            <p:ph type="title"/>
          </p:nvPr>
        </p:nvSpPr>
        <p:spPr>
          <a:xfrm>
            <a:off x="192504" y="240633"/>
            <a:ext cx="11999495" cy="1326840"/>
          </a:xfrm>
        </p:spPr>
        <p:txBody>
          <a:bodyPr>
            <a:noAutofit/>
          </a:bodyPr>
          <a:lstStyle/>
          <a:p>
            <a:r>
              <a:rPr lang="en-US" sz="3600" dirty="0">
                <a:latin typeface="Arial" panose="020B0604020202020204" pitchFamily="34" charset="0"/>
                <a:cs typeface="Arial" panose="020B0604020202020204" pitchFamily="34" charset="0"/>
              </a:rPr>
              <a:t>                    </a:t>
            </a:r>
            <a:r>
              <a:rPr lang="en-US" sz="3600" dirty="0" err="1">
                <a:latin typeface="Arial" panose="020B0604020202020204" pitchFamily="34" charset="0"/>
                <a:cs typeface="Arial" panose="020B0604020202020204" pitchFamily="34" charset="0"/>
              </a:rPr>
              <a:t>Surovatamig</a:t>
            </a:r>
            <a:r>
              <a:rPr lang="en-US" sz="3600" dirty="0">
                <a:latin typeface="Arial" panose="020B0604020202020204" pitchFamily="34" charset="0"/>
                <a:cs typeface="Arial" panose="020B0604020202020204" pitchFamily="34" charset="0"/>
              </a:rPr>
              <a:t> (formerly AZD0486)</a:t>
            </a:r>
            <a:br>
              <a:rPr lang="en-US" sz="3600" dirty="0">
                <a:latin typeface="Arial" panose="020B0604020202020204" pitchFamily="34" charset="0"/>
                <a:cs typeface="Arial" panose="020B0604020202020204" pitchFamily="34" charset="0"/>
              </a:rPr>
            </a:br>
            <a:r>
              <a:rPr lang="en-US" sz="3600" dirty="0">
                <a:latin typeface="Arial" panose="020B0604020202020204" pitchFamily="34" charset="0"/>
                <a:cs typeface="Arial" panose="020B0604020202020204" pitchFamily="34" charset="0"/>
              </a:rPr>
              <a:t>           Fully human CD19xCD3 bispecific T- cell engager </a:t>
            </a:r>
            <a:br>
              <a:rPr lang="en-US" sz="3600" dirty="0">
                <a:latin typeface="Arial" panose="020B0604020202020204" pitchFamily="34" charset="0"/>
                <a:cs typeface="Arial" panose="020B0604020202020204" pitchFamily="34" charset="0"/>
              </a:rPr>
            </a:br>
            <a:endParaRPr lang="en-US" sz="3600" dirty="0">
              <a:latin typeface="Arial" panose="020B0604020202020204" pitchFamily="34" charset="0"/>
              <a:cs typeface="Arial" panose="020B0604020202020204" pitchFamily="34" charset="0"/>
            </a:endParaRPr>
          </a:p>
        </p:txBody>
      </p:sp>
      <p:pic>
        <p:nvPicPr>
          <p:cNvPr id="6" name="Content Placeholder 5">
            <a:extLst>
              <a:ext uri="{FF2B5EF4-FFF2-40B4-BE49-F238E27FC236}">
                <a16:creationId xmlns:a16="http://schemas.microsoft.com/office/drawing/2014/main" id="{9AD6D65C-ECAE-C7B5-DD53-25FCE9455DF4}"/>
              </a:ext>
            </a:extLst>
          </p:cNvPr>
          <p:cNvPicPr>
            <a:picLocks noGrp="1" noChangeAspect="1"/>
          </p:cNvPicPr>
          <p:nvPr>
            <p:ph idx="1"/>
          </p:nvPr>
        </p:nvPicPr>
        <p:blipFill>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tretch>
            <a:fillRect/>
          </a:stretch>
        </p:blipFill>
        <p:spPr>
          <a:xfrm>
            <a:off x="2261937" y="1374967"/>
            <a:ext cx="6914147" cy="5362717"/>
          </a:xfrm>
          <a:prstGeom prst="rect">
            <a:avLst/>
          </a:prstGeom>
        </p:spPr>
      </p:pic>
    </p:spTree>
    <p:extLst>
      <p:ext uri="{BB962C8B-B14F-4D97-AF65-F5344CB8AC3E}">
        <p14:creationId xmlns:p14="http://schemas.microsoft.com/office/powerpoint/2010/main" val="1639782872"/>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A close-up of a medical report&#10;&#10;AI-generated content may be incorrect.">
            <a:extLst>
              <a:ext uri="{FF2B5EF4-FFF2-40B4-BE49-F238E27FC236}">
                <a16:creationId xmlns:a16="http://schemas.microsoft.com/office/drawing/2014/main" id="{983DC4C5-E57C-9490-9974-588EDA6CC604}"/>
              </a:ext>
            </a:extLst>
          </p:cNvPr>
          <p:cNvPicPr>
            <a:picLocks noGrp="1" noChangeAspect="1"/>
          </p:cNvPicPr>
          <p:nvPr>
            <p:ph idx="1"/>
          </p:nvPr>
        </p:nvPicPr>
        <p:blipFill>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tretch>
            <a:fillRect/>
          </a:stretch>
        </p:blipFill>
        <p:spPr>
          <a:xfrm>
            <a:off x="352926" y="0"/>
            <a:ext cx="11566358" cy="3429000"/>
          </a:xfrm>
          <a:prstGeom prst="rect">
            <a:avLst/>
          </a:prstGeom>
        </p:spPr>
      </p:pic>
      <p:pic>
        <p:nvPicPr>
          <p:cNvPr id="8" name="Picture 7">
            <a:extLst>
              <a:ext uri="{FF2B5EF4-FFF2-40B4-BE49-F238E27FC236}">
                <a16:creationId xmlns:a16="http://schemas.microsoft.com/office/drawing/2014/main" id="{C28D1632-CAFB-F6E0-03C2-59F62A1F9BBE}"/>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 uri="{28A0092B-C50C-407E-A947-70E740481C1C}">
                <a14:useLocalDpi xmlns:a14="http://schemas.microsoft.com/office/drawing/2010/main" val="0"/>
              </a:ext>
            </a:extLst>
          </a:blip>
          <a:stretch>
            <a:fillRect/>
          </a:stretch>
        </p:blipFill>
        <p:spPr>
          <a:xfrm>
            <a:off x="0" y="2910115"/>
            <a:ext cx="5951621" cy="3947885"/>
          </a:xfrm>
          <a:prstGeom prst="rect">
            <a:avLst/>
          </a:prstGeom>
        </p:spPr>
      </p:pic>
      <p:pic>
        <p:nvPicPr>
          <p:cNvPr id="10" name="Picture 9">
            <a:extLst>
              <a:ext uri="{FF2B5EF4-FFF2-40B4-BE49-F238E27FC236}">
                <a16:creationId xmlns:a16="http://schemas.microsoft.com/office/drawing/2014/main" id="{969E065E-6872-9BEB-5D46-2B7C2415A32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630778" y="2910115"/>
            <a:ext cx="6561221" cy="3947885"/>
          </a:xfrm>
          <a:prstGeom prst="rect">
            <a:avLst/>
          </a:prstGeom>
        </p:spPr>
      </p:pic>
    </p:spTree>
    <p:extLst>
      <p:ext uri="{BB962C8B-B14F-4D97-AF65-F5344CB8AC3E}">
        <p14:creationId xmlns:p14="http://schemas.microsoft.com/office/powerpoint/2010/main" val="4188691091"/>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41E76-5C24-7139-9304-B72392AF6EC2}"/>
              </a:ext>
            </a:extLst>
          </p:cNvPr>
          <p:cNvSpPr>
            <a:spLocks noGrp="1"/>
          </p:cNvSpPr>
          <p:nvPr>
            <p:ph type="title"/>
          </p:nvPr>
        </p:nvSpPr>
        <p:spPr>
          <a:xfrm>
            <a:off x="1260107" y="438492"/>
            <a:ext cx="13574830" cy="915035"/>
          </a:xfrm>
        </p:spPr>
        <p:txBody>
          <a:bodyPr>
            <a:normAutofit fontScale="90000"/>
          </a:bodyPr>
          <a:lstStyle/>
          <a:p>
            <a:r>
              <a:rPr lang="en-US" sz="2700" dirty="0">
                <a:latin typeface="Arial" panose="020B0604020202020204" pitchFamily="34" charset="0"/>
                <a:cs typeface="Arial" panose="020B0604020202020204" pitchFamily="34" charset="0"/>
              </a:rPr>
              <a:t>Three-year Follow-up of the Phase 1 Surovatamig in R/R FL</a:t>
            </a:r>
            <a:br>
              <a:rPr lang="en-US" sz="2700" dirty="0">
                <a:latin typeface="Arial" panose="020B0604020202020204" pitchFamily="34" charset="0"/>
                <a:cs typeface="Arial" panose="020B0604020202020204" pitchFamily="34" charset="0"/>
              </a:rPr>
            </a:br>
            <a:br>
              <a:rPr lang="en-US" dirty="0"/>
            </a:br>
            <a:endParaRPr lang="en-US" dirty="0"/>
          </a:p>
        </p:txBody>
      </p:sp>
      <p:pic>
        <p:nvPicPr>
          <p:cNvPr id="8" name="Picture 7" descr="A screenshot of a medical report&#10;&#10;AI-generated content may be incorrect.">
            <a:extLst>
              <a:ext uri="{FF2B5EF4-FFF2-40B4-BE49-F238E27FC236}">
                <a16:creationId xmlns:a16="http://schemas.microsoft.com/office/drawing/2014/main" id="{EEBA2E6B-9944-5EA8-F58D-713CFB52C43F}"/>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tretch>
            <a:fillRect/>
          </a:stretch>
        </p:blipFill>
        <p:spPr>
          <a:xfrm>
            <a:off x="609597" y="1161601"/>
            <a:ext cx="5085347" cy="4534797"/>
          </a:xfrm>
          <a:prstGeom prst="rect">
            <a:avLst/>
          </a:prstGeom>
        </p:spPr>
      </p:pic>
      <p:pic>
        <p:nvPicPr>
          <p:cNvPr id="10" name="Picture 9" descr="A graph of a number of people&#10;&#10;AI-generated content may be incorrect.">
            <a:extLst>
              <a:ext uri="{FF2B5EF4-FFF2-40B4-BE49-F238E27FC236}">
                <a16:creationId xmlns:a16="http://schemas.microsoft.com/office/drawing/2014/main" id="{17E928F3-8D51-BBA6-7278-90FDD0028938}"/>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 uri="{28A0092B-C50C-407E-A947-70E740481C1C}">
                <a14:useLocalDpi xmlns:a14="http://schemas.microsoft.com/office/drawing/2010/main" val="0"/>
              </a:ext>
            </a:extLst>
          </a:blip>
          <a:srcRect t="-3675" b="-1"/>
          <a:stretch>
            <a:fillRect/>
          </a:stretch>
        </p:blipFill>
        <p:spPr>
          <a:xfrm>
            <a:off x="5903495" y="1884711"/>
            <a:ext cx="6112043" cy="3684818"/>
          </a:xfrm>
          <a:prstGeom prst="rect">
            <a:avLst/>
          </a:prstGeom>
        </p:spPr>
      </p:pic>
      <p:sp>
        <p:nvSpPr>
          <p:cNvPr id="11" name="TextBox 10">
            <a:extLst>
              <a:ext uri="{FF2B5EF4-FFF2-40B4-BE49-F238E27FC236}">
                <a16:creationId xmlns:a16="http://schemas.microsoft.com/office/drawing/2014/main" id="{DCC7EF0C-F762-7B81-8A90-3F8BAB9A1C62}"/>
              </a:ext>
            </a:extLst>
          </p:cNvPr>
          <p:cNvSpPr txBox="1"/>
          <p:nvPr/>
        </p:nvSpPr>
        <p:spPr>
          <a:xfrm>
            <a:off x="6849982" y="899825"/>
            <a:ext cx="4219071" cy="98488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dian study follow-up for TDs  &gt;/=2.4 mg – 16 months ( 1-4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7C6AF1C6-A332-C3AF-F127-0440CF82971A}"/>
              </a:ext>
            </a:extLst>
          </p:cNvPr>
          <p:cNvSpPr txBox="1"/>
          <p:nvPr/>
        </p:nvSpPr>
        <p:spPr>
          <a:xfrm>
            <a:off x="9694264" y="6581001"/>
            <a:ext cx="249773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Hou JZ et al. ASH 2025;Abstract 1005</a:t>
            </a:r>
          </a:p>
        </p:txBody>
      </p:sp>
    </p:spTree>
    <p:extLst>
      <p:ext uri="{BB962C8B-B14F-4D97-AF65-F5344CB8AC3E}">
        <p14:creationId xmlns:p14="http://schemas.microsoft.com/office/powerpoint/2010/main" val="33710429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969CEB-0A65-4FFC-6514-7718F72529D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A82884C-4042-99B6-4761-56E658179B83}"/>
              </a:ext>
            </a:extLst>
          </p:cNvPr>
          <p:cNvSpPr>
            <a:spLocks noGrp="1"/>
          </p:cNvSpPr>
          <p:nvPr>
            <p:ph type="title"/>
          </p:nvPr>
        </p:nvSpPr>
        <p:spPr>
          <a:xfrm>
            <a:off x="466886" y="411394"/>
            <a:ext cx="11253538" cy="915035"/>
          </a:xfrm>
        </p:spPr>
        <p:txBody>
          <a:bodyPr>
            <a:normAutofit fontScale="90000"/>
          </a:bodyPr>
          <a:lstStyle/>
          <a:p>
            <a:r>
              <a:rPr lang="en-US" sz="3600" dirty="0">
                <a:latin typeface="Arial" panose="020B0604020202020204" pitchFamily="34" charset="0"/>
                <a:cs typeface="Arial" panose="020B0604020202020204" pitchFamily="34" charset="0"/>
              </a:rPr>
              <a:t>Three-year Follow-up of the Phase 1 Surovatamig in R/R FL</a:t>
            </a:r>
            <a:br>
              <a:rPr lang="en-US" dirty="0"/>
            </a:br>
            <a:endParaRPr lang="en-US" dirty="0"/>
          </a:p>
        </p:txBody>
      </p:sp>
      <p:pic>
        <p:nvPicPr>
          <p:cNvPr id="4" name="Picture 3" descr="A graph showing the growth of a number of months&#10;&#10;AI-generated content may be incorrect.">
            <a:extLst>
              <a:ext uri="{FF2B5EF4-FFF2-40B4-BE49-F238E27FC236}">
                <a16:creationId xmlns:a16="http://schemas.microsoft.com/office/drawing/2014/main" id="{B26CB3DF-C538-BE6B-7E56-F32C34E65605}"/>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val="0"/>
              </a:ext>
            </a:extLst>
          </a:blip>
          <a:stretch>
            <a:fillRect/>
          </a:stretch>
        </p:blipFill>
        <p:spPr>
          <a:xfrm>
            <a:off x="288757" y="1052791"/>
            <a:ext cx="6424865" cy="3647545"/>
          </a:xfrm>
          <a:prstGeom prst="rect">
            <a:avLst/>
          </a:prstGeom>
        </p:spPr>
      </p:pic>
      <p:sp>
        <p:nvSpPr>
          <p:cNvPr id="5" name="TextBox 4">
            <a:extLst>
              <a:ext uri="{FF2B5EF4-FFF2-40B4-BE49-F238E27FC236}">
                <a16:creationId xmlns:a16="http://schemas.microsoft.com/office/drawing/2014/main" id="{69EC7962-EEC4-FFD1-780A-A039498C3116}"/>
              </a:ext>
            </a:extLst>
          </p:cNvPr>
          <p:cNvSpPr txBox="1"/>
          <p:nvPr/>
        </p:nvSpPr>
        <p:spPr>
          <a:xfrm>
            <a:off x="288757" y="4868433"/>
            <a:ext cx="10767169"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ll 8 patients with prior CD20 TCE therapy and/or CD19 CAR T who achieved CR with surovatamig remain in C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ll 11 patients who completed surovatamig treatment remain in CR off treat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dian PFS Not Reached</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3BB1124A-EBD4-01BA-64BB-829BB57B4F16}"/>
              </a:ext>
            </a:extLst>
          </p:cNvPr>
          <p:cNvSpPr txBox="1"/>
          <p:nvPr/>
        </p:nvSpPr>
        <p:spPr>
          <a:xfrm>
            <a:off x="7252699" y="1052791"/>
            <a:ext cx="4467725" cy="36317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afe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fections occurred in 43 (70%) patients- URIs/Covid-1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rade 3/4: n=8 [13%]; grade 5: n=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ll CRS (51%) and ICANS (5%) events were low grade with 2SU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solution of CRS/ICANS in all.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55EB701E-A25B-BAFC-D696-D227D29F4A64}"/>
              </a:ext>
            </a:extLst>
          </p:cNvPr>
          <p:cNvSpPr txBox="1"/>
          <p:nvPr/>
        </p:nvSpPr>
        <p:spPr>
          <a:xfrm>
            <a:off x="9694264" y="6581001"/>
            <a:ext cx="249773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Hou JZ et al. ASH 2025;Abstract 1005</a:t>
            </a:r>
          </a:p>
        </p:txBody>
      </p:sp>
    </p:spTree>
    <p:extLst>
      <p:ext uri="{BB962C8B-B14F-4D97-AF65-F5344CB8AC3E}">
        <p14:creationId xmlns:p14="http://schemas.microsoft.com/office/powerpoint/2010/main" val="4085053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E7D0B-FADA-8268-1842-461B5E38305F}"/>
              </a:ext>
            </a:extLst>
          </p:cNvPr>
          <p:cNvSpPr>
            <a:spLocks noGrp="1"/>
          </p:cNvSpPr>
          <p:nvPr>
            <p:ph type="title"/>
          </p:nvPr>
        </p:nvSpPr>
        <p:spPr>
          <a:xfrm>
            <a:off x="208548" y="513347"/>
            <a:ext cx="11773656" cy="1812758"/>
          </a:xfrm>
        </p:spPr>
        <p:txBody>
          <a:bodyPr>
            <a:normAutofit fontScale="90000"/>
          </a:bodyPr>
          <a:lstStyle/>
          <a:p>
            <a:r>
              <a:rPr lang="en-US" dirty="0"/>
              <a:t>                       </a:t>
            </a:r>
            <a:r>
              <a:rPr lang="en-US" sz="3600" dirty="0">
                <a:latin typeface="Arial" panose="020B0604020202020204" pitchFamily="34" charset="0"/>
                <a:cs typeface="Arial" panose="020B0604020202020204" pitchFamily="34" charset="0"/>
              </a:rPr>
              <a:t>Phase III SOUNDTRACK-F1 study</a:t>
            </a:r>
            <a:br>
              <a:rPr lang="en-US" sz="3600" dirty="0">
                <a:latin typeface="Arial" panose="020B0604020202020204" pitchFamily="34" charset="0"/>
                <a:cs typeface="Arial" panose="020B0604020202020204" pitchFamily="34" charset="0"/>
              </a:rPr>
            </a:br>
            <a:r>
              <a:rPr lang="en-US" sz="3100" dirty="0">
                <a:latin typeface="Arial" panose="020B0604020202020204" pitchFamily="34" charset="0"/>
                <a:cs typeface="Arial" panose="020B0604020202020204" pitchFamily="34" charset="0"/>
              </a:rPr>
              <a:t>Global, Randomized, Phase 3, Multicenter, Open-label Study of</a:t>
            </a:r>
            <a:br>
              <a:rPr lang="en-US" sz="3100" dirty="0">
                <a:latin typeface="Arial" panose="020B0604020202020204" pitchFamily="34" charset="0"/>
                <a:cs typeface="Arial" panose="020B0604020202020204" pitchFamily="34" charset="0"/>
              </a:rPr>
            </a:br>
            <a:r>
              <a:rPr lang="en-US" sz="3100" dirty="0">
                <a:latin typeface="Arial" panose="020B0604020202020204" pitchFamily="34" charset="0"/>
                <a:cs typeface="Arial" panose="020B0604020202020204" pitchFamily="34" charset="0"/>
              </a:rPr>
              <a:t>Surovatamig Plus Rituximab in Patients With Previously Untreated High Tumor Burden FL </a:t>
            </a:r>
            <a:br>
              <a:rPr lang="en-US" dirty="0"/>
            </a:br>
            <a:br>
              <a:rPr lang="en-US" dirty="0"/>
            </a:br>
            <a:endParaRPr lang="en-US" dirty="0"/>
          </a:p>
        </p:txBody>
      </p:sp>
      <p:pic>
        <p:nvPicPr>
          <p:cNvPr id="10" name="Picture 9" descr="A screenshot of a medical report&#10;&#10;AI-generated content may be incorrect.">
            <a:extLst>
              <a:ext uri="{FF2B5EF4-FFF2-40B4-BE49-F238E27FC236}">
                <a16:creationId xmlns:a16="http://schemas.microsoft.com/office/drawing/2014/main" id="{5FAFA694-D275-1758-DC3D-73BCFFE7C03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768642"/>
            <a:ext cx="5715000" cy="5089358"/>
          </a:xfrm>
          <a:prstGeom prst="rect">
            <a:avLst/>
          </a:prstGeom>
        </p:spPr>
      </p:pic>
      <p:pic>
        <p:nvPicPr>
          <p:cNvPr id="12" name="Picture 11" descr="A diagram of a diagram&#10;&#10;AI-generated content may be incorrect.">
            <a:extLst>
              <a:ext uri="{FF2B5EF4-FFF2-40B4-BE49-F238E27FC236}">
                <a16:creationId xmlns:a16="http://schemas.microsoft.com/office/drawing/2014/main" id="{24A591C5-8A0A-B685-11C6-3E4CA9D0434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15001" y="1507958"/>
            <a:ext cx="6267204" cy="4796449"/>
          </a:xfrm>
          <a:prstGeom prst="rect">
            <a:avLst/>
          </a:prstGeom>
        </p:spPr>
      </p:pic>
      <p:sp>
        <p:nvSpPr>
          <p:cNvPr id="13" name="TextBox 12">
            <a:extLst>
              <a:ext uri="{FF2B5EF4-FFF2-40B4-BE49-F238E27FC236}">
                <a16:creationId xmlns:a16="http://schemas.microsoft.com/office/drawing/2014/main" id="{8EA4356C-4346-F59E-1B83-643C2015A778}"/>
              </a:ext>
            </a:extLst>
          </p:cNvPr>
          <p:cNvSpPr txBox="1"/>
          <p:nvPr/>
        </p:nvSpPr>
        <p:spPr>
          <a:xfrm>
            <a:off x="9943884" y="6488668"/>
            <a:ext cx="224811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heah et al ASH 2025 </a:t>
            </a:r>
          </a:p>
        </p:txBody>
      </p:sp>
    </p:spTree>
    <p:extLst>
      <p:ext uri="{BB962C8B-B14F-4D97-AF65-F5344CB8AC3E}">
        <p14:creationId xmlns:p14="http://schemas.microsoft.com/office/powerpoint/2010/main" val="14691376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95D004-88C4-2B55-090B-827D0F62998E}"/>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04A0A8AD-C918-5828-A6B4-78437B462AD6}"/>
              </a:ext>
            </a:extLst>
          </p:cNvPr>
          <p:cNvSpPr txBox="1"/>
          <p:nvPr/>
        </p:nvSpPr>
        <p:spPr>
          <a:xfrm>
            <a:off x="445008" y="1771319"/>
            <a:ext cx="11301984" cy="1421896"/>
          </a:xfrm>
          <a:prstGeom prst="rect">
            <a:avLst/>
          </a:prstGeom>
          <a:solidFill>
            <a:srgbClr val="6390BD">
              <a:alpha val="20000"/>
            </a:srgbClr>
          </a:solidFill>
        </p:spPr>
        <p:txBody>
          <a:bodyPr wrap="square" rtlCol="0" anchor="ctr">
            <a:noAutofit/>
          </a:bodyPr>
          <a:lstStyle/>
          <a:p>
            <a:pPr marL="0" marR="0" lvl="0" indent="0" algn="ctr" defTabSz="914400" rtl="0" eaLnBrk="1" fontAlgn="auto" latinLnBrk="0" hangingPunct="1">
              <a:lnSpc>
                <a:spcPts val="3000"/>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002656"/>
                </a:solidFill>
                <a:effectLst/>
                <a:uLnTx/>
                <a:uFillTx/>
                <a:latin typeface="Arial" panose="020B0604020202020204"/>
                <a:ea typeface="+mn-ea"/>
                <a:cs typeface="+mn-cs"/>
              </a:rPr>
              <a:t>Keynote Session: </a:t>
            </a:r>
            <a:br>
              <a:rPr kumimoji="0" lang="en-US" sz="3000" b="1" i="0" u="none" strike="noStrike" kern="1200" cap="none" spc="0" normalizeH="0" baseline="0" noProof="0" dirty="0">
                <a:ln>
                  <a:noFill/>
                </a:ln>
                <a:solidFill>
                  <a:srgbClr val="002656"/>
                </a:solidFill>
                <a:effectLst/>
                <a:uLnTx/>
                <a:uFillTx/>
                <a:latin typeface="Arial" panose="020B0604020202020204"/>
                <a:ea typeface="+mn-ea"/>
                <a:cs typeface="+mn-cs"/>
              </a:rPr>
            </a:br>
            <a:r>
              <a:rPr kumimoji="0" lang="en-US" sz="3000" b="1" i="0" u="none" strike="noStrike" kern="1200" cap="none" spc="0" normalizeH="0" baseline="0" noProof="0" dirty="0">
                <a:ln>
                  <a:noFill/>
                </a:ln>
                <a:solidFill>
                  <a:srgbClr val="002656"/>
                </a:solidFill>
                <a:effectLst/>
                <a:uLnTx/>
                <a:uFillTx/>
                <a:latin typeface="Arial" panose="020B0604020202020204"/>
                <a:ea typeface="+mn-ea"/>
                <a:cs typeface="+mn-cs"/>
              </a:rPr>
              <a:t>Diffuse Large B-Cell Lymphoma and Follicular Lymphoma</a:t>
            </a:r>
            <a:endParaRPr kumimoji="0" lang="en-US" sz="3000" b="1" i="1" u="none" strike="noStrike" kern="1200" cap="none" spc="0" normalizeH="0" baseline="0" noProof="0" dirty="0">
              <a:ln>
                <a:noFill/>
              </a:ln>
              <a:solidFill>
                <a:srgbClr val="002656"/>
              </a:solidFill>
              <a:effectLst/>
              <a:uLnTx/>
              <a:uFillTx/>
              <a:latin typeface="Arial" panose="020B0604020202020204"/>
              <a:ea typeface="ＭＳ Ｐゴシック" charset="0"/>
              <a:cs typeface="+mn-cs"/>
            </a:endParaRPr>
          </a:p>
        </p:txBody>
      </p:sp>
      <p:sp>
        <p:nvSpPr>
          <p:cNvPr id="4" name="Rectangle 8">
            <a:extLst>
              <a:ext uri="{FF2B5EF4-FFF2-40B4-BE49-F238E27FC236}">
                <a16:creationId xmlns:a16="http://schemas.microsoft.com/office/drawing/2014/main" id="{2BAF74E7-FED3-6404-BEB5-DA67632C3546}"/>
              </a:ext>
            </a:extLst>
          </p:cNvPr>
          <p:cNvSpPr>
            <a:spLocks noChangeArrowheads="1"/>
          </p:cNvSpPr>
          <p:nvPr/>
        </p:nvSpPr>
        <p:spPr bwMode="auto">
          <a:xfrm>
            <a:off x="445008" y="3158576"/>
            <a:ext cx="11301984" cy="6400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0" cap="none" spc="0" normalizeH="0" baseline="0" noProof="0" dirty="0">
                <a:ln>
                  <a:noFill/>
                </a:ln>
                <a:solidFill>
                  <a:srgbClr val="FF9300"/>
                </a:solidFill>
                <a:effectLst/>
                <a:uLnTx/>
                <a:uFillTx/>
                <a:latin typeface="Arial" panose="020B0604020202020204"/>
                <a:ea typeface="+mn-ea"/>
                <a:cs typeface="ＭＳ Ｐゴシック"/>
              </a:rPr>
              <a:t>Friday, April 24, 2026</a:t>
            </a:r>
          </a:p>
        </p:txBody>
      </p:sp>
      <p:sp>
        <p:nvSpPr>
          <p:cNvPr id="6" name="Text Box 7">
            <a:extLst>
              <a:ext uri="{FF2B5EF4-FFF2-40B4-BE49-F238E27FC236}">
                <a16:creationId xmlns:a16="http://schemas.microsoft.com/office/drawing/2014/main" id="{30344361-12A4-482B-82FF-3B1A1E1523A0}"/>
              </a:ext>
            </a:extLst>
          </p:cNvPr>
          <p:cNvSpPr txBox="1">
            <a:spLocks noChangeArrowheads="1"/>
          </p:cNvSpPr>
          <p:nvPr/>
        </p:nvSpPr>
        <p:spPr bwMode="auto">
          <a:xfrm>
            <a:off x="445008" y="3815895"/>
            <a:ext cx="11301984" cy="70788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type="none" w="sm" len="sm"/>
                <a:tailEnd type="none" w="sm" len="sm"/>
              </a14:hiddenLine>
            </a:ext>
          </a:extLst>
        </p:spPr>
        <p:txBody>
          <a:bodyPr wrap="square">
            <a:spAutoFit/>
          </a:bodyPr>
          <a:lstStyle>
            <a:lvl1pPr eaLnBrk="0" hangingPunct="0">
              <a:defRPr sz="2000" i="1">
                <a:solidFill>
                  <a:schemeClr val="tx1"/>
                </a:solidFill>
                <a:latin typeface="Arial" charset="0"/>
                <a:ea typeface="ＭＳ Ｐゴシック" charset="0"/>
                <a:cs typeface="ＭＳ Ｐゴシック" charset="0"/>
              </a:defRPr>
            </a:lvl1pPr>
            <a:lvl2pPr marL="742950" indent="-285750" eaLnBrk="0" hangingPunct="0">
              <a:defRPr sz="2000" i="1">
                <a:solidFill>
                  <a:schemeClr val="tx1"/>
                </a:solidFill>
                <a:latin typeface="Arial" charset="0"/>
                <a:ea typeface="ＭＳ Ｐゴシック" charset="0"/>
              </a:defRPr>
            </a:lvl2pPr>
            <a:lvl3pPr marL="1143000" indent="-228600" eaLnBrk="0" hangingPunct="0">
              <a:defRPr sz="2000" i="1">
                <a:solidFill>
                  <a:schemeClr val="tx1"/>
                </a:solidFill>
                <a:latin typeface="Arial" charset="0"/>
                <a:ea typeface="ＭＳ Ｐゴシック" charset="0"/>
              </a:defRPr>
            </a:lvl3pPr>
            <a:lvl4pPr marL="1600200" indent="-228600" eaLnBrk="0" hangingPunct="0">
              <a:defRPr sz="2000" i="1">
                <a:solidFill>
                  <a:schemeClr val="tx1"/>
                </a:solidFill>
                <a:latin typeface="Arial" charset="0"/>
                <a:ea typeface="ＭＳ Ｐゴシック" charset="0"/>
              </a:defRPr>
            </a:lvl4pPr>
            <a:lvl5pPr marL="2057400" indent="-228600" eaLnBrk="0" hangingPunct="0">
              <a:defRPr sz="2000" i="1">
                <a:solidFill>
                  <a:schemeClr val="tx1"/>
                </a:solidFill>
                <a:latin typeface="Arial" charset="0"/>
                <a:ea typeface="ＭＳ Ｐゴシック" charset="0"/>
              </a:defRPr>
            </a:lvl5pPr>
            <a:lvl6pPr marL="2514600" indent="-228600" eaLnBrk="0" fontAlgn="base" hangingPunct="0">
              <a:spcBef>
                <a:spcPct val="0"/>
              </a:spcBef>
              <a:spcAft>
                <a:spcPct val="0"/>
              </a:spcAft>
              <a:defRPr sz="2000" i="1">
                <a:solidFill>
                  <a:schemeClr val="tx1"/>
                </a:solidFill>
                <a:latin typeface="Arial" charset="0"/>
                <a:ea typeface="ＭＳ Ｐゴシック" charset="0"/>
              </a:defRPr>
            </a:lvl6pPr>
            <a:lvl7pPr marL="2971800" indent="-228600" eaLnBrk="0" fontAlgn="base" hangingPunct="0">
              <a:spcBef>
                <a:spcPct val="0"/>
              </a:spcBef>
              <a:spcAft>
                <a:spcPct val="0"/>
              </a:spcAft>
              <a:defRPr sz="2000" i="1">
                <a:solidFill>
                  <a:schemeClr val="tx1"/>
                </a:solidFill>
                <a:latin typeface="Arial" charset="0"/>
                <a:ea typeface="ＭＳ Ｐゴシック" charset="0"/>
              </a:defRPr>
            </a:lvl7pPr>
            <a:lvl8pPr marL="3429000" indent="-228600" eaLnBrk="0" fontAlgn="base" hangingPunct="0">
              <a:spcBef>
                <a:spcPct val="0"/>
              </a:spcBef>
              <a:spcAft>
                <a:spcPct val="0"/>
              </a:spcAft>
              <a:defRPr sz="2000" i="1">
                <a:solidFill>
                  <a:schemeClr val="tx1"/>
                </a:solidFill>
                <a:latin typeface="Arial" charset="0"/>
                <a:ea typeface="ＭＳ Ｐゴシック" charset="0"/>
              </a:defRPr>
            </a:lvl8pPr>
            <a:lvl9pPr marL="3886200" indent="-228600" eaLnBrk="0" fontAlgn="base" hangingPunct="0">
              <a:spcBef>
                <a:spcPct val="0"/>
              </a:spcBef>
              <a:spcAft>
                <a:spcPct val="0"/>
              </a:spcAft>
              <a:defRPr sz="2000" i="1">
                <a:solidFill>
                  <a:schemeClr val="tx1"/>
                </a:solidFill>
                <a:latin typeface="Arial" charset="0"/>
                <a:ea typeface="ＭＳ Ｐゴシック" charset="0"/>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2656"/>
                </a:solidFill>
                <a:effectLst/>
                <a:uLnTx/>
                <a:uFillTx/>
                <a:latin typeface="Arial" charset="0"/>
                <a:ea typeface="ＭＳ Ｐゴシック" charset="0"/>
              </a:rPr>
              <a:t>Moderator</a:t>
            </a: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5153"/>
                </a:solidFill>
                <a:effectLst/>
                <a:uLnTx/>
                <a:uFillTx/>
                <a:latin typeface="Arial" charset="0"/>
                <a:ea typeface="ＭＳ Ｐゴシック" charset="0"/>
              </a:rPr>
              <a:t>Neil Love, MD</a:t>
            </a:r>
          </a:p>
        </p:txBody>
      </p:sp>
      <p:sp>
        <p:nvSpPr>
          <p:cNvPr id="8" name="Text Box 7">
            <a:extLst>
              <a:ext uri="{FF2B5EF4-FFF2-40B4-BE49-F238E27FC236}">
                <a16:creationId xmlns:a16="http://schemas.microsoft.com/office/drawing/2014/main" id="{7023190C-AD55-FE29-AFB3-2A70D8DC02C7}"/>
              </a:ext>
            </a:extLst>
          </p:cNvPr>
          <p:cNvSpPr txBox="1">
            <a:spLocks noChangeArrowheads="1"/>
          </p:cNvSpPr>
          <p:nvPr/>
        </p:nvSpPr>
        <p:spPr bwMode="auto">
          <a:xfrm>
            <a:off x="445008" y="4541317"/>
            <a:ext cx="11301984" cy="13234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type="none" w="sm" len="sm"/>
                <a:tailEnd type="none" w="sm" len="sm"/>
              </a14:hiddenLine>
            </a:ext>
          </a:extLst>
        </p:spPr>
        <p:txBody>
          <a:bodyPr wrap="square">
            <a:spAutoFit/>
          </a:bodyPr>
          <a:lstStyle>
            <a:lvl1pPr eaLnBrk="0" hangingPunct="0">
              <a:defRPr sz="2000" i="1">
                <a:solidFill>
                  <a:schemeClr val="tx1"/>
                </a:solidFill>
                <a:latin typeface="Arial" charset="0"/>
                <a:ea typeface="ＭＳ Ｐゴシック" charset="0"/>
                <a:cs typeface="ＭＳ Ｐゴシック" charset="0"/>
              </a:defRPr>
            </a:lvl1pPr>
            <a:lvl2pPr marL="742950" indent="-285750" eaLnBrk="0" hangingPunct="0">
              <a:defRPr sz="2000" i="1">
                <a:solidFill>
                  <a:schemeClr val="tx1"/>
                </a:solidFill>
                <a:latin typeface="Arial" charset="0"/>
                <a:ea typeface="ＭＳ Ｐゴシック" charset="0"/>
              </a:defRPr>
            </a:lvl2pPr>
            <a:lvl3pPr marL="1143000" indent="-228600" eaLnBrk="0" hangingPunct="0">
              <a:defRPr sz="2000" i="1">
                <a:solidFill>
                  <a:schemeClr val="tx1"/>
                </a:solidFill>
                <a:latin typeface="Arial" charset="0"/>
                <a:ea typeface="ＭＳ Ｐゴシック" charset="0"/>
              </a:defRPr>
            </a:lvl3pPr>
            <a:lvl4pPr marL="1600200" indent="-228600" eaLnBrk="0" hangingPunct="0">
              <a:defRPr sz="2000" i="1">
                <a:solidFill>
                  <a:schemeClr val="tx1"/>
                </a:solidFill>
                <a:latin typeface="Arial" charset="0"/>
                <a:ea typeface="ＭＳ Ｐゴシック" charset="0"/>
              </a:defRPr>
            </a:lvl4pPr>
            <a:lvl5pPr marL="2057400" indent="-228600" eaLnBrk="0" hangingPunct="0">
              <a:defRPr sz="2000" i="1">
                <a:solidFill>
                  <a:schemeClr val="tx1"/>
                </a:solidFill>
                <a:latin typeface="Arial" charset="0"/>
                <a:ea typeface="ＭＳ Ｐゴシック" charset="0"/>
              </a:defRPr>
            </a:lvl5pPr>
            <a:lvl6pPr marL="2514600" indent="-228600" eaLnBrk="0" fontAlgn="base" hangingPunct="0">
              <a:spcBef>
                <a:spcPct val="0"/>
              </a:spcBef>
              <a:spcAft>
                <a:spcPct val="0"/>
              </a:spcAft>
              <a:defRPr sz="2000" i="1">
                <a:solidFill>
                  <a:schemeClr val="tx1"/>
                </a:solidFill>
                <a:latin typeface="Arial" charset="0"/>
                <a:ea typeface="ＭＳ Ｐゴシック" charset="0"/>
              </a:defRPr>
            </a:lvl6pPr>
            <a:lvl7pPr marL="2971800" indent="-228600" eaLnBrk="0" fontAlgn="base" hangingPunct="0">
              <a:spcBef>
                <a:spcPct val="0"/>
              </a:spcBef>
              <a:spcAft>
                <a:spcPct val="0"/>
              </a:spcAft>
              <a:defRPr sz="2000" i="1">
                <a:solidFill>
                  <a:schemeClr val="tx1"/>
                </a:solidFill>
                <a:latin typeface="Arial" charset="0"/>
                <a:ea typeface="ＭＳ Ｐゴシック" charset="0"/>
              </a:defRPr>
            </a:lvl7pPr>
            <a:lvl8pPr marL="3429000" indent="-228600" eaLnBrk="0" fontAlgn="base" hangingPunct="0">
              <a:spcBef>
                <a:spcPct val="0"/>
              </a:spcBef>
              <a:spcAft>
                <a:spcPct val="0"/>
              </a:spcAft>
              <a:defRPr sz="2000" i="1">
                <a:solidFill>
                  <a:schemeClr val="tx1"/>
                </a:solidFill>
                <a:latin typeface="Arial" charset="0"/>
                <a:ea typeface="ＭＳ Ｐゴシック" charset="0"/>
              </a:defRPr>
            </a:lvl8pPr>
            <a:lvl9pPr marL="3886200" indent="-228600" eaLnBrk="0" fontAlgn="base" hangingPunct="0">
              <a:spcBef>
                <a:spcPct val="0"/>
              </a:spcBef>
              <a:spcAft>
                <a:spcPct val="0"/>
              </a:spcAft>
              <a:defRPr sz="2000" i="1">
                <a:solidFill>
                  <a:schemeClr val="tx1"/>
                </a:solidFill>
                <a:latin typeface="Arial" charset="0"/>
                <a:ea typeface="ＭＳ Ｐゴシック" charset="0"/>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2656"/>
                </a:solidFill>
                <a:effectLst/>
                <a:uLnTx/>
                <a:uFillTx/>
                <a:latin typeface="Arial" charset="0"/>
                <a:ea typeface="ヒラギノ角ゴ Pro W3" charset="0"/>
                <a:cs typeface="ヒラギノ角ゴ Pro W3" charset="0"/>
              </a:rPr>
              <a:t>Faculty</a:t>
            </a: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5153"/>
                </a:solidFill>
                <a:effectLst/>
                <a:uLnTx/>
                <a:uFillTx/>
                <a:latin typeface="Arial" charset="0"/>
                <a:ea typeface="ＭＳ Ｐゴシック" charset="0"/>
              </a:rPr>
              <a:t>Manali Kamdar, MD, MBBS</a:t>
            </a: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5153"/>
                </a:solidFill>
                <a:effectLst/>
                <a:uLnTx/>
                <a:uFillTx/>
                <a:latin typeface="Arial" charset="0"/>
                <a:ea typeface="ＭＳ Ｐゴシック" charset="0"/>
              </a:rPr>
              <a:t>Krish Patel, MD</a:t>
            </a: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5153"/>
                </a:solidFill>
                <a:effectLst/>
                <a:uLnTx/>
                <a:uFillTx/>
                <a:latin typeface="Arial" charset="0"/>
                <a:ea typeface="ＭＳ Ｐゴシック" charset="0"/>
              </a:rPr>
              <a:t>Gilles Salles, MD, PhD </a:t>
            </a:r>
          </a:p>
        </p:txBody>
      </p:sp>
    </p:spTree>
    <p:extLst>
      <p:ext uri="{BB962C8B-B14F-4D97-AF65-F5344CB8AC3E}">
        <p14:creationId xmlns:p14="http://schemas.microsoft.com/office/powerpoint/2010/main" val="13942708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2"/>
          <p:cNvSpPr>
            <a:spLocks noChangeArrowheads="1"/>
          </p:cNvSpPr>
          <p:nvPr/>
        </p:nvSpPr>
        <p:spPr bwMode="auto">
          <a:xfrm>
            <a:off x="445008" y="497188"/>
            <a:ext cx="11301984" cy="5867400"/>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anchor="ctr"/>
          <a:lstStyle/>
          <a:p>
            <a:pPr marL="0" marR="0" lvl="0" indent="0" algn="ctr" defTabSz="914400" rtl="0" eaLnBrk="0" fontAlgn="auto" latinLnBrk="0" hangingPunct="0">
              <a:lnSpc>
                <a:spcPts val="3100"/>
              </a:lnSpc>
              <a:spcBef>
                <a:spcPts val="0"/>
              </a:spcBef>
              <a:spcAft>
                <a:spcPts val="0"/>
              </a:spcAft>
              <a:buClrTx/>
              <a:buSzTx/>
              <a:buFontTx/>
              <a:buNone/>
              <a:tabLst/>
              <a:defRPr/>
            </a:pPr>
            <a:r>
              <a:rPr kumimoji="0" lang="en-US" sz="2500" b="1" i="0" u="none" strike="noStrike" kern="1200" cap="none" spc="0" normalizeH="0" baseline="0" noProof="0" dirty="0">
                <a:ln>
                  <a:noFill/>
                </a:ln>
                <a:solidFill>
                  <a:srgbClr val="002656"/>
                </a:solidFill>
                <a:effectLst/>
                <a:uLnTx/>
                <a:uFillTx/>
                <a:latin typeface="Arial" pitchFamily="-1" charset="0"/>
                <a:ea typeface="ＭＳ Ｐゴシック" pitchFamily="-1" charset="-128"/>
                <a:cs typeface="+mn-cs"/>
              </a:rPr>
              <a:t>Thank you for joining us!</a:t>
            </a:r>
            <a:br>
              <a:rPr kumimoji="0" lang="en-US" sz="2500" b="1" i="0" u="none" strike="noStrike" kern="1200" cap="none" spc="0" normalizeH="0" baseline="0" noProof="0" dirty="0">
                <a:ln>
                  <a:noFill/>
                </a:ln>
                <a:solidFill>
                  <a:srgbClr val="002656"/>
                </a:solidFill>
                <a:effectLst/>
                <a:uLnTx/>
                <a:uFillTx/>
                <a:latin typeface="Arial" pitchFamily="-1" charset="0"/>
                <a:ea typeface="ＭＳ Ｐゴシック" pitchFamily="-1" charset="-128"/>
                <a:cs typeface="+mn-cs"/>
              </a:rPr>
            </a:br>
            <a:r>
              <a:rPr kumimoji="0" lang="en-US" sz="2500" b="1" i="0" u="none" strike="noStrike" kern="1200" cap="none" spc="0" normalizeH="0" baseline="0" noProof="0" dirty="0">
                <a:ln>
                  <a:noFill/>
                </a:ln>
                <a:solidFill>
                  <a:srgbClr val="002656"/>
                </a:solidFill>
                <a:effectLst/>
                <a:uLnTx/>
                <a:uFillTx/>
                <a:latin typeface="Arial" pitchFamily="-1" charset="0"/>
                <a:ea typeface="ＭＳ Ｐゴシック" pitchFamily="-1" charset="-128"/>
                <a:cs typeface="+mn-cs"/>
              </a:rPr>
              <a:t>Your feedback is very important to us. </a:t>
            </a:r>
            <a:br>
              <a:rPr kumimoji="0" lang="en-US" sz="2500" b="1" i="0" u="none" strike="noStrike" kern="1200" cap="none" spc="0" normalizeH="0" baseline="0" noProof="0" dirty="0">
                <a:ln>
                  <a:noFill/>
                </a:ln>
                <a:solidFill>
                  <a:srgbClr val="002656"/>
                </a:solidFill>
                <a:effectLst/>
                <a:uLnTx/>
                <a:uFillTx/>
                <a:latin typeface="Arial" pitchFamily="-1" charset="0"/>
                <a:ea typeface="ＭＳ Ｐゴシック" pitchFamily="-1" charset="-128"/>
                <a:cs typeface="+mn-cs"/>
              </a:rPr>
            </a:br>
            <a:br>
              <a:rPr kumimoji="0" lang="en-US" sz="2500" b="1" i="0" u="none" strike="noStrike" kern="1200" cap="none" spc="0" normalizeH="0" baseline="0" noProof="0" dirty="0">
                <a:ln>
                  <a:noFill/>
                </a:ln>
                <a:solidFill>
                  <a:srgbClr val="002656"/>
                </a:solidFill>
                <a:effectLst/>
                <a:uLnTx/>
                <a:uFillTx/>
                <a:latin typeface="Arial" pitchFamily="-1" charset="0"/>
                <a:ea typeface="ＭＳ Ｐゴシック" pitchFamily="-1" charset="-128"/>
                <a:cs typeface="+mn-cs"/>
              </a:rPr>
            </a:br>
            <a:r>
              <a:rPr kumimoji="0" lang="en-US" sz="2500" b="1" i="0" u="none" strike="noStrike" kern="1200" cap="none" spc="0" normalizeH="0" baseline="0" noProof="0" dirty="0">
                <a:ln>
                  <a:noFill/>
                </a:ln>
                <a:solidFill>
                  <a:srgbClr val="002656"/>
                </a:solidFill>
                <a:effectLst/>
                <a:uLnTx/>
                <a:uFillTx/>
                <a:latin typeface="Arial" pitchFamily="-1" charset="0"/>
                <a:ea typeface="ＭＳ Ｐゴシック" pitchFamily="-1" charset="-128"/>
                <a:cs typeface="+mn-cs"/>
              </a:rPr>
              <a:t>Please complete the survey currently up on the iPads for attendees </a:t>
            </a:r>
            <a:br>
              <a:rPr kumimoji="0" lang="en-US" sz="2500" b="1" i="0" u="none" strike="noStrike" kern="1200" cap="none" spc="0" normalizeH="0" baseline="0" noProof="0" dirty="0">
                <a:ln>
                  <a:noFill/>
                </a:ln>
                <a:solidFill>
                  <a:srgbClr val="002656"/>
                </a:solidFill>
                <a:effectLst/>
                <a:uLnTx/>
                <a:uFillTx/>
                <a:latin typeface="Arial" pitchFamily="-1" charset="0"/>
                <a:ea typeface="ＭＳ Ｐゴシック" pitchFamily="-1" charset="-128"/>
                <a:cs typeface="+mn-cs"/>
              </a:rPr>
            </a:br>
            <a:r>
              <a:rPr kumimoji="0" lang="en-US" sz="2500" b="1" i="0" u="none" strike="noStrike" kern="1200" cap="none" spc="0" normalizeH="0" baseline="0" noProof="0" dirty="0">
                <a:ln>
                  <a:noFill/>
                </a:ln>
                <a:solidFill>
                  <a:srgbClr val="002656"/>
                </a:solidFill>
                <a:effectLst/>
                <a:uLnTx/>
                <a:uFillTx/>
                <a:latin typeface="Arial" pitchFamily="-1" charset="0"/>
                <a:ea typeface="ＭＳ Ｐゴシック" pitchFamily="-1" charset="-128"/>
                <a:cs typeface="+mn-cs"/>
              </a:rPr>
              <a:t>in the room and on Zoom for those attending virtually. </a:t>
            </a:r>
            <a:br>
              <a:rPr kumimoji="0" lang="en-US" sz="2500" b="1" i="0" u="none" strike="noStrike" kern="1200" cap="none" spc="0" normalizeH="0" baseline="0" noProof="0" dirty="0">
                <a:ln>
                  <a:noFill/>
                </a:ln>
                <a:solidFill>
                  <a:srgbClr val="002656"/>
                </a:solidFill>
                <a:effectLst/>
                <a:uLnTx/>
                <a:uFillTx/>
                <a:latin typeface="Arial" pitchFamily="-1" charset="0"/>
                <a:ea typeface="ＭＳ Ｐゴシック" pitchFamily="-1" charset="-128"/>
                <a:cs typeface="+mn-cs"/>
              </a:rPr>
            </a:br>
            <a:r>
              <a:rPr kumimoji="0" lang="en-US" sz="2500" b="1" i="0" u="none" strike="noStrike" kern="1200" cap="none" spc="0" normalizeH="0" baseline="0" noProof="0" dirty="0">
                <a:ln>
                  <a:noFill/>
                </a:ln>
                <a:solidFill>
                  <a:srgbClr val="002656"/>
                </a:solidFill>
                <a:effectLst/>
                <a:uLnTx/>
                <a:uFillTx/>
                <a:latin typeface="Arial" pitchFamily="-1" charset="0"/>
                <a:ea typeface="ＭＳ Ｐゴシック" pitchFamily="-1" charset="-128"/>
                <a:cs typeface="+mn-cs"/>
              </a:rPr>
              <a:t>The survey will remain open up to 5 minutes after the meeting ends. </a:t>
            </a:r>
            <a:br>
              <a:rPr kumimoji="0" lang="en-US" sz="2500" b="1" i="0" u="none" strike="noStrike" kern="1200" cap="none" spc="0" normalizeH="0" baseline="0" noProof="0" dirty="0">
                <a:ln>
                  <a:noFill/>
                </a:ln>
                <a:solidFill>
                  <a:srgbClr val="002656"/>
                </a:solidFill>
                <a:effectLst/>
                <a:uLnTx/>
                <a:uFillTx/>
                <a:latin typeface="Arial" pitchFamily="-1" charset="0"/>
                <a:ea typeface="ＭＳ Ｐゴシック" pitchFamily="-1" charset="-128"/>
                <a:cs typeface="+mn-cs"/>
              </a:rPr>
            </a:br>
            <a:br>
              <a:rPr kumimoji="0" lang="en-US" sz="2500" b="1" i="0" u="none" strike="noStrike" kern="1200" cap="none" spc="0" normalizeH="0" baseline="0" noProof="0" dirty="0">
                <a:ln>
                  <a:noFill/>
                </a:ln>
                <a:solidFill>
                  <a:srgbClr val="002656"/>
                </a:solidFill>
                <a:effectLst/>
                <a:uLnTx/>
                <a:uFillTx/>
                <a:latin typeface="Arial" pitchFamily="-1" charset="0"/>
                <a:ea typeface="ＭＳ Ｐゴシック" pitchFamily="-1" charset="-128"/>
                <a:cs typeface="+mn-cs"/>
              </a:rPr>
            </a:br>
            <a:r>
              <a:rPr kumimoji="0" lang="en-US" sz="2500" b="1" i="1" u="sng" strike="noStrike" kern="1200" cap="none" spc="0" normalizeH="0" baseline="0" noProof="0" dirty="0">
                <a:ln>
                  <a:noFill/>
                </a:ln>
                <a:solidFill>
                  <a:srgbClr val="002656"/>
                </a:solidFill>
                <a:effectLst/>
                <a:uLnTx/>
                <a:uFillTx/>
                <a:latin typeface="Arial" pitchFamily="-1" charset="0"/>
                <a:ea typeface="ＭＳ Ｐゴシック" pitchFamily="-1" charset="-128"/>
                <a:cs typeface="+mn-cs"/>
              </a:rPr>
              <a:t>To Claim CME, NCPD or ACPE Credit</a:t>
            </a:r>
            <a:br>
              <a:rPr kumimoji="0" lang="en-US" sz="2500" b="1" i="1" u="none" strike="noStrike" kern="1200" cap="none" spc="0" normalizeH="0" baseline="0" noProof="0" dirty="0">
                <a:ln>
                  <a:noFill/>
                </a:ln>
                <a:solidFill>
                  <a:srgbClr val="002656"/>
                </a:solidFill>
                <a:effectLst/>
                <a:uLnTx/>
                <a:uFillTx/>
                <a:latin typeface="Arial" pitchFamily="-1" charset="0"/>
                <a:ea typeface="ＭＳ Ｐゴシック" pitchFamily="-1" charset="-128"/>
                <a:cs typeface="+mn-cs"/>
              </a:rPr>
            </a:br>
            <a:r>
              <a:rPr kumimoji="0" lang="en-US" sz="2500" b="1" i="1" u="none" strike="noStrike" kern="1200" cap="none" spc="0" normalizeH="0" baseline="0" noProof="0" dirty="0">
                <a:ln>
                  <a:noFill/>
                </a:ln>
                <a:solidFill>
                  <a:srgbClr val="002656"/>
                </a:solidFill>
                <a:effectLst/>
                <a:uLnTx/>
                <a:uFillTx/>
                <a:latin typeface="Arial" pitchFamily="-1" charset="0"/>
                <a:ea typeface="ＭＳ Ｐゴシック" pitchFamily="-1" charset="-128"/>
                <a:cs typeface="+mn-cs"/>
              </a:rPr>
              <a:t>In-person attendees: Please refer to the program syllabus </a:t>
            </a:r>
            <a:br>
              <a:rPr kumimoji="0" lang="en-US" sz="2500" b="1" i="1" u="none" strike="noStrike" kern="1200" cap="none" spc="0" normalizeH="0" baseline="0" noProof="0" dirty="0">
                <a:ln>
                  <a:noFill/>
                </a:ln>
                <a:solidFill>
                  <a:srgbClr val="002656"/>
                </a:solidFill>
                <a:effectLst/>
                <a:uLnTx/>
                <a:uFillTx/>
                <a:latin typeface="Arial" pitchFamily="-1" charset="0"/>
                <a:ea typeface="ＭＳ Ｐゴシック" pitchFamily="-1" charset="-128"/>
                <a:cs typeface="+mn-cs"/>
              </a:rPr>
            </a:br>
            <a:r>
              <a:rPr kumimoji="0" lang="en-US" sz="2500" b="1" i="1" u="none" strike="noStrike" kern="1200" cap="none" spc="0" normalizeH="0" baseline="0" noProof="0" dirty="0">
                <a:ln>
                  <a:noFill/>
                </a:ln>
                <a:solidFill>
                  <a:srgbClr val="002656"/>
                </a:solidFill>
                <a:effectLst/>
                <a:uLnTx/>
                <a:uFillTx/>
                <a:latin typeface="Arial" pitchFamily="-1" charset="0"/>
                <a:ea typeface="ＭＳ Ｐゴシック" pitchFamily="-1" charset="-128"/>
                <a:cs typeface="+mn-cs"/>
              </a:rPr>
              <a:t>for the CME credit link or QR code. </a:t>
            </a:r>
            <a:br>
              <a:rPr kumimoji="0" lang="en-US" sz="2500" b="1" i="1" u="none" strike="noStrike" kern="1200" cap="none" spc="0" normalizeH="0" baseline="0" noProof="0" dirty="0">
                <a:ln>
                  <a:noFill/>
                </a:ln>
                <a:solidFill>
                  <a:srgbClr val="002656"/>
                </a:solidFill>
                <a:effectLst/>
                <a:uLnTx/>
                <a:uFillTx/>
                <a:latin typeface="Arial" pitchFamily="-1" charset="0"/>
                <a:ea typeface="ＭＳ Ｐゴシック" pitchFamily="-1" charset="-128"/>
                <a:cs typeface="+mn-cs"/>
              </a:rPr>
            </a:br>
            <a:r>
              <a:rPr kumimoji="0" lang="en-US" sz="2500" b="1" i="1" u="none" strike="noStrike" kern="1200" cap="none" spc="0" normalizeH="0" baseline="0" noProof="0" dirty="0">
                <a:ln>
                  <a:noFill/>
                </a:ln>
                <a:solidFill>
                  <a:srgbClr val="002656"/>
                </a:solidFill>
                <a:effectLst/>
                <a:uLnTx/>
                <a:uFillTx/>
                <a:latin typeface="Arial" pitchFamily="-1" charset="0"/>
                <a:ea typeface="ＭＳ Ｐゴシック" pitchFamily="-1" charset="-128"/>
                <a:cs typeface="+mn-cs"/>
              </a:rPr>
              <a:t>Online/Zoom attendees: The CME credit link </a:t>
            </a:r>
            <a:br>
              <a:rPr kumimoji="0" lang="en-US" sz="2500" b="1" i="1" u="none" strike="noStrike" kern="1200" cap="none" spc="0" normalizeH="0" baseline="0" noProof="0" dirty="0">
                <a:ln>
                  <a:noFill/>
                </a:ln>
                <a:solidFill>
                  <a:srgbClr val="002656"/>
                </a:solidFill>
                <a:effectLst/>
                <a:uLnTx/>
                <a:uFillTx/>
                <a:latin typeface="Arial" pitchFamily="-1" charset="0"/>
                <a:ea typeface="ＭＳ Ｐゴシック" pitchFamily="-1" charset="-128"/>
                <a:cs typeface="+mn-cs"/>
              </a:rPr>
            </a:br>
            <a:r>
              <a:rPr kumimoji="0" lang="en-US" sz="2500" b="1" i="1" u="none" strike="noStrike" kern="1200" cap="none" spc="0" normalizeH="0" baseline="0" noProof="0" dirty="0">
                <a:ln>
                  <a:noFill/>
                </a:ln>
                <a:solidFill>
                  <a:srgbClr val="002656"/>
                </a:solidFill>
                <a:effectLst/>
                <a:uLnTx/>
                <a:uFillTx/>
                <a:latin typeface="Arial" pitchFamily="-1" charset="0"/>
                <a:ea typeface="ＭＳ Ｐゴシック" pitchFamily="-1" charset="-128"/>
                <a:cs typeface="+mn-cs"/>
              </a:rPr>
              <a:t>is posted in the chat room.</a:t>
            </a:r>
          </a:p>
        </p:txBody>
      </p:sp>
    </p:spTree>
    <p:extLst>
      <p:ext uri="{BB962C8B-B14F-4D97-AF65-F5344CB8AC3E}">
        <p14:creationId xmlns:p14="http://schemas.microsoft.com/office/powerpoint/2010/main" val="32594891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78462FE-4E17-2698-BE06-01D4CDE7CB62}"/>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40064634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A34285-6835-C8E2-99AD-E22DF7A1933B}"/>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75CCB147-C4E2-741E-FA7F-D75C87E98743}"/>
              </a:ext>
            </a:extLst>
          </p:cNvPr>
          <p:cNvPicPr>
            <a:picLocks noChangeAspect="1"/>
          </p:cNvPicPr>
          <p:nvPr/>
        </p:nvPicPr>
        <p:blipFill>
          <a:blip r:embed="rId2"/>
          <a:srcRect/>
          <a:stretch/>
        </p:blipFill>
        <p:spPr>
          <a:xfrm>
            <a:off x="0" y="0"/>
            <a:ext cx="12192000" cy="6858000"/>
          </a:xfrm>
          <a:prstGeom prst="rect">
            <a:avLst/>
          </a:prstGeom>
        </p:spPr>
      </p:pic>
    </p:spTree>
    <p:extLst>
      <p:ext uri="{BB962C8B-B14F-4D97-AF65-F5344CB8AC3E}">
        <p14:creationId xmlns:p14="http://schemas.microsoft.com/office/powerpoint/2010/main" val="38223747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p:cNvSpPr>
            <a:spLocks noGrp="1"/>
          </p:cNvSpPr>
          <p:nvPr>
            <p:ph type="title"/>
          </p:nvPr>
        </p:nvSpPr>
        <p:spPr>
          <a:xfrm>
            <a:off x="459670" y="0"/>
            <a:ext cx="11272660" cy="1143000"/>
          </a:xfrm>
        </p:spPr>
        <p:txBody>
          <a:bodyPr/>
          <a:lstStyle/>
          <a:p>
            <a:r>
              <a:rPr lang="en-US" sz="2400" dirty="0"/>
              <a:t>Fifth Annual National General Medical Oncology Summit</a:t>
            </a:r>
          </a:p>
        </p:txBody>
      </p:sp>
      <p:pic>
        <p:nvPicPr>
          <p:cNvPr id="55" name="Picture 54">
            <a:extLst>
              <a:ext uri="{FF2B5EF4-FFF2-40B4-BE49-F238E27FC236}">
                <a16:creationId xmlns:a16="http://schemas.microsoft.com/office/drawing/2014/main" id="{05BE6E66-FA64-424B-938D-0109C28EFD6B}"/>
              </a:ext>
            </a:extLst>
          </p:cNvPr>
          <p:cNvPicPr>
            <a:picLocks noChangeAspect="1"/>
          </p:cNvPicPr>
          <p:nvPr/>
        </p:nvPicPr>
        <p:blipFill>
          <a:blip r:embed="rId2"/>
          <a:srcRect t="698" b="698"/>
          <a:stretch/>
        </p:blipFill>
        <p:spPr>
          <a:xfrm>
            <a:off x="9299562" y="1000048"/>
            <a:ext cx="999774" cy="1197966"/>
          </a:xfrm>
          <a:prstGeom prst="rect">
            <a:avLst/>
          </a:prstGeom>
          <a:noFill/>
          <a:effectLst>
            <a:outerShdw blurRad="50800" dist="38100" dir="2700000" algn="tl" rotWithShape="0">
              <a:prstClr val="black">
                <a:alpha val="40000"/>
              </a:prstClr>
            </a:outerShdw>
          </a:effectLst>
        </p:spPr>
      </p:pic>
      <p:pic>
        <p:nvPicPr>
          <p:cNvPr id="3" name="Picture 2">
            <a:extLst>
              <a:ext uri="{FF2B5EF4-FFF2-40B4-BE49-F238E27FC236}">
                <a16:creationId xmlns:a16="http://schemas.microsoft.com/office/drawing/2014/main" id="{BDA04D09-B2BB-D4F6-A1DB-ABC72D3546D0}"/>
              </a:ext>
            </a:extLst>
          </p:cNvPr>
          <p:cNvPicPr>
            <a:picLocks noChangeAspect="1"/>
          </p:cNvPicPr>
          <p:nvPr/>
        </p:nvPicPr>
        <p:blipFill>
          <a:blip r:embed="rId3"/>
          <a:srcRect t="698" b="698"/>
          <a:stretch/>
        </p:blipFill>
        <p:spPr>
          <a:xfrm>
            <a:off x="10534045" y="1000048"/>
            <a:ext cx="999774" cy="1197966"/>
          </a:xfrm>
          <a:prstGeom prst="rect">
            <a:avLst/>
          </a:prstGeom>
          <a:noFill/>
          <a:effectLst>
            <a:outerShdw blurRad="50800" dist="38100" dir="2700000" algn="tl" rotWithShape="0">
              <a:prstClr val="black">
                <a:alpha val="40000"/>
              </a:prstClr>
            </a:outerShdw>
          </a:effectLst>
        </p:spPr>
      </p:pic>
      <p:pic>
        <p:nvPicPr>
          <p:cNvPr id="4" name="Picture 3">
            <a:extLst>
              <a:ext uri="{FF2B5EF4-FFF2-40B4-BE49-F238E27FC236}">
                <a16:creationId xmlns:a16="http://schemas.microsoft.com/office/drawing/2014/main" id="{0E918FBF-2EA4-C474-D646-371228F32202}"/>
              </a:ext>
            </a:extLst>
          </p:cNvPr>
          <p:cNvPicPr>
            <a:picLocks noChangeAspect="1"/>
          </p:cNvPicPr>
          <p:nvPr/>
        </p:nvPicPr>
        <p:blipFill>
          <a:blip r:embed="rId4"/>
          <a:srcRect t="698" b="698"/>
          <a:stretch/>
        </p:blipFill>
        <p:spPr>
          <a:xfrm>
            <a:off x="10534045" y="4983419"/>
            <a:ext cx="999774" cy="1197966"/>
          </a:xfrm>
          <a:prstGeom prst="rect">
            <a:avLst/>
          </a:prstGeom>
          <a:noFill/>
          <a:effectLst>
            <a:outerShdw blurRad="50800" dist="38100" dir="2700000" algn="tl" rotWithShape="0">
              <a:prstClr val="black">
                <a:alpha val="40000"/>
              </a:prstClr>
            </a:outerShdw>
          </a:effectLst>
        </p:spPr>
      </p:pic>
      <p:pic>
        <p:nvPicPr>
          <p:cNvPr id="5" name="Picture 4">
            <a:extLst>
              <a:ext uri="{FF2B5EF4-FFF2-40B4-BE49-F238E27FC236}">
                <a16:creationId xmlns:a16="http://schemas.microsoft.com/office/drawing/2014/main" id="{84A09EB6-B957-5663-6489-76F04380176F}"/>
              </a:ext>
            </a:extLst>
          </p:cNvPr>
          <p:cNvPicPr>
            <a:picLocks noChangeAspect="1"/>
          </p:cNvPicPr>
          <p:nvPr/>
        </p:nvPicPr>
        <p:blipFill>
          <a:blip r:embed="rId5"/>
          <a:srcRect t="698" b="698"/>
          <a:stretch/>
        </p:blipFill>
        <p:spPr>
          <a:xfrm>
            <a:off x="658181" y="1000048"/>
            <a:ext cx="999774" cy="1197966"/>
          </a:xfrm>
          <a:prstGeom prst="rect">
            <a:avLst/>
          </a:prstGeom>
          <a:noFill/>
          <a:effectLst>
            <a:outerShdw blurRad="50800" dist="38100" dir="2700000" algn="tl" rotWithShape="0">
              <a:prstClr val="black">
                <a:alpha val="40000"/>
              </a:prstClr>
            </a:outerShdw>
          </a:effectLst>
        </p:spPr>
      </p:pic>
      <p:pic>
        <p:nvPicPr>
          <p:cNvPr id="6" name="Picture 5">
            <a:extLst>
              <a:ext uri="{FF2B5EF4-FFF2-40B4-BE49-F238E27FC236}">
                <a16:creationId xmlns:a16="http://schemas.microsoft.com/office/drawing/2014/main" id="{F58C99F0-2528-3BA1-6E14-2A0ED74D1A73}"/>
              </a:ext>
            </a:extLst>
          </p:cNvPr>
          <p:cNvPicPr>
            <a:picLocks noChangeAspect="1"/>
          </p:cNvPicPr>
          <p:nvPr/>
        </p:nvPicPr>
        <p:blipFill>
          <a:blip r:embed="rId6"/>
          <a:srcRect t="698" b="698"/>
          <a:stretch/>
        </p:blipFill>
        <p:spPr>
          <a:xfrm>
            <a:off x="5596113" y="1000048"/>
            <a:ext cx="999774" cy="1197966"/>
          </a:xfrm>
          <a:prstGeom prst="rect">
            <a:avLst/>
          </a:prstGeom>
          <a:noFill/>
          <a:effectLst>
            <a:outerShdw blurRad="50800" dist="38100" dir="2700000" algn="tl" rotWithShape="0">
              <a:prstClr val="black">
                <a:alpha val="40000"/>
              </a:prstClr>
            </a:outerShdw>
          </a:effectLst>
        </p:spPr>
      </p:pic>
      <p:pic>
        <p:nvPicPr>
          <p:cNvPr id="7" name="Picture 6">
            <a:extLst>
              <a:ext uri="{FF2B5EF4-FFF2-40B4-BE49-F238E27FC236}">
                <a16:creationId xmlns:a16="http://schemas.microsoft.com/office/drawing/2014/main" id="{BBB85D29-F5D8-ABC9-8980-B590F06F6579}"/>
              </a:ext>
            </a:extLst>
          </p:cNvPr>
          <p:cNvPicPr>
            <a:picLocks noChangeAspect="1"/>
          </p:cNvPicPr>
          <p:nvPr/>
        </p:nvPicPr>
        <p:blipFill>
          <a:blip r:embed="rId7"/>
          <a:srcRect t="698" b="698"/>
          <a:stretch/>
        </p:blipFill>
        <p:spPr>
          <a:xfrm>
            <a:off x="8065079" y="1000048"/>
            <a:ext cx="999774" cy="1197966"/>
          </a:xfrm>
          <a:prstGeom prst="rect">
            <a:avLst/>
          </a:prstGeom>
          <a:noFill/>
          <a:effectLst>
            <a:outerShdw blurRad="50800" dist="38100" dir="2700000" algn="tl" rotWithShape="0">
              <a:prstClr val="black">
                <a:alpha val="40000"/>
              </a:prstClr>
            </a:outerShdw>
          </a:effectLst>
        </p:spPr>
      </p:pic>
      <p:pic>
        <p:nvPicPr>
          <p:cNvPr id="8" name="Picture 7">
            <a:extLst>
              <a:ext uri="{FF2B5EF4-FFF2-40B4-BE49-F238E27FC236}">
                <a16:creationId xmlns:a16="http://schemas.microsoft.com/office/drawing/2014/main" id="{B681DBA2-6AE3-5CF7-389A-AB2344FD468F}"/>
              </a:ext>
            </a:extLst>
          </p:cNvPr>
          <p:cNvPicPr>
            <a:picLocks noChangeAspect="1"/>
          </p:cNvPicPr>
          <p:nvPr/>
        </p:nvPicPr>
        <p:blipFill>
          <a:blip r:embed="rId8"/>
          <a:srcRect t="698" b="698"/>
          <a:stretch/>
        </p:blipFill>
        <p:spPr>
          <a:xfrm>
            <a:off x="4361630" y="1000048"/>
            <a:ext cx="999774" cy="1197966"/>
          </a:xfrm>
          <a:prstGeom prst="rect">
            <a:avLst/>
          </a:prstGeom>
          <a:noFill/>
          <a:effectLst>
            <a:outerShdw blurRad="50800" dist="38100" dir="2700000" algn="tl" rotWithShape="0">
              <a:prstClr val="black">
                <a:alpha val="40000"/>
              </a:prstClr>
            </a:outerShdw>
          </a:effectLst>
        </p:spPr>
      </p:pic>
      <p:pic>
        <p:nvPicPr>
          <p:cNvPr id="9" name="Picture 8">
            <a:extLst>
              <a:ext uri="{FF2B5EF4-FFF2-40B4-BE49-F238E27FC236}">
                <a16:creationId xmlns:a16="http://schemas.microsoft.com/office/drawing/2014/main" id="{32C52F6A-81E7-9596-CD21-2AD80D6E1C5F}"/>
              </a:ext>
            </a:extLst>
          </p:cNvPr>
          <p:cNvPicPr>
            <a:picLocks noChangeAspect="1"/>
          </p:cNvPicPr>
          <p:nvPr/>
        </p:nvPicPr>
        <p:blipFill>
          <a:blip r:embed="rId9"/>
          <a:srcRect t="698" b="698"/>
          <a:stretch/>
        </p:blipFill>
        <p:spPr>
          <a:xfrm>
            <a:off x="6830596" y="1000048"/>
            <a:ext cx="999774" cy="1197966"/>
          </a:xfrm>
          <a:prstGeom prst="rect">
            <a:avLst/>
          </a:prstGeom>
          <a:noFill/>
          <a:effectLst>
            <a:outerShdw blurRad="50800" dist="38100" dir="2700000" algn="tl" rotWithShape="0">
              <a:prstClr val="black">
                <a:alpha val="40000"/>
              </a:prstClr>
            </a:outerShdw>
          </a:effectLst>
        </p:spPr>
      </p:pic>
      <p:pic>
        <p:nvPicPr>
          <p:cNvPr id="10" name="Picture 9">
            <a:extLst>
              <a:ext uri="{FF2B5EF4-FFF2-40B4-BE49-F238E27FC236}">
                <a16:creationId xmlns:a16="http://schemas.microsoft.com/office/drawing/2014/main" id="{4BD8CDE1-4C3A-16F1-AD1B-270012555E9F}"/>
              </a:ext>
            </a:extLst>
          </p:cNvPr>
          <p:cNvPicPr>
            <a:picLocks noChangeAspect="1"/>
          </p:cNvPicPr>
          <p:nvPr/>
        </p:nvPicPr>
        <p:blipFill>
          <a:blip r:embed="rId10"/>
          <a:srcRect t="698" b="698"/>
          <a:stretch/>
        </p:blipFill>
        <p:spPr>
          <a:xfrm>
            <a:off x="1892664" y="1000048"/>
            <a:ext cx="999774" cy="1197966"/>
          </a:xfrm>
          <a:prstGeom prst="rect">
            <a:avLst/>
          </a:prstGeom>
          <a:noFill/>
          <a:effectLst>
            <a:outerShdw blurRad="50800" dist="38100" dir="2700000" algn="tl" rotWithShape="0">
              <a:prstClr val="black">
                <a:alpha val="40000"/>
              </a:prstClr>
            </a:outerShdw>
          </a:effectLst>
        </p:spPr>
      </p:pic>
      <p:pic>
        <p:nvPicPr>
          <p:cNvPr id="12" name="Picture 11">
            <a:extLst>
              <a:ext uri="{FF2B5EF4-FFF2-40B4-BE49-F238E27FC236}">
                <a16:creationId xmlns:a16="http://schemas.microsoft.com/office/drawing/2014/main" id="{99382A55-0586-CACB-042B-E6C4C8B234B9}"/>
              </a:ext>
            </a:extLst>
          </p:cNvPr>
          <p:cNvPicPr>
            <a:picLocks noChangeAspect="1"/>
          </p:cNvPicPr>
          <p:nvPr/>
        </p:nvPicPr>
        <p:blipFill>
          <a:blip r:embed="rId11"/>
          <a:srcRect t="698" b="698"/>
          <a:stretch/>
        </p:blipFill>
        <p:spPr>
          <a:xfrm>
            <a:off x="3127147" y="1000048"/>
            <a:ext cx="999774" cy="1197966"/>
          </a:xfrm>
          <a:prstGeom prst="rect">
            <a:avLst/>
          </a:prstGeom>
          <a:noFill/>
          <a:effectLst>
            <a:outerShdw blurRad="50800" dist="38100" dir="2700000" algn="tl" rotWithShape="0">
              <a:prstClr val="black">
                <a:alpha val="40000"/>
              </a:prstClr>
            </a:outerShdw>
          </a:effectLst>
        </p:spPr>
      </p:pic>
      <p:pic>
        <p:nvPicPr>
          <p:cNvPr id="13" name="Picture 12">
            <a:extLst>
              <a:ext uri="{FF2B5EF4-FFF2-40B4-BE49-F238E27FC236}">
                <a16:creationId xmlns:a16="http://schemas.microsoft.com/office/drawing/2014/main" id="{BC4FDF36-DA8F-C58F-DB2B-6D18DD182E10}"/>
              </a:ext>
            </a:extLst>
          </p:cNvPr>
          <p:cNvPicPr>
            <a:picLocks noChangeAspect="1"/>
          </p:cNvPicPr>
          <p:nvPr/>
        </p:nvPicPr>
        <p:blipFill>
          <a:blip r:embed="rId12"/>
          <a:srcRect t="698" b="698"/>
          <a:stretch/>
        </p:blipFill>
        <p:spPr>
          <a:xfrm>
            <a:off x="10534045" y="2327838"/>
            <a:ext cx="999774" cy="1197966"/>
          </a:xfrm>
          <a:prstGeom prst="rect">
            <a:avLst/>
          </a:prstGeom>
          <a:noFill/>
          <a:effectLst>
            <a:outerShdw blurRad="50800" dist="38100" dir="2700000" algn="tl" rotWithShape="0">
              <a:prstClr val="black">
                <a:alpha val="40000"/>
              </a:prstClr>
            </a:outerShdw>
          </a:effectLst>
        </p:spPr>
      </p:pic>
      <p:pic>
        <p:nvPicPr>
          <p:cNvPr id="14" name="Picture 13">
            <a:extLst>
              <a:ext uri="{FF2B5EF4-FFF2-40B4-BE49-F238E27FC236}">
                <a16:creationId xmlns:a16="http://schemas.microsoft.com/office/drawing/2014/main" id="{E57AFDD5-55CE-8F10-2EB3-CE3183BB96C8}"/>
              </a:ext>
            </a:extLst>
          </p:cNvPr>
          <p:cNvPicPr>
            <a:picLocks noChangeAspect="1"/>
          </p:cNvPicPr>
          <p:nvPr/>
        </p:nvPicPr>
        <p:blipFill>
          <a:blip r:embed="rId13"/>
          <a:srcRect t="698" b="698"/>
          <a:stretch/>
        </p:blipFill>
        <p:spPr>
          <a:xfrm>
            <a:off x="10534045" y="3655628"/>
            <a:ext cx="999774" cy="1197966"/>
          </a:xfrm>
          <a:prstGeom prst="rect">
            <a:avLst/>
          </a:prstGeom>
          <a:noFill/>
          <a:effectLst>
            <a:outerShdw blurRad="50800" dist="38100" dir="2700000" algn="tl" rotWithShape="0">
              <a:prstClr val="black">
                <a:alpha val="40000"/>
              </a:prstClr>
            </a:outerShdw>
          </a:effectLst>
        </p:spPr>
      </p:pic>
      <p:pic>
        <p:nvPicPr>
          <p:cNvPr id="16" name="Picture 15">
            <a:extLst>
              <a:ext uri="{FF2B5EF4-FFF2-40B4-BE49-F238E27FC236}">
                <a16:creationId xmlns:a16="http://schemas.microsoft.com/office/drawing/2014/main" id="{180603AD-B074-6BCB-05C2-22037C032E6D}"/>
              </a:ext>
            </a:extLst>
          </p:cNvPr>
          <p:cNvPicPr>
            <a:picLocks noChangeAspect="1"/>
          </p:cNvPicPr>
          <p:nvPr/>
        </p:nvPicPr>
        <p:blipFill>
          <a:blip r:embed="rId14"/>
          <a:srcRect t="698" b="698"/>
          <a:stretch/>
        </p:blipFill>
        <p:spPr>
          <a:xfrm>
            <a:off x="9299562" y="4983419"/>
            <a:ext cx="999774" cy="1197966"/>
          </a:xfrm>
          <a:prstGeom prst="rect">
            <a:avLst/>
          </a:prstGeom>
          <a:noFill/>
          <a:effectLst>
            <a:outerShdw blurRad="50800" dist="38100" dir="2700000" algn="tl" rotWithShape="0">
              <a:prstClr val="black">
                <a:alpha val="40000"/>
              </a:prstClr>
            </a:outerShdw>
          </a:effectLst>
        </p:spPr>
      </p:pic>
      <p:pic>
        <p:nvPicPr>
          <p:cNvPr id="17" name="Picture 16">
            <a:extLst>
              <a:ext uri="{FF2B5EF4-FFF2-40B4-BE49-F238E27FC236}">
                <a16:creationId xmlns:a16="http://schemas.microsoft.com/office/drawing/2014/main" id="{DB6FEE40-E892-2DB3-DAB9-179CAF6982AD}"/>
              </a:ext>
            </a:extLst>
          </p:cNvPr>
          <p:cNvPicPr>
            <a:picLocks noChangeAspect="1"/>
          </p:cNvPicPr>
          <p:nvPr/>
        </p:nvPicPr>
        <p:blipFill>
          <a:blip r:embed="rId15"/>
          <a:srcRect t="698" b="698"/>
          <a:stretch/>
        </p:blipFill>
        <p:spPr>
          <a:xfrm>
            <a:off x="658181" y="4983419"/>
            <a:ext cx="999774" cy="1197966"/>
          </a:xfrm>
          <a:prstGeom prst="rect">
            <a:avLst/>
          </a:prstGeom>
          <a:noFill/>
          <a:effectLst>
            <a:outerShdw blurRad="50800" dist="38100" dir="2700000" algn="tl" rotWithShape="0">
              <a:prstClr val="black">
                <a:alpha val="40000"/>
              </a:prstClr>
            </a:outerShdw>
          </a:effectLst>
        </p:spPr>
      </p:pic>
      <p:pic>
        <p:nvPicPr>
          <p:cNvPr id="18" name="Picture 17">
            <a:extLst>
              <a:ext uri="{FF2B5EF4-FFF2-40B4-BE49-F238E27FC236}">
                <a16:creationId xmlns:a16="http://schemas.microsoft.com/office/drawing/2014/main" id="{117A0ACD-921F-1E0F-4441-900F57F0CE74}"/>
              </a:ext>
            </a:extLst>
          </p:cNvPr>
          <p:cNvPicPr>
            <a:picLocks noChangeAspect="1"/>
          </p:cNvPicPr>
          <p:nvPr/>
        </p:nvPicPr>
        <p:blipFill>
          <a:blip r:embed="rId16"/>
          <a:srcRect t="698" b="698"/>
          <a:stretch/>
        </p:blipFill>
        <p:spPr>
          <a:xfrm>
            <a:off x="6830596" y="4983419"/>
            <a:ext cx="999774" cy="1197966"/>
          </a:xfrm>
          <a:prstGeom prst="rect">
            <a:avLst/>
          </a:prstGeom>
          <a:noFill/>
          <a:effectLst>
            <a:outerShdw blurRad="50800" dist="38100" dir="2700000" algn="tl" rotWithShape="0">
              <a:prstClr val="black">
                <a:alpha val="40000"/>
              </a:prstClr>
            </a:outerShdw>
          </a:effectLst>
        </p:spPr>
      </p:pic>
      <p:pic>
        <p:nvPicPr>
          <p:cNvPr id="19" name="Picture 18">
            <a:extLst>
              <a:ext uri="{FF2B5EF4-FFF2-40B4-BE49-F238E27FC236}">
                <a16:creationId xmlns:a16="http://schemas.microsoft.com/office/drawing/2014/main" id="{63DD301B-455B-6D66-9984-01BAA86B7FC8}"/>
              </a:ext>
            </a:extLst>
          </p:cNvPr>
          <p:cNvPicPr>
            <a:picLocks noChangeAspect="1"/>
          </p:cNvPicPr>
          <p:nvPr/>
        </p:nvPicPr>
        <p:blipFill>
          <a:blip r:embed="rId17"/>
          <a:srcRect t="698" b="698"/>
          <a:stretch/>
        </p:blipFill>
        <p:spPr>
          <a:xfrm>
            <a:off x="8065079" y="4983419"/>
            <a:ext cx="999774" cy="1197966"/>
          </a:xfrm>
          <a:prstGeom prst="rect">
            <a:avLst/>
          </a:prstGeom>
          <a:noFill/>
          <a:effectLst>
            <a:outerShdw blurRad="50800" dist="38100" dir="2700000" algn="tl" rotWithShape="0">
              <a:prstClr val="black">
                <a:alpha val="40000"/>
              </a:prstClr>
            </a:outerShdw>
          </a:effectLst>
        </p:spPr>
      </p:pic>
      <p:pic>
        <p:nvPicPr>
          <p:cNvPr id="20" name="Picture 19">
            <a:extLst>
              <a:ext uri="{FF2B5EF4-FFF2-40B4-BE49-F238E27FC236}">
                <a16:creationId xmlns:a16="http://schemas.microsoft.com/office/drawing/2014/main" id="{F9E4BD21-BF5D-1D98-2DF9-096D0C43A165}"/>
              </a:ext>
            </a:extLst>
          </p:cNvPr>
          <p:cNvPicPr>
            <a:picLocks noChangeAspect="1"/>
          </p:cNvPicPr>
          <p:nvPr/>
        </p:nvPicPr>
        <p:blipFill>
          <a:blip r:embed="rId18"/>
          <a:srcRect t="698" b="698"/>
          <a:stretch/>
        </p:blipFill>
        <p:spPr>
          <a:xfrm>
            <a:off x="4361630" y="4983419"/>
            <a:ext cx="999774" cy="1197966"/>
          </a:xfrm>
          <a:prstGeom prst="rect">
            <a:avLst/>
          </a:prstGeom>
          <a:noFill/>
          <a:effectLst>
            <a:outerShdw blurRad="50800" dist="38100" dir="2700000" algn="tl" rotWithShape="0">
              <a:prstClr val="black">
                <a:alpha val="40000"/>
              </a:prstClr>
            </a:outerShdw>
          </a:effectLst>
        </p:spPr>
      </p:pic>
      <p:pic>
        <p:nvPicPr>
          <p:cNvPr id="22" name="Picture 21">
            <a:extLst>
              <a:ext uri="{FF2B5EF4-FFF2-40B4-BE49-F238E27FC236}">
                <a16:creationId xmlns:a16="http://schemas.microsoft.com/office/drawing/2014/main" id="{C6994009-4569-5E37-8D85-F4629194A84C}"/>
              </a:ext>
            </a:extLst>
          </p:cNvPr>
          <p:cNvPicPr>
            <a:picLocks noChangeAspect="1"/>
          </p:cNvPicPr>
          <p:nvPr/>
        </p:nvPicPr>
        <p:blipFill>
          <a:blip r:embed="rId19"/>
          <a:srcRect t="698" b="698"/>
          <a:stretch/>
        </p:blipFill>
        <p:spPr>
          <a:xfrm>
            <a:off x="5596113" y="4983419"/>
            <a:ext cx="999774" cy="1197966"/>
          </a:xfrm>
          <a:prstGeom prst="rect">
            <a:avLst/>
          </a:prstGeom>
          <a:noFill/>
          <a:effectLst>
            <a:outerShdw blurRad="50800" dist="38100" dir="2700000" algn="tl" rotWithShape="0">
              <a:prstClr val="black">
                <a:alpha val="40000"/>
              </a:prstClr>
            </a:outerShdw>
          </a:effectLst>
        </p:spPr>
      </p:pic>
      <p:pic>
        <p:nvPicPr>
          <p:cNvPr id="23" name="Picture 22">
            <a:extLst>
              <a:ext uri="{FF2B5EF4-FFF2-40B4-BE49-F238E27FC236}">
                <a16:creationId xmlns:a16="http://schemas.microsoft.com/office/drawing/2014/main" id="{8EA35AB4-B21E-E616-1D1C-8EF1946FB10D}"/>
              </a:ext>
            </a:extLst>
          </p:cNvPr>
          <p:cNvPicPr>
            <a:picLocks noChangeAspect="1"/>
          </p:cNvPicPr>
          <p:nvPr/>
        </p:nvPicPr>
        <p:blipFill>
          <a:blip r:embed="rId20"/>
          <a:srcRect t="698" b="698"/>
          <a:stretch/>
        </p:blipFill>
        <p:spPr>
          <a:xfrm>
            <a:off x="1892664" y="4983419"/>
            <a:ext cx="999774" cy="1197966"/>
          </a:xfrm>
          <a:prstGeom prst="rect">
            <a:avLst/>
          </a:prstGeom>
          <a:noFill/>
          <a:effectLst>
            <a:outerShdw blurRad="50800" dist="38100" dir="2700000" algn="tl" rotWithShape="0">
              <a:prstClr val="black">
                <a:alpha val="40000"/>
              </a:prstClr>
            </a:outerShdw>
          </a:effectLst>
        </p:spPr>
      </p:pic>
      <p:pic>
        <p:nvPicPr>
          <p:cNvPr id="24" name="Picture 23">
            <a:extLst>
              <a:ext uri="{FF2B5EF4-FFF2-40B4-BE49-F238E27FC236}">
                <a16:creationId xmlns:a16="http://schemas.microsoft.com/office/drawing/2014/main" id="{DE6D6417-BBCF-3A09-44D5-DD2F3C42D22A}"/>
              </a:ext>
            </a:extLst>
          </p:cNvPr>
          <p:cNvPicPr>
            <a:picLocks noChangeAspect="1"/>
          </p:cNvPicPr>
          <p:nvPr/>
        </p:nvPicPr>
        <p:blipFill>
          <a:blip r:embed="rId21"/>
          <a:srcRect t="698" b="698"/>
          <a:stretch/>
        </p:blipFill>
        <p:spPr>
          <a:xfrm>
            <a:off x="3127147" y="4983419"/>
            <a:ext cx="999774" cy="1197966"/>
          </a:xfrm>
          <a:prstGeom prst="rect">
            <a:avLst/>
          </a:prstGeom>
          <a:noFill/>
          <a:effectLst>
            <a:outerShdw blurRad="50800" dist="38100" dir="2700000" algn="tl" rotWithShape="0">
              <a:prstClr val="black">
                <a:alpha val="40000"/>
              </a:prstClr>
            </a:outerShdw>
          </a:effectLst>
        </p:spPr>
      </p:pic>
      <p:pic>
        <p:nvPicPr>
          <p:cNvPr id="25" name="Picture 24">
            <a:extLst>
              <a:ext uri="{FF2B5EF4-FFF2-40B4-BE49-F238E27FC236}">
                <a16:creationId xmlns:a16="http://schemas.microsoft.com/office/drawing/2014/main" id="{788B7B98-D2CB-7860-5DD6-CDA8D86420A4}"/>
              </a:ext>
            </a:extLst>
          </p:cNvPr>
          <p:cNvPicPr>
            <a:picLocks noChangeAspect="1"/>
          </p:cNvPicPr>
          <p:nvPr/>
        </p:nvPicPr>
        <p:blipFill>
          <a:blip r:embed="rId22"/>
          <a:srcRect t="698" b="698"/>
          <a:stretch/>
        </p:blipFill>
        <p:spPr>
          <a:xfrm>
            <a:off x="9299562" y="3655628"/>
            <a:ext cx="999774" cy="1197966"/>
          </a:xfrm>
          <a:prstGeom prst="rect">
            <a:avLst/>
          </a:prstGeom>
          <a:noFill/>
          <a:effectLst>
            <a:outerShdw blurRad="50800" dist="38100" dir="2700000" algn="tl" rotWithShape="0">
              <a:prstClr val="black">
                <a:alpha val="40000"/>
              </a:prstClr>
            </a:outerShdw>
          </a:effectLst>
        </p:spPr>
      </p:pic>
      <p:pic>
        <p:nvPicPr>
          <p:cNvPr id="26" name="Picture 25">
            <a:extLst>
              <a:ext uri="{FF2B5EF4-FFF2-40B4-BE49-F238E27FC236}">
                <a16:creationId xmlns:a16="http://schemas.microsoft.com/office/drawing/2014/main" id="{DD73EF22-782F-5979-D232-B87E3CF288F9}"/>
              </a:ext>
            </a:extLst>
          </p:cNvPr>
          <p:cNvPicPr>
            <a:picLocks noChangeAspect="1"/>
          </p:cNvPicPr>
          <p:nvPr/>
        </p:nvPicPr>
        <p:blipFill>
          <a:blip r:embed="rId23"/>
          <a:srcRect t="698" b="698"/>
          <a:stretch/>
        </p:blipFill>
        <p:spPr>
          <a:xfrm>
            <a:off x="658181" y="3655628"/>
            <a:ext cx="999774" cy="1197966"/>
          </a:xfrm>
          <a:prstGeom prst="rect">
            <a:avLst/>
          </a:prstGeom>
          <a:noFill/>
          <a:effectLst>
            <a:outerShdw blurRad="50800" dist="38100" dir="2700000" algn="tl" rotWithShape="0">
              <a:prstClr val="black">
                <a:alpha val="40000"/>
              </a:prstClr>
            </a:outerShdw>
          </a:effectLst>
        </p:spPr>
      </p:pic>
      <p:pic>
        <p:nvPicPr>
          <p:cNvPr id="27" name="Picture 26">
            <a:extLst>
              <a:ext uri="{FF2B5EF4-FFF2-40B4-BE49-F238E27FC236}">
                <a16:creationId xmlns:a16="http://schemas.microsoft.com/office/drawing/2014/main" id="{A018B4ED-C9E5-7264-E188-72C995249B1D}"/>
              </a:ext>
            </a:extLst>
          </p:cNvPr>
          <p:cNvPicPr>
            <a:picLocks noChangeAspect="1"/>
          </p:cNvPicPr>
          <p:nvPr/>
        </p:nvPicPr>
        <p:blipFill>
          <a:blip r:embed="rId24"/>
          <a:srcRect t="698" b="698"/>
          <a:stretch/>
        </p:blipFill>
        <p:spPr>
          <a:xfrm>
            <a:off x="6830596" y="3655628"/>
            <a:ext cx="999774" cy="1197966"/>
          </a:xfrm>
          <a:prstGeom prst="rect">
            <a:avLst/>
          </a:prstGeom>
          <a:noFill/>
          <a:effectLst>
            <a:outerShdw blurRad="50800" dist="38100" dir="2700000" algn="tl" rotWithShape="0">
              <a:prstClr val="black">
                <a:alpha val="40000"/>
              </a:prstClr>
            </a:outerShdw>
          </a:effectLst>
        </p:spPr>
      </p:pic>
      <p:pic>
        <p:nvPicPr>
          <p:cNvPr id="28" name="Picture 27">
            <a:extLst>
              <a:ext uri="{FF2B5EF4-FFF2-40B4-BE49-F238E27FC236}">
                <a16:creationId xmlns:a16="http://schemas.microsoft.com/office/drawing/2014/main" id="{45E47217-6AEA-AF21-F20D-94F2EA56E782}"/>
              </a:ext>
            </a:extLst>
          </p:cNvPr>
          <p:cNvPicPr>
            <a:picLocks noChangeAspect="1"/>
          </p:cNvPicPr>
          <p:nvPr/>
        </p:nvPicPr>
        <p:blipFill>
          <a:blip r:embed="rId25"/>
          <a:srcRect t="698" b="698"/>
          <a:stretch/>
        </p:blipFill>
        <p:spPr>
          <a:xfrm>
            <a:off x="8065079" y="3655628"/>
            <a:ext cx="999774" cy="1197966"/>
          </a:xfrm>
          <a:prstGeom prst="rect">
            <a:avLst/>
          </a:prstGeom>
          <a:noFill/>
          <a:effectLst>
            <a:outerShdw blurRad="50800" dist="38100" dir="2700000" algn="tl" rotWithShape="0">
              <a:prstClr val="black">
                <a:alpha val="40000"/>
              </a:prstClr>
            </a:outerShdw>
          </a:effectLst>
        </p:spPr>
      </p:pic>
      <p:pic>
        <p:nvPicPr>
          <p:cNvPr id="29" name="Picture 28">
            <a:extLst>
              <a:ext uri="{FF2B5EF4-FFF2-40B4-BE49-F238E27FC236}">
                <a16:creationId xmlns:a16="http://schemas.microsoft.com/office/drawing/2014/main" id="{555A0A03-2BA2-CF4D-F5E4-69F9C204F0B4}"/>
              </a:ext>
            </a:extLst>
          </p:cNvPr>
          <p:cNvPicPr>
            <a:picLocks noChangeAspect="1"/>
          </p:cNvPicPr>
          <p:nvPr/>
        </p:nvPicPr>
        <p:blipFill>
          <a:blip r:embed="rId26"/>
          <a:srcRect t="698" b="698"/>
          <a:stretch/>
        </p:blipFill>
        <p:spPr>
          <a:xfrm>
            <a:off x="4361630" y="3655628"/>
            <a:ext cx="999774" cy="1197966"/>
          </a:xfrm>
          <a:prstGeom prst="rect">
            <a:avLst/>
          </a:prstGeom>
          <a:noFill/>
          <a:effectLst>
            <a:outerShdw blurRad="50800" dist="38100" dir="2700000" algn="tl" rotWithShape="0">
              <a:prstClr val="black">
                <a:alpha val="40000"/>
              </a:prstClr>
            </a:outerShdw>
          </a:effectLst>
        </p:spPr>
      </p:pic>
      <p:pic>
        <p:nvPicPr>
          <p:cNvPr id="30" name="Picture 29">
            <a:extLst>
              <a:ext uri="{FF2B5EF4-FFF2-40B4-BE49-F238E27FC236}">
                <a16:creationId xmlns:a16="http://schemas.microsoft.com/office/drawing/2014/main" id="{01B0D56A-DCF2-3E9C-978B-14528951BBFC}"/>
              </a:ext>
            </a:extLst>
          </p:cNvPr>
          <p:cNvPicPr>
            <a:picLocks noChangeAspect="1"/>
          </p:cNvPicPr>
          <p:nvPr/>
        </p:nvPicPr>
        <p:blipFill>
          <a:blip r:embed="rId27"/>
          <a:srcRect t="698" b="698"/>
          <a:stretch/>
        </p:blipFill>
        <p:spPr>
          <a:xfrm>
            <a:off x="5596113" y="3655628"/>
            <a:ext cx="999774" cy="1197966"/>
          </a:xfrm>
          <a:prstGeom prst="rect">
            <a:avLst/>
          </a:prstGeom>
          <a:noFill/>
          <a:effectLst>
            <a:outerShdw blurRad="50800" dist="38100" dir="2700000" algn="tl" rotWithShape="0">
              <a:prstClr val="black">
                <a:alpha val="40000"/>
              </a:prstClr>
            </a:outerShdw>
          </a:effectLst>
        </p:spPr>
      </p:pic>
      <p:pic>
        <p:nvPicPr>
          <p:cNvPr id="31" name="Picture 30">
            <a:extLst>
              <a:ext uri="{FF2B5EF4-FFF2-40B4-BE49-F238E27FC236}">
                <a16:creationId xmlns:a16="http://schemas.microsoft.com/office/drawing/2014/main" id="{3535B033-D32E-E3C5-8659-2B74FA592249}"/>
              </a:ext>
            </a:extLst>
          </p:cNvPr>
          <p:cNvPicPr>
            <a:picLocks noChangeAspect="1"/>
          </p:cNvPicPr>
          <p:nvPr/>
        </p:nvPicPr>
        <p:blipFill>
          <a:blip r:embed="rId28"/>
          <a:srcRect t="698" b="698"/>
          <a:stretch/>
        </p:blipFill>
        <p:spPr>
          <a:xfrm>
            <a:off x="1892664" y="3655628"/>
            <a:ext cx="999774" cy="1197966"/>
          </a:xfrm>
          <a:prstGeom prst="rect">
            <a:avLst/>
          </a:prstGeom>
          <a:noFill/>
          <a:effectLst>
            <a:outerShdw blurRad="50800" dist="38100" dir="2700000" algn="tl" rotWithShape="0">
              <a:prstClr val="black">
                <a:alpha val="40000"/>
              </a:prstClr>
            </a:outerShdw>
          </a:effectLst>
        </p:spPr>
      </p:pic>
      <p:pic>
        <p:nvPicPr>
          <p:cNvPr id="32" name="Picture 31">
            <a:extLst>
              <a:ext uri="{FF2B5EF4-FFF2-40B4-BE49-F238E27FC236}">
                <a16:creationId xmlns:a16="http://schemas.microsoft.com/office/drawing/2014/main" id="{B551F5B9-8D78-2E93-FB40-836FED6A2AD1}"/>
              </a:ext>
            </a:extLst>
          </p:cNvPr>
          <p:cNvPicPr>
            <a:picLocks noChangeAspect="1"/>
          </p:cNvPicPr>
          <p:nvPr/>
        </p:nvPicPr>
        <p:blipFill>
          <a:blip r:embed="rId29"/>
          <a:srcRect t="698" b="698"/>
          <a:stretch/>
        </p:blipFill>
        <p:spPr>
          <a:xfrm>
            <a:off x="3127147" y="3655628"/>
            <a:ext cx="999774" cy="1197966"/>
          </a:xfrm>
          <a:prstGeom prst="rect">
            <a:avLst/>
          </a:prstGeom>
          <a:noFill/>
          <a:effectLst>
            <a:outerShdw blurRad="50800" dist="38100" dir="2700000" algn="tl" rotWithShape="0">
              <a:prstClr val="black">
                <a:alpha val="40000"/>
              </a:prstClr>
            </a:outerShdw>
          </a:effectLst>
        </p:spPr>
      </p:pic>
      <p:pic>
        <p:nvPicPr>
          <p:cNvPr id="33" name="Picture 32">
            <a:extLst>
              <a:ext uri="{FF2B5EF4-FFF2-40B4-BE49-F238E27FC236}">
                <a16:creationId xmlns:a16="http://schemas.microsoft.com/office/drawing/2014/main" id="{70F6D7D8-A4BE-B972-EA16-4913817C365A}"/>
              </a:ext>
            </a:extLst>
          </p:cNvPr>
          <p:cNvPicPr>
            <a:picLocks noChangeAspect="1"/>
          </p:cNvPicPr>
          <p:nvPr/>
        </p:nvPicPr>
        <p:blipFill>
          <a:blip r:embed="rId30"/>
          <a:srcRect t="698" b="698"/>
          <a:stretch/>
        </p:blipFill>
        <p:spPr>
          <a:xfrm>
            <a:off x="9299562" y="2327838"/>
            <a:ext cx="999774" cy="1197966"/>
          </a:xfrm>
          <a:prstGeom prst="rect">
            <a:avLst/>
          </a:prstGeom>
          <a:noFill/>
          <a:effectLst>
            <a:outerShdw blurRad="50800" dist="38100" dir="2700000" algn="tl" rotWithShape="0">
              <a:prstClr val="black">
                <a:alpha val="40000"/>
              </a:prstClr>
            </a:outerShdw>
          </a:effectLst>
        </p:spPr>
      </p:pic>
      <p:pic>
        <p:nvPicPr>
          <p:cNvPr id="34" name="Picture 33">
            <a:extLst>
              <a:ext uri="{FF2B5EF4-FFF2-40B4-BE49-F238E27FC236}">
                <a16:creationId xmlns:a16="http://schemas.microsoft.com/office/drawing/2014/main" id="{476CDB73-48B4-43EC-B4A4-0AE5DEC1AEDE}"/>
              </a:ext>
            </a:extLst>
          </p:cNvPr>
          <p:cNvPicPr>
            <a:picLocks noChangeAspect="1"/>
          </p:cNvPicPr>
          <p:nvPr/>
        </p:nvPicPr>
        <p:blipFill>
          <a:blip r:embed="rId31"/>
          <a:srcRect t="698" b="698"/>
          <a:stretch/>
        </p:blipFill>
        <p:spPr>
          <a:xfrm>
            <a:off x="658181" y="2327838"/>
            <a:ext cx="999774" cy="1197966"/>
          </a:xfrm>
          <a:prstGeom prst="rect">
            <a:avLst/>
          </a:prstGeom>
          <a:noFill/>
          <a:effectLst>
            <a:outerShdw blurRad="50800" dist="38100" dir="2700000" algn="tl" rotWithShape="0">
              <a:prstClr val="black">
                <a:alpha val="40000"/>
              </a:prstClr>
            </a:outerShdw>
          </a:effectLst>
        </p:spPr>
      </p:pic>
      <p:pic>
        <p:nvPicPr>
          <p:cNvPr id="35" name="Picture 34">
            <a:extLst>
              <a:ext uri="{FF2B5EF4-FFF2-40B4-BE49-F238E27FC236}">
                <a16:creationId xmlns:a16="http://schemas.microsoft.com/office/drawing/2014/main" id="{4B4B3BB8-47E0-D551-42B2-5EFF09C195A1}"/>
              </a:ext>
            </a:extLst>
          </p:cNvPr>
          <p:cNvPicPr>
            <a:picLocks noChangeAspect="1"/>
          </p:cNvPicPr>
          <p:nvPr/>
        </p:nvPicPr>
        <p:blipFill>
          <a:blip r:embed="rId32"/>
          <a:srcRect t="698" b="698"/>
          <a:stretch/>
        </p:blipFill>
        <p:spPr>
          <a:xfrm>
            <a:off x="6830596" y="2327838"/>
            <a:ext cx="999774" cy="1197966"/>
          </a:xfrm>
          <a:prstGeom prst="rect">
            <a:avLst/>
          </a:prstGeom>
          <a:noFill/>
          <a:effectLst>
            <a:outerShdw blurRad="50800" dist="38100" dir="2700000" algn="tl" rotWithShape="0">
              <a:prstClr val="black">
                <a:alpha val="40000"/>
              </a:prstClr>
            </a:outerShdw>
          </a:effectLst>
        </p:spPr>
      </p:pic>
      <p:pic>
        <p:nvPicPr>
          <p:cNvPr id="37" name="Picture 36">
            <a:extLst>
              <a:ext uri="{FF2B5EF4-FFF2-40B4-BE49-F238E27FC236}">
                <a16:creationId xmlns:a16="http://schemas.microsoft.com/office/drawing/2014/main" id="{EEA5E5F4-5FD8-78AB-6652-B959164D96F9}"/>
              </a:ext>
            </a:extLst>
          </p:cNvPr>
          <p:cNvPicPr>
            <a:picLocks noChangeAspect="1"/>
          </p:cNvPicPr>
          <p:nvPr/>
        </p:nvPicPr>
        <p:blipFill>
          <a:blip r:embed="rId33"/>
          <a:srcRect t="698" b="698"/>
          <a:stretch/>
        </p:blipFill>
        <p:spPr>
          <a:xfrm>
            <a:off x="8065079" y="2327838"/>
            <a:ext cx="999774" cy="1197966"/>
          </a:xfrm>
          <a:prstGeom prst="rect">
            <a:avLst/>
          </a:prstGeom>
          <a:noFill/>
          <a:effectLst>
            <a:outerShdw blurRad="50800" dist="38100" dir="2700000" algn="tl" rotWithShape="0">
              <a:prstClr val="black">
                <a:alpha val="40000"/>
              </a:prstClr>
            </a:outerShdw>
          </a:effectLst>
        </p:spPr>
      </p:pic>
      <p:pic>
        <p:nvPicPr>
          <p:cNvPr id="38" name="Picture 37">
            <a:extLst>
              <a:ext uri="{FF2B5EF4-FFF2-40B4-BE49-F238E27FC236}">
                <a16:creationId xmlns:a16="http://schemas.microsoft.com/office/drawing/2014/main" id="{364F557D-F958-AF54-8315-CF9DC224FB17}"/>
              </a:ext>
            </a:extLst>
          </p:cNvPr>
          <p:cNvPicPr>
            <a:picLocks noChangeAspect="1"/>
          </p:cNvPicPr>
          <p:nvPr/>
        </p:nvPicPr>
        <p:blipFill>
          <a:blip r:embed="rId34"/>
          <a:srcRect t="698" b="698"/>
          <a:stretch/>
        </p:blipFill>
        <p:spPr>
          <a:xfrm>
            <a:off x="4361630" y="2327838"/>
            <a:ext cx="999774" cy="1197966"/>
          </a:xfrm>
          <a:prstGeom prst="rect">
            <a:avLst/>
          </a:prstGeom>
          <a:noFill/>
          <a:effectLst>
            <a:outerShdw blurRad="50800" dist="38100" dir="2700000" algn="tl" rotWithShape="0">
              <a:prstClr val="black">
                <a:alpha val="40000"/>
              </a:prstClr>
            </a:outerShdw>
          </a:effectLst>
        </p:spPr>
      </p:pic>
      <p:pic>
        <p:nvPicPr>
          <p:cNvPr id="39" name="Picture 38">
            <a:extLst>
              <a:ext uri="{FF2B5EF4-FFF2-40B4-BE49-F238E27FC236}">
                <a16:creationId xmlns:a16="http://schemas.microsoft.com/office/drawing/2014/main" id="{561AED3C-4D03-8AF9-FDD2-FE79B1453239}"/>
              </a:ext>
            </a:extLst>
          </p:cNvPr>
          <p:cNvPicPr>
            <a:picLocks noChangeAspect="1"/>
          </p:cNvPicPr>
          <p:nvPr/>
        </p:nvPicPr>
        <p:blipFill>
          <a:blip r:embed="rId35"/>
          <a:srcRect t="698" b="698"/>
          <a:stretch/>
        </p:blipFill>
        <p:spPr>
          <a:xfrm>
            <a:off x="5596113" y="2327838"/>
            <a:ext cx="999774" cy="1197966"/>
          </a:xfrm>
          <a:prstGeom prst="rect">
            <a:avLst/>
          </a:prstGeom>
          <a:noFill/>
          <a:effectLst>
            <a:outerShdw blurRad="50800" dist="38100" dir="2700000" algn="tl" rotWithShape="0">
              <a:prstClr val="black">
                <a:alpha val="40000"/>
              </a:prstClr>
            </a:outerShdw>
          </a:effectLst>
        </p:spPr>
      </p:pic>
      <p:pic>
        <p:nvPicPr>
          <p:cNvPr id="40" name="Picture 39">
            <a:extLst>
              <a:ext uri="{FF2B5EF4-FFF2-40B4-BE49-F238E27FC236}">
                <a16:creationId xmlns:a16="http://schemas.microsoft.com/office/drawing/2014/main" id="{BAF83687-5559-035E-2545-F32D7B606B50}"/>
              </a:ext>
            </a:extLst>
          </p:cNvPr>
          <p:cNvPicPr>
            <a:picLocks noChangeAspect="1"/>
          </p:cNvPicPr>
          <p:nvPr/>
        </p:nvPicPr>
        <p:blipFill>
          <a:blip r:embed="rId36"/>
          <a:srcRect t="698" b="698"/>
          <a:stretch/>
        </p:blipFill>
        <p:spPr>
          <a:xfrm>
            <a:off x="1892664" y="2327838"/>
            <a:ext cx="999774" cy="1197966"/>
          </a:xfrm>
          <a:prstGeom prst="rect">
            <a:avLst/>
          </a:prstGeom>
          <a:noFill/>
          <a:effectLst>
            <a:outerShdw blurRad="50800" dist="38100" dir="2700000" algn="tl" rotWithShape="0">
              <a:prstClr val="black">
                <a:alpha val="40000"/>
              </a:prstClr>
            </a:outerShdw>
          </a:effectLst>
        </p:spPr>
      </p:pic>
      <p:pic>
        <p:nvPicPr>
          <p:cNvPr id="41" name="Picture 40">
            <a:extLst>
              <a:ext uri="{FF2B5EF4-FFF2-40B4-BE49-F238E27FC236}">
                <a16:creationId xmlns:a16="http://schemas.microsoft.com/office/drawing/2014/main" id="{F56FDA6B-F706-C94C-731C-D48CEBE5C90B}"/>
              </a:ext>
            </a:extLst>
          </p:cNvPr>
          <p:cNvPicPr>
            <a:picLocks noChangeAspect="1"/>
          </p:cNvPicPr>
          <p:nvPr/>
        </p:nvPicPr>
        <p:blipFill>
          <a:blip r:embed="rId37"/>
          <a:srcRect t="698" b="698"/>
          <a:stretch/>
        </p:blipFill>
        <p:spPr>
          <a:xfrm>
            <a:off x="3127147" y="2327838"/>
            <a:ext cx="999774" cy="1197966"/>
          </a:xfrm>
          <a:prstGeom prst="rect">
            <a:avLst/>
          </a:prstGeom>
          <a:noFill/>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4783545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92F6B-9451-D446-7D02-506082DA2D4D}"/>
              </a:ext>
            </a:extLst>
          </p:cNvPr>
          <p:cNvSpPr>
            <a:spLocks noGrp="1"/>
          </p:cNvSpPr>
          <p:nvPr>
            <p:ph type="title"/>
          </p:nvPr>
        </p:nvSpPr>
        <p:spPr>
          <a:xfrm>
            <a:off x="528774" y="241934"/>
            <a:ext cx="11053625" cy="907252"/>
          </a:xfrm>
        </p:spPr>
        <p:txBody>
          <a:bodyPr/>
          <a:lstStyle/>
          <a:p>
            <a:pPr>
              <a:lnSpc>
                <a:spcPts val="3199"/>
              </a:lnSpc>
            </a:pPr>
            <a:r>
              <a:rPr lang="en-GB" sz="3200" dirty="0">
                <a:solidFill>
                  <a:srgbClr val="002060"/>
                </a:solidFill>
                <a:latin typeface="Calibri" panose="020F0502020204030204" pitchFamily="34" charset="0"/>
                <a:cs typeface="Calibri" panose="020F0502020204030204" pitchFamily="34" charset="0"/>
              </a:rPr>
              <a:t>Patients treated with Pola-R-CHP required 23% fewer </a:t>
            </a:r>
            <a:br>
              <a:rPr lang="en-GB" sz="3200" dirty="0">
                <a:solidFill>
                  <a:srgbClr val="002060"/>
                </a:solidFill>
                <a:latin typeface="Calibri" panose="020F0502020204030204" pitchFamily="34" charset="0"/>
                <a:cs typeface="Calibri" panose="020F0502020204030204" pitchFamily="34" charset="0"/>
              </a:rPr>
            </a:br>
            <a:r>
              <a:rPr lang="en-GB" sz="3200" dirty="0">
                <a:solidFill>
                  <a:srgbClr val="002060"/>
                </a:solidFill>
                <a:latin typeface="Calibri" panose="020F0502020204030204" pitchFamily="34" charset="0"/>
                <a:cs typeface="Calibri" panose="020F0502020204030204" pitchFamily="34" charset="0"/>
              </a:rPr>
              <a:t>subsequent therapies versus patients treated with R-CHOP</a:t>
            </a:r>
          </a:p>
        </p:txBody>
      </p:sp>
      <p:sp>
        <p:nvSpPr>
          <p:cNvPr id="3" name="Text Placeholder 2">
            <a:extLst>
              <a:ext uri="{FF2B5EF4-FFF2-40B4-BE49-F238E27FC236}">
                <a16:creationId xmlns:a16="http://schemas.microsoft.com/office/drawing/2014/main" id="{3301ACA0-B556-6DEC-F2EE-F81E7887DF24}"/>
              </a:ext>
            </a:extLst>
          </p:cNvPr>
          <p:cNvSpPr>
            <a:spLocks noGrp="1"/>
          </p:cNvSpPr>
          <p:nvPr>
            <p:ph type="body" sz="quarter" idx="11"/>
          </p:nvPr>
        </p:nvSpPr>
        <p:spPr/>
        <p:txBody>
          <a:bodyPr/>
          <a:lstStyle/>
          <a:p>
            <a:pPr>
              <a:spcAft>
                <a:spcPts val="0"/>
              </a:spcAft>
            </a:pPr>
            <a:r>
              <a:rPr lang="en-GB" sz="933" dirty="0"/>
              <a:t>Data cut-off: July 5, 2024.</a:t>
            </a:r>
          </a:p>
          <a:p>
            <a:pPr>
              <a:spcAft>
                <a:spcPts val="0"/>
              </a:spcAft>
            </a:pPr>
            <a:r>
              <a:rPr lang="en-GB" sz="933" dirty="0"/>
              <a:t>CAR-T, chimeric antigen receptor T-cell therapy; NALT, new anti-lymphoma treatment.</a:t>
            </a:r>
          </a:p>
        </p:txBody>
      </p:sp>
      <p:graphicFrame>
        <p:nvGraphicFramePr>
          <p:cNvPr id="44" name="Chart 43">
            <a:extLst>
              <a:ext uri="{FF2B5EF4-FFF2-40B4-BE49-F238E27FC236}">
                <a16:creationId xmlns:a16="http://schemas.microsoft.com/office/drawing/2014/main" id="{C17AE5D9-8798-AF3F-4F20-6BBBB21EDCD8}"/>
              </a:ext>
            </a:extLst>
          </p:cNvPr>
          <p:cNvGraphicFramePr/>
          <p:nvPr/>
        </p:nvGraphicFramePr>
        <p:xfrm>
          <a:off x="244409" y="1722683"/>
          <a:ext cx="2211951" cy="3451532"/>
        </p:xfrm>
        <a:graphic>
          <a:graphicData uri="http://schemas.openxmlformats.org/drawingml/2006/chart">
            <c:chart xmlns:c="http://schemas.openxmlformats.org/drawingml/2006/chart" xmlns:r="http://schemas.openxmlformats.org/officeDocument/2006/relationships" r:id="rId2"/>
          </a:graphicData>
        </a:graphic>
      </p:graphicFrame>
      <p:sp>
        <p:nvSpPr>
          <p:cNvPr id="81" name="TextBox 80">
            <a:extLst>
              <a:ext uri="{FF2B5EF4-FFF2-40B4-BE49-F238E27FC236}">
                <a16:creationId xmlns:a16="http://schemas.microsoft.com/office/drawing/2014/main" id="{A2DA55BE-B601-755B-D1A3-1C848FC16DA1}"/>
              </a:ext>
            </a:extLst>
          </p:cNvPr>
          <p:cNvSpPr txBox="1"/>
          <p:nvPr/>
        </p:nvSpPr>
        <p:spPr>
          <a:xfrm>
            <a:off x="1416875" y="1887500"/>
            <a:ext cx="498533" cy="143565"/>
          </a:xfrm>
          <a:prstGeom prst="rect">
            <a:avLst/>
          </a:prstGeom>
          <a:noFill/>
        </p:spPr>
        <p:txBody>
          <a:bodyPr wrap="none" lIns="0" tIns="0" rIns="0" bIns="0" rtlCol="0" anchor="ctr">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solidFill>
                  <a:srgbClr val="000000"/>
                </a:solidFill>
                <a:effectLst/>
                <a:uLnTx/>
                <a:uFillTx/>
                <a:latin typeface="Arial"/>
                <a:ea typeface="+mn-ea"/>
                <a:cs typeface="Arial"/>
                <a:sym typeface="Arial"/>
                <a:rtl val="0"/>
              </a:rPr>
              <a:t>Δ=23.4%</a:t>
            </a:r>
          </a:p>
        </p:txBody>
      </p:sp>
      <p:sp>
        <p:nvSpPr>
          <p:cNvPr id="82" name="Freeform 44">
            <a:extLst>
              <a:ext uri="{FF2B5EF4-FFF2-40B4-BE49-F238E27FC236}">
                <a16:creationId xmlns:a16="http://schemas.microsoft.com/office/drawing/2014/main" id="{412F9C72-046B-13AB-E4E6-CF604F489511}"/>
              </a:ext>
            </a:extLst>
          </p:cNvPr>
          <p:cNvSpPr/>
          <p:nvPr/>
        </p:nvSpPr>
        <p:spPr>
          <a:xfrm>
            <a:off x="1240595" y="1960863"/>
            <a:ext cx="139069" cy="16844"/>
          </a:xfrm>
          <a:custGeom>
            <a:avLst/>
            <a:gdLst>
              <a:gd name="connsiteX0" fmla="*/ 104334 w 104334"/>
              <a:gd name="connsiteY0" fmla="*/ 0 h 12637"/>
              <a:gd name="connsiteX1" fmla="*/ 0 w 104334"/>
              <a:gd name="connsiteY1" fmla="*/ 0 h 12637"/>
            </a:gdLst>
            <a:ahLst/>
            <a:cxnLst>
              <a:cxn ang="0">
                <a:pos x="connsiteX0" y="connsiteY0"/>
              </a:cxn>
              <a:cxn ang="0">
                <a:pos x="connsiteX1" y="connsiteY1"/>
              </a:cxn>
            </a:cxnLst>
            <a:rect l="l" t="t" r="r" b="b"/>
            <a:pathLst>
              <a:path w="104334" h="12637">
                <a:moveTo>
                  <a:pt x="104334" y="0"/>
                </a:moveTo>
                <a:lnTo>
                  <a:pt x="0" y="0"/>
                </a:lnTo>
              </a:path>
            </a:pathLst>
          </a:custGeom>
          <a:ln w="9514" cap="flat">
            <a:solidFill>
              <a:srgbClr val="000000"/>
            </a:solidFill>
            <a:prstDash val="solid"/>
            <a:round/>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3" name="Freeform 46">
            <a:extLst>
              <a:ext uri="{FF2B5EF4-FFF2-40B4-BE49-F238E27FC236}">
                <a16:creationId xmlns:a16="http://schemas.microsoft.com/office/drawing/2014/main" id="{5B2A0F12-333C-CF9D-115F-783F2FEC3735}"/>
              </a:ext>
            </a:extLst>
          </p:cNvPr>
          <p:cNvSpPr/>
          <p:nvPr/>
        </p:nvSpPr>
        <p:spPr>
          <a:xfrm>
            <a:off x="1240595" y="1927173"/>
            <a:ext cx="16917" cy="70746"/>
          </a:xfrm>
          <a:custGeom>
            <a:avLst/>
            <a:gdLst>
              <a:gd name="connsiteX0" fmla="*/ 0 w 12692"/>
              <a:gd name="connsiteY0" fmla="*/ 53077 h 53076"/>
              <a:gd name="connsiteX1" fmla="*/ 0 w 12692"/>
              <a:gd name="connsiteY1" fmla="*/ 0 h 53076"/>
            </a:gdLst>
            <a:ahLst/>
            <a:cxnLst>
              <a:cxn ang="0">
                <a:pos x="connsiteX0" y="connsiteY0"/>
              </a:cxn>
              <a:cxn ang="0">
                <a:pos x="connsiteX1" y="connsiteY1"/>
              </a:cxn>
            </a:cxnLst>
            <a:rect l="l" t="t" r="r" b="b"/>
            <a:pathLst>
              <a:path w="12692" h="53076">
                <a:moveTo>
                  <a:pt x="0" y="53077"/>
                </a:moveTo>
                <a:lnTo>
                  <a:pt x="0" y="0"/>
                </a:lnTo>
              </a:path>
            </a:pathLst>
          </a:custGeom>
          <a:ln w="9514" cap="flat">
            <a:solidFill>
              <a:srgbClr val="000000"/>
            </a:solidFill>
            <a:prstDash val="solid"/>
            <a:round/>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4" name="Freeform 45">
            <a:extLst>
              <a:ext uri="{FF2B5EF4-FFF2-40B4-BE49-F238E27FC236}">
                <a16:creationId xmlns:a16="http://schemas.microsoft.com/office/drawing/2014/main" id="{486A5C06-9911-E5A4-2F35-A3E19B166AFC}"/>
              </a:ext>
            </a:extLst>
          </p:cNvPr>
          <p:cNvSpPr/>
          <p:nvPr/>
        </p:nvSpPr>
        <p:spPr>
          <a:xfrm>
            <a:off x="1946393" y="1960863"/>
            <a:ext cx="136362" cy="16844"/>
          </a:xfrm>
          <a:custGeom>
            <a:avLst/>
            <a:gdLst>
              <a:gd name="connsiteX0" fmla="*/ 102303 w 102303"/>
              <a:gd name="connsiteY0" fmla="*/ 0 h 12637"/>
              <a:gd name="connsiteX1" fmla="*/ 0 w 102303"/>
              <a:gd name="connsiteY1" fmla="*/ 0 h 12637"/>
            </a:gdLst>
            <a:ahLst/>
            <a:cxnLst>
              <a:cxn ang="0">
                <a:pos x="connsiteX0" y="connsiteY0"/>
              </a:cxn>
              <a:cxn ang="0">
                <a:pos x="connsiteX1" y="connsiteY1"/>
              </a:cxn>
            </a:cxnLst>
            <a:rect l="l" t="t" r="r" b="b"/>
            <a:pathLst>
              <a:path w="102303" h="12637">
                <a:moveTo>
                  <a:pt x="102303" y="0"/>
                </a:moveTo>
                <a:lnTo>
                  <a:pt x="0" y="0"/>
                </a:lnTo>
              </a:path>
            </a:pathLst>
          </a:custGeom>
          <a:ln w="9514" cap="flat">
            <a:solidFill>
              <a:srgbClr val="000000"/>
            </a:solidFill>
            <a:prstDash val="solid"/>
            <a:round/>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5" name="Freeform 47">
            <a:extLst>
              <a:ext uri="{FF2B5EF4-FFF2-40B4-BE49-F238E27FC236}">
                <a16:creationId xmlns:a16="http://schemas.microsoft.com/office/drawing/2014/main" id="{893293B9-6A00-59B3-0134-136F52BC6ACF}"/>
              </a:ext>
            </a:extLst>
          </p:cNvPr>
          <p:cNvSpPr/>
          <p:nvPr/>
        </p:nvSpPr>
        <p:spPr>
          <a:xfrm>
            <a:off x="2081741" y="1927173"/>
            <a:ext cx="16917" cy="70746"/>
          </a:xfrm>
          <a:custGeom>
            <a:avLst/>
            <a:gdLst>
              <a:gd name="connsiteX0" fmla="*/ 0 w 12692"/>
              <a:gd name="connsiteY0" fmla="*/ 53077 h 53076"/>
              <a:gd name="connsiteX1" fmla="*/ 0 w 12692"/>
              <a:gd name="connsiteY1" fmla="*/ 0 h 53076"/>
            </a:gdLst>
            <a:ahLst/>
            <a:cxnLst>
              <a:cxn ang="0">
                <a:pos x="connsiteX0" y="connsiteY0"/>
              </a:cxn>
              <a:cxn ang="0">
                <a:pos x="connsiteX1" y="connsiteY1"/>
              </a:cxn>
            </a:cxnLst>
            <a:rect l="l" t="t" r="r" b="b"/>
            <a:pathLst>
              <a:path w="12692" h="53076">
                <a:moveTo>
                  <a:pt x="0" y="53077"/>
                </a:moveTo>
                <a:lnTo>
                  <a:pt x="0" y="0"/>
                </a:lnTo>
              </a:path>
            </a:pathLst>
          </a:custGeom>
          <a:ln w="9514" cap="flat">
            <a:solidFill>
              <a:srgbClr val="000000"/>
            </a:solidFill>
            <a:prstDash val="solid"/>
            <a:round/>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7" name="TextBox 86">
            <a:extLst>
              <a:ext uri="{FF2B5EF4-FFF2-40B4-BE49-F238E27FC236}">
                <a16:creationId xmlns:a16="http://schemas.microsoft.com/office/drawing/2014/main" id="{22B599DD-7C3F-24CC-D860-C31157F3748F}"/>
              </a:ext>
            </a:extLst>
          </p:cNvPr>
          <p:cNvSpPr txBox="1"/>
          <p:nvPr/>
        </p:nvSpPr>
        <p:spPr>
          <a:xfrm>
            <a:off x="9442595" y="1857464"/>
            <a:ext cx="1267050" cy="164019"/>
          </a:xfrm>
          <a:prstGeom prst="rect">
            <a:avLst/>
          </a:prstGeom>
          <a:noFill/>
        </p:spPr>
        <p:txBody>
          <a:bodyPr wrap="square" lIns="0" tIns="0" rIns="0" bIns="0" rtlCol="0" anchor="ctr">
            <a:spAutoFit/>
          </a:bodyPr>
          <a:lstStyle/>
          <a:p>
            <a:pPr marL="0" marR="0" lvl="0" indent="0" algn="l" defTabSz="609402"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dirty="0">
                <a:ln/>
                <a:solidFill>
                  <a:srgbClr val="000000"/>
                </a:solidFill>
                <a:effectLst/>
                <a:uLnTx/>
                <a:uFillTx/>
                <a:latin typeface="Arial" panose="020B0604020202020204"/>
                <a:ea typeface="+mn-ea"/>
                <a:cs typeface="Arial"/>
                <a:sym typeface="Arial"/>
                <a:rtl val="0"/>
              </a:rPr>
              <a:t>Pola-R-CHP (n=440)</a:t>
            </a:r>
          </a:p>
        </p:txBody>
      </p:sp>
      <p:sp>
        <p:nvSpPr>
          <p:cNvPr id="88" name="TextBox 87">
            <a:extLst>
              <a:ext uri="{FF2B5EF4-FFF2-40B4-BE49-F238E27FC236}">
                <a16:creationId xmlns:a16="http://schemas.microsoft.com/office/drawing/2014/main" id="{1CF89BDD-673F-1A2C-1D28-72954C0AAD95}"/>
              </a:ext>
            </a:extLst>
          </p:cNvPr>
          <p:cNvSpPr txBox="1"/>
          <p:nvPr/>
        </p:nvSpPr>
        <p:spPr>
          <a:xfrm>
            <a:off x="9442594" y="2082639"/>
            <a:ext cx="1053383" cy="164019"/>
          </a:xfrm>
          <a:prstGeom prst="rect">
            <a:avLst/>
          </a:prstGeom>
          <a:noFill/>
        </p:spPr>
        <p:txBody>
          <a:bodyPr wrap="square" lIns="0" tIns="0" rIns="0" bIns="0" rtlCol="0" anchor="ctr">
            <a:spAutoFit/>
          </a:bodyPr>
          <a:lstStyle/>
          <a:p>
            <a:pPr marL="0" marR="0" lvl="0" indent="0" algn="l" defTabSz="609402"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dirty="0">
                <a:ln/>
                <a:solidFill>
                  <a:srgbClr val="000000"/>
                </a:solidFill>
                <a:effectLst/>
                <a:uLnTx/>
                <a:uFillTx/>
                <a:latin typeface="Arial" panose="020B0604020202020204"/>
                <a:ea typeface="+mn-ea"/>
                <a:cs typeface="Arial"/>
                <a:sym typeface="Arial"/>
                <a:rtl val="0"/>
              </a:rPr>
              <a:t>R-CHOP (n=439)</a:t>
            </a:r>
          </a:p>
        </p:txBody>
      </p:sp>
      <p:sp>
        <p:nvSpPr>
          <p:cNvPr id="89" name="Freeform 156">
            <a:extLst>
              <a:ext uri="{FF2B5EF4-FFF2-40B4-BE49-F238E27FC236}">
                <a16:creationId xmlns:a16="http://schemas.microsoft.com/office/drawing/2014/main" id="{AD449487-5809-0530-D9CC-24550D88A8C1}"/>
              </a:ext>
            </a:extLst>
          </p:cNvPr>
          <p:cNvSpPr/>
          <p:nvPr/>
        </p:nvSpPr>
        <p:spPr>
          <a:xfrm>
            <a:off x="9277853" y="1899044"/>
            <a:ext cx="101515" cy="101070"/>
          </a:xfrm>
          <a:custGeom>
            <a:avLst/>
            <a:gdLst>
              <a:gd name="connsiteX0" fmla="*/ 0 w 76160"/>
              <a:gd name="connsiteY0" fmla="*/ 0 h 75826"/>
              <a:gd name="connsiteX1" fmla="*/ 76160 w 76160"/>
              <a:gd name="connsiteY1" fmla="*/ 0 h 75826"/>
              <a:gd name="connsiteX2" fmla="*/ 76160 w 76160"/>
              <a:gd name="connsiteY2" fmla="*/ 75827 h 75826"/>
              <a:gd name="connsiteX3" fmla="*/ 0 w 76160"/>
              <a:gd name="connsiteY3" fmla="*/ 75827 h 75826"/>
            </a:gdLst>
            <a:ahLst/>
            <a:cxnLst>
              <a:cxn ang="0">
                <a:pos x="connsiteX0" y="connsiteY0"/>
              </a:cxn>
              <a:cxn ang="0">
                <a:pos x="connsiteX1" y="connsiteY1"/>
              </a:cxn>
              <a:cxn ang="0">
                <a:pos x="connsiteX2" y="connsiteY2"/>
              </a:cxn>
              <a:cxn ang="0">
                <a:pos x="connsiteX3" y="connsiteY3"/>
              </a:cxn>
            </a:cxnLst>
            <a:rect l="l" t="t" r="r" b="b"/>
            <a:pathLst>
              <a:path w="76160" h="75826">
                <a:moveTo>
                  <a:pt x="0" y="0"/>
                </a:moveTo>
                <a:lnTo>
                  <a:pt x="76160" y="0"/>
                </a:lnTo>
                <a:lnTo>
                  <a:pt x="76160" y="75827"/>
                </a:lnTo>
                <a:lnTo>
                  <a:pt x="0" y="75827"/>
                </a:lnTo>
                <a:close/>
              </a:path>
            </a:pathLst>
          </a:custGeom>
          <a:solidFill>
            <a:srgbClr val="009964"/>
          </a:solidFill>
          <a:ln w="12677" cap="flat">
            <a:no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6"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0" name="Freeform 166">
            <a:extLst>
              <a:ext uri="{FF2B5EF4-FFF2-40B4-BE49-F238E27FC236}">
                <a16:creationId xmlns:a16="http://schemas.microsoft.com/office/drawing/2014/main" id="{ED76DFCE-DDA1-2F49-33CC-1ADE4A54D2B9}"/>
              </a:ext>
            </a:extLst>
          </p:cNvPr>
          <p:cNvSpPr/>
          <p:nvPr/>
        </p:nvSpPr>
        <p:spPr>
          <a:xfrm>
            <a:off x="9277853" y="2116261"/>
            <a:ext cx="101515" cy="101070"/>
          </a:xfrm>
          <a:custGeom>
            <a:avLst/>
            <a:gdLst>
              <a:gd name="connsiteX0" fmla="*/ 0 w 76160"/>
              <a:gd name="connsiteY0" fmla="*/ 0 h 75826"/>
              <a:gd name="connsiteX1" fmla="*/ 76160 w 76160"/>
              <a:gd name="connsiteY1" fmla="*/ 0 h 75826"/>
              <a:gd name="connsiteX2" fmla="*/ 76160 w 76160"/>
              <a:gd name="connsiteY2" fmla="*/ 75827 h 75826"/>
              <a:gd name="connsiteX3" fmla="*/ 0 w 76160"/>
              <a:gd name="connsiteY3" fmla="*/ 75827 h 75826"/>
            </a:gdLst>
            <a:ahLst/>
            <a:cxnLst>
              <a:cxn ang="0">
                <a:pos x="connsiteX0" y="connsiteY0"/>
              </a:cxn>
              <a:cxn ang="0">
                <a:pos x="connsiteX1" y="connsiteY1"/>
              </a:cxn>
              <a:cxn ang="0">
                <a:pos x="connsiteX2" y="connsiteY2"/>
              </a:cxn>
              <a:cxn ang="0">
                <a:pos x="connsiteX3" y="connsiteY3"/>
              </a:cxn>
            </a:cxnLst>
            <a:rect l="l" t="t" r="r" b="b"/>
            <a:pathLst>
              <a:path w="76160" h="75826">
                <a:moveTo>
                  <a:pt x="0" y="0"/>
                </a:moveTo>
                <a:lnTo>
                  <a:pt x="76160" y="0"/>
                </a:lnTo>
                <a:lnTo>
                  <a:pt x="76160" y="75827"/>
                </a:lnTo>
                <a:lnTo>
                  <a:pt x="0" y="75827"/>
                </a:lnTo>
                <a:close/>
              </a:path>
            </a:pathLst>
          </a:custGeom>
          <a:solidFill>
            <a:srgbClr val="0B41CD"/>
          </a:solidFill>
          <a:ln w="12677" cap="flat">
            <a:no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6" b="0" i="0" u="none" strike="noStrike" kern="1200" cap="none" spc="0" normalizeH="0" baseline="0" noProof="0">
              <a:ln>
                <a:noFill/>
              </a:ln>
              <a:solidFill>
                <a:srgbClr val="000000"/>
              </a:solidFill>
              <a:effectLst/>
              <a:uLnTx/>
              <a:uFillTx/>
              <a:latin typeface="Arial" panose="020B0604020202020204"/>
              <a:ea typeface="+mn-ea"/>
              <a:cs typeface="+mn-cs"/>
            </a:endParaRPr>
          </a:p>
        </p:txBody>
      </p:sp>
      <p:graphicFrame>
        <p:nvGraphicFramePr>
          <p:cNvPr id="4" name="Chart 3">
            <a:extLst>
              <a:ext uri="{FF2B5EF4-FFF2-40B4-BE49-F238E27FC236}">
                <a16:creationId xmlns:a16="http://schemas.microsoft.com/office/drawing/2014/main" id="{009C6C93-49C7-8EBD-0390-9D88A14A1AE5}"/>
              </a:ext>
            </a:extLst>
          </p:cNvPr>
          <p:cNvGraphicFramePr/>
          <p:nvPr/>
        </p:nvGraphicFramePr>
        <p:xfrm>
          <a:off x="2330400" y="1749401"/>
          <a:ext cx="9395166" cy="3719767"/>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a:extLst>
              <a:ext uri="{FF2B5EF4-FFF2-40B4-BE49-F238E27FC236}">
                <a16:creationId xmlns:a16="http://schemas.microsoft.com/office/drawing/2014/main" id="{92774392-9D51-B8D2-4A86-765BB0F79361}"/>
              </a:ext>
            </a:extLst>
          </p:cNvPr>
          <p:cNvSpPr txBox="1"/>
          <p:nvPr/>
        </p:nvSpPr>
        <p:spPr>
          <a:xfrm>
            <a:off x="3324784" y="1821866"/>
            <a:ext cx="491438" cy="143565"/>
          </a:xfrm>
          <a:prstGeom prst="rect">
            <a:avLst/>
          </a:prstGeom>
          <a:noFill/>
        </p:spPr>
        <p:txBody>
          <a:bodyPr wrap="square" lIns="0" tIns="0" rIns="0" bIns="0" rtlCol="0" anchor="ctr">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solidFill>
                  <a:srgbClr val="000000"/>
                </a:solidFill>
                <a:effectLst/>
                <a:uLnTx/>
                <a:uFillTx/>
                <a:latin typeface="Arial"/>
                <a:ea typeface="+mn-ea"/>
                <a:cs typeface="Arial"/>
                <a:sym typeface="Arial"/>
                <a:rtl val="0"/>
              </a:rPr>
              <a:t>Δ=9.8%</a:t>
            </a:r>
          </a:p>
        </p:txBody>
      </p:sp>
      <p:sp>
        <p:nvSpPr>
          <p:cNvPr id="7" name="Freeform 44">
            <a:extLst>
              <a:ext uri="{FF2B5EF4-FFF2-40B4-BE49-F238E27FC236}">
                <a16:creationId xmlns:a16="http://schemas.microsoft.com/office/drawing/2014/main" id="{1B04E140-4ED2-8F87-CC07-3FE2632BF008}"/>
              </a:ext>
            </a:extLst>
          </p:cNvPr>
          <p:cNvSpPr/>
          <p:nvPr/>
        </p:nvSpPr>
        <p:spPr>
          <a:xfrm>
            <a:off x="3172176" y="1895230"/>
            <a:ext cx="139069" cy="16844"/>
          </a:xfrm>
          <a:custGeom>
            <a:avLst/>
            <a:gdLst>
              <a:gd name="connsiteX0" fmla="*/ 104334 w 104334"/>
              <a:gd name="connsiteY0" fmla="*/ 0 h 12637"/>
              <a:gd name="connsiteX1" fmla="*/ 0 w 104334"/>
              <a:gd name="connsiteY1" fmla="*/ 0 h 12637"/>
            </a:gdLst>
            <a:ahLst/>
            <a:cxnLst>
              <a:cxn ang="0">
                <a:pos x="connsiteX0" y="connsiteY0"/>
              </a:cxn>
              <a:cxn ang="0">
                <a:pos x="connsiteX1" y="connsiteY1"/>
              </a:cxn>
            </a:cxnLst>
            <a:rect l="l" t="t" r="r" b="b"/>
            <a:pathLst>
              <a:path w="104334" h="12637">
                <a:moveTo>
                  <a:pt x="104334" y="0"/>
                </a:moveTo>
                <a:lnTo>
                  <a:pt x="0" y="0"/>
                </a:lnTo>
              </a:path>
            </a:pathLst>
          </a:custGeom>
          <a:ln w="9514" cap="flat">
            <a:solidFill>
              <a:srgbClr val="000000"/>
            </a:solidFill>
            <a:prstDash val="solid"/>
            <a:round/>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 name="Freeform 46">
            <a:extLst>
              <a:ext uri="{FF2B5EF4-FFF2-40B4-BE49-F238E27FC236}">
                <a16:creationId xmlns:a16="http://schemas.microsoft.com/office/drawing/2014/main" id="{F12B2083-1699-02AB-E192-2D7913CF766B}"/>
              </a:ext>
            </a:extLst>
          </p:cNvPr>
          <p:cNvSpPr/>
          <p:nvPr/>
        </p:nvSpPr>
        <p:spPr>
          <a:xfrm>
            <a:off x="3172176" y="1861540"/>
            <a:ext cx="16917" cy="70746"/>
          </a:xfrm>
          <a:custGeom>
            <a:avLst/>
            <a:gdLst>
              <a:gd name="connsiteX0" fmla="*/ 0 w 12692"/>
              <a:gd name="connsiteY0" fmla="*/ 53077 h 53076"/>
              <a:gd name="connsiteX1" fmla="*/ 0 w 12692"/>
              <a:gd name="connsiteY1" fmla="*/ 0 h 53076"/>
            </a:gdLst>
            <a:ahLst/>
            <a:cxnLst>
              <a:cxn ang="0">
                <a:pos x="connsiteX0" y="connsiteY0"/>
              </a:cxn>
              <a:cxn ang="0">
                <a:pos x="connsiteX1" y="connsiteY1"/>
              </a:cxn>
            </a:cxnLst>
            <a:rect l="l" t="t" r="r" b="b"/>
            <a:pathLst>
              <a:path w="12692" h="53076">
                <a:moveTo>
                  <a:pt x="0" y="53077"/>
                </a:moveTo>
                <a:lnTo>
                  <a:pt x="0" y="0"/>
                </a:lnTo>
              </a:path>
            </a:pathLst>
          </a:custGeom>
          <a:ln w="9514" cap="flat">
            <a:solidFill>
              <a:srgbClr val="000000"/>
            </a:solidFill>
            <a:prstDash val="solid"/>
            <a:round/>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 name="Freeform 45">
            <a:extLst>
              <a:ext uri="{FF2B5EF4-FFF2-40B4-BE49-F238E27FC236}">
                <a16:creationId xmlns:a16="http://schemas.microsoft.com/office/drawing/2014/main" id="{5232631C-85BA-CD15-DEBC-E0F243BD48EB}"/>
              </a:ext>
            </a:extLst>
          </p:cNvPr>
          <p:cNvSpPr/>
          <p:nvPr/>
        </p:nvSpPr>
        <p:spPr>
          <a:xfrm>
            <a:off x="3823535" y="1895230"/>
            <a:ext cx="136362" cy="16844"/>
          </a:xfrm>
          <a:custGeom>
            <a:avLst/>
            <a:gdLst>
              <a:gd name="connsiteX0" fmla="*/ 102303 w 102303"/>
              <a:gd name="connsiteY0" fmla="*/ 0 h 12637"/>
              <a:gd name="connsiteX1" fmla="*/ 0 w 102303"/>
              <a:gd name="connsiteY1" fmla="*/ 0 h 12637"/>
            </a:gdLst>
            <a:ahLst/>
            <a:cxnLst>
              <a:cxn ang="0">
                <a:pos x="connsiteX0" y="connsiteY0"/>
              </a:cxn>
              <a:cxn ang="0">
                <a:pos x="connsiteX1" y="connsiteY1"/>
              </a:cxn>
            </a:cxnLst>
            <a:rect l="l" t="t" r="r" b="b"/>
            <a:pathLst>
              <a:path w="102303" h="12637">
                <a:moveTo>
                  <a:pt x="102303" y="0"/>
                </a:moveTo>
                <a:lnTo>
                  <a:pt x="0" y="0"/>
                </a:lnTo>
              </a:path>
            </a:pathLst>
          </a:custGeom>
          <a:ln w="9514" cap="flat">
            <a:solidFill>
              <a:srgbClr val="000000"/>
            </a:solidFill>
            <a:prstDash val="solid"/>
            <a:round/>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 name="Freeform 47">
            <a:extLst>
              <a:ext uri="{FF2B5EF4-FFF2-40B4-BE49-F238E27FC236}">
                <a16:creationId xmlns:a16="http://schemas.microsoft.com/office/drawing/2014/main" id="{24E581C2-AFF6-593F-BDF8-6B9D5761EDDF}"/>
              </a:ext>
            </a:extLst>
          </p:cNvPr>
          <p:cNvSpPr/>
          <p:nvPr/>
        </p:nvSpPr>
        <p:spPr>
          <a:xfrm>
            <a:off x="3958882" y="1861540"/>
            <a:ext cx="16917" cy="70746"/>
          </a:xfrm>
          <a:custGeom>
            <a:avLst/>
            <a:gdLst>
              <a:gd name="connsiteX0" fmla="*/ 0 w 12692"/>
              <a:gd name="connsiteY0" fmla="*/ 53077 h 53076"/>
              <a:gd name="connsiteX1" fmla="*/ 0 w 12692"/>
              <a:gd name="connsiteY1" fmla="*/ 0 h 53076"/>
            </a:gdLst>
            <a:ahLst/>
            <a:cxnLst>
              <a:cxn ang="0">
                <a:pos x="connsiteX0" y="connsiteY0"/>
              </a:cxn>
              <a:cxn ang="0">
                <a:pos x="connsiteX1" y="connsiteY1"/>
              </a:cxn>
            </a:cxnLst>
            <a:rect l="l" t="t" r="r" b="b"/>
            <a:pathLst>
              <a:path w="12692" h="53076">
                <a:moveTo>
                  <a:pt x="0" y="53077"/>
                </a:moveTo>
                <a:lnTo>
                  <a:pt x="0" y="0"/>
                </a:lnTo>
              </a:path>
            </a:pathLst>
          </a:custGeom>
          <a:ln w="9514" cap="flat">
            <a:solidFill>
              <a:srgbClr val="000000"/>
            </a:solidFill>
            <a:prstDash val="solid"/>
            <a:round/>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DE218A36-A20D-2104-4EF7-85861347D898}"/>
              </a:ext>
            </a:extLst>
          </p:cNvPr>
          <p:cNvSpPr txBox="1"/>
          <p:nvPr/>
        </p:nvSpPr>
        <p:spPr>
          <a:xfrm>
            <a:off x="4623788" y="3390644"/>
            <a:ext cx="491438" cy="143565"/>
          </a:xfrm>
          <a:prstGeom prst="rect">
            <a:avLst/>
          </a:prstGeom>
          <a:noFill/>
        </p:spPr>
        <p:txBody>
          <a:bodyPr wrap="square" lIns="0" tIns="0" rIns="0" bIns="0" rtlCol="0" anchor="ctr">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solidFill>
                  <a:srgbClr val="000000"/>
                </a:solidFill>
                <a:effectLst/>
                <a:uLnTx/>
                <a:uFillTx/>
                <a:latin typeface="Arial"/>
                <a:ea typeface="+mn-ea"/>
                <a:cs typeface="Arial"/>
                <a:sym typeface="Arial"/>
                <a:rtl val="0"/>
              </a:rPr>
              <a:t>Δ=4.6%</a:t>
            </a:r>
          </a:p>
        </p:txBody>
      </p:sp>
      <p:sp>
        <p:nvSpPr>
          <p:cNvPr id="12" name="Freeform 44">
            <a:extLst>
              <a:ext uri="{FF2B5EF4-FFF2-40B4-BE49-F238E27FC236}">
                <a16:creationId xmlns:a16="http://schemas.microsoft.com/office/drawing/2014/main" id="{9BF2CD2B-D685-92AF-192A-6402BDF274E8}"/>
              </a:ext>
            </a:extLst>
          </p:cNvPr>
          <p:cNvSpPr/>
          <p:nvPr/>
        </p:nvSpPr>
        <p:spPr>
          <a:xfrm>
            <a:off x="4471179" y="3464009"/>
            <a:ext cx="139069" cy="16844"/>
          </a:xfrm>
          <a:custGeom>
            <a:avLst/>
            <a:gdLst>
              <a:gd name="connsiteX0" fmla="*/ 104334 w 104334"/>
              <a:gd name="connsiteY0" fmla="*/ 0 h 12637"/>
              <a:gd name="connsiteX1" fmla="*/ 0 w 104334"/>
              <a:gd name="connsiteY1" fmla="*/ 0 h 12637"/>
            </a:gdLst>
            <a:ahLst/>
            <a:cxnLst>
              <a:cxn ang="0">
                <a:pos x="connsiteX0" y="connsiteY0"/>
              </a:cxn>
              <a:cxn ang="0">
                <a:pos x="connsiteX1" y="connsiteY1"/>
              </a:cxn>
            </a:cxnLst>
            <a:rect l="l" t="t" r="r" b="b"/>
            <a:pathLst>
              <a:path w="104334" h="12637">
                <a:moveTo>
                  <a:pt x="104334" y="0"/>
                </a:moveTo>
                <a:lnTo>
                  <a:pt x="0" y="0"/>
                </a:lnTo>
              </a:path>
            </a:pathLst>
          </a:custGeom>
          <a:ln w="9514" cap="flat">
            <a:solidFill>
              <a:srgbClr val="000000"/>
            </a:solidFill>
            <a:prstDash val="solid"/>
            <a:round/>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 name="Freeform 46">
            <a:extLst>
              <a:ext uri="{FF2B5EF4-FFF2-40B4-BE49-F238E27FC236}">
                <a16:creationId xmlns:a16="http://schemas.microsoft.com/office/drawing/2014/main" id="{2F169441-62CC-4F0D-2D2F-342911891F87}"/>
              </a:ext>
            </a:extLst>
          </p:cNvPr>
          <p:cNvSpPr/>
          <p:nvPr/>
        </p:nvSpPr>
        <p:spPr>
          <a:xfrm>
            <a:off x="4471179" y="3430318"/>
            <a:ext cx="16917" cy="70746"/>
          </a:xfrm>
          <a:custGeom>
            <a:avLst/>
            <a:gdLst>
              <a:gd name="connsiteX0" fmla="*/ 0 w 12692"/>
              <a:gd name="connsiteY0" fmla="*/ 53077 h 53076"/>
              <a:gd name="connsiteX1" fmla="*/ 0 w 12692"/>
              <a:gd name="connsiteY1" fmla="*/ 0 h 53076"/>
            </a:gdLst>
            <a:ahLst/>
            <a:cxnLst>
              <a:cxn ang="0">
                <a:pos x="connsiteX0" y="connsiteY0"/>
              </a:cxn>
              <a:cxn ang="0">
                <a:pos x="connsiteX1" y="connsiteY1"/>
              </a:cxn>
            </a:cxnLst>
            <a:rect l="l" t="t" r="r" b="b"/>
            <a:pathLst>
              <a:path w="12692" h="53076">
                <a:moveTo>
                  <a:pt x="0" y="53077"/>
                </a:moveTo>
                <a:lnTo>
                  <a:pt x="0" y="0"/>
                </a:lnTo>
              </a:path>
            </a:pathLst>
          </a:custGeom>
          <a:ln w="9514" cap="flat">
            <a:solidFill>
              <a:srgbClr val="000000"/>
            </a:solidFill>
            <a:prstDash val="solid"/>
            <a:round/>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 name="Freeform 45">
            <a:extLst>
              <a:ext uri="{FF2B5EF4-FFF2-40B4-BE49-F238E27FC236}">
                <a16:creationId xmlns:a16="http://schemas.microsoft.com/office/drawing/2014/main" id="{E1BBDA87-8520-CACC-E479-5BE0E4F59374}"/>
              </a:ext>
            </a:extLst>
          </p:cNvPr>
          <p:cNvSpPr/>
          <p:nvPr/>
        </p:nvSpPr>
        <p:spPr>
          <a:xfrm>
            <a:off x="5122538" y="3464009"/>
            <a:ext cx="136362" cy="16844"/>
          </a:xfrm>
          <a:custGeom>
            <a:avLst/>
            <a:gdLst>
              <a:gd name="connsiteX0" fmla="*/ 102303 w 102303"/>
              <a:gd name="connsiteY0" fmla="*/ 0 h 12637"/>
              <a:gd name="connsiteX1" fmla="*/ 0 w 102303"/>
              <a:gd name="connsiteY1" fmla="*/ 0 h 12637"/>
            </a:gdLst>
            <a:ahLst/>
            <a:cxnLst>
              <a:cxn ang="0">
                <a:pos x="connsiteX0" y="connsiteY0"/>
              </a:cxn>
              <a:cxn ang="0">
                <a:pos x="connsiteX1" y="connsiteY1"/>
              </a:cxn>
            </a:cxnLst>
            <a:rect l="l" t="t" r="r" b="b"/>
            <a:pathLst>
              <a:path w="102303" h="12637">
                <a:moveTo>
                  <a:pt x="102303" y="0"/>
                </a:moveTo>
                <a:lnTo>
                  <a:pt x="0" y="0"/>
                </a:lnTo>
              </a:path>
            </a:pathLst>
          </a:custGeom>
          <a:ln w="9514" cap="flat">
            <a:solidFill>
              <a:srgbClr val="000000"/>
            </a:solidFill>
            <a:prstDash val="solid"/>
            <a:round/>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 name="Freeform 47">
            <a:extLst>
              <a:ext uri="{FF2B5EF4-FFF2-40B4-BE49-F238E27FC236}">
                <a16:creationId xmlns:a16="http://schemas.microsoft.com/office/drawing/2014/main" id="{FFA96134-14DB-1375-EAE7-1F5B215D80EB}"/>
              </a:ext>
            </a:extLst>
          </p:cNvPr>
          <p:cNvSpPr/>
          <p:nvPr/>
        </p:nvSpPr>
        <p:spPr>
          <a:xfrm>
            <a:off x="5257886" y="3430318"/>
            <a:ext cx="16917" cy="70746"/>
          </a:xfrm>
          <a:custGeom>
            <a:avLst/>
            <a:gdLst>
              <a:gd name="connsiteX0" fmla="*/ 0 w 12692"/>
              <a:gd name="connsiteY0" fmla="*/ 53077 h 53076"/>
              <a:gd name="connsiteX1" fmla="*/ 0 w 12692"/>
              <a:gd name="connsiteY1" fmla="*/ 0 h 53076"/>
            </a:gdLst>
            <a:ahLst/>
            <a:cxnLst>
              <a:cxn ang="0">
                <a:pos x="connsiteX0" y="connsiteY0"/>
              </a:cxn>
              <a:cxn ang="0">
                <a:pos x="connsiteX1" y="connsiteY1"/>
              </a:cxn>
            </a:cxnLst>
            <a:rect l="l" t="t" r="r" b="b"/>
            <a:pathLst>
              <a:path w="12692" h="53076">
                <a:moveTo>
                  <a:pt x="0" y="53077"/>
                </a:moveTo>
                <a:lnTo>
                  <a:pt x="0" y="0"/>
                </a:lnTo>
              </a:path>
            </a:pathLst>
          </a:custGeom>
          <a:ln w="9514" cap="flat">
            <a:solidFill>
              <a:srgbClr val="000000"/>
            </a:solidFill>
            <a:prstDash val="solid"/>
            <a:round/>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 name="TextBox 15">
            <a:extLst>
              <a:ext uri="{FF2B5EF4-FFF2-40B4-BE49-F238E27FC236}">
                <a16:creationId xmlns:a16="http://schemas.microsoft.com/office/drawing/2014/main" id="{B879713E-82E5-14F9-714E-22DD2338EF63}"/>
              </a:ext>
            </a:extLst>
          </p:cNvPr>
          <p:cNvSpPr txBox="1"/>
          <p:nvPr/>
        </p:nvSpPr>
        <p:spPr>
          <a:xfrm>
            <a:off x="5787751" y="2348180"/>
            <a:ext cx="491438" cy="143565"/>
          </a:xfrm>
          <a:prstGeom prst="rect">
            <a:avLst/>
          </a:prstGeom>
          <a:noFill/>
        </p:spPr>
        <p:txBody>
          <a:bodyPr wrap="square" lIns="0" tIns="0" rIns="0" bIns="0" rtlCol="0" anchor="ctr">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solidFill>
                  <a:srgbClr val="000000"/>
                </a:solidFill>
                <a:effectLst/>
                <a:uLnTx/>
                <a:uFillTx/>
                <a:latin typeface="Arial"/>
                <a:ea typeface="+mn-ea"/>
                <a:cs typeface="Arial"/>
                <a:sym typeface="Arial"/>
                <a:rtl val="0"/>
              </a:rPr>
              <a:t>Δ=8.2%</a:t>
            </a:r>
          </a:p>
        </p:txBody>
      </p:sp>
      <p:sp>
        <p:nvSpPr>
          <p:cNvPr id="17" name="Freeform 44">
            <a:extLst>
              <a:ext uri="{FF2B5EF4-FFF2-40B4-BE49-F238E27FC236}">
                <a16:creationId xmlns:a16="http://schemas.microsoft.com/office/drawing/2014/main" id="{11CEE35A-052A-BC0A-8E5A-577CA3882826}"/>
              </a:ext>
            </a:extLst>
          </p:cNvPr>
          <p:cNvSpPr/>
          <p:nvPr/>
        </p:nvSpPr>
        <p:spPr>
          <a:xfrm>
            <a:off x="5635142" y="2421545"/>
            <a:ext cx="139069" cy="16844"/>
          </a:xfrm>
          <a:custGeom>
            <a:avLst/>
            <a:gdLst>
              <a:gd name="connsiteX0" fmla="*/ 104334 w 104334"/>
              <a:gd name="connsiteY0" fmla="*/ 0 h 12637"/>
              <a:gd name="connsiteX1" fmla="*/ 0 w 104334"/>
              <a:gd name="connsiteY1" fmla="*/ 0 h 12637"/>
            </a:gdLst>
            <a:ahLst/>
            <a:cxnLst>
              <a:cxn ang="0">
                <a:pos x="connsiteX0" y="connsiteY0"/>
              </a:cxn>
              <a:cxn ang="0">
                <a:pos x="connsiteX1" y="connsiteY1"/>
              </a:cxn>
            </a:cxnLst>
            <a:rect l="l" t="t" r="r" b="b"/>
            <a:pathLst>
              <a:path w="104334" h="12637">
                <a:moveTo>
                  <a:pt x="104334" y="0"/>
                </a:moveTo>
                <a:lnTo>
                  <a:pt x="0" y="0"/>
                </a:lnTo>
              </a:path>
            </a:pathLst>
          </a:custGeom>
          <a:ln w="9514" cap="flat">
            <a:solidFill>
              <a:srgbClr val="000000"/>
            </a:solidFill>
            <a:prstDash val="solid"/>
            <a:round/>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 name="Freeform 46">
            <a:extLst>
              <a:ext uri="{FF2B5EF4-FFF2-40B4-BE49-F238E27FC236}">
                <a16:creationId xmlns:a16="http://schemas.microsoft.com/office/drawing/2014/main" id="{7A02123C-9B43-1C64-3D72-2E67632C32CE}"/>
              </a:ext>
            </a:extLst>
          </p:cNvPr>
          <p:cNvSpPr/>
          <p:nvPr/>
        </p:nvSpPr>
        <p:spPr>
          <a:xfrm>
            <a:off x="5635142" y="2387855"/>
            <a:ext cx="16917" cy="70746"/>
          </a:xfrm>
          <a:custGeom>
            <a:avLst/>
            <a:gdLst>
              <a:gd name="connsiteX0" fmla="*/ 0 w 12692"/>
              <a:gd name="connsiteY0" fmla="*/ 53077 h 53076"/>
              <a:gd name="connsiteX1" fmla="*/ 0 w 12692"/>
              <a:gd name="connsiteY1" fmla="*/ 0 h 53076"/>
            </a:gdLst>
            <a:ahLst/>
            <a:cxnLst>
              <a:cxn ang="0">
                <a:pos x="connsiteX0" y="connsiteY0"/>
              </a:cxn>
              <a:cxn ang="0">
                <a:pos x="connsiteX1" y="connsiteY1"/>
              </a:cxn>
            </a:cxnLst>
            <a:rect l="l" t="t" r="r" b="b"/>
            <a:pathLst>
              <a:path w="12692" h="53076">
                <a:moveTo>
                  <a:pt x="0" y="53077"/>
                </a:moveTo>
                <a:lnTo>
                  <a:pt x="0" y="0"/>
                </a:lnTo>
              </a:path>
            </a:pathLst>
          </a:custGeom>
          <a:ln w="9514" cap="flat">
            <a:solidFill>
              <a:srgbClr val="000000"/>
            </a:solidFill>
            <a:prstDash val="solid"/>
            <a:round/>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 name="Freeform 45">
            <a:extLst>
              <a:ext uri="{FF2B5EF4-FFF2-40B4-BE49-F238E27FC236}">
                <a16:creationId xmlns:a16="http://schemas.microsoft.com/office/drawing/2014/main" id="{F237D525-08ED-C46B-4C96-B31062EBE732}"/>
              </a:ext>
            </a:extLst>
          </p:cNvPr>
          <p:cNvSpPr/>
          <p:nvPr/>
        </p:nvSpPr>
        <p:spPr>
          <a:xfrm>
            <a:off x="6286502" y="2421545"/>
            <a:ext cx="136362" cy="16844"/>
          </a:xfrm>
          <a:custGeom>
            <a:avLst/>
            <a:gdLst>
              <a:gd name="connsiteX0" fmla="*/ 102303 w 102303"/>
              <a:gd name="connsiteY0" fmla="*/ 0 h 12637"/>
              <a:gd name="connsiteX1" fmla="*/ 0 w 102303"/>
              <a:gd name="connsiteY1" fmla="*/ 0 h 12637"/>
            </a:gdLst>
            <a:ahLst/>
            <a:cxnLst>
              <a:cxn ang="0">
                <a:pos x="connsiteX0" y="connsiteY0"/>
              </a:cxn>
              <a:cxn ang="0">
                <a:pos x="connsiteX1" y="connsiteY1"/>
              </a:cxn>
            </a:cxnLst>
            <a:rect l="l" t="t" r="r" b="b"/>
            <a:pathLst>
              <a:path w="102303" h="12637">
                <a:moveTo>
                  <a:pt x="102303" y="0"/>
                </a:moveTo>
                <a:lnTo>
                  <a:pt x="0" y="0"/>
                </a:lnTo>
              </a:path>
            </a:pathLst>
          </a:custGeom>
          <a:ln w="9514" cap="flat">
            <a:solidFill>
              <a:srgbClr val="000000"/>
            </a:solidFill>
            <a:prstDash val="solid"/>
            <a:round/>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 name="Freeform 47">
            <a:extLst>
              <a:ext uri="{FF2B5EF4-FFF2-40B4-BE49-F238E27FC236}">
                <a16:creationId xmlns:a16="http://schemas.microsoft.com/office/drawing/2014/main" id="{E5E55E28-E1C4-F3D9-AC1C-F17A48EC28E0}"/>
              </a:ext>
            </a:extLst>
          </p:cNvPr>
          <p:cNvSpPr/>
          <p:nvPr/>
        </p:nvSpPr>
        <p:spPr>
          <a:xfrm>
            <a:off x="6421849" y="2387855"/>
            <a:ext cx="16917" cy="70746"/>
          </a:xfrm>
          <a:custGeom>
            <a:avLst/>
            <a:gdLst>
              <a:gd name="connsiteX0" fmla="*/ 0 w 12692"/>
              <a:gd name="connsiteY0" fmla="*/ 53077 h 53076"/>
              <a:gd name="connsiteX1" fmla="*/ 0 w 12692"/>
              <a:gd name="connsiteY1" fmla="*/ 0 h 53076"/>
            </a:gdLst>
            <a:ahLst/>
            <a:cxnLst>
              <a:cxn ang="0">
                <a:pos x="connsiteX0" y="connsiteY0"/>
              </a:cxn>
              <a:cxn ang="0">
                <a:pos x="connsiteX1" y="connsiteY1"/>
              </a:cxn>
            </a:cxnLst>
            <a:rect l="l" t="t" r="r" b="b"/>
            <a:pathLst>
              <a:path w="12692" h="53076">
                <a:moveTo>
                  <a:pt x="0" y="53077"/>
                </a:moveTo>
                <a:lnTo>
                  <a:pt x="0" y="0"/>
                </a:lnTo>
              </a:path>
            </a:pathLst>
          </a:custGeom>
          <a:ln w="9514" cap="flat">
            <a:solidFill>
              <a:srgbClr val="000000"/>
            </a:solidFill>
            <a:prstDash val="solid"/>
            <a:round/>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 name="TextBox 20">
            <a:extLst>
              <a:ext uri="{FF2B5EF4-FFF2-40B4-BE49-F238E27FC236}">
                <a16:creationId xmlns:a16="http://schemas.microsoft.com/office/drawing/2014/main" id="{08655B66-7372-82F3-C233-08BEC7BFAEE8}"/>
              </a:ext>
            </a:extLst>
          </p:cNvPr>
          <p:cNvSpPr txBox="1"/>
          <p:nvPr/>
        </p:nvSpPr>
        <p:spPr>
          <a:xfrm>
            <a:off x="7022167" y="3328854"/>
            <a:ext cx="491438" cy="143565"/>
          </a:xfrm>
          <a:prstGeom prst="rect">
            <a:avLst/>
          </a:prstGeom>
          <a:noFill/>
        </p:spPr>
        <p:txBody>
          <a:bodyPr wrap="square" lIns="0" tIns="0" rIns="0" bIns="0" rtlCol="0" anchor="ctr">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solidFill>
                  <a:srgbClr val="000000"/>
                </a:solidFill>
                <a:effectLst/>
                <a:uLnTx/>
                <a:uFillTx/>
                <a:latin typeface="Arial"/>
                <a:ea typeface="+mn-ea"/>
                <a:cs typeface="Arial"/>
                <a:sym typeface="Arial"/>
                <a:rtl val="0"/>
              </a:rPr>
              <a:t>Δ=5.7%</a:t>
            </a:r>
          </a:p>
        </p:txBody>
      </p:sp>
      <p:sp>
        <p:nvSpPr>
          <p:cNvPr id="22" name="Freeform 44">
            <a:extLst>
              <a:ext uri="{FF2B5EF4-FFF2-40B4-BE49-F238E27FC236}">
                <a16:creationId xmlns:a16="http://schemas.microsoft.com/office/drawing/2014/main" id="{59F7BEA1-91D8-102E-9268-809FC70A60C9}"/>
              </a:ext>
            </a:extLst>
          </p:cNvPr>
          <p:cNvSpPr/>
          <p:nvPr/>
        </p:nvSpPr>
        <p:spPr>
          <a:xfrm>
            <a:off x="6869559" y="3402218"/>
            <a:ext cx="139069" cy="16844"/>
          </a:xfrm>
          <a:custGeom>
            <a:avLst/>
            <a:gdLst>
              <a:gd name="connsiteX0" fmla="*/ 104334 w 104334"/>
              <a:gd name="connsiteY0" fmla="*/ 0 h 12637"/>
              <a:gd name="connsiteX1" fmla="*/ 0 w 104334"/>
              <a:gd name="connsiteY1" fmla="*/ 0 h 12637"/>
            </a:gdLst>
            <a:ahLst/>
            <a:cxnLst>
              <a:cxn ang="0">
                <a:pos x="connsiteX0" y="connsiteY0"/>
              </a:cxn>
              <a:cxn ang="0">
                <a:pos x="connsiteX1" y="connsiteY1"/>
              </a:cxn>
            </a:cxnLst>
            <a:rect l="l" t="t" r="r" b="b"/>
            <a:pathLst>
              <a:path w="104334" h="12637">
                <a:moveTo>
                  <a:pt x="104334" y="0"/>
                </a:moveTo>
                <a:lnTo>
                  <a:pt x="0" y="0"/>
                </a:lnTo>
              </a:path>
            </a:pathLst>
          </a:custGeom>
          <a:ln w="9514" cap="flat">
            <a:solidFill>
              <a:srgbClr val="000000"/>
            </a:solidFill>
            <a:prstDash val="solid"/>
            <a:round/>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 name="Freeform 46">
            <a:extLst>
              <a:ext uri="{FF2B5EF4-FFF2-40B4-BE49-F238E27FC236}">
                <a16:creationId xmlns:a16="http://schemas.microsoft.com/office/drawing/2014/main" id="{10FCFA77-6B66-483A-6216-6EF7A7735D5B}"/>
              </a:ext>
            </a:extLst>
          </p:cNvPr>
          <p:cNvSpPr/>
          <p:nvPr/>
        </p:nvSpPr>
        <p:spPr>
          <a:xfrm>
            <a:off x="6869559" y="3368528"/>
            <a:ext cx="16917" cy="70746"/>
          </a:xfrm>
          <a:custGeom>
            <a:avLst/>
            <a:gdLst>
              <a:gd name="connsiteX0" fmla="*/ 0 w 12692"/>
              <a:gd name="connsiteY0" fmla="*/ 53077 h 53076"/>
              <a:gd name="connsiteX1" fmla="*/ 0 w 12692"/>
              <a:gd name="connsiteY1" fmla="*/ 0 h 53076"/>
            </a:gdLst>
            <a:ahLst/>
            <a:cxnLst>
              <a:cxn ang="0">
                <a:pos x="connsiteX0" y="connsiteY0"/>
              </a:cxn>
              <a:cxn ang="0">
                <a:pos x="connsiteX1" y="connsiteY1"/>
              </a:cxn>
            </a:cxnLst>
            <a:rect l="l" t="t" r="r" b="b"/>
            <a:pathLst>
              <a:path w="12692" h="53076">
                <a:moveTo>
                  <a:pt x="0" y="53077"/>
                </a:moveTo>
                <a:lnTo>
                  <a:pt x="0" y="0"/>
                </a:lnTo>
              </a:path>
            </a:pathLst>
          </a:custGeom>
          <a:ln w="9514" cap="flat">
            <a:solidFill>
              <a:srgbClr val="000000"/>
            </a:solidFill>
            <a:prstDash val="solid"/>
            <a:round/>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 name="Freeform 45">
            <a:extLst>
              <a:ext uri="{FF2B5EF4-FFF2-40B4-BE49-F238E27FC236}">
                <a16:creationId xmlns:a16="http://schemas.microsoft.com/office/drawing/2014/main" id="{765868CB-97E2-16FB-7CFE-5C812A7593DC}"/>
              </a:ext>
            </a:extLst>
          </p:cNvPr>
          <p:cNvSpPr/>
          <p:nvPr/>
        </p:nvSpPr>
        <p:spPr>
          <a:xfrm>
            <a:off x="7520918" y="3402218"/>
            <a:ext cx="136362" cy="16844"/>
          </a:xfrm>
          <a:custGeom>
            <a:avLst/>
            <a:gdLst>
              <a:gd name="connsiteX0" fmla="*/ 102303 w 102303"/>
              <a:gd name="connsiteY0" fmla="*/ 0 h 12637"/>
              <a:gd name="connsiteX1" fmla="*/ 0 w 102303"/>
              <a:gd name="connsiteY1" fmla="*/ 0 h 12637"/>
            </a:gdLst>
            <a:ahLst/>
            <a:cxnLst>
              <a:cxn ang="0">
                <a:pos x="connsiteX0" y="connsiteY0"/>
              </a:cxn>
              <a:cxn ang="0">
                <a:pos x="connsiteX1" y="connsiteY1"/>
              </a:cxn>
            </a:cxnLst>
            <a:rect l="l" t="t" r="r" b="b"/>
            <a:pathLst>
              <a:path w="102303" h="12637">
                <a:moveTo>
                  <a:pt x="102303" y="0"/>
                </a:moveTo>
                <a:lnTo>
                  <a:pt x="0" y="0"/>
                </a:lnTo>
              </a:path>
            </a:pathLst>
          </a:custGeom>
          <a:ln w="9514" cap="flat">
            <a:solidFill>
              <a:srgbClr val="000000"/>
            </a:solidFill>
            <a:prstDash val="solid"/>
            <a:round/>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 name="Freeform 47">
            <a:extLst>
              <a:ext uri="{FF2B5EF4-FFF2-40B4-BE49-F238E27FC236}">
                <a16:creationId xmlns:a16="http://schemas.microsoft.com/office/drawing/2014/main" id="{C90205A8-850B-F5F4-DE85-2165A8C979EC}"/>
              </a:ext>
            </a:extLst>
          </p:cNvPr>
          <p:cNvSpPr/>
          <p:nvPr/>
        </p:nvSpPr>
        <p:spPr>
          <a:xfrm>
            <a:off x="7656265" y="3368528"/>
            <a:ext cx="16917" cy="70746"/>
          </a:xfrm>
          <a:custGeom>
            <a:avLst/>
            <a:gdLst>
              <a:gd name="connsiteX0" fmla="*/ 0 w 12692"/>
              <a:gd name="connsiteY0" fmla="*/ 53077 h 53076"/>
              <a:gd name="connsiteX1" fmla="*/ 0 w 12692"/>
              <a:gd name="connsiteY1" fmla="*/ 0 h 53076"/>
            </a:gdLst>
            <a:ahLst/>
            <a:cxnLst>
              <a:cxn ang="0">
                <a:pos x="connsiteX0" y="connsiteY0"/>
              </a:cxn>
              <a:cxn ang="0">
                <a:pos x="connsiteX1" y="connsiteY1"/>
              </a:cxn>
            </a:cxnLst>
            <a:rect l="l" t="t" r="r" b="b"/>
            <a:pathLst>
              <a:path w="12692" h="53076">
                <a:moveTo>
                  <a:pt x="0" y="53077"/>
                </a:moveTo>
                <a:lnTo>
                  <a:pt x="0" y="0"/>
                </a:lnTo>
              </a:path>
            </a:pathLst>
          </a:custGeom>
          <a:ln w="9514" cap="flat">
            <a:solidFill>
              <a:srgbClr val="000000"/>
            </a:solidFill>
            <a:prstDash val="solid"/>
            <a:round/>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 name="TextBox 25">
            <a:extLst>
              <a:ext uri="{FF2B5EF4-FFF2-40B4-BE49-F238E27FC236}">
                <a16:creationId xmlns:a16="http://schemas.microsoft.com/office/drawing/2014/main" id="{F4EF2DAD-79CB-F393-78C6-A869974ACDCF}"/>
              </a:ext>
            </a:extLst>
          </p:cNvPr>
          <p:cNvSpPr txBox="1"/>
          <p:nvPr/>
        </p:nvSpPr>
        <p:spPr>
          <a:xfrm>
            <a:off x="8251016" y="3820022"/>
            <a:ext cx="491438" cy="143565"/>
          </a:xfrm>
          <a:prstGeom prst="rect">
            <a:avLst/>
          </a:prstGeom>
          <a:noFill/>
        </p:spPr>
        <p:txBody>
          <a:bodyPr wrap="square" lIns="0" tIns="0" rIns="0" bIns="0" rtlCol="0" anchor="ctr">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solidFill>
                  <a:srgbClr val="000000"/>
                </a:solidFill>
                <a:effectLst/>
                <a:uLnTx/>
                <a:uFillTx/>
                <a:latin typeface="Arial"/>
                <a:ea typeface="+mn-ea"/>
                <a:cs typeface="Arial"/>
                <a:sym typeface="Arial"/>
                <a:rtl val="0"/>
              </a:rPr>
              <a:t>Δ=3.4%</a:t>
            </a:r>
          </a:p>
        </p:txBody>
      </p:sp>
      <p:sp>
        <p:nvSpPr>
          <p:cNvPr id="27" name="Freeform 44">
            <a:extLst>
              <a:ext uri="{FF2B5EF4-FFF2-40B4-BE49-F238E27FC236}">
                <a16:creationId xmlns:a16="http://schemas.microsoft.com/office/drawing/2014/main" id="{63D1D4D4-10C3-176E-96CF-568817E8EF35}"/>
              </a:ext>
            </a:extLst>
          </p:cNvPr>
          <p:cNvSpPr/>
          <p:nvPr/>
        </p:nvSpPr>
        <p:spPr>
          <a:xfrm>
            <a:off x="8098407" y="3893387"/>
            <a:ext cx="139069" cy="16844"/>
          </a:xfrm>
          <a:custGeom>
            <a:avLst/>
            <a:gdLst>
              <a:gd name="connsiteX0" fmla="*/ 104334 w 104334"/>
              <a:gd name="connsiteY0" fmla="*/ 0 h 12637"/>
              <a:gd name="connsiteX1" fmla="*/ 0 w 104334"/>
              <a:gd name="connsiteY1" fmla="*/ 0 h 12637"/>
            </a:gdLst>
            <a:ahLst/>
            <a:cxnLst>
              <a:cxn ang="0">
                <a:pos x="connsiteX0" y="connsiteY0"/>
              </a:cxn>
              <a:cxn ang="0">
                <a:pos x="connsiteX1" y="connsiteY1"/>
              </a:cxn>
            </a:cxnLst>
            <a:rect l="l" t="t" r="r" b="b"/>
            <a:pathLst>
              <a:path w="104334" h="12637">
                <a:moveTo>
                  <a:pt x="104334" y="0"/>
                </a:moveTo>
                <a:lnTo>
                  <a:pt x="0" y="0"/>
                </a:lnTo>
              </a:path>
            </a:pathLst>
          </a:custGeom>
          <a:ln w="9514" cap="flat">
            <a:solidFill>
              <a:srgbClr val="000000"/>
            </a:solidFill>
            <a:prstDash val="solid"/>
            <a:round/>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 name="Freeform 46">
            <a:extLst>
              <a:ext uri="{FF2B5EF4-FFF2-40B4-BE49-F238E27FC236}">
                <a16:creationId xmlns:a16="http://schemas.microsoft.com/office/drawing/2014/main" id="{34E1B7C6-91BB-D0CC-ACD6-D34458649659}"/>
              </a:ext>
            </a:extLst>
          </p:cNvPr>
          <p:cNvSpPr/>
          <p:nvPr/>
        </p:nvSpPr>
        <p:spPr>
          <a:xfrm>
            <a:off x="8098408" y="3859696"/>
            <a:ext cx="16917" cy="70746"/>
          </a:xfrm>
          <a:custGeom>
            <a:avLst/>
            <a:gdLst>
              <a:gd name="connsiteX0" fmla="*/ 0 w 12692"/>
              <a:gd name="connsiteY0" fmla="*/ 53077 h 53076"/>
              <a:gd name="connsiteX1" fmla="*/ 0 w 12692"/>
              <a:gd name="connsiteY1" fmla="*/ 0 h 53076"/>
            </a:gdLst>
            <a:ahLst/>
            <a:cxnLst>
              <a:cxn ang="0">
                <a:pos x="connsiteX0" y="connsiteY0"/>
              </a:cxn>
              <a:cxn ang="0">
                <a:pos x="connsiteX1" y="connsiteY1"/>
              </a:cxn>
            </a:cxnLst>
            <a:rect l="l" t="t" r="r" b="b"/>
            <a:pathLst>
              <a:path w="12692" h="53076">
                <a:moveTo>
                  <a:pt x="0" y="53077"/>
                </a:moveTo>
                <a:lnTo>
                  <a:pt x="0" y="0"/>
                </a:lnTo>
              </a:path>
            </a:pathLst>
          </a:custGeom>
          <a:ln w="9514" cap="flat">
            <a:solidFill>
              <a:srgbClr val="000000"/>
            </a:solidFill>
            <a:prstDash val="solid"/>
            <a:round/>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 name="Freeform 45">
            <a:extLst>
              <a:ext uri="{FF2B5EF4-FFF2-40B4-BE49-F238E27FC236}">
                <a16:creationId xmlns:a16="http://schemas.microsoft.com/office/drawing/2014/main" id="{F03D4037-2B70-FA37-574D-BBC060BF7B95}"/>
              </a:ext>
            </a:extLst>
          </p:cNvPr>
          <p:cNvSpPr/>
          <p:nvPr/>
        </p:nvSpPr>
        <p:spPr>
          <a:xfrm>
            <a:off x="8749767" y="3893387"/>
            <a:ext cx="136362" cy="16844"/>
          </a:xfrm>
          <a:custGeom>
            <a:avLst/>
            <a:gdLst>
              <a:gd name="connsiteX0" fmla="*/ 102303 w 102303"/>
              <a:gd name="connsiteY0" fmla="*/ 0 h 12637"/>
              <a:gd name="connsiteX1" fmla="*/ 0 w 102303"/>
              <a:gd name="connsiteY1" fmla="*/ 0 h 12637"/>
            </a:gdLst>
            <a:ahLst/>
            <a:cxnLst>
              <a:cxn ang="0">
                <a:pos x="connsiteX0" y="connsiteY0"/>
              </a:cxn>
              <a:cxn ang="0">
                <a:pos x="connsiteX1" y="connsiteY1"/>
              </a:cxn>
            </a:cxnLst>
            <a:rect l="l" t="t" r="r" b="b"/>
            <a:pathLst>
              <a:path w="102303" h="12637">
                <a:moveTo>
                  <a:pt x="102303" y="0"/>
                </a:moveTo>
                <a:lnTo>
                  <a:pt x="0" y="0"/>
                </a:lnTo>
              </a:path>
            </a:pathLst>
          </a:custGeom>
          <a:ln w="9514" cap="flat">
            <a:solidFill>
              <a:srgbClr val="000000"/>
            </a:solidFill>
            <a:prstDash val="solid"/>
            <a:round/>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 name="Freeform 47">
            <a:extLst>
              <a:ext uri="{FF2B5EF4-FFF2-40B4-BE49-F238E27FC236}">
                <a16:creationId xmlns:a16="http://schemas.microsoft.com/office/drawing/2014/main" id="{1B3B9CE1-2FDD-32DF-F842-C9247F9F3B0A}"/>
              </a:ext>
            </a:extLst>
          </p:cNvPr>
          <p:cNvSpPr/>
          <p:nvPr/>
        </p:nvSpPr>
        <p:spPr>
          <a:xfrm>
            <a:off x="8885114" y="3859696"/>
            <a:ext cx="16917" cy="70746"/>
          </a:xfrm>
          <a:custGeom>
            <a:avLst/>
            <a:gdLst>
              <a:gd name="connsiteX0" fmla="*/ 0 w 12692"/>
              <a:gd name="connsiteY0" fmla="*/ 53077 h 53076"/>
              <a:gd name="connsiteX1" fmla="*/ 0 w 12692"/>
              <a:gd name="connsiteY1" fmla="*/ 0 h 53076"/>
            </a:gdLst>
            <a:ahLst/>
            <a:cxnLst>
              <a:cxn ang="0">
                <a:pos x="connsiteX0" y="connsiteY0"/>
              </a:cxn>
              <a:cxn ang="0">
                <a:pos x="connsiteX1" y="connsiteY1"/>
              </a:cxn>
            </a:cxnLst>
            <a:rect l="l" t="t" r="r" b="b"/>
            <a:pathLst>
              <a:path w="12692" h="53076">
                <a:moveTo>
                  <a:pt x="0" y="53077"/>
                </a:moveTo>
                <a:lnTo>
                  <a:pt x="0" y="0"/>
                </a:lnTo>
              </a:path>
            </a:pathLst>
          </a:custGeom>
          <a:ln w="9514" cap="flat">
            <a:solidFill>
              <a:srgbClr val="000000"/>
            </a:solidFill>
            <a:prstDash val="solid"/>
            <a:round/>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 name="TextBox 30">
            <a:extLst>
              <a:ext uri="{FF2B5EF4-FFF2-40B4-BE49-F238E27FC236}">
                <a16:creationId xmlns:a16="http://schemas.microsoft.com/office/drawing/2014/main" id="{B0779BAC-53AC-AE55-D2A2-4BDE9CB232E3}"/>
              </a:ext>
            </a:extLst>
          </p:cNvPr>
          <p:cNvSpPr txBox="1"/>
          <p:nvPr/>
        </p:nvSpPr>
        <p:spPr>
          <a:xfrm>
            <a:off x="9464252" y="4167574"/>
            <a:ext cx="491438" cy="143565"/>
          </a:xfrm>
          <a:prstGeom prst="rect">
            <a:avLst/>
          </a:prstGeom>
          <a:noFill/>
        </p:spPr>
        <p:txBody>
          <a:bodyPr wrap="square" lIns="0" tIns="0" rIns="0" bIns="0" rtlCol="0" anchor="ctr">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solidFill>
                  <a:srgbClr val="000000"/>
                </a:solidFill>
                <a:effectLst/>
                <a:uLnTx/>
                <a:uFillTx/>
                <a:latin typeface="Arial"/>
                <a:ea typeface="+mn-ea"/>
                <a:cs typeface="Arial"/>
                <a:sym typeface="Arial"/>
                <a:rtl val="0"/>
              </a:rPr>
              <a:t>Δ=1.8%</a:t>
            </a:r>
          </a:p>
        </p:txBody>
      </p:sp>
      <p:sp>
        <p:nvSpPr>
          <p:cNvPr id="32" name="Freeform 44">
            <a:extLst>
              <a:ext uri="{FF2B5EF4-FFF2-40B4-BE49-F238E27FC236}">
                <a16:creationId xmlns:a16="http://schemas.microsoft.com/office/drawing/2014/main" id="{3B225028-B8CC-D676-C2B5-8115B5ADD5C5}"/>
              </a:ext>
            </a:extLst>
          </p:cNvPr>
          <p:cNvSpPr/>
          <p:nvPr/>
        </p:nvSpPr>
        <p:spPr>
          <a:xfrm>
            <a:off x="9311644" y="4240938"/>
            <a:ext cx="139069" cy="16844"/>
          </a:xfrm>
          <a:custGeom>
            <a:avLst/>
            <a:gdLst>
              <a:gd name="connsiteX0" fmla="*/ 104334 w 104334"/>
              <a:gd name="connsiteY0" fmla="*/ 0 h 12637"/>
              <a:gd name="connsiteX1" fmla="*/ 0 w 104334"/>
              <a:gd name="connsiteY1" fmla="*/ 0 h 12637"/>
            </a:gdLst>
            <a:ahLst/>
            <a:cxnLst>
              <a:cxn ang="0">
                <a:pos x="connsiteX0" y="connsiteY0"/>
              </a:cxn>
              <a:cxn ang="0">
                <a:pos x="connsiteX1" y="connsiteY1"/>
              </a:cxn>
            </a:cxnLst>
            <a:rect l="l" t="t" r="r" b="b"/>
            <a:pathLst>
              <a:path w="104334" h="12637">
                <a:moveTo>
                  <a:pt x="104334" y="0"/>
                </a:moveTo>
                <a:lnTo>
                  <a:pt x="0" y="0"/>
                </a:lnTo>
              </a:path>
            </a:pathLst>
          </a:custGeom>
          <a:ln w="9514" cap="flat">
            <a:solidFill>
              <a:srgbClr val="000000"/>
            </a:solidFill>
            <a:prstDash val="solid"/>
            <a:round/>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3" name="Freeform 46">
            <a:extLst>
              <a:ext uri="{FF2B5EF4-FFF2-40B4-BE49-F238E27FC236}">
                <a16:creationId xmlns:a16="http://schemas.microsoft.com/office/drawing/2014/main" id="{4916B5C1-4050-9907-BFE2-90556432A802}"/>
              </a:ext>
            </a:extLst>
          </p:cNvPr>
          <p:cNvSpPr/>
          <p:nvPr/>
        </p:nvSpPr>
        <p:spPr>
          <a:xfrm>
            <a:off x="9311644" y="4207248"/>
            <a:ext cx="16917" cy="70746"/>
          </a:xfrm>
          <a:custGeom>
            <a:avLst/>
            <a:gdLst>
              <a:gd name="connsiteX0" fmla="*/ 0 w 12692"/>
              <a:gd name="connsiteY0" fmla="*/ 53077 h 53076"/>
              <a:gd name="connsiteX1" fmla="*/ 0 w 12692"/>
              <a:gd name="connsiteY1" fmla="*/ 0 h 53076"/>
            </a:gdLst>
            <a:ahLst/>
            <a:cxnLst>
              <a:cxn ang="0">
                <a:pos x="connsiteX0" y="connsiteY0"/>
              </a:cxn>
              <a:cxn ang="0">
                <a:pos x="connsiteX1" y="connsiteY1"/>
              </a:cxn>
            </a:cxnLst>
            <a:rect l="l" t="t" r="r" b="b"/>
            <a:pathLst>
              <a:path w="12692" h="53076">
                <a:moveTo>
                  <a:pt x="0" y="53077"/>
                </a:moveTo>
                <a:lnTo>
                  <a:pt x="0" y="0"/>
                </a:lnTo>
              </a:path>
            </a:pathLst>
          </a:custGeom>
          <a:ln w="9514" cap="flat">
            <a:solidFill>
              <a:srgbClr val="000000"/>
            </a:solidFill>
            <a:prstDash val="solid"/>
            <a:round/>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4" name="Freeform 45">
            <a:extLst>
              <a:ext uri="{FF2B5EF4-FFF2-40B4-BE49-F238E27FC236}">
                <a16:creationId xmlns:a16="http://schemas.microsoft.com/office/drawing/2014/main" id="{75B27240-0979-FC6E-7515-3E656DA3A5BA}"/>
              </a:ext>
            </a:extLst>
          </p:cNvPr>
          <p:cNvSpPr/>
          <p:nvPr/>
        </p:nvSpPr>
        <p:spPr>
          <a:xfrm>
            <a:off x="9963003" y="4240938"/>
            <a:ext cx="136362" cy="16844"/>
          </a:xfrm>
          <a:custGeom>
            <a:avLst/>
            <a:gdLst>
              <a:gd name="connsiteX0" fmla="*/ 102303 w 102303"/>
              <a:gd name="connsiteY0" fmla="*/ 0 h 12637"/>
              <a:gd name="connsiteX1" fmla="*/ 0 w 102303"/>
              <a:gd name="connsiteY1" fmla="*/ 0 h 12637"/>
            </a:gdLst>
            <a:ahLst/>
            <a:cxnLst>
              <a:cxn ang="0">
                <a:pos x="connsiteX0" y="connsiteY0"/>
              </a:cxn>
              <a:cxn ang="0">
                <a:pos x="connsiteX1" y="connsiteY1"/>
              </a:cxn>
            </a:cxnLst>
            <a:rect l="l" t="t" r="r" b="b"/>
            <a:pathLst>
              <a:path w="102303" h="12637">
                <a:moveTo>
                  <a:pt x="102303" y="0"/>
                </a:moveTo>
                <a:lnTo>
                  <a:pt x="0" y="0"/>
                </a:lnTo>
              </a:path>
            </a:pathLst>
          </a:custGeom>
          <a:ln w="9514" cap="flat">
            <a:solidFill>
              <a:srgbClr val="000000"/>
            </a:solidFill>
            <a:prstDash val="solid"/>
            <a:round/>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5" name="Freeform 47">
            <a:extLst>
              <a:ext uri="{FF2B5EF4-FFF2-40B4-BE49-F238E27FC236}">
                <a16:creationId xmlns:a16="http://schemas.microsoft.com/office/drawing/2014/main" id="{0F48F91F-CB34-C665-23D0-2DC0B954C8EF}"/>
              </a:ext>
            </a:extLst>
          </p:cNvPr>
          <p:cNvSpPr/>
          <p:nvPr/>
        </p:nvSpPr>
        <p:spPr>
          <a:xfrm>
            <a:off x="10098350" y="4207248"/>
            <a:ext cx="16917" cy="70746"/>
          </a:xfrm>
          <a:custGeom>
            <a:avLst/>
            <a:gdLst>
              <a:gd name="connsiteX0" fmla="*/ 0 w 12692"/>
              <a:gd name="connsiteY0" fmla="*/ 53077 h 53076"/>
              <a:gd name="connsiteX1" fmla="*/ 0 w 12692"/>
              <a:gd name="connsiteY1" fmla="*/ 0 h 53076"/>
            </a:gdLst>
            <a:ahLst/>
            <a:cxnLst>
              <a:cxn ang="0">
                <a:pos x="connsiteX0" y="connsiteY0"/>
              </a:cxn>
              <a:cxn ang="0">
                <a:pos x="connsiteX1" y="connsiteY1"/>
              </a:cxn>
            </a:cxnLst>
            <a:rect l="l" t="t" r="r" b="b"/>
            <a:pathLst>
              <a:path w="12692" h="53076">
                <a:moveTo>
                  <a:pt x="0" y="53077"/>
                </a:moveTo>
                <a:lnTo>
                  <a:pt x="0" y="0"/>
                </a:lnTo>
              </a:path>
            </a:pathLst>
          </a:custGeom>
          <a:ln w="9514" cap="flat">
            <a:solidFill>
              <a:srgbClr val="000000"/>
            </a:solidFill>
            <a:prstDash val="solid"/>
            <a:round/>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6" name="TextBox 35">
            <a:extLst>
              <a:ext uri="{FF2B5EF4-FFF2-40B4-BE49-F238E27FC236}">
                <a16:creationId xmlns:a16="http://schemas.microsoft.com/office/drawing/2014/main" id="{10670112-C7F4-A559-313E-C2592BB9A230}"/>
              </a:ext>
            </a:extLst>
          </p:cNvPr>
          <p:cNvSpPr txBox="1"/>
          <p:nvPr/>
        </p:nvSpPr>
        <p:spPr>
          <a:xfrm>
            <a:off x="10709644" y="4345596"/>
            <a:ext cx="491438" cy="143565"/>
          </a:xfrm>
          <a:prstGeom prst="rect">
            <a:avLst/>
          </a:prstGeom>
          <a:noFill/>
        </p:spPr>
        <p:txBody>
          <a:bodyPr wrap="square" lIns="0" tIns="0" rIns="0" bIns="0" rtlCol="0" anchor="ctr">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solidFill>
                  <a:srgbClr val="000000"/>
                </a:solidFill>
                <a:effectLst/>
                <a:uLnTx/>
                <a:uFillTx/>
                <a:latin typeface="Arial"/>
                <a:ea typeface="+mn-ea"/>
                <a:cs typeface="Arial"/>
                <a:sym typeface="Arial"/>
                <a:rtl val="0"/>
              </a:rPr>
              <a:t>Δ=0.7%</a:t>
            </a:r>
          </a:p>
        </p:txBody>
      </p:sp>
      <p:sp>
        <p:nvSpPr>
          <p:cNvPr id="37" name="Freeform 44">
            <a:extLst>
              <a:ext uri="{FF2B5EF4-FFF2-40B4-BE49-F238E27FC236}">
                <a16:creationId xmlns:a16="http://schemas.microsoft.com/office/drawing/2014/main" id="{5C872FA4-657E-E127-F0D4-93D5AF98C1D1}"/>
              </a:ext>
            </a:extLst>
          </p:cNvPr>
          <p:cNvSpPr/>
          <p:nvPr/>
        </p:nvSpPr>
        <p:spPr>
          <a:xfrm>
            <a:off x="10557035" y="4418961"/>
            <a:ext cx="139069" cy="16844"/>
          </a:xfrm>
          <a:custGeom>
            <a:avLst/>
            <a:gdLst>
              <a:gd name="connsiteX0" fmla="*/ 104334 w 104334"/>
              <a:gd name="connsiteY0" fmla="*/ 0 h 12637"/>
              <a:gd name="connsiteX1" fmla="*/ 0 w 104334"/>
              <a:gd name="connsiteY1" fmla="*/ 0 h 12637"/>
            </a:gdLst>
            <a:ahLst/>
            <a:cxnLst>
              <a:cxn ang="0">
                <a:pos x="connsiteX0" y="connsiteY0"/>
              </a:cxn>
              <a:cxn ang="0">
                <a:pos x="connsiteX1" y="connsiteY1"/>
              </a:cxn>
            </a:cxnLst>
            <a:rect l="l" t="t" r="r" b="b"/>
            <a:pathLst>
              <a:path w="104334" h="12637">
                <a:moveTo>
                  <a:pt x="104334" y="0"/>
                </a:moveTo>
                <a:lnTo>
                  <a:pt x="0" y="0"/>
                </a:lnTo>
              </a:path>
            </a:pathLst>
          </a:custGeom>
          <a:ln w="9514" cap="flat">
            <a:solidFill>
              <a:srgbClr val="000000"/>
            </a:solidFill>
            <a:prstDash val="solid"/>
            <a:round/>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8" name="Freeform 46">
            <a:extLst>
              <a:ext uri="{FF2B5EF4-FFF2-40B4-BE49-F238E27FC236}">
                <a16:creationId xmlns:a16="http://schemas.microsoft.com/office/drawing/2014/main" id="{60020D14-95FA-E047-A59A-C9BD0BFCC689}"/>
              </a:ext>
            </a:extLst>
          </p:cNvPr>
          <p:cNvSpPr/>
          <p:nvPr/>
        </p:nvSpPr>
        <p:spPr>
          <a:xfrm>
            <a:off x="10557035" y="4385270"/>
            <a:ext cx="16917" cy="70746"/>
          </a:xfrm>
          <a:custGeom>
            <a:avLst/>
            <a:gdLst>
              <a:gd name="connsiteX0" fmla="*/ 0 w 12692"/>
              <a:gd name="connsiteY0" fmla="*/ 53077 h 53076"/>
              <a:gd name="connsiteX1" fmla="*/ 0 w 12692"/>
              <a:gd name="connsiteY1" fmla="*/ 0 h 53076"/>
            </a:gdLst>
            <a:ahLst/>
            <a:cxnLst>
              <a:cxn ang="0">
                <a:pos x="connsiteX0" y="connsiteY0"/>
              </a:cxn>
              <a:cxn ang="0">
                <a:pos x="connsiteX1" y="connsiteY1"/>
              </a:cxn>
            </a:cxnLst>
            <a:rect l="l" t="t" r="r" b="b"/>
            <a:pathLst>
              <a:path w="12692" h="53076">
                <a:moveTo>
                  <a:pt x="0" y="53077"/>
                </a:moveTo>
                <a:lnTo>
                  <a:pt x="0" y="0"/>
                </a:lnTo>
              </a:path>
            </a:pathLst>
          </a:custGeom>
          <a:ln w="9514" cap="flat">
            <a:solidFill>
              <a:srgbClr val="000000"/>
            </a:solidFill>
            <a:prstDash val="solid"/>
            <a:round/>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9" name="Freeform 45">
            <a:extLst>
              <a:ext uri="{FF2B5EF4-FFF2-40B4-BE49-F238E27FC236}">
                <a16:creationId xmlns:a16="http://schemas.microsoft.com/office/drawing/2014/main" id="{0ECCF81B-A8F0-0A60-4567-B30A8CC593C9}"/>
              </a:ext>
            </a:extLst>
          </p:cNvPr>
          <p:cNvSpPr/>
          <p:nvPr/>
        </p:nvSpPr>
        <p:spPr>
          <a:xfrm>
            <a:off x="11208395" y="4418961"/>
            <a:ext cx="136362" cy="16844"/>
          </a:xfrm>
          <a:custGeom>
            <a:avLst/>
            <a:gdLst>
              <a:gd name="connsiteX0" fmla="*/ 102303 w 102303"/>
              <a:gd name="connsiteY0" fmla="*/ 0 h 12637"/>
              <a:gd name="connsiteX1" fmla="*/ 0 w 102303"/>
              <a:gd name="connsiteY1" fmla="*/ 0 h 12637"/>
            </a:gdLst>
            <a:ahLst/>
            <a:cxnLst>
              <a:cxn ang="0">
                <a:pos x="connsiteX0" y="connsiteY0"/>
              </a:cxn>
              <a:cxn ang="0">
                <a:pos x="connsiteX1" y="connsiteY1"/>
              </a:cxn>
            </a:cxnLst>
            <a:rect l="l" t="t" r="r" b="b"/>
            <a:pathLst>
              <a:path w="102303" h="12637">
                <a:moveTo>
                  <a:pt x="102303" y="0"/>
                </a:moveTo>
                <a:lnTo>
                  <a:pt x="0" y="0"/>
                </a:lnTo>
              </a:path>
            </a:pathLst>
          </a:custGeom>
          <a:ln w="9514" cap="flat">
            <a:solidFill>
              <a:srgbClr val="000000"/>
            </a:solidFill>
            <a:prstDash val="solid"/>
            <a:round/>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0" name="Freeform 47">
            <a:extLst>
              <a:ext uri="{FF2B5EF4-FFF2-40B4-BE49-F238E27FC236}">
                <a16:creationId xmlns:a16="http://schemas.microsoft.com/office/drawing/2014/main" id="{E2D2D773-56A9-1C44-0074-39B265FBF5DA}"/>
              </a:ext>
            </a:extLst>
          </p:cNvPr>
          <p:cNvSpPr/>
          <p:nvPr/>
        </p:nvSpPr>
        <p:spPr>
          <a:xfrm>
            <a:off x="11343742" y="4385270"/>
            <a:ext cx="16917" cy="70746"/>
          </a:xfrm>
          <a:custGeom>
            <a:avLst/>
            <a:gdLst>
              <a:gd name="connsiteX0" fmla="*/ 0 w 12692"/>
              <a:gd name="connsiteY0" fmla="*/ 53077 h 53076"/>
              <a:gd name="connsiteX1" fmla="*/ 0 w 12692"/>
              <a:gd name="connsiteY1" fmla="*/ 0 h 53076"/>
            </a:gdLst>
            <a:ahLst/>
            <a:cxnLst>
              <a:cxn ang="0">
                <a:pos x="connsiteX0" y="connsiteY0"/>
              </a:cxn>
              <a:cxn ang="0">
                <a:pos x="connsiteX1" y="connsiteY1"/>
              </a:cxn>
            </a:cxnLst>
            <a:rect l="l" t="t" r="r" b="b"/>
            <a:pathLst>
              <a:path w="12692" h="53076">
                <a:moveTo>
                  <a:pt x="0" y="53077"/>
                </a:moveTo>
                <a:lnTo>
                  <a:pt x="0" y="0"/>
                </a:lnTo>
              </a:path>
            </a:pathLst>
          </a:custGeom>
          <a:ln w="9514" cap="flat">
            <a:solidFill>
              <a:srgbClr val="000000"/>
            </a:solidFill>
            <a:prstDash val="solid"/>
            <a:round/>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1" name="TextBox 40">
            <a:extLst>
              <a:ext uri="{FF2B5EF4-FFF2-40B4-BE49-F238E27FC236}">
                <a16:creationId xmlns:a16="http://schemas.microsoft.com/office/drawing/2014/main" id="{9CD05966-AE7F-068C-0DDD-3CA339CE49AA}"/>
              </a:ext>
            </a:extLst>
          </p:cNvPr>
          <p:cNvSpPr txBox="1"/>
          <p:nvPr/>
        </p:nvSpPr>
        <p:spPr>
          <a:xfrm>
            <a:off x="862760" y="5013913"/>
            <a:ext cx="1593600" cy="400110"/>
          </a:xfrm>
          <a:prstGeom prst="rect">
            <a:avLst/>
          </a:prstGeom>
          <a:noFill/>
        </p:spPr>
        <p:txBody>
          <a:bodyPr wrap="square" rtlCol="0" anchor="ctr">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panose="020B0604020202020204"/>
                <a:ea typeface="+mn-ea"/>
                <a:cs typeface="+mn-cs"/>
              </a:rPr>
              <a:t>Total number of subsequent therapies</a:t>
            </a:r>
          </a:p>
        </p:txBody>
      </p:sp>
      <p:cxnSp>
        <p:nvCxnSpPr>
          <p:cNvPr id="43" name="Straight Connector 42">
            <a:extLst>
              <a:ext uri="{FF2B5EF4-FFF2-40B4-BE49-F238E27FC236}">
                <a16:creationId xmlns:a16="http://schemas.microsoft.com/office/drawing/2014/main" id="{73892758-D4E6-AFDB-025C-A0A9A6E74291}"/>
              </a:ext>
            </a:extLst>
          </p:cNvPr>
          <p:cNvCxnSpPr/>
          <p:nvPr/>
        </p:nvCxnSpPr>
        <p:spPr>
          <a:xfrm>
            <a:off x="4239550" y="1912073"/>
            <a:ext cx="0" cy="3086517"/>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42" name="Rounded Rectangle 2015">
            <a:extLst>
              <a:ext uri="{FF2B5EF4-FFF2-40B4-BE49-F238E27FC236}">
                <a16:creationId xmlns:a16="http://schemas.microsoft.com/office/drawing/2014/main" id="{431F909A-8739-C849-A229-245DFFEA6EF7}"/>
              </a:ext>
            </a:extLst>
          </p:cNvPr>
          <p:cNvSpPr/>
          <p:nvPr/>
        </p:nvSpPr>
        <p:spPr>
          <a:xfrm>
            <a:off x="519570" y="5545285"/>
            <a:ext cx="11194156" cy="690987"/>
          </a:xfrm>
          <a:prstGeom prst="round1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6923" rtl="0" eaLnBrk="1" fontAlgn="base" latinLnBrk="0" hangingPunct="1">
              <a:lnSpc>
                <a:spcPct val="100000"/>
              </a:lnSpc>
              <a:spcBef>
                <a:spcPct val="0"/>
              </a:spcBef>
              <a:spcAft>
                <a:spcPct val="0"/>
              </a:spcAft>
              <a:buClrTx/>
              <a:buSzTx/>
              <a:buFontTx/>
              <a:buNone/>
              <a:tabLst/>
              <a:defRPr/>
            </a:pPr>
            <a:r>
              <a:rPr kumimoji="0" lang="en-GB" sz="1733" b="0" i="0" u="none" strike="noStrike" kern="1200" cap="none" spc="0" normalizeH="0" baseline="0" noProof="0" dirty="0">
                <a:ln>
                  <a:noFill/>
                </a:ln>
                <a:solidFill>
                  <a:srgbClr val="FFFFFF"/>
                </a:solidFill>
                <a:effectLst/>
                <a:uLnTx/>
                <a:uFillTx/>
                <a:latin typeface="Arial" panose="020B0604020202020204"/>
                <a:ea typeface="+mn-ea"/>
                <a:cs typeface="+mn-cs"/>
              </a:rPr>
              <a:t>Patterns of subsequent therapies received on study mirror routine clinical care at the time of study conduct.</a:t>
            </a:r>
          </a:p>
        </p:txBody>
      </p:sp>
      <p:sp>
        <p:nvSpPr>
          <p:cNvPr id="5" name="TextBox 4">
            <a:extLst>
              <a:ext uri="{FF2B5EF4-FFF2-40B4-BE49-F238E27FC236}">
                <a16:creationId xmlns:a16="http://schemas.microsoft.com/office/drawing/2014/main" id="{ECFCE970-5876-F480-4B06-E475382615D6}"/>
              </a:ext>
            </a:extLst>
          </p:cNvPr>
          <p:cNvSpPr txBox="1"/>
          <p:nvPr/>
        </p:nvSpPr>
        <p:spPr>
          <a:xfrm>
            <a:off x="2734092" y="1327247"/>
            <a:ext cx="6107319" cy="379463"/>
          </a:xfrm>
          <a:prstGeom prst="rect">
            <a:avLst/>
          </a:prstGeom>
          <a:noFill/>
        </p:spPr>
        <p:txBody>
          <a:bodyPr wrap="square" rtlCol="0" anchor="ctr">
            <a:spAutoFit/>
          </a:bodyPr>
          <a:lstStyle/>
          <a:p>
            <a:pPr marL="0" marR="0" lvl="0" indent="0" algn="l" defTabSz="609402" rtl="0" eaLnBrk="1" fontAlgn="auto" latinLnBrk="0" hangingPunct="1">
              <a:lnSpc>
                <a:spcPct val="100000"/>
              </a:lnSpc>
              <a:spcBef>
                <a:spcPts val="0"/>
              </a:spcBef>
              <a:spcAft>
                <a:spcPts val="0"/>
              </a:spcAft>
              <a:buClrTx/>
              <a:buSzTx/>
              <a:buFontTx/>
              <a:buNone/>
              <a:tabLst/>
              <a:defRPr/>
            </a:pPr>
            <a:r>
              <a:rPr kumimoji="0" lang="en-GB" sz="1866" b="1" i="0" u="none" strike="noStrike" kern="1200" cap="none" spc="0" normalizeH="0" baseline="0" noProof="0" dirty="0">
                <a:ln>
                  <a:noFill/>
                </a:ln>
                <a:solidFill>
                  <a:srgbClr val="544F4F">
                    <a:lumMod val="50000"/>
                  </a:srgbClr>
                </a:solidFill>
                <a:effectLst/>
                <a:uLnTx/>
                <a:uFillTx/>
                <a:latin typeface="Arial" panose="020B0604020202020204"/>
                <a:ea typeface="+mn-ea"/>
                <a:cs typeface="+mn-cs"/>
              </a:rPr>
              <a:t>Subsequent therapies in the global ITT population</a:t>
            </a:r>
            <a:endParaRPr kumimoji="0" lang="en-US" sz="1866"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5" name="Text Placeholder 4">
            <a:extLst>
              <a:ext uri="{FF2B5EF4-FFF2-40B4-BE49-F238E27FC236}">
                <a16:creationId xmlns:a16="http://schemas.microsoft.com/office/drawing/2014/main" id="{B825558A-C834-E5B0-396B-FEED1D71A9BE}"/>
              </a:ext>
            </a:extLst>
          </p:cNvPr>
          <p:cNvSpPr txBox="1">
            <a:spLocks/>
          </p:cNvSpPr>
          <p:nvPr/>
        </p:nvSpPr>
        <p:spPr>
          <a:xfrm>
            <a:off x="9090258" y="6437467"/>
            <a:ext cx="2930318" cy="359889"/>
          </a:xfrm>
          <a:prstGeom prst="rect">
            <a:avLst/>
          </a:prstGeom>
        </p:spPr>
        <p:txBody>
          <a:bodyPr vert="horz" lIns="91440" tIns="45720" rIns="91440" bIns="45720" rtlCol="0" anchor="ctr"/>
          <a:lstStyle>
            <a:defPPr>
              <a:defRPr lang="en-PK"/>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a:ea typeface="+mn-ea"/>
                <a:cs typeface="+mn-cs"/>
              </a:rPr>
              <a:t>Morschhauser F. et al. JCO 2025.</a:t>
            </a:r>
          </a:p>
        </p:txBody>
      </p:sp>
    </p:spTree>
    <p:extLst>
      <p:ext uri="{BB962C8B-B14F-4D97-AF65-F5344CB8AC3E}">
        <p14:creationId xmlns:p14="http://schemas.microsoft.com/office/powerpoint/2010/main" val="30069262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A34285-6835-C8E2-99AD-E22DF7A1933B}"/>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75CCB147-C4E2-741E-FA7F-D75C87E98743}"/>
              </a:ext>
            </a:extLst>
          </p:cNvPr>
          <p:cNvPicPr>
            <a:picLocks noChangeAspect="1"/>
          </p:cNvPicPr>
          <p:nvPr/>
        </p:nvPicPr>
        <p:blipFill>
          <a:blip r:embed="rId2"/>
          <a:srcRect/>
          <a:stretch/>
        </p:blipFill>
        <p:spPr>
          <a:xfrm>
            <a:off x="0" y="0"/>
            <a:ext cx="12192000" cy="6858000"/>
          </a:xfrm>
          <a:prstGeom prst="rect">
            <a:avLst/>
          </a:prstGeom>
        </p:spPr>
      </p:pic>
    </p:spTree>
    <p:extLst>
      <p:ext uri="{BB962C8B-B14F-4D97-AF65-F5344CB8AC3E}">
        <p14:creationId xmlns:p14="http://schemas.microsoft.com/office/powerpoint/2010/main" val="21272089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65A0BA-0F7A-47D6-9086-4DAE95BF2FA2}"/>
              </a:ext>
            </a:extLst>
          </p:cNvPr>
          <p:cNvSpPr>
            <a:spLocks noGrp="1"/>
          </p:cNvSpPr>
          <p:nvPr>
            <p:ph type="title"/>
          </p:nvPr>
        </p:nvSpPr>
        <p:spPr>
          <a:xfrm>
            <a:off x="468987" y="172125"/>
            <a:ext cx="11146783" cy="907252"/>
          </a:xfrm>
        </p:spPr>
        <p:txBody>
          <a:bodyPr>
            <a:normAutofit/>
          </a:bodyPr>
          <a:lstStyle/>
          <a:p>
            <a:r>
              <a:rPr lang="en-GB" sz="3200" b="1" dirty="0">
                <a:solidFill>
                  <a:srgbClr val="002060"/>
                </a:solidFill>
                <a:latin typeface="+mn-lt"/>
              </a:rPr>
              <a:t>POLARIX: Common Adverse Events</a:t>
            </a:r>
            <a:endParaRPr lang="en-GB" sz="3200" b="1" strike="sngStrike" dirty="0">
              <a:solidFill>
                <a:srgbClr val="002060"/>
              </a:solidFill>
              <a:latin typeface="+mn-lt"/>
            </a:endParaRPr>
          </a:p>
        </p:txBody>
      </p:sp>
      <p:sp>
        <p:nvSpPr>
          <p:cNvPr id="4" name="Text Placeholder 3">
            <a:extLst>
              <a:ext uri="{FF2B5EF4-FFF2-40B4-BE49-F238E27FC236}">
                <a16:creationId xmlns:a16="http://schemas.microsoft.com/office/drawing/2014/main" id="{974E6CC9-81BE-4AF8-9B47-AEE63217261C}"/>
              </a:ext>
            </a:extLst>
          </p:cNvPr>
          <p:cNvSpPr>
            <a:spLocks noGrp="1"/>
          </p:cNvSpPr>
          <p:nvPr>
            <p:ph type="body" sz="quarter" idx="11"/>
          </p:nvPr>
        </p:nvSpPr>
        <p:spPr>
          <a:xfrm>
            <a:off x="527050" y="6259600"/>
            <a:ext cx="8472945" cy="509802"/>
          </a:xfrm>
        </p:spPr>
        <p:txBody>
          <a:bodyPr>
            <a:noAutofit/>
          </a:bodyPr>
          <a:lstStyle/>
          <a:p>
            <a:pPr defTabSz="1097280">
              <a:buClr>
                <a:srgbClr val="1070B5">
                  <a:lumMod val="40000"/>
                  <a:lumOff val="60000"/>
                </a:srgbClr>
              </a:buClr>
              <a:defRPr/>
            </a:pPr>
            <a:r>
              <a:rPr lang="en-GB" sz="1100" dirty="0">
                <a:solidFill>
                  <a:srgbClr val="000000"/>
                </a:solidFill>
                <a:latin typeface="Arial" panose="020B0604020202020204"/>
              </a:rPr>
              <a:t>Data cut-off: June 28, 2021. Adverse events are Medical Dictionary for Regulatory Activities version 24.0 preferred terms; shown are all-grade adverse events occurring in ≥12% of patients in any treatment arm. *Peripheral neuropathy is defined by standard organ class group of preferred terms.</a:t>
            </a:r>
          </a:p>
        </p:txBody>
      </p:sp>
      <p:grpSp>
        <p:nvGrpSpPr>
          <p:cNvPr id="188" name="Group 187">
            <a:extLst>
              <a:ext uri="{FF2B5EF4-FFF2-40B4-BE49-F238E27FC236}">
                <a16:creationId xmlns:a16="http://schemas.microsoft.com/office/drawing/2014/main" id="{F91D9631-4940-4CF4-8341-A44C05DD7258}"/>
              </a:ext>
            </a:extLst>
          </p:cNvPr>
          <p:cNvGrpSpPr/>
          <p:nvPr/>
        </p:nvGrpSpPr>
        <p:grpSpPr>
          <a:xfrm>
            <a:off x="1900319" y="1140335"/>
            <a:ext cx="8391363" cy="4648150"/>
            <a:chOff x="993660" y="1218769"/>
            <a:chExt cx="6992802" cy="3918235"/>
          </a:xfrm>
        </p:grpSpPr>
        <p:sp>
          <p:nvSpPr>
            <p:cNvPr id="189" name="TextBox 188">
              <a:extLst>
                <a:ext uri="{FF2B5EF4-FFF2-40B4-BE49-F238E27FC236}">
                  <a16:creationId xmlns:a16="http://schemas.microsoft.com/office/drawing/2014/main" id="{5555EC19-D167-4DD8-904C-BD514DCFD119}"/>
                </a:ext>
              </a:extLst>
            </p:cNvPr>
            <p:cNvSpPr txBox="1"/>
            <p:nvPr/>
          </p:nvSpPr>
          <p:spPr>
            <a:xfrm>
              <a:off x="3275040" y="1218769"/>
              <a:ext cx="861614" cy="186801"/>
            </a:xfrm>
            <a:prstGeom prst="rect">
              <a:avLst/>
            </a:prstGeom>
            <a:noFill/>
          </p:spPr>
          <p:txBody>
            <a:bodyPr wrap="none" lIns="0" tIns="0" rIns="0" bIns="0" rtlCol="0" anchor="ctr">
              <a:spAutoFit/>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440" b="1" i="0" u="none" strike="noStrike" kern="1200" cap="none" spc="0" normalizeH="0" baseline="0" noProof="0" dirty="0">
                  <a:ln>
                    <a:noFill/>
                  </a:ln>
                  <a:solidFill>
                    <a:srgbClr val="123361">
                      <a:lumMod val="50000"/>
                    </a:srgbClr>
                  </a:solidFill>
                  <a:effectLst/>
                  <a:uLnTx/>
                  <a:uFillTx/>
                  <a:latin typeface="Arial" panose="020B0604020202020204"/>
                  <a:ea typeface="+mn-ea"/>
                  <a:cs typeface="Arial" charset="0"/>
                </a:rPr>
                <a:t>Pola-R-CHP</a:t>
              </a:r>
            </a:p>
          </p:txBody>
        </p:sp>
        <p:sp>
          <p:nvSpPr>
            <p:cNvPr id="190" name="TextBox 189">
              <a:extLst>
                <a:ext uri="{FF2B5EF4-FFF2-40B4-BE49-F238E27FC236}">
                  <a16:creationId xmlns:a16="http://schemas.microsoft.com/office/drawing/2014/main" id="{566A2875-79B0-435C-9392-FF76597D7FA7}"/>
                </a:ext>
              </a:extLst>
            </p:cNvPr>
            <p:cNvSpPr txBox="1"/>
            <p:nvPr/>
          </p:nvSpPr>
          <p:spPr>
            <a:xfrm>
              <a:off x="6231924" y="1218769"/>
              <a:ext cx="606469" cy="186801"/>
            </a:xfrm>
            <a:prstGeom prst="rect">
              <a:avLst/>
            </a:prstGeom>
            <a:noFill/>
          </p:spPr>
          <p:txBody>
            <a:bodyPr wrap="none" lIns="0" tIns="0" rIns="0" bIns="0" rtlCol="0" anchor="ctr">
              <a:spAutoFit/>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440" b="1" i="0" u="none" strike="noStrike" kern="1200" cap="none" spc="0" normalizeH="0" baseline="0" noProof="0" dirty="0">
                  <a:ln>
                    <a:noFill/>
                  </a:ln>
                  <a:solidFill>
                    <a:srgbClr val="123361">
                      <a:lumMod val="50000"/>
                    </a:srgbClr>
                  </a:solidFill>
                  <a:effectLst/>
                  <a:uLnTx/>
                  <a:uFillTx/>
                  <a:latin typeface="Arial" panose="020B0604020202020204"/>
                  <a:ea typeface="+mn-ea"/>
                  <a:cs typeface="Arial" charset="0"/>
                </a:rPr>
                <a:t>R-CHOP</a:t>
              </a:r>
            </a:p>
          </p:txBody>
        </p:sp>
        <p:grpSp>
          <p:nvGrpSpPr>
            <p:cNvPr id="191" name="Group 190">
              <a:extLst>
                <a:ext uri="{FF2B5EF4-FFF2-40B4-BE49-F238E27FC236}">
                  <a16:creationId xmlns:a16="http://schemas.microsoft.com/office/drawing/2014/main" id="{B90AEA2C-AEBC-4BE7-B5DD-511C43DDCBDE}"/>
                </a:ext>
              </a:extLst>
            </p:cNvPr>
            <p:cNvGrpSpPr/>
            <p:nvPr/>
          </p:nvGrpSpPr>
          <p:grpSpPr>
            <a:xfrm>
              <a:off x="993660" y="1532592"/>
              <a:ext cx="1180879" cy="3323926"/>
              <a:chOff x="964806" y="1532592"/>
              <a:chExt cx="1180879" cy="3323926"/>
            </a:xfrm>
          </p:grpSpPr>
          <p:sp>
            <p:nvSpPr>
              <p:cNvPr id="286" name="TextBox 285">
                <a:extLst>
                  <a:ext uri="{FF2B5EF4-FFF2-40B4-BE49-F238E27FC236}">
                    <a16:creationId xmlns:a16="http://schemas.microsoft.com/office/drawing/2014/main" id="{499626C5-118A-469C-86E5-CBFADAE840A4}"/>
                  </a:ext>
                </a:extLst>
              </p:cNvPr>
              <p:cNvSpPr txBox="1"/>
              <p:nvPr/>
            </p:nvSpPr>
            <p:spPr>
              <a:xfrm>
                <a:off x="1584792" y="4716418"/>
                <a:ext cx="537006" cy="140100"/>
              </a:xfrm>
              <a:prstGeom prst="rect">
                <a:avLst/>
              </a:prstGeom>
              <a:noFill/>
            </p:spPr>
            <p:txBody>
              <a:bodyPr wrap="none" lIns="0" tIns="0" rIns="0" bIns="0" rtlCol="0" anchor="ctr">
                <a:spAutoFit/>
              </a:bodyPr>
              <a:lstStyle/>
              <a:p>
                <a:pPr marL="0" marR="0" lvl="0" indent="0" algn="r" defTabSz="1097280" rtl="0" eaLnBrk="1" fontAlgn="base" latinLnBrk="0" hangingPunct="1">
                  <a:lnSpc>
                    <a:spcPct val="100000"/>
                  </a:lnSpc>
                  <a:spcBef>
                    <a:spcPct val="0"/>
                  </a:spcBef>
                  <a:spcAft>
                    <a:spcPct val="0"/>
                  </a:spcAft>
                  <a:buClrTx/>
                  <a:buSzTx/>
                  <a:buFontTx/>
                  <a:buNone/>
                  <a:tabLst/>
                  <a:defRPr/>
                </a:pPr>
                <a:r>
                  <a:rPr kumimoji="0" lang="en-GB" sz="1080" b="0" i="0" u="none" strike="noStrike" kern="1200" cap="none" spc="0" normalizeH="0" baseline="0" noProof="0" dirty="0">
                    <a:ln>
                      <a:noFill/>
                    </a:ln>
                    <a:solidFill>
                      <a:srgbClr val="123361">
                        <a:lumMod val="50000"/>
                      </a:srgbClr>
                    </a:solidFill>
                    <a:effectLst/>
                    <a:uLnTx/>
                    <a:uFillTx/>
                    <a:latin typeface="Arial" panose="020B0604020202020204"/>
                    <a:ea typeface="+mn-ea"/>
                    <a:cs typeface="Arial" charset="0"/>
                  </a:rPr>
                  <a:t>Dysgeusia</a:t>
                </a:r>
              </a:p>
            </p:txBody>
          </p:sp>
          <p:sp>
            <p:nvSpPr>
              <p:cNvPr id="287" name="TextBox 286">
                <a:extLst>
                  <a:ext uri="{FF2B5EF4-FFF2-40B4-BE49-F238E27FC236}">
                    <a16:creationId xmlns:a16="http://schemas.microsoft.com/office/drawing/2014/main" id="{CAE8CE02-68EC-4CA6-8AF1-2D963EFDD9CC}"/>
                  </a:ext>
                </a:extLst>
              </p:cNvPr>
              <p:cNvSpPr txBox="1"/>
              <p:nvPr/>
            </p:nvSpPr>
            <p:spPr>
              <a:xfrm>
                <a:off x="1672957" y="4525715"/>
                <a:ext cx="448841" cy="140100"/>
              </a:xfrm>
              <a:prstGeom prst="rect">
                <a:avLst/>
              </a:prstGeom>
              <a:noFill/>
            </p:spPr>
            <p:txBody>
              <a:bodyPr wrap="none" lIns="0" tIns="0" rIns="0" bIns="0" rtlCol="0" anchor="ctr">
                <a:spAutoFit/>
              </a:bodyPr>
              <a:lstStyle/>
              <a:p>
                <a:pPr marL="0" marR="0" lvl="0" indent="0" algn="r" defTabSz="1097280" rtl="0" eaLnBrk="1" fontAlgn="base" latinLnBrk="0" hangingPunct="1">
                  <a:lnSpc>
                    <a:spcPct val="100000"/>
                  </a:lnSpc>
                  <a:spcBef>
                    <a:spcPct val="0"/>
                  </a:spcBef>
                  <a:spcAft>
                    <a:spcPct val="0"/>
                  </a:spcAft>
                  <a:buClrTx/>
                  <a:buSzTx/>
                  <a:buFontTx/>
                  <a:buNone/>
                  <a:tabLst/>
                  <a:defRPr/>
                </a:pPr>
                <a:r>
                  <a:rPr kumimoji="0" lang="en-GB" sz="1080" b="0" i="0" u="none" strike="noStrike" kern="1200" cap="none" spc="0" normalizeH="0" baseline="0" noProof="0" dirty="0">
                    <a:ln>
                      <a:noFill/>
                    </a:ln>
                    <a:solidFill>
                      <a:srgbClr val="123361">
                        <a:lumMod val="50000"/>
                      </a:srgbClr>
                    </a:solidFill>
                    <a:effectLst/>
                    <a:uLnTx/>
                    <a:uFillTx/>
                    <a:latin typeface="Arial" panose="020B0604020202020204"/>
                    <a:ea typeface="+mn-ea"/>
                    <a:cs typeface="Arial" charset="0"/>
                  </a:rPr>
                  <a:t>Asthenia</a:t>
                </a:r>
              </a:p>
            </p:txBody>
          </p:sp>
          <p:sp>
            <p:nvSpPr>
              <p:cNvPr id="288" name="TextBox 287">
                <a:extLst>
                  <a:ext uri="{FF2B5EF4-FFF2-40B4-BE49-F238E27FC236}">
                    <a16:creationId xmlns:a16="http://schemas.microsoft.com/office/drawing/2014/main" id="{A6710167-65A8-4C39-A498-20C9806BEF59}"/>
                  </a:ext>
                </a:extLst>
              </p:cNvPr>
              <p:cNvSpPr txBox="1"/>
              <p:nvPr/>
            </p:nvSpPr>
            <p:spPr>
              <a:xfrm>
                <a:off x="1493954" y="2109122"/>
                <a:ext cx="627843" cy="140100"/>
              </a:xfrm>
              <a:prstGeom prst="rect">
                <a:avLst/>
              </a:prstGeom>
              <a:noFill/>
            </p:spPr>
            <p:txBody>
              <a:bodyPr wrap="none" lIns="0" tIns="0" rIns="0" bIns="0" rtlCol="0" anchor="ctr">
                <a:spAutoFit/>
              </a:bodyPr>
              <a:lstStyle/>
              <a:p>
                <a:pPr marL="0" marR="0" lvl="0" indent="0" algn="r" defTabSz="1097280" rtl="0" eaLnBrk="1" fontAlgn="base" latinLnBrk="0" hangingPunct="1">
                  <a:lnSpc>
                    <a:spcPct val="100000"/>
                  </a:lnSpc>
                  <a:spcBef>
                    <a:spcPct val="0"/>
                  </a:spcBef>
                  <a:spcAft>
                    <a:spcPct val="0"/>
                  </a:spcAft>
                  <a:buClrTx/>
                  <a:buSzTx/>
                  <a:buFontTx/>
                  <a:buNone/>
                  <a:tabLst/>
                  <a:defRPr/>
                </a:pPr>
                <a:r>
                  <a:rPr kumimoji="0" lang="en-GB" sz="1080" b="0" i="0" u="none" strike="noStrike" kern="1200" cap="none" spc="0" normalizeH="0" baseline="0" noProof="0" dirty="0">
                    <a:ln>
                      <a:noFill/>
                    </a:ln>
                    <a:solidFill>
                      <a:srgbClr val="123361">
                        <a:lumMod val="50000"/>
                      </a:srgbClr>
                    </a:solidFill>
                    <a:effectLst/>
                    <a:uLnTx/>
                    <a:uFillTx/>
                    <a:latin typeface="Arial" panose="020B0604020202020204"/>
                    <a:ea typeface="+mn-ea"/>
                    <a:cs typeface="Arial" charset="0"/>
                  </a:rPr>
                  <a:t>Neutropenia</a:t>
                </a:r>
              </a:p>
            </p:txBody>
          </p:sp>
          <p:sp>
            <p:nvSpPr>
              <p:cNvPr id="289" name="TextBox 288">
                <a:extLst>
                  <a:ext uri="{FF2B5EF4-FFF2-40B4-BE49-F238E27FC236}">
                    <a16:creationId xmlns:a16="http://schemas.microsoft.com/office/drawing/2014/main" id="{26866346-96E6-490B-83F0-75002C943A41}"/>
                  </a:ext>
                </a:extLst>
              </p:cNvPr>
              <p:cNvSpPr txBox="1"/>
              <p:nvPr/>
            </p:nvSpPr>
            <p:spPr>
              <a:xfrm>
                <a:off x="1679636" y="1923220"/>
                <a:ext cx="442162" cy="140100"/>
              </a:xfrm>
              <a:prstGeom prst="rect">
                <a:avLst/>
              </a:prstGeom>
              <a:noFill/>
            </p:spPr>
            <p:txBody>
              <a:bodyPr wrap="none" lIns="0" tIns="0" rIns="0" bIns="0" rtlCol="0" anchor="ctr">
                <a:spAutoFit/>
              </a:bodyPr>
              <a:lstStyle/>
              <a:p>
                <a:pPr marL="0" marR="0" lvl="0" indent="0" algn="r" defTabSz="1097280" rtl="0" eaLnBrk="1" fontAlgn="base" latinLnBrk="0" hangingPunct="1">
                  <a:lnSpc>
                    <a:spcPct val="100000"/>
                  </a:lnSpc>
                  <a:spcBef>
                    <a:spcPct val="0"/>
                  </a:spcBef>
                  <a:spcAft>
                    <a:spcPct val="0"/>
                  </a:spcAft>
                  <a:buClrTx/>
                  <a:buSzTx/>
                  <a:buFontTx/>
                  <a:buNone/>
                  <a:tabLst/>
                  <a:defRPr/>
                </a:pPr>
                <a:r>
                  <a:rPr kumimoji="0" lang="en-GB" sz="1080" b="0" i="0" u="none" strike="noStrike" kern="1200" cap="none" spc="0" normalizeH="0" baseline="0" noProof="0" dirty="0" err="1">
                    <a:ln>
                      <a:noFill/>
                    </a:ln>
                    <a:solidFill>
                      <a:srgbClr val="123361">
                        <a:lumMod val="50000"/>
                      </a:srgbClr>
                    </a:solidFill>
                    <a:effectLst/>
                    <a:uLnTx/>
                    <a:uFillTx/>
                    <a:latin typeface="Arial" panose="020B0604020202020204"/>
                    <a:ea typeface="+mn-ea"/>
                    <a:cs typeface="Arial" charset="0"/>
                  </a:rPr>
                  <a:t>Diarrhea</a:t>
                </a:r>
                <a:endParaRPr kumimoji="0" lang="en-GB" sz="1080" b="0" i="0" u="none" strike="noStrike" kern="1200" cap="none" spc="0" normalizeH="0" baseline="0" noProof="0" dirty="0">
                  <a:ln>
                    <a:noFill/>
                  </a:ln>
                  <a:solidFill>
                    <a:srgbClr val="123361">
                      <a:lumMod val="50000"/>
                    </a:srgbClr>
                  </a:solidFill>
                  <a:effectLst/>
                  <a:uLnTx/>
                  <a:uFillTx/>
                  <a:latin typeface="Arial" panose="020B0604020202020204"/>
                  <a:ea typeface="+mn-ea"/>
                  <a:cs typeface="Arial" charset="0"/>
                </a:endParaRPr>
              </a:p>
            </p:txBody>
          </p:sp>
          <p:sp>
            <p:nvSpPr>
              <p:cNvPr id="290" name="TextBox 289">
                <a:extLst>
                  <a:ext uri="{FF2B5EF4-FFF2-40B4-BE49-F238E27FC236}">
                    <a16:creationId xmlns:a16="http://schemas.microsoft.com/office/drawing/2014/main" id="{15F1A831-EBAA-4D7B-BB7E-A7E3A1C9619D}"/>
                  </a:ext>
                </a:extLst>
              </p:cNvPr>
              <p:cNvSpPr txBox="1"/>
              <p:nvPr/>
            </p:nvSpPr>
            <p:spPr>
              <a:xfrm>
                <a:off x="1725053" y="1730149"/>
                <a:ext cx="396743" cy="140100"/>
              </a:xfrm>
              <a:prstGeom prst="rect">
                <a:avLst/>
              </a:prstGeom>
              <a:noFill/>
            </p:spPr>
            <p:txBody>
              <a:bodyPr wrap="none" lIns="0" tIns="0" rIns="0" bIns="0" rtlCol="0" anchor="ctr">
                <a:spAutoFit/>
              </a:bodyPr>
              <a:lstStyle/>
              <a:p>
                <a:pPr marL="0" marR="0" lvl="0" indent="0" algn="r" defTabSz="1097280" rtl="0" eaLnBrk="1" fontAlgn="base" latinLnBrk="0" hangingPunct="1">
                  <a:lnSpc>
                    <a:spcPct val="100000"/>
                  </a:lnSpc>
                  <a:spcBef>
                    <a:spcPct val="0"/>
                  </a:spcBef>
                  <a:spcAft>
                    <a:spcPct val="0"/>
                  </a:spcAft>
                  <a:buClrTx/>
                  <a:buSzTx/>
                  <a:buFontTx/>
                  <a:buNone/>
                  <a:tabLst/>
                  <a:defRPr/>
                </a:pPr>
                <a:r>
                  <a:rPr kumimoji="0" lang="en-GB" sz="1080" b="0" i="0" u="none" strike="noStrike" kern="1200" cap="none" spc="0" normalizeH="0" baseline="0" noProof="0" dirty="0">
                    <a:ln>
                      <a:noFill/>
                    </a:ln>
                    <a:solidFill>
                      <a:srgbClr val="123361">
                        <a:lumMod val="50000"/>
                      </a:srgbClr>
                    </a:solidFill>
                    <a:effectLst/>
                    <a:uLnTx/>
                    <a:uFillTx/>
                    <a:latin typeface="Arial" panose="020B0604020202020204"/>
                    <a:ea typeface="+mn-ea"/>
                    <a:cs typeface="Arial" charset="0"/>
                  </a:rPr>
                  <a:t>Nausea</a:t>
                </a:r>
              </a:p>
            </p:txBody>
          </p:sp>
          <p:sp>
            <p:nvSpPr>
              <p:cNvPr id="291" name="TextBox 290">
                <a:extLst>
                  <a:ext uri="{FF2B5EF4-FFF2-40B4-BE49-F238E27FC236}">
                    <a16:creationId xmlns:a16="http://schemas.microsoft.com/office/drawing/2014/main" id="{E7D80DE4-57BA-4C2D-87D3-8B1C7C4A297E}"/>
                  </a:ext>
                </a:extLst>
              </p:cNvPr>
              <p:cNvSpPr txBox="1"/>
              <p:nvPr/>
            </p:nvSpPr>
            <p:spPr>
              <a:xfrm>
                <a:off x="1730397" y="2326829"/>
                <a:ext cx="391400" cy="140100"/>
              </a:xfrm>
              <a:prstGeom prst="rect">
                <a:avLst/>
              </a:prstGeom>
              <a:noFill/>
            </p:spPr>
            <p:txBody>
              <a:bodyPr wrap="none" lIns="0" tIns="0" rIns="0" bIns="0" rtlCol="0" anchor="ctr">
                <a:spAutoFit/>
              </a:bodyPr>
              <a:lstStyle/>
              <a:p>
                <a:pPr marL="0" marR="0" lvl="0" indent="0" algn="r" defTabSz="1097280" rtl="0" eaLnBrk="1" fontAlgn="base" latinLnBrk="0" hangingPunct="1">
                  <a:lnSpc>
                    <a:spcPct val="100000"/>
                  </a:lnSpc>
                  <a:spcBef>
                    <a:spcPct val="0"/>
                  </a:spcBef>
                  <a:spcAft>
                    <a:spcPct val="0"/>
                  </a:spcAft>
                  <a:buClrTx/>
                  <a:buSzTx/>
                  <a:buFontTx/>
                  <a:buNone/>
                  <a:tabLst/>
                  <a:defRPr/>
                </a:pPr>
                <a:r>
                  <a:rPr kumimoji="0" lang="en-GB" sz="1080" b="0" i="0" u="none" strike="noStrike" kern="1200" cap="none" spc="0" normalizeH="0" baseline="0" noProof="0" dirty="0" err="1">
                    <a:ln>
                      <a:noFill/>
                    </a:ln>
                    <a:solidFill>
                      <a:srgbClr val="123361">
                        <a:lumMod val="50000"/>
                      </a:srgbClr>
                    </a:solidFill>
                    <a:effectLst/>
                    <a:uLnTx/>
                    <a:uFillTx/>
                    <a:latin typeface="Arial" panose="020B0604020202020204"/>
                    <a:ea typeface="+mn-ea"/>
                    <a:cs typeface="Arial" charset="0"/>
                  </a:rPr>
                  <a:t>Anemia</a:t>
                </a:r>
                <a:endParaRPr kumimoji="0" lang="en-GB" sz="1080" b="0" i="0" u="none" strike="noStrike" kern="1200" cap="none" spc="0" normalizeH="0" baseline="0" noProof="0" dirty="0">
                  <a:ln>
                    <a:noFill/>
                  </a:ln>
                  <a:solidFill>
                    <a:srgbClr val="123361">
                      <a:lumMod val="50000"/>
                    </a:srgbClr>
                  </a:solidFill>
                  <a:effectLst/>
                  <a:uLnTx/>
                  <a:uFillTx/>
                  <a:latin typeface="Arial" panose="020B0604020202020204"/>
                  <a:ea typeface="+mn-ea"/>
                  <a:cs typeface="Arial" charset="0"/>
                </a:endParaRPr>
              </a:p>
            </p:txBody>
          </p:sp>
          <p:sp>
            <p:nvSpPr>
              <p:cNvPr id="292" name="TextBox 291">
                <a:extLst>
                  <a:ext uri="{FF2B5EF4-FFF2-40B4-BE49-F238E27FC236}">
                    <a16:creationId xmlns:a16="http://schemas.microsoft.com/office/drawing/2014/main" id="{AF8D3DCC-E2EC-4FC7-9277-D4A0282FB7E7}"/>
                  </a:ext>
                </a:extLst>
              </p:cNvPr>
              <p:cNvSpPr txBox="1"/>
              <p:nvPr/>
            </p:nvSpPr>
            <p:spPr>
              <a:xfrm>
                <a:off x="1737076" y="3337300"/>
                <a:ext cx="384721" cy="140100"/>
              </a:xfrm>
              <a:prstGeom prst="rect">
                <a:avLst/>
              </a:prstGeom>
              <a:noFill/>
            </p:spPr>
            <p:txBody>
              <a:bodyPr wrap="none" lIns="0" tIns="0" rIns="0" bIns="0" rtlCol="0" anchor="ctr">
                <a:spAutoFit/>
              </a:bodyPr>
              <a:lstStyle/>
              <a:p>
                <a:pPr marL="0" marR="0" lvl="0" indent="0" algn="r" defTabSz="1097280" rtl="0" eaLnBrk="1" fontAlgn="base" latinLnBrk="0" hangingPunct="1">
                  <a:lnSpc>
                    <a:spcPct val="100000"/>
                  </a:lnSpc>
                  <a:spcBef>
                    <a:spcPct val="0"/>
                  </a:spcBef>
                  <a:spcAft>
                    <a:spcPct val="0"/>
                  </a:spcAft>
                  <a:buClrTx/>
                  <a:buSzTx/>
                  <a:buFontTx/>
                  <a:buNone/>
                  <a:tabLst/>
                  <a:defRPr/>
                </a:pPr>
                <a:r>
                  <a:rPr kumimoji="0" lang="en-GB" sz="1080" b="0" i="0" u="none" strike="noStrike" kern="1200" cap="none" spc="0" normalizeH="0" baseline="0" noProof="0" dirty="0">
                    <a:ln>
                      <a:noFill/>
                    </a:ln>
                    <a:solidFill>
                      <a:srgbClr val="123361">
                        <a:lumMod val="50000"/>
                      </a:srgbClr>
                    </a:solidFill>
                    <a:effectLst/>
                    <a:uLnTx/>
                    <a:uFillTx/>
                    <a:latin typeface="Arial" panose="020B0604020202020204"/>
                    <a:ea typeface="+mn-ea"/>
                    <a:cs typeface="Arial" charset="0"/>
                  </a:rPr>
                  <a:t>Pyrexia</a:t>
                </a:r>
              </a:p>
            </p:txBody>
          </p:sp>
          <p:sp>
            <p:nvSpPr>
              <p:cNvPr id="293" name="TextBox 292">
                <a:extLst>
                  <a:ext uri="{FF2B5EF4-FFF2-40B4-BE49-F238E27FC236}">
                    <a16:creationId xmlns:a16="http://schemas.microsoft.com/office/drawing/2014/main" id="{97926257-54B8-4A6F-8518-75FCF27AE99C}"/>
                  </a:ext>
                </a:extLst>
              </p:cNvPr>
              <p:cNvSpPr txBox="1"/>
              <p:nvPr/>
            </p:nvSpPr>
            <p:spPr>
              <a:xfrm>
                <a:off x="1782495" y="3931508"/>
                <a:ext cx="339303" cy="140100"/>
              </a:xfrm>
              <a:prstGeom prst="rect">
                <a:avLst/>
              </a:prstGeom>
              <a:noFill/>
            </p:spPr>
            <p:txBody>
              <a:bodyPr wrap="none" lIns="0" tIns="0" rIns="0" bIns="0" rtlCol="0" anchor="ctr">
                <a:spAutoFit/>
              </a:bodyPr>
              <a:lstStyle/>
              <a:p>
                <a:pPr marL="0" marR="0" lvl="0" indent="0" algn="r" defTabSz="1097280" rtl="0" eaLnBrk="1" fontAlgn="base" latinLnBrk="0" hangingPunct="1">
                  <a:lnSpc>
                    <a:spcPct val="100000"/>
                  </a:lnSpc>
                  <a:spcBef>
                    <a:spcPct val="0"/>
                  </a:spcBef>
                  <a:spcAft>
                    <a:spcPct val="0"/>
                  </a:spcAft>
                  <a:buClrTx/>
                  <a:buSzTx/>
                  <a:buFontTx/>
                  <a:buNone/>
                  <a:tabLst/>
                  <a:defRPr/>
                </a:pPr>
                <a:r>
                  <a:rPr kumimoji="0" lang="en-GB" sz="1080" b="0" i="0" u="none" strike="noStrike" kern="1200" cap="none" spc="0" normalizeH="0" baseline="0" noProof="0" dirty="0">
                    <a:ln>
                      <a:noFill/>
                    </a:ln>
                    <a:solidFill>
                      <a:srgbClr val="123361">
                        <a:lumMod val="50000"/>
                      </a:srgbClr>
                    </a:solidFill>
                    <a:effectLst/>
                    <a:uLnTx/>
                    <a:uFillTx/>
                    <a:latin typeface="Arial" panose="020B0604020202020204"/>
                    <a:ea typeface="+mn-ea"/>
                    <a:cs typeface="Arial" charset="0"/>
                  </a:rPr>
                  <a:t>Cough</a:t>
                </a:r>
              </a:p>
            </p:txBody>
          </p:sp>
          <p:sp>
            <p:nvSpPr>
              <p:cNvPr id="294" name="TextBox 293">
                <a:extLst>
                  <a:ext uri="{FF2B5EF4-FFF2-40B4-BE49-F238E27FC236}">
                    <a16:creationId xmlns:a16="http://schemas.microsoft.com/office/drawing/2014/main" id="{A8BE7988-3DE9-42A0-8C71-B106612D3161}"/>
                  </a:ext>
                </a:extLst>
              </p:cNvPr>
              <p:cNvSpPr txBox="1"/>
              <p:nvPr/>
            </p:nvSpPr>
            <p:spPr>
              <a:xfrm>
                <a:off x="1672957" y="3535369"/>
                <a:ext cx="448841" cy="140100"/>
              </a:xfrm>
              <a:prstGeom prst="rect">
                <a:avLst/>
              </a:prstGeom>
              <a:noFill/>
            </p:spPr>
            <p:txBody>
              <a:bodyPr wrap="none" lIns="0" tIns="0" rIns="0" bIns="0" rtlCol="0" anchor="ctr">
                <a:spAutoFit/>
              </a:bodyPr>
              <a:lstStyle/>
              <a:p>
                <a:pPr marL="0" marR="0" lvl="0" indent="0" algn="r" defTabSz="1097280" rtl="0" eaLnBrk="1" fontAlgn="base" latinLnBrk="0" hangingPunct="1">
                  <a:lnSpc>
                    <a:spcPct val="100000"/>
                  </a:lnSpc>
                  <a:spcBef>
                    <a:spcPct val="0"/>
                  </a:spcBef>
                  <a:spcAft>
                    <a:spcPct val="0"/>
                  </a:spcAft>
                  <a:buClrTx/>
                  <a:buSzTx/>
                  <a:buFontTx/>
                  <a:buNone/>
                  <a:tabLst/>
                  <a:defRPr/>
                </a:pPr>
                <a:r>
                  <a:rPr kumimoji="0" lang="en-GB" sz="1080" b="0" i="0" u="none" strike="noStrike" kern="1200" cap="none" spc="0" normalizeH="0" baseline="0" noProof="0" dirty="0">
                    <a:ln>
                      <a:noFill/>
                    </a:ln>
                    <a:solidFill>
                      <a:srgbClr val="123361">
                        <a:lumMod val="50000"/>
                      </a:srgbClr>
                    </a:solidFill>
                    <a:effectLst/>
                    <a:uLnTx/>
                    <a:uFillTx/>
                    <a:latin typeface="Arial" panose="020B0604020202020204"/>
                    <a:ea typeface="+mn-ea"/>
                    <a:cs typeface="Arial" charset="0"/>
                  </a:rPr>
                  <a:t>Vomiting</a:t>
                </a:r>
              </a:p>
            </p:txBody>
          </p:sp>
          <p:sp>
            <p:nvSpPr>
              <p:cNvPr id="295" name="TextBox 294">
                <a:extLst>
                  <a:ext uri="{FF2B5EF4-FFF2-40B4-BE49-F238E27FC236}">
                    <a16:creationId xmlns:a16="http://schemas.microsoft.com/office/drawing/2014/main" id="{486BADC3-094E-4C9A-9702-706757CF56FB}"/>
                  </a:ext>
                </a:extLst>
              </p:cNvPr>
              <p:cNvSpPr txBox="1"/>
              <p:nvPr/>
            </p:nvSpPr>
            <p:spPr>
              <a:xfrm>
                <a:off x="1127936" y="3733439"/>
                <a:ext cx="993862" cy="140100"/>
              </a:xfrm>
              <a:prstGeom prst="rect">
                <a:avLst/>
              </a:prstGeom>
              <a:noFill/>
            </p:spPr>
            <p:txBody>
              <a:bodyPr wrap="none" lIns="0" tIns="0" rIns="0" bIns="0" rtlCol="0" anchor="ctr">
                <a:spAutoFit/>
              </a:bodyPr>
              <a:lstStyle/>
              <a:p>
                <a:pPr marL="0" marR="0" lvl="0" indent="0" algn="r" defTabSz="1097280" rtl="0" eaLnBrk="1" fontAlgn="base" latinLnBrk="0" hangingPunct="1">
                  <a:lnSpc>
                    <a:spcPct val="100000"/>
                  </a:lnSpc>
                  <a:spcBef>
                    <a:spcPct val="0"/>
                  </a:spcBef>
                  <a:spcAft>
                    <a:spcPct val="0"/>
                  </a:spcAft>
                  <a:buClrTx/>
                  <a:buSzTx/>
                  <a:buFontTx/>
                  <a:buNone/>
                  <a:tabLst/>
                  <a:defRPr/>
                </a:pPr>
                <a:r>
                  <a:rPr kumimoji="0" lang="en-GB" sz="1080" b="0" i="0" u="none" strike="noStrike" kern="1200" cap="none" spc="0" normalizeH="0" baseline="0" noProof="0" dirty="0">
                    <a:ln>
                      <a:noFill/>
                    </a:ln>
                    <a:solidFill>
                      <a:srgbClr val="123361">
                        <a:lumMod val="50000"/>
                      </a:srgbClr>
                    </a:solidFill>
                    <a:effectLst/>
                    <a:uLnTx/>
                    <a:uFillTx/>
                    <a:latin typeface="Arial" panose="020B0604020202020204"/>
                    <a:ea typeface="+mn-ea"/>
                    <a:cs typeface="Arial" charset="0"/>
                  </a:rPr>
                  <a:t>Febrile neutropenia</a:t>
                </a:r>
              </a:p>
            </p:txBody>
          </p:sp>
          <p:sp>
            <p:nvSpPr>
              <p:cNvPr id="296" name="TextBox 295">
                <a:extLst>
                  <a:ext uri="{FF2B5EF4-FFF2-40B4-BE49-F238E27FC236}">
                    <a16:creationId xmlns:a16="http://schemas.microsoft.com/office/drawing/2014/main" id="{BE00CECB-EBC5-4621-8350-D1A6FD0AF0B7}"/>
                  </a:ext>
                </a:extLst>
              </p:cNvPr>
              <p:cNvSpPr txBox="1"/>
              <p:nvPr/>
            </p:nvSpPr>
            <p:spPr>
              <a:xfrm>
                <a:off x="1596813" y="4129578"/>
                <a:ext cx="524983" cy="140100"/>
              </a:xfrm>
              <a:prstGeom prst="rect">
                <a:avLst/>
              </a:prstGeom>
              <a:noFill/>
            </p:spPr>
            <p:txBody>
              <a:bodyPr wrap="none" lIns="0" tIns="0" rIns="0" bIns="0" rtlCol="0" anchor="ctr">
                <a:spAutoFit/>
              </a:bodyPr>
              <a:lstStyle/>
              <a:p>
                <a:pPr marL="0" marR="0" lvl="0" indent="0" algn="r" defTabSz="1097280" rtl="0" eaLnBrk="1" fontAlgn="base" latinLnBrk="0" hangingPunct="1">
                  <a:lnSpc>
                    <a:spcPct val="100000"/>
                  </a:lnSpc>
                  <a:spcBef>
                    <a:spcPct val="0"/>
                  </a:spcBef>
                  <a:spcAft>
                    <a:spcPct val="0"/>
                  </a:spcAft>
                  <a:buClrTx/>
                  <a:buSzTx/>
                  <a:buFontTx/>
                  <a:buNone/>
                  <a:tabLst/>
                  <a:defRPr/>
                </a:pPr>
                <a:r>
                  <a:rPr kumimoji="0" lang="en-GB" sz="1080" b="0" i="0" u="none" strike="noStrike" kern="1200" cap="none" spc="0" normalizeH="0" baseline="0" noProof="0" dirty="0">
                    <a:ln>
                      <a:noFill/>
                    </a:ln>
                    <a:solidFill>
                      <a:srgbClr val="123361">
                        <a:lumMod val="50000"/>
                      </a:srgbClr>
                    </a:solidFill>
                    <a:effectLst/>
                    <a:uLnTx/>
                    <a:uFillTx/>
                    <a:latin typeface="Arial" panose="020B0604020202020204"/>
                    <a:ea typeface="+mn-ea"/>
                    <a:cs typeface="Arial" charset="0"/>
                  </a:rPr>
                  <a:t>Headache</a:t>
                </a:r>
              </a:p>
            </p:txBody>
          </p:sp>
          <p:sp>
            <p:nvSpPr>
              <p:cNvPr id="297" name="TextBox 296">
                <a:extLst>
                  <a:ext uri="{FF2B5EF4-FFF2-40B4-BE49-F238E27FC236}">
                    <a16:creationId xmlns:a16="http://schemas.microsoft.com/office/drawing/2014/main" id="{FDA8079B-5E8F-4FA2-B79F-39CB9653D7DC}"/>
                  </a:ext>
                </a:extLst>
              </p:cNvPr>
              <p:cNvSpPr txBox="1"/>
              <p:nvPr/>
            </p:nvSpPr>
            <p:spPr>
              <a:xfrm>
                <a:off x="1200070" y="4327648"/>
                <a:ext cx="921727" cy="140100"/>
              </a:xfrm>
              <a:prstGeom prst="rect">
                <a:avLst/>
              </a:prstGeom>
              <a:noFill/>
            </p:spPr>
            <p:txBody>
              <a:bodyPr wrap="none" lIns="0" tIns="0" rIns="0" bIns="0" rtlCol="0" anchor="ctr">
                <a:spAutoFit/>
              </a:bodyPr>
              <a:lstStyle/>
              <a:p>
                <a:pPr marL="0" marR="0" lvl="0" indent="0" algn="r" defTabSz="1097280" rtl="0" eaLnBrk="1" fontAlgn="base" latinLnBrk="0" hangingPunct="1">
                  <a:lnSpc>
                    <a:spcPct val="100000"/>
                  </a:lnSpc>
                  <a:spcBef>
                    <a:spcPct val="0"/>
                  </a:spcBef>
                  <a:spcAft>
                    <a:spcPct val="0"/>
                  </a:spcAft>
                  <a:buClrTx/>
                  <a:buSzTx/>
                  <a:buFontTx/>
                  <a:buNone/>
                  <a:tabLst/>
                  <a:defRPr/>
                </a:pPr>
                <a:r>
                  <a:rPr kumimoji="0" lang="en-GB" sz="1080" b="0" i="0" u="none" strike="noStrike" kern="1200" cap="none" spc="0" normalizeH="0" baseline="0" noProof="0" dirty="0">
                    <a:ln>
                      <a:noFill/>
                    </a:ln>
                    <a:solidFill>
                      <a:srgbClr val="123361">
                        <a:lumMod val="50000"/>
                      </a:srgbClr>
                    </a:solidFill>
                    <a:effectLst/>
                    <a:uLnTx/>
                    <a:uFillTx/>
                    <a:latin typeface="Arial" panose="020B0604020202020204"/>
                    <a:ea typeface="+mn-ea"/>
                    <a:cs typeface="Arial" charset="0"/>
                  </a:rPr>
                  <a:t>Decreased weight</a:t>
                </a:r>
              </a:p>
            </p:txBody>
          </p:sp>
          <p:sp>
            <p:nvSpPr>
              <p:cNvPr id="298" name="TextBox 297">
                <a:extLst>
                  <a:ext uri="{FF2B5EF4-FFF2-40B4-BE49-F238E27FC236}">
                    <a16:creationId xmlns:a16="http://schemas.microsoft.com/office/drawing/2014/main" id="{97D8DA1E-9168-451C-9AC8-6F3ED5A1BDD5}"/>
                  </a:ext>
                </a:extLst>
              </p:cNvPr>
              <p:cNvSpPr txBox="1"/>
              <p:nvPr/>
            </p:nvSpPr>
            <p:spPr>
              <a:xfrm>
                <a:off x="1481932" y="2541120"/>
                <a:ext cx="639865" cy="140100"/>
              </a:xfrm>
              <a:prstGeom prst="rect">
                <a:avLst/>
              </a:prstGeom>
              <a:noFill/>
            </p:spPr>
            <p:txBody>
              <a:bodyPr wrap="none" lIns="0" tIns="0" rIns="0" bIns="0" rtlCol="0" anchor="ctr">
                <a:spAutoFit/>
              </a:bodyPr>
              <a:lstStyle/>
              <a:p>
                <a:pPr marL="0" marR="0" lvl="0" indent="0" algn="r" defTabSz="1097280" rtl="0" eaLnBrk="1" fontAlgn="base" latinLnBrk="0" hangingPunct="1">
                  <a:lnSpc>
                    <a:spcPct val="100000"/>
                  </a:lnSpc>
                  <a:spcBef>
                    <a:spcPct val="0"/>
                  </a:spcBef>
                  <a:spcAft>
                    <a:spcPct val="0"/>
                  </a:spcAft>
                  <a:buClrTx/>
                  <a:buSzTx/>
                  <a:buFontTx/>
                  <a:buNone/>
                  <a:tabLst/>
                  <a:defRPr/>
                </a:pPr>
                <a:r>
                  <a:rPr kumimoji="0" lang="en-GB" sz="1080" b="0" i="0" u="none" strike="noStrike" kern="1200" cap="none" spc="0" normalizeH="0" baseline="0" noProof="0" dirty="0">
                    <a:ln>
                      <a:noFill/>
                    </a:ln>
                    <a:solidFill>
                      <a:srgbClr val="123361">
                        <a:lumMod val="50000"/>
                      </a:srgbClr>
                    </a:solidFill>
                    <a:effectLst/>
                    <a:uLnTx/>
                    <a:uFillTx/>
                    <a:latin typeface="Arial" panose="020B0604020202020204"/>
                    <a:ea typeface="+mn-ea"/>
                    <a:cs typeface="Arial" charset="0"/>
                  </a:rPr>
                  <a:t>Constipation</a:t>
                </a:r>
              </a:p>
            </p:txBody>
          </p:sp>
          <p:sp>
            <p:nvSpPr>
              <p:cNvPr id="299" name="TextBox 298">
                <a:extLst>
                  <a:ext uri="{FF2B5EF4-FFF2-40B4-BE49-F238E27FC236}">
                    <a16:creationId xmlns:a16="http://schemas.microsoft.com/office/drawing/2014/main" id="{3A1F8CD2-CC5B-4E8E-92FD-F45ED5628624}"/>
                  </a:ext>
                </a:extLst>
              </p:cNvPr>
              <p:cNvSpPr txBox="1"/>
              <p:nvPr/>
            </p:nvSpPr>
            <p:spPr>
              <a:xfrm>
                <a:off x="1737076" y="2744248"/>
                <a:ext cx="384721" cy="140100"/>
              </a:xfrm>
              <a:prstGeom prst="rect">
                <a:avLst/>
              </a:prstGeom>
              <a:noFill/>
            </p:spPr>
            <p:txBody>
              <a:bodyPr wrap="none" lIns="0" tIns="0" rIns="0" bIns="0" rtlCol="0" anchor="ctr">
                <a:spAutoFit/>
              </a:bodyPr>
              <a:lstStyle/>
              <a:p>
                <a:pPr marL="0" marR="0" lvl="0" indent="0" algn="r" defTabSz="1097280" rtl="0" eaLnBrk="1" fontAlgn="base" latinLnBrk="0" hangingPunct="1">
                  <a:lnSpc>
                    <a:spcPct val="100000"/>
                  </a:lnSpc>
                  <a:spcBef>
                    <a:spcPct val="0"/>
                  </a:spcBef>
                  <a:spcAft>
                    <a:spcPct val="0"/>
                  </a:spcAft>
                  <a:buClrTx/>
                  <a:buSzTx/>
                  <a:buFontTx/>
                  <a:buNone/>
                  <a:tabLst/>
                  <a:defRPr/>
                </a:pPr>
                <a:r>
                  <a:rPr kumimoji="0" lang="en-GB" sz="1080" b="0" i="0" u="none" strike="noStrike" kern="1200" cap="none" spc="0" normalizeH="0" baseline="0" noProof="0" dirty="0">
                    <a:ln>
                      <a:noFill/>
                    </a:ln>
                    <a:solidFill>
                      <a:srgbClr val="123361">
                        <a:lumMod val="50000"/>
                      </a:srgbClr>
                    </a:solidFill>
                    <a:effectLst/>
                    <a:uLnTx/>
                    <a:uFillTx/>
                    <a:latin typeface="Arial" panose="020B0604020202020204"/>
                    <a:ea typeface="+mn-ea"/>
                    <a:cs typeface="Arial" charset="0"/>
                  </a:rPr>
                  <a:t>Fatigue</a:t>
                </a:r>
              </a:p>
            </p:txBody>
          </p:sp>
          <p:sp>
            <p:nvSpPr>
              <p:cNvPr id="300" name="TextBox 299">
                <a:extLst>
                  <a:ext uri="{FF2B5EF4-FFF2-40B4-BE49-F238E27FC236}">
                    <a16:creationId xmlns:a16="http://schemas.microsoft.com/office/drawing/2014/main" id="{25DDE5C0-6779-45DA-AEE9-EFAF9E9765EF}"/>
                  </a:ext>
                </a:extLst>
              </p:cNvPr>
              <p:cNvSpPr txBox="1"/>
              <p:nvPr/>
            </p:nvSpPr>
            <p:spPr>
              <a:xfrm>
                <a:off x="1679636" y="2942320"/>
                <a:ext cx="442162" cy="140100"/>
              </a:xfrm>
              <a:prstGeom prst="rect">
                <a:avLst/>
              </a:prstGeom>
              <a:noFill/>
            </p:spPr>
            <p:txBody>
              <a:bodyPr wrap="none" lIns="0" tIns="0" rIns="0" bIns="0" rtlCol="0" anchor="ctr">
                <a:spAutoFit/>
              </a:bodyPr>
              <a:lstStyle/>
              <a:p>
                <a:pPr marL="0" marR="0" lvl="0" indent="0" algn="r" defTabSz="1097280" rtl="0" eaLnBrk="1" fontAlgn="base" latinLnBrk="0" hangingPunct="1">
                  <a:lnSpc>
                    <a:spcPct val="100000"/>
                  </a:lnSpc>
                  <a:spcBef>
                    <a:spcPct val="0"/>
                  </a:spcBef>
                  <a:spcAft>
                    <a:spcPct val="0"/>
                  </a:spcAft>
                  <a:buClrTx/>
                  <a:buSzTx/>
                  <a:buFontTx/>
                  <a:buNone/>
                  <a:tabLst/>
                  <a:defRPr/>
                </a:pPr>
                <a:r>
                  <a:rPr kumimoji="0" lang="en-GB" sz="1080" b="0" i="0" u="none" strike="noStrike" kern="1200" cap="none" spc="0" normalizeH="0" baseline="0" noProof="0" dirty="0">
                    <a:ln>
                      <a:noFill/>
                    </a:ln>
                    <a:solidFill>
                      <a:srgbClr val="123361">
                        <a:lumMod val="50000"/>
                      </a:srgbClr>
                    </a:solidFill>
                    <a:effectLst/>
                    <a:uLnTx/>
                    <a:uFillTx/>
                    <a:latin typeface="Arial" panose="020B0604020202020204"/>
                    <a:ea typeface="+mn-ea"/>
                    <a:cs typeface="Arial" charset="0"/>
                  </a:rPr>
                  <a:t>Alopecia</a:t>
                </a:r>
              </a:p>
            </p:txBody>
          </p:sp>
          <p:sp>
            <p:nvSpPr>
              <p:cNvPr id="301" name="TextBox 300">
                <a:extLst>
                  <a:ext uri="{FF2B5EF4-FFF2-40B4-BE49-F238E27FC236}">
                    <a16:creationId xmlns:a16="http://schemas.microsoft.com/office/drawing/2014/main" id="{37424F68-A70A-41FF-B46C-6C9042368866}"/>
                  </a:ext>
                </a:extLst>
              </p:cNvPr>
              <p:cNvSpPr txBox="1"/>
              <p:nvPr/>
            </p:nvSpPr>
            <p:spPr>
              <a:xfrm>
                <a:off x="964806" y="1532592"/>
                <a:ext cx="1180879" cy="140100"/>
              </a:xfrm>
              <a:prstGeom prst="rect">
                <a:avLst/>
              </a:prstGeom>
              <a:noFill/>
            </p:spPr>
            <p:txBody>
              <a:bodyPr wrap="none" lIns="0" tIns="0" rIns="0" bIns="0" rtlCol="0" anchor="ctr">
                <a:spAutoFit/>
              </a:bodyPr>
              <a:lstStyle/>
              <a:p>
                <a:pPr marL="0" marR="0" lvl="0" indent="0" algn="r" defTabSz="1097280" rtl="0" eaLnBrk="1" fontAlgn="base" latinLnBrk="0" hangingPunct="1">
                  <a:lnSpc>
                    <a:spcPct val="100000"/>
                  </a:lnSpc>
                  <a:spcBef>
                    <a:spcPct val="0"/>
                  </a:spcBef>
                  <a:spcAft>
                    <a:spcPct val="0"/>
                  </a:spcAft>
                  <a:buClrTx/>
                  <a:buSzTx/>
                  <a:buFontTx/>
                  <a:buNone/>
                  <a:tabLst/>
                  <a:defRPr/>
                </a:pPr>
                <a:r>
                  <a:rPr kumimoji="0" lang="en-GB" sz="1080" b="0" i="0" u="none" strike="noStrike" kern="1200" cap="none" spc="0" normalizeH="0" baseline="0" noProof="0" dirty="0">
                    <a:ln>
                      <a:noFill/>
                    </a:ln>
                    <a:solidFill>
                      <a:srgbClr val="123361">
                        <a:lumMod val="50000"/>
                      </a:srgbClr>
                    </a:solidFill>
                    <a:effectLst/>
                    <a:uLnTx/>
                    <a:uFillTx/>
                    <a:latin typeface="Arial" panose="020B0604020202020204"/>
                    <a:ea typeface="+mn-ea"/>
                    <a:cs typeface="Arial" charset="0"/>
                  </a:rPr>
                  <a:t>Peripheral neuropathy*</a:t>
                </a:r>
              </a:p>
            </p:txBody>
          </p:sp>
          <p:sp>
            <p:nvSpPr>
              <p:cNvPr id="302" name="TextBox 301">
                <a:extLst>
                  <a:ext uri="{FF2B5EF4-FFF2-40B4-BE49-F238E27FC236}">
                    <a16:creationId xmlns:a16="http://schemas.microsoft.com/office/drawing/2014/main" id="{84F0E1CB-190B-415E-9CE5-63B326DA9DCB}"/>
                  </a:ext>
                </a:extLst>
              </p:cNvPr>
              <p:cNvSpPr txBox="1"/>
              <p:nvPr/>
            </p:nvSpPr>
            <p:spPr>
              <a:xfrm>
                <a:off x="1122592" y="3139230"/>
                <a:ext cx="999205" cy="140100"/>
              </a:xfrm>
              <a:prstGeom prst="rect">
                <a:avLst/>
              </a:prstGeom>
              <a:noFill/>
            </p:spPr>
            <p:txBody>
              <a:bodyPr wrap="none" lIns="0" tIns="0" rIns="0" bIns="0" rtlCol="0" anchor="ctr">
                <a:spAutoFit/>
              </a:bodyPr>
              <a:lstStyle/>
              <a:p>
                <a:pPr marL="0" marR="0" lvl="0" indent="0" algn="r" defTabSz="1097280" rtl="0" eaLnBrk="1" fontAlgn="base" latinLnBrk="0" hangingPunct="1">
                  <a:lnSpc>
                    <a:spcPct val="100000"/>
                  </a:lnSpc>
                  <a:spcBef>
                    <a:spcPct val="0"/>
                  </a:spcBef>
                  <a:spcAft>
                    <a:spcPct val="0"/>
                  </a:spcAft>
                  <a:buClrTx/>
                  <a:buSzTx/>
                  <a:buFontTx/>
                  <a:buNone/>
                  <a:tabLst/>
                  <a:defRPr/>
                </a:pPr>
                <a:r>
                  <a:rPr kumimoji="0" lang="en-GB" sz="1080" b="0" i="0" u="none" strike="noStrike" kern="1200" cap="none" spc="0" normalizeH="0" baseline="0" noProof="0" dirty="0">
                    <a:ln>
                      <a:noFill/>
                    </a:ln>
                    <a:solidFill>
                      <a:srgbClr val="123361">
                        <a:lumMod val="50000"/>
                      </a:srgbClr>
                    </a:solidFill>
                    <a:effectLst/>
                    <a:uLnTx/>
                    <a:uFillTx/>
                    <a:latin typeface="Arial" panose="020B0604020202020204"/>
                    <a:ea typeface="+mn-ea"/>
                    <a:cs typeface="Arial" charset="0"/>
                  </a:rPr>
                  <a:t>Decreased appetite</a:t>
                </a:r>
              </a:p>
            </p:txBody>
          </p:sp>
        </p:grpSp>
        <p:grpSp>
          <p:nvGrpSpPr>
            <p:cNvPr id="192" name="Group 191">
              <a:extLst>
                <a:ext uri="{FF2B5EF4-FFF2-40B4-BE49-F238E27FC236}">
                  <a16:creationId xmlns:a16="http://schemas.microsoft.com/office/drawing/2014/main" id="{EC1B0F27-92D2-43E3-81F7-C8129E415800}"/>
                </a:ext>
              </a:extLst>
            </p:cNvPr>
            <p:cNvGrpSpPr/>
            <p:nvPr/>
          </p:nvGrpSpPr>
          <p:grpSpPr>
            <a:xfrm>
              <a:off x="1990657" y="1328843"/>
              <a:ext cx="5995805" cy="3808161"/>
              <a:chOff x="1990657" y="1328843"/>
              <a:chExt cx="5995805" cy="3808161"/>
            </a:xfrm>
          </p:grpSpPr>
          <p:graphicFrame>
            <p:nvGraphicFramePr>
              <p:cNvPr id="281" name="Chart 280">
                <a:extLst>
                  <a:ext uri="{FF2B5EF4-FFF2-40B4-BE49-F238E27FC236}">
                    <a16:creationId xmlns:a16="http://schemas.microsoft.com/office/drawing/2014/main" id="{7E392841-B17B-4B30-98F7-9CDC20F55358}"/>
                  </a:ext>
                </a:extLst>
              </p:cNvPr>
              <p:cNvGraphicFramePr/>
              <p:nvPr/>
            </p:nvGraphicFramePr>
            <p:xfrm>
              <a:off x="1990657" y="1328843"/>
              <a:ext cx="5995805" cy="3798695"/>
            </p:xfrm>
            <a:graphic>
              <a:graphicData uri="http://schemas.openxmlformats.org/drawingml/2006/chart">
                <c:chart xmlns:c="http://schemas.openxmlformats.org/drawingml/2006/chart" xmlns:r="http://schemas.openxmlformats.org/officeDocument/2006/relationships" r:id="rId2"/>
              </a:graphicData>
            </a:graphic>
          </p:graphicFrame>
          <p:sp>
            <p:nvSpPr>
              <p:cNvPr id="282" name="Rectangle 281">
                <a:extLst>
                  <a:ext uri="{FF2B5EF4-FFF2-40B4-BE49-F238E27FC236}">
                    <a16:creationId xmlns:a16="http://schemas.microsoft.com/office/drawing/2014/main" id="{48B1FE0C-1A3B-46A6-8400-67917FDAEFEC}"/>
                  </a:ext>
                </a:extLst>
              </p:cNvPr>
              <p:cNvSpPr/>
              <p:nvPr/>
            </p:nvSpPr>
            <p:spPr>
              <a:xfrm>
                <a:off x="2876709" y="5007266"/>
                <a:ext cx="77760" cy="1006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base" latinLnBrk="0" hangingPunct="1">
                  <a:lnSpc>
                    <a:spcPct val="100000"/>
                  </a:lnSpc>
                  <a:spcBef>
                    <a:spcPct val="0"/>
                  </a:spcBef>
                  <a:spcAft>
                    <a:spcPct val="0"/>
                  </a:spcAft>
                  <a:buClrTx/>
                  <a:buSzTx/>
                  <a:buFontTx/>
                  <a:buNone/>
                  <a:tabLst/>
                  <a:defRPr/>
                </a:pPr>
                <a:endParaRPr kumimoji="0" lang="en-US" sz="1920" b="0" i="1"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83" name="Rectangle 282">
                <a:extLst>
                  <a:ext uri="{FF2B5EF4-FFF2-40B4-BE49-F238E27FC236}">
                    <a16:creationId xmlns:a16="http://schemas.microsoft.com/office/drawing/2014/main" id="{A2E6AB5D-FB34-4F76-B1EF-392699324C0F}"/>
                  </a:ext>
                </a:extLst>
              </p:cNvPr>
              <p:cNvSpPr/>
              <p:nvPr/>
            </p:nvSpPr>
            <p:spPr>
              <a:xfrm>
                <a:off x="2103986" y="5036309"/>
                <a:ext cx="139103" cy="1006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base" latinLnBrk="0" hangingPunct="1">
                  <a:lnSpc>
                    <a:spcPct val="100000"/>
                  </a:lnSpc>
                  <a:spcBef>
                    <a:spcPct val="0"/>
                  </a:spcBef>
                  <a:spcAft>
                    <a:spcPct val="0"/>
                  </a:spcAft>
                  <a:buClrTx/>
                  <a:buSzTx/>
                  <a:buFontTx/>
                  <a:buNone/>
                  <a:tabLst/>
                  <a:defRPr/>
                </a:pPr>
                <a:endParaRPr kumimoji="0" lang="en-US" sz="1920" b="0" i="1"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84" name="Rectangle 283">
                <a:extLst>
                  <a:ext uri="{FF2B5EF4-FFF2-40B4-BE49-F238E27FC236}">
                    <a16:creationId xmlns:a16="http://schemas.microsoft.com/office/drawing/2014/main" id="{4B9C5D0F-4280-43F9-8AEC-A9054719AB08}"/>
                  </a:ext>
                </a:extLst>
              </p:cNvPr>
              <p:cNvSpPr/>
              <p:nvPr/>
            </p:nvSpPr>
            <p:spPr>
              <a:xfrm>
                <a:off x="4256133" y="5006728"/>
                <a:ext cx="75601" cy="855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base" latinLnBrk="0" hangingPunct="1">
                  <a:lnSpc>
                    <a:spcPct val="100000"/>
                  </a:lnSpc>
                  <a:spcBef>
                    <a:spcPct val="0"/>
                  </a:spcBef>
                  <a:spcAft>
                    <a:spcPct val="0"/>
                  </a:spcAft>
                  <a:buClrTx/>
                  <a:buSzTx/>
                  <a:buFontTx/>
                  <a:buNone/>
                  <a:tabLst/>
                  <a:defRPr/>
                </a:pPr>
                <a:endParaRPr kumimoji="0" lang="en-US" sz="1920" b="0" i="1"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85" name="Rectangle 284">
                <a:extLst>
                  <a:ext uri="{FF2B5EF4-FFF2-40B4-BE49-F238E27FC236}">
                    <a16:creationId xmlns:a16="http://schemas.microsoft.com/office/drawing/2014/main" id="{D8977AD2-7765-412D-8126-DF2D4116F4E8}"/>
                  </a:ext>
                </a:extLst>
              </p:cNvPr>
              <p:cNvSpPr/>
              <p:nvPr/>
            </p:nvSpPr>
            <p:spPr>
              <a:xfrm>
                <a:off x="3567184" y="5013028"/>
                <a:ext cx="75601" cy="855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base" latinLnBrk="0" hangingPunct="1">
                  <a:lnSpc>
                    <a:spcPct val="100000"/>
                  </a:lnSpc>
                  <a:spcBef>
                    <a:spcPct val="0"/>
                  </a:spcBef>
                  <a:spcAft>
                    <a:spcPct val="0"/>
                  </a:spcAft>
                  <a:buClrTx/>
                  <a:buSzTx/>
                  <a:buFontTx/>
                  <a:buNone/>
                  <a:tabLst/>
                  <a:defRPr/>
                </a:pPr>
                <a:endParaRPr kumimoji="0" lang="en-US" sz="1920" b="0" i="1"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193" name="Group 192">
              <a:extLst>
                <a:ext uri="{FF2B5EF4-FFF2-40B4-BE49-F238E27FC236}">
                  <a16:creationId xmlns:a16="http://schemas.microsoft.com/office/drawing/2014/main" id="{9386749F-160C-40DD-94B9-871DA30EA343}"/>
                </a:ext>
              </a:extLst>
            </p:cNvPr>
            <p:cNvGrpSpPr/>
            <p:nvPr/>
          </p:nvGrpSpPr>
          <p:grpSpPr>
            <a:xfrm>
              <a:off x="2237618" y="1547529"/>
              <a:ext cx="72703" cy="3383068"/>
              <a:chOff x="2237618" y="1547529"/>
              <a:chExt cx="72703" cy="3383068"/>
            </a:xfrm>
          </p:grpSpPr>
          <p:cxnSp>
            <p:nvCxnSpPr>
              <p:cNvPr id="222" name="Straight Connector 221">
                <a:extLst>
                  <a:ext uri="{FF2B5EF4-FFF2-40B4-BE49-F238E27FC236}">
                    <a16:creationId xmlns:a16="http://schemas.microsoft.com/office/drawing/2014/main" id="{42159796-2074-4C40-8246-15424FC79796}"/>
                  </a:ext>
                </a:extLst>
              </p:cNvPr>
              <p:cNvCxnSpPr>
                <a:cxnSpLocks/>
              </p:cNvCxnSpPr>
              <p:nvPr/>
            </p:nvCxnSpPr>
            <p:spPr>
              <a:xfrm>
                <a:off x="2310040" y="1547529"/>
                <a:ext cx="0" cy="3383068"/>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4B993DE9-5AA2-4A01-856D-26F664F73EDA}"/>
                  </a:ext>
                </a:extLst>
              </p:cNvPr>
              <p:cNvCxnSpPr>
                <a:cxnSpLocks/>
              </p:cNvCxnSpPr>
              <p:nvPr/>
            </p:nvCxnSpPr>
            <p:spPr>
              <a:xfrm flipH="1">
                <a:off x="2237618" y="1615122"/>
                <a:ext cx="7270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23BBB1A5-75D0-473F-993D-2CF5CD6CC997}"/>
                  </a:ext>
                </a:extLst>
              </p:cNvPr>
              <p:cNvCxnSpPr>
                <a:cxnSpLocks/>
              </p:cNvCxnSpPr>
              <p:nvPr/>
            </p:nvCxnSpPr>
            <p:spPr>
              <a:xfrm flipH="1">
                <a:off x="2237618" y="4806415"/>
                <a:ext cx="7270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21F6B491-6D30-47DD-B113-1800B0CB343C}"/>
                  </a:ext>
                </a:extLst>
              </p:cNvPr>
              <p:cNvCxnSpPr>
                <a:cxnSpLocks/>
              </p:cNvCxnSpPr>
              <p:nvPr/>
            </p:nvCxnSpPr>
            <p:spPr>
              <a:xfrm flipH="1">
                <a:off x="2237618" y="4608447"/>
                <a:ext cx="7270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23CBBB25-A690-442A-A601-03FDB25FB6CE}"/>
                  </a:ext>
                </a:extLst>
              </p:cNvPr>
              <p:cNvCxnSpPr>
                <a:cxnSpLocks/>
              </p:cNvCxnSpPr>
              <p:nvPr/>
            </p:nvCxnSpPr>
            <p:spPr>
              <a:xfrm flipH="1">
                <a:off x="2237618" y="4410475"/>
                <a:ext cx="7270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911EEF83-76BD-4DBC-92CF-9CB75D52F6C9}"/>
                  </a:ext>
                </a:extLst>
              </p:cNvPr>
              <p:cNvCxnSpPr>
                <a:cxnSpLocks/>
              </p:cNvCxnSpPr>
              <p:nvPr/>
            </p:nvCxnSpPr>
            <p:spPr>
              <a:xfrm flipH="1">
                <a:off x="2237618" y="4212504"/>
                <a:ext cx="7270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75D69D73-02C8-493F-A00E-23ED72D3EDA2}"/>
                  </a:ext>
                </a:extLst>
              </p:cNvPr>
              <p:cNvCxnSpPr>
                <a:cxnSpLocks/>
              </p:cNvCxnSpPr>
              <p:nvPr/>
            </p:nvCxnSpPr>
            <p:spPr>
              <a:xfrm flipH="1">
                <a:off x="2237618" y="4014533"/>
                <a:ext cx="7270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4A694A67-9024-4028-BD8B-75FF9AF39979}"/>
                  </a:ext>
                </a:extLst>
              </p:cNvPr>
              <p:cNvCxnSpPr>
                <a:cxnSpLocks/>
              </p:cNvCxnSpPr>
              <p:nvPr/>
            </p:nvCxnSpPr>
            <p:spPr>
              <a:xfrm flipH="1">
                <a:off x="2237618" y="3816561"/>
                <a:ext cx="7270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1" name="Straight Connector 270">
                <a:extLst>
                  <a:ext uri="{FF2B5EF4-FFF2-40B4-BE49-F238E27FC236}">
                    <a16:creationId xmlns:a16="http://schemas.microsoft.com/office/drawing/2014/main" id="{4484F664-B33C-440F-A47B-B2099CFEE0D6}"/>
                  </a:ext>
                </a:extLst>
              </p:cNvPr>
              <p:cNvCxnSpPr>
                <a:cxnSpLocks/>
              </p:cNvCxnSpPr>
              <p:nvPr/>
            </p:nvCxnSpPr>
            <p:spPr>
              <a:xfrm flipH="1">
                <a:off x="2237618" y="3618590"/>
                <a:ext cx="7270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2" name="Straight Connector 271">
                <a:extLst>
                  <a:ext uri="{FF2B5EF4-FFF2-40B4-BE49-F238E27FC236}">
                    <a16:creationId xmlns:a16="http://schemas.microsoft.com/office/drawing/2014/main" id="{BBB947FA-6A2A-40FA-9D70-07686D6C9DEC}"/>
                  </a:ext>
                </a:extLst>
              </p:cNvPr>
              <p:cNvCxnSpPr>
                <a:cxnSpLocks/>
              </p:cNvCxnSpPr>
              <p:nvPr/>
            </p:nvCxnSpPr>
            <p:spPr>
              <a:xfrm flipH="1">
                <a:off x="2237618" y="3420618"/>
                <a:ext cx="7270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3" name="Straight Connector 272">
                <a:extLst>
                  <a:ext uri="{FF2B5EF4-FFF2-40B4-BE49-F238E27FC236}">
                    <a16:creationId xmlns:a16="http://schemas.microsoft.com/office/drawing/2014/main" id="{BB2A9CE9-5F56-4081-9256-F39B0F0F70AA}"/>
                  </a:ext>
                </a:extLst>
              </p:cNvPr>
              <p:cNvCxnSpPr>
                <a:cxnSpLocks/>
              </p:cNvCxnSpPr>
              <p:nvPr/>
            </p:nvCxnSpPr>
            <p:spPr>
              <a:xfrm flipH="1">
                <a:off x="2237618" y="3222647"/>
                <a:ext cx="7270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4" name="Straight Connector 273">
                <a:extLst>
                  <a:ext uri="{FF2B5EF4-FFF2-40B4-BE49-F238E27FC236}">
                    <a16:creationId xmlns:a16="http://schemas.microsoft.com/office/drawing/2014/main" id="{F663FE02-9DB5-465B-A87B-2D835C738302}"/>
                  </a:ext>
                </a:extLst>
              </p:cNvPr>
              <p:cNvCxnSpPr>
                <a:cxnSpLocks/>
              </p:cNvCxnSpPr>
              <p:nvPr/>
            </p:nvCxnSpPr>
            <p:spPr>
              <a:xfrm flipH="1">
                <a:off x="2237618" y="3024675"/>
                <a:ext cx="7270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5" name="Straight Connector 274">
                <a:extLst>
                  <a:ext uri="{FF2B5EF4-FFF2-40B4-BE49-F238E27FC236}">
                    <a16:creationId xmlns:a16="http://schemas.microsoft.com/office/drawing/2014/main" id="{3478B7F4-7087-4FC9-BF65-3775345E1052}"/>
                  </a:ext>
                </a:extLst>
              </p:cNvPr>
              <p:cNvCxnSpPr>
                <a:cxnSpLocks/>
              </p:cNvCxnSpPr>
              <p:nvPr/>
            </p:nvCxnSpPr>
            <p:spPr>
              <a:xfrm flipH="1">
                <a:off x="2237618" y="2826704"/>
                <a:ext cx="7270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6" name="Straight Connector 275">
                <a:extLst>
                  <a:ext uri="{FF2B5EF4-FFF2-40B4-BE49-F238E27FC236}">
                    <a16:creationId xmlns:a16="http://schemas.microsoft.com/office/drawing/2014/main" id="{6950C679-B121-46E5-9A66-605C31983EC9}"/>
                  </a:ext>
                </a:extLst>
              </p:cNvPr>
              <p:cNvCxnSpPr>
                <a:cxnSpLocks/>
              </p:cNvCxnSpPr>
              <p:nvPr/>
            </p:nvCxnSpPr>
            <p:spPr>
              <a:xfrm flipH="1">
                <a:off x="2237618" y="2628733"/>
                <a:ext cx="7270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7" name="Straight Connector 276">
                <a:extLst>
                  <a:ext uri="{FF2B5EF4-FFF2-40B4-BE49-F238E27FC236}">
                    <a16:creationId xmlns:a16="http://schemas.microsoft.com/office/drawing/2014/main" id="{16285E0F-5EDA-4FEC-9BE6-260040E6D193}"/>
                  </a:ext>
                </a:extLst>
              </p:cNvPr>
              <p:cNvCxnSpPr>
                <a:cxnSpLocks/>
              </p:cNvCxnSpPr>
              <p:nvPr/>
            </p:nvCxnSpPr>
            <p:spPr>
              <a:xfrm flipH="1">
                <a:off x="2237618" y="2425700"/>
                <a:ext cx="7270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8" name="Straight Connector 277">
                <a:extLst>
                  <a:ext uri="{FF2B5EF4-FFF2-40B4-BE49-F238E27FC236}">
                    <a16:creationId xmlns:a16="http://schemas.microsoft.com/office/drawing/2014/main" id="{27222039-8701-415B-99F6-FBAB352543DD}"/>
                  </a:ext>
                </a:extLst>
              </p:cNvPr>
              <p:cNvCxnSpPr>
                <a:cxnSpLocks/>
              </p:cNvCxnSpPr>
              <p:nvPr/>
            </p:nvCxnSpPr>
            <p:spPr>
              <a:xfrm flipH="1">
                <a:off x="2237618" y="2211509"/>
                <a:ext cx="7270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9" name="Straight Connector 278">
                <a:extLst>
                  <a:ext uri="{FF2B5EF4-FFF2-40B4-BE49-F238E27FC236}">
                    <a16:creationId xmlns:a16="http://schemas.microsoft.com/office/drawing/2014/main" id="{6F275FEF-40E2-47D2-81B8-968522E158D1}"/>
                  </a:ext>
                </a:extLst>
              </p:cNvPr>
              <p:cNvCxnSpPr>
                <a:cxnSpLocks/>
              </p:cNvCxnSpPr>
              <p:nvPr/>
            </p:nvCxnSpPr>
            <p:spPr>
              <a:xfrm flipH="1">
                <a:off x="2237618" y="1993900"/>
                <a:ext cx="7270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0" name="Straight Connector 279">
                <a:extLst>
                  <a:ext uri="{FF2B5EF4-FFF2-40B4-BE49-F238E27FC236}">
                    <a16:creationId xmlns:a16="http://schemas.microsoft.com/office/drawing/2014/main" id="{BE15444A-AC0A-45E9-9D6D-9D3A4196C770}"/>
                  </a:ext>
                </a:extLst>
              </p:cNvPr>
              <p:cNvCxnSpPr>
                <a:cxnSpLocks/>
              </p:cNvCxnSpPr>
              <p:nvPr/>
            </p:nvCxnSpPr>
            <p:spPr>
              <a:xfrm flipH="1">
                <a:off x="2237618" y="1808095"/>
                <a:ext cx="7270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94" name="Group 193">
              <a:extLst>
                <a:ext uri="{FF2B5EF4-FFF2-40B4-BE49-F238E27FC236}">
                  <a16:creationId xmlns:a16="http://schemas.microsoft.com/office/drawing/2014/main" id="{28AAFCC8-21C8-410F-A7CF-9B40C449B6CC}"/>
                </a:ext>
              </a:extLst>
            </p:cNvPr>
            <p:cNvGrpSpPr/>
            <p:nvPr/>
          </p:nvGrpSpPr>
          <p:grpSpPr>
            <a:xfrm>
              <a:off x="7372074" y="1562336"/>
              <a:ext cx="408766" cy="926815"/>
              <a:chOff x="7112973" y="2249238"/>
              <a:chExt cx="408766" cy="926815"/>
            </a:xfrm>
          </p:grpSpPr>
          <p:sp>
            <p:nvSpPr>
              <p:cNvPr id="195" name="Rectangle 194">
                <a:extLst>
                  <a:ext uri="{FF2B5EF4-FFF2-40B4-BE49-F238E27FC236}">
                    <a16:creationId xmlns:a16="http://schemas.microsoft.com/office/drawing/2014/main" id="{0836F0CD-7196-4F75-9717-DDFD9A3BFD9F}"/>
                  </a:ext>
                </a:extLst>
              </p:cNvPr>
              <p:cNvSpPr/>
              <p:nvPr/>
            </p:nvSpPr>
            <p:spPr>
              <a:xfrm>
                <a:off x="7240895" y="3039514"/>
                <a:ext cx="109055" cy="108000"/>
              </a:xfrm>
              <a:prstGeom prst="rect">
                <a:avLst/>
              </a:prstGeom>
              <a:solidFill>
                <a:srgbClr val="01734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base" latinLnBrk="0" hangingPunct="1">
                  <a:lnSpc>
                    <a:spcPct val="100000"/>
                  </a:lnSpc>
                  <a:spcBef>
                    <a:spcPct val="0"/>
                  </a:spcBef>
                  <a:spcAft>
                    <a:spcPct val="0"/>
                  </a:spcAft>
                  <a:buClrTx/>
                  <a:buSzTx/>
                  <a:buFontTx/>
                  <a:buNone/>
                  <a:tabLst/>
                  <a:defRPr/>
                </a:pPr>
                <a:endParaRPr kumimoji="0" lang="en-GB" sz="1920" b="0" i="1"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96" name="Rectangle 195">
                <a:extLst>
                  <a:ext uri="{FF2B5EF4-FFF2-40B4-BE49-F238E27FC236}">
                    <a16:creationId xmlns:a16="http://schemas.microsoft.com/office/drawing/2014/main" id="{672C48AD-5112-4E35-89CF-30CAC9A4A08C}"/>
                  </a:ext>
                </a:extLst>
              </p:cNvPr>
              <p:cNvSpPr/>
              <p:nvPr/>
            </p:nvSpPr>
            <p:spPr>
              <a:xfrm>
                <a:off x="7240895" y="2851618"/>
                <a:ext cx="109055" cy="108000"/>
              </a:xfrm>
              <a:prstGeom prst="rect">
                <a:avLst/>
              </a:prstGeom>
              <a:solidFill>
                <a:srgbClr val="00996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base" latinLnBrk="0" hangingPunct="1">
                  <a:lnSpc>
                    <a:spcPct val="100000"/>
                  </a:lnSpc>
                  <a:spcBef>
                    <a:spcPct val="0"/>
                  </a:spcBef>
                  <a:spcAft>
                    <a:spcPct val="0"/>
                  </a:spcAft>
                  <a:buClrTx/>
                  <a:buSzTx/>
                  <a:buFontTx/>
                  <a:buNone/>
                  <a:tabLst/>
                  <a:defRPr/>
                </a:pPr>
                <a:endParaRPr kumimoji="0" lang="en-GB" sz="1920" b="0" i="1"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97" name="Rectangle 196">
                <a:extLst>
                  <a:ext uri="{FF2B5EF4-FFF2-40B4-BE49-F238E27FC236}">
                    <a16:creationId xmlns:a16="http://schemas.microsoft.com/office/drawing/2014/main" id="{CF8C69FF-EF93-41C8-982B-796F1F4F1DBA}"/>
                  </a:ext>
                </a:extLst>
              </p:cNvPr>
              <p:cNvSpPr/>
              <p:nvPr/>
            </p:nvSpPr>
            <p:spPr>
              <a:xfrm>
                <a:off x="7240895" y="2663721"/>
                <a:ext cx="109055" cy="108000"/>
              </a:xfrm>
              <a:prstGeom prst="rect">
                <a:avLst/>
              </a:prstGeom>
              <a:solidFill>
                <a:srgbClr val="43E79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base" latinLnBrk="0" hangingPunct="1">
                  <a:lnSpc>
                    <a:spcPct val="100000"/>
                  </a:lnSpc>
                  <a:spcBef>
                    <a:spcPct val="0"/>
                  </a:spcBef>
                  <a:spcAft>
                    <a:spcPct val="0"/>
                  </a:spcAft>
                  <a:buClrTx/>
                  <a:buSzTx/>
                  <a:buFontTx/>
                  <a:buNone/>
                  <a:tabLst/>
                  <a:defRPr/>
                </a:pPr>
                <a:endParaRPr kumimoji="0" lang="en-GB" sz="1920" b="0" i="1"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98" name="Rectangle 197">
                <a:extLst>
                  <a:ext uri="{FF2B5EF4-FFF2-40B4-BE49-F238E27FC236}">
                    <a16:creationId xmlns:a16="http://schemas.microsoft.com/office/drawing/2014/main" id="{485ECA99-E32B-4C72-9008-B974D1B18EEE}"/>
                  </a:ext>
                </a:extLst>
              </p:cNvPr>
              <p:cNvSpPr/>
              <p:nvPr/>
            </p:nvSpPr>
            <p:spPr>
              <a:xfrm>
                <a:off x="7240895" y="2475823"/>
                <a:ext cx="109055" cy="108000"/>
              </a:xfrm>
              <a:prstGeom prst="rect">
                <a:avLst/>
              </a:prstGeom>
              <a:solidFill>
                <a:srgbClr val="C0F7D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base" latinLnBrk="0" hangingPunct="1">
                  <a:lnSpc>
                    <a:spcPct val="100000"/>
                  </a:lnSpc>
                  <a:spcBef>
                    <a:spcPct val="0"/>
                  </a:spcBef>
                  <a:spcAft>
                    <a:spcPct val="0"/>
                  </a:spcAft>
                  <a:buClrTx/>
                  <a:buSzTx/>
                  <a:buFontTx/>
                  <a:buNone/>
                  <a:tabLst/>
                  <a:defRPr/>
                </a:pPr>
                <a:endParaRPr kumimoji="0" lang="en-GB" sz="1920" b="0" i="1"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99" name="TextBox 198">
                <a:extLst>
                  <a:ext uri="{FF2B5EF4-FFF2-40B4-BE49-F238E27FC236}">
                    <a16:creationId xmlns:a16="http://schemas.microsoft.com/office/drawing/2014/main" id="{A256AC5B-B0AE-4BED-B2F9-01265D249933}"/>
                  </a:ext>
                </a:extLst>
              </p:cNvPr>
              <p:cNvSpPr txBox="1"/>
              <p:nvPr/>
            </p:nvSpPr>
            <p:spPr>
              <a:xfrm>
                <a:off x="7121656" y="2441472"/>
                <a:ext cx="78815" cy="171234"/>
              </a:xfrm>
              <a:prstGeom prst="rect">
                <a:avLst/>
              </a:prstGeom>
              <a:noFill/>
            </p:spPr>
            <p:txBody>
              <a:bodyPr wrap="none" lIns="0" tIns="0" rIns="0" bIns="0" rtlCol="0" anchor="ctr">
                <a:spAutoFit/>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320" b="0" i="0" u="none" strike="noStrike" kern="1200" cap="none" spc="0" normalizeH="0" baseline="0" noProof="0" dirty="0">
                    <a:ln>
                      <a:noFill/>
                    </a:ln>
                    <a:solidFill>
                      <a:srgbClr val="123361">
                        <a:lumMod val="50000"/>
                      </a:srgbClr>
                    </a:solidFill>
                    <a:effectLst/>
                    <a:uLnTx/>
                    <a:uFillTx/>
                    <a:latin typeface="Arial" panose="020B0604020202020204"/>
                    <a:ea typeface="+mn-ea"/>
                    <a:cs typeface="Arial" charset="0"/>
                  </a:rPr>
                  <a:t>1</a:t>
                </a:r>
              </a:p>
            </p:txBody>
          </p:sp>
          <p:sp>
            <p:nvSpPr>
              <p:cNvPr id="200" name="TextBox 199">
                <a:extLst>
                  <a:ext uri="{FF2B5EF4-FFF2-40B4-BE49-F238E27FC236}">
                    <a16:creationId xmlns:a16="http://schemas.microsoft.com/office/drawing/2014/main" id="{35806660-CEB8-4D0C-A8CC-A77F439C1BCD}"/>
                  </a:ext>
                </a:extLst>
              </p:cNvPr>
              <p:cNvSpPr txBox="1"/>
              <p:nvPr/>
            </p:nvSpPr>
            <p:spPr>
              <a:xfrm>
                <a:off x="7121656" y="2629254"/>
                <a:ext cx="78815" cy="171234"/>
              </a:xfrm>
              <a:prstGeom prst="rect">
                <a:avLst/>
              </a:prstGeom>
              <a:noFill/>
            </p:spPr>
            <p:txBody>
              <a:bodyPr wrap="none" lIns="0" tIns="0" rIns="0" bIns="0" rtlCol="0" anchor="ctr">
                <a:spAutoFit/>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320" b="0" i="0" u="none" strike="noStrike" kern="1200" cap="none" spc="0" normalizeH="0" baseline="0" noProof="0" dirty="0">
                    <a:ln>
                      <a:noFill/>
                    </a:ln>
                    <a:solidFill>
                      <a:srgbClr val="123361">
                        <a:lumMod val="50000"/>
                      </a:srgbClr>
                    </a:solidFill>
                    <a:effectLst/>
                    <a:uLnTx/>
                    <a:uFillTx/>
                    <a:latin typeface="Arial" panose="020B0604020202020204"/>
                    <a:ea typeface="+mn-ea"/>
                    <a:cs typeface="Arial" charset="0"/>
                  </a:rPr>
                  <a:t>2</a:t>
                </a:r>
              </a:p>
            </p:txBody>
          </p:sp>
          <p:sp>
            <p:nvSpPr>
              <p:cNvPr id="201" name="TextBox 200">
                <a:extLst>
                  <a:ext uri="{FF2B5EF4-FFF2-40B4-BE49-F238E27FC236}">
                    <a16:creationId xmlns:a16="http://schemas.microsoft.com/office/drawing/2014/main" id="{A3BE7436-5072-4B12-8A51-CF3DA8F54431}"/>
                  </a:ext>
                </a:extLst>
              </p:cNvPr>
              <p:cNvSpPr txBox="1"/>
              <p:nvPr/>
            </p:nvSpPr>
            <p:spPr>
              <a:xfrm>
                <a:off x="7121656" y="2817036"/>
                <a:ext cx="78815" cy="171234"/>
              </a:xfrm>
              <a:prstGeom prst="rect">
                <a:avLst/>
              </a:prstGeom>
              <a:noFill/>
            </p:spPr>
            <p:txBody>
              <a:bodyPr wrap="none" lIns="0" tIns="0" rIns="0" bIns="0" rtlCol="0" anchor="ctr">
                <a:spAutoFit/>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320" b="0" i="0" u="none" strike="noStrike" kern="1200" cap="none" spc="0" normalizeH="0" baseline="0" noProof="0" dirty="0">
                    <a:ln>
                      <a:noFill/>
                    </a:ln>
                    <a:solidFill>
                      <a:srgbClr val="123361">
                        <a:lumMod val="50000"/>
                      </a:srgbClr>
                    </a:solidFill>
                    <a:effectLst/>
                    <a:uLnTx/>
                    <a:uFillTx/>
                    <a:latin typeface="Arial" panose="020B0604020202020204"/>
                    <a:ea typeface="+mn-ea"/>
                    <a:cs typeface="Arial" charset="0"/>
                  </a:rPr>
                  <a:t>3</a:t>
                </a:r>
              </a:p>
            </p:txBody>
          </p:sp>
          <p:sp>
            <p:nvSpPr>
              <p:cNvPr id="202" name="TextBox 201">
                <a:extLst>
                  <a:ext uri="{FF2B5EF4-FFF2-40B4-BE49-F238E27FC236}">
                    <a16:creationId xmlns:a16="http://schemas.microsoft.com/office/drawing/2014/main" id="{1BFB590D-38D1-49E7-8B6E-B7890440B092}"/>
                  </a:ext>
                </a:extLst>
              </p:cNvPr>
              <p:cNvSpPr txBox="1"/>
              <p:nvPr/>
            </p:nvSpPr>
            <p:spPr>
              <a:xfrm>
                <a:off x="7121656" y="3004819"/>
                <a:ext cx="78815" cy="171234"/>
              </a:xfrm>
              <a:prstGeom prst="rect">
                <a:avLst/>
              </a:prstGeom>
              <a:noFill/>
            </p:spPr>
            <p:txBody>
              <a:bodyPr wrap="none" lIns="0" tIns="0" rIns="0" bIns="0" rtlCol="0" anchor="ctr">
                <a:spAutoFit/>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320" b="0" i="0" u="none" strike="noStrike" kern="1200" cap="none" spc="0" normalizeH="0" baseline="0" noProof="0" dirty="0">
                    <a:ln>
                      <a:noFill/>
                    </a:ln>
                    <a:solidFill>
                      <a:srgbClr val="123361">
                        <a:lumMod val="50000"/>
                      </a:srgbClr>
                    </a:solidFill>
                    <a:effectLst/>
                    <a:uLnTx/>
                    <a:uFillTx/>
                    <a:latin typeface="Arial" panose="020B0604020202020204"/>
                    <a:ea typeface="+mn-ea"/>
                    <a:cs typeface="Arial" charset="0"/>
                  </a:rPr>
                  <a:t>4</a:t>
                </a:r>
              </a:p>
            </p:txBody>
          </p:sp>
          <p:sp>
            <p:nvSpPr>
              <p:cNvPr id="203" name="TextBox 202">
                <a:extLst>
                  <a:ext uri="{FF2B5EF4-FFF2-40B4-BE49-F238E27FC236}">
                    <a16:creationId xmlns:a16="http://schemas.microsoft.com/office/drawing/2014/main" id="{20681D70-C804-428F-805F-8F5E686B1485}"/>
                  </a:ext>
                </a:extLst>
              </p:cNvPr>
              <p:cNvSpPr txBox="1"/>
              <p:nvPr/>
            </p:nvSpPr>
            <p:spPr>
              <a:xfrm>
                <a:off x="7112973" y="2249238"/>
                <a:ext cx="408766" cy="171234"/>
              </a:xfrm>
              <a:prstGeom prst="rect">
                <a:avLst/>
              </a:prstGeom>
              <a:noFill/>
            </p:spPr>
            <p:txBody>
              <a:bodyPr wrap="none" lIns="0" tIns="0" rIns="0" bIns="0" rtlCol="0" anchor="ctr">
                <a:spAutoFit/>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320" b="1" i="0" u="none" strike="noStrike" kern="1200" cap="none" spc="0" normalizeH="0" baseline="0" noProof="0" dirty="0">
                    <a:ln>
                      <a:noFill/>
                    </a:ln>
                    <a:solidFill>
                      <a:srgbClr val="123361">
                        <a:lumMod val="50000"/>
                      </a:srgbClr>
                    </a:solidFill>
                    <a:effectLst/>
                    <a:uLnTx/>
                    <a:uFillTx/>
                    <a:latin typeface="Arial" panose="020B0604020202020204"/>
                    <a:ea typeface="+mn-ea"/>
                    <a:cs typeface="Arial" charset="0"/>
                  </a:rPr>
                  <a:t>Grade</a:t>
                </a:r>
              </a:p>
            </p:txBody>
          </p:sp>
          <p:sp>
            <p:nvSpPr>
              <p:cNvPr id="204" name="Rectangle 203">
                <a:extLst>
                  <a:ext uri="{FF2B5EF4-FFF2-40B4-BE49-F238E27FC236}">
                    <a16:creationId xmlns:a16="http://schemas.microsoft.com/office/drawing/2014/main" id="{352CD417-38EB-4200-8345-41938A43FB35}"/>
                  </a:ext>
                </a:extLst>
              </p:cNvPr>
              <p:cNvSpPr/>
              <p:nvPr/>
            </p:nvSpPr>
            <p:spPr>
              <a:xfrm>
                <a:off x="7411239" y="3039514"/>
                <a:ext cx="109055" cy="108000"/>
              </a:xfrm>
              <a:prstGeom prst="rect">
                <a:avLst/>
              </a:prstGeom>
              <a:solidFill>
                <a:srgbClr val="004D9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base" latinLnBrk="0" hangingPunct="1">
                  <a:lnSpc>
                    <a:spcPct val="100000"/>
                  </a:lnSpc>
                  <a:spcBef>
                    <a:spcPct val="0"/>
                  </a:spcBef>
                  <a:spcAft>
                    <a:spcPct val="0"/>
                  </a:spcAft>
                  <a:buClrTx/>
                  <a:buSzTx/>
                  <a:buFontTx/>
                  <a:buNone/>
                  <a:tabLst/>
                  <a:defRPr/>
                </a:pPr>
                <a:endParaRPr kumimoji="0" lang="en-GB" sz="1920" b="0" i="1"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05" name="Rectangle 204">
                <a:extLst>
                  <a:ext uri="{FF2B5EF4-FFF2-40B4-BE49-F238E27FC236}">
                    <a16:creationId xmlns:a16="http://schemas.microsoft.com/office/drawing/2014/main" id="{653753A8-73F9-464F-A3F7-86320C36FC3C}"/>
                  </a:ext>
                </a:extLst>
              </p:cNvPr>
              <p:cNvSpPr/>
              <p:nvPr/>
            </p:nvSpPr>
            <p:spPr>
              <a:xfrm>
                <a:off x="7411239" y="2851618"/>
                <a:ext cx="109055" cy="108000"/>
              </a:xfrm>
              <a:prstGeom prst="rect">
                <a:avLst/>
              </a:prstGeom>
              <a:solidFill>
                <a:srgbClr val="0066C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base" latinLnBrk="0" hangingPunct="1">
                  <a:lnSpc>
                    <a:spcPct val="100000"/>
                  </a:lnSpc>
                  <a:spcBef>
                    <a:spcPct val="0"/>
                  </a:spcBef>
                  <a:spcAft>
                    <a:spcPct val="0"/>
                  </a:spcAft>
                  <a:buClrTx/>
                  <a:buSzTx/>
                  <a:buFontTx/>
                  <a:buNone/>
                  <a:tabLst/>
                  <a:defRPr/>
                </a:pPr>
                <a:endParaRPr kumimoji="0" lang="en-GB" sz="1920" b="0" i="1"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07" name="Rectangle 206">
                <a:extLst>
                  <a:ext uri="{FF2B5EF4-FFF2-40B4-BE49-F238E27FC236}">
                    <a16:creationId xmlns:a16="http://schemas.microsoft.com/office/drawing/2014/main" id="{40082C1B-BB53-42B3-A020-99ADA01ECE7F}"/>
                  </a:ext>
                </a:extLst>
              </p:cNvPr>
              <p:cNvSpPr/>
              <p:nvPr/>
            </p:nvSpPr>
            <p:spPr>
              <a:xfrm>
                <a:off x="7411239" y="2663721"/>
                <a:ext cx="109055" cy="108000"/>
              </a:xfrm>
              <a:prstGeom prst="rect">
                <a:avLst/>
              </a:prstGeom>
              <a:solidFill>
                <a:srgbClr val="47A3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base" latinLnBrk="0" hangingPunct="1">
                  <a:lnSpc>
                    <a:spcPct val="100000"/>
                  </a:lnSpc>
                  <a:spcBef>
                    <a:spcPct val="0"/>
                  </a:spcBef>
                  <a:spcAft>
                    <a:spcPct val="0"/>
                  </a:spcAft>
                  <a:buClrTx/>
                  <a:buSzTx/>
                  <a:buFontTx/>
                  <a:buNone/>
                  <a:tabLst/>
                  <a:defRPr/>
                </a:pPr>
                <a:endParaRPr kumimoji="0" lang="en-GB" sz="1920" b="0" i="1"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21" name="Rectangle 220">
                <a:extLst>
                  <a:ext uri="{FF2B5EF4-FFF2-40B4-BE49-F238E27FC236}">
                    <a16:creationId xmlns:a16="http://schemas.microsoft.com/office/drawing/2014/main" id="{E9324C95-6611-4F5D-832D-9DEB141FB167}"/>
                  </a:ext>
                </a:extLst>
              </p:cNvPr>
              <p:cNvSpPr/>
              <p:nvPr/>
            </p:nvSpPr>
            <p:spPr>
              <a:xfrm>
                <a:off x="7411239" y="2475823"/>
                <a:ext cx="109055" cy="108000"/>
              </a:xfrm>
              <a:prstGeom prst="rect">
                <a:avLst/>
              </a:prstGeom>
              <a:solidFill>
                <a:srgbClr val="C1D8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base" latinLnBrk="0" hangingPunct="1">
                  <a:lnSpc>
                    <a:spcPct val="100000"/>
                  </a:lnSpc>
                  <a:spcBef>
                    <a:spcPct val="0"/>
                  </a:spcBef>
                  <a:spcAft>
                    <a:spcPct val="0"/>
                  </a:spcAft>
                  <a:buClrTx/>
                  <a:buSzTx/>
                  <a:buFontTx/>
                  <a:buNone/>
                  <a:tabLst/>
                  <a:defRPr/>
                </a:pPr>
                <a:endParaRPr kumimoji="0" lang="en-GB" sz="1920" b="0" i="1"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grpSp>
      <p:sp>
        <p:nvSpPr>
          <p:cNvPr id="303" name="TextBox 302">
            <a:extLst>
              <a:ext uri="{FF2B5EF4-FFF2-40B4-BE49-F238E27FC236}">
                <a16:creationId xmlns:a16="http://schemas.microsoft.com/office/drawing/2014/main" id="{0E133F64-4C9B-4107-9C3A-BDB77DA73588}"/>
              </a:ext>
            </a:extLst>
          </p:cNvPr>
          <p:cNvSpPr txBox="1"/>
          <p:nvPr/>
        </p:nvSpPr>
        <p:spPr>
          <a:xfrm>
            <a:off x="2748713" y="5776306"/>
            <a:ext cx="6587333" cy="166199"/>
          </a:xfrm>
          <a:prstGeom prst="rect">
            <a:avLst/>
          </a:prstGeom>
          <a:noFill/>
        </p:spPr>
        <p:txBody>
          <a:bodyPr wrap="square" lIns="0" tIns="0" rIns="0" bIns="0" rtlCol="0" anchor="ctr">
            <a:spAutoFit/>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080" b="1" i="0" u="none" strike="noStrike" kern="1200" cap="none" spc="0" normalizeH="0" baseline="0" noProof="0" dirty="0">
                <a:ln>
                  <a:noFill/>
                </a:ln>
                <a:solidFill>
                  <a:srgbClr val="123361">
                    <a:lumMod val="50000"/>
                  </a:srgbClr>
                </a:solidFill>
                <a:effectLst/>
                <a:uLnTx/>
                <a:uFillTx/>
                <a:latin typeface="Arial" panose="020B0604020202020204"/>
                <a:ea typeface="+mn-ea"/>
                <a:cs typeface="Arial" charset="0"/>
              </a:rPr>
              <a:t>Frequency (%)</a:t>
            </a:r>
          </a:p>
        </p:txBody>
      </p:sp>
      <p:sp>
        <p:nvSpPr>
          <p:cNvPr id="6" name="Text Placeholder 3">
            <a:extLst>
              <a:ext uri="{FF2B5EF4-FFF2-40B4-BE49-F238E27FC236}">
                <a16:creationId xmlns:a16="http://schemas.microsoft.com/office/drawing/2014/main" id="{4E7BB806-AC8E-83DF-34F9-397D0AF564D4}"/>
              </a:ext>
            </a:extLst>
          </p:cNvPr>
          <p:cNvSpPr txBox="1">
            <a:spLocks/>
          </p:cNvSpPr>
          <p:nvPr/>
        </p:nvSpPr>
        <p:spPr>
          <a:xfrm>
            <a:off x="7295681" y="6439600"/>
            <a:ext cx="4800000" cy="360000"/>
          </a:xfrm>
          <a:prstGeom prst="rect">
            <a:avLst/>
          </a:prstGeom>
        </p:spPr>
        <p:txBody>
          <a:bodyPr vert="horz" lIns="0" tIns="0" rIns="0" bIns="0" rtlCol="0" anchor="b">
            <a:normAutofit/>
          </a:bodyPr>
          <a:lstStyle>
            <a:lvl1pPr marL="212342" indent="-212342" algn="r" defTabSz="914400" rtl="0" eaLnBrk="1" latinLnBrk="0" hangingPunct="1">
              <a:lnSpc>
                <a:spcPct val="90000"/>
              </a:lnSpc>
              <a:spcBef>
                <a:spcPts val="1000"/>
              </a:spcBef>
              <a:buFont typeface="Arial" panose="020B0604020202020204" pitchFamily="34" charset="0"/>
              <a:buNone/>
              <a:defRPr lang="en-GB" sz="960" kern="1200" dirty="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12342" marR="0" lvl="0" indent="-212342"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Tilly H et al. </a:t>
            </a:r>
            <a:r>
              <a:rPr kumimoji="0" lang="en-US" sz="1200" b="0" i="1" u="none" strike="noStrike" kern="1200" cap="none" spc="0" normalizeH="0" baseline="0" noProof="0" dirty="0">
                <a:ln>
                  <a:noFill/>
                </a:ln>
                <a:solidFill>
                  <a:prstClr val="black"/>
                </a:solidFill>
                <a:effectLst/>
                <a:uLnTx/>
                <a:uFillTx/>
                <a:latin typeface="Calibri" panose="020F0502020204030204"/>
                <a:ea typeface="+mn-ea"/>
                <a:cs typeface="+mn-cs"/>
              </a:rPr>
              <a:t>N Engl J Med</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2022;386(4):351-363.</a:t>
            </a:r>
          </a:p>
        </p:txBody>
      </p:sp>
    </p:spTree>
    <p:extLst>
      <p:ext uri="{BB962C8B-B14F-4D97-AF65-F5344CB8AC3E}">
        <p14:creationId xmlns:p14="http://schemas.microsoft.com/office/powerpoint/2010/main" val="17559572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D21123D8-8966-4E95-1E8B-701A5CA77FB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4003" y="1745217"/>
            <a:ext cx="4784458" cy="4784458"/>
          </a:xfrm>
          <a:prstGeom prst="rect">
            <a:avLst/>
          </a:prstGeom>
          <a:noFill/>
          <a:ln w="38100">
            <a:solidFill>
              <a:schemeClr val="tx1"/>
            </a:solidFill>
          </a:ln>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93043" y="365126"/>
            <a:ext cx="11711445" cy="826366"/>
          </a:xfrm>
        </p:spPr>
        <p:txBody>
          <a:bodyPr>
            <a:normAutofit fontScale="90000"/>
          </a:bodyPr>
          <a:lstStyle/>
          <a:p>
            <a:pPr algn="ctr"/>
            <a:r>
              <a:rPr lang="en-US" sz="3600" b="1" dirty="0">
                <a:solidFill>
                  <a:srgbClr val="002060"/>
                </a:solidFill>
                <a:latin typeface="+mn-lt"/>
              </a:rPr>
              <a:t>Despite Phoenix (R-CHOP +/- Ibrutinib) being a negative study, further analyses support evaluating BTK inhibition for DLBCL subsets</a:t>
            </a:r>
          </a:p>
        </p:txBody>
      </p:sp>
      <p:sp>
        <p:nvSpPr>
          <p:cNvPr id="5" name="TextBox 4"/>
          <p:cNvSpPr txBox="1"/>
          <p:nvPr/>
        </p:nvSpPr>
        <p:spPr>
          <a:xfrm>
            <a:off x="5259310" y="2464863"/>
            <a:ext cx="6545179" cy="304698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BTK inhibitor ibrutinib plus R-CHOP is effective in younger patients with ABC DLBC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Genetic subtypes of DLBCL differ in genotype, phenotype, and oncogenic mechanism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MCD and N1 subtypes acquire mutations that promote chronic active BCR signal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 Patients with the MCD and N1 subtypes have 100% survival with ibrutinib plus R-CHOP</a:t>
            </a:r>
          </a:p>
        </p:txBody>
      </p:sp>
      <p:sp>
        <p:nvSpPr>
          <p:cNvPr id="6" name="TextBox 5"/>
          <p:cNvSpPr txBox="1"/>
          <p:nvPr/>
        </p:nvSpPr>
        <p:spPr>
          <a:xfrm>
            <a:off x="7002003" y="6391176"/>
            <a:ext cx="1754583"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Wilson et al Ca Cell 2021</a:t>
            </a:r>
          </a:p>
        </p:txBody>
      </p:sp>
    </p:spTree>
    <p:extLst>
      <p:ext uri="{BB962C8B-B14F-4D97-AF65-F5344CB8AC3E}">
        <p14:creationId xmlns:p14="http://schemas.microsoft.com/office/powerpoint/2010/main" val="16350379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81D505C-D279-DB40-A05C-BF2C9B03ADA4}"/>
              </a:ext>
            </a:extLst>
          </p:cNvPr>
          <p:cNvSpPr>
            <a:spLocks noGrp="1"/>
          </p:cNvSpPr>
          <p:nvPr>
            <p:ph type="title"/>
          </p:nvPr>
        </p:nvSpPr>
        <p:spPr>
          <a:xfrm>
            <a:off x="775252" y="149182"/>
            <a:ext cx="10578548" cy="1180202"/>
          </a:xfrm>
        </p:spPr>
        <p:txBody>
          <a:bodyPr>
            <a:noAutofit/>
          </a:bodyPr>
          <a:lstStyle/>
          <a:p>
            <a:pPr algn="ctr"/>
            <a:r>
              <a:rPr lang="en-US" sz="3200" b="1" dirty="0">
                <a:solidFill>
                  <a:srgbClr val="002060"/>
                </a:solidFill>
                <a:latin typeface="+mn-lt"/>
              </a:rPr>
              <a:t>Preliminary Results from a Phase II Trial of Frontline Acalabrutinib + DA-EPOCH-R or R-CHOP in DLBCL</a:t>
            </a:r>
          </a:p>
        </p:txBody>
      </p:sp>
      <p:sp>
        <p:nvSpPr>
          <p:cNvPr id="47" name="Rectangle 3">
            <a:extLst>
              <a:ext uri="{FF2B5EF4-FFF2-40B4-BE49-F238E27FC236}">
                <a16:creationId xmlns:a16="http://schemas.microsoft.com/office/drawing/2014/main" id="{10910F51-619E-F3C6-3EA8-57436FAF20B9}"/>
              </a:ext>
            </a:extLst>
          </p:cNvPr>
          <p:cNvSpPr>
            <a:spLocks noGrp="1" noChangeArrowheads="1"/>
          </p:cNvSpPr>
          <p:nvPr>
            <p:ph idx="1"/>
          </p:nvPr>
        </p:nvSpPr>
        <p:spPr>
          <a:xfrm>
            <a:off x="90377" y="3654474"/>
            <a:ext cx="2948256" cy="2521734"/>
          </a:xfrm>
          <a:noFill/>
          <a:ln>
            <a:solidFill>
              <a:schemeClr val="tx1"/>
            </a:solidFill>
          </a:ln>
        </p:spPr>
        <p:txBody>
          <a:bodyPr>
            <a:noAutofit/>
          </a:bodyPr>
          <a:lstStyle/>
          <a:p>
            <a:pPr marL="233363" indent="-233363">
              <a:lnSpc>
                <a:spcPct val="85000"/>
              </a:lnSpc>
              <a:spcBef>
                <a:spcPts val="0"/>
              </a:spcBef>
              <a:spcAft>
                <a:spcPts val="600"/>
              </a:spcAft>
              <a:buClr>
                <a:schemeClr val="tx1"/>
              </a:buClr>
            </a:pPr>
            <a:r>
              <a:rPr lang="en-US" altLang="ja-JP" sz="1800" b="1" dirty="0">
                <a:solidFill>
                  <a:schemeClr val="tx1"/>
                </a:solidFill>
              </a:rPr>
              <a:t>Patients who completed tx: n = 27</a:t>
            </a:r>
          </a:p>
          <a:p>
            <a:pPr marL="458788" lvl="1" indent="-225425">
              <a:lnSpc>
                <a:spcPct val="85000"/>
              </a:lnSpc>
              <a:spcBef>
                <a:spcPts val="0"/>
              </a:spcBef>
              <a:spcAft>
                <a:spcPts val="600"/>
              </a:spcAft>
              <a:buClr>
                <a:schemeClr val="tx1"/>
              </a:buClr>
            </a:pPr>
            <a:r>
              <a:rPr lang="en-US" altLang="ja-JP" sz="1800" b="1" dirty="0">
                <a:solidFill>
                  <a:schemeClr val="tx1"/>
                </a:solidFill>
              </a:rPr>
              <a:t>Achieved a CR: 100%</a:t>
            </a:r>
          </a:p>
          <a:p>
            <a:pPr marL="458788" lvl="2" indent="-225425">
              <a:lnSpc>
                <a:spcPct val="85000"/>
              </a:lnSpc>
              <a:spcBef>
                <a:spcPts val="0"/>
              </a:spcBef>
              <a:spcAft>
                <a:spcPts val="600"/>
              </a:spcAft>
              <a:buClr>
                <a:schemeClr val="tx1"/>
              </a:buClr>
            </a:pPr>
            <a:r>
              <a:rPr lang="en-US" altLang="ja-JP" sz="1800" b="1" dirty="0">
                <a:solidFill>
                  <a:schemeClr val="tx1"/>
                </a:solidFill>
              </a:rPr>
              <a:t>Relapsed: n = 1</a:t>
            </a:r>
          </a:p>
          <a:p>
            <a:pPr marL="458788" lvl="2" indent="-225425">
              <a:lnSpc>
                <a:spcPct val="85000"/>
              </a:lnSpc>
              <a:spcBef>
                <a:spcPts val="0"/>
              </a:spcBef>
              <a:spcAft>
                <a:spcPts val="600"/>
              </a:spcAft>
              <a:buClr>
                <a:schemeClr val="tx1"/>
              </a:buClr>
            </a:pPr>
            <a:r>
              <a:rPr lang="en-US" altLang="ja-JP" sz="1800" b="1" dirty="0">
                <a:solidFill>
                  <a:schemeClr val="tx1"/>
                </a:solidFill>
              </a:rPr>
              <a:t>Deaths: n = 1</a:t>
            </a:r>
          </a:p>
          <a:p>
            <a:pPr marL="233363" indent="-233363">
              <a:lnSpc>
                <a:spcPct val="85000"/>
              </a:lnSpc>
              <a:spcBef>
                <a:spcPts val="0"/>
              </a:spcBef>
              <a:spcAft>
                <a:spcPts val="600"/>
              </a:spcAft>
              <a:buClr>
                <a:schemeClr val="tx1"/>
              </a:buClr>
            </a:pPr>
            <a:r>
              <a:rPr lang="en-US" altLang="ja-JP" sz="1800" b="1" dirty="0">
                <a:solidFill>
                  <a:schemeClr val="tx1"/>
                </a:solidFill>
              </a:rPr>
              <a:t>After median follow-up of 9.2 mo, </a:t>
            </a:r>
            <a:r>
              <a:rPr lang="en-US" sz="1800" b="1" dirty="0">
                <a:solidFill>
                  <a:schemeClr val="tx1"/>
                </a:solidFill>
                <a:cs typeface="Calibri" panose="020F0502020204030204" pitchFamily="34" charset="0"/>
              </a:rPr>
              <a:t>1-yr</a:t>
            </a:r>
            <a:br>
              <a:rPr lang="en-US" sz="1800" b="1" dirty="0">
                <a:solidFill>
                  <a:schemeClr val="tx1"/>
                </a:solidFill>
                <a:cs typeface="Calibri" panose="020F0502020204030204" pitchFamily="34" charset="0"/>
              </a:rPr>
            </a:br>
            <a:r>
              <a:rPr lang="en-US" sz="1800" b="1" dirty="0">
                <a:solidFill>
                  <a:schemeClr val="tx1"/>
                </a:solidFill>
                <a:cs typeface="Calibri" panose="020F0502020204030204" pitchFamily="34" charset="0"/>
              </a:rPr>
              <a:t>PFS: 84.9%</a:t>
            </a:r>
            <a:endParaRPr lang="en-US" sz="1800" b="1" i="0" dirty="0">
              <a:solidFill>
                <a:srgbClr val="FFFF00"/>
              </a:solidFill>
              <a:effectLst/>
              <a:cs typeface="Calibri" panose="020F0502020204030204" pitchFamily="34" charset="0"/>
            </a:endParaRPr>
          </a:p>
        </p:txBody>
      </p:sp>
      <p:sp>
        <p:nvSpPr>
          <p:cNvPr id="11" name="Text Box 15">
            <a:extLst>
              <a:ext uri="{FF2B5EF4-FFF2-40B4-BE49-F238E27FC236}">
                <a16:creationId xmlns:a16="http://schemas.microsoft.com/office/drawing/2014/main" id="{9C0A78AF-8813-194C-A430-B1DA49179C64}"/>
              </a:ext>
            </a:extLst>
          </p:cNvPr>
          <p:cNvSpPr txBox="1">
            <a:spLocks noChangeArrowheads="1"/>
          </p:cNvSpPr>
          <p:nvPr/>
        </p:nvSpPr>
        <p:spPr bwMode="auto">
          <a:xfrm>
            <a:off x="434523" y="6401041"/>
            <a:ext cx="7853362" cy="307777"/>
          </a:xfrm>
          <a:prstGeom prst="rect">
            <a:avLst/>
          </a:prstGeom>
          <a:noFill/>
          <a:ln>
            <a:noFill/>
          </a:ln>
        </p:spPr>
        <p:txBody>
          <a:bodyPr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400" b="1" i="0" u="none" strike="noStrike" kern="1200" cap="none" spc="-10" normalizeH="0" baseline="0" noProof="0" dirty="0">
                <a:ln>
                  <a:noFill/>
                </a:ln>
                <a:solidFill>
                  <a:srgbClr val="455560"/>
                </a:solidFill>
                <a:effectLst/>
                <a:uLnTx/>
                <a:uFillTx/>
                <a:latin typeface="Calibri" panose="020F0502020204030204" pitchFamily="34" charset="0"/>
                <a:ea typeface="+mn-ea"/>
                <a:cs typeface="+mn-cs"/>
              </a:rPr>
              <a:t>Roschewski. ASH 2021. Abstr 524.</a:t>
            </a:r>
            <a:endParaRPr kumimoji="0" lang="en-US" altLang="en-US" sz="1400" b="1"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endParaRPr>
          </a:p>
        </p:txBody>
      </p:sp>
      <p:sp>
        <p:nvSpPr>
          <p:cNvPr id="23" name="Text Box 45">
            <a:extLst>
              <a:ext uri="{FF2B5EF4-FFF2-40B4-BE49-F238E27FC236}">
                <a16:creationId xmlns:a16="http://schemas.microsoft.com/office/drawing/2014/main" id="{A2D9F37F-8380-2774-F95A-724274599A3D}"/>
              </a:ext>
            </a:extLst>
          </p:cNvPr>
          <p:cNvSpPr txBox="1">
            <a:spLocks noChangeArrowheads="1"/>
          </p:cNvSpPr>
          <p:nvPr/>
        </p:nvSpPr>
        <p:spPr bwMode="auto">
          <a:xfrm>
            <a:off x="440865" y="1872462"/>
            <a:ext cx="2811525" cy="150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85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 Patients </a:t>
            </a:r>
            <a:r>
              <a:rPr kumimoji="0" lang="en-US" alt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8 yr and </a:t>
            </a:r>
            <a:br>
              <a:rPr kumimoji="0" lang="en-US" alt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alt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ECOG PS 0-2 DLBCL or HGBL, including ABC DLBCL, GCB DLBCL, unclassified DLBCL, and double-hit or triple-hit HGBL </a:t>
            </a:r>
            <a:r>
              <a:rPr kumimoji="0" lang="en-US" alt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 = 34)</a:t>
            </a:r>
            <a:endParaRPr kumimoji="0" lang="en-US" alt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26" name="Line 52">
            <a:extLst>
              <a:ext uri="{FF2B5EF4-FFF2-40B4-BE49-F238E27FC236}">
                <a16:creationId xmlns:a16="http://schemas.microsoft.com/office/drawing/2014/main" id="{B604A588-8749-7244-141B-32FC87CCDE2B}"/>
              </a:ext>
            </a:extLst>
          </p:cNvPr>
          <p:cNvSpPr>
            <a:spLocks noChangeShapeType="1"/>
          </p:cNvSpPr>
          <p:nvPr/>
        </p:nvSpPr>
        <p:spPr bwMode="auto">
          <a:xfrm>
            <a:off x="3204263" y="2573467"/>
            <a:ext cx="479425" cy="0"/>
          </a:xfrm>
          <a:prstGeom prst="line">
            <a:avLst/>
          </a:prstGeom>
          <a:noFill/>
          <a:ln w="28575">
            <a:solidFill>
              <a:schemeClr val="bg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27" name="Rectangle 49">
            <a:extLst>
              <a:ext uri="{FF2B5EF4-FFF2-40B4-BE49-F238E27FC236}">
                <a16:creationId xmlns:a16="http://schemas.microsoft.com/office/drawing/2014/main" id="{0C9BC21E-AE38-5779-97A7-809968FCD2D6}"/>
              </a:ext>
            </a:extLst>
          </p:cNvPr>
          <p:cNvSpPr>
            <a:spLocks noChangeArrowheads="1"/>
          </p:cNvSpPr>
          <p:nvPr/>
        </p:nvSpPr>
        <p:spPr bwMode="auto">
          <a:xfrm>
            <a:off x="3721766" y="1999062"/>
            <a:ext cx="1403686" cy="1113410"/>
          </a:xfrm>
          <a:prstGeom prst="rect">
            <a:avLst/>
          </a:prstGeom>
          <a:solidFill>
            <a:schemeClr val="accent1"/>
          </a:solidFill>
          <a:ln>
            <a:noFill/>
          </a:ln>
        </p:spPr>
        <p:txBody>
          <a:bodyPr wrap="non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85000"/>
              </a:lnSpc>
              <a:spcBef>
                <a:spcPct val="0"/>
              </a:spcBef>
              <a:spcAft>
                <a:spcPct val="0"/>
              </a:spcAft>
              <a:buClrTx/>
              <a:buSzTx/>
              <a:buFontTx/>
              <a:buNone/>
              <a:tabLst/>
              <a:defRPr/>
            </a:pPr>
            <a:r>
              <a:rPr kumimoji="0" lang="en-US" altLang="en-US" sz="175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Acalabrutinib</a:t>
            </a:r>
          </a:p>
          <a:p>
            <a:pPr marL="0" marR="0" lvl="0" indent="0" algn="ctr" defTabSz="914400" rtl="0" eaLnBrk="0" fontAlgn="base" latinLnBrk="0" hangingPunct="0">
              <a:lnSpc>
                <a:spcPct val="85000"/>
              </a:lnSpc>
              <a:spcBef>
                <a:spcPct val="0"/>
              </a:spcBef>
              <a:spcAft>
                <a:spcPct val="0"/>
              </a:spcAft>
              <a:buClrTx/>
              <a:buSzTx/>
              <a:buFontTx/>
              <a:buNone/>
              <a:tabLst/>
              <a:defRPr/>
            </a:pPr>
            <a:r>
              <a:rPr kumimoji="0" lang="en-US" altLang="en-US" sz="175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100 mg BID </a:t>
            </a:r>
          </a:p>
          <a:p>
            <a:pPr marL="0" marR="0" lvl="0" indent="0" algn="ctr" defTabSz="914400" rtl="0" eaLnBrk="0" fontAlgn="base" latinLnBrk="0" hangingPunct="0">
              <a:lnSpc>
                <a:spcPct val="85000"/>
              </a:lnSpc>
              <a:spcBef>
                <a:spcPct val="0"/>
              </a:spcBef>
              <a:spcAft>
                <a:spcPct val="0"/>
              </a:spcAft>
              <a:buClrTx/>
              <a:buSzTx/>
              <a:buFontTx/>
              <a:buNone/>
              <a:tabLst/>
              <a:defRPr/>
            </a:pPr>
            <a:r>
              <a:rPr kumimoji="0" lang="en-US" altLang="en-US" sz="175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for 14 d</a:t>
            </a:r>
            <a:endParaRPr kumimoji="0" lang="en-US" altLang="en-US" sz="175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9" name="Rectangle 49">
            <a:extLst>
              <a:ext uri="{FF2B5EF4-FFF2-40B4-BE49-F238E27FC236}">
                <a16:creationId xmlns:a16="http://schemas.microsoft.com/office/drawing/2014/main" id="{78B0273A-55C7-50C1-2E27-F17E44435402}"/>
              </a:ext>
            </a:extLst>
          </p:cNvPr>
          <p:cNvSpPr>
            <a:spLocks noChangeArrowheads="1"/>
          </p:cNvSpPr>
          <p:nvPr/>
        </p:nvSpPr>
        <p:spPr bwMode="auto">
          <a:xfrm>
            <a:off x="7521850" y="1879131"/>
            <a:ext cx="3904206" cy="627852"/>
          </a:xfrm>
          <a:prstGeom prst="rect">
            <a:avLst/>
          </a:prstGeom>
          <a:solidFill>
            <a:schemeClr val="accent1"/>
          </a:solidFill>
          <a:ln>
            <a:noFill/>
          </a:ln>
        </p:spPr>
        <p:txBody>
          <a:bodyPr wrap="non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85000"/>
              </a:lnSpc>
              <a:spcBef>
                <a:spcPct val="0"/>
              </a:spcBef>
              <a:spcAft>
                <a:spcPct val="0"/>
              </a:spcAft>
              <a:buClrTx/>
              <a:buSzTx/>
              <a:buFontTx/>
              <a:buNone/>
              <a:tabLst/>
              <a:defRPr/>
            </a:pPr>
            <a:r>
              <a:rPr kumimoji="0" lang="en-US" altLang="en-US" sz="175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DA-EPOCH-R or </a:t>
            </a:r>
            <a:r>
              <a:rPr kumimoji="0" lang="en-US" altLang="en-US" sz="175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R-CHOP for 4-6 cycles</a:t>
            </a:r>
            <a:endParaRPr kumimoji="0" lang="en-US" altLang="en-US" sz="175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2" name="Rectangle 49">
            <a:extLst>
              <a:ext uri="{FF2B5EF4-FFF2-40B4-BE49-F238E27FC236}">
                <a16:creationId xmlns:a16="http://schemas.microsoft.com/office/drawing/2014/main" id="{7520B0A0-1E62-AF1C-2EA0-38128E246E56}"/>
              </a:ext>
            </a:extLst>
          </p:cNvPr>
          <p:cNvSpPr>
            <a:spLocks noChangeArrowheads="1"/>
          </p:cNvSpPr>
          <p:nvPr/>
        </p:nvSpPr>
        <p:spPr bwMode="auto">
          <a:xfrm>
            <a:off x="5644310" y="1879130"/>
            <a:ext cx="1382130" cy="627853"/>
          </a:xfrm>
          <a:prstGeom prst="rect">
            <a:avLst/>
          </a:prstGeom>
          <a:solidFill>
            <a:schemeClr val="accent1"/>
          </a:solidFill>
          <a:ln>
            <a:noFill/>
          </a:ln>
        </p:spPr>
        <p:txBody>
          <a:bodyPr wrap="non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85000"/>
              </a:lnSpc>
              <a:spcBef>
                <a:spcPct val="0"/>
              </a:spcBef>
              <a:spcAft>
                <a:spcPct val="0"/>
              </a:spcAft>
              <a:buClrTx/>
              <a:buSzTx/>
              <a:buFontTx/>
              <a:buNone/>
              <a:tabLst/>
              <a:defRPr/>
            </a:pPr>
            <a:r>
              <a:rPr kumimoji="0" lang="en-US" altLang="en-US" sz="18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pitchFamily="34" charset="-128"/>
                <a:cs typeface="Arial" panose="020B0604020202020204" pitchFamily="34" charset="0"/>
              </a:rPr>
              <a:t>&lt;25% </a:t>
            </a:r>
            <a:endParaRPr kumimoji="0" lang="en-US" altLang="en-US" sz="1800" b="0" i="0" u="none" strike="noStrike" kern="1200" cap="none" spc="0" normalizeH="0" baseline="0" noProof="0" dirty="0">
              <a:ln>
                <a:noFill/>
              </a:ln>
              <a:solidFill>
                <a:srgbClr val="FFFFFF"/>
              </a:solidFill>
              <a:effectLst/>
              <a:uLnTx/>
              <a:uFillTx/>
              <a:latin typeface="Calibri" panose="020F0502020204030204" pitchFamily="34" charset="0"/>
              <a:ea typeface="ＭＳ Ｐゴシック" pitchFamily="34" charset="-128"/>
              <a:cs typeface="Arial" panose="020B0604020202020204" pitchFamily="34" charset="0"/>
            </a:endParaRPr>
          </a:p>
        </p:txBody>
      </p:sp>
      <p:sp>
        <p:nvSpPr>
          <p:cNvPr id="33" name="Rectangle 50">
            <a:extLst>
              <a:ext uri="{FF2B5EF4-FFF2-40B4-BE49-F238E27FC236}">
                <a16:creationId xmlns:a16="http://schemas.microsoft.com/office/drawing/2014/main" id="{80E87D4F-9A49-F72B-592C-0F9B06A9A63C}"/>
              </a:ext>
            </a:extLst>
          </p:cNvPr>
          <p:cNvSpPr>
            <a:spLocks noChangeArrowheads="1"/>
          </p:cNvSpPr>
          <p:nvPr/>
        </p:nvSpPr>
        <p:spPr bwMode="auto">
          <a:xfrm>
            <a:off x="5644310" y="2595296"/>
            <a:ext cx="1382130" cy="627852"/>
          </a:xfrm>
          <a:prstGeom prst="rect">
            <a:avLst/>
          </a:prstGeom>
          <a:solidFill>
            <a:srgbClr val="015873"/>
          </a:solidFill>
          <a:ln>
            <a:noFill/>
          </a:ln>
        </p:spPr>
        <p:txBody>
          <a:bodyPr wrap="non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85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FFFFFF"/>
                </a:solidFill>
                <a:effectLst/>
                <a:uLnTx/>
                <a:uFillTx/>
                <a:latin typeface="Calibri" panose="020F0502020204030204" pitchFamily="34" charset="0"/>
                <a:ea typeface="ＭＳ Ｐゴシック" pitchFamily="34" charset="-128"/>
                <a:cs typeface="+mn-cs"/>
              </a:rPr>
              <a:t>≥25%</a:t>
            </a:r>
            <a:endParaRPr kumimoji="0" lang="en-US" altLang="en-US" sz="1800" b="0" i="0" u="none" strike="noStrike" kern="1200" cap="none" spc="0" normalizeH="0" baseline="0" noProof="0" dirty="0">
              <a:ln>
                <a:noFill/>
              </a:ln>
              <a:solidFill>
                <a:srgbClr val="FFFFFF"/>
              </a:solidFill>
              <a:effectLst/>
              <a:uLnTx/>
              <a:uFillTx/>
              <a:latin typeface="Calibri" panose="020F0502020204030204" pitchFamily="34" charset="0"/>
              <a:ea typeface="ＭＳ Ｐゴシック" pitchFamily="34" charset="-128"/>
              <a:cs typeface="Arial" panose="020B0604020202020204" pitchFamily="34" charset="0"/>
            </a:endParaRPr>
          </a:p>
        </p:txBody>
      </p:sp>
      <p:grpSp>
        <p:nvGrpSpPr>
          <p:cNvPr id="12" name="Group 11">
            <a:extLst>
              <a:ext uri="{FF2B5EF4-FFF2-40B4-BE49-F238E27FC236}">
                <a16:creationId xmlns:a16="http://schemas.microsoft.com/office/drawing/2014/main" id="{2E96AC6A-6CCB-8DB9-6CCD-59E9F0F62A0C}"/>
              </a:ext>
            </a:extLst>
          </p:cNvPr>
          <p:cNvGrpSpPr/>
          <p:nvPr/>
        </p:nvGrpSpPr>
        <p:grpSpPr>
          <a:xfrm>
            <a:off x="7013403" y="2215857"/>
            <a:ext cx="492462" cy="715220"/>
            <a:chOff x="7013403" y="2193056"/>
            <a:chExt cx="492462" cy="715220"/>
          </a:xfrm>
        </p:grpSpPr>
        <p:sp>
          <p:nvSpPr>
            <p:cNvPr id="36" name="Line 52">
              <a:extLst>
                <a:ext uri="{FF2B5EF4-FFF2-40B4-BE49-F238E27FC236}">
                  <a16:creationId xmlns:a16="http://schemas.microsoft.com/office/drawing/2014/main" id="{FF3F3C1A-A01F-4B6D-D7D4-2BF4DF2AA85E}"/>
                </a:ext>
              </a:extLst>
            </p:cNvPr>
            <p:cNvSpPr>
              <a:spLocks noChangeShapeType="1"/>
            </p:cNvSpPr>
            <p:nvPr/>
          </p:nvSpPr>
          <p:spPr bwMode="auto">
            <a:xfrm>
              <a:off x="7026440" y="2193056"/>
              <a:ext cx="479425"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37" name="Line 52">
              <a:extLst>
                <a:ext uri="{FF2B5EF4-FFF2-40B4-BE49-F238E27FC236}">
                  <a16:creationId xmlns:a16="http://schemas.microsoft.com/office/drawing/2014/main" id="{5A7E04AF-1981-DBBE-0228-AE57FD925433}"/>
                </a:ext>
              </a:extLst>
            </p:cNvPr>
            <p:cNvSpPr>
              <a:spLocks noChangeShapeType="1"/>
            </p:cNvSpPr>
            <p:nvPr/>
          </p:nvSpPr>
          <p:spPr bwMode="auto">
            <a:xfrm>
              <a:off x="7013403" y="2908276"/>
              <a:ext cx="479425"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grpSp>
      <p:sp>
        <p:nvSpPr>
          <p:cNvPr id="38" name="Rectangle 49">
            <a:extLst>
              <a:ext uri="{FF2B5EF4-FFF2-40B4-BE49-F238E27FC236}">
                <a16:creationId xmlns:a16="http://schemas.microsoft.com/office/drawing/2014/main" id="{8F469BC4-E5F8-88E5-A10B-6666FC434095}"/>
              </a:ext>
            </a:extLst>
          </p:cNvPr>
          <p:cNvSpPr>
            <a:spLocks noChangeArrowheads="1"/>
          </p:cNvSpPr>
          <p:nvPr/>
        </p:nvSpPr>
        <p:spPr bwMode="auto">
          <a:xfrm>
            <a:off x="7529872" y="2594350"/>
            <a:ext cx="3904206" cy="627852"/>
          </a:xfrm>
          <a:prstGeom prst="rect">
            <a:avLst/>
          </a:prstGeom>
          <a:solidFill>
            <a:srgbClr val="E1471D"/>
          </a:solidFill>
          <a:ln>
            <a:noFill/>
          </a:ln>
        </p:spPr>
        <p:txBody>
          <a:bodyPr wrap="non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85000"/>
              </a:lnSpc>
              <a:spcBef>
                <a:spcPct val="0"/>
              </a:spcBef>
              <a:spcAft>
                <a:spcPct val="0"/>
              </a:spcAft>
              <a:buClrTx/>
              <a:buSzTx/>
              <a:buFontTx/>
              <a:buNone/>
              <a:tabLst/>
              <a:defRPr/>
            </a:pPr>
            <a:r>
              <a:rPr kumimoji="0" lang="en-US" altLang="en-US" sz="175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DA-EPOCH-R or </a:t>
            </a:r>
            <a:r>
              <a:rPr kumimoji="0" lang="en-US" altLang="en-US" sz="175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R-CHOP for 4-6 cycles </a:t>
            </a:r>
          </a:p>
          <a:p>
            <a:pPr marL="0" marR="0" lvl="0" indent="0" algn="ctr" defTabSz="914400" rtl="0" eaLnBrk="0" fontAlgn="base" latinLnBrk="0" hangingPunct="0">
              <a:lnSpc>
                <a:spcPct val="85000"/>
              </a:lnSpc>
              <a:spcBef>
                <a:spcPct val="0"/>
              </a:spcBef>
              <a:spcAft>
                <a:spcPct val="0"/>
              </a:spcAft>
              <a:buClrTx/>
              <a:buSzTx/>
              <a:buFontTx/>
              <a:buNone/>
              <a:tabLst/>
              <a:defRPr/>
            </a:pPr>
            <a:r>
              <a:rPr kumimoji="0" lang="en-US" altLang="en-US" sz="175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 Acalabrutinib for 10 days/cycle</a:t>
            </a:r>
          </a:p>
        </p:txBody>
      </p:sp>
      <p:sp>
        <p:nvSpPr>
          <p:cNvPr id="39" name="Rectangle 46">
            <a:extLst>
              <a:ext uri="{FF2B5EF4-FFF2-40B4-BE49-F238E27FC236}">
                <a16:creationId xmlns:a16="http://schemas.microsoft.com/office/drawing/2014/main" id="{ECA07943-D7F1-390C-2267-8AAE7CF6B154}"/>
              </a:ext>
            </a:extLst>
          </p:cNvPr>
          <p:cNvSpPr>
            <a:spLocks noChangeArrowheads="1"/>
          </p:cNvSpPr>
          <p:nvPr/>
        </p:nvSpPr>
        <p:spPr bwMode="auto">
          <a:xfrm>
            <a:off x="714957" y="1554221"/>
            <a:ext cx="226334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1" i="1"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Previously Untreated</a:t>
            </a:r>
          </a:p>
        </p:txBody>
      </p:sp>
      <p:sp>
        <p:nvSpPr>
          <p:cNvPr id="40" name="Rectangle 46">
            <a:extLst>
              <a:ext uri="{FF2B5EF4-FFF2-40B4-BE49-F238E27FC236}">
                <a16:creationId xmlns:a16="http://schemas.microsoft.com/office/drawing/2014/main" id="{A4FC59FB-3FA7-F369-08E1-AD2B7F0EEF81}"/>
              </a:ext>
            </a:extLst>
          </p:cNvPr>
          <p:cNvSpPr>
            <a:spLocks noChangeArrowheads="1"/>
          </p:cNvSpPr>
          <p:nvPr/>
        </p:nvSpPr>
        <p:spPr bwMode="auto">
          <a:xfrm>
            <a:off x="3606246" y="1554221"/>
            <a:ext cx="160312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1" i="1"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Tx Window</a:t>
            </a:r>
          </a:p>
        </p:txBody>
      </p:sp>
      <p:sp>
        <p:nvSpPr>
          <p:cNvPr id="41" name="Rectangle 46">
            <a:extLst>
              <a:ext uri="{FF2B5EF4-FFF2-40B4-BE49-F238E27FC236}">
                <a16:creationId xmlns:a16="http://schemas.microsoft.com/office/drawing/2014/main" id="{FAA890AA-1112-EA19-D96B-5F79EEB6287C}"/>
              </a:ext>
            </a:extLst>
          </p:cNvPr>
          <p:cNvSpPr>
            <a:spLocks noChangeArrowheads="1"/>
          </p:cNvSpPr>
          <p:nvPr/>
        </p:nvSpPr>
        <p:spPr bwMode="auto">
          <a:xfrm>
            <a:off x="5303002" y="1554218"/>
            <a:ext cx="211451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1" i="1"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Tumor Size Reduction</a:t>
            </a:r>
          </a:p>
        </p:txBody>
      </p:sp>
      <p:sp>
        <p:nvSpPr>
          <p:cNvPr id="42" name="Rectangle 46">
            <a:extLst>
              <a:ext uri="{FF2B5EF4-FFF2-40B4-BE49-F238E27FC236}">
                <a16:creationId xmlns:a16="http://schemas.microsoft.com/office/drawing/2014/main" id="{6A3020B4-2BCC-31FA-8F31-0754AC9F2B08}"/>
              </a:ext>
            </a:extLst>
          </p:cNvPr>
          <p:cNvSpPr>
            <a:spLocks noChangeArrowheads="1"/>
          </p:cNvSpPr>
          <p:nvPr/>
        </p:nvSpPr>
        <p:spPr bwMode="auto">
          <a:xfrm>
            <a:off x="8342283" y="1554221"/>
            <a:ext cx="226334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1" i="1"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Combination Tx</a:t>
            </a:r>
          </a:p>
        </p:txBody>
      </p:sp>
      <p:graphicFrame>
        <p:nvGraphicFramePr>
          <p:cNvPr id="45" name="Group 3">
            <a:extLst>
              <a:ext uri="{FF2B5EF4-FFF2-40B4-BE49-F238E27FC236}">
                <a16:creationId xmlns:a16="http://schemas.microsoft.com/office/drawing/2014/main" id="{02EBAF97-5A41-91A6-A9A8-69607EA0EDE6}"/>
              </a:ext>
            </a:extLst>
          </p:cNvPr>
          <p:cNvGraphicFramePr>
            <a:graphicFrameLocks/>
          </p:cNvGraphicFramePr>
          <p:nvPr/>
        </p:nvGraphicFramePr>
        <p:xfrm>
          <a:off x="7533407" y="3332476"/>
          <a:ext cx="3906906" cy="1824040"/>
        </p:xfrm>
        <a:graphic>
          <a:graphicData uri="http://schemas.openxmlformats.org/drawingml/2006/table">
            <a:tbl>
              <a:tblPr>
                <a:tableStyleId>{69C7853C-536D-4A76-A0AE-DD22124D55A5}</a:tableStyleId>
              </a:tblPr>
              <a:tblGrid>
                <a:gridCol w="1978888">
                  <a:extLst>
                    <a:ext uri="{9D8B030D-6E8A-4147-A177-3AD203B41FA5}">
                      <a16:colId xmlns:a16="http://schemas.microsoft.com/office/drawing/2014/main" val="20000"/>
                    </a:ext>
                  </a:extLst>
                </a:gridCol>
                <a:gridCol w="851369">
                  <a:extLst>
                    <a:ext uri="{9D8B030D-6E8A-4147-A177-3AD203B41FA5}">
                      <a16:colId xmlns:a16="http://schemas.microsoft.com/office/drawing/2014/main" val="20001"/>
                    </a:ext>
                  </a:extLst>
                </a:gridCol>
                <a:gridCol w="1076649">
                  <a:extLst>
                    <a:ext uri="{9D8B030D-6E8A-4147-A177-3AD203B41FA5}">
                      <a16:colId xmlns:a16="http://schemas.microsoft.com/office/drawing/2014/main" val="2312569251"/>
                    </a:ext>
                  </a:extLst>
                </a:gridCol>
              </a:tblGrid>
              <a:tr h="350781">
                <a:tc rowSpan="2">
                  <a:txBody>
                    <a:bodyPr/>
                    <a:lstStyle/>
                    <a:p>
                      <a:pPr marL="0" marR="0" lvl="0" indent="0" algn="l" defTabSz="914400" rtl="0" eaLnBrk="1" fontAlgn="base" latinLnBrk="0" hangingPunct="1">
                        <a:lnSpc>
                          <a:spcPct val="85000"/>
                        </a:lnSpc>
                        <a:spcBef>
                          <a:spcPct val="0"/>
                        </a:spcBef>
                        <a:spcAft>
                          <a:spcPct val="0"/>
                        </a:spcAft>
                        <a:buClr>
                          <a:schemeClr val="accent2"/>
                        </a:buClr>
                        <a:buSzTx/>
                        <a:buFont typeface="Wingdings" pitchFamily="2" charset="2"/>
                        <a:buNone/>
                        <a:tabLst/>
                      </a:pPr>
                      <a:r>
                        <a:rPr kumimoji="0" lang="en-GB" sz="1600" b="1" u="none" strike="noStrike" cap="none" normalizeH="0" baseline="0" dirty="0">
                          <a:ln>
                            <a:noFill/>
                          </a:ln>
                          <a:solidFill>
                            <a:schemeClr val="tx1"/>
                          </a:solidFill>
                          <a:effectLst/>
                        </a:rPr>
                        <a:t>AEs Across </a:t>
                      </a:r>
                      <a:br>
                        <a:rPr kumimoji="0" lang="en-GB" sz="1600" b="1" u="none" strike="noStrike" cap="none" normalizeH="0" baseline="0" dirty="0">
                          <a:ln>
                            <a:noFill/>
                          </a:ln>
                          <a:solidFill>
                            <a:schemeClr val="tx1"/>
                          </a:solidFill>
                          <a:effectLst/>
                        </a:rPr>
                      </a:br>
                      <a:r>
                        <a:rPr kumimoji="0" lang="en-GB" sz="1600" b="1" u="none" strike="noStrike" cap="none" normalizeH="0" baseline="0" dirty="0">
                          <a:ln>
                            <a:noFill/>
                          </a:ln>
                          <a:solidFill>
                            <a:schemeClr val="tx1"/>
                          </a:solidFill>
                          <a:effectLst/>
                        </a:rPr>
                        <a:t>156 Cycles in </a:t>
                      </a:r>
                      <a:br>
                        <a:rPr kumimoji="0" lang="en-GB" sz="1600" b="1" u="none" strike="noStrike" cap="none" normalizeH="0" baseline="0" dirty="0">
                          <a:ln>
                            <a:noFill/>
                          </a:ln>
                          <a:solidFill>
                            <a:schemeClr val="tx1"/>
                          </a:solidFill>
                          <a:effectLst/>
                        </a:rPr>
                      </a:br>
                      <a:r>
                        <a:rPr kumimoji="0" lang="en-GB" sz="1600" b="1" u="none" strike="noStrike" cap="none" normalizeH="0" baseline="0" dirty="0">
                          <a:ln>
                            <a:noFill/>
                          </a:ln>
                          <a:solidFill>
                            <a:schemeClr val="tx1"/>
                          </a:solidFill>
                          <a:effectLst/>
                        </a:rPr>
                        <a:t>34 Patients, %</a:t>
                      </a:r>
                      <a:endParaRPr kumimoji="0" lang="en-GB" sz="1600" b="1" i="0" u="none" strike="noStrike" cap="none" normalizeH="0" baseline="0" dirty="0">
                        <a:ln>
                          <a:noFill/>
                        </a:ln>
                        <a:solidFill>
                          <a:schemeClr val="tx1"/>
                        </a:solidFill>
                        <a:effectLst/>
                        <a:latin typeface="Calibri" panose="020F0502020204030204" pitchFamily="34" charset="0"/>
                      </a:endParaRPr>
                    </a:p>
                  </a:txBody>
                  <a:tcPr marL="121699" marR="121699" marT="45728" marB="45728" anchor="ctr" horzOverflow="overflow"/>
                </a:tc>
                <a:tc gridSpan="2">
                  <a:txBody>
                    <a:bodyPr/>
                    <a:lstStyle/>
                    <a:p>
                      <a:pPr marL="0" marR="0" lvl="0" indent="0" algn="ctr" defTabSz="914400" rtl="0" eaLnBrk="1" fontAlgn="base" latinLnBrk="0" hangingPunct="1">
                        <a:lnSpc>
                          <a:spcPct val="85000"/>
                        </a:lnSpc>
                        <a:spcBef>
                          <a:spcPct val="0"/>
                        </a:spcBef>
                        <a:spcAft>
                          <a:spcPct val="0"/>
                        </a:spcAft>
                        <a:buClr>
                          <a:schemeClr val="accent2"/>
                        </a:buClr>
                        <a:buSzTx/>
                        <a:buFont typeface="Wingdings" pitchFamily="2" charset="2"/>
                        <a:buNone/>
                        <a:tabLst/>
                      </a:pPr>
                      <a:r>
                        <a:rPr kumimoji="0" lang="en-US" sz="1600" b="1" u="none" strike="noStrike" cap="none" normalizeH="0" baseline="0" dirty="0">
                          <a:ln>
                            <a:noFill/>
                          </a:ln>
                          <a:solidFill>
                            <a:schemeClr val="tx1"/>
                          </a:solidFill>
                          <a:effectLst/>
                        </a:rPr>
                        <a:t>Acala  + R-Chemo</a:t>
                      </a:r>
                      <a:endParaRPr kumimoji="0" lang="en-US" sz="1600" b="1" i="0" u="none" strike="noStrike" cap="none" normalizeH="0" baseline="0" dirty="0">
                        <a:ln>
                          <a:noFill/>
                        </a:ln>
                        <a:solidFill>
                          <a:schemeClr val="tx1"/>
                        </a:solidFill>
                        <a:effectLst/>
                        <a:latin typeface="Calibri" panose="020F0502020204030204" pitchFamily="34" charset="0"/>
                      </a:endParaRPr>
                    </a:p>
                  </a:txBody>
                  <a:tcPr marL="121699" marR="121699" marT="45728" marB="45728" anchor="ctr" horzOverflow="overflow"/>
                </a:tc>
                <a:tc hMerge="1">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US" sz="1600" b="1" i="0" u="none" strike="noStrike" cap="none" normalizeH="0" baseline="0" dirty="0">
                        <a:ln>
                          <a:noFill/>
                        </a:ln>
                        <a:solidFill>
                          <a:schemeClr val="tx1"/>
                        </a:solidFill>
                        <a:effectLst/>
                        <a:latin typeface="Calibri" panose="020F0502020204030204" pitchFamily="34" charset="0"/>
                      </a:endParaRP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extLst>
                  <a:ext uri="{0D108BD9-81ED-4DB2-BD59-A6C34878D82A}">
                    <a16:rowId xmlns:a16="http://schemas.microsoft.com/office/drawing/2014/main" val="2658092508"/>
                  </a:ext>
                </a:extLst>
              </a:tr>
              <a:tr h="163764">
                <a:tc vMerge="1">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GB" sz="1600" b="1" i="0" u="none" strike="noStrike" cap="none" normalizeH="0" baseline="0" dirty="0">
                        <a:ln>
                          <a:noFill/>
                        </a:ln>
                        <a:solidFill>
                          <a:schemeClr val="tx1"/>
                        </a:solidFill>
                        <a:effectLst/>
                        <a:latin typeface="Calibri" panose="020F0502020204030204" pitchFamily="34" charset="0"/>
                      </a:endParaRP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a:txBody>
                    <a:bodyPr/>
                    <a:lstStyle/>
                    <a:p>
                      <a:pPr marL="0" marR="0" lvl="0" indent="0" algn="ctr" defTabSz="914400" rtl="0" eaLnBrk="1" fontAlgn="base" latinLnBrk="0" hangingPunct="1">
                        <a:lnSpc>
                          <a:spcPct val="85000"/>
                        </a:lnSpc>
                        <a:spcBef>
                          <a:spcPct val="0"/>
                        </a:spcBef>
                        <a:spcAft>
                          <a:spcPct val="0"/>
                        </a:spcAft>
                        <a:buClr>
                          <a:schemeClr val="accent2"/>
                        </a:buClr>
                        <a:buSzTx/>
                        <a:buFont typeface="Wingdings" pitchFamily="2" charset="2"/>
                        <a:buNone/>
                        <a:tabLst/>
                      </a:pPr>
                      <a:r>
                        <a:rPr kumimoji="0" lang="en-US" sz="1600" b="1" u="none" strike="noStrike" cap="none" normalizeH="0" baseline="0" dirty="0">
                          <a:ln>
                            <a:noFill/>
                          </a:ln>
                          <a:solidFill>
                            <a:schemeClr val="tx1"/>
                          </a:solidFill>
                          <a:effectLst/>
                        </a:rPr>
                        <a:t>Gr 3</a:t>
                      </a:r>
                      <a:endParaRPr kumimoji="0" lang="en-US" sz="1600" b="1" i="0" u="none" strike="noStrike" cap="none" normalizeH="0" baseline="0" dirty="0">
                        <a:ln>
                          <a:noFill/>
                        </a:ln>
                        <a:solidFill>
                          <a:schemeClr val="tx1"/>
                        </a:solidFill>
                        <a:effectLst/>
                        <a:latin typeface="Calibri" panose="020F0502020204030204" pitchFamily="34" charset="0"/>
                      </a:endParaRPr>
                    </a:p>
                  </a:txBody>
                  <a:tcPr marL="121699" marR="121699" marT="45728" marB="45728" anchor="ctr" horzOverflow="overflow"/>
                </a:tc>
                <a:tc>
                  <a:txBody>
                    <a:bodyPr/>
                    <a:lstStyle/>
                    <a:p>
                      <a:pPr marL="0" marR="0" lvl="0" indent="0" algn="ctr" defTabSz="914400" rtl="0" eaLnBrk="1" fontAlgn="base" latinLnBrk="0" hangingPunct="1">
                        <a:lnSpc>
                          <a:spcPct val="85000"/>
                        </a:lnSpc>
                        <a:spcBef>
                          <a:spcPct val="0"/>
                        </a:spcBef>
                        <a:spcAft>
                          <a:spcPct val="0"/>
                        </a:spcAft>
                        <a:buClr>
                          <a:schemeClr val="accent2"/>
                        </a:buClr>
                        <a:buSzTx/>
                        <a:buFont typeface="Wingdings" pitchFamily="2" charset="2"/>
                        <a:buNone/>
                        <a:tabLst/>
                      </a:pPr>
                      <a:r>
                        <a:rPr kumimoji="0" lang="en-US" sz="1600" b="1" u="none" strike="noStrike" cap="none" normalizeH="0" baseline="0" dirty="0">
                          <a:ln>
                            <a:noFill/>
                          </a:ln>
                          <a:solidFill>
                            <a:schemeClr val="tx1"/>
                          </a:solidFill>
                          <a:effectLst/>
                        </a:rPr>
                        <a:t>Gr 4</a:t>
                      </a:r>
                      <a:endParaRPr kumimoji="0" lang="en-US" sz="1600" b="1" i="0" u="none" strike="noStrike" cap="none" normalizeH="0" baseline="0" dirty="0">
                        <a:ln>
                          <a:noFill/>
                        </a:ln>
                        <a:solidFill>
                          <a:schemeClr val="tx1"/>
                        </a:solidFill>
                        <a:effectLst/>
                        <a:latin typeface="Calibri" panose="020F0502020204030204" pitchFamily="34" charset="0"/>
                      </a:endParaRPr>
                    </a:p>
                  </a:txBody>
                  <a:tcPr marL="121699" marR="121699" marT="45728" marB="45728" anchor="ctr" horzOverflow="overflow"/>
                </a:tc>
                <a:extLst>
                  <a:ext uri="{0D108BD9-81ED-4DB2-BD59-A6C34878D82A}">
                    <a16:rowId xmlns:a16="http://schemas.microsoft.com/office/drawing/2014/main" val="2912435165"/>
                  </a:ext>
                </a:extLst>
              </a:tr>
              <a:tr h="227825">
                <a:tc>
                  <a:txBody>
                    <a:bodyPr/>
                    <a:lstStyle/>
                    <a:p>
                      <a:pPr marL="0" marR="0" lvl="0" indent="0" algn="l" defTabSz="914400" rtl="0" eaLnBrk="1" fontAlgn="base" latinLnBrk="0" hangingPunct="1">
                        <a:lnSpc>
                          <a:spcPct val="85000"/>
                        </a:lnSpc>
                        <a:spcBef>
                          <a:spcPct val="0"/>
                        </a:spcBef>
                        <a:spcAft>
                          <a:spcPct val="0"/>
                        </a:spcAft>
                        <a:buClr>
                          <a:schemeClr val="accent2"/>
                        </a:buClr>
                        <a:buSzTx/>
                        <a:buFont typeface="Wingdings" pitchFamily="2" charset="2"/>
                        <a:buNone/>
                        <a:tabLst/>
                      </a:pPr>
                      <a:r>
                        <a:rPr kumimoji="0" lang="en-US" sz="1600" b="0" u="none" strike="noStrike" cap="none" normalizeH="0" baseline="0" dirty="0">
                          <a:ln>
                            <a:noFill/>
                          </a:ln>
                          <a:solidFill>
                            <a:schemeClr val="bg2">
                              <a:lumMod val="10000"/>
                            </a:schemeClr>
                          </a:solidFill>
                          <a:effectLst/>
                        </a:rPr>
                        <a:t>Neutropenia</a:t>
                      </a:r>
                      <a:endParaRPr kumimoji="0" lang="en-US" sz="1600" b="0" i="0" u="none" strike="noStrike" cap="none" normalizeH="0" baseline="0" dirty="0">
                        <a:ln>
                          <a:noFill/>
                        </a:ln>
                        <a:solidFill>
                          <a:schemeClr val="bg2">
                            <a:lumMod val="10000"/>
                          </a:schemeClr>
                        </a:solidFill>
                        <a:effectLst/>
                        <a:latin typeface="Calibri" panose="020F0502020204030204" pitchFamily="34" charset="0"/>
                      </a:endParaRPr>
                    </a:p>
                  </a:txBody>
                  <a:tcPr marL="121699" marR="121699" marT="45728" marB="45728" anchor="ctr" horzOverflow="overflow"/>
                </a:tc>
                <a:tc>
                  <a:txBody>
                    <a:bodyPr/>
                    <a:lstStyle/>
                    <a:p>
                      <a:pPr marL="0" marR="0" lvl="0" indent="0" algn="ctr" defTabSz="914400" rtl="0" eaLnBrk="1" fontAlgn="base" latinLnBrk="0" hangingPunct="1">
                        <a:lnSpc>
                          <a:spcPct val="85000"/>
                        </a:lnSpc>
                        <a:spcBef>
                          <a:spcPct val="0"/>
                        </a:spcBef>
                        <a:spcAft>
                          <a:spcPct val="0"/>
                        </a:spcAft>
                        <a:buClr>
                          <a:schemeClr val="accent2"/>
                        </a:buClr>
                        <a:buSzTx/>
                        <a:buFont typeface="Wingdings" pitchFamily="2" charset="2"/>
                        <a:buNone/>
                        <a:tabLst/>
                      </a:pPr>
                      <a:r>
                        <a:rPr kumimoji="0" lang="en-US" sz="1600" b="0" u="none" strike="noStrike" cap="none" normalizeH="0" baseline="0" dirty="0">
                          <a:ln>
                            <a:noFill/>
                          </a:ln>
                          <a:solidFill>
                            <a:schemeClr val="bg2">
                              <a:lumMod val="10000"/>
                            </a:schemeClr>
                          </a:solidFill>
                          <a:effectLst/>
                        </a:rPr>
                        <a:t>50</a:t>
                      </a:r>
                      <a:endParaRPr kumimoji="0" lang="en-US" sz="1600" b="0" i="0" u="none" strike="noStrike" cap="none" normalizeH="0" baseline="0" dirty="0">
                        <a:ln>
                          <a:noFill/>
                        </a:ln>
                        <a:solidFill>
                          <a:schemeClr val="bg2">
                            <a:lumMod val="10000"/>
                          </a:schemeClr>
                        </a:solidFill>
                        <a:effectLst/>
                        <a:latin typeface="Calibri" panose="020F0502020204030204" pitchFamily="34" charset="0"/>
                      </a:endParaRPr>
                    </a:p>
                  </a:txBody>
                  <a:tcPr marL="121699" marR="121699" marT="45728" marB="45728" anchor="ctr" horzOverflow="overflow"/>
                </a:tc>
                <a:tc>
                  <a:txBody>
                    <a:bodyPr/>
                    <a:lstStyle/>
                    <a:p>
                      <a:pPr marL="0" marR="0" lvl="0" indent="0" algn="ctr" defTabSz="914400" rtl="0" eaLnBrk="1" fontAlgn="base" latinLnBrk="0" hangingPunct="1">
                        <a:lnSpc>
                          <a:spcPct val="85000"/>
                        </a:lnSpc>
                        <a:spcBef>
                          <a:spcPct val="0"/>
                        </a:spcBef>
                        <a:spcAft>
                          <a:spcPct val="0"/>
                        </a:spcAft>
                        <a:buClr>
                          <a:schemeClr val="accent2"/>
                        </a:buClr>
                        <a:buSzTx/>
                        <a:buFont typeface="Wingdings" pitchFamily="2" charset="2"/>
                        <a:buNone/>
                        <a:tabLst/>
                      </a:pPr>
                      <a:r>
                        <a:rPr kumimoji="0" lang="en-US" sz="1600" b="0" u="none" strike="noStrike" cap="none" normalizeH="0" baseline="0" dirty="0">
                          <a:ln>
                            <a:noFill/>
                          </a:ln>
                          <a:solidFill>
                            <a:schemeClr val="bg2">
                              <a:lumMod val="10000"/>
                            </a:schemeClr>
                          </a:solidFill>
                          <a:effectLst/>
                        </a:rPr>
                        <a:t>38</a:t>
                      </a:r>
                      <a:endParaRPr kumimoji="0" lang="en-US" sz="1600" b="0" i="0" u="none" strike="noStrike" cap="none" normalizeH="0" baseline="0" dirty="0">
                        <a:ln>
                          <a:noFill/>
                        </a:ln>
                        <a:solidFill>
                          <a:schemeClr val="bg2">
                            <a:lumMod val="10000"/>
                          </a:schemeClr>
                        </a:solidFill>
                        <a:effectLst/>
                        <a:latin typeface="Calibri" panose="020F0502020204030204" pitchFamily="34" charset="0"/>
                      </a:endParaRPr>
                    </a:p>
                  </a:txBody>
                  <a:tcPr marL="121699" marR="121699" marT="45728" marB="45728" anchor="ctr" horzOverflow="overflow"/>
                </a:tc>
                <a:extLst>
                  <a:ext uri="{0D108BD9-81ED-4DB2-BD59-A6C34878D82A}">
                    <a16:rowId xmlns:a16="http://schemas.microsoft.com/office/drawing/2014/main" val="10002"/>
                  </a:ext>
                </a:extLst>
              </a:tr>
              <a:tr h="227825">
                <a:tc>
                  <a:txBody>
                    <a:bodyPr/>
                    <a:lstStyle/>
                    <a:p>
                      <a:pPr marL="0" marR="0" lvl="0" indent="0" algn="l" defTabSz="914400" rtl="0" eaLnBrk="1" fontAlgn="base" latinLnBrk="0" hangingPunct="1">
                        <a:lnSpc>
                          <a:spcPct val="85000"/>
                        </a:lnSpc>
                        <a:spcBef>
                          <a:spcPct val="0"/>
                        </a:spcBef>
                        <a:spcAft>
                          <a:spcPct val="0"/>
                        </a:spcAft>
                        <a:buClr>
                          <a:schemeClr val="accent2"/>
                        </a:buClr>
                        <a:buSzTx/>
                        <a:buFont typeface="Wingdings" pitchFamily="2" charset="2"/>
                        <a:buNone/>
                        <a:tabLst/>
                      </a:pPr>
                      <a:r>
                        <a:rPr kumimoji="0" lang="en-US" sz="1600" b="0" u="none" strike="noStrike" cap="none" normalizeH="0" baseline="0" dirty="0">
                          <a:ln>
                            <a:noFill/>
                          </a:ln>
                          <a:solidFill>
                            <a:schemeClr val="bg2">
                              <a:lumMod val="10000"/>
                            </a:schemeClr>
                          </a:solidFill>
                          <a:effectLst/>
                        </a:rPr>
                        <a:t>Thrombocytopenia</a:t>
                      </a:r>
                      <a:endParaRPr kumimoji="0" lang="en-US" sz="1600" b="0" i="0" u="none" strike="noStrike" cap="none" normalizeH="0" baseline="0" dirty="0">
                        <a:ln>
                          <a:noFill/>
                        </a:ln>
                        <a:solidFill>
                          <a:schemeClr val="bg2">
                            <a:lumMod val="10000"/>
                          </a:schemeClr>
                        </a:solidFill>
                        <a:effectLst/>
                        <a:latin typeface="Calibri" panose="020F0502020204030204" pitchFamily="34" charset="0"/>
                      </a:endParaRPr>
                    </a:p>
                  </a:txBody>
                  <a:tcPr marL="121699" marR="121699" marT="45728" marB="45728" anchor="ctr" horzOverflow="overflow"/>
                </a:tc>
                <a:tc>
                  <a:txBody>
                    <a:bodyPr/>
                    <a:lstStyle/>
                    <a:p>
                      <a:pPr marL="0" marR="0" lvl="0" indent="0" algn="ctr" defTabSz="914400" rtl="0" eaLnBrk="1" fontAlgn="base" latinLnBrk="0" hangingPunct="1">
                        <a:lnSpc>
                          <a:spcPct val="85000"/>
                        </a:lnSpc>
                        <a:spcBef>
                          <a:spcPct val="0"/>
                        </a:spcBef>
                        <a:spcAft>
                          <a:spcPct val="0"/>
                        </a:spcAft>
                        <a:buClr>
                          <a:schemeClr val="accent2"/>
                        </a:buClr>
                        <a:buSzTx/>
                        <a:buFont typeface="Wingdings" pitchFamily="2" charset="2"/>
                        <a:buNone/>
                        <a:tabLst/>
                      </a:pPr>
                      <a:r>
                        <a:rPr kumimoji="0" lang="en-US" sz="1600" b="0" u="none" strike="noStrike" cap="none" normalizeH="0" baseline="0" dirty="0">
                          <a:ln>
                            <a:noFill/>
                          </a:ln>
                          <a:solidFill>
                            <a:schemeClr val="bg2">
                              <a:lumMod val="10000"/>
                            </a:schemeClr>
                          </a:solidFill>
                          <a:effectLst/>
                        </a:rPr>
                        <a:t>22</a:t>
                      </a:r>
                      <a:endParaRPr kumimoji="0" lang="en-US" sz="1600" b="0" i="0" u="none" strike="noStrike" cap="none" normalizeH="0" baseline="0" dirty="0">
                        <a:ln>
                          <a:noFill/>
                        </a:ln>
                        <a:solidFill>
                          <a:schemeClr val="bg2">
                            <a:lumMod val="10000"/>
                          </a:schemeClr>
                        </a:solidFill>
                        <a:effectLst/>
                        <a:latin typeface="Calibri" panose="020F0502020204030204" pitchFamily="34" charset="0"/>
                      </a:endParaRPr>
                    </a:p>
                  </a:txBody>
                  <a:tcPr marL="121699" marR="121699" marT="45728" marB="45728" anchor="ctr" horzOverflow="overflow"/>
                </a:tc>
                <a:tc>
                  <a:txBody>
                    <a:bodyPr/>
                    <a:lstStyle/>
                    <a:p>
                      <a:pPr marL="0" marR="0" lvl="0" indent="0" algn="ctr" defTabSz="914400" rtl="0" eaLnBrk="1" fontAlgn="base" latinLnBrk="0" hangingPunct="1">
                        <a:lnSpc>
                          <a:spcPct val="85000"/>
                        </a:lnSpc>
                        <a:spcBef>
                          <a:spcPct val="0"/>
                        </a:spcBef>
                        <a:spcAft>
                          <a:spcPct val="0"/>
                        </a:spcAft>
                        <a:buClr>
                          <a:schemeClr val="accent2"/>
                        </a:buClr>
                        <a:buSzTx/>
                        <a:buFont typeface="Wingdings" pitchFamily="2" charset="2"/>
                        <a:buNone/>
                        <a:tabLst/>
                      </a:pPr>
                      <a:r>
                        <a:rPr kumimoji="0" lang="en-US" sz="1600" b="0" u="none" strike="noStrike" cap="none" normalizeH="0" baseline="0" dirty="0">
                          <a:ln>
                            <a:noFill/>
                          </a:ln>
                          <a:solidFill>
                            <a:schemeClr val="bg2">
                              <a:lumMod val="10000"/>
                            </a:schemeClr>
                          </a:solidFill>
                          <a:effectLst/>
                        </a:rPr>
                        <a:t>12</a:t>
                      </a:r>
                      <a:endParaRPr kumimoji="0" lang="en-US" sz="1600" b="0" i="0" u="none" strike="noStrike" cap="none" normalizeH="0" baseline="0" dirty="0">
                        <a:ln>
                          <a:noFill/>
                        </a:ln>
                        <a:solidFill>
                          <a:schemeClr val="bg2">
                            <a:lumMod val="10000"/>
                          </a:schemeClr>
                        </a:solidFill>
                        <a:effectLst/>
                        <a:latin typeface="Calibri" panose="020F0502020204030204" pitchFamily="34" charset="0"/>
                      </a:endParaRPr>
                    </a:p>
                  </a:txBody>
                  <a:tcPr marL="121699" marR="121699" marT="45728" marB="45728" anchor="ctr" horzOverflow="overflow"/>
                </a:tc>
                <a:extLst>
                  <a:ext uri="{0D108BD9-81ED-4DB2-BD59-A6C34878D82A}">
                    <a16:rowId xmlns:a16="http://schemas.microsoft.com/office/drawing/2014/main" val="2900833536"/>
                  </a:ext>
                </a:extLst>
              </a:tr>
              <a:tr h="227825">
                <a:tc gridSpan="3">
                  <a:txBody>
                    <a:bodyPr/>
                    <a:lstStyle/>
                    <a:p>
                      <a:pPr marL="0" marR="0" lvl="0" indent="0" algn="ctr" defTabSz="914400" rtl="0" eaLnBrk="1" fontAlgn="base" latinLnBrk="0" hangingPunct="1">
                        <a:lnSpc>
                          <a:spcPct val="85000"/>
                        </a:lnSpc>
                        <a:spcBef>
                          <a:spcPct val="0"/>
                        </a:spcBef>
                        <a:spcAft>
                          <a:spcPct val="0"/>
                        </a:spcAft>
                        <a:buClr>
                          <a:schemeClr val="accent2"/>
                        </a:buClr>
                        <a:buSzTx/>
                        <a:buFont typeface="Wingdings" pitchFamily="2" charset="2"/>
                        <a:buNone/>
                        <a:tabLst/>
                      </a:pPr>
                      <a:r>
                        <a:rPr kumimoji="0" lang="en-US" sz="1600" b="0" u="none" strike="noStrike" cap="none" normalizeH="0" baseline="0" dirty="0">
                          <a:ln>
                            <a:noFill/>
                          </a:ln>
                          <a:solidFill>
                            <a:schemeClr val="bg2">
                              <a:lumMod val="10000"/>
                            </a:schemeClr>
                          </a:solidFill>
                          <a:effectLst/>
                        </a:rPr>
                        <a:t>No increase in infections, atrial fibrillation, or bleeding with acalabrutinib</a:t>
                      </a:r>
                      <a:endParaRPr kumimoji="0" lang="en-US" sz="1600" b="0" i="0" u="none" strike="noStrike" cap="none" normalizeH="0" baseline="0" dirty="0">
                        <a:ln>
                          <a:noFill/>
                        </a:ln>
                        <a:solidFill>
                          <a:schemeClr val="bg2">
                            <a:lumMod val="10000"/>
                          </a:schemeClr>
                        </a:solidFill>
                        <a:effectLst/>
                        <a:latin typeface="Calibri" panose="020F0502020204030204" pitchFamily="34" charset="0"/>
                      </a:endParaRPr>
                    </a:p>
                  </a:txBody>
                  <a:tcPr marL="121699" marR="121699" marT="45728" marB="45728" anchor="ctr" horzOverflow="overflow"/>
                </a:tc>
                <a:tc hMerge="1">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US" sz="1600" b="0" i="0" u="none" strike="noStrike" cap="none" normalizeH="0" baseline="0" dirty="0">
                        <a:ln>
                          <a:noFill/>
                        </a:ln>
                        <a:solidFill>
                          <a:schemeClr val="bg2">
                            <a:lumMod val="10000"/>
                          </a:schemeClr>
                        </a:solidFill>
                        <a:effectLst/>
                        <a:latin typeface="Calibri" panose="020F0502020204030204" pitchFamily="34" charset="0"/>
                      </a:endParaRP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hMerge="1">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US" sz="1600" b="0" i="0" u="none" strike="noStrike" cap="none" normalizeH="0" baseline="0" dirty="0">
                        <a:ln>
                          <a:noFill/>
                        </a:ln>
                        <a:solidFill>
                          <a:schemeClr val="bg2">
                            <a:lumMod val="10000"/>
                          </a:schemeClr>
                        </a:solidFill>
                        <a:effectLst/>
                        <a:latin typeface="Calibri" panose="020F0502020204030204" pitchFamily="34" charset="0"/>
                      </a:endParaRP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405650228"/>
                  </a:ext>
                </a:extLst>
              </a:tr>
            </a:tbl>
          </a:graphicData>
        </a:graphic>
      </p:graphicFrame>
      <p:sp>
        <p:nvSpPr>
          <p:cNvPr id="48" name="Content Placeholder 2">
            <a:extLst>
              <a:ext uri="{FF2B5EF4-FFF2-40B4-BE49-F238E27FC236}">
                <a16:creationId xmlns:a16="http://schemas.microsoft.com/office/drawing/2014/main" id="{86774F8C-F1CA-9540-4029-D0AACF9E3DDC}"/>
              </a:ext>
            </a:extLst>
          </p:cNvPr>
          <p:cNvSpPr txBox="1">
            <a:spLocks/>
          </p:cNvSpPr>
          <p:nvPr/>
        </p:nvSpPr>
        <p:spPr bwMode="auto">
          <a:xfrm>
            <a:off x="525701" y="6185663"/>
            <a:ext cx="10254594" cy="25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a:lstStyle>
          <a:p>
            <a:pPr marL="233363" marR="0" lvl="0" indent="-233363" algn="l" defTabSz="914400" rtl="0" eaLnBrk="1" fontAlgn="base" latinLnBrk="0" hangingPunct="1">
              <a:lnSpc>
                <a:spcPct val="90000"/>
              </a:lnSpc>
              <a:spcBef>
                <a:spcPts val="500"/>
              </a:spcBef>
              <a:spcAft>
                <a:spcPts val="300"/>
              </a:spcAft>
              <a:buClr>
                <a:prstClr val="white"/>
              </a:buClr>
              <a:buSzTx/>
              <a:buFont typeface="Wingdings" panose="05000000000000000000" pitchFamily="2" charset="2"/>
              <a:buChar char="§"/>
              <a:tabLst/>
              <a:defRPr/>
            </a:pPr>
            <a:r>
              <a:rPr kumimoji="0" lang="en-US" sz="1400" b="0" i="0" u="none" strike="noStrike" kern="0" cap="none" spc="0" normalizeH="0" baseline="0" noProof="0" dirty="0">
                <a:ln>
                  <a:noFill/>
                </a:ln>
                <a:solidFill>
                  <a:prstClr val="white"/>
                </a:solidFill>
                <a:effectLst/>
                <a:uLnTx/>
                <a:uFillTx/>
                <a:latin typeface="Calibri" panose="020F0502020204030204" pitchFamily="34" charset="0"/>
                <a:ea typeface="+mn-ea"/>
                <a:cs typeface="+mn-cs"/>
              </a:rPr>
              <a:t>Limited evidence that molecular subtypes drive responsiveness to BTK inhibitors in untreated DLBCL</a:t>
            </a:r>
          </a:p>
        </p:txBody>
      </p:sp>
      <p:grpSp>
        <p:nvGrpSpPr>
          <p:cNvPr id="10" name="Group 9">
            <a:extLst>
              <a:ext uri="{FF2B5EF4-FFF2-40B4-BE49-F238E27FC236}">
                <a16:creationId xmlns:a16="http://schemas.microsoft.com/office/drawing/2014/main" id="{301C28E3-5D58-ED4A-C56F-5045B8B4BB04}"/>
              </a:ext>
            </a:extLst>
          </p:cNvPr>
          <p:cNvGrpSpPr/>
          <p:nvPr/>
        </p:nvGrpSpPr>
        <p:grpSpPr>
          <a:xfrm>
            <a:off x="5112045" y="2190898"/>
            <a:ext cx="495438" cy="765138"/>
            <a:chOff x="5112045" y="2190898"/>
            <a:chExt cx="495438" cy="765138"/>
          </a:xfrm>
        </p:grpSpPr>
        <p:sp>
          <p:nvSpPr>
            <p:cNvPr id="35" name="Line 54">
              <a:extLst>
                <a:ext uri="{FF2B5EF4-FFF2-40B4-BE49-F238E27FC236}">
                  <a16:creationId xmlns:a16="http://schemas.microsoft.com/office/drawing/2014/main" id="{1849E5BC-91D3-083C-5C2C-EC9029C07AD4}"/>
                </a:ext>
              </a:extLst>
            </p:cNvPr>
            <p:cNvSpPr>
              <a:spLocks noChangeShapeType="1"/>
            </p:cNvSpPr>
            <p:nvPr/>
          </p:nvSpPr>
          <p:spPr bwMode="auto">
            <a:xfrm flipV="1">
              <a:off x="5112045" y="2190898"/>
              <a:ext cx="488563" cy="27700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endParaRPr>
            </a:p>
          </p:txBody>
        </p:sp>
        <p:sp>
          <p:nvSpPr>
            <p:cNvPr id="189" name="Line 54">
              <a:extLst>
                <a:ext uri="{FF2B5EF4-FFF2-40B4-BE49-F238E27FC236}">
                  <a16:creationId xmlns:a16="http://schemas.microsoft.com/office/drawing/2014/main" id="{AD50B8F7-412C-D976-C234-8766A119203C}"/>
                </a:ext>
              </a:extLst>
            </p:cNvPr>
            <p:cNvSpPr>
              <a:spLocks noChangeShapeType="1"/>
            </p:cNvSpPr>
            <p:nvPr/>
          </p:nvSpPr>
          <p:spPr bwMode="auto">
            <a:xfrm>
              <a:off x="5118920" y="2679036"/>
              <a:ext cx="488563" cy="27700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endParaRPr>
            </a:p>
          </p:txBody>
        </p:sp>
      </p:grpSp>
      <p:pic>
        <p:nvPicPr>
          <p:cNvPr id="3" name="Picture 2" descr="https://ash.confex.com/data/abstract/ash/2021/8/2/Paper_145228_abstract_276091_0.png">
            <a:extLst>
              <a:ext uri="{FF2B5EF4-FFF2-40B4-BE49-F238E27FC236}">
                <a16:creationId xmlns:a16="http://schemas.microsoft.com/office/drawing/2014/main" id="{FEEEACCE-2847-ED3D-4C24-7A87C394581F}"/>
              </a:ext>
            </a:extLst>
          </p:cNvPr>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b="51208"/>
          <a:stretch>
            <a:fillRect/>
          </a:stretch>
        </p:blipFill>
        <p:spPr bwMode="auto">
          <a:xfrm>
            <a:off x="3344312" y="3730414"/>
            <a:ext cx="3883415" cy="2521734"/>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38072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Diagram&#10;&#10;Description automatically generated">
            <a:extLst>
              <a:ext uri="{FF2B5EF4-FFF2-40B4-BE49-F238E27FC236}">
                <a16:creationId xmlns:a16="http://schemas.microsoft.com/office/drawing/2014/main" id="{CCDAA5D3-6BB9-4031-B1F7-8F0F76205920}"/>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24000"/>
                    </a14:imgEffect>
                    <a14:imgEffect>
                      <a14:brightnessContrast contrast="17000"/>
                    </a14:imgEffect>
                  </a14:imgLayer>
                </a14:imgProps>
              </a:ext>
            </a:extLst>
          </a:blip>
          <a:srcRect l="18959" t="26243" r="5070" b="16843"/>
          <a:stretch/>
        </p:blipFill>
        <p:spPr>
          <a:xfrm>
            <a:off x="3746257" y="1359616"/>
            <a:ext cx="7957632" cy="2929752"/>
          </a:xfrm>
          <a:prstGeom prst="rect">
            <a:avLst/>
          </a:prstGeom>
          <a:noFill/>
          <a:ln w="15875">
            <a:solidFill>
              <a:schemeClr val="accent1"/>
            </a:solidFill>
          </a:ln>
        </p:spPr>
      </p:pic>
      <p:sp>
        <p:nvSpPr>
          <p:cNvPr id="6" name="Rectangle 5">
            <a:extLst>
              <a:ext uri="{FF2B5EF4-FFF2-40B4-BE49-F238E27FC236}">
                <a16:creationId xmlns:a16="http://schemas.microsoft.com/office/drawing/2014/main" id="{1E6E39C4-07C0-4F51-BAA9-48C268B28F43}"/>
              </a:ext>
            </a:extLst>
          </p:cNvPr>
          <p:cNvSpPr/>
          <p:nvPr/>
        </p:nvSpPr>
        <p:spPr>
          <a:xfrm>
            <a:off x="488116" y="1361455"/>
            <a:ext cx="3247073" cy="2929751"/>
          </a:xfrm>
          <a:prstGeom prst="rect">
            <a:avLst/>
          </a:prstGeom>
          <a:noFill/>
          <a:ln w="15875">
            <a:solidFill>
              <a:schemeClr val="accent1"/>
            </a:solidFill>
          </a:ln>
        </p:spPr>
        <p:txBody>
          <a:bodyPr vert="horz" lIns="91380" tIns="45688" rIns="91380" bIns="45688" rtlCol="0" anchor="ctr">
            <a:noAutofit/>
          </a:bodyPr>
          <a:lstStyle/>
          <a:p>
            <a:pPr marL="56684" marR="0" lvl="0" indent="0" algn="l" defTabSz="913782" rtl="0" eaLnBrk="1" fontAlgn="base" latinLnBrk="0" hangingPunct="1">
              <a:lnSpc>
                <a:spcPts val="1333"/>
              </a:lnSpc>
              <a:spcBef>
                <a:spcPct val="0"/>
              </a:spcBef>
              <a:spcAft>
                <a:spcPts val="600"/>
              </a:spcAft>
              <a:buClr>
                <a:srgbClr val="000000"/>
              </a:buClr>
              <a:buSzPct val="100000"/>
              <a:buFontTx/>
              <a:buNone/>
              <a:tabLst/>
              <a:defRPr/>
            </a:pPr>
            <a:r>
              <a:rPr kumimoji="0" lang="en-US" sz="1320" b="1" i="0" u="none" strike="noStrike" kern="1200" cap="none" spc="0" normalizeH="0" baseline="0" noProof="0">
                <a:ln>
                  <a:noFill/>
                </a:ln>
                <a:solidFill>
                  <a:srgbClr val="1F2121"/>
                </a:solidFill>
                <a:effectLst/>
                <a:uLnTx/>
                <a:uFillTx/>
                <a:latin typeface="Calibri" panose="020F0502020204030204" pitchFamily="34" charset="0"/>
                <a:ea typeface="+mn-ea"/>
                <a:cs typeface="Calibri" panose="020F0502020204030204" pitchFamily="34" charset="0"/>
              </a:rPr>
              <a:t>Key Inclusion Criteria</a:t>
            </a: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a:p>
            <a:pPr marL="285122" marR="0" lvl="0" indent="-228445" algn="l" defTabSz="913782" rtl="0" eaLnBrk="1" fontAlgn="base" latinLnBrk="0" hangingPunct="1">
              <a:lnSpc>
                <a:spcPts val="1333"/>
              </a:lnSpc>
              <a:spcBef>
                <a:spcPct val="0"/>
              </a:spcBef>
              <a:spcAft>
                <a:spcPts val="600"/>
              </a:spcAft>
              <a:buClr>
                <a:srgbClr val="000000"/>
              </a:buClr>
              <a:buSzPct val="100000"/>
              <a:buFont typeface="+mn-lt"/>
              <a:buChar char="•"/>
              <a:tabLst/>
              <a:defRPr/>
            </a:pPr>
            <a:r>
              <a:rPr kumimoji="0" lang="en-US" sz="1320" b="1" i="0" u="none" strike="noStrike" kern="1200" cap="none" spc="0" normalizeH="0" baseline="0" noProof="0">
                <a:ln>
                  <a:noFill/>
                </a:ln>
                <a:solidFill>
                  <a:srgbClr val="1F2121"/>
                </a:solidFill>
                <a:effectLst/>
                <a:uLnTx/>
                <a:uFillTx/>
                <a:latin typeface="Calibri" panose="020F0502020204030204" pitchFamily="34" charset="0"/>
                <a:ea typeface="+mn-ea"/>
                <a:cs typeface="Calibri" panose="020F0502020204030204" pitchFamily="34" charset="0"/>
              </a:rPr>
              <a:t>18 - 65 years</a:t>
            </a:r>
            <a:endParaRPr kumimoji="0" lang="en-US" sz="132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122" marR="0" lvl="0" indent="-228445" algn="l" defTabSz="913782" rtl="0" eaLnBrk="1" fontAlgn="base" latinLnBrk="0" hangingPunct="1">
              <a:lnSpc>
                <a:spcPts val="1333"/>
              </a:lnSpc>
              <a:spcBef>
                <a:spcPct val="0"/>
              </a:spcBef>
              <a:spcAft>
                <a:spcPts val="600"/>
              </a:spcAft>
              <a:buClr>
                <a:srgbClr val="000000"/>
              </a:buClr>
              <a:buSzPct val="100000"/>
              <a:buFont typeface="+mn-lt"/>
              <a:buChar char="•"/>
              <a:tabLst/>
              <a:defRPr/>
            </a:pPr>
            <a:r>
              <a:rPr kumimoji="0" lang="en-US" sz="1320" b="1" i="0" u="none" strike="noStrike" kern="1200" cap="none" spc="0" normalizeH="0" baseline="0" noProof="0">
                <a:ln>
                  <a:noFill/>
                </a:ln>
                <a:solidFill>
                  <a:srgbClr val="000000"/>
                </a:solidFill>
                <a:effectLst/>
                <a:uLnTx/>
                <a:uFillTx/>
                <a:latin typeface="Calibri"/>
                <a:ea typeface="+mn-ea"/>
                <a:cs typeface="Calibri"/>
              </a:rPr>
              <a:t>Histologically documented DLBCL</a:t>
            </a:r>
          </a:p>
          <a:p>
            <a:pPr marL="365506" marR="0" lvl="1" indent="-91378" algn="l" defTabSz="913782" rtl="0" eaLnBrk="1" fontAlgn="base" latinLnBrk="0" hangingPunct="1">
              <a:lnSpc>
                <a:spcPts val="1333"/>
              </a:lnSpc>
              <a:spcBef>
                <a:spcPct val="0"/>
              </a:spcBef>
              <a:spcAft>
                <a:spcPct val="0"/>
              </a:spcAft>
              <a:buClrTx/>
              <a:buSzTx/>
              <a:buFont typeface="Arial" panose="020B0604020202020204" pitchFamily="34" charset="0"/>
              <a:buChar char="•"/>
              <a:tabLst/>
              <a:defRPr/>
            </a:pPr>
            <a:r>
              <a:rPr kumimoji="0" lang="en-US" sz="1320" b="1" i="0" u="none" strike="noStrike" kern="1200" cap="none" spc="0" normalizeH="0" baseline="0" noProof="0">
                <a:ln>
                  <a:noFill/>
                </a:ln>
                <a:solidFill>
                  <a:srgbClr val="000000"/>
                </a:solidFill>
                <a:effectLst/>
                <a:uLnTx/>
                <a:uFillTx/>
                <a:latin typeface="Calibri"/>
                <a:ea typeface="+mn-ea"/>
                <a:cs typeface="Calibri"/>
              </a:rPr>
              <a:t>FFPE tumor tissue sample </a:t>
            </a:r>
            <a:r>
              <a:rPr kumimoji="0" lang="en-US" sz="1320" b="1" i="0" u="sng" strike="noStrike" kern="1200" cap="none" spc="0" normalizeH="0" baseline="0" noProof="0">
                <a:ln>
                  <a:noFill/>
                </a:ln>
                <a:solidFill>
                  <a:srgbClr val="000000"/>
                </a:solidFill>
                <a:effectLst/>
                <a:uLnTx/>
                <a:uFillTx/>
                <a:latin typeface="Calibri"/>
                <a:ea typeface="+mn-ea"/>
                <a:cs typeface="Calibri"/>
              </a:rPr>
              <a:t>sent </a:t>
            </a:r>
            <a:r>
              <a:rPr kumimoji="0" lang="en-US" sz="1320" b="1" i="0" u="none" strike="noStrike" kern="1200" cap="none" spc="0" normalizeH="0" baseline="0" noProof="0">
                <a:ln>
                  <a:noFill/>
                </a:ln>
                <a:solidFill>
                  <a:srgbClr val="000000"/>
                </a:solidFill>
                <a:effectLst/>
                <a:uLnTx/>
                <a:uFillTx/>
                <a:latin typeface="Calibri"/>
                <a:ea typeface="+mn-ea"/>
                <a:cs typeface="Calibri"/>
              </a:rPr>
              <a:t>to the central laboratory prior to </a:t>
            </a:r>
            <a:r>
              <a:rPr kumimoji="0" lang="x-none" sz="1320" b="1" i="0" u="none" strike="noStrike" kern="1200" cap="none" spc="0" normalizeH="0" baseline="0" noProof="0">
                <a:ln>
                  <a:noFill/>
                </a:ln>
                <a:solidFill>
                  <a:srgbClr val="000000"/>
                </a:solidFill>
                <a:effectLst/>
                <a:uLnTx/>
                <a:uFillTx/>
                <a:latin typeface="Calibri"/>
                <a:ea typeface="+mn-ea"/>
                <a:cs typeface="Calibri"/>
              </a:rPr>
              <a:t>C1D1</a:t>
            </a:r>
            <a:r>
              <a:rPr kumimoji="0" lang="en-US" sz="1320" b="1" i="0" u="none" strike="noStrike" kern="1200" cap="none" spc="0" normalizeH="0" baseline="0" noProof="0">
                <a:ln>
                  <a:noFill/>
                </a:ln>
                <a:solidFill>
                  <a:srgbClr val="000000"/>
                </a:solidFill>
                <a:effectLst/>
                <a:uLnTx/>
                <a:uFillTx/>
                <a:latin typeface="Calibri"/>
                <a:ea typeface="+mn-ea"/>
                <a:cs typeface="Calibri"/>
              </a:rPr>
              <a:t> </a:t>
            </a:r>
            <a:endParaRPr kumimoji="0" lang="en-US" sz="132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365506" marR="0" lvl="1" indent="-91378" algn="l" defTabSz="913782" rtl="0" eaLnBrk="1" fontAlgn="base" latinLnBrk="0" hangingPunct="1">
              <a:lnSpc>
                <a:spcPts val="1333"/>
              </a:lnSpc>
              <a:spcBef>
                <a:spcPct val="0"/>
              </a:spcBef>
              <a:spcAft>
                <a:spcPct val="0"/>
              </a:spcAft>
              <a:buClrTx/>
              <a:buSzTx/>
              <a:buFont typeface="Arial" panose="020B0604020202020204" pitchFamily="34" charset="0"/>
              <a:buChar char="•"/>
              <a:tabLst/>
              <a:defRPr/>
            </a:pPr>
            <a:r>
              <a:rPr kumimoji="0" lang="en-US" sz="1320" b="1" i="0" u="none" strike="noStrike" kern="1200" cap="none" spc="0" normalizeH="0" baseline="0" noProof="0">
                <a:ln>
                  <a:noFill/>
                </a:ln>
                <a:solidFill>
                  <a:srgbClr val="000000"/>
                </a:solidFill>
                <a:effectLst/>
                <a:uLnTx/>
                <a:uFillTx/>
                <a:latin typeface="Calibri"/>
                <a:ea typeface="+mn-ea"/>
                <a:cs typeface="Calibri"/>
              </a:rPr>
              <a:t>Central laboratory confirmation by GEP of non‑GCB subtype of DLBCL</a:t>
            </a:r>
          </a:p>
          <a:p>
            <a:pPr marL="285122" marR="0" lvl="0" indent="-228445" algn="l" defTabSz="913782" rtl="0" eaLnBrk="1" fontAlgn="base" latinLnBrk="0" hangingPunct="1">
              <a:lnSpc>
                <a:spcPts val="1333"/>
              </a:lnSpc>
              <a:spcBef>
                <a:spcPct val="0"/>
              </a:spcBef>
              <a:spcAft>
                <a:spcPts val="600"/>
              </a:spcAft>
              <a:buClr>
                <a:srgbClr val="000000"/>
              </a:buClr>
              <a:buSzPct val="100000"/>
              <a:buFont typeface="+mn-lt"/>
              <a:buChar char="•"/>
              <a:tabLst/>
              <a:defRPr/>
            </a:pPr>
            <a:r>
              <a:rPr kumimoji="0" lang="en-US" sz="1320" b="1" i="0" u="none" strike="noStrike" kern="1200" cap="none" spc="0" normalizeH="0" baseline="0" noProof="0">
                <a:ln>
                  <a:noFill/>
                </a:ln>
                <a:solidFill>
                  <a:srgbClr val="000000"/>
                </a:solidFill>
                <a:effectLst/>
                <a:uLnTx/>
                <a:uFillTx/>
                <a:latin typeface="Calibri"/>
                <a:ea typeface="+mn-ea"/>
                <a:cs typeface="Calibri"/>
              </a:rPr>
              <a:t>No prior treatment for DLBCL</a:t>
            </a:r>
          </a:p>
          <a:p>
            <a:pPr marL="285122" marR="0" lvl="0" indent="-228445" algn="l" defTabSz="913782" rtl="0" eaLnBrk="1" fontAlgn="base" latinLnBrk="0" hangingPunct="1">
              <a:lnSpc>
                <a:spcPts val="1333"/>
              </a:lnSpc>
              <a:spcBef>
                <a:spcPct val="0"/>
              </a:spcBef>
              <a:spcAft>
                <a:spcPts val="600"/>
              </a:spcAft>
              <a:buClr>
                <a:srgbClr val="000000"/>
              </a:buClr>
              <a:buSzPct val="100000"/>
              <a:buFont typeface="+mn-lt"/>
              <a:buChar char="•"/>
              <a:tabLst/>
              <a:defRPr/>
            </a:pPr>
            <a:r>
              <a:rPr kumimoji="0" lang="en-US" sz="1320" b="1" i="0" u="none" strike="noStrike" kern="1200" cap="none" spc="0" normalizeH="0" baseline="0" noProof="0">
                <a:ln>
                  <a:noFill/>
                </a:ln>
                <a:solidFill>
                  <a:srgbClr val="000000"/>
                </a:solidFill>
                <a:effectLst/>
                <a:uLnTx/>
                <a:uFillTx/>
                <a:latin typeface="Calibri"/>
                <a:ea typeface="+mn-ea"/>
                <a:cs typeface="Calibri"/>
              </a:rPr>
              <a:t>ECOG 0-2</a:t>
            </a:r>
          </a:p>
          <a:p>
            <a:pPr marL="285122" marR="0" lvl="0" indent="-228445" algn="l" defTabSz="913782" rtl="0" eaLnBrk="1" fontAlgn="base" latinLnBrk="0" hangingPunct="1">
              <a:lnSpc>
                <a:spcPts val="1333"/>
              </a:lnSpc>
              <a:spcBef>
                <a:spcPct val="0"/>
              </a:spcBef>
              <a:spcAft>
                <a:spcPts val="600"/>
              </a:spcAft>
              <a:buClr>
                <a:srgbClr val="000000"/>
              </a:buClr>
              <a:buSzPct val="100000"/>
              <a:buFont typeface="+mn-lt"/>
              <a:buChar char="•"/>
              <a:tabLst/>
              <a:defRPr/>
            </a:pPr>
            <a:r>
              <a:rPr kumimoji="0" lang="en-US" sz="1320" b="1" i="0" u="none" strike="noStrike" kern="1200" cap="none" spc="0" normalizeH="0" baseline="0" noProof="0">
                <a:ln>
                  <a:noFill/>
                </a:ln>
                <a:solidFill>
                  <a:srgbClr val="000000"/>
                </a:solidFill>
                <a:effectLst/>
                <a:uLnTx/>
                <a:uFillTx/>
                <a:latin typeface="Calibri"/>
                <a:ea typeface="+mn-ea"/>
                <a:cs typeface="Calibri"/>
              </a:rPr>
              <a:t>IPI 2-5</a:t>
            </a:r>
          </a:p>
          <a:p>
            <a:pPr marL="285122" marR="0" lvl="0" indent="-228445" algn="l" defTabSz="913782" rtl="0" eaLnBrk="1" fontAlgn="base" latinLnBrk="0" hangingPunct="1">
              <a:lnSpc>
                <a:spcPts val="1333"/>
              </a:lnSpc>
              <a:spcBef>
                <a:spcPct val="0"/>
              </a:spcBef>
              <a:spcAft>
                <a:spcPts val="600"/>
              </a:spcAft>
              <a:buClr>
                <a:srgbClr val="000000"/>
              </a:buClr>
              <a:buSzPct val="100000"/>
              <a:buFont typeface="+mn-lt"/>
              <a:buChar char="•"/>
              <a:tabLst/>
              <a:defRPr/>
            </a:pPr>
            <a:r>
              <a:rPr kumimoji="0" lang="en-US" sz="1320" b="1" i="0" u="none" strike="noStrike" kern="1200" cap="none" spc="0" normalizeH="0" baseline="0" noProof="0">
                <a:ln>
                  <a:noFill/>
                </a:ln>
                <a:solidFill>
                  <a:srgbClr val="000000"/>
                </a:solidFill>
                <a:effectLst/>
                <a:uLnTx/>
                <a:uFillTx/>
                <a:latin typeface="Calibri"/>
                <a:ea typeface="+mn-ea"/>
                <a:cs typeface="Calibri"/>
              </a:rPr>
              <a:t>Stage II-IV</a:t>
            </a:r>
          </a:p>
          <a:p>
            <a:pPr marL="285122" marR="0" lvl="0" indent="-228445" algn="l" defTabSz="913782" rtl="0" eaLnBrk="1" fontAlgn="base" latinLnBrk="0" hangingPunct="1">
              <a:lnSpc>
                <a:spcPts val="1333"/>
              </a:lnSpc>
              <a:spcBef>
                <a:spcPct val="0"/>
              </a:spcBef>
              <a:spcAft>
                <a:spcPts val="600"/>
              </a:spcAft>
              <a:buClr>
                <a:srgbClr val="000000"/>
              </a:buClr>
              <a:buSzPct val="100000"/>
              <a:buFont typeface="+mn-lt"/>
              <a:buChar char="•"/>
              <a:tabLst/>
              <a:defRPr/>
            </a:pPr>
            <a:r>
              <a:rPr kumimoji="0" lang="en-US" sz="1320" b="1" i="0" u="none" strike="noStrike" kern="1200" cap="none" spc="0" normalizeH="0" baseline="0" noProof="0">
                <a:ln>
                  <a:noFill/>
                </a:ln>
                <a:solidFill>
                  <a:srgbClr val="1F2121"/>
                </a:solidFill>
                <a:effectLst/>
                <a:uLnTx/>
                <a:uFillTx/>
                <a:latin typeface="Calibri" panose="020F0502020204030204" pitchFamily="34" charset="0"/>
                <a:ea typeface="+mn-ea"/>
                <a:cs typeface="Calibri" panose="020F0502020204030204" pitchFamily="34" charset="0"/>
              </a:rPr>
              <a:t>Measurable lesion by CT with contrast (or MRI)</a:t>
            </a:r>
          </a:p>
        </p:txBody>
      </p:sp>
      <p:sp>
        <p:nvSpPr>
          <p:cNvPr id="11" name="TextBox 10">
            <a:extLst>
              <a:ext uri="{FF2B5EF4-FFF2-40B4-BE49-F238E27FC236}">
                <a16:creationId xmlns:a16="http://schemas.microsoft.com/office/drawing/2014/main" id="{061B0361-AD6E-4EA4-91BC-4E54B1204E98}"/>
              </a:ext>
            </a:extLst>
          </p:cNvPr>
          <p:cNvSpPr txBox="1"/>
          <p:nvPr/>
        </p:nvSpPr>
        <p:spPr>
          <a:xfrm>
            <a:off x="488120" y="4303652"/>
            <a:ext cx="3788764" cy="2107161"/>
          </a:xfrm>
          <a:prstGeom prst="rect">
            <a:avLst/>
          </a:prstGeom>
          <a:noFill/>
          <a:ln w="12700">
            <a:solidFill>
              <a:schemeClr val="tx2"/>
            </a:solidFill>
          </a:ln>
        </p:spPr>
        <p:txBody>
          <a:bodyPr wrap="square" lIns="121842" tIns="60919" rIns="121842" bIns="60919" rtlCol="0" anchor="t">
            <a:spAutoFit/>
          </a:bodyPr>
          <a:lstStyle/>
          <a:p>
            <a:pPr marL="0" marR="0" lvl="0" indent="0" algn="l" defTabSz="609174" rtl="0" eaLnBrk="1" fontAlgn="base" latinLnBrk="0" hangingPunct="1">
              <a:lnSpc>
                <a:spcPct val="100000"/>
              </a:lnSpc>
              <a:spcBef>
                <a:spcPts val="400"/>
              </a:spcBef>
              <a:spcAft>
                <a:spcPct val="0"/>
              </a:spcAft>
              <a:buClrTx/>
              <a:buSzTx/>
              <a:buFontTx/>
              <a:buNone/>
              <a:tabLst/>
              <a:defRPr/>
            </a:pPr>
            <a:r>
              <a:rPr kumimoji="0" lang="en-US" sz="1320" b="1" i="0" u="none" strike="noStrike" kern="1200" cap="none" spc="0" normalizeH="0" baseline="0" noProof="0">
                <a:ln>
                  <a:noFill/>
                </a:ln>
                <a:solidFill>
                  <a:srgbClr val="000000"/>
                </a:solidFill>
                <a:effectLst/>
                <a:uLnTx/>
                <a:uFillTx/>
                <a:latin typeface="Calibri"/>
                <a:ea typeface="+mn-ea"/>
                <a:cs typeface="Calibri"/>
              </a:rPr>
              <a:t>Primary objective</a:t>
            </a:r>
            <a:r>
              <a:rPr kumimoji="0" lang="en-US" sz="1320" b="0" i="0" u="none" strike="noStrike" kern="1200" cap="none" spc="0" normalizeH="0" baseline="0" noProof="0">
                <a:ln>
                  <a:noFill/>
                </a:ln>
                <a:solidFill>
                  <a:srgbClr val="000000"/>
                </a:solidFill>
                <a:effectLst/>
                <a:uLnTx/>
                <a:uFillTx/>
                <a:latin typeface="Calibri"/>
                <a:ea typeface="+mn-ea"/>
                <a:cs typeface="Calibri"/>
              </a:rPr>
              <a:t>:</a:t>
            </a:r>
          </a:p>
          <a:p>
            <a:pPr marL="0" marR="0" lvl="0" indent="0" algn="l" defTabSz="609174" rtl="0" eaLnBrk="1" fontAlgn="base" latinLnBrk="0" hangingPunct="1">
              <a:lnSpc>
                <a:spcPct val="100000"/>
              </a:lnSpc>
              <a:spcBef>
                <a:spcPts val="400"/>
              </a:spcBef>
              <a:spcAft>
                <a:spcPct val="0"/>
              </a:spcAft>
              <a:buClrTx/>
              <a:buSzTx/>
              <a:buFontTx/>
              <a:buNone/>
              <a:tabLst/>
              <a:defRPr/>
            </a:pPr>
            <a:r>
              <a:rPr kumimoji="0" lang="en-US" sz="1320" b="0" i="0" u="sng" strike="noStrike" kern="1200" cap="none" spc="0" normalizeH="0" baseline="0" noProof="0">
                <a:ln>
                  <a:noFill/>
                </a:ln>
                <a:solidFill>
                  <a:srgbClr val="000000"/>
                </a:solidFill>
                <a:effectLst/>
                <a:uLnTx/>
                <a:uFillTx/>
                <a:latin typeface="Calibri"/>
                <a:ea typeface="+mn-ea"/>
                <a:cs typeface="Calibri"/>
              </a:rPr>
              <a:t>A+R-CHOP vs P+R-CHOP</a:t>
            </a:r>
            <a:r>
              <a:rPr kumimoji="0" lang="en-US" sz="1320" b="0" i="0" u="none" strike="noStrike" kern="1200" cap="none" spc="0" normalizeH="0" baseline="0" noProof="0">
                <a:ln>
                  <a:noFill/>
                </a:ln>
                <a:solidFill>
                  <a:srgbClr val="000000"/>
                </a:solidFill>
                <a:effectLst/>
                <a:uLnTx/>
                <a:uFillTx/>
                <a:latin typeface="Calibri"/>
                <a:ea typeface="+mn-ea"/>
                <a:cs typeface="Calibri"/>
              </a:rPr>
              <a:t> efficacy:  INV assessed PFS</a:t>
            </a:r>
            <a:endParaRPr kumimoji="0" lang="en-US" sz="1320" b="0" i="0" u="none" strike="noStrike" kern="1200" cap="none" spc="0" normalizeH="0" baseline="30000" noProof="0">
              <a:ln>
                <a:noFill/>
              </a:ln>
              <a:solidFill>
                <a:srgbClr val="000000"/>
              </a:solidFill>
              <a:effectLst/>
              <a:uLnTx/>
              <a:uFillTx/>
              <a:latin typeface="Calibri"/>
              <a:ea typeface="+mn-ea"/>
              <a:cs typeface="Calibri"/>
            </a:endParaRPr>
          </a:p>
          <a:p>
            <a:pPr marL="0" marR="0" lvl="0" indent="0" algn="l" defTabSz="609174" rtl="0" eaLnBrk="1" fontAlgn="base" latinLnBrk="0" hangingPunct="1">
              <a:lnSpc>
                <a:spcPct val="100000"/>
              </a:lnSpc>
              <a:spcBef>
                <a:spcPts val="400"/>
              </a:spcBef>
              <a:spcAft>
                <a:spcPct val="0"/>
              </a:spcAft>
              <a:buClrTx/>
              <a:buSzTx/>
              <a:buFontTx/>
              <a:buNone/>
              <a:tabLst/>
              <a:defRPr/>
            </a:pPr>
            <a:r>
              <a:rPr kumimoji="0" lang="en-US" sz="1320" b="1" i="0" u="none" strike="noStrike" kern="1200" cap="none" spc="0" normalizeH="0" baseline="0" noProof="0">
                <a:ln>
                  <a:noFill/>
                </a:ln>
                <a:solidFill>
                  <a:srgbClr val="000000"/>
                </a:solidFill>
                <a:effectLst/>
                <a:uLnTx/>
                <a:uFillTx/>
                <a:latin typeface="Calibri"/>
                <a:ea typeface="+mn-ea"/>
                <a:cs typeface="Calibri"/>
              </a:rPr>
              <a:t>Key secondary objectives</a:t>
            </a:r>
            <a:r>
              <a:rPr kumimoji="0" lang="en-US" sz="1320" b="0" i="0" u="none" strike="noStrike" kern="1200" cap="none" spc="0" normalizeH="0" baseline="0" noProof="0">
                <a:ln>
                  <a:noFill/>
                </a:ln>
                <a:solidFill>
                  <a:srgbClr val="000000"/>
                </a:solidFill>
                <a:effectLst/>
                <a:uLnTx/>
                <a:uFillTx/>
                <a:latin typeface="Calibri"/>
                <a:ea typeface="+mn-ea"/>
                <a:cs typeface="Calibri"/>
              </a:rPr>
              <a:t>:</a:t>
            </a:r>
          </a:p>
          <a:p>
            <a:pPr marL="0" marR="0" lvl="0" indent="0" algn="l" defTabSz="609174" rtl="0" eaLnBrk="1" fontAlgn="base" latinLnBrk="0" hangingPunct="1">
              <a:lnSpc>
                <a:spcPct val="100000"/>
              </a:lnSpc>
              <a:spcBef>
                <a:spcPts val="400"/>
              </a:spcBef>
              <a:spcAft>
                <a:spcPct val="0"/>
              </a:spcAft>
              <a:buClrTx/>
              <a:buSzTx/>
              <a:buFontTx/>
              <a:buNone/>
              <a:tabLst/>
              <a:defRPr/>
            </a:pPr>
            <a:r>
              <a:rPr kumimoji="0" lang="en-US" sz="1320" b="0" i="0" u="sng" strike="noStrike" kern="1200" cap="none" spc="0" normalizeH="0" baseline="0" noProof="0">
                <a:ln>
                  <a:noFill/>
                </a:ln>
                <a:solidFill>
                  <a:srgbClr val="000000"/>
                </a:solidFill>
                <a:effectLst/>
                <a:uLnTx/>
                <a:uFillTx/>
                <a:latin typeface="Calibri"/>
                <a:ea typeface="+mn-ea"/>
                <a:cs typeface="Calibri"/>
              </a:rPr>
              <a:t>A+R-CHOP vs P+R-CHOP</a:t>
            </a:r>
            <a:r>
              <a:rPr kumimoji="0" lang="en-US" sz="1320" b="0" i="0" u="none" strike="noStrike" kern="1200" cap="none" spc="0" normalizeH="0" baseline="0" noProof="0">
                <a:ln>
                  <a:noFill/>
                </a:ln>
                <a:solidFill>
                  <a:srgbClr val="000000"/>
                </a:solidFill>
                <a:effectLst/>
                <a:uLnTx/>
                <a:uFillTx/>
                <a:latin typeface="Calibri"/>
                <a:ea typeface="+mn-ea"/>
                <a:cs typeface="Calibri"/>
              </a:rPr>
              <a:t> efficacy: </a:t>
            </a:r>
            <a:endParaRPr kumimoji="0" lang="en-US" sz="132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27598" marR="0" lvl="0" indent="-227598" algn="l" defTabSz="609174" rtl="0" eaLnBrk="1" fontAlgn="base" latinLnBrk="0" hangingPunct="1">
              <a:lnSpc>
                <a:spcPct val="100000"/>
              </a:lnSpc>
              <a:spcBef>
                <a:spcPts val="400"/>
              </a:spcBef>
              <a:spcAft>
                <a:spcPct val="0"/>
              </a:spcAft>
              <a:buClrTx/>
              <a:buSzTx/>
              <a:buFont typeface="Arial" panose="020B0604020202020204" pitchFamily="34" charset="0"/>
              <a:buChar char="•"/>
              <a:tabLst/>
              <a:defRPr/>
            </a:pPr>
            <a:r>
              <a:rPr kumimoji="0" lang="en-US" sz="1320" b="0" i="0" u="none" strike="noStrike" kern="1200" cap="none" spc="0" normalizeH="0" baseline="0" noProof="0">
                <a:ln>
                  <a:noFill/>
                </a:ln>
                <a:solidFill>
                  <a:srgbClr val="000000"/>
                </a:solidFill>
                <a:effectLst/>
                <a:uLnTx/>
                <a:uFillTx/>
                <a:latin typeface="Calibri"/>
                <a:ea typeface="+mn-ea"/>
                <a:cs typeface="Calibri"/>
              </a:rPr>
              <a:t>INV assessed EFS</a:t>
            </a:r>
          </a:p>
          <a:p>
            <a:pPr marL="227598" marR="0" lvl="0" indent="-227598" algn="l" defTabSz="609174" rtl="0" eaLnBrk="1" fontAlgn="base" latinLnBrk="0" hangingPunct="1">
              <a:lnSpc>
                <a:spcPct val="100000"/>
              </a:lnSpc>
              <a:spcBef>
                <a:spcPts val="400"/>
              </a:spcBef>
              <a:spcAft>
                <a:spcPct val="0"/>
              </a:spcAft>
              <a:buClrTx/>
              <a:buSzTx/>
              <a:buFont typeface="Arial" panose="020B0604020202020204" pitchFamily="34" charset="0"/>
              <a:buChar char="•"/>
              <a:tabLst/>
              <a:defRPr/>
            </a:pPr>
            <a:r>
              <a:rPr kumimoji="0" lang="en-US" sz="1320" b="0" i="0" u="none" strike="noStrike" kern="1200" cap="none" spc="0" normalizeH="0" baseline="0" noProof="0">
                <a:ln>
                  <a:noFill/>
                </a:ln>
                <a:solidFill>
                  <a:srgbClr val="000000"/>
                </a:solidFill>
                <a:effectLst/>
                <a:uLnTx/>
                <a:uFillTx/>
                <a:latin typeface="Calibri"/>
                <a:ea typeface="+mn-ea"/>
                <a:cs typeface="Calibri"/>
              </a:rPr>
              <a:t>BICR assessed CR rate at end of study treatment</a:t>
            </a:r>
          </a:p>
          <a:p>
            <a:pPr marL="227598" marR="0" lvl="0" indent="-227598" algn="l" defTabSz="609174" rtl="0" eaLnBrk="1" fontAlgn="base" latinLnBrk="0" hangingPunct="1">
              <a:lnSpc>
                <a:spcPct val="100000"/>
              </a:lnSpc>
              <a:spcBef>
                <a:spcPts val="400"/>
              </a:spcBef>
              <a:spcAft>
                <a:spcPct val="0"/>
              </a:spcAft>
              <a:buClrTx/>
              <a:buSzTx/>
              <a:buFont typeface="Arial" panose="020B0604020202020204" pitchFamily="34" charset="0"/>
              <a:buChar char="•"/>
              <a:tabLst/>
              <a:defRPr/>
            </a:pPr>
            <a:r>
              <a:rPr kumimoji="0" lang="en-US" sz="1320" b="0" i="0" u="none" strike="noStrike" kern="1200" cap="none" spc="0" normalizeH="0" baseline="0" noProof="0">
                <a:ln>
                  <a:noFill/>
                </a:ln>
                <a:solidFill>
                  <a:srgbClr val="000000"/>
                </a:solidFill>
                <a:effectLst/>
                <a:uLnTx/>
                <a:uFillTx/>
                <a:latin typeface="Calibri"/>
                <a:ea typeface="+mn-ea"/>
                <a:cs typeface="Calibri"/>
              </a:rPr>
              <a:t>OS          </a:t>
            </a:r>
          </a:p>
          <a:p>
            <a:pPr marL="227598" marR="0" lvl="0" indent="-227598" algn="l" defTabSz="609174" rtl="0" eaLnBrk="1" fontAlgn="base" latinLnBrk="0" hangingPunct="1">
              <a:lnSpc>
                <a:spcPct val="100000"/>
              </a:lnSpc>
              <a:spcBef>
                <a:spcPts val="400"/>
              </a:spcBef>
              <a:spcAft>
                <a:spcPct val="0"/>
              </a:spcAft>
              <a:buClrTx/>
              <a:buSzTx/>
              <a:buFont typeface="Arial" panose="020B0604020202020204" pitchFamily="34" charset="0"/>
              <a:buChar char="•"/>
              <a:tabLst/>
              <a:defRPr/>
            </a:pPr>
            <a:endParaRPr kumimoji="0" lang="en-US" sz="1320" b="0" i="0" u="none" strike="noStrike" kern="1200" cap="none" spc="0" normalizeH="0" baseline="0" noProof="0">
              <a:ln>
                <a:noFill/>
              </a:ln>
              <a:solidFill>
                <a:srgbClr val="000000"/>
              </a:solidFill>
              <a:effectLst/>
              <a:uLnTx/>
              <a:uFillTx/>
              <a:latin typeface="Calibri"/>
              <a:ea typeface="+mn-ea"/>
              <a:cs typeface="Calibri"/>
            </a:endParaRPr>
          </a:p>
        </p:txBody>
      </p:sp>
      <p:sp>
        <p:nvSpPr>
          <p:cNvPr id="12" name="TextBox 11">
            <a:extLst>
              <a:ext uri="{FF2B5EF4-FFF2-40B4-BE49-F238E27FC236}">
                <a16:creationId xmlns:a16="http://schemas.microsoft.com/office/drawing/2014/main" id="{C4666CD1-888F-4914-A415-4465DA49DD15}"/>
              </a:ext>
            </a:extLst>
          </p:cNvPr>
          <p:cNvSpPr txBox="1"/>
          <p:nvPr/>
        </p:nvSpPr>
        <p:spPr>
          <a:xfrm>
            <a:off x="4276898" y="4298602"/>
            <a:ext cx="4401611" cy="2143581"/>
          </a:xfrm>
          <a:prstGeom prst="rect">
            <a:avLst/>
          </a:prstGeom>
          <a:noFill/>
          <a:ln w="12700">
            <a:solidFill>
              <a:schemeClr val="tx2"/>
            </a:solidFill>
          </a:ln>
        </p:spPr>
        <p:txBody>
          <a:bodyPr wrap="square" lIns="121842" tIns="60919" rIns="121842" bIns="60919" rtlCol="0" anchor="t">
            <a:spAutoFit/>
          </a:bodyPr>
          <a:lstStyle/>
          <a:p>
            <a:pPr marL="0" marR="0" lvl="0" indent="0" algn="l" defTabSz="1097280" rtl="0" eaLnBrk="1" fontAlgn="base" latinLnBrk="0" hangingPunct="1">
              <a:lnSpc>
                <a:spcPct val="100000"/>
              </a:lnSpc>
              <a:spcBef>
                <a:spcPct val="0"/>
              </a:spcBef>
              <a:spcAft>
                <a:spcPct val="0"/>
              </a:spcAft>
              <a:buClrTx/>
              <a:buSzTx/>
              <a:buFontTx/>
              <a:buNone/>
              <a:tabLst/>
              <a:defRPr/>
            </a:pPr>
            <a:r>
              <a:rPr kumimoji="0" lang="en-US" sz="132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Treatment and Duration:</a:t>
            </a:r>
            <a:endParaRPr kumimoji="0" lang="en-US" sz="132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28445" marR="0" lvl="0" indent="-228445" algn="l" defTabSz="1097280" rtl="0" eaLnBrk="1" fontAlgn="base" latinLnBrk="0" hangingPunct="1">
              <a:lnSpc>
                <a:spcPct val="100000"/>
              </a:lnSpc>
              <a:spcBef>
                <a:spcPts val="533"/>
              </a:spcBef>
              <a:spcAft>
                <a:spcPct val="0"/>
              </a:spcAft>
              <a:buClrTx/>
              <a:buSzTx/>
              <a:buFont typeface="Arial" panose="020B0604020202020204" pitchFamily="34" charset="0"/>
              <a:buChar char="•"/>
              <a:tabLst/>
              <a:defRPr/>
            </a:pPr>
            <a:r>
              <a:rPr kumimoji="0" lang="en-GB" sz="1320" b="0" i="0" u="none" strike="noStrike" kern="1200" cap="none" spc="0" normalizeH="0" baseline="0" noProof="0">
                <a:ln>
                  <a:noFill/>
                </a:ln>
                <a:solidFill>
                  <a:srgbClr val="000000"/>
                </a:solidFill>
                <a:effectLst/>
                <a:uLnTx/>
                <a:uFillTx/>
                <a:latin typeface="Calibri"/>
                <a:ea typeface="+mn-ea"/>
                <a:cs typeface="Calibri"/>
              </a:rPr>
              <a:t>R-CHOP given every 21 days for 6 cycles starting </a:t>
            </a:r>
            <a:r>
              <a:rPr kumimoji="0" lang="en-GB" sz="1320" b="0" i="0" u="none" strike="noStrike" kern="1200" cap="none" spc="0" normalizeH="0" baseline="0" noProof="0">
                <a:ln>
                  <a:noFill/>
                </a:ln>
                <a:solidFill>
                  <a:srgbClr val="000000"/>
                </a:solidFill>
                <a:effectLst/>
                <a:uLnTx/>
                <a:uFillTx/>
                <a:latin typeface="Calibri"/>
                <a:ea typeface="SimSun"/>
                <a:cs typeface="Calibri"/>
              </a:rPr>
              <a:t>on C1D1</a:t>
            </a:r>
          </a:p>
          <a:p>
            <a:pPr marL="228445" marR="0" lvl="0" indent="-228445" algn="l" defTabSz="1097280" rtl="0" eaLnBrk="1" fontAlgn="base" latinLnBrk="0" hangingPunct="1">
              <a:lnSpc>
                <a:spcPct val="100000"/>
              </a:lnSpc>
              <a:spcBef>
                <a:spcPts val="533"/>
              </a:spcBef>
              <a:spcAft>
                <a:spcPct val="0"/>
              </a:spcAft>
              <a:buClrTx/>
              <a:buSzTx/>
              <a:buFont typeface="Arial" panose="020B0604020202020204" pitchFamily="34" charset="0"/>
              <a:buChar char="•"/>
              <a:tabLst/>
              <a:defRPr/>
            </a:pPr>
            <a:r>
              <a:rPr kumimoji="0" lang="en-GB" sz="1320" b="0" i="0" u="none" strike="noStrike" kern="1200" cap="none" spc="0" normalizeH="0" baseline="0" noProof="0">
                <a:ln>
                  <a:noFill/>
                </a:ln>
                <a:solidFill>
                  <a:srgbClr val="000000"/>
                </a:solidFill>
                <a:effectLst/>
                <a:uLnTx/>
                <a:uFillTx/>
                <a:latin typeface="Calibri"/>
                <a:ea typeface="SimSun"/>
                <a:cs typeface="Calibri"/>
              </a:rPr>
              <a:t>F</a:t>
            </a:r>
            <a:r>
              <a:rPr kumimoji="0" lang="en-US" sz="1320" b="0" i="0" u="none" strike="noStrike" kern="1200" cap="none" spc="0" normalizeH="0" baseline="0" noProof="0">
                <a:ln>
                  <a:noFill/>
                </a:ln>
                <a:solidFill>
                  <a:srgbClr val="000000"/>
                </a:solidFill>
                <a:effectLst/>
                <a:uLnTx/>
                <a:uFillTx/>
                <a:latin typeface="Calibri"/>
                <a:ea typeface="+mn-ea"/>
                <a:cs typeface="Calibri"/>
              </a:rPr>
              <a:t>rom Cycle 2 (</a:t>
            </a:r>
            <a:r>
              <a:rPr kumimoji="0" lang="en-GB" sz="1320" b="0" i="0" u="none" strike="noStrike" kern="1200" cap="none" spc="0" normalizeH="0" baseline="0" noProof="0">
                <a:ln>
                  <a:noFill/>
                </a:ln>
                <a:solidFill>
                  <a:srgbClr val="000000"/>
                </a:solidFill>
                <a:effectLst/>
                <a:uLnTx/>
                <a:uFillTx/>
                <a:latin typeface="Calibri"/>
                <a:ea typeface="+mn-ea"/>
                <a:cs typeface="Calibri"/>
              </a:rPr>
              <a:t>randomized on Cycle 2 (C2D1)) </a:t>
            </a:r>
            <a:r>
              <a:rPr kumimoji="0" lang="en-US" sz="1320" b="0" i="0" u="none" strike="noStrike" kern="1200" cap="none" spc="0" normalizeH="0" baseline="0" noProof="0">
                <a:ln>
                  <a:noFill/>
                </a:ln>
                <a:solidFill>
                  <a:srgbClr val="000000"/>
                </a:solidFill>
                <a:effectLst/>
                <a:uLnTx/>
                <a:uFillTx/>
                <a:latin typeface="Calibri"/>
                <a:ea typeface="+mn-ea"/>
                <a:cs typeface="Calibri"/>
              </a:rPr>
              <a:t>to Cycle 6, pts with non-GCB DLBCL will receive either Acalabrutinib 100 mg twice daily plus R-CHOP or placebo plus R-CHOP </a:t>
            </a:r>
            <a:endParaRPr kumimoji="0" lang="en-US" sz="132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28445" marR="0" lvl="0" indent="-228445" algn="l" defTabSz="609186" rtl="0" eaLnBrk="1" fontAlgn="base" latinLnBrk="0" hangingPunct="1">
              <a:lnSpc>
                <a:spcPct val="100000"/>
              </a:lnSpc>
              <a:spcBef>
                <a:spcPts val="533"/>
              </a:spcBef>
              <a:spcAft>
                <a:spcPct val="0"/>
              </a:spcAft>
              <a:buClrTx/>
              <a:buSzTx/>
              <a:buFont typeface="Arial" panose="020B0604020202020204" pitchFamily="34" charset="0"/>
              <a:buChar char="•"/>
              <a:tabLst/>
              <a:defRPr/>
            </a:pPr>
            <a:r>
              <a:rPr kumimoji="0" lang="en-US" sz="132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Followed by 2 additional cycles of Rituximab + Acalabrutinib or placebo </a:t>
            </a:r>
            <a:r>
              <a:rPr kumimoji="0" lang="en-GB" sz="132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 Cycle 7 and Cycle 8, as 8 cycles of rituximab is recognized as a common standard per ESMO guidelines with 6 cycles of CHOP</a:t>
            </a:r>
          </a:p>
        </p:txBody>
      </p:sp>
      <p:sp>
        <p:nvSpPr>
          <p:cNvPr id="13" name="TextBox 12">
            <a:extLst>
              <a:ext uri="{FF2B5EF4-FFF2-40B4-BE49-F238E27FC236}">
                <a16:creationId xmlns:a16="http://schemas.microsoft.com/office/drawing/2014/main" id="{823B24B2-7A6D-4866-B0A6-C7DF338501C5}"/>
              </a:ext>
            </a:extLst>
          </p:cNvPr>
          <p:cNvSpPr txBox="1"/>
          <p:nvPr/>
        </p:nvSpPr>
        <p:spPr>
          <a:xfrm>
            <a:off x="8678510" y="4299203"/>
            <a:ext cx="3025403" cy="2154353"/>
          </a:xfrm>
          <a:prstGeom prst="rect">
            <a:avLst/>
          </a:prstGeom>
          <a:noFill/>
          <a:ln w="12700">
            <a:solidFill>
              <a:schemeClr val="tx2"/>
            </a:solidFill>
          </a:ln>
        </p:spPr>
        <p:txBody>
          <a:bodyPr wrap="square" lIns="121842" tIns="60919" rIns="121842" bIns="60919" rtlCol="0" anchor="t">
            <a:spAutoFit/>
          </a:bodyPr>
          <a:lstStyle/>
          <a:p>
            <a:pPr marL="0" marR="0" lvl="0" indent="0" algn="l" defTabSz="1097280" rtl="0" eaLnBrk="1" fontAlgn="base" latinLnBrk="0" hangingPunct="1">
              <a:lnSpc>
                <a:spcPct val="100000"/>
              </a:lnSpc>
              <a:spcBef>
                <a:spcPct val="0"/>
              </a:spcBef>
              <a:spcAft>
                <a:spcPct val="0"/>
              </a:spcAft>
              <a:buClrTx/>
              <a:buSzTx/>
              <a:buFontTx/>
              <a:buNone/>
              <a:tabLst/>
              <a:defRPr/>
            </a:pPr>
            <a:r>
              <a:rPr kumimoji="0" lang="en-US" sz="1320" b="1" i="0" u="none" strike="noStrike" kern="1200" cap="none" spc="0" normalizeH="0" baseline="0" noProof="0">
                <a:ln>
                  <a:noFill/>
                </a:ln>
                <a:solidFill>
                  <a:srgbClr val="000000"/>
                </a:solidFill>
                <a:effectLst/>
                <a:uLnTx/>
                <a:uFillTx/>
                <a:latin typeface="Calibri"/>
                <a:ea typeface="+mn-ea"/>
                <a:cs typeface="Calibri"/>
              </a:rPr>
              <a:t>Interim and Final Analysis</a:t>
            </a:r>
            <a:r>
              <a:rPr kumimoji="0" lang="en-US" sz="1320" b="0" i="0" u="none" strike="noStrike" kern="1200" cap="none" spc="0" normalizeH="0" baseline="0" noProof="0">
                <a:ln>
                  <a:noFill/>
                </a:ln>
                <a:solidFill>
                  <a:srgbClr val="000000"/>
                </a:solidFill>
                <a:effectLst/>
                <a:uLnTx/>
                <a:uFillTx/>
                <a:latin typeface="Calibri"/>
                <a:ea typeface="+mn-ea"/>
                <a:cs typeface="Calibri"/>
              </a:rPr>
              <a:t>: One interim analysis for futility only and the final analysis will occur when</a:t>
            </a:r>
            <a:r>
              <a:rPr kumimoji="0" lang="en-US" sz="1320" b="1" i="0" u="none" strike="noStrike" kern="1200" cap="none" spc="0" normalizeH="0" baseline="0" noProof="0">
                <a:ln>
                  <a:noFill/>
                </a:ln>
                <a:solidFill>
                  <a:srgbClr val="000000"/>
                </a:solidFill>
                <a:effectLst/>
                <a:uLnTx/>
                <a:uFillTx/>
                <a:latin typeface="Calibri"/>
                <a:ea typeface="+mn-ea"/>
                <a:cs typeface="Calibri"/>
              </a:rPr>
              <a:t> 102 </a:t>
            </a:r>
            <a:r>
              <a:rPr kumimoji="0" lang="en-US" sz="1320" b="0" i="0" u="none" strike="noStrike" kern="1200" cap="none" spc="0" normalizeH="0" baseline="0" noProof="0">
                <a:ln>
                  <a:noFill/>
                </a:ln>
                <a:solidFill>
                  <a:srgbClr val="000000"/>
                </a:solidFill>
                <a:effectLst/>
                <a:uLnTx/>
                <a:uFillTx/>
                <a:latin typeface="Calibri"/>
                <a:ea typeface="+mn-ea"/>
                <a:cs typeface="Calibri"/>
              </a:rPr>
              <a:t>(45% of final) and</a:t>
            </a:r>
            <a:r>
              <a:rPr kumimoji="0" lang="en-US" sz="1320" b="1" i="0" u="none" strike="noStrike" kern="1200" cap="none" spc="0" normalizeH="0" baseline="0" noProof="0">
                <a:ln>
                  <a:noFill/>
                </a:ln>
                <a:solidFill>
                  <a:srgbClr val="000000"/>
                </a:solidFill>
                <a:effectLst/>
                <a:uLnTx/>
                <a:uFillTx/>
                <a:latin typeface="Calibri"/>
                <a:ea typeface="+mn-ea"/>
                <a:cs typeface="Calibri"/>
              </a:rPr>
              <a:t> 227, </a:t>
            </a:r>
            <a:r>
              <a:rPr kumimoji="0" lang="en-US" sz="1320" b="0" i="0" u="none" strike="noStrike" kern="1200" cap="none" spc="0" normalizeH="0" baseline="0" noProof="0">
                <a:ln>
                  <a:noFill/>
                </a:ln>
                <a:solidFill>
                  <a:srgbClr val="000000"/>
                </a:solidFill>
                <a:effectLst/>
                <a:uLnTx/>
                <a:uFillTx/>
                <a:latin typeface="Calibri"/>
                <a:ea typeface="+mn-ea"/>
                <a:cs typeface="Calibri"/>
              </a:rPr>
              <a:t>respectively,</a:t>
            </a:r>
            <a:r>
              <a:rPr kumimoji="0" lang="en-US" sz="1320" b="1" i="0" u="none" strike="noStrike" kern="1200" cap="none" spc="0" normalizeH="0" baseline="0" noProof="0">
                <a:ln>
                  <a:noFill/>
                </a:ln>
                <a:solidFill>
                  <a:srgbClr val="000000"/>
                </a:solidFill>
                <a:effectLst/>
                <a:uLnTx/>
                <a:uFillTx/>
                <a:latin typeface="Calibri"/>
                <a:ea typeface="+mn-ea"/>
                <a:cs typeface="Calibri"/>
              </a:rPr>
              <a:t> </a:t>
            </a:r>
            <a:r>
              <a:rPr kumimoji="0" lang="en-US" sz="1320" b="0" i="0" u="none" strike="noStrike" kern="1200" cap="none" spc="0" normalizeH="0" baseline="0" noProof="0">
                <a:ln>
                  <a:noFill/>
                </a:ln>
                <a:solidFill>
                  <a:srgbClr val="000000"/>
                </a:solidFill>
                <a:effectLst/>
                <a:uLnTx/>
                <a:uFillTx/>
                <a:latin typeface="Calibri"/>
                <a:ea typeface="+mn-ea"/>
                <a:cs typeface="Calibri"/>
              </a:rPr>
              <a:t>INV-assessed PFS events combined in Arms A and B have been observed. IA is projected to occur 40 months after first subject randomized (FSR). </a:t>
            </a:r>
          </a:p>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1320" b="0" i="0" u="none" strike="noStrike" kern="1200" cap="none" spc="0" normalizeH="0" baseline="0" noProof="0">
              <a:ln>
                <a:noFill/>
              </a:ln>
              <a:solidFill>
                <a:srgbClr val="000000"/>
              </a:solidFill>
              <a:effectLst/>
              <a:uLnTx/>
              <a:uFillTx/>
              <a:latin typeface="Calibri"/>
              <a:ea typeface="+mn-ea"/>
              <a:cs typeface="Calibri"/>
            </a:endParaRPr>
          </a:p>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132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 name="Title 1">
            <a:extLst>
              <a:ext uri="{FF2B5EF4-FFF2-40B4-BE49-F238E27FC236}">
                <a16:creationId xmlns:a16="http://schemas.microsoft.com/office/drawing/2014/main" id="{94285057-7E4C-4B7B-996E-A370B3D776E3}"/>
              </a:ext>
            </a:extLst>
          </p:cNvPr>
          <p:cNvSpPr txBox="1">
            <a:spLocks/>
          </p:cNvSpPr>
          <p:nvPr/>
        </p:nvSpPr>
        <p:spPr>
          <a:xfrm>
            <a:off x="150663" y="-349689"/>
            <a:ext cx="6438313" cy="1610203"/>
          </a:xfrm>
          <a:prstGeom prst="rect">
            <a:avLst/>
          </a:prstGeom>
        </p:spPr>
        <p:txBody>
          <a:bodyPr vert="horz" lIns="91380" tIns="45688" rIns="91380" bIns="45688" rtlCol="0" anchor="b">
            <a:noAutofit/>
          </a:bodyPr>
          <a:lstStyle>
            <a:lvl1pPr>
              <a:lnSpc>
                <a:spcPct val="90000"/>
              </a:lnSpc>
              <a:spcBef>
                <a:spcPct val="0"/>
              </a:spcBef>
              <a:buNone/>
              <a:defRPr sz="2200">
                <a:latin typeface="+mj-lt"/>
                <a:ea typeface="+mj-ea"/>
                <a:cs typeface="+mj-cs"/>
              </a:defRPr>
            </a:lvl1pPr>
          </a:lstStyle>
          <a:p>
            <a:pPr marL="0" marR="0" lvl="0" indent="0" algn="l" defTabSz="1097280" rtl="0" eaLnBrk="1" fontAlgn="base" latinLnBrk="0" hangingPunct="1">
              <a:lnSpc>
                <a:spcPct val="9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j-ea"/>
                <a:cs typeface="Calibri" panose="020F0502020204030204" pitchFamily="34" charset="0"/>
              </a:rPr>
              <a:t>Learnings from PHOENIX informed the ESCALADE design</a:t>
            </a:r>
          </a:p>
        </p:txBody>
      </p:sp>
      <p:cxnSp>
        <p:nvCxnSpPr>
          <p:cNvPr id="10" name="Straight Connector 9">
            <a:extLst>
              <a:ext uri="{FF2B5EF4-FFF2-40B4-BE49-F238E27FC236}">
                <a16:creationId xmlns:a16="http://schemas.microsoft.com/office/drawing/2014/main" id="{8AA48849-9E30-4E34-A415-6122C162E91E}"/>
              </a:ext>
            </a:extLst>
          </p:cNvPr>
          <p:cNvCxnSpPr/>
          <p:nvPr/>
        </p:nvCxnSpPr>
        <p:spPr>
          <a:xfrm>
            <a:off x="6586054" y="134346"/>
            <a:ext cx="0" cy="1105748"/>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40F1A2DC-BE76-4265-A287-E766C7816530}"/>
              </a:ext>
            </a:extLst>
          </p:cNvPr>
          <p:cNvSpPr txBox="1"/>
          <p:nvPr/>
        </p:nvSpPr>
        <p:spPr>
          <a:xfrm>
            <a:off x="6846093" y="132336"/>
            <a:ext cx="4900331" cy="1098698"/>
          </a:xfrm>
          <a:prstGeom prst="rect">
            <a:avLst/>
          </a:prstGeom>
          <a:noFill/>
        </p:spPr>
        <p:txBody>
          <a:bodyPr wrap="square" lIns="91380" tIns="45688" rIns="91380" bIns="45688">
            <a:spAutoFit/>
          </a:bodyPr>
          <a:lstStyle/>
          <a:p>
            <a:pPr marL="285553" marR="0" lvl="0" indent="-228450" algn="l" defTabSz="1097280" rtl="0" eaLnBrk="1" fontAlgn="base" latinLnBrk="0" hangingPunct="1">
              <a:lnSpc>
                <a:spcPct val="90000"/>
              </a:lnSpc>
              <a:spcBef>
                <a:spcPct val="0"/>
              </a:spcBef>
              <a:spcAft>
                <a:spcPts val="600"/>
              </a:spcAft>
              <a:buClr>
                <a:srgbClr val="000000"/>
              </a:buClr>
              <a:buSzPct val="100000"/>
              <a:buFont typeface="+mn-lt"/>
              <a:buChar char="•"/>
              <a:tabLst/>
              <a:defRPr/>
            </a:pPr>
            <a:r>
              <a:rPr kumimoji="0" lang="en-US" sz="1400" b="1" i="0" u="none" strike="noStrike" kern="1200" cap="none" spc="0" normalizeH="0" baseline="0" noProof="0" dirty="0">
                <a:ln>
                  <a:noFill/>
                </a:ln>
                <a:solidFill>
                  <a:srgbClr val="1F2121"/>
                </a:solidFill>
                <a:effectLst/>
                <a:uLnTx/>
                <a:uFillTx/>
                <a:latin typeface="Calibri" panose="020F0502020204030204" pitchFamily="34" charset="0"/>
                <a:ea typeface="+mn-ea"/>
                <a:cs typeface="Calibri" panose="020F0502020204030204" pitchFamily="34" charset="0"/>
              </a:rPr>
              <a:t>Age ≤ 65 </a:t>
            </a:r>
            <a:r>
              <a:rPr kumimoji="0" lang="en-US" sz="1400" b="1" i="0" u="none" strike="noStrike" kern="1200" cap="none" spc="0" normalizeH="0" baseline="0" noProof="0" dirty="0" err="1">
                <a:ln>
                  <a:noFill/>
                </a:ln>
                <a:solidFill>
                  <a:srgbClr val="1F2121"/>
                </a:solidFill>
                <a:effectLst/>
                <a:uLnTx/>
                <a:uFillTx/>
                <a:latin typeface="Calibri" panose="020F0502020204030204" pitchFamily="34" charset="0"/>
                <a:ea typeface="+mn-ea"/>
                <a:cs typeface="Calibri" panose="020F0502020204030204" pitchFamily="34" charset="0"/>
              </a:rPr>
              <a:t>yo</a:t>
            </a:r>
            <a:r>
              <a:rPr kumimoji="0" lang="en-US" sz="1400" b="1" i="0" u="none" strike="noStrike" kern="1200" cap="none" spc="0" normalizeH="0" baseline="0" noProof="0" dirty="0">
                <a:ln>
                  <a:noFill/>
                </a:ln>
                <a:solidFill>
                  <a:srgbClr val="1F2121"/>
                </a:solidFill>
                <a:effectLst/>
                <a:uLnTx/>
                <a:uFillTx/>
                <a:latin typeface="Calibri" panose="020F0502020204030204" pitchFamily="34" charset="0"/>
                <a:ea typeface="+mn-ea"/>
                <a:cs typeface="Calibri" panose="020F0502020204030204" pitchFamily="34" charset="0"/>
              </a:rPr>
              <a:t> - instead of age-all comers</a:t>
            </a:r>
          </a:p>
          <a:p>
            <a:pPr marL="285553" marR="0" lvl="0" indent="-228450" algn="l" defTabSz="1097280" rtl="0" eaLnBrk="1" fontAlgn="base" latinLnBrk="0" hangingPunct="1">
              <a:lnSpc>
                <a:spcPct val="90000"/>
              </a:lnSpc>
              <a:spcBef>
                <a:spcPct val="0"/>
              </a:spcBef>
              <a:spcAft>
                <a:spcPts val="600"/>
              </a:spcAft>
              <a:buClr>
                <a:srgbClr val="000000"/>
              </a:buClr>
              <a:buSzPct val="100000"/>
              <a:buFont typeface="+mn-lt"/>
              <a:buChar char="•"/>
              <a:tabLst/>
              <a:defRPr/>
            </a:pPr>
            <a:r>
              <a:rPr kumimoji="0" lang="en-US" sz="1400" b="1" i="0" u="none" strike="noStrike" kern="1200" cap="none" spc="0" normalizeH="0" baseline="0" noProof="0" dirty="0">
                <a:ln>
                  <a:noFill/>
                </a:ln>
                <a:solidFill>
                  <a:srgbClr val="1F2121"/>
                </a:solidFill>
                <a:effectLst/>
                <a:uLnTx/>
                <a:uFillTx/>
                <a:latin typeface="Calibri" panose="020F0502020204030204" pitchFamily="34" charset="0"/>
                <a:ea typeface="+mn-ea"/>
                <a:cs typeface="Calibri" panose="020F0502020204030204" pitchFamily="34" charset="0"/>
              </a:rPr>
              <a:t>COO by GEP – instead of IHC</a:t>
            </a:r>
          </a:p>
          <a:p>
            <a:pPr marL="285553" marR="0" lvl="0" indent="-228450" algn="l" defTabSz="1097280" rtl="0" eaLnBrk="1" fontAlgn="base" latinLnBrk="0" hangingPunct="1">
              <a:lnSpc>
                <a:spcPct val="90000"/>
              </a:lnSpc>
              <a:spcBef>
                <a:spcPct val="0"/>
              </a:spcBef>
              <a:spcAft>
                <a:spcPts val="600"/>
              </a:spcAft>
              <a:buClr>
                <a:srgbClr val="000000"/>
              </a:buClr>
              <a:buSzPct val="100000"/>
              <a:buFont typeface="+mn-lt"/>
              <a:buChar char="•"/>
              <a:tabLst/>
              <a:defRPr/>
            </a:pPr>
            <a:r>
              <a:rPr kumimoji="0" lang="en-US" sz="1400" b="1" i="0" u="none" strike="noStrike" kern="1200" cap="none" spc="0" normalizeH="0" baseline="0" noProof="0" dirty="0">
                <a:ln>
                  <a:noFill/>
                </a:ln>
                <a:solidFill>
                  <a:srgbClr val="1F2121"/>
                </a:solidFill>
                <a:effectLst/>
                <a:uLnTx/>
                <a:uFillTx/>
                <a:latin typeface="Calibri" panose="020F0502020204030204" pitchFamily="34" charset="0"/>
                <a:ea typeface="+mn-ea"/>
                <a:cs typeface="Calibri" panose="020F0502020204030204" pitchFamily="34" charset="0"/>
              </a:rPr>
              <a:t>G-CSF – mandatory </a:t>
            </a:r>
          </a:p>
          <a:p>
            <a:pPr marL="285553" marR="0" lvl="0" indent="-228450" algn="l" defTabSz="1097280" rtl="0" eaLnBrk="1" fontAlgn="base" latinLnBrk="0" hangingPunct="1">
              <a:lnSpc>
                <a:spcPct val="90000"/>
              </a:lnSpc>
              <a:spcBef>
                <a:spcPct val="0"/>
              </a:spcBef>
              <a:spcAft>
                <a:spcPts val="600"/>
              </a:spcAft>
              <a:buClr>
                <a:srgbClr val="000000"/>
              </a:buClr>
              <a:buSzPct val="100000"/>
              <a:buFont typeface="+mn-lt"/>
              <a:buChar char="•"/>
              <a:tabLst/>
              <a:defRPr/>
            </a:pPr>
            <a:r>
              <a:rPr kumimoji="0" lang="en-US" sz="1400" b="1" i="0" u="none" strike="noStrike" kern="1200" cap="none" spc="0" normalizeH="0" baseline="0" noProof="0" dirty="0">
                <a:ln>
                  <a:noFill/>
                </a:ln>
                <a:solidFill>
                  <a:srgbClr val="1F2121"/>
                </a:solidFill>
                <a:effectLst/>
                <a:uLnTx/>
                <a:uFillTx/>
                <a:latin typeface="Calibri" panose="020F0502020204030204" pitchFamily="34" charset="0"/>
                <a:ea typeface="+mn-ea"/>
                <a:cs typeface="Calibri" panose="020F0502020204030204" pitchFamily="34" charset="0"/>
              </a:rPr>
              <a:t>1</a:t>
            </a:r>
            <a:r>
              <a:rPr kumimoji="0" lang="en-US" sz="1400" b="1" i="0" u="none" strike="noStrike" kern="1200" cap="none" spc="0" normalizeH="0" baseline="30000" noProof="0" dirty="0">
                <a:ln>
                  <a:noFill/>
                </a:ln>
                <a:solidFill>
                  <a:srgbClr val="1F2121"/>
                </a:solidFill>
                <a:effectLst/>
                <a:uLnTx/>
                <a:uFillTx/>
                <a:latin typeface="Calibri" panose="020F0502020204030204" pitchFamily="34" charset="0"/>
                <a:ea typeface="+mn-ea"/>
                <a:cs typeface="Calibri" panose="020F0502020204030204" pitchFamily="34" charset="0"/>
              </a:rPr>
              <a:t>st</a:t>
            </a:r>
            <a:r>
              <a:rPr kumimoji="0" lang="en-US" sz="1400" b="1" i="0" u="none" strike="noStrike" kern="1200" cap="none" spc="0" normalizeH="0" baseline="0" noProof="0" dirty="0">
                <a:ln>
                  <a:noFill/>
                </a:ln>
                <a:solidFill>
                  <a:srgbClr val="1F2121"/>
                </a:solidFill>
                <a:effectLst/>
                <a:uLnTx/>
                <a:uFillTx/>
                <a:latin typeface="Calibri" panose="020F0502020204030204" pitchFamily="34" charset="0"/>
                <a:ea typeface="+mn-ea"/>
                <a:cs typeface="Calibri" panose="020F0502020204030204" pitchFamily="34" charset="0"/>
              </a:rPr>
              <a:t> R-CHOP  cycle prior to randomization</a:t>
            </a:r>
          </a:p>
        </p:txBody>
      </p:sp>
    </p:spTree>
    <p:extLst>
      <p:ext uri="{BB962C8B-B14F-4D97-AF65-F5344CB8AC3E}">
        <p14:creationId xmlns:p14="http://schemas.microsoft.com/office/powerpoint/2010/main" val="3969829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682413" y="190780"/>
            <a:ext cx="10988888" cy="996790"/>
          </a:xfrm>
          <a:prstGeom prst="rect">
            <a:avLst/>
          </a:prstGeom>
        </p:spPr>
        <p:txBody>
          <a:bodyPr vert="horz" wrap="square" lIns="0" tIns="9313" rIns="0" bIns="0" rtlCol="0">
            <a:spAutoFit/>
          </a:bodyPr>
          <a:lstStyle/>
          <a:p>
            <a:pPr marL="16933" marR="6773">
              <a:lnSpc>
                <a:spcPct val="101699"/>
              </a:lnSpc>
              <a:spcBef>
                <a:spcPts val="73"/>
              </a:spcBef>
            </a:pPr>
            <a:r>
              <a:rPr dirty="0">
                <a:solidFill>
                  <a:srgbClr val="002060"/>
                </a:solidFill>
                <a:latin typeface="+mn-lt"/>
              </a:rPr>
              <a:t>POLARGO:</a:t>
            </a:r>
            <a:r>
              <a:rPr spc="-107" dirty="0">
                <a:solidFill>
                  <a:srgbClr val="002060"/>
                </a:solidFill>
                <a:latin typeface="+mn-lt"/>
              </a:rPr>
              <a:t> </a:t>
            </a:r>
            <a:r>
              <a:rPr dirty="0">
                <a:solidFill>
                  <a:srgbClr val="002060"/>
                </a:solidFill>
                <a:latin typeface="+mn-lt"/>
              </a:rPr>
              <a:t>randomized</a:t>
            </a:r>
            <a:r>
              <a:rPr spc="-7" dirty="0">
                <a:solidFill>
                  <a:srgbClr val="002060"/>
                </a:solidFill>
                <a:latin typeface="+mn-lt"/>
              </a:rPr>
              <a:t> </a:t>
            </a:r>
            <a:r>
              <a:rPr dirty="0">
                <a:solidFill>
                  <a:srgbClr val="002060"/>
                </a:solidFill>
                <a:latin typeface="+mn-lt"/>
              </a:rPr>
              <a:t>Phase</a:t>
            </a:r>
            <a:r>
              <a:rPr spc="-33" dirty="0">
                <a:solidFill>
                  <a:srgbClr val="002060"/>
                </a:solidFill>
                <a:latin typeface="+mn-lt"/>
              </a:rPr>
              <a:t> </a:t>
            </a:r>
            <a:r>
              <a:rPr dirty="0">
                <a:solidFill>
                  <a:srgbClr val="002060"/>
                </a:solidFill>
                <a:latin typeface="+mn-lt"/>
              </a:rPr>
              <a:t>III</a:t>
            </a:r>
            <a:r>
              <a:rPr spc="-40" dirty="0">
                <a:solidFill>
                  <a:srgbClr val="002060"/>
                </a:solidFill>
                <a:latin typeface="+mn-lt"/>
              </a:rPr>
              <a:t> </a:t>
            </a:r>
            <a:r>
              <a:rPr dirty="0">
                <a:solidFill>
                  <a:srgbClr val="002060"/>
                </a:solidFill>
                <a:latin typeface="+mn-lt"/>
              </a:rPr>
              <a:t>trial</a:t>
            </a:r>
            <a:r>
              <a:rPr spc="-33" dirty="0">
                <a:solidFill>
                  <a:srgbClr val="002060"/>
                </a:solidFill>
                <a:latin typeface="+mn-lt"/>
              </a:rPr>
              <a:t> </a:t>
            </a:r>
            <a:br>
              <a:rPr lang="en-US" spc="-33" dirty="0">
                <a:solidFill>
                  <a:srgbClr val="002060"/>
                </a:solidFill>
                <a:latin typeface="+mn-lt"/>
              </a:rPr>
            </a:br>
            <a:r>
              <a:rPr spc="-33" dirty="0">
                <a:solidFill>
                  <a:srgbClr val="002060"/>
                </a:solidFill>
                <a:latin typeface="+mn-lt"/>
              </a:rPr>
              <a:t>in </a:t>
            </a:r>
            <a:r>
              <a:rPr dirty="0">
                <a:solidFill>
                  <a:srgbClr val="002060"/>
                </a:solidFill>
                <a:latin typeface="+mn-lt"/>
              </a:rPr>
              <a:t>patients</a:t>
            </a:r>
            <a:r>
              <a:rPr spc="7" dirty="0">
                <a:solidFill>
                  <a:srgbClr val="002060"/>
                </a:solidFill>
                <a:latin typeface="+mn-lt"/>
              </a:rPr>
              <a:t> </a:t>
            </a:r>
            <a:r>
              <a:rPr dirty="0">
                <a:solidFill>
                  <a:srgbClr val="002060"/>
                </a:solidFill>
                <a:latin typeface="+mn-lt"/>
              </a:rPr>
              <a:t>with</a:t>
            </a:r>
            <a:r>
              <a:rPr spc="-67" dirty="0">
                <a:solidFill>
                  <a:srgbClr val="002060"/>
                </a:solidFill>
                <a:latin typeface="+mn-lt"/>
              </a:rPr>
              <a:t> </a:t>
            </a:r>
            <a:r>
              <a:rPr spc="-13" dirty="0">
                <a:solidFill>
                  <a:srgbClr val="002060"/>
                </a:solidFill>
                <a:latin typeface="+mn-lt"/>
              </a:rPr>
              <a:t>transplant-</a:t>
            </a:r>
            <a:r>
              <a:rPr dirty="0">
                <a:solidFill>
                  <a:srgbClr val="002060"/>
                </a:solidFill>
                <a:latin typeface="+mn-lt"/>
              </a:rPr>
              <a:t>ineligible</a:t>
            </a:r>
            <a:r>
              <a:rPr spc="-87" dirty="0">
                <a:solidFill>
                  <a:srgbClr val="002060"/>
                </a:solidFill>
                <a:latin typeface="+mn-lt"/>
              </a:rPr>
              <a:t> </a:t>
            </a:r>
            <a:r>
              <a:rPr dirty="0">
                <a:solidFill>
                  <a:srgbClr val="002060"/>
                </a:solidFill>
                <a:latin typeface="+mn-lt"/>
              </a:rPr>
              <a:t>R/R</a:t>
            </a:r>
            <a:r>
              <a:rPr spc="-27" dirty="0">
                <a:solidFill>
                  <a:srgbClr val="002060"/>
                </a:solidFill>
                <a:latin typeface="+mn-lt"/>
              </a:rPr>
              <a:t> </a:t>
            </a:r>
            <a:r>
              <a:rPr spc="-13" dirty="0">
                <a:solidFill>
                  <a:srgbClr val="002060"/>
                </a:solidFill>
                <a:latin typeface="+mn-lt"/>
              </a:rPr>
              <a:t>DLBCL</a:t>
            </a:r>
          </a:p>
        </p:txBody>
      </p:sp>
      <p:sp>
        <p:nvSpPr>
          <p:cNvPr id="3" name="object 3"/>
          <p:cNvSpPr txBox="1"/>
          <p:nvPr/>
        </p:nvSpPr>
        <p:spPr>
          <a:xfrm>
            <a:off x="456690" y="5957439"/>
            <a:ext cx="6277187" cy="371041"/>
          </a:xfrm>
          <a:prstGeom prst="rect">
            <a:avLst/>
          </a:prstGeom>
        </p:spPr>
        <p:txBody>
          <a:bodyPr vert="horz" wrap="square" lIns="0" tIns="16933" rIns="0" bIns="0" rtlCol="0">
            <a:spAutoFit/>
          </a:bodyPr>
          <a:lstStyle/>
          <a:p>
            <a:pPr marL="50799" marR="0" lvl="0" indent="0" algn="l" defTabSz="1219170" rtl="0" eaLnBrk="1" fontAlgn="auto" latinLnBrk="0" hangingPunct="1">
              <a:lnSpc>
                <a:spcPts val="933"/>
              </a:lnSpc>
              <a:spcBef>
                <a:spcPts val="133"/>
              </a:spcBef>
              <a:spcAft>
                <a:spcPts val="0"/>
              </a:spcAft>
              <a:buClrTx/>
              <a:buSzTx/>
              <a:buFontTx/>
              <a:buNone/>
              <a:tabLst/>
              <a:defRPr/>
            </a:pPr>
            <a:r>
              <a:rPr kumimoji="0" sz="800" b="0" i="0" u="none" strike="noStrike" kern="0" cap="none" spc="-13" normalizeH="0" baseline="0" noProof="0" dirty="0">
                <a:ln>
                  <a:noFill/>
                </a:ln>
                <a:solidFill>
                  <a:sysClr val="windowText" lastClr="000000"/>
                </a:solidFill>
                <a:effectLst/>
                <a:uLnTx/>
                <a:uFillTx/>
                <a:latin typeface="Arial"/>
                <a:ea typeface="+mn-ea"/>
                <a:cs typeface="Arial"/>
              </a:rPr>
              <a:t>*Polatuzumab</a:t>
            </a:r>
            <a:r>
              <a:rPr kumimoji="0" sz="800" b="0" i="0" u="none" strike="noStrike" kern="0" cap="none" spc="-67" normalizeH="0" baseline="0" noProof="0" dirty="0">
                <a:ln>
                  <a:noFill/>
                </a:ln>
                <a:solidFill>
                  <a:sysClr val="windowText" lastClr="000000"/>
                </a:solidFill>
                <a:effectLst/>
                <a:uLnTx/>
                <a:uFillTx/>
                <a:latin typeface="Arial"/>
                <a:ea typeface="+mn-ea"/>
                <a:cs typeface="Arial"/>
              </a:rPr>
              <a:t> </a:t>
            </a:r>
            <a:r>
              <a:rPr kumimoji="0" sz="800" b="0" i="0" u="none" strike="noStrike" kern="0" cap="none" spc="0" normalizeH="0" baseline="0" noProof="0" dirty="0">
                <a:ln>
                  <a:noFill/>
                </a:ln>
                <a:solidFill>
                  <a:sysClr val="windowText" lastClr="000000"/>
                </a:solidFill>
                <a:effectLst/>
                <a:uLnTx/>
                <a:uFillTx/>
                <a:latin typeface="Arial"/>
                <a:ea typeface="+mn-ea"/>
                <a:cs typeface="Arial"/>
              </a:rPr>
              <a:t>vedotin</a:t>
            </a:r>
            <a:r>
              <a:rPr kumimoji="0" sz="800" b="0" i="0" u="none" strike="noStrike" kern="0" cap="none" spc="47" normalizeH="0" baseline="0" noProof="0" dirty="0">
                <a:ln>
                  <a:noFill/>
                </a:ln>
                <a:solidFill>
                  <a:sysClr val="windowText" lastClr="000000"/>
                </a:solidFill>
                <a:effectLst/>
                <a:uLnTx/>
                <a:uFillTx/>
                <a:latin typeface="Arial"/>
                <a:ea typeface="+mn-ea"/>
                <a:cs typeface="Arial"/>
              </a:rPr>
              <a:t> </a:t>
            </a:r>
            <a:r>
              <a:rPr kumimoji="0" sz="800" b="0" i="0" u="none" strike="noStrike" kern="0" cap="none" spc="0" normalizeH="0" baseline="0" noProof="0" dirty="0">
                <a:ln>
                  <a:noFill/>
                </a:ln>
                <a:solidFill>
                  <a:sysClr val="windowText" lastClr="000000"/>
                </a:solidFill>
                <a:effectLst/>
                <a:uLnTx/>
                <a:uFillTx/>
                <a:latin typeface="Arial"/>
                <a:ea typeface="+mn-ea"/>
                <a:cs typeface="Arial"/>
              </a:rPr>
              <a:t>(1.8</a:t>
            </a:r>
            <a:r>
              <a:rPr kumimoji="0" sz="800" b="0" i="0" u="none" strike="noStrike" kern="0" cap="none" spc="47" normalizeH="0" baseline="0" noProof="0" dirty="0">
                <a:ln>
                  <a:noFill/>
                </a:ln>
                <a:solidFill>
                  <a:sysClr val="windowText" lastClr="000000"/>
                </a:solidFill>
                <a:effectLst/>
                <a:uLnTx/>
                <a:uFillTx/>
                <a:latin typeface="Arial"/>
                <a:ea typeface="+mn-ea"/>
                <a:cs typeface="Arial"/>
              </a:rPr>
              <a:t> </a:t>
            </a:r>
            <a:r>
              <a:rPr kumimoji="0" sz="800" b="0" i="0" u="none" strike="noStrike" kern="0" cap="none" spc="-13" normalizeH="0" baseline="0" noProof="0" dirty="0">
                <a:ln>
                  <a:noFill/>
                </a:ln>
                <a:solidFill>
                  <a:sysClr val="windowText" lastClr="000000"/>
                </a:solidFill>
                <a:effectLst/>
                <a:uLnTx/>
                <a:uFillTx/>
                <a:latin typeface="Arial"/>
                <a:ea typeface="+mn-ea"/>
                <a:cs typeface="Arial"/>
              </a:rPr>
              <a:t>mg/kg)</a:t>
            </a:r>
            <a:r>
              <a:rPr kumimoji="0" sz="800" b="0" i="0" u="none" strike="noStrike" kern="0" cap="none" spc="27" normalizeH="0" baseline="0" noProof="0" dirty="0">
                <a:ln>
                  <a:noFill/>
                </a:ln>
                <a:solidFill>
                  <a:sysClr val="windowText" lastClr="000000"/>
                </a:solidFill>
                <a:effectLst/>
                <a:uLnTx/>
                <a:uFillTx/>
                <a:latin typeface="Arial"/>
                <a:ea typeface="+mn-ea"/>
                <a:cs typeface="Arial"/>
              </a:rPr>
              <a:t> </a:t>
            </a:r>
            <a:r>
              <a:rPr kumimoji="0" sz="800" b="0" i="0" u="none" strike="noStrike" kern="0" cap="none" spc="0" normalizeH="0" baseline="0" noProof="0" dirty="0">
                <a:ln>
                  <a:noFill/>
                </a:ln>
                <a:solidFill>
                  <a:sysClr val="windowText" lastClr="000000"/>
                </a:solidFill>
                <a:effectLst/>
                <a:uLnTx/>
                <a:uFillTx/>
                <a:latin typeface="Arial"/>
                <a:ea typeface="+mn-ea"/>
                <a:cs typeface="Arial"/>
              </a:rPr>
              <a:t>plus</a:t>
            </a:r>
            <a:r>
              <a:rPr kumimoji="0" sz="800" b="0" i="0" u="none" strike="noStrike" kern="0" cap="none" spc="-7" normalizeH="0" baseline="0" noProof="0" dirty="0">
                <a:ln>
                  <a:noFill/>
                </a:ln>
                <a:solidFill>
                  <a:sysClr val="windowText" lastClr="000000"/>
                </a:solidFill>
                <a:effectLst/>
                <a:uLnTx/>
                <a:uFillTx/>
                <a:latin typeface="Arial"/>
                <a:ea typeface="+mn-ea"/>
                <a:cs typeface="Arial"/>
              </a:rPr>
              <a:t> </a:t>
            </a:r>
            <a:r>
              <a:rPr kumimoji="0" sz="800" b="0" i="0" u="none" strike="noStrike" kern="0" cap="none" spc="0" normalizeH="0" baseline="0" noProof="0" dirty="0">
                <a:ln>
                  <a:noFill/>
                </a:ln>
                <a:solidFill>
                  <a:sysClr val="windowText" lastClr="000000"/>
                </a:solidFill>
                <a:effectLst/>
                <a:uLnTx/>
                <a:uFillTx/>
                <a:latin typeface="Arial"/>
                <a:ea typeface="+mn-ea"/>
                <a:cs typeface="Arial"/>
              </a:rPr>
              <a:t>R-GemOx</a:t>
            </a:r>
            <a:r>
              <a:rPr kumimoji="0" sz="800" b="0" i="0" u="none" strike="noStrike" kern="0" cap="none" spc="-13" normalizeH="0" baseline="0" noProof="0" dirty="0">
                <a:ln>
                  <a:noFill/>
                </a:ln>
                <a:solidFill>
                  <a:sysClr val="windowText" lastClr="000000"/>
                </a:solidFill>
                <a:effectLst/>
                <a:uLnTx/>
                <a:uFillTx/>
                <a:latin typeface="Arial"/>
                <a:ea typeface="+mn-ea"/>
                <a:cs typeface="Arial"/>
              </a:rPr>
              <a:t> </a:t>
            </a:r>
            <a:r>
              <a:rPr kumimoji="0" sz="800" b="0" i="0" u="none" strike="noStrike" kern="0" cap="none" spc="0" normalizeH="0" baseline="0" noProof="0" dirty="0">
                <a:ln>
                  <a:noFill/>
                </a:ln>
                <a:solidFill>
                  <a:sysClr val="windowText" lastClr="000000"/>
                </a:solidFill>
                <a:effectLst/>
                <a:uLnTx/>
                <a:uFillTx/>
                <a:latin typeface="Arial"/>
                <a:ea typeface="+mn-ea"/>
                <a:cs typeface="Arial"/>
              </a:rPr>
              <a:t>(R,</a:t>
            </a:r>
            <a:r>
              <a:rPr kumimoji="0" sz="800" b="0" i="0" u="none" strike="noStrike" kern="0" cap="none" spc="73" normalizeH="0" baseline="0" noProof="0" dirty="0">
                <a:ln>
                  <a:noFill/>
                </a:ln>
                <a:solidFill>
                  <a:sysClr val="windowText" lastClr="000000"/>
                </a:solidFill>
                <a:effectLst/>
                <a:uLnTx/>
                <a:uFillTx/>
                <a:latin typeface="Arial"/>
                <a:ea typeface="+mn-ea"/>
                <a:cs typeface="Arial"/>
              </a:rPr>
              <a:t> </a:t>
            </a:r>
            <a:r>
              <a:rPr kumimoji="0" sz="800" b="0" i="0" u="none" strike="noStrike" kern="0" cap="none" spc="-13" normalizeH="0" baseline="0" noProof="0" dirty="0">
                <a:ln>
                  <a:noFill/>
                </a:ln>
                <a:solidFill>
                  <a:sysClr val="windowText" lastClr="000000"/>
                </a:solidFill>
                <a:effectLst/>
                <a:uLnTx/>
                <a:uFillTx/>
                <a:latin typeface="Arial"/>
                <a:ea typeface="+mn-ea"/>
                <a:cs typeface="Arial"/>
              </a:rPr>
              <a:t>375</a:t>
            </a:r>
            <a:r>
              <a:rPr kumimoji="0" sz="800" b="0" i="0" u="none" strike="noStrike" kern="0" cap="none" spc="-60" normalizeH="0" baseline="0" noProof="0" dirty="0">
                <a:ln>
                  <a:noFill/>
                </a:ln>
                <a:solidFill>
                  <a:sysClr val="windowText" lastClr="000000"/>
                </a:solidFill>
                <a:effectLst/>
                <a:uLnTx/>
                <a:uFillTx/>
                <a:latin typeface="Arial"/>
                <a:ea typeface="+mn-ea"/>
                <a:cs typeface="Arial"/>
              </a:rPr>
              <a:t> </a:t>
            </a:r>
            <a:r>
              <a:rPr kumimoji="0" sz="800" b="0" i="0" u="none" strike="noStrike" kern="0" cap="none" spc="-13" normalizeH="0" baseline="0" noProof="0" dirty="0">
                <a:ln>
                  <a:noFill/>
                </a:ln>
                <a:solidFill>
                  <a:sysClr val="windowText" lastClr="000000"/>
                </a:solidFill>
                <a:effectLst/>
                <a:uLnTx/>
                <a:uFillTx/>
                <a:latin typeface="Arial"/>
                <a:ea typeface="+mn-ea"/>
                <a:cs typeface="Arial"/>
              </a:rPr>
              <a:t>mg/</a:t>
            </a:r>
            <a:r>
              <a:rPr kumimoji="0" sz="800" b="0" i="0" u="none" strike="noStrike" kern="0" cap="none" spc="-140" normalizeH="0" baseline="0" noProof="0" dirty="0">
                <a:ln>
                  <a:noFill/>
                </a:ln>
                <a:solidFill>
                  <a:sysClr val="windowText" lastClr="000000"/>
                </a:solidFill>
                <a:effectLst/>
                <a:uLnTx/>
                <a:uFillTx/>
                <a:latin typeface="Arial"/>
                <a:ea typeface="+mn-ea"/>
                <a:cs typeface="Arial"/>
              </a:rPr>
              <a:t> </a:t>
            </a:r>
            <a:r>
              <a:rPr kumimoji="0" sz="800" b="0" i="0" u="none" strike="noStrike" kern="0" cap="none" spc="0" normalizeH="0" baseline="0" noProof="0" dirty="0">
                <a:ln>
                  <a:noFill/>
                </a:ln>
                <a:solidFill>
                  <a:sysClr val="windowText" lastClr="000000"/>
                </a:solidFill>
                <a:effectLst/>
                <a:uLnTx/>
                <a:uFillTx/>
                <a:latin typeface="Arial"/>
                <a:ea typeface="+mn-ea"/>
                <a:cs typeface="Arial"/>
              </a:rPr>
              <a:t>m</a:t>
            </a:r>
            <a:r>
              <a:rPr kumimoji="0" sz="700" b="0" i="0" u="none" strike="noStrike" kern="0" cap="none" spc="0" normalizeH="0" baseline="23809" noProof="0" dirty="0">
                <a:ln>
                  <a:noFill/>
                </a:ln>
                <a:solidFill>
                  <a:sysClr val="windowText" lastClr="000000"/>
                </a:solidFill>
                <a:effectLst/>
                <a:uLnTx/>
                <a:uFillTx/>
                <a:latin typeface="Arial"/>
                <a:ea typeface="+mn-ea"/>
                <a:cs typeface="Arial"/>
              </a:rPr>
              <a:t>2</a:t>
            </a:r>
            <a:r>
              <a:rPr kumimoji="0" sz="800" b="0" i="0" u="none" strike="noStrike" kern="0" cap="none" spc="0" normalizeH="0" baseline="0" noProof="0" dirty="0">
                <a:ln>
                  <a:noFill/>
                </a:ln>
                <a:solidFill>
                  <a:sysClr val="windowText" lastClr="000000"/>
                </a:solidFill>
                <a:effectLst/>
                <a:uLnTx/>
                <a:uFillTx/>
                <a:latin typeface="Arial"/>
                <a:ea typeface="+mn-ea"/>
                <a:cs typeface="Arial"/>
              </a:rPr>
              <a:t>;</a:t>
            </a:r>
            <a:r>
              <a:rPr kumimoji="0" sz="800" b="0" i="0" u="none" strike="noStrike" kern="0" cap="none" spc="-27" normalizeH="0" baseline="0" noProof="0" dirty="0">
                <a:ln>
                  <a:noFill/>
                </a:ln>
                <a:solidFill>
                  <a:sysClr val="windowText" lastClr="000000"/>
                </a:solidFill>
                <a:effectLst/>
                <a:uLnTx/>
                <a:uFillTx/>
                <a:latin typeface="Arial"/>
                <a:ea typeface="+mn-ea"/>
                <a:cs typeface="Arial"/>
              </a:rPr>
              <a:t> </a:t>
            </a:r>
            <a:r>
              <a:rPr kumimoji="0" sz="800" b="0" i="0" u="none" strike="noStrike" kern="0" cap="none" spc="0" normalizeH="0" baseline="0" noProof="0" dirty="0">
                <a:ln>
                  <a:noFill/>
                </a:ln>
                <a:solidFill>
                  <a:sysClr val="windowText" lastClr="000000"/>
                </a:solidFill>
                <a:effectLst/>
                <a:uLnTx/>
                <a:uFillTx/>
                <a:latin typeface="Arial"/>
                <a:ea typeface="+mn-ea"/>
                <a:cs typeface="Arial"/>
              </a:rPr>
              <a:t>Gem,</a:t>
            </a:r>
            <a:r>
              <a:rPr kumimoji="0" sz="800" b="0" i="0" u="none" strike="noStrike" kern="0" cap="none" spc="-27" normalizeH="0" baseline="0" noProof="0" dirty="0">
                <a:ln>
                  <a:noFill/>
                </a:ln>
                <a:solidFill>
                  <a:sysClr val="windowText" lastClr="000000"/>
                </a:solidFill>
                <a:effectLst/>
                <a:uLnTx/>
                <a:uFillTx/>
                <a:latin typeface="Arial"/>
                <a:ea typeface="+mn-ea"/>
                <a:cs typeface="Arial"/>
              </a:rPr>
              <a:t> </a:t>
            </a:r>
            <a:r>
              <a:rPr kumimoji="0" sz="800" b="0" i="0" u="none" strike="noStrike" kern="0" cap="none" spc="0" normalizeH="0" baseline="0" noProof="0" dirty="0">
                <a:ln>
                  <a:noFill/>
                </a:ln>
                <a:solidFill>
                  <a:sysClr val="windowText" lastClr="000000"/>
                </a:solidFill>
                <a:effectLst/>
                <a:uLnTx/>
                <a:uFillTx/>
                <a:latin typeface="Arial"/>
                <a:ea typeface="+mn-ea"/>
                <a:cs typeface="Arial"/>
              </a:rPr>
              <a:t>1000</a:t>
            </a:r>
            <a:r>
              <a:rPr kumimoji="0" sz="800" b="0" i="0" u="none" strike="noStrike" kern="0" cap="none" spc="-53" normalizeH="0" baseline="0" noProof="0" dirty="0">
                <a:ln>
                  <a:noFill/>
                </a:ln>
                <a:solidFill>
                  <a:sysClr val="windowText" lastClr="000000"/>
                </a:solidFill>
                <a:effectLst/>
                <a:uLnTx/>
                <a:uFillTx/>
                <a:latin typeface="Arial"/>
                <a:ea typeface="+mn-ea"/>
                <a:cs typeface="Arial"/>
              </a:rPr>
              <a:t> </a:t>
            </a:r>
            <a:r>
              <a:rPr kumimoji="0" sz="800" b="0" i="0" u="none" strike="noStrike" kern="0" cap="none" spc="-13" normalizeH="0" baseline="0" noProof="0" dirty="0">
                <a:ln>
                  <a:noFill/>
                </a:ln>
                <a:solidFill>
                  <a:sysClr val="windowText" lastClr="000000"/>
                </a:solidFill>
                <a:effectLst/>
                <a:uLnTx/>
                <a:uFillTx/>
                <a:latin typeface="Arial"/>
                <a:ea typeface="+mn-ea"/>
                <a:cs typeface="Arial"/>
              </a:rPr>
              <a:t>mg/</a:t>
            </a:r>
            <a:r>
              <a:rPr kumimoji="0" sz="800" b="0" i="0" u="none" strike="noStrike" kern="0" cap="none" spc="-140" normalizeH="0" baseline="0" noProof="0" dirty="0">
                <a:ln>
                  <a:noFill/>
                </a:ln>
                <a:solidFill>
                  <a:sysClr val="windowText" lastClr="000000"/>
                </a:solidFill>
                <a:effectLst/>
                <a:uLnTx/>
                <a:uFillTx/>
                <a:latin typeface="Arial"/>
                <a:ea typeface="+mn-ea"/>
                <a:cs typeface="Arial"/>
              </a:rPr>
              <a:t> </a:t>
            </a:r>
            <a:r>
              <a:rPr kumimoji="0" sz="800" b="0" i="0" u="none" strike="noStrike" kern="0" cap="none" spc="-27" normalizeH="0" baseline="0" noProof="0" dirty="0">
                <a:ln>
                  <a:noFill/>
                </a:ln>
                <a:solidFill>
                  <a:sysClr val="windowText" lastClr="000000"/>
                </a:solidFill>
                <a:effectLst/>
                <a:uLnTx/>
                <a:uFillTx/>
                <a:latin typeface="Arial"/>
                <a:ea typeface="+mn-ea"/>
                <a:cs typeface="Arial"/>
              </a:rPr>
              <a:t>m</a:t>
            </a:r>
            <a:r>
              <a:rPr kumimoji="0" sz="700" b="0" i="0" u="none" strike="noStrike" kern="0" cap="none" spc="-40" normalizeH="0" baseline="23809" noProof="0" dirty="0">
                <a:ln>
                  <a:noFill/>
                </a:ln>
                <a:solidFill>
                  <a:sysClr val="windowText" lastClr="000000"/>
                </a:solidFill>
                <a:effectLst/>
                <a:uLnTx/>
                <a:uFillTx/>
                <a:latin typeface="Arial"/>
                <a:ea typeface="+mn-ea"/>
                <a:cs typeface="Arial"/>
              </a:rPr>
              <a:t>2</a:t>
            </a:r>
            <a:r>
              <a:rPr kumimoji="0" sz="800" b="0" i="0" u="none" strike="noStrike" kern="0" cap="none" spc="-27" normalizeH="0" baseline="0" noProof="0" dirty="0">
                <a:ln>
                  <a:noFill/>
                </a:ln>
                <a:solidFill>
                  <a:sysClr val="windowText" lastClr="000000"/>
                </a:solidFill>
                <a:effectLst/>
                <a:uLnTx/>
                <a:uFillTx/>
                <a:latin typeface="Arial"/>
                <a:ea typeface="+mn-ea"/>
                <a:cs typeface="Arial"/>
              </a:rPr>
              <a:t>;</a:t>
            </a:r>
            <a:r>
              <a:rPr kumimoji="0" sz="800" b="0" i="0" u="none" strike="noStrike" kern="0" cap="none" spc="-33" normalizeH="0" baseline="0" noProof="0" dirty="0">
                <a:ln>
                  <a:noFill/>
                </a:ln>
                <a:solidFill>
                  <a:sysClr val="windowText" lastClr="000000"/>
                </a:solidFill>
                <a:effectLst/>
                <a:uLnTx/>
                <a:uFillTx/>
                <a:latin typeface="Arial"/>
                <a:ea typeface="+mn-ea"/>
                <a:cs typeface="Arial"/>
              </a:rPr>
              <a:t> </a:t>
            </a:r>
            <a:r>
              <a:rPr kumimoji="0" sz="800" b="0" i="0" u="none" strike="noStrike" kern="0" cap="none" spc="0" normalizeH="0" baseline="0" noProof="0" dirty="0">
                <a:ln>
                  <a:noFill/>
                </a:ln>
                <a:solidFill>
                  <a:sysClr val="windowText" lastClr="000000"/>
                </a:solidFill>
                <a:effectLst/>
                <a:uLnTx/>
                <a:uFillTx/>
                <a:latin typeface="Arial"/>
                <a:ea typeface="+mn-ea"/>
                <a:cs typeface="Arial"/>
              </a:rPr>
              <a:t>Ox,</a:t>
            </a:r>
            <a:r>
              <a:rPr kumimoji="0" sz="800" b="0" i="0" u="none" strike="noStrike" kern="0" cap="none" spc="-33" normalizeH="0" baseline="0" noProof="0" dirty="0">
                <a:ln>
                  <a:noFill/>
                </a:ln>
                <a:solidFill>
                  <a:sysClr val="windowText" lastClr="000000"/>
                </a:solidFill>
                <a:effectLst/>
                <a:uLnTx/>
                <a:uFillTx/>
                <a:latin typeface="Arial"/>
                <a:ea typeface="+mn-ea"/>
                <a:cs typeface="Arial"/>
              </a:rPr>
              <a:t> </a:t>
            </a:r>
            <a:r>
              <a:rPr kumimoji="0" sz="800" b="0" i="0" u="none" strike="noStrike" kern="0" cap="none" spc="0" normalizeH="0" baseline="0" noProof="0" dirty="0">
                <a:ln>
                  <a:noFill/>
                </a:ln>
                <a:solidFill>
                  <a:sysClr val="windowText" lastClr="000000"/>
                </a:solidFill>
                <a:effectLst/>
                <a:uLnTx/>
                <a:uFillTx/>
                <a:latin typeface="Arial"/>
                <a:ea typeface="+mn-ea"/>
                <a:cs typeface="Arial"/>
              </a:rPr>
              <a:t>100</a:t>
            </a:r>
            <a:r>
              <a:rPr kumimoji="0" sz="800" b="0" i="0" u="none" strike="noStrike" kern="0" cap="none" spc="53" normalizeH="0" baseline="0" noProof="0" dirty="0">
                <a:ln>
                  <a:noFill/>
                </a:ln>
                <a:solidFill>
                  <a:sysClr val="windowText" lastClr="000000"/>
                </a:solidFill>
                <a:effectLst/>
                <a:uLnTx/>
                <a:uFillTx/>
                <a:latin typeface="Arial"/>
                <a:ea typeface="+mn-ea"/>
                <a:cs typeface="Arial"/>
              </a:rPr>
              <a:t> </a:t>
            </a:r>
            <a:r>
              <a:rPr kumimoji="0" sz="800" b="0" i="0" u="none" strike="noStrike" kern="0" cap="none" spc="-13" normalizeH="0" baseline="0" noProof="0" dirty="0">
                <a:ln>
                  <a:noFill/>
                </a:ln>
                <a:solidFill>
                  <a:sysClr val="windowText" lastClr="000000"/>
                </a:solidFill>
                <a:effectLst/>
                <a:uLnTx/>
                <a:uFillTx/>
                <a:latin typeface="Arial"/>
                <a:ea typeface="+mn-ea"/>
                <a:cs typeface="Arial"/>
              </a:rPr>
              <a:t>mg/m</a:t>
            </a:r>
            <a:r>
              <a:rPr kumimoji="0" sz="700" b="0" i="0" u="none" strike="noStrike" kern="0" cap="none" spc="-20" normalizeH="0" baseline="23809" noProof="0" dirty="0">
                <a:ln>
                  <a:noFill/>
                </a:ln>
                <a:solidFill>
                  <a:sysClr val="windowText" lastClr="000000"/>
                </a:solidFill>
                <a:effectLst/>
                <a:uLnTx/>
                <a:uFillTx/>
                <a:latin typeface="Arial"/>
                <a:ea typeface="+mn-ea"/>
                <a:cs typeface="Arial"/>
              </a:rPr>
              <a:t>2</a:t>
            </a:r>
            <a:r>
              <a:rPr kumimoji="0" sz="800" b="0" i="0" u="none" strike="noStrike" kern="0" cap="none" spc="-13" normalizeH="0" baseline="0" noProof="0" dirty="0">
                <a:ln>
                  <a:noFill/>
                </a:ln>
                <a:solidFill>
                  <a:sysClr val="windowText" lastClr="000000"/>
                </a:solidFill>
                <a:effectLst/>
                <a:uLnTx/>
                <a:uFillTx/>
                <a:latin typeface="Arial"/>
                <a:ea typeface="+mn-ea"/>
                <a:cs typeface="Arial"/>
              </a:rPr>
              <a:t>).</a:t>
            </a:r>
            <a:r>
              <a:rPr kumimoji="0" sz="800" b="0" i="0" u="none" strike="noStrike" kern="0" cap="none" spc="-33" normalizeH="0" baseline="0" noProof="0" dirty="0">
                <a:ln>
                  <a:noFill/>
                </a:ln>
                <a:solidFill>
                  <a:sysClr val="windowText" lastClr="000000"/>
                </a:solidFill>
                <a:effectLst/>
                <a:uLnTx/>
                <a:uFillTx/>
                <a:latin typeface="Arial"/>
                <a:ea typeface="+mn-ea"/>
                <a:cs typeface="Arial"/>
              </a:rPr>
              <a:t> </a:t>
            </a:r>
            <a:r>
              <a:rPr kumimoji="0" sz="700" b="0" i="0" u="none" strike="noStrike" kern="0" cap="none" spc="0" normalizeH="0" baseline="23809" noProof="0" dirty="0">
                <a:ln>
                  <a:noFill/>
                </a:ln>
                <a:solidFill>
                  <a:sysClr val="windowText" lastClr="000000"/>
                </a:solidFill>
                <a:effectLst/>
                <a:uLnTx/>
                <a:uFillTx/>
                <a:latin typeface="Arial"/>
                <a:ea typeface="+mn-ea"/>
                <a:cs typeface="Arial"/>
              </a:rPr>
              <a:t>†</a:t>
            </a:r>
            <a:r>
              <a:rPr kumimoji="0" sz="800" b="0" i="0" u="none" strike="noStrike" kern="0" cap="none" spc="0" normalizeH="0" baseline="0" noProof="0" dirty="0">
                <a:ln>
                  <a:noFill/>
                </a:ln>
                <a:solidFill>
                  <a:sysClr val="windowText" lastClr="000000"/>
                </a:solidFill>
                <a:effectLst/>
                <a:uLnTx/>
                <a:uFillTx/>
                <a:latin typeface="Arial"/>
                <a:ea typeface="+mn-ea"/>
                <a:cs typeface="Arial"/>
              </a:rPr>
              <a:t>PET-CT at</a:t>
            </a:r>
            <a:r>
              <a:rPr kumimoji="0" sz="800" b="0" i="0" u="none" strike="noStrike" kern="0" cap="none" spc="80" normalizeH="0" baseline="0" noProof="0" dirty="0">
                <a:ln>
                  <a:noFill/>
                </a:ln>
                <a:solidFill>
                  <a:sysClr val="windowText" lastClr="000000"/>
                </a:solidFill>
                <a:effectLst/>
                <a:uLnTx/>
                <a:uFillTx/>
                <a:latin typeface="Arial"/>
                <a:ea typeface="+mn-ea"/>
                <a:cs typeface="Arial"/>
              </a:rPr>
              <a:t> </a:t>
            </a:r>
            <a:r>
              <a:rPr kumimoji="0" sz="800" b="0" i="0" u="none" strike="noStrike" kern="0" cap="none" spc="-27" normalizeH="0" baseline="0" noProof="0" dirty="0">
                <a:ln>
                  <a:noFill/>
                </a:ln>
                <a:solidFill>
                  <a:sysClr val="windowText" lastClr="000000"/>
                </a:solidFill>
                <a:effectLst/>
                <a:uLnTx/>
                <a:uFillTx/>
                <a:latin typeface="Arial"/>
                <a:ea typeface="+mn-ea"/>
                <a:cs typeface="Arial"/>
              </a:rPr>
              <a:t>EOT.</a:t>
            </a:r>
            <a:endParaRPr kumimoji="0" sz="800" b="0" i="0" u="none" strike="noStrike" kern="0" cap="none" spc="0" normalizeH="0" baseline="0" noProof="0" dirty="0">
              <a:ln>
                <a:noFill/>
              </a:ln>
              <a:solidFill>
                <a:sysClr val="windowText" lastClr="000000"/>
              </a:solidFill>
              <a:effectLst/>
              <a:uLnTx/>
              <a:uFillTx/>
              <a:latin typeface="Arial"/>
              <a:ea typeface="+mn-ea"/>
              <a:cs typeface="Arial"/>
            </a:endParaRPr>
          </a:p>
          <a:p>
            <a:pPr marL="50799" marR="0" lvl="0" indent="0" algn="l" defTabSz="1219170" rtl="0" eaLnBrk="1" fontAlgn="auto" latinLnBrk="0" hangingPunct="1">
              <a:lnSpc>
                <a:spcPts val="933"/>
              </a:lnSpc>
              <a:spcBef>
                <a:spcPts val="0"/>
              </a:spcBef>
              <a:spcAft>
                <a:spcPts val="0"/>
              </a:spcAft>
              <a:buClrTx/>
              <a:buSzTx/>
              <a:buFontTx/>
              <a:buNone/>
              <a:tabLst/>
              <a:defRPr/>
            </a:pPr>
            <a:r>
              <a:rPr kumimoji="0" sz="800" b="0" i="0" u="none" strike="noStrike" kern="0" cap="none" spc="0" normalizeH="0" baseline="0" noProof="0" dirty="0">
                <a:ln>
                  <a:noFill/>
                </a:ln>
                <a:solidFill>
                  <a:sysClr val="windowText" lastClr="000000"/>
                </a:solidFill>
                <a:effectLst/>
                <a:uLnTx/>
                <a:uFillTx/>
                <a:latin typeface="Arial"/>
                <a:ea typeface="+mn-ea"/>
                <a:cs typeface="Arial"/>
              </a:rPr>
              <a:t>EOT,</a:t>
            </a:r>
            <a:r>
              <a:rPr kumimoji="0" sz="800" b="0" i="0" u="none" strike="noStrike" kern="0" cap="none" spc="80" normalizeH="0" baseline="0" noProof="0" dirty="0">
                <a:ln>
                  <a:noFill/>
                </a:ln>
                <a:solidFill>
                  <a:sysClr val="windowText" lastClr="000000"/>
                </a:solidFill>
                <a:effectLst/>
                <a:uLnTx/>
                <a:uFillTx/>
                <a:latin typeface="Arial"/>
                <a:ea typeface="+mn-ea"/>
                <a:cs typeface="Arial"/>
              </a:rPr>
              <a:t> </a:t>
            </a:r>
            <a:r>
              <a:rPr kumimoji="0" sz="800" b="0" i="0" u="none" strike="noStrike" kern="0" cap="none" spc="-13" normalizeH="0" baseline="0" noProof="0" dirty="0">
                <a:ln>
                  <a:noFill/>
                </a:ln>
                <a:solidFill>
                  <a:sysClr val="windowText" lastClr="000000"/>
                </a:solidFill>
                <a:effectLst/>
                <a:uLnTx/>
                <a:uFillTx/>
                <a:latin typeface="Arial"/>
                <a:ea typeface="+mn-ea"/>
                <a:cs typeface="Arial"/>
              </a:rPr>
              <a:t>end</a:t>
            </a:r>
            <a:r>
              <a:rPr kumimoji="0" sz="800" b="0" i="0" u="none" strike="noStrike" kern="0" cap="none" spc="-60" normalizeH="0" baseline="0" noProof="0" dirty="0">
                <a:ln>
                  <a:noFill/>
                </a:ln>
                <a:solidFill>
                  <a:sysClr val="windowText" lastClr="000000"/>
                </a:solidFill>
                <a:effectLst/>
                <a:uLnTx/>
                <a:uFillTx/>
                <a:latin typeface="Arial"/>
                <a:ea typeface="+mn-ea"/>
                <a:cs typeface="Arial"/>
              </a:rPr>
              <a:t> </a:t>
            </a:r>
            <a:r>
              <a:rPr kumimoji="0" sz="800" b="0" i="0" u="none" strike="noStrike" kern="0" cap="none" spc="0" normalizeH="0" baseline="0" noProof="0" dirty="0">
                <a:ln>
                  <a:noFill/>
                </a:ln>
                <a:solidFill>
                  <a:sysClr val="windowText" lastClr="000000"/>
                </a:solidFill>
                <a:effectLst/>
                <a:uLnTx/>
                <a:uFillTx/>
                <a:latin typeface="Arial"/>
                <a:ea typeface="+mn-ea"/>
                <a:cs typeface="Arial"/>
              </a:rPr>
              <a:t>of</a:t>
            </a:r>
            <a:r>
              <a:rPr kumimoji="0" sz="800" b="0" i="0" u="none" strike="noStrike" kern="0" cap="none" spc="-33" normalizeH="0" baseline="0" noProof="0" dirty="0">
                <a:ln>
                  <a:noFill/>
                </a:ln>
                <a:solidFill>
                  <a:sysClr val="windowText" lastClr="000000"/>
                </a:solidFill>
                <a:effectLst/>
                <a:uLnTx/>
                <a:uFillTx/>
                <a:latin typeface="Arial"/>
                <a:ea typeface="+mn-ea"/>
                <a:cs typeface="Arial"/>
              </a:rPr>
              <a:t> </a:t>
            </a:r>
            <a:r>
              <a:rPr kumimoji="0" sz="800" b="0" i="0" u="none" strike="noStrike" kern="0" cap="none" spc="-13" normalizeH="0" baseline="0" noProof="0" dirty="0">
                <a:ln>
                  <a:noFill/>
                </a:ln>
                <a:solidFill>
                  <a:sysClr val="windowText" lastClr="000000"/>
                </a:solidFill>
                <a:effectLst/>
                <a:uLnTx/>
                <a:uFillTx/>
                <a:latin typeface="Arial"/>
                <a:ea typeface="+mn-ea"/>
                <a:cs typeface="Arial"/>
              </a:rPr>
              <a:t>treatment;</a:t>
            </a:r>
            <a:r>
              <a:rPr kumimoji="0" sz="800" b="0" i="0" u="none" strike="noStrike" kern="0" cap="none" spc="-27" normalizeH="0" baseline="0" noProof="0" dirty="0">
                <a:ln>
                  <a:noFill/>
                </a:ln>
                <a:solidFill>
                  <a:sysClr val="windowText" lastClr="000000"/>
                </a:solidFill>
                <a:effectLst/>
                <a:uLnTx/>
                <a:uFillTx/>
                <a:latin typeface="Arial"/>
                <a:ea typeface="+mn-ea"/>
                <a:cs typeface="Arial"/>
              </a:rPr>
              <a:t> </a:t>
            </a:r>
            <a:r>
              <a:rPr kumimoji="0" sz="800" b="0" i="0" u="none" strike="noStrike" kern="0" cap="none" spc="0" normalizeH="0" baseline="0" noProof="0" dirty="0">
                <a:ln>
                  <a:noFill/>
                </a:ln>
                <a:solidFill>
                  <a:sysClr val="windowText" lastClr="000000"/>
                </a:solidFill>
                <a:effectLst/>
                <a:uLnTx/>
                <a:uFillTx/>
                <a:latin typeface="Arial"/>
                <a:ea typeface="+mn-ea"/>
                <a:cs typeface="Arial"/>
              </a:rPr>
              <a:t>INV,</a:t>
            </a:r>
            <a:r>
              <a:rPr kumimoji="0" sz="800" b="0" i="0" u="none" strike="noStrike" kern="0" cap="none" spc="-33" normalizeH="0" baseline="0" noProof="0" dirty="0">
                <a:ln>
                  <a:noFill/>
                </a:ln>
                <a:solidFill>
                  <a:sysClr val="windowText" lastClr="000000"/>
                </a:solidFill>
                <a:effectLst/>
                <a:uLnTx/>
                <a:uFillTx/>
                <a:latin typeface="Arial"/>
                <a:ea typeface="+mn-ea"/>
                <a:cs typeface="Arial"/>
              </a:rPr>
              <a:t> </a:t>
            </a:r>
            <a:r>
              <a:rPr kumimoji="0" sz="800" b="0" i="0" u="none" strike="noStrike" kern="0" cap="none" spc="0" normalizeH="0" baseline="0" noProof="0" dirty="0">
                <a:ln>
                  <a:noFill/>
                </a:ln>
                <a:solidFill>
                  <a:sysClr val="windowText" lastClr="000000"/>
                </a:solidFill>
                <a:effectLst/>
                <a:uLnTx/>
                <a:uFillTx/>
                <a:latin typeface="Arial"/>
                <a:ea typeface="+mn-ea"/>
                <a:cs typeface="Arial"/>
              </a:rPr>
              <a:t>investigator;</a:t>
            </a:r>
            <a:r>
              <a:rPr kumimoji="0" sz="800" b="0" i="0" u="none" strike="noStrike" kern="0" cap="none" spc="80" normalizeH="0" baseline="0" noProof="0" dirty="0">
                <a:ln>
                  <a:noFill/>
                </a:ln>
                <a:solidFill>
                  <a:sysClr val="windowText" lastClr="000000"/>
                </a:solidFill>
                <a:effectLst/>
                <a:uLnTx/>
                <a:uFillTx/>
                <a:latin typeface="Arial"/>
                <a:ea typeface="+mn-ea"/>
                <a:cs typeface="Arial"/>
              </a:rPr>
              <a:t> </a:t>
            </a:r>
            <a:r>
              <a:rPr kumimoji="0" sz="800" b="0" i="0" u="none" strike="noStrike" kern="0" cap="none" spc="0" normalizeH="0" baseline="0" noProof="0" dirty="0">
                <a:ln>
                  <a:noFill/>
                </a:ln>
                <a:solidFill>
                  <a:sysClr val="windowText" lastClr="000000"/>
                </a:solidFill>
                <a:effectLst/>
                <a:uLnTx/>
                <a:uFillTx/>
                <a:latin typeface="Arial"/>
                <a:ea typeface="+mn-ea"/>
                <a:cs typeface="Arial"/>
              </a:rPr>
              <a:t>IRC,</a:t>
            </a:r>
            <a:r>
              <a:rPr kumimoji="0" sz="800" b="0" i="0" u="none" strike="noStrike" kern="0" cap="none" spc="80" normalizeH="0" baseline="0" noProof="0" dirty="0">
                <a:ln>
                  <a:noFill/>
                </a:ln>
                <a:solidFill>
                  <a:sysClr val="windowText" lastClr="000000"/>
                </a:solidFill>
                <a:effectLst/>
                <a:uLnTx/>
                <a:uFillTx/>
                <a:latin typeface="Arial"/>
                <a:ea typeface="+mn-ea"/>
                <a:cs typeface="Arial"/>
              </a:rPr>
              <a:t> </a:t>
            </a:r>
            <a:r>
              <a:rPr kumimoji="0" sz="800" b="0" i="0" u="none" strike="noStrike" kern="0" cap="none" spc="-13" normalizeH="0" baseline="0" noProof="0" dirty="0">
                <a:ln>
                  <a:noFill/>
                </a:ln>
                <a:solidFill>
                  <a:sysClr val="windowText" lastClr="000000"/>
                </a:solidFill>
                <a:effectLst/>
                <a:uLnTx/>
                <a:uFillTx/>
                <a:latin typeface="Arial"/>
                <a:ea typeface="+mn-ea"/>
                <a:cs typeface="Arial"/>
              </a:rPr>
              <a:t>independent</a:t>
            </a:r>
            <a:r>
              <a:rPr kumimoji="0" sz="800" b="0" i="0" u="none" strike="noStrike" kern="0" cap="none" spc="-27" normalizeH="0" baseline="0" noProof="0" dirty="0">
                <a:ln>
                  <a:noFill/>
                </a:ln>
                <a:solidFill>
                  <a:sysClr val="windowText" lastClr="000000"/>
                </a:solidFill>
                <a:effectLst/>
                <a:uLnTx/>
                <a:uFillTx/>
                <a:latin typeface="Arial"/>
                <a:ea typeface="+mn-ea"/>
                <a:cs typeface="Arial"/>
              </a:rPr>
              <a:t> </a:t>
            </a:r>
            <a:r>
              <a:rPr kumimoji="0" sz="800" b="0" i="0" u="none" strike="noStrike" kern="0" cap="none" spc="0" normalizeH="0" baseline="0" noProof="0" dirty="0">
                <a:ln>
                  <a:noFill/>
                </a:ln>
                <a:solidFill>
                  <a:sysClr val="windowText" lastClr="000000"/>
                </a:solidFill>
                <a:effectLst/>
                <a:uLnTx/>
                <a:uFillTx/>
                <a:latin typeface="Arial"/>
                <a:ea typeface="+mn-ea"/>
                <a:cs typeface="Arial"/>
              </a:rPr>
              <a:t>review</a:t>
            </a:r>
            <a:r>
              <a:rPr kumimoji="0" sz="800" b="0" i="0" u="none" strike="noStrike" kern="0" cap="none" spc="20" normalizeH="0" baseline="0" noProof="0" dirty="0">
                <a:ln>
                  <a:noFill/>
                </a:ln>
                <a:solidFill>
                  <a:sysClr val="windowText" lastClr="000000"/>
                </a:solidFill>
                <a:effectLst/>
                <a:uLnTx/>
                <a:uFillTx/>
                <a:latin typeface="Arial"/>
                <a:ea typeface="+mn-ea"/>
                <a:cs typeface="Arial"/>
              </a:rPr>
              <a:t> </a:t>
            </a:r>
            <a:r>
              <a:rPr kumimoji="0" sz="800" b="0" i="0" u="none" strike="noStrike" kern="0" cap="none" spc="-13" normalizeH="0" baseline="0" noProof="0" dirty="0">
                <a:ln>
                  <a:noFill/>
                </a:ln>
                <a:solidFill>
                  <a:sysClr val="windowText" lastClr="000000"/>
                </a:solidFill>
                <a:effectLst/>
                <a:uLnTx/>
                <a:uFillTx/>
                <a:latin typeface="Arial"/>
                <a:ea typeface="+mn-ea"/>
                <a:cs typeface="Arial"/>
              </a:rPr>
              <a:t>committee;</a:t>
            </a:r>
            <a:r>
              <a:rPr kumimoji="0" sz="800" b="0" i="0" u="none" strike="noStrike" kern="0" cap="none" spc="-27" normalizeH="0" baseline="0" noProof="0" dirty="0">
                <a:ln>
                  <a:noFill/>
                </a:ln>
                <a:solidFill>
                  <a:sysClr val="windowText" lastClr="000000"/>
                </a:solidFill>
                <a:effectLst/>
                <a:uLnTx/>
                <a:uFillTx/>
                <a:latin typeface="Arial"/>
                <a:ea typeface="+mn-ea"/>
                <a:cs typeface="Arial"/>
              </a:rPr>
              <a:t> </a:t>
            </a:r>
            <a:r>
              <a:rPr kumimoji="0" sz="800" b="0" i="0" u="none" strike="noStrike" kern="0" cap="none" spc="0" normalizeH="0" baseline="0" noProof="0" dirty="0">
                <a:ln>
                  <a:noFill/>
                </a:ln>
                <a:solidFill>
                  <a:sysClr val="windowText" lastClr="000000"/>
                </a:solidFill>
                <a:effectLst/>
                <a:uLnTx/>
                <a:uFillTx/>
                <a:latin typeface="Arial"/>
                <a:ea typeface="+mn-ea"/>
                <a:cs typeface="Arial"/>
              </a:rPr>
              <a:t>NOS,</a:t>
            </a:r>
            <a:r>
              <a:rPr kumimoji="0" sz="800" b="0" i="0" u="none" strike="noStrike" kern="0" cap="none" spc="-33" normalizeH="0" baseline="0" noProof="0" dirty="0">
                <a:ln>
                  <a:noFill/>
                </a:ln>
                <a:solidFill>
                  <a:sysClr val="windowText" lastClr="000000"/>
                </a:solidFill>
                <a:effectLst/>
                <a:uLnTx/>
                <a:uFillTx/>
                <a:latin typeface="Arial"/>
                <a:ea typeface="+mn-ea"/>
                <a:cs typeface="Arial"/>
              </a:rPr>
              <a:t> </a:t>
            </a:r>
            <a:r>
              <a:rPr kumimoji="0" sz="800" b="0" i="0" u="none" strike="noStrike" kern="0" cap="none" spc="0" normalizeH="0" baseline="0" noProof="0" dirty="0">
                <a:ln>
                  <a:noFill/>
                </a:ln>
                <a:solidFill>
                  <a:sysClr val="windowText" lastClr="000000"/>
                </a:solidFill>
                <a:effectLst/>
                <a:uLnTx/>
                <a:uFillTx/>
                <a:latin typeface="Arial"/>
                <a:ea typeface="+mn-ea"/>
                <a:cs typeface="Arial"/>
              </a:rPr>
              <a:t>not</a:t>
            </a:r>
            <a:r>
              <a:rPr kumimoji="0" sz="800" b="0" i="0" u="none" strike="noStrike" kern="0" cap="none" spc="-27" normalizeH="0" baseline="0" noProof="0" dirty="0">
                <a:ln>
                  <a:noFill/>
                </a:ln>
                <a:solidFill>
                  <a:sysClr val="windowText" lastClr="000000"/>
                </a:solidFill>
                <a:effectLst/>
                <a:uLnTx/>
                <a:uFillTx/>
                <a:latin typeface="Arial"/>
                <a:ea typeface="+mn-ea"/>
                <a:cs typeface="Arial"/>
              </a:rPr>
              <a:t> </a:t>
            </a:r>
            <a:r>
              <a:rPr kumimoji="0" sz="800" b="0" i="0" u="none" strike="noStrike" kern="0" cap="none" spc="0" normalizeH="0" baseline="0" noProof="0" dirty="0">
                <a:ln>
                  <a:noFill/>
                </a:ln>
                <a:solidFill>
                  <a:sysClr val="windowText" lastClr="000000"/>
                </a:solidFill>
                <a:effectLst/>
                <a:uLnTx/>
                <a:uFillTx/>
                <a:latin typeface="Arial"/>
                <a:ea typeface="+mn-ea"/>
                <a:cs typeface="Arial"/>
              </a:rPr>
              <a:t>otherwise</a:t>
            </a:r>
            <a:r>
              <a:rPr kumimoji="0" sz="800" b="0" i="0" u="none" strike="noStrike" kern="0" cap="none" spc="53" normalizeH="0" baseline="0" noProof="0" dirty="0">
                <a:ln>
                  <a:noFill/>
                </a:ln>
                <a:solidFill>
                  <a:sysClr val="windowText" lastClr="000000"/>
                </a:solidFill>
                <a:effectLst/>
                <a:uLnTx/>
                <a:uFillTx/>
                <a:latin typeface="Arial"/>
                <a:ea typeface="+mn-ea"/>
                <a:cs typeface="Arial"/>
              </a:rPr>
              <a:t> </a:t>
            </a:r>
            <a:r>
              <a:rPr kumimoji="0" sz="800" b="0" i="0" u="none" strike="noStrike" kern="0" cap="none" spc="-13" normalizeH="0" baseline="0" noProof="0" dirty="0">
                <a:ln>
                  <a:noFill/>
                </a:ln>
                <a:solidFill>
                  <a:sysClr val="windowText" lastClr="000000"/>
                </a:solidFill>
                <a:effectLst/>
                <a:uLnTx/>
                <a:uFillTx/>
                <a:latin typeface="Arial"/>
                <a:ea typeface="+mn-ea"/>
                <a:cs typeface="Arial"/>
              </a:rPr>
              <a:t>specified;</a:t>
            </a:r>
            <a:r>
              <a:rPr kumimoji="0" sz="800" b="0" i="0" u="none" strike="noStrike" kern="0" cap="none" spc="-33" normalizeH="0" baseline="0" noProof="0" dirty="0">
                <a:ln>
                  <a:noFill/>
                </a:ln>
                <a:solidFill>
                  <a:sysClr val="windowText" lastClr="000000"/>
                </a:solidFill>
                <a:effectLst/>
                <a:uLnTx/>
                <a:uFillTx/>
                <a:latin typeface="Arial"/>
                <a:ea typeface="+mn-ea"/>
                <a:cs typeface="Arial"/>
              </a:rPr>
              <a:t> </a:t>
            </a:r>
            <a:r>
              <a:rPr kumimoji="0" sz="800" b="0" i="0" u="none" strike="noStrike" kern="0" cap="none" spc="0" normalizeH="0" baseline="0" noProof="0" dirty="0">
                <a:ln>
                  <a:noFill/>
                </a:ln>
                <a:solidFill>
                  <a:sysClr val="windowText" lastClr="000000"/>
                </a:solidFill>
                <a:effectLst/>
                <a:uLnTx/>
                <a:uFillTx/>
                <a:latin typeface="Arial"/>
                <a:ea typeface="+mn-ea"/>
                <a:cs typeface="Arial"/>
              </a:rPr>
              <a:t>ORR,</a:t>
            </a:r>
            <a:r>
              <a:rPr kumimoji="0" sz="800" b="0" i="0" u="none" strike="noStrike" kern="0" cap="none" spc="-27" normalizeH="0" baseline="0" noProof="0" dirty="0">
                <a:ln>
                  <a:noFill/>
                </a:ln>
                <a:solidFill>
                  <a:sysClr val="windowText" lastClr="000000"/>
                </a:solidFill>
                <a:effectLst/>
                <a:uLnTx/>
                <a:uFillTx/>
                <a:latin typeface="Arial"/>
                <a:ea typeface="+mn-ea"/>
                <a:cs typeface="Arial"/>
              </a:rPr>
              <a:t> </a:t>
            </a:r>
            <a:r>
              <a:rPr kumimoji="0" sz="800" b="0" i="0" u="none" strike="noStrike" kern="0" cap="none" spc="0" normalizeH="0" baseline="0" noProof="0" dirty="0">
                <a:ln>
                  <a:noFill/>
                </a:ln>
                <a:solidFill>
                  <a:sysClr val="windowText" lastClr="000000"/>
                </a:solidFill>
                <a:effectLst/>
                <a:uLnTx/>
                <a:uFillTx/>
                <a:latin typeface="Arial"/>
                <a:ea typeface="+mn-ea"/>
                <a:cs typeface="Arial"/>
              </a:rPr>
              <a:t>overall</a:t>
            </a:r>
            <a:r>
              <a:rPr kumimoji="0" sz="800" b="0" i="0" u="none" strike="noStrike" kern="0" cap="none" spc="13" normalizeH="0" baseline="0" noProof="0" dirty="0">
                <a:ln>
                  <a:noFill/>
                </a:ln>
                <a:solidFill>
                  <a:sysClr val="windowText" lastClr="000000"/>
                </a:solidFill>
                <a:effectLst/>
                <a:uLnTx/>
                <a:uFillTx/>
                <a:latin typeface="Arial"/>
                <a:ea typeface="+mn-ea"/>
                <a:cs typeface="Arial"/>
              </a:rPr>
              <a:t> </a:t>
            </a:r>
            <a:r>
              <a:rPr kumimoji="0" sz="800" b="0" i="0" u="none" strike="noStrike" kern="0" cap="none" spc="0" normalizeH="0" baseline="0" noProof="0" dirty="0">
                <a:ln>
                  <a:noFill/>
                </a:ln>
                <a:solidFill>
                  <a:sysClr val="windowText" lastClr="000000"/>
                </a:solidFill>
                <a:effectLst/>
                <a:uLnTx/>
                <a:uFillTx/>
                <a:latin typeface="Arial"/>
                <a:ea typeface="+mn-ea"/>
                <a:cs typeface="Arial"/>
              </a:rPr>
              <a:t>response</a:t>
            </a:r>
            <a:r>
              <a:rPr kumimoji="0" sz="800" b="0" i="0" u="none" strike="noStrike" kern="0" cap="none" spc="-40" normalizeH="0" baseline="0" noProof="0" dirty="0">
                <a:ln>
                  <a:noFill/>
                </a:ln>
                <a:solidFill>
                  <a:sysClr val="windowText" lastClr="000000"/>
                </a:solidFill>
                <a:effectLst/>
                <a:uLnTx/>
                <a:uFillTx/>
                <a:latin typeface="Arial"/>
                <a:ea typeface="+mn-ea"/>
                <a:cs typeface="Arial"/>
              </a:rPr>
              <a:t> </a:t>
            </a:r>
            <a:r>
              <a:rPr kumimoji="0" sz="800" b="0" i="0" u="none" strike="noStrike" kern="0" cap="none" spc="-13" normalizeH="0" baseline="0" noProof="0" dirty="0">
                <a:ln>
                  <a:noFill/>
                </a:ln>
                <a:solidFill>
                  <a:sysClr val="windowText" lastClr="000000"/>
                </a:solidFill>
                <a:effectLst/>
                <a:uLnTx/>
                <a:uFillTx/>
                <a:latin typeface="Arial"/>
                <a:ea typeface="+mn-ea"/>
                <a:cs typeface="Arial"/>
              </a:rPr>
              <a:t>rate;</a:t>
            </a:r>
            <a:endParaRPr kumimoji="0" sz="800" b="0" i="0" u="none" strike="noStrike" kern="0" cap="none" spc="0" normalizeH="0" baseline="0" noProof="0" dirty="0">
              <a:ln>
                <a:noFill/>
              </a:ln>
              <a:solidFill>
                <a:sysClr val="windowText" lastClr="000000"/>
              </a:solidFill>
              <a:effectLst/>
              <a:uLnTx/>
              <a:uFillTx/>
              <a:latin typeface="Arial"/>
              <a:ea typeface="+mn-ea"/>
              <a:cs typeface="Arial"/>
            </a:endParaRPr>
          </a:p>
          <a:p>
            <a:pPr marL="50799" marR="0" lvl="0" indent="0" algn="l" defTabSz="1219170" rtl="0" eaLnBrk="1" fontAlgn="auto" latinLnBrk="0" hangingPunct="1">
              <a:lnSpc>
                <a:spcPct val="100000"/>
              </a:lnSpc>
              <a:spcBef>
                <a:spcPts val="40"/>
              </a:spcBef>
              <a:spcAft>
                <a:spcPts val="0"/>
              </a:spcAft>
              <a:buClrTx/>
              <a:buSzTx/>
              <a:buFontTx/>
              <a:buNone/>
              <a:tabLst/>
              <a:defRPr/>
            </a:pPr>
            <a:r>
              <a:rPr kumimoji="0" sz="800" b="0" i="0" u="none" strike="noStrike" kern="0" cap="none" spc="-13" normalizeH="0" baseline="0" noProof="0" dirty="0">
                <a:ln>
                  <a:noFill/>
                </a:ln>
                <a:solidFill>
                  <a:sysClr val="windowText" lastClr="000000"/>
                </a:solidFill>
                <a:effectLst/>
                <a:uLnTx/>
                <a:uFillTx/>
                <a:latin typeface="Arial"/>
                <a:ea typeface="+mn-ea"/>
                <a:cs typeface="Arial"/>
              </a:rPr>
              <a:t>PET-</a:t>
            </a:r>
            <a:r>
              <a:rPr kumimoji="0" sz="800" b="0" i="0" u="none" strike="noStrike" kern="0" cap="none" spc="0" normalizeH="0" baseline="0" noProof="0" dirty="0">
                <a:ln>
                  <a:noFill/>
                </a:ln>
                <a:solidFill>
                  <a:sysClr val="windowText" lastClr="000000"/>
                </a:solidFill>
                <a:effectLst/>
                <a:uLnTx/>
                <a:uFillTx/>
                <a:latin typeface="Arial"/>
                <a:ea typeface="+mn-ea"/>
                <a:cs typeface="Arial"/>
              </a:rPr>
              <a:t>CT,</a:t>
            </a:r>
            <a:r>
              <a:rPr kumimoji="0" sz="800" b="0" i="0" u="none" strike="noStrike" kern="0" cap="none" spc="-40" normalizeH="0" baseline="0" noProof="0" dirty="0">
                <a:ln>
                  <a:noFill/>
                </a:ln>
                <a:solidFill>
                  <a:sysClr val="windowText" lastClr="000000"/>
                </a:solidFill>
                <a:effectLst/>
                <a:uLnTx/>
                <a:uFillTx/>
                <a:latin typeface="Arial"/>
                <a:ea typeface="+mn-ea"/>
                <a:cs typeface="Arial"/>
              </a:rPr>
              <a:t> </a:t>
            </a:r>
            <a:r>
              <a:rPr kumimoji="0" sz="800" b="0" i="0" u="none" strike="noStrike" kern="0" cap="none" spc="0" normalizeH="0" baseline="0" noProof="0" dirty="0">
                <a:ln>
                  <a:noFill/>
                </a:ln>
                <a:solidFill>
                  <a:sysClr val="windowText" lastClr="000000"/>
                </a:solidFill>
                <a:effectLst/>
                <a:uLnTx/>
                <a:uFillTx/>
                <a:latin typeface="Arial"/>
                <a:ea typeface="+mn-ea"/>
                <a:cs typeface="Arial"/>
              </a:rPr>
              <a:t>positron</a:t>
            </a:r>
            <a:r>
              <a:rPr kumimoji="0" sz="800" b="0" i="0" u="none" strike="noStrike" kern="0" cap="none" spc="33" normalizeH="0" baseline="0" noProof="0" dirty="0">
                <a:ln>
                  <a:noFill/>
                </a:ln>
                <a:solidFill>
                  <a:sysClr val="windowText" lastClr="000000"/>
                </a:solidFill>
                <a:effectLst/>
                <a:uLnTx/>
                <a:uFillTx/>
                <a:latin typeface="Arial"/>
                <a:ea typeface="+mn-ea"/>
                <a:cs typeface="Arial"/>
              </a:rPr>
              <a:t> </a:t>
            </a:r>
            <a:r>
              <a:rPr kumimoji="0" sz="800" b="0" i="0" u="none" strike="noStrike" kern="0" cap="none" spc="-13" normalizeH="0" baseline="0" noProof="0" dirty="0">
                <a:ln>
                  <a:noFill/>
                </a:ln>
                <a:solidFill>
                  <a:sysClr val="windowText" lastClr="000000"/>
                </a:solidFill>
                <a:effectLst/>
                <a:uLnTx/>
                <a:uFillTx/>
                <a:latin typeface="Arial"/>
                <a:ea typeface="+mn-ea"/>
                <a:cs typeface="Arial"/>
              </a:rPr>
              <a:t>emission</a:t>
            </a:r>
            <a:r>
              <a:rPr kumimoji="0" sz="800" b="0" i="0" u="none" strike="noStrike" kern="0" cap="none" spc="33" normalizeH="0" baseline="0" noProof="0" dirty="0">
                <a:ln>
                  <a:noFill/>
                </a:ln>
                <a:solidFill>
                  <a:sysClr val="windowText" lastClr="000000"/>
                </a:solidFill>
                <a:effectLst/>
                <a:uLnTx/>
                <a:uFillTx/>
                <a:latin typeface="Arial"/>
                <a:ea typeface="+mn-ea"/>
                <a:cs typeface="Arial"/>
              </a:rPr>
              <a:t> </a:t>
            </a:r>
            <a:r>
              <a:rPr kumimoji="0" sz="800" b="0" i="0" u="none" strike="noStrike" kern="0" cap="none" spc="-13" normalizeH="0" baseline="0" noProof="0" dirty="0">
                <a:ln>
                  <a:noFill/>
                </a:ln>
                <a:solidFill>
                  <a:sysClr val="windowText" lastClr="000000"/>
                </a:solidFill>
                <a:effectLst/>
                <a:uLnTx/>
                <a:uFillTx/>
                <a:latin typeface="Arial"/>
                <a:ea typeface="+mn-ea"/>
                <a:cs typeface="Arial"/>
              </a:rPr>
              <a:t>tomography</a:t>
            </a:r>
            <a:r>
              <a:rPr kumimoji="0" sz="800" b="0" i="0" u="none" strike="noStrike" kern="0" cap="none" spc="87" normalizeH="0" baseline="0" noProof="0" dirty="0">
                <a:ln>
                  <a:noFill/>
                </a:ln>
                <a:solidFill>
                  <a:sysClr val="windowText" lastClr="000000"/>
                </a:solidFill>
                <a:effectLst/>
                <a:uLnTx/>
                <a:uFillTx/>
                <a:latin typeface="Arial"/>
                <a:ea typeface="+mn-ea"/>
                <a:cs typeface="Arial"/>
              </a:rPr>
              <a:t> </a:t>
            </a:r>
            <a:r>
              <a:rPr kumimoji="0" sz="800" b="0" i="0" u="none" strike="noStrike" kern="0" cap="none" spc="-13" normalizeH="0" baseline="0" noProof="0" dirty="0">
                <a:ln>
                  <a:noFill/>
                </a:ln>
                <a:solidFill>
                  <a:sysClr val="windowText" lastClr="000000"/>
                </a:solidFill>
                <a:effectLst/>
                <a:uLnTx/>
                <a:uFillTx/>
                <a:latin typeface="Arial"/>
                <a:ea typeface="+mn-ea"/>
                <a:cs typeface="Arial"/>
              </a:rPr>
              <a:t>and</a:t>
            </a:r>
            <a:r>
              <a:rPr kumimoji="0" sz="800" b="0" i="0" u="none" strike="noStrike" kern="0" cap="none" spc="-67" normalizeH="0" baseline="0" noProof="0" dirty="0">
                <a:ln>
                  <a:noFill/>
                </a:ln>
                <a:solidFill>
                  <a:sysClr val="windowText" lastClr="000000"/>
                </a:solidFill>
                <a:effectLst/>
                <a:uLnTx/>
                <a:uFillTx/>
                <a:latin typeface="Arial"/>
                <a:ea typeface="+mn-ea"/>
                <a:cs typeface="Arial"/>
              </a:rPr>
              <a:t> </a:t>
            </a:r>
            <a:r>
              <a:rPr kumimoji="0" sz="800" b="0" i="0" u="none" strike="noStrike" kern="0" cap="none" spc="-13" normalizeH="0" baseline="0" noProof="0" dirty="0">
                <a:ln>
                  <a:noFill/>
                </a:ln>
                <a:solidFill>
                  <a:sysClr val="windowText" lastClr="000000"/>
                </a:solidFill>
                <a:effectLst/>
                <a:uLnTx/>
                <a:uFillTx/>
                <a:latin typeface="Arial"/>
                <a:ea typeface="+mn-ea"/>
                <a:cs typeface="Arial"/>
              </a:rPr>
              <a:t>comput</a:t>
            </a:r>
            <a:r>
              <a:rPr kumimoji="0" sz="800" b="0" i="0" u="none" strike="noStrike" kern="0" cap="none" spc="-147" normalizeH="0" baseline="0" noProof="0" dirty="0">
                <a:ln>
                  <a:noFill/>
                </a:ln>
                <a:solidFill>
                  <a:sysClr val="windowText" lastClr="000000"/>
                </a:solidFill>
                <a:effectLst/>
                <a:uLnTx/>
                <a:uFillTx/>
                <a:latin typeface="Arial"/>
                <a:ea typeface="+mn-ea"/>
                <a:cs typeface="Arial"/>
              </a:rPr>
              <a:t> </a:t>
            </a:r>
            <a:r>
              <a:rPr kumimoji="0" sz="800" b="0" i="0" u="none" strike="noStrike" kern="0" cap="none" spc="0" normalizeH="0" baseline="0" noProof="0" dirty="0">
                <a:ln>
                  <a:noFill/>
                </a:ln>
                <a:solidFill>
                  <a:sysClr val="windowText" lastClr="000000"/>
                </a:solidFill>
                <a:effectLst/>
                <a:uLnTx/>
                <a:uFillTx/>
                <a:latin typeface="Arial"/>
                <a:ea typeface="+mn-ea"/>
                <a:cs typeface="Arial"/>
              </a:rPr>
              <a:t>ed</a:t>
            </a:r>
            <a:r>
              <a:rPr kumimoji="0" sz="800" b="0" i="0" u="none" strike="noStrike" kern="0" cap="none" spc="40" normalizeH="0" baseline="0" noProof="0" dirty="0">
                <a:ln>
                  <a:noFill/>
                </a:ln>
                <a:solidFill>
                  <a:sysClr val="windowText" lastClr="000000"/>
                </a:solidFill>
                <a:effectLst/>
                <a:uLnTx/>
                <a:uFillTx/>
                <a:latin typeface="Arial"/>
                <a:ea typeface="+mn-ea"/>
                <a:cs typeface="Arial"/>
              </a:rPr>
              <a:t> </a:t>
            </a:r>
            <a:r>
              <a:rPr kumimoji="0" sz="800" b="0" i="0" u="none" strike="noStrike" kern="0" cap="none" spc="-13" normalizeH="0" baseline="0" noProof="0" dirty="0">
                <a:ln>
                  <a:noFill/>
                </a:ln>
                <a:solidFill>
                  <a:sysClr val="windowText" lastClr="000000"/>
                </a:solidFill>
                <a:effectLst/>
                <a:uLnTx/>
                <a:uFillTx/>
                <a:latin typeface="Arial"/>
                <a:ea typeface="+mn-ea"/>
                <a:cs typeface="Arial"/>
              </a:rPr>
              <a:t>tomography;</a:t>
            </a:r>
            <a:r>
              <a:rPr kumimoji="0" sz="800" b="0" i="0" u="none" strike="noStrike" kern="0" cap="none" spc="60" normalizeH="0" baseline="0" noProof="0" dirty="0">
                <a:ln>
                  <a:noFill/>
                </a:ln>
                <a:solidFill>
                  <a:sysClr val="windowText" lastClr="000000"/>
                </a:solidFill>
                <a:effectLst/>
                <a:uLnTx/>
                <a:uFillTx/>
                <a:latin typeface="Arial"/>
                <a:ea typeface="+mn-ea"/>
                <a:cs typeface="Arial"/>
              </a:rPr>
              <a:t> </a:t>
            </a:r>
            <a:r>
              <a:rPr kumimoji="0" sz="800" b="0" i="0" u="none" strike="noStrike" kern="0" cap="none" spc="-13" normalizeH="0" baseline="0" noProof="0" dirty="0">
                <a:ln>
                  <a:noFill/>
                </a:ln>
                <a:solidFill>
                  <a:sysClr val="windowText" lastClr="000000"/>
                </a:solidFill>
                <a:effectLst/>
                <a:uLnTx/>
                <a:uFillTx/>
                <a:latin typeface="Arial"/>
                <a:ea typeface="+mn-ea"/>
                <a:cs typeface="Arial"/>
              </a:rPr>
              <a:t>Q3W,</a:t>
            </a:r>
            <a:r>
              <a:rPr kumimoji="0" sz="800" b="0" i="0" u="none" strike="noStrike" kern="0" cap="none" spc="-40" normalizeH="0" baseline="0" noProof="0" dirty="0">
                <a:ln>
                  <a:noFill/>
                </a:ln>
                <a:solidFill>
                  <a:sysClr val="windowText" lastClr="000000"/>
                </a:solidFill>
                <a:effectLst/>
                <a:uLnTx/>
                <a:uFillTx/>
                <a:latin typeface="Arial"/>
                <a:ea typeface="+mn-ea"/>
                <a:cs typeface="Arial"/>
              </a:rPr>
              <a:t> </a:t>
            </a:r>
            <a:r>
              <a:rPr kumimoji="0" sz="800" b="0" i="0" u="none" strike="noStrike" kern="0" cap="none" spc="0" normalizeH="0" baseline="0" noProof="0" dirty="0">
                <a:ln>
                  <a:noFill/>
                </a:ln>
                <a:solidFill>
                  <a:sysClr val="windowText" lastClr="000000"/>
                </a:solidFill>
                <a:effectLst/>
                <a:uLnTx/>
                <a:uFillTx/>
                <a:latin typeface="Arial"/>
                <a:ea typeface="+mn-ea"/>
                <a:cs typeface="Arial"/>
              </a:rPr>
              <a:t>every</a:t>
            </a:r>
            <a:r>
              <a:rPr kumimoji="0" sz="800" b="0" i="0" u="none" strike="noStrike" kern="0" cap="none" spc="-20" normalizeH="0" baseline="0" noProof="0" dirty="0">
                <a:ln>
                  <a:noFill/>
                </a:ln>
                <a:solidFill>
                  <a:sysClr val="windowText" lastClr="000000"/>
                </a:solidFill>
                <a:effectLst/>
                <a:uLnTx/>
                <a:uFillTx/>
                <a:latin typeface="Arial"/>
                <a:ea typeface="+mn-ea"/>
                <a:cs typeface="Arial"/>
              </a:rPr>
              <a:t> </a:t>
            </a:r>
            <a:r>
              <a:rPr kumimoji="0" sz="800" b="0" i="0" u="none" strike="noStrike" kern="0" cap="none" spc="0" normalizeH="0" baseline="0" noProof="0" dirty="0">
                <a:ln>
                  <a:noFill/>
                </a:ln>
                <a:solidFill>
                  <a:sysClr val="windowText" lastClr="000000"/>
                </a:solidFill>
                <a:effectLst/>
                <a:uLnTx/>
                <a:uFillTx/>
                <a:latin typeface="Arial"/>
                <a:ea typeface="+mn-ea"/>
                <a:cs typeface="Arial"/>
              </a:rPr>
              <a:t>3</a:t>
            </a:r>
            <a:r>
              <a:rPr kumimoji="0" sz="800" b="0" i="0" u="none" strike="noStrike" kern="0" cap="none" spc="40" normalizeH="0" baseline="0" noProof="0" dirty="0">
                <a:ln>
                  <a:noFill/>
                </a:ln>
                <a:solidFill>
                  <a:sysClr val="windowText" lastClr="000000"/>
                </a:solidFill>
                <a:effectLst/>
                <a:uLnTx/>
                <a:uFillTx/>
                <a:latin typeface="Arial"/>
                <a:ea typeface="+mn-ea"/>
                <a:cs typeface="Arial"/>
              </a:rPr>
              <a:t> </a:t>
            </a:r>
            <a:r>
              <a:rPr kumimoji="0" sz="800" b="0" i="0" u="none" strike="noStrike" kern="0" cap="none" spc="-13" normalizeH="0" baseline="0" noProof="0" dirty="0">
                <a:ln>
                  <a:noFill/>
                </a:ln>
                <a:solidFill>
                  <a:sysClr val="windowText" lastClr="000000"/>
                </a:solidFill>
                <a:effectLst/>
                <a:uLnTx/>
                <a:uFillTx/>
                <a:latin typeface="Arial"/>
                <a:ea typeface="+mn-ea"/>
                <a:cs typeface="Arial"/>
              </a:rPr>
              <a:t>weeks.</a:t>
            </a:r>
            <a:endParaRPr kumimoji="0" sz="800" b="0" i="0" u="none" strike="noStrike" kern="0" cap="none" spc="0" normalizeH="0" baseline="0" noProof="0" dirty="0">
              <a:ln>
                <a:noFill/>
              </a:ln>
              <a:solidFill>
                <a:sysClr val="windowText" lastClr="000000"/>
              </a:solidFill>
              <a:effectLst/>
              <a:uLnTx/>
              <a:uFillTx/>
              <a:latin typeface="Arial"/>
              <a:ea typeface="+mn-ea"/>
              <a:cs typeface="Arial"/>
            </a:endParaRPr>
          </a:p>
        </p:txBody>
      </p:sp>
      <p:sp>
        <p:nvSpPr>
          <p:cNvPr id="4" name="object 4"/>
          <p:cNvSpPr/>
          <p:nvPr/>
        </p:nvSpPr>
        <p:spPr>
          <a:xfrm>
            <a:off x="3568700" y="1866393"/>
            <a:ext cx="2362200" cy="850900"/>
          </a:xfrm>
          <a:custGeom>
            <a:avLst/>
            <a:gdLst/>
            <a:ahLst/>
            <a:cxnLst/>
            <a:rect l="l" t="t" r="r" b="b"/>
            <a:pathLst>
              <a:path w="1771650" h="638175">
                <a:moveTo>
                  <a:pt x="1665224" y="0"/>
                </a:moveTo>
                <a:lnTo>
                  <a:pt x="106425" y="0"/>
                </a:lnTo>
                <a:lnTo>
                  <a:pt x="64990" y="8340"/>
                </a:lnTo>
                <a:lnTo>
                  <a:pt x="31162" y="31099"/>
                </a:lnTo>
                <a:lnTo>
                  <a:pt x="8360" y="64883"/>
                </a:lnTo>
                <a:lnTo>
                  <a:pt x="0" y="106298"/>
                </a:lnTo>
                <a:lnTo>
                  <a:pt x="0" y="531621"/>
                </a:lnTo>
                <a:lnTo>
                  <a:pt x="8360" y="572984"/>
                </a:lnTo>
                <a:lnTo>
                  <a:pt x="31162" y="606774"/>
                </a:lnTo>
                <a:lnTo>
                  <a:pt x="64990" y="629562"/>
                </a:lnTo>
                <a:lnTo>
                  <a:pt x="106425" y="637920"/>
                </a:lnTo>
                <a:lnTo>
                  <a:pt x="1665224" y="637920"/>
                </a:lnTo>
                <a:lnTo>
                  <a:pt x="1706659" y="629562"/>
                </a:lnTo>
                <a:lnTo>
                  <a:pt x="1740487" y="606774"/>
                </a:lnTo>
                <a:lnTo>
                  <a:pt x="1763289" y="572984"/>
                </a:lnTo>
                <a:lnTo>
                  <a:pt x="1771650" y="531621"/>
                </a:lnTo>
                <a:lnTo>
                  <a:pt x="1771650" y="106298"/>
                </a:lnTo>
                <a:lnTo>
                  <a:pt x="1763289" y="64883"/>
                </a:lnTo>
                <a:lnTo>
                  <a:pt x="1740487" y="31099"/>
                </a:lnTo>
                <a:lnTo>
                  <a:pt x="1706659" y="8340"/>
                </a:lnTo>
                <a:lnTo>
                  <a:pt x="1665224" y="0"/>
                </a:lnTo>
                <a:close/>
              </a:path>
            </a:pathLst>
          </a:custGeom>
          <a:solidFill>
            <a:srgbClr val="534F4F"/>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 name="object 5"/>
          <p:cNvSpPr txBox="1"/>
          <p:nvPr/>
        </p:nvSpPr>
        <p:spPr>
          <a:xfrm>
            <a:off x="4051639" y="2009055"/>
            <a:ext cx="1400387" cy="547287"/>
          </a:xfrm>
          <a:prstGeom prst="rect">
            <a:avLst/>
          </a:prstGeom>
        </p:spPr>
        <p:txBody>
          <a:bodyPr vert="horz" wrap="square" lIns="0" tIns="21167" rIns="0" bIns="0" rtlCol="0">
            <a:spAutoFit/>
          </a:bodyPr>
          <a:lstStyle/>
          <a:p>
            <a:pPr marL="25399" marR="0" lvl="0" indent="0" algn="l" defTabSz="1219170" rtl="0" eaLnBrk="1" fontAlgn="auto" latinLnBrk="0" hangingPunct="1">
              <a:lnSpc>
                <a:spcPct val="100000"/>
              </a:lnSpc>
              <a:spcBef>
                <a:spcPts val="167"/>
              </a:spcBef>
              <a:spcAft>
                <a:spcPts val="0"/>
              </a:spcAft>
              <a:buClrTx/>
              <a:buSzTx/>
              <a:buFontTx/>
              <a:buNone/>
              <a:tabLst/>
              <a:defRPr/>
            </a:pPr>
            <a:r>
              <a:rPr kumimoji="0" sz="1667" b="1" i="1" u="none" strike="noStrike" kern="0" cap="none" spc="0" normalizeH="0" baseline="0" noProof="0" dirty="0">
                <a:ln>
                  <a:noFill/>
                </a:ln>
                <a:solidFill>
                  <a:srgbClr val="FFFFFF"/>
                </a:solidFill>
                <a:effectLst/>
                <a:uLnTx/>
                <a:uFillTx/>
                <a:latin typeface="Arial"/>
                <a:ea typeface="+mn-ea"/>
                <a:cs typeface="Arial"/>
              </a:rPr>
              <a:t>Safety</a:t>
            </a:r>
            <a:r>
              <a:rPr kumimoji="0" sz="1667" b="1" i="1" u="none" strike="noStrike" kern="0" cap="none" spc="313" normalizeH="0" baseline="0" noProof="0" dirty="0">
                <a:ln>
                  <a:noFill/>
                </a:ln>
                <a:solidFill>
                  <a:srgbClr val="FFFFFF"/>
                </a:solidFill>
                <a:effectLst/>
                <a:uLnTx/>
                <a:uFillTx/>
                <a:latin typeface="Arial"/>
                <a:ea typeface="+mn-ea"/>
                <a:cs typeface="Arial"/>
              </a:rPr>
              <a:t> </a:t>
            </a:r>
            <a:r>
              <a:rPr kumimoji="0" sz="1667" b="1" i="1" u="none" strike="noStrike" kern="0" cap="none" spc="0" normalizeH="0" baseline="0" noProof="0" dirty="0">
                <a:ln>
                  <a:noFill/>
                </a:ln>
                <a:solidFill>
                  <a:srgbClr val="FFFFFF"/>
                </a:solidFill>
                <a:effectLst/>
                <a:uLnTx/>
                <a:uFillTx/>
                <a:latin typeface="Arial"/>
                <a:ea typeface="+mn-ea"/>
                <a:cs typeface="Arial"/>
              </a:rPr>
              <a:t>run-</a:t>
            </a:r>
            <a:r>
              <a:rPr kumimoji="0" sz="1667" b="1" i="1" u="none" strike="noStrike" kern="0" cap="none" spc="-33" normalizeH="0" baseline="0" noProof="0" dirty="0">
                <a:ln>
                  <a:noFill/>
                </a:ln>
                <a:solidFill>
                  <a:srgbClr val="FFFFFF"/>
                </a:solidFill>
                <a:effectLst/>
                <a:uLnTx/>
                <a:uFillTx/>
                <a:latin typeface="Arial"/>
                <a:ea typeface="+mn-ea"/>
                <a:cs typeface="Arial"/>
              </a:rPr>
              <a:t>in</a:t>
            </a:r>
            <a:endParaRPr kumimoji="0" sz="1667" b="0" i="0" u="none" strike="noStrike" kern="0" cap="none" spc="0" normalizeH="0" baseline="0" noProof="0">
              <a:ln>
                <a:noFill/>
              </a:ln>
              <a:solidFill>
                <a:sysClr val="windowText" lastClr="000000"/>
              </a:solidFill>
              <a:effectLst/>
              <a:uLnTx/>
              <a:uFillTx/>
              <a:latin typeface="Arial"/>
              <a:ea typeface="+mn-ea"/>
              <a:cs typeface="Arial"/>
            </a:endParaRPr>
          </a:p>
          <a:p>
            <a:pPr marL="16933" marR="0" lvl="0" indent="0" algn="l" defTabSz="1219170" rtl="0" eaLnBrk="1" fontAlgn="auto" latinLnBrk="0" hangingPunct="1">
              <a:lnSpc>
                <a:spcPct val="100000"/>
              </a:lnSpc>
              <a:spcBef>
                <a:spcPts val="107"/>
              </a:spcBef>
              <a:spcAft>
                <a:spcPts val="0"/>
              </a:spcAft>
              <a:buClrTx/>
              <a:buSzTx/>
              <a:buFontTx/>
              <a:buNone/>
              <a:tabLst/>
              <a:defRPr/>
            </a:pPr>
            <a:r>
              <a:rPr kumimoji="0" sz="1667" b="0" i="1" u="none" strike="noStrike" kern="0" cap="none" spc="0" normalizeH="0" baseline="0" noProof="0" dirty="0">
                <a:ln>
                  <a:noFill/>
                </a:ln>
                <a:solidFill>
                  <a:srgbClr val="FFFFFF"/>
                </a:solidFill>
                <a:effectLst/>
                <a:uLnTx/>
                <a:uFillTx/>
                <a:latin typeface="Arial"/>
                <a:ea typeface="+mn-ea"/>
                <a:cs typeface="Arial"/>
              </a:rPr>
              <a:t>Enrolled</a:t>
            </a:r>
            <a:r>
              <a:rPr kumimoji="0" sz="1667" b="0" i="1" u="none" strike="noStrike" kern="0" cap="none" spc="220" normalizeH="0" baseline="0" noProof="0" dirty="0">
                <a:ln>
                  <a:noFill/>
                </a:ln>
                <a:solidFill>
                  <a:srgbClr val="FFFFFF"/>
                </a:solidFill>
                <a:effectLst/>
                <a:uLnTx/>
                <a:uFillTx/>
                <a:latin typeface="Arial"/>
                <a:ea typeface="+mn-ea"/>
                <a:cs typeface="Arial"/>
              </a:rPr>
              <a:t> </a:t>
            </a:r>
            <a:r>
              <a:rPr kumimoji="0" sz="1667" b="0" i="1" u="none" strike="noStrike" kern="0" cap="none" spc="-27" normalizeH="0" baseline="0" noProof="0" dirty="0">
                <a:ln>
                  <a:noFill/>
                </a:ln>
                <a:solidFill>
                  <a:srgbClr val="FFFFFF"/>
                </a:solidFill>
                <a:effectLst/>
                <a:uLnTx/>
                <a:uFillTx/>
                <a:latin typeface="Arial"/>
                <a:ea typeface="+mn-ea"/>
                <a:cs typeface="Arial"/>
              </a:rPr>
              <a:t>n=</a:t>
            </a:r>
            <a:r>
              <a:rPr kumimoji="0" sz="1667" b="1" i="1" u="none" strike="noStrike" kern="0" cap="none" spc="-27" normalizeH="0" baseline="0" noProof="0" dirty="0">
                <a:ln>
                  <a:noFill/>
                </a:ln>
                <a:solidFill>
                  <a:srgbClr val="FFFFFF"/>
                </a:solidFill>
                <a:effectLst/>
                <a:uLnTx/>
                <a:uFillTx/>
                <a:latin typeface="Arial"/>
                <a:ea typeface="+mn-ea"/>
                <a:cs typeface="Arial"/>
              </a:rPr>
              <a:t>15</a:t>
            </a:r>
            <a:endParaRPr kumimoji="0" sz="1667"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6" name="object 6"/>
          <p:cNvSpPr/>
          <p:nvPr/>
        </p:nvSpPr>
        <p:spPr>
          <a:xfrm>
            <a:off x="7505701" y="1929721"/>
            <a:ext cx="2120900" cy="711200"/>
          </a:xfrm>
          <a:custGeom>
            <a:avLst/>
            <a:gdLst/>
            <a:ahLst/>
            <a:cxnLst/>
            <a:rect l="l" t="t" r="r" b="b"/>
            <a:pathLst>
              <a:path w="1590675" h="533400">
                <a:moveTo>
                  <a:pt x="1501775" y="0"/>
                </a:moveTo>
                <a:lnTo>
                  <a:pt x="88900" y="0"/>
                </a:lnTo>
                <a:lnTo>
                  <a:pt x="54274" y="6996"/>
                </a:lnTo>
                <a:lnTo>
                  <a:pt x="26019" y="26066"/>
                </a:lnTo>
                <a:lnTo>
                  <a:pt x="6979" y="54328"/>
                </a:lnTo>
                <a:lnTo>
                  <a:pt x="0" y="88900"/>
                </a:lnTo>
                <a:lnTo>
                  <a:pt x="0" y="444373"/>
                </a:lnTo>
                <a:lnTo>
                  <a:pt x="6979" y="478998"/>
                </a:lnTo>
                <a:lnTo>
                  <a:pt x="26019" y="507253"/>
                </a:lnTo>
                <a:lnTo>
                  <a:pt x="54274" y="526293"/>
                </a:lnTo>
                <a:lnTo>
                  <a:pt x="88900" y="533273"/>
                </a:lnTo>
                <a:lnTo>
                  <a:pt x="1501775" y="533273"/>
                </a:lnTo>
                <a:lnTo>
                  <a:pt x="1536400" y="526293"/>
                </a:lnTo>
                <a:lnTo>
                  <a:pt x="1564655" y="507253"/>
                </a:lnTo>
                <a:lnTo>
                  <a:pt x="1583695" y="478998"/>
                </a:lnTo>
                <a:lnTo>
                  <a:pt x="1590675" y="444373"/>
                </a:lnTo>
                <a:lnTo>
                  <a:pt x="1590675" y="88900"/>
                </a:lnTo>
                <a:lnTo>
                  <a:pt x="1583695" y="54328"/>
                </a:lnTo>
                <a:lnTo>
                  <a:pt x="1564655" y="26066"/>
                </a:lnTo>
                <a:lnTo>
                  <a:pt x="1536400" y="6996"/>
                </a:lnTo>
                <a:lnTo>
                  <a:pt x="1501775" y="0"/>
                </a:lnTo>
                <a:close/>
              </a:path>
            </a:pathLst>
          </a:custGeom>
          <a:solidFill>
            <a:srgbClr val="009963"/>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object 7"/>
          <p:cNvSpPr txBox="1"/>
          <p:nvPr/>
        </p:nvSpPr>
        <p:spPr>
          <a:xfrm>
            <a:off x="7824893" y="2034883"/>
            <a:ext cx="1493520" cy="470343"/>
          </a:xfrm>
          <a:prstGeom prst="rect">
            <a:avLst/>
          </a:prstGeom>
        </p:spPr>
        <p:txBody>
          <a:bodyPr vert="horz" wrap="square" lIns="0" tIns="36407" rIns="0" bIns="0" rtlCol="0">
            <a:spAutoFit/>
          </a:bodyPr>
          <a:lstStyle/>
          <a:p>
            <a:pPr marL="55032" marR="0" lvl="0" indent="0" algn="l" defTabSz="1219170" rtl="0" eaLnBrk="1" fontAlgn="auto" latinLnBrk="0" hangingPunct="1">
              <a:lnSpc>
                <a:spcPct val="100000"/>
              </a:lnSpc>
              <a:spcBef>
                <a:spcPts val="287"/>
              </a:spcBef>
              <a:spcAft>
                <a:spcPts val="0"/>
              </a:spcAft>
              <a:buClrTx/>
              <a:buSzTx/>
              <a:buFontTx/>
              <a:buNone/>
              <a:tabLst/>
              <a:defRPr/>
            </a:pPr>
            <a:r>
              <a:rPr kumimoji="0" sz="1467" b="1" i="1" u="none" strike="noStrike" kern="0" cap="none" spc="-13" normalizeH="0" baseline="0" noProof="0" dirty="0">
                <a:ln>
                  <a:noFill/>
                </a:ln>
                <a:solidFill>
                  <a:srgbClr val="FFFFFF"/>
                </a:solidFill>
                <a:effectLst/>
                <a:uLnTx/>
                <a:uFillTx/>
                <a:latin typeface="Arial"/>
                <a:ea typeface="+mn-ea"/>
                <a:cs typeface="Arial"/>
              </a:rPr>
              <a:t>Pola-R-GemOx*</a:t>
            </a:r>
            <a:endParaRPr kumimoji="0" sz="1467" b="0" i="0" u="none" strike="noStrike" kern="0" cap="none" spc="0" normalizeH="0" baseline="0" noProof="0">
              <a:ln>
                <a:noFill/>
              </a:ln>
              <a:solidFill>
                <a:sysClr val="windowText" lastClr="000000"/>
              </a:solidFill>
              <a:effectLst/>
              <a:uLnTx/>
              <a:uFillTx/>
              <a:latin typeface="Arial"/>
              <a:ea typeface="+mn-ea"/>
              <a:cs typeface="Arial"/>
            </a:endParaRPr>
          </a:p>
          <a:p>
            <a:pPr marL="16933" marR="0" lvl="0" indent="0" algn="l" defTabSz="1219170" rtl="0" eaLnBrk="1" fontAlgn="auto" latinLnBrk="0" hangingPunct="1">
              <a:lnSpc>
                <a:spcPct val="100000"/>
              </a:lnSpc>
              <a:spcBef>
                <a:spcPts val="140"/>
              </a:spcBef>
              <a:spcAft>
                <a:spcPts val="0"/>
              </a:spcAft>
              <a:buClrTx/>
              <a:buSzTx/>
              <a:buFontTx/>
              <a:buNone/>
              <a:tabLst/>
              <a:defRPr/>
            </a:pPr>
            <a:r>
              <a:rPr kumimoji="0" sz="1267" b="0" i="1" u="none" strike="noStrike" kern="0" cap="none" spc="0" normalizeH="0" baseline="0" noProof="0" dirty="0">
                <a:ln>
                  <a:noFill/>
                </a:ln>
                <a:solidFill>
                  <a:srgbClr val="FFFFFF"/>
                </a:solidFill>
                <a:effectLst/>
                <a:uLnTx/>
                <a:uFillTx/>
                <a:latin typeface="Arial"/>
                <a:ea typeface="+mn-ea"/>
                <a:cs typeface="Arial"/>
              </a:rPr>
              <a:t>Q3W</a:t>
            </a:r>
            <a:r>
              <a:rPr kumimoji="0" sz="1267" b="0" i="1" u="none" strike="noStrike" kern="0" cap="none" spc="73" normalizeH="0" baseline="0" noProof="0" dirty="0">
                <a:ln>
                  <a:noFill/>
                </a:ln>
                <a:solidFill>
                  <a:srgbClr val="FFFFFF"/>
                </a:solidFill>
                <a:effectLst/>
                <a:uLnTx/>
                <a:uFillTx/>
                <a:latin typeface="Arial"/>
                <a:ea typeface="+mn-ea"/>
                <a:cs typeface="Arial"/>
              </a:rPr>
              <a:t> </a:t>
            </a:r>
            <a:r>
              <a:rPr kumimoji="0" sz="1267" b="0" i="1" u="none" strike="noStrike" kern="0" cap="none" spc="0" normalizeH="0" baseline="0" noProof="0" dirty="0">
                <a:ln>
                  <a:noFill/>
                </a:ln>
                <a:solidFill>
                  <a:srgbClr val="FFFFFF"/>
                </a:solidFill>
                <a:effectLst/>
                <a:uLnTx/>
                <a:uFillTx/>
                <a:latin typeface="Arial"/>
                <a:ea typeface="+mn-ea"/>
                <a:cs typeface="Arial"/>
              </a:rPr>
              <a:t>up</a:t>
            </a:r>
            <a:r>
              <a:rPr kumimoji="0" sz="1267" b="0" i="1" u="none" strike="noStrike" kern="0" cap="none" spc="87" normalizeH="0" baseline="0" noProof="0" dirty="0">
                <a:ln>
                  <a:noFill/>
                </a:ln>
                <a:solidFill>
                  <a:srgbClr val="FFFFFF"/>
                </a:solidFill>
                <a:effectLst/>
                <a:uLnTx/>
                <a:uFillTx/>
                <a:latin typeface="Arial"/>
                <a:ea typeface="+mn-ea"/>
                <a:cs typeface="Arial"/>
              </a:rPr>
              <a:t> </a:t>
            </a:r>
            <a:r>
              <a:rPr kumimoji="0" sz="1267" b="0" i="1" u="none" strike="noStrike" kern="0" cap="none" spc="0" normalizeH="0" baseline="0" noProof="0" dirty="0">
                <a:ln>
                  <a:noFill/>
                </a:ln>
                <a:solidFill>
                  <a:srgbClr val="FFFFFF"/>
                </a:solidFill>
                <a:effectLst/>
                <a:uLnTx/>
                <a:uFillTx/>
                <a:latin typeface="Arial"/>
                <a:ea typeface="+mn-ea"/>
                <a:cs typeface="Arial"/>
              </a:rPr>
              <a:t>to</a:t>
            </a:r>
            <a:r>
              <a:rPr kumimoji="0" sz="1267" b="0" i="1" u="none" strike="noStrike" kern="0" cap="none" spc="87" normalizeH="0" baseline="0" noProof="0" dirty="0">
                <a:ln>
                  <a:noFill/>
                </a:ln>
                <a:solidFill>
                  <a:srgbClr val="FFFFFF"/>
                </a:solidFill>
                <a:effectLst/>
                <a:uLnTx/>
                <a:uFillTx/>
                <a:latin typeface="Arial"/>
                <a:ea typeface="+mn-ea"/>
                <a:cs typeface="Arial"/>
              </a:rPr>
              <a:t> </a:t>
            </a:r>
            <a:r>
              <a:rPr kumimoji="0" sz="1267" b="0" i="1" u="none" strike="noStrike" kern="0" cap="none" spc="0" normalizeH="0" baseline="0" noProof="0" dirty="0">
                <a:ln>
                  <a:noFill/>
                </a:ln>
                <a:solidFill>
                  <a:srgbClr val="FFFFFF"/>
                </a:solidFill>
                <a:effectLst/>
                <a:uLnTx/>
                <a:uFillTx/>
                <a:latin typeface="Arial"/>
                <a:ea typeface="+mn-ea"/>
                <a:cs typeface="Arial"/>
              </a:rPr>
              <a:t>8</a:t>
            </a:r>
            <a:r>
              <a:rPr kumimoji="0" sz="1267" b="0" i="1" u="none" strike="noStrike" kern="0" cap="none" spc="87" normalizeH="0" baseline="0" noProof="0" dirty="0">
                <a:ln>
                  <a:noFill/>
                </a:ln>
                <a:solidFill>
                  <a:srgbClr val="FFFFFF"/>
                </a:solidFill>
                <a:effectLst/>
                <a:uLnTx/>
                <a:uFillTx/>
                <a:latin typeface="Arial"/>
                <a:ea typeface="+mn-ea"/>
                <a:cs typeface="Arial"/>
              </a:rPr>
              <a:t> </a:t>
            </a:r>
            <a:r>
              <a:rPr kumimoji="0" sz="1267" b="0" i="1" u="none" strike="noStrike" kern="0" cap="none" spc="-13" normalizeH="0" baseline="0" noProof="0" dirty="0">
                <a:ln>
                  <a:noFill/>
                </a:ln>
                <a:solidFill>
                  <a:srgbClr val="FFFFFF"/>
                </a:solidFill>
                <a:effectLst/>
                <a:uLnTx/>
                <a:uFillTx/>
                <a:latin typeface="Arial"/>
                <a:ea typeface="+mn-ea"/>
                <a:cs typeface="Arial"/>
              </a:rPr>
              <a:t>cycles</a:t>
            </a:r>
            <a:endParaRPr kumimoji="0" sz="1267"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8" name="object 8"/>
          <p:cNvSpPr txBox="1"/>
          <p:nvPr/>
        </p:nvSpPr>
        <p:spPr>
          <a:xfrm>
            <a:off x="9740900" y="1891724"/>
            <a:ext cx="1930400" cy="733577"/>
          </a:xfrm>
          <a:prstGeom prst="rect">
            <a:avLst/>
          </a:prstGeom>
          <a:solidFill>
            <a:srgbClr val="E8E8E8"/>
          </a:solidFill>
        </p:spPr>
        <p:txBody>
          <a:bodyPr vert="horz" wrap="square" lIns="0" tIns="136313" rIns="0" bIns="0" rtlCol="0">
            <a:spAutoFit/>
          </a:bodyPr>
          <a:lstStyle/>
          <a:p>
            <a:pPr marL="204042" marR="174409" lvl="0" indent="0" algn="ctr" defTabSz="1219170" rtl="0" eaLnBrk="1" fontAlgn="auto" latinLnBrk="0" hangingPunct="1">
              <a:lnSpc>
                <a:spcPct val="88300"/>
              </a:lnSpc>
              <a:spcBef>
                <a:spcPts val="1073"/>
              </a:spcBef>
              <a:spcAft>
                <a:spcPts val="0"/>
              </a:spcAft>
              <a:buClrTx/>
              <a:buSzTx/>
              <a:buFontTx/>
              <a:buNone/>
              <a:tabLst/>
              <a:defRPr/>
            </a:pPr>
            <a:r>
              <a:rPr kumimoji="0" sz="1467" b="1" i="1" u="none" strike="noStrike" kern="0" cap="none" spc="0" normalizeH="0" baseline="0" noProof="0" dirty="0">
                <a:ln>
                  <a:noFill/>
                </a:ln>
                <a:solidFill>
                  <a:sysClr val="windowText" lastClr="000000"/>
                </a:solidFill>
                <a:effectLst/>
                <a:uLnTx/>
                <a:uFillTx/>
                <a:latin typeface="Arial"/>
                <a:ea typeface="+mn-ea"/>
                <a:cs typeface="Arial"/>
              </a:rPr>
              <a:t>Primary</a:t>
            </a:r>
            <a:r>
              <a:rPr kumimoji="0" sz="1467" b="1" i="1" u="none" strike="noStrike" kern="0" cap="none" spc="7" normalizeH="0" baseline="0" noProof="0" dirty="0">
                <a:ln>
                  <a:noFill/>
                </a:ln>
                <a:solidFill>
                  <a:sysClr val="windowText" lastClr="000000"/>
                </a:solidFill>
                <a:effectLst/>
                <a:uLnTx/>
                <a:uFillTx/>
                <a:latin typeface="Arial"/>
                <a:ea typeface="+mn-ea"/>
                <a:cs typeface="Arial"/>
              </a:rPr>
              <a:t> </a:t>
            </a:r>
            <a:r>
              <a:rPr kumimoji="0" sz="1467" b="1" i="1" u="none" strike="noStrike" kern="0" cap="none" spc="-13" normalizeH="0" baseline="0" noProof="0" dirty="0">
                <a:ln>
                  <a:noFill/>
                </a:ln>
                <a:solidFill>
                  <a:sysClr val="windowText" lastClr="000000"/>
                </a:solidFill>
                <a:effectLst/>
                <a:uLnTx/>
                <a:uFillTx/>
                <a:latin typeface="Arial"/>
                <a:ea typeface="+mn-ea"/>
                <a:cs typeface="Arial"/>
              </a:rPr>
              <a:t>endpoint </a:t>
            </a:r>
            <a:r>
              <a:rPr kumimoji="0" sz="1467" b="0" i="1" u="none" strike="noStrike" kern="0" cap="none" spc="0" normalizeH="0" baseline="0" noProof="0" dirty="0">
                <a:ln>
                  <a:noFill/>
                </a:ln>
                <a:solidFill>
                  <a:sysClr val="windowText" lastClr="000000"/>
                </a:solidFill>
                <a:effectLst/>
                <a:uLnTx/>
                <a:uFillTx/>
                <a:latin typeface="Arial"/>
                <a:ea typeface="+mn-ea"/>
                <a:cs typeface="Arial"/>
              </a:rPr>
              <a:t>Safety</a:t>
            </a:r>
            <a:r>
              <a:rPr kumimoji="0" sz="1467" b="0" i="1" u="none" strike="noStrike" kern="0" cap="none" spc="-7" normalizeH="0" baseline="0" noProof="0" dirty="0">
                <a:ln>
                  <a:noFill/>
                </a:ln>
                <a:solidFill>
                  <a:sysClr val="windowText" lastClr="000000"/>
                </a:solidFill>
                <a:effectLst/>
                <a:uLnTx/>
                <a:uFillTx/>
                <a:latin typeface="Arial"/>
                <a:ea typeface="+mn-ea"/>
                <a:cs typeface="Arial"/>
              </a:rPr>
              <a:t> </a:t>
            </a:r>
            <a:r>
              <a:rPr kumimoji="0" sz="1467" b="0" i="1" u="none" strike="noStrike" kern="0" cap="none" spc="-33" normalizeH="0" baseline="0" noProof="0" dirty="0">
                <a:ln>
                  <a:noFill/>
                </a:ln>
                <a:solidFill>
                  <a:sysClr val="windowText" lastClr="000000"/>
                </a:solidFill>
                <a:effectLst/>
                <a:uLnTx/>
                <a:uFillTx/>
                <a:latin typeface="Arial"/>
                <a:ea typeface="+mn-ea"/>
                <a:cs typeface="Arial"/>
              </a:rPr>
              <a:t>and </a:t>
            </a:r>
            <a:r>
              <a:rPr kumimoji="0" sz="1467" b="0" i="1" u="none" strike="noStrike" kern="0" cap="none" spc="-13" normalizeH="0" baseline="0" noProof="0" dirty="0">
                <a:ln>
                  <a:noFill/>
                </a:ln>
                <a:solidFill>
                  <a:sysClr val="windowText" lastClr="000000"/>
                </a:solidFill>
                <a:effectLst/>
                <a:uLnTx/>
                <a:uFillTx/>
                <a:latin typeface="Arial"/>
                <a:ea typeface="+mn-ea"/>
                <a:cs typeface="Arial"/>
              </a:rPr>
              <a:t>tolerability</a:t>
            </a:r>
            <a:endParaRPr kumimoji="0" sz="1467"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9" name="object 9"/>
          <p:cNvSpPr txBox="1"/>
          <p:nvPr/>
        </p:nvSpPr>
        <p:spPr>
          <a:xfrm>
            <a:off x="9740900" y="3452923"/>
            <a:ext cx="1930400" cy="1752083"/>
          </a:xfrm>
          <a:prstGeom prst="rect">
            <a:avLst/>
          </a:prstGeom>
          <a:solidFill>
            <a:srgbClr val="E8E8E8"/>
          </a:solidFill>
        </p:spPr>
        <p:txBody>
          <a:bodyPr vert="horz" wrap="square" lIns="0" tIns="119380" rIns="0" bIns="0" rtlCol="0">
            <a:spAutoFit/>
          </a:bodyPr>
          <a:lstStyle/>
          <a:p>
            <a:pPr marL="14393" marR="0" lvl="0" indent="0" algn="ctr" defTabSz="1219170" rtl="0" eaLnBrk="1" fontAlgn="auto" latinLnBrk="0" hangingPunct="1">
              <a:lnSpc>
                <a:spcPts val="1633"/>
              </a:lnSpc>
              <a:spcBef>
                <a:spcPts val="940"/>
              </a:spcBef>
              <a:spcAft>
                <a:spcPts val="0"/>
              </a:spcAft>
              <a:buClrTx/>
              <a:buSzTx/>
              <a:buFontTx/>
              <a:buNone/>
              <a:tabLst/>
              <a:defRPr/>
            </a:pPr>
            <a:r>
              <a:rPr kumimoji="0" sz="1467" b="1" i="1" u="none" strike="noStrike" kern="0" cap="none" spc="0" normalizeH="0" baseline="0" noProof="0" dirty="0">
                <a:ln>
                  <a:noFill/>
                </a:ln>
                <a:solidFill>
                  <a:sysClr val="windowText" lastClr="000000"/>
                </a:solidFill>
                <a:effectLst/>
                <a:uLnTx/>
                <a:uFillTx/>
                <a:latin typeface="Arial"/>
                <a:ea typeface="+mn-ea"/>
                <a:cs typeface="Arial"/>
              </a:rPr>
              <a:t>Primary</a:t>
            </a:r>
            <a:r>
              <a:rPr kumimoji="0" sz="1467" b="1" i="1" u="none" strike="noStrike" kern="0" cap="none" spc="-13" normalizeH="0" baseline="0" noProof="0" dirty="0">
                <a:ln>
                  <a:noFill/>
                </a:ln>
                <a:solidFill>
                  <a:sysClr val="windowText" lastClr="000000"/>
                </a:solidFill>
                <a:effectLst/>
                <a:uLnTx/>
                <a:uFillTx/>
                <a:latin typeface="Arial"/>
                <a:ea typeface="+mn-ea"/>
                <a:cs typeface="Arial"/>
              </a:rPr>
              <a:t> endpoint</a:t>
            </a:r>
            <a:endParaRPr kumimoji="0" sz="1467" b="0" i="0" u="none" strike="noStrike" kern="0" cap="none" spc="0" normalizeH="0" baseline="0" noProof="0" dirty="0">
              <a:ln>
                <a:noFill/>
              </a:ln>
              <a:solidFill>
                <a:sysClr val="windowText" lastClr="000000"/>
              </a:solidFill>
              <a:effectLst/>
              <a:uLnTx/>
              <a:uFillTx/>
              <a:latin typeface="Arial"/>
              <a:ea typeface="+mn-ea"/>
              <a:cs typeface="Arial"/>
            </a:endParaRPr>
          </a:p>
          <a:p>
            <a:pPr marL="0" marR="0" lvl="0" indent="0" algn="ctr" defTabSz="1219170" rtl="0" eaLnBrk="1" fontAlgn="auto" latinLnBrk="0" hangingPunct="1">
              <a:lnSpc>
                <a:spcPts val="1633"/>
              </a:lnSpc>
              <a:spcBef>
                <a:spcPts val="0"/>
              </a:spcBef>
              <a:spcAft>
                <a:spcPts val="0"/>
              </a:spcAft>
              <a:buClrTx/>
              <a:buSzTx/>
              <a:buFontTx/>
              <a:buNone/>
              <a:tabLst/>
              <a:defRPr/>
            </a:pPr>
            <a:r>
              <a:rPr kumimoji="0" sz="1467" b="0" i="1" u="none" strike="noStrike" kern="0" cap="none" spc="-33" normalizeH="0" baseline="0" noProof="0" dirty="0">
                <a:ln>
                  <a:noFill/>
                </a:ln>
                <a:solidFill>
                  <a:sysClr val="windowText" lastClr="000000"/>
                </a:solidFill>
                <a:effectLst/>
                <a:uLnTx/>
                <a:uFillTx/>
                <a:latin typeface="Arial"/>
                <a:ea typeface="+mn-ea"/>
                <a:cs typeface="Arial"/>
              </a:rPr>
              <a:t>OS</a:t>
            </a:r>
            <a:endParaRPr kumimoji="0" sz="1467" b="0" i="0" u="none" strike="noStrike" kern="0" cap="none" spc="0" normalizeH="0" baseline="0" noProof="0" dirty="0">
              <a:ln>
                <a:noFill/>
              </a:ln>
              <a:solidFill>
                <a:sysClr val="windowText" lastClr="000000"/>
              </a:solidFill>
              <a:effectLst/>
              <a:uLnTx/>
              <a:uFillTx/>
              <a:latin typeface="Arial"/>
              <a:ea typeface="+mn-ea"/>
              <a:cs typeface="Arial"/>
            </a:endParaRPr>
          </a:p>
          <a:p>
            <a:pPr marL="364058" marR="288706" lvl="0" indent="-58419" algn="l" defTabSz="1219170" rtl="0" eaLnBrk="1" fontAlgn="auto" latinLnBrk="0" hangingPunct="1">
              <a:lnSpc>
                <a:spcPct val="89600"/>
              </a:lnSpc>
              <a:spcBef>
                <a:spcPts val="1627"/>
              </a:spcBef>
              <a:spcAft>
                <a:spcPts val="0"/>
              </a:spcAft>
              <a:buClrTx/>
              <a:buSzTx/>
              <a:buFontTx/>
              <a:buNone/>
              <a:tabLst/>
              <a:defRPr/>
            </a:pPr>
            <a:r>
              <a:rPr kumimoji="0" sz="1467" b="1" i="1" u="none" strike="noStrike" kern="0" cap="none" spc="0" normalizeH="0" baseline="0" noProof="0" dirty="0">
                <a:ln>
                  <a:noFill/>
                </a:ln>
                <a:solidFill>
                  <a:sysClr val="windowText" lastClr="000000"/>
                </a:solidFill>
                <a:effectLst/>
                <a:uLnTx/>
                <a:uFillTx/>
                <a:latin typeface="Arial"/>
                <a:ea typeface="+mn-ea"/>
                <a:cs typeface="Arial"/>
              </a:rPr>
              <a:t>Key</a:t>
            </a:r>
            <a:r>
              <a:rPr kumimoji="0" sz="1467" b="1" i="1" u="none" strike="noStrike" kern="0" cap="none" spc="-33" normalizeH="0" baseline="0" noProof="0" dirty="0">
                <a:ln>
                  <a:noFill/>
                </a:ln>
                <a:solidFill>
                  <a:sysClr val="windowText" lastClr="000000"/>
                </a:solidFill>
                <a:effectLst/>
                <a:uLnTx/>
                <a:uFillTx/>
                <a:latin typeface="Arial"/>
                <a:ea typeface="+mn-ea"/>
                <a:cs typeface="Arial"/>
              </a:rPr>
              <a:t> </a:t>
            </a:r>
            <a:r>
              <a:rPr kumimoji="0" sz="1467" b="1" i="1" u="none" strike="noStrike" kern="0" cap="none" spc="-13" normalizeH="0" baseline="0" noProof="0" dirty="0">
                <a:ln>
                  <a:noFill/>
                </a:ln>
                <a:solidFill>
                  <a:sysClr val="windowText" lastClr="000000"/>
                </a:solidFill>
                <a:effectLst/>
                <a:uLnTx/>
                <a:uFillTx/>
                <a:latin typeface="Arial"/>
                <a:ea typeface="+mn-ea"/>
                <a:cs typeface="Arial"/>
              </a:rPr>
              <a:t>secondary endpoints</a:t>
            </a:r>
            <a:r>
              <a:rPr kumimoji="0" sz="1467" b="1" i="1" u="none" strike="noStrike" kern="0" cap="none" spc="667" normalizeH="0" baseline="0" noProof="0" dirty="0">
                <a:ln>
                  <a:noFill/>
                </a:ln>
                <a:solidFill>
                  <a:sysClr val="windowText" lastClr="000000"/>
                </a:solidFill>
                <a:effectLst/>
                <a:uLnTx/>
                <a:uFillTx/>
                <a:latin typeface="Arial"/>
                <a:ea typeface="+mn-ea"/>
                <a:cs typeface="Arial"/>
              </a:rPr>
              <a:t> </a:t>
            </a:r>
            <a:r>
              <a:rPr kumimoji="0" sz="1467" b="0" i="1" u="none" strike="noStrike" kern="0" cap="none" spc="0" normalizeH="0" baseline="0" noProof="0" dirty="0">
                <a:ln>
                  <a:noFill/>
                </a:ln>
                <a:solidFill>
                  <a:sysClr val="windowText" lastClr="000000"/>
                </a:solidFill>
                <a:effectLst/>
                <a:uLnTx/>
                <a:uFillTx/>
                <a:latin typeface="Arial"/>
                <a:ea typeface="+mn-ea"/>
                <a:cs typeface="Arial"/>
              </a:rPr>
              <a:t>PFS</a:t>
            </a:r>
            <a:r>
              <a:rPr kumimoji="0" sz="1467" b="0" i="1" u="none" strike="noStrike" kern="0" cap="none" spc="-13" normalizeH="0" baseline="0" noProof="0" dirty="0">
                <a:ln>
                  <a:noFill/>
                </a:ln>
                <a:solidFill>
                  <a:sysClr val="windowText" lastClr="000000"/>
                </a:solidFill>
                <a:effectLst/>
                <a:uLnTx/>
                <a:uFillTx/>
                <a:latin typeface="Arial"/>
                <a:ea typeface="+mn-ea"/>
                <a:cs typeface="Arial"/>
              </a:rPr>
              <a:t> </a:t>
            </a:r>
            <a:r>
              <a:rPr kumimoji="0" sz="1467" b="0" i="1" u="none" strike="noStrike" kern="0" cap="none" spc="0" normalizeH="0" baseline="0" noProof="0" dirty="0">
                <a:ln>
                  <a:noFill/>
                </a:ln>
                <a:solidFill>
                  <a:sysClr val="windowText" lastClr="000000"/>
                </a:solidFill>
                <a:effectLst/>
                <a:uLnTx/>
                <a:uFillTx/>
                <a:latin typeface="Arial"/>
                <a:ea typeface="+mn-ea"/>
                <a:cs typeface="Arial"/>
              </a:rPr>
              <a:t>(by</a:t>
            </a:r>
            <a:r>
              <a:rPr kumimoji="0" sz="1467" b="0" i="1" u="none" strike="noStrike" kern="0" cap="none" spc="-53" normalizeH="0" baseline="0" noProof="0" dirty="0">
                <a:ln>
                  <a:noFill/>
                </a:ln>
                <a:solidFill>
                  <a:sysClr val="windowText" lastClr="000000"/>
                </a:solidFill>
                <a:effectLst/>
                <a:uLnTx/>
                <a:uFillTx/>
                <a:latin typeface="Arial"/>
                <a:ea typeface="+mn-ea"/>
                <a:cs typeface="Arial"/>
              </a:rPr>
              <a:t> </a:t>
            </a:r>
            <a:r>
              <a:rPr kumimoji="0" sz="1467" b="0" i="1" u="none" strike="noStrike" kern="0" cap="none" spc="-27" normalizeH="0" baseline="0" noProof="0" dirty="0">
                <a:ln>
                  <a:noFill/>
                </a:ln>
                <a:solidFill>
                  <a:sysClr val="windowText" lastClr="000000"/>
                </a:solidFill>
                <a:effectLst/>
                <a:uLnTx/>
                <a:uFillTx/>
                <a:latin typeface="Arial"/>
                <a:ea typeface="+mn-ea"/>
                <a:cs typeface="Arial"/>
              </a:rPr>
              <a:t>INV) </a:t>
            </a:r>
            <a:r>
              <a:rPr kumimoji="0" sz="1467" b="0" i="1" u="none" strike="noStrike" kern="0" cap="none" spc="0" normalizeH="0" baseline="0" noProof="0" dirty="0">
                <a:ln>
                  <a:noFill/>
                </a:ln>
                <a:solidFill>
                  <a:sysClr val="windowText" lastClr="000000"/>
                </a:solidFill>
                <a:effectLst/>
                <a:uLnTx/>
                <a:uFillTx/>
                <a:latin typeface="Arial"/>
                <a:ea typeface="+mn-ea"/>
                <a:cs typeface="Arial"/>
              </a:rPr>
              <a:t>CR</a:t>
            </a:r>
            <a:r>
              <a:rPr kumimoji="0" sz="1500" b="0" i="1" u="none" strike="noStrike" kern="0" cap="none" spc="0" normalizeH="0" baseline="22222" noProof="0" dirty="0">
                <a:ln>
                  <a:noFill/>
                </a:ln>
                <a:solidFill>
                  <a:sysClr val="windowText" lastClr="000000"/>
                </a:solidFill>
                <a:effectLst/>
                <a:uLnTx/>
                <a:uFillTx/>
                <a:latin typeface="Arial"/>
                <a:ea typeface="+mn-ea"/>
                <a:cs typeface="Arial"/>
              </a:rPr>
              <a:t>†</a:t>
            </a:r>
            <a:r>
              <a:rPr kumimoji="0" sz="1500" b="0" i="1" u="none" strike="noStrike" kern="0" cap="none" spc="160" normalizeH="0" baseline="22222" noProof="0" dirty="0">
                <a:ln>
                  <a:noFill/>
                </a:ln>
                <a:solidFill>
                  <a:sysClr val="windowText" lastClr="000000"/>
                </a:solidFill>
                <a:effectLst/>
                <a:uLnTx/>
                <a:uFillTx/>
                <a:latin typeface="Arial"/>
                <a:ea typeface="+mn-ea"/>
                <a:cs typeface="Arial"/>
              </a:rPr>
              <a:t> </a:t>
            </a:r>
            <a:r>
              <a:rPr kumimoji="0" sz="1467" b="0" i="1" u="none" strike="noStrike" kern="0" cap="none" spc="0" normalizeH="0" baseline="0" noProof="0" dirty="0">
                <a:ln>
                  <a:noFill/>
                </a:ln>
                <a:solidFill>
                  <a:sysClr val="windowText" lastClr="000000"/>
                </a:solidFill>
                <a:effectLst/>
                <a:uLnTx/>
                <a:uFillTx/>
                <a:latin typeface="Arial"/>
                <a:ea typeface="+mn-ea"/>
                <a:cs typeface="Arial"/>
              </a:rPr>
              <a:t>(by</a:t>
            </a:r>
            <a:r>
              <a:rPr kumimoji="0" sz="1467" b="0" i="1" u="none" strike="noStrike" kern="0" cap="none" spc="-67" normalizeH="0" baseline="0" noProof="0" dirty="0">
                <a:ln>
                  <a:noFill/>
                </a:ln>
                <a:solidFill>
                  <a:sysClr val="windowText" lastClr="000000"/>
                </a:solidFill>
                <a:effectLst/>
                <a:uLnTx/>
                <a:uFillTx/>
                <a:latin typeface="Arial"/>
                <a:ea typeface="+mn-ea"/>
                <a:cs typeface="Arial"/>
              </a:rPr>
              <a:t> </a:t>
            </a:r>
            <a:r>
              <a:rPr kumimoji="0" sz="1467" b="0" i="1" u="none" strike="noStrike" kern="0" cap="none" spc="-27" normalizeH="0" baseline="0" noProof="0" dirty="0">
                <a:ln>
                  <a:noFill/>
                </a:ln>
                <a:solidFill>
                  <a:sysClr val="windowText" lastClr="000000"/>
                </a:solidFill>
                <a:effectLst/>
                <a:uLnTx/>
                <a:uFillTx/>
                <a:latin typeface="Arial"/>
                <a:ea typeface="+mn-ea"/>
                <a:cs typeface="Arial"/>
              </a:rPr>
              <a:t>IRC) </a:t>
            </a:r>
            <a:r>
              <a:rPr kumimoji="0" sz="1467" b="0" i="1" u="none" strike="noStrike" kern="0" cap="none" spc="0" normalizeH="0" baseline="0" noProof="0" dirty="0">
                <a:ln>
                  <a:noFill/>
                </a:ln>
                <a:solidFill>
                  <a:sysClr val="windowText" lastClr="000000"/>
                </a:solidFill>
                <a:effectLst/>
                <a:uLnTx/>
                <a:uFillTx/>
                <a:latin typeface="Arial"/>
                <a:ea typeface="+mn-ea"/>
                <a:cs typeface="Arial"/>
              </a:rPr>
              <a:t>ORR</a:t>
            </a:r>
            <a:r>
              <a:rPr kumimoji="0" sz="1500" b="0" i="1" u="none" strike="noStrike" kern="0" cap="none" spc="0" normalizeH="0" baseline="22222" noProof="0" dirty="0">
                <a:ln>
                  <a:noFill/>
                </a:ln>
                <a:solidFill>
                  <a:sysClr val="windowText" lastClr="000000"/>
                </a:solidFill>
                <a:effectLst/>
                <a:uLnTx/>
                <a:uFillTx/>
                <a:latin typeface="Arial"/>
                <a:ea typeface="+mn-ea"/>
                <a:cs typeface="Arial"/>
              </a:rPr>
              <a:t>†</a:t>
            </a:r>
            <a:r>
              <a:rPr kumimoji="0" sz="1500" b="0" i="1" u="none" strike="noStrike" kern="0" cap="none" spc="-49" normalizeH="0" baseline="22222" noProof="0" dirty="0">
                <a:ln>
                  <a:noFill/>
                </a:ln>
                <a:solidFill>
                  <a:sysClr val="windowText" lastClr="000000"/>
                </a:solidFill>
                <a:effectLst/>
                <a:uLnTx/>
                <a:uFillTx/>
                <a:latin typeface="Arial"/>
                <a:ea typeface="+mn-ea"/>
                <a:cs typeface="Arial"/>
              </a:rPr>
              <a:t> </a:t>
            </a:r>
            <a:r>
              <a:rPr kumimoji="0" sz="1467" b="0" i="1" u="none" strike="noStrike" kern="0" cap="none" spc="0" normalizeH="0" baseline="0" noProof="0" dirty="0">
                <a:ln>
                  <a:noFill/>
                </a:ln>
                <a:solidFill>
                  <a:sysClr val="windowText" lastClr="000000"/>
                </a:solidFill>
                <a:effectLst/>
                <a:uLnTx/>
                <a:uFillTx/>
                <a:latin typeface="Arial"/>
                <a:ea typeface="+mn-ea"/>
                <a:cs typeface="Arial"/>
              </a:rPr>
              <a:t>(by</a:t>
            </a:r>
            <a:r>
              <a:rPr kumimoji="0" sz="1467" b="0" i="1" u="none" strike="noStrike" kern="0" cap="none" spc="-73" normalizeH="0" baseline="0" noProof="0" dirty="0">
                <a:ln>
                  <a:noFill/>
                </a:ln>
                <a:solidFill>
                  <a:sysClr val="windowText" lastClr="000000"/>
                </a:solidFill>
                <a:effectLst/>
                <a:uLnTx/>
                <a:uFillTx/>
                <a:latin typeface="Arial"/>
                <a:ea typeface="+mn-ea"/>
                <a:cs typeface="Arial"/>
              </a:rPr>
              <a:t> </a:t>
            </a:r>
            <a:r>
              <a:rPr kumimoji="0" sz="1467" b="0" i="1" u="none" strike="noStrike" kern="0" cap="none" spc="-27" normalizeH="0" baseline="0" noProof="0" dirty="0">
                <a:ln>
                  <a:noFill/>
                </a:ln>
                <a:solidFill>
                  <a:sysClr val="windowText" lastClr="000000"/>
                </a:solidFill>
                <a:effectLst/>
                <a:uLnTx/>
                <a:uFillTx/>
                <a:latin typeface="Arial"/>
                <a:ea typeface="+mn-ea"/>
                <a:cs typeface="Arial"/>
              </a:rPr>
              <a:t>IRC)</a:t>
            </a:r>
            <a:endParaRPr kumimoji="0" sz="1467" b="0" i="0" u="none" strike="noStrike" kern="0" cap="none" spc="0" normalizeH="0" baseline="0" noProof="0" dirty="0">
              <a:ln>
                <a:noFill/>
              </a:ln>
              <a:solidFill>
                <a:sysClr val="windowText" lastClr="000000"/>
              </a:solidFill>
              <a:effectLst/>
              <a:uLnTx/>
              <a:uFillTx/>
              <a:latin typeface="Arial"/>
              <a:ea typeface="+mn-ea"/>
              <a:cs typeface="Arial"/>
            </a:endParaRPr>
          </a:p>
        </p:txBody>
      </p:sp>
      <p:sp>
        <p:nvSpPr>
          <p:cNvPr id="10" name="object 10"/>
          <p:cNvSpPr/>
          <p:nvPr/>
        </p:nvSpPr>
        <p:spPr>
          <a:xfrm>
            <a:off x="5937164" y="2241635"/>
            <a:ext cx="1593427" cy="101600"/>
          </a:xfrm>
          <a:custGeom>
            <a:avLst/>
            <a:gdLst/>
            <a:ahLst/>
            <a:cxnLst/>
            <a:rect l="l" t="t" r="r" b="b"/>
            <a:pathLst>
              <a:path w="1195070" h="76200">
                <a:moveTo>
                  <a:pt x="1118615" y="0"/>
                </a:moveTo>
                <a:lnTo>
                  <a:pt x="1119124" y="76200"/>
                </a:lnTo>
                <a:lnTo>
                  <a:pt x="1181428" y="44422"/>
                </a:lnTo>
                <a:lnTo>
                  <a:pt x="1131570" y="44422"/>
                </a:lnTo>
                <a:lnTo>
                  <a:pt x="1131570" y="31723"/>
                </a:lnTo>
                <a:lnTo>
                  <a:pt x="1183352" y="31723"/>
                </a:lnTo>
                <a:lnTo>
                  <a:pt x="1118615" y="0"/>
                </a:lnTo>
                <a:close/>
              </a:path>
              <a:path w="1195070" h="76200">
                <a:moveTo>
                  <a:pt x="1118827" y="31723"/>
                </a:moveTo>
                <a:lnTo>
                  <a:pt x="0" y="40512"/>
                </a:lnTo>
                <a:lnTo>
                  <a:pt x="126" y="53212"/>
                </a:lnTo>
                <a:lnTo>
                  <a:pt x="1118912" y="44422"/>
                </a:lnTo>
                <a:lnTo>
                  <a:pt x="1118827" y="31723"/>
                </a:lnTo>
                <a:close/>
              </a:path>
              <a:path w="1195070" h="76200">
                <a:moveTo>
                  <a:pt x="1183352" y="31723"/>
                </a:moveTo>
                <a:lnTo>
                  <a:pt x="1131570" y="31723"/>
                </a:lnTo>
                <a:lnTo>
                  <a:pt x="1131570" y="44422"/>
                </a:lnTo>
                <a:lnTo>
                  <a:pt x="1181428" y="44422"/>
                </a:lnTo>
                <a:lnTo>
                  <a:pt x="1195070" y="37464"/>
                </a:lnTo>
                <a:lnTo>
                  <a:pt x="1183352" y="31723"/>
                </a:lnTo>
                <a:close/>
              </a:path>
            </a:pathLst>
          </a:custGeom>
          <a:solidFill>
            <a:srgbClr val="534F4F"/>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1" name="object 11"/>
          <p:cNvSpPr/>
          <p:nvPr/>
        </p:nvSpPr>
        <p:spPr>
          <a:xfrm>
            <a:off x="3568701" y="3688248"/>
            <a:ext cx="3956473" cy="1397000"/>
          </a:xfrm>
          <a:custGeom>
            <a:avLst/>
            <a:gdLst/>
            <a:ahLst/>
            <a:cxnLst/>
            <a:rect l="l" t="t" r="r" b="b"/>
            <a:pathLst>
              <a:path w="2967354" h="1047750">
                <a:moveTo>
                  <a:pt x="1771650" y="315849"/>
                </a:moveTo>
                <a:lnTo>
                  <a:pt x="1763661" y="276301"/>
                </a:lnTo>
                <a:lnTo>
                  <a:pt x="1741893" y="244005"/>
                </a:lnTo>
                <a:lnTo>
                  <a:pt x="1709597" y="222237"/>
                </a:lnTo>
                <a:lnTo>
                  <a:pt x="1670050" y="214249"/>
                </a:lnTo>
                <a:lnTo>
                  <a:pt x="101600" y="214249"/>
                </a:lnTo>
                <a:lnTo>
                  <a:pt x="62039" y="222237"/>
                </a:lnTo>
                <a:lnTo>
                  <a:pt x="29743" y="244005"/>
                </a:lnTo>
                <a:lnTo>
                  <a:pt x="7975" y="276301"/>
                </a:lnTo>
                <a:lnTo>
                  <a:pt x="0" y="315849"/>
                </a:lnTo>
                <a:lnTo>
                  <a:pt x="0" y="722122"/>
                </a:lnTo>
                <a:lnTo>
                  <a:pt x="7975" y="761606"/>
                </a:lnTo>
                <a:lnTo>
                  <a:pt x="29743" y="793864"/>
                </a:lnTo>
                <a:lnTo>
                  <a:pt x="62039" y="815619"/>
                </a:lnTo>
                <a:lnTo>
                  <a:pt x="101600" y="823595"/>
                </a:lnTo>
                <a:lnTo>
                  <a:pt x="1670050" y="823595"/>
                </a:lnTo>
                <a:lnTo>
                  <a:pt x="1709597" y="815619"/>
                </a:lnTo>
                <a:lnTo>
                  <a:pt x="1741893" y="793864"/>
                </a:lnTo>
                <a:lnTo>
                  <a:pt x="1763661" y="761606"/>
                </a:lnTo>
                <a:lnTo>
                  <a:pt x="1771650" y="722122"/>
                </a:lnTo>
                <a:lnTo>
                  <a:pt x="1771650" y="315849"/>
                </a:lnTo>
                <a:close/>
              </a:path>
              <a:path w="2967354" h="1047750">
                <a:moveTo>
                  <a:pt x="2966974" y="1009269"/>
                </a:moveTo>
                <a:lnTo>
                  <a:pt x="2954274" y="1002919"/>
                </a:lnTo>
                <a:lnTo>
                  <a:pt x="2916301" y="983932"/>
                </a:lnTo>
                <a:lnTo>
                  <a:pt x="2916301" y="1002919"/>
                </a:lnTo>
                <a:lnTo>
                  <a:pt x="2916301" y="1009269"/>
                </a:lnTo>
                <a:lnTo>
                  <a:pt x="2916047" y="1009459"/>
                </a:lnTo>
                <a:lnTo>
                  <a:pt x="2916174" y="1009269"/>
                </a:lnTo>
                <a:lnTo>
                  <a:pt x="2916301" y="1002919"/>
                </a:lnTo>
                <a:lnTo>
                  <a:pt x="2916301" y="983932"/>
                </a:lnTo>
                <a:lnTo>
                  <a:pt x="2890774" y="971169"/>
                </a:lnTo>
                <a:lnTo>
                  <a:pt x="2911932" y="1002919"/>
                </a:lnTo>
                <a:lnTo>
                  <a:pt x="2277999" y="1002919"/>
                </a:lnTo>
                <a:lnTo>
                  <a:pt x="2277999" y="44450"/>
                </a:lnTo>
                <a:lnTo>
                  <a:pt x="2903296" y="44450"/>
                </a:lnTo>
                <a:lnTo>
                  <a:pt x="2882138" y="76200"/>
                </a:lnTo>
                <a:lnTo>
                  <a:pt x="2945638" y="44450"/>
                </a:lnTo>
                <a:lnTo>
                  <a:pt x="2958338" y="38100"/>
                </a:lnTo>
                <a:lnTo>
                  <a:pt x="2945638" y="31750"/>
                </a:lnTo>
                <a:lnTo>
                  <a:pt x="2882138" y="0"/>
                </a:lnTo>
                <a:lnTo>
                  <a:pt x="2903296" y="31750"/>
                </a:lnTo>
                <a:lnTo>
                  <a:pt x="2268220" y="31750"/>
                </a:lnTo>
                <a:lnTo>
                  <a:pt x="2265299" y="34544"/>
                </a:lnTo>
                <a:lnTo>
                  <a:pt x="2265299" y="1012825"/>
                </a:lnTo>
                <a:lnTo>
                  <a:pt x="2268220" y="1015619"/>
                </a:lnTo>
                <a:lnTo>
                  <a:pt x="2912046" y="1015619"/>
                </a:lnTo>
                <a:lnTo>
                  <a:pt x="2890774" y="1047369"/>
                </a:lnTo>
                <a:lnTo>
                  <a:pt x="2954274" y="1015619"/>
                </a:lnTo>
                <a:lnTo>
                  <a:pt x="2966974" y="1009269"/>
                </a:lnTo>
                <a:close/>
              </a:path>
            </a:pathLst>
          </a:custGeom>
          <a:solidFill>
            <a:srgbClr val="534F4F"/>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2" name="object 12"/>
          <p:cNvSpPr txBox="1"/>
          <p:nvPr/>
        </p:nvSpPr>
        <p:spPr>
          <a:xfrm>
            <a:off x="3728719" y="4105993"/>
            <a:ext cx="2044700" cy="547287"/>
          </a:xfrm>
          <a:prstGeom prst="rect">
            <a:avLst/>
          </a:prstGeom>
        </p:spPr>
        <p:txBody>
          <a:bodyPr vert="horz" wrap="square" lIns="0" tIns="21167" rIns="0" bIns="0" rtlCol="0">
            <a:spAutoFit/>
          </a:bodyPr>
          <a:lstStyle/>
          <a:p>
            <a:pPr marL="0" marR="0" lvl="0" indent="0" algn="ctr" defTabSz="1219170" rtl="0" eaLnBrk="1" fontAlgn="auto" latinLnBrk="0" hangingPunct="1">
              <a:lnSpc>
                <a:spcPct val="100000"/>
              </a:lnSpc>
              <a:spcBef>
                <a:spcPts val="167"/>
              </a:spcBef>
              <a:spcAft>
                <a:spcPts val="0"/>
              </a:spcAft>
              <a:buClrTx/>
              <a:buSzTx/>
              <a:buFontTx/>
              <a:buNone/>
              <a:tabLst/>
              <a:defRPr/>
            </a:pPr>
            <a:r>
              <a:rPr kumimoji="0" sz="1667" b="1" i="1" u="none" strike="noStrike" kern="0" cap="none" spc="0" normalizeH="0" baseline="0" noProof="0" dirty="0">
                <a:ln>
                  <a:noFill/>
                </a:ln>
                <a:solidFill>
                  <a:srgbClr val="FFFFFF"/>
                </a:solidFill>
                <a:effectLst/>
                <a:uLnTx/>
                <a:uFillTx/>
                <a:latin typeface="Arial"/>
                <a:ea typeface="+mn-ea"/>
                <a:cs typeface="Arial"/>
              </a:rPr>
              <a:t>Randomized</a:t>
            </a:r>
            <a:r>
              <a:rPr kumimoji="0" sz="1667" b="1" i="1" u="none" strike="noStrike" kern="0" cap="none" spc="347" normalizeH="0" baseline="0" noProof="0" dirty="0">
                <a:ln>
                  <a:noFill/>
                </a:ln>
                <a:solidFill>
                  <a:srgbClr val="FFFFFF"/>
                </a:solidFill>
                <a:effectLst/>
                <a:uLnTx/>
                <a:uFillTx/>
                <a:latin typeface="Arial"/>
                <a:ea typeface="+mn-ea"/>
                <a:cs typeface="Arial"/>
              </a:rPr>
              <a:t> </a:t>
            </a:r>
            <a:r>
              <a:rPr kumimoji="0" sz="1667" b="1" i="1" u="none" strike="noStrike" kern="0" cap="none" spc="-27" normalizeH="0" baseline="0" noProof="0" dirty="0">
                <a:ln>
                  <a:noFill/>
                </a:ln>
                <a:solidFill>
                  <a:srgbClr val="FFFFFF"/>
                </a:solidFill>
                <a:effectLst/>
                <a:uLnTx/>
                <a:uFillTx/>
                <a:latin typeface="Arial"/>
                <a:ea typeface="+mn-ea"/>
                <a:cs typeface="Arial"/>
              </a:rPr>
              <a:t>phase</a:t>
            </a:r>
            <a:endParaRPr kumimoji="0" sz="1667" b="0" i="0" u="none" strike="noStrike" kern="0" cap="none" spc="0" normalizeH="0" baseline="0" noProof="0">
              <a:ln>
                <a:noFill/>
              </a:ln>
              <a:solidFill>
                <a:sysClr val="windowText" lastClr="000000"/>
              </a:solidFill>
              <a:effectLst/>
              <a:uLnTx/>
              <a:uFillTx/>
              <a:latin typeface="Arial"/>
              <a:ea typeface="+mn-ea"/>
              <a:cs typeface="Arial"/>
            </a:endParaRPr>
          </a:p>
          <a:p>
            <a:pPr marL="0" marR="0" lvl="0" indent="0" algn="ctr" defTabSz="1219170" rtl="0" eaLnBrk="1" fontAlgn="auto" latinLnBrk="0" hangingPunct="1">
              <a:lnSpc>
                <a:spcPct val="100000"/>
              </a:lnSpc>
              <a:spcBef>
                <a:spcPts val="100"/>
              </a:spcBef>
              <a:spcAft>
                <a:spcPts val="0"/>
              </a:spcAft>
              <a:buClrTx/>
              <a:buSzTx/>
              <a:buFontTx/>
              <a:buNone/>
              <a:tabLst/>
              <a:defRPr/>
            </a:pPr>
            <a:r>
              <a:rPr kumimoji="0" sz="1667" b="0" i="1" u="none" strike="noStrike" kern="0" cap="none" spc="0" normalizeH="0" baseline="0" noProof="0" dirty="0">
                <a:ln>
                  <a:noFill/>
                </a:ln>
                <a:solidFill>
                  <a:srgbClr val="FFFFFF"/>
                </a:solidFill>
                <a:effectLst/>
                <a:uLnTx/>
                <a:uFillTx/>
                <a:latin typeface="Arial"/>
                <a:ea typeface="+mn-ea"/>
                <a:cs typeface="Arial"/>
              </a:rPr>
              <a:t>Enrolled</a:t>
            </a:r>
            <a:r>
              <a:rPr kumimoji="0" sz="1667" b="0" i="1" u="none" strike="noStrike" kern="0" cap="none" spc="207" normalizeH="0" baseline="0" noProof="0" dirty="0">
                <a:ln>
                  <a:noFill/>
                </a:ln>
                <a:solidFill>
                  <a:srgbClr val="FFFFFF"/>
                </a:solidFill>
                <a:effectLst/>
                <a:uLnTx/>
                <a:uFillTx/>
                <a:latin typeface="Arial"/>
                <a:ea typeface="+mn-ea"/>
                <a:cs typeface="Arial"/>
              </a:rPr>
              <a:t> </a:t>
            </a:r>
            <a:r>
              <a:rPr kumimoji="0" sz="1667" b="0" i="1" u="none" strike="noStrike" kern="0" cap="none" spc="-27" normalizeH="0" baseline="0" noProof="0" dirty="0">
                <a:ln>
                  <a:noFill/>
                </a:ln>
                <a:solidFill>
                  <a:srgbClr val="FFFFFF"/>
                </a:solidFill>
                <a:effectLst/>
                <a:uLnTx/>
                <a:uFillTx/>
                <a:latin typeface="Arial"/>
                <a:ea typeface="+mn-ea"/>
                <a:cs typeface="Arial"/>
              </a:rPr>
              <a:t>n=</a:t>
            </a:r>
            <a:r>
              <a:rPr kumimoji="0" sz="1667" b="1" i="1" u="none" strike="noStrike" kern="0" cap="none" spc="-27" normalizeH="0" baseline="0" noProof="0" dirty="0">
                <a:ln>
                  <a:noFill/>
                </a:ln>
                <a:solidFill>
                  <a:srgbClr val="FFFFFF"/>
                </a:solidFill>
                <a:effectLst/>
                <a:uLnTx/>
                <a:uFillTx/>
                <a:latin typeface="Arial"/>
                <a:ea typeface="+mn-ea"/>
                <a:cs typeface="Arial"/>
              </a:rPr>
              <a:t>255</a:t>
            </a:r>
            <a:endParaRPr kumimoji="0" sz="1667"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13" name="object 13"/>
          <p:cNvSpPr/>
          <p:nvPr/>
        </p:nvSpPr>
        <p:spPr>
          <a:xfrm>
            <a:off x="7505701" y="3377184"/>
            <a:ext cx="2120900" cy="711200"/>
          </a:xfrm>
          <a:custGeom>
            <a:avLst/>
            <a:gdLst/>
            <a:ahLst/>
            <a:cxnLst/>
            <a:rect l="l" t="t" r="r" b="b"/>
            <a:pathLst>
              <a:path w="1590675" h="533400">
                <a:moveTo>
                  <a:pt x="1501775" y="0"/>
                </a:moveTo>
                <a:lnTo>
                  <a:pt x="88900" y="0"/>
                </a:lnTo>
                <a:lnTo>
                  <a:pt x="54274" y="6979"/>
                </a:lnTo>
                <a:lnTo>
                  <a:pt x="26019" y="26019"/>
                </a:lnTo>
                <a:lnTo>
                  <a:pt x="6979" y="54274"/>
                </a:lnTo>
                <a:lnTo>
                  <a:pt x="0" y="88900"/>
                </a:lnTo>
                <a:lnTo>
                  <a:pt x="0" y="444373"/>
                </a:lnTo>
                <a:lnTo>
                  <a:pt x="6979" y="478944"/>
                </a:lnTo>
                <a:lnTo>
                  <a:pt x="26019" y="507206"/>
                </a:lnTo>
                <a:lnTo>
                  <a:pt x="54274" y="526276"/>
                </a:lnTo>
                <a:lnTo>
                  <a:pt x="88900" y="533273"/>
                </a:lnTo>
                <a:lnTo>
                  <a:pt x="1501775" y="533273"/>
                </a:lnTo>
                <a:lnTo>
                  <a:pt x="1536400" y="526276"/>
                </a:lnTo>
                <a:lnTo>
                  <a:pt x="1564655" y="507206"/>
                </a:lnTo>
                <a:lnTo>
                  <a:pt x="1583695" y="478944"/>
                </a:lnTo>
                <a:lnTo>
                  <a:pt x="1590675" y="444373"/>
                </a:lnTo>
                <a:lnTo>
                  <a:pt x="1590675" y="88900"/>
                </a:lnTo>
                <a:lnTo>
                  <a:pt x="1583695" y="54274"/>
                </a:lnTo>
                <a:lnTo>
                  <a:pt x="1564655" y="26019"/>
                </a:lnTo>
                <a:lnTo>
                  <a:pt x="1536400" y="6979"/>
                </a:lnTo>
                <a:lnTo>
                  <a:pt x="1501775" y="0"/>
                </a:lnTo>
                <a:close/>
              </a:path>
            </a:pathLst>
          </a:custGeom>
          <a:solidFill>
            <a:srgbClr val="009963"/>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4" name="object 14"/>
          <p:cNvSpPr txBox="1"/>
          <p:nvPr/>
        </p:nvSpPr>
        <p:spPr>
          <a:xfrm>
            <a:off x="7824893" y="3381950"/>
            <a:ext cx="1493520" cy="677301"/>
          </a:xfrm>
          <a:prstGeom prst="rect">
            <a:avLst/>
          </a:prstGeom>
        </p:spPr>
        <p:txBody>
          <a:bodyPr vert="horz" wrap="square" lIns="0" tIns="35560" rIns="0" bIns="0" rtlCol="0">
            <a:spAutoFit/>
          </a:bodyPr>
          <a:lstStyle/>
          <a:p>
            <a:pPr marL="4233" marR="0" lvl="0" indent="0" algn="ctr" defTabSz="1219170" rtl="0" eaLnBrk="1" fontAlgn="auto" latinLnBrk="0" hangingPunct="1">
              <a:lnSpc>
                <a:spcPct val="100000"/>
              </a:lnSpc>
              <a:spcBef>
                <a:spcPts val="280"/>
              </a:spcBef>
              <a:spcAft>
                <a:spcPts val="0"/>
              </a:spcAft>
              <a:buClrTx/>
              <a:buSzTx/>
              <a:buFontTx/>
              <a:buNone/>
              <a:tabLst/>
              <a:defRPr/>
            </a:pPr>
            <a:r>
              <a:rPr kumimoji="0" sz="1467" b="1" i="1" u="none" strike="noStrike" kern="0" cap="none" spc="-13" normalizeH="0" baseline="0" noProof="0" dirty="0">
                <a:ln>
                  <a:noFill/>
                </a:ln>
                <a:solidFill>
                  <a:srgbClr val="FFFFFF"/>
                </a:solidFill>
                <a:effectLst/>
                <a:uLnTx/>
                <a:uFillTx/>
                <a:latin typeface="Arial"/>
                <a:ea typeface="+mn-ea"/>
                <a:cs typeface="Arial"/>
              </a:rPr>
              <a:t>Pola-R-GemOx*</a:t>
            </a:r>
            <a:endParaRPr kumimoji="0" sz="1467" b="0" i="0" u="none" strike="noStrike" kern="0" cap="none" spc="0" normalizeH="0" baseline="0" noProof="0">
              <a:ln>
                <a:noFill/>
              </a:ln>
              <a:solidFill>
                <a:sysClr val="windowText" lastClr="000000"/>
              </a:solidFill>
              <a:effectLst/>
              <a:uLnTx/>
              <a:uFillTx/>
              <a:latin typeface="Arial"/>
              <a:ea typeface="+mn-ea"/>
              <a:cs typeface="Arial"/>
            </a:endParaRPr>
          </a:p>
          <a:p>
            <a:pPr marL="3387" marR="0" lvl="0" indent="0" algn="ctr" defTabSz="1219170" rtl="0" eaLnBrk="1" fontAlgn="auto" latinLnBrk="0" hangingPunct="1">
              <a:lnSpc>
                <a:spcPct val="100000"/>
              </a:lnSpc>
              <a:spcBef>
                <a:spcPts val="147"/>
              </a:spcBef>
              <a:spcAft>
                <a:spcPts val="0"/>
              </a:spcAft>
              <a:buClrTx/>
              <a:buSzTx/>
              <a:buFontTx/>
              <a:buNone/>
              <a:tabLst/>
              <a:defRPr/>
            </a:pPr>
            <a:r>
              <a:rPr kumimoji="0" sz="1267" b="0" i="1" u="none" strike="noStrike" kern="0" cap="none" spc="-13" normalizeH="0" baseline="0" noProof="0" dirty="0">
                <a:ln>
                  <a:noFill/>
                </a:ln>
                <a:solidFill>
                  <a:srgbClr val="FFFFFF"/>
                </a:solidFill>
                <a:effectLst/>
                <a:uLnTx/>
                <a:uFillTx/>
                <a:latin typeface="Arial"/>
                <a:ea typeface="+mn-ea"/>
                <a:cs typeface="Arial"/>
              </a:rPr>
              <a:t>n=129</a:t>
            </a:r>
            <a:endParaRPr kumimoji="0" sz="1267" b="0" i="0" u="none" strike="noStrike" kern="0" cap="none" spc="0" normalizeH="0" baseline="0" noProof="0">
              <a:ln>
                <a:noFill/>
              </a:ln>
              <a:solidFill>
                <a:sysClr val="windowText" lastClr="000000"/>
              </a:solidFill>
              <a:effectLst/>
              <a:uLnTx/>
              <a:uFillTx/>
              <a:latin typeface="Arial"/>
              <a:ea typeface="+mn-ea"/>
              <a:cs typeface="Arial"/>
            </a:endParaRPr>
          </a:p>
          <a:p>
            <a:pPr marL="0" marR="0" lvl="0" indent="0" algn="ctr" defTabSz="1219170" rtl="0" eaLnBrk="1" fontAlgn="auto" latinLnBrk="0" hangingPunct="1">
              <a:lnSpc>
                <a:spcPct val="100000"/>
              </a:lnSpc>
              <a:spcBef>
                <a:spcPts val="80"/>
              </a:spcBef>
              <a:spcAft>
                <a:spcPts val="0"/>
              </a:spcAft>
              <a:buClrTx/>
              <a:buSzTx/>
              <a:buFontTx/>
              <a:buNone/>
              <a:tabLst/>
              <a:defRPr/>
            </a:pPr>
            <a:r>
              <a:rPr kumimoji="0" sz="1267" b="0" i="1" u="none" strike="noStrike" kern="0" cap="none" spc="0" normalizeH="0" baseline="0" noProof="0" dirty="0">
                <a:ln>
                  <a:noFill/>
                </a:ln>
                <a:solidFill>
                  <a:srgbClr val="FFFFFF"/>
                </a:solidFill>
                <a:effectLst/>
                <a:uLnTx/>
                <a:uFillTx/>
                <a:latin typeface="Arial"/>
                <a:ea typeface="+mn-ea"/>
                <a:cs typeface="Arial"/>
              </a:rPr>
              <a:t>Q3W</a:t>
            </a:r>
            <a:r>
              <a:rPr kumimoji="0" sz="1267" b="0" i="1" u="none" strike="noStrike" kern="0" cap="none" spc="73" normalizeH="0" baseline="0" noProof="0" dirty="0">
                <a:ln>
                  <a:noFill/>
                </a:ln>
                <a:solidFill>
                  <a:srgbClr val="FFFFFF"/>
                </a:solidFill>
                <a:effectLst/>
                <a:uLnTx/>
                <a:uFillTx/>
                <a:latin typeface="Arial"/>
                <a:ea typeface="+mn-ea"/>
                <a:cs typeface="Arial"/>
              </a:rPr>
              <a:t> </a:t>
            </a:r>
            <a:r>
              <a:rPr kumimoji="0" sz="1267" b="0" i="1" u="none" strike="noStrike" kern="0" cap="none" spc="0" normalizeH="0" baseline="0" noProof="0" dirty="0">
                <a:ln>
                  <a:noFill/>
                </a:ln>
                <a:solidFill>
                  <a:srgbClr val="FFFFFF"/>
                </a:solidFill>
                <a:effectLst/>
                <a:uLnTx/>
                <a:uFillTx/>
                <a:latin typeface="Arial"/>
                <a:ea typeface="+mn-ea"/>
                <a:cs typeface="Arial"/>
              </a:rPr>
              <a:t>up</a:t>
            </a:r>
            <a:r>
              <a:rPr kumimoji="0" sz="1267" b="0" i="1" u="none" strike="noStrike" kern="0" cap="none" spc="87" normalizeH="0" baseline="0" noProof="0" dirty="0">
                <a:ln>
                  <a:noFill/>
                </a:ln>
                <a:solidFill>
                  <a:srgbClr val="FFFFFF"/>
                </a:solidFill>
                <a:effectLst/>
                <a:uLnTx/>
                <a:uFillTx/>
                <a:latin typeface="Arial"/>
                <a:ea typeface="+mn-ea"/>
                <a:cs typeface="Arial"/>
              </a:rPr>
              <a:t> </a:t>
            </a:r>
            <a:r>
              <a:rPr kumimoji="0" sz="1267" b="0" i="1" u="none" strike="noStrike" kern="0" cap="none" spc="0" normalizeH="0" baseline="0" noProof="0" dirty="0">
                <a:ln>
                  <a:noFill/>
                </a:ln>
                <a:solidFill>
                  <a:srgbClr val="FFFFFF"/>
                </a:solidFill>
                <a:effectLst/>
                <a:uLnTx/>
                <a:uFillTx/>
                <a:latin typeface="Arial"/>
                <a:ea typeface="+mn-ea"/>
                <a:cs typeface="Arial"/>
              </a:rPr>
              <a:t>to</a:t>
            </a:r>
            <a:r>
              <a:rPr kumimoji="0" sz="1267" b="0" i="1" u="none" strike="noStrike" kern="0" cap="none" spc="87" normalizeH="0" baseline="0" noProof="0" dirty="0">
                <a:ln>
                  <a:noFill/>
                </a:ln>
                <a:solidFill>
                  <a:srgbClr val="FFFFFF"/>
                </a:solidFill>
                <a:effectLst/>
                <a:uLnTx/>
                <a:uFillTx/>
                <a:latin typeface="Arial"/>
                <a:ea typeface="+mn-ea"/>
                <a:cs typeface="Arial"/>
              </a:rPr>
              <a:t> </a:t>
            </a:r>
            <a:r>
              <a:rPr kumimoji="0" sz="1267" b="0" i="1" u="none" strike="noStrike" kern="0" cap="none" spc="0" normalizeH="0" baseline="0" noProof="0" dirty="0">
                <a:ln>
                  <a:noFill/>
                </a:ln>
                <a:solidFill>
                  <a:srgbClr val="FFFFFF"/>
                </a:solidFill>
                <a:effectLst/>
                <a:uLnTx/>
                <a:uFillTx/>
                <a:latin typeface="Arial"/>
                <a:ea typeface="+mn-ea"/>
                <a:cs typeface="Arial"/>
              </a:rPr>
              <a:t>8</a:t>
            </a:r>
            <a:r>
              <a:rPr kumimoji="0" sz="1267" b="0" i="1" u="none" strike="noStrike" kern="0" cap="none" spc="87" normalizeH="0" baseline="0" noProof="0" dirty="0">
                <a:ln>
                  <a:noFill/>
                </a:ln>
                <a:solidFill>
                  <a:srgbClr val="FFFFFF"/>
                </a:solidFill>
                <a:effectLst/>
                <a:uLnTx/>
                <a:uFillTx/>
                <a:latin typeface="Arial"/>
                <a:ea typeface="+mn-ea"/>
                <a:cs typeface="Arial"/>
              </a:rPr>
              <a:t> </a:t>
            </a:r>
            <a:r>
              <a:rPr kumimoji="0" sz="1267" b="0" i="1" u="none" strike="noStrike" kern="0" cap="none" spc="-13" normalizeH="0" baseline="0" noProof="0" dirty="0">
                <a:ln>
                  <a:noFill/>
                </a:ln>
                <a:solidFill>
                  <a:srgbClr val="FFFFFF"/>
                </a:solidFill>
                <a:effectLst/>
                <a:uLnTx/>
                <a:uFillTx/>
                <a:latin typeface="Arial"/>
                <a:ea typeface="+mn-ea"/>
                <a:cs typeface="Arial"/>
              </a:rPr>
              <a:t>cycles</a:t>
            </a:r>
            <a:endParaRPr kumimoji="0" sz="1267"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15" name="object 15"/>
          <p:cNvSpPr/>
          <p:nvPr/>
        </p:nvSpPr>
        <p:spPr>
          <a:xfrm>
            <a:off x="7505701" y="4672076"/>
            <a:ext cx="2120900" cy="711200"/>
          </a:xfrm>
          <a:custGeom>
            <a:avLst/>
            <a:gdLst/>
            <a:ahLst/>
            <a:cxnLst/>
            <a:rect l="l" t="t" r="r" b="b"/>
            <a:pathLst>
              <a:path w="1590675" h="533400">
                <a:moveTo>
                  <a:pt x="1501775" y="0"/>
                </a:moveTo>
                <a:lnTo>
                  <a:pt x="88900" y="0"/>
                </a:lnTo>
                <a:lnTo>
                  <a:pt x="54274" y="6996"/>
                </a:lnTo>
                <a:lnTo>
                  <a:pt x="26019" y="26066"/>
                </a:lnTo>
                <a:lnTo>
                  <a:pt x="6979" y="54328"/>
                </a:lnTo>
                <a:lnTo>
                  <a:pt x="0" y="88900"/>
                </a:lnTo>
                <a:lnTo>
                  <a:pt x="0" y="444423"/>
                </a:lnTo>
                <a:lnTo>
                  <a:pt x="6979" y="479018"/>
                </a:lnTo>
                <a:lnTo>
                  <a:pt x="26019" y="507268"/>
                </a:lnTo>
                <a:lnTo>
                  <a:pt x="54274" y="526314"/>
                </a:lnTo>
                <a:lnTo>
                  <a:pt x="88900" y="533298"/>
                </a:lnTo>
                <a:lnTo>
                  <a:pt x="1501775" y="533298"/>
                </a:lnTo>
                <a:lnTo>
                  <a:pt x="1536400" y="526314"/>
                </a:lnTo>
                <a:lnTo>
                  <a:pt x="1564655" y="507268"/>
                </a:lnTo>
                <a:lnTo>
                  <a:pt x="1583695" y="479018"/>
                </a:lnTo>
                <a:lnTo>
                  <a:pt x="1590675" y="444423"/>
                </a:lnTo>
                <a:lnTo>
                  <a:pt x="1590675" y="88900"/>
                </a:lnTo>
                <a:lnTo>
                  <a:pt x="1583695" y="54328"/>
                </a:lnTo>
                <a:lnTo>
                  <a:pt x="1564655" y="26066"/>
                </a:lnTo>
                <a:lnTo>
                  <a:pt x="1536400" y="6996"/>
                </a:lnTo>
                <a:lnTo>
                  <a:pt x="1501775" y="0"/>
                </a:lnTo>
                <a:close/>
              </a:path>
            </a:pathLst>
          </a:custGeom>
          <a:solidFill>
            <a:srgbClr val="0A41CD"/>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6" name="object 16"/>
          <p:cNvSpPr txBox="1"/>
          <p:nvPr/>
        </p:nvSpPr>
        <p:spPr>
          <a:xfrm>
            <a:off x="7824893" y="4675050"/>
            <a:ext cx="1493520" cy="676445"/>
          </a:xfrm>
          <a:prstGeom prst="rect">
            <a:avLst/>
          </a:prstGeom>
        </p:spPr>
        <p:txBody>
          <a:bodyPr vert="horz" wrap="square" lIns="0" tIns="34712" rIns="0" bIns="0" rtlCol="0">
            <a:spAutoFit/>
          </a:bodyPr>
          <a:lstStyle/>
          <a:p>
            <a:pPr marL="7620" marR="0" lvl="0" indent="0" algn="ctr" defTabSz="1219170" rtl="0" eaLnBrk="1" fontAlgn="auto" latinLnBrk="0" hangingPunct="1">
              <a:lnSpc>
                <a:spcPct val="100000"/>
              </a:lnSpc>
              <a:spcBef>
                <a:spcPts val="272"/>
              </a:spcBef>
              <a:spcAft>
                <a:spcPts val="0"/>
              </a:spcAft>
              <a:buClrTx/>
              <a:buSzTx/>
              <a:buFontTx/>
              <a:buNone/>
              <a:tabLst/>
              <a:defRPr/>
            </a:pPr>
            <a:r>
              <a:rPr kumimoji="0" sz="1467" b="1" i="1" u="none" strike="noStrike" kern="0" cap="none" spc="-13" normalizeH="0" baseline="0" noProof="0" dirty="0">
                <a:ln>
                  <a:noFill/>
                </a:ln>
                <a:solidFill>
                  <a:srgbClr val="FFFFFF"/>
                </a:solidFill>
                <a:effectLst/>
                <a:uLnTx/>
                <a:uFillTx/>
                <a:latin typeface="Arial"/>
                <a:ea typeface="+mn-ea"/>
                <a:cs typeface="Arial"/>
              </a:rPr>
              <a:t>R-GemOx</a:t>
            </a:r>
            <a:endParaRPr kumimoji="0" sz="1467" b="0" i="0" u="none" strike="noStrike" kern="0" cap="none" spc="0" normalizeH="0" baseline="0" noProof="0">
              <a:ln>
                <a:noFill/>
              </a:ln>
              <a:solidFill>
                <a:sysClr val="windowText" lastClr="000000"/>
              </a:solidFill>
              <a:effectLst/>
              <a:uLnTx/>
              <a:uFillTx/>
              <a:latin typeface="Arial"/>
              <a:ea typeface="+mn-ea"/>
              <a:cs typeface="Arial"/>
            </a:endParaRPr>
          </a:p>
          <a:p>
            <a:pPr marL="3387" marR="0" lvl="0" indent="0" algn="ctr" defTabSz="1219170" rtl="0" eaLnBrk="1" fontAlgn="auto" latinLnBrk="0" hangingPunct="1">
              <a:lnSpc>
                <a:spcPct val="100000"/>
              </a:lnSpc>
              <a:spcBef>
                <a:spcPts val="140"/>
              </a:spcBef>
              <a:spcAft>
                <a:spcPts val="0"/>
              </a:spcAft>
              <a:buClrTx/>
              <a:buSzTx/>
              <a:buFontTx/>
              <a:buNone/>
              <a:tabLst/>
              <a:defRPr/>
            </a:pPr>
            <a:r>
              <a:rPr kumimoji="0" sz="1267" b="0" i="1" u="none" strike="noStrike" kern="0" cap="none" spc="-13" normalizeH="0" baseline="0" noProof="0" dirty="0">
                <a:ln>
                  <a:noFill/>
                </a:ln>
                <a:solidFill>
                  <a:srgbClr val="FFFFFF"/>
                </a:solidFill>
                <a:effectLst/>
                <a:uLnTx/>
                <a:uFillTx/>
                <a:latin typeface="Arial"/>
                <a:ea typeface="+mn-ea"/>
                <a:cs typeface="Arial"/>
              </a:rPr>
              <a:t>n=126</a:t>
            </a:r>
            <a:endParaRPr kumimoji="0" sz="1267" b="0" i="0" u="none" strike="noStrike" kern="0" cap="none" spc="0" normalizeH="0" baseline="0" noProof="0">
              <a:ln>
                <a:noFill/>
              </a:ln>
              <a:solidFill>
                <a:sysClr val="windowText" lastClr="000000"/>
              </a:solidFill>
              <a:effectLst/>
              <a:uLnTx/>
              <a:uFillTx/>
              <a:latin typeface="Arial"/>
              <a:ea typeface="+mn-ea"/>
              <a:cs typeface="Arial"/>
            </a:endParaRPr>
          </a:p>
          <a:p>
            <a:pPr marL="0" marR="0" lvl="0" indent="0" algn="ctr" defTabSz="1219170" rtl="0" eaLnBrk="1" fontAlgn="auto" latinLnBrk="0" hangingPunct="1">
              <a:lnSpc>
                <a:spcPct val="100000"/>
              </a:lnSpc>
              <a:spcBef>
                <a:spcPts val="87"/>
              </a:spcBef>
              <a:spcAft>
                <a:spcPts val="0"/>
              </a:spcAft>
              <a:buClrTx/>
              <a:buSzTx/>
              <a:buFontTx/>
              <a:buNone/>
              <a:tabLst/>
              <a:defRPr/>
            </a:pPr>
            <a:r>
              <a:rPr kumimoji="0" sz="1267" b="0" i="1" u="none" strike="noStrike" kern="0" cap="none" spc="0" normalizeH="0" baseline="0" noProof="0" dirty="0">
                <a:ln>
                  <a:noFill/>
                </a:ln>
                <a:solidFill>
                  <a:srgbClr val="FFFFFF"/>
                </a:solidFill>
                <a:effectLst/>
                <a:uLnTx/>
                <a:uFillTx/>
                <a:latin typeface="Arial"/>
                <a:ea typeface="+mn-ea"/>
                <a:cs typeface="Arial"/>
              </a:rPr>
              <a:t>Q3W</a:t>
            </a:r>
            <a:r>
              <a:rPr kumimoji="0" sz="1267" b="0" i="1" u="none" strike="noStrike" kern="0" cap="none" spc="73" normalizeH="0" baseline="0" noProof="0" dirty="0">
                <a:ln>
                  <a:noFill/>
                </a:ln>
                <a:solidFill>
                  <a:srgbClr val="FFFFFF"/>
                </a:solidFill>
                <a:effectLst/>
                <a:uLnTx/>
                <a:uFillTx/>
                <a:latin typeface="Arial"/>
                <a:ea typeface="+mn-ea"/>
                <a:cs typeface="Arial"/>
              </a:rPr>
              <a:t> </a:t>
            </a:r>
            <a:r>
              <a:rPr kumimoji="0" sz="1267" b="0" i="1" u="none" strike="noStrike" kern="0" cap="none" spc="0" normalizeH="0" baseline="0" noProof="0" dirty="0">
                <a:ln>
                  <a:noFill/>
                </a:ln>
                <a:solidFill>
                  <a:srgbClr val="FFFFFF"/>
                </a:solidFill>
                <a:effectLst/>
                <a:uLnTx/>
                <a:uFillTx/>
                <a:latin typeface="Arial"/>
                <a:ea typeface="+mn-ea"/>
                <a:cs typeface="Arial"/>
              </a:rPr>
              <a:t>up</a:t>
            </a:r>
            <a:r>
              <a:rPr kumimoji="0" sz="1267" b="0" i="1" u="none" strike="noStrike" kern="0" cap="none" spc="80" normalizeH="0" baseline="0" noProof="0" dirty="0">
                <a:ln>
                  <a:noFill/>
                </a:ln>
                <a:solidFill>
                  <a:srgbClr val="FFFFFF"/>
                </a:solidFill>
                <a:effectLst/>
                <a:uLnTx/>
                <a:uFillTx/>
                <a:latin typeface="Arial"/>
                <a:ea typeface="+mn-ea"/>
                <a:cs typeface="Arial"/>
              </a:rPr>
              <a:t> </a:t>
            </a:r>
            <a:r>
              <a:rPr kumimoji="0" sz="1267" b="0" i="1" u="none" strike="noStrike" kern="0" cap="none" spc="0" normalizeH="0" baseline="0" noProof="0" dirty="0">
                <a:ln>
                  <a:noFill/>
                </a:ln>
                <a:solidFill>
                  <a:srgbClr val="FFFFFF"/>
                </a:solidFill>
                <a:effectLst/>
                <a:uLnTx/>
                <a:uFillTx/>
                <a:latin typeface="Arial"/>
                <a:ea typeface="+mn-ea"/>
                <a:cs typeface="Arial"/>
              </a:rPr>
              <a:t>to</a:t>
            </a:r>
            <a:r>
              <a:rPr kumimoji="0" sz="1267" b="0" i="1" u="none" strike="noStrike" kern="0" cap="none" spc="87" normalizeH="0" baseline="0" noProof="0" dirty="0">
                <a:ln>
                  <a:noFill/>
                </a:ln>
                <a:solidFill>
                  <a:srgbClr val="FFFFFF"/>
                </a:solidFill>
                <a:effectLst/>
                <a:uLnTx/>
                <a:uFillTx/>
                <a:latin typeface="Arial"/>
                <a:ea typeface="+mn-ea"/>
                <a:cs typeface="Arial"/>
              </a:rPr>
              <a:t> </a:t>
            </a:r>
            <a:r>
              <a:rPr kumimoji="0" sz="1267" b="0" i="1" u="none" strike="noStrike" kern="0" cap="none" spc="0" normalizeH="0" baseline="0" noProof="0" dirty="0">
                <a:ln>
                  <a:noFill/>
                </a:ln>
                <a:solidFill>
                  <a:srgbClr val="FFFFFF"/>
                </a:solidFill>
                <a:effectLst/>
                <a:uLnTx/>
                <a:uFillTx/>
                <a:latin typeface="Arial"/>
                <a:ea typeface="+mn-ea"/>
                <a:cs typeface="Arial"/>
              </a:rPr>
              <a:t>8</a:t>
            </a:r>
            <a:r>
              <a:rPr kumimoji="0" sz="1267" b="0" i="1" u="none" strike="noStrike" kern="0" cap="none" spc="87" normalizeH="0" baseline="0" noProof="0" dirty="0">
                <a:ln>
                  <a:noFill/>
                </a:ln>
                <a:solidFill>
                  <a:srgbClr val="FFFFFF"/>
                </a:solidFill>
                <a:effectLst/>
                <a:uLnTx/>
                <a:uFillTx/>
                <a:latin typeface="Arial"/>
                <a:ea typeface="+mn-ea"/>
                <a:cs typeface="Arial"/>
              </a:rPr>
              <a:t> </a:t>
            </a:r>
            <a:r>
              <a:rPr kumimoji="0" sz="1267" b="0" i="1" u="none" strike="noStrike" kern="0" cap="none" spc="-13" normalizeH="0" baseline="0" noProof="0" dirty="0">
                <a:ln>
                  <a:noFill/>
                </a:ln>
                <a:solidFill>
                  <a:srgbClr val="FFFFFF"/>
                </a:solidFill>
                <a:effectLst/>
                <a:uLnTx/>
                <a:uFillTx/>
                <a:latin typeface="Arial"/>
                <a:ea typeface="+mn-ea"/>
                <a:cs typeface="Arial"/>
              </a:rPr>
              <a:t>cycles</a:t>
            </a:r>
            <a:endParaRPr kumimoji="0" sz="1267" b="0" i="0" u="none" strike="noStrike" kern="0" cap="none" spc="0" normalizeH="0" baseline="0" noProof="0">
              <a:ln>
                <a:noFill/>
              </a:ln>
              <a:solidFill>
                <a:sysClr val="windowText" lastClr="000000"/>
              </a:solidFill>
              <a:effectLst/>
              <a:uLnTx/>
              <a:uFillTx/>
              <a:latin typeface="Arial"/>
              <a:ea typeface="+mn-ea"/>
              <a:cs typeface="Arial"/>
            </a:endParaRPr>
          </a:p>
        </p:txBody>
      </p:sp>
      <p:grpSp>
        <p:nvGrpSpPr>
          <p:cNvPr id="17" name="object 17"/>
          <p:cNvGrpSpPr/>
          <p:nvPr/>
        </p:nvGrpSpPr>
        <p:grpSpPr>
          <a:xfrm>
            <a:off x="5937165" y="4024713"/>
            <a:ext cx="1035473" cy="711200"/>
            <a:chOff x="4452873" y="3018535"/>
            <a:chExt cx="776605" cy="533400"/>
          </a:xfrm>
        </p:grpSpPr>
        <p:pic>
          <p:nvPicPr>
            <p:cNvPr id="18" name="object 18"/>
            <p:cNvPicPr/>
            <p:nvPr/>
          </p:nvPicPr>
          <p:blipFill>
            <a:blip r:embed="rId2" cstate="print"/>
            <a:stretch>
              <a:fillRect/>
            </a:stretch>
          </p:blipFill>
          <p:spPr>
            <a:xfrm>
              <a:off x="4452873" y="3251834"/>
              <a:ext cx="219455" cy="76072"/>
            </a:xfrm>
            <a:prstGeom prst="rect">
              <a:avLst/>
            </a:prstGeom>
          </p:spPr>
        </p:pic>
        <p:sp>
          <p:nvSpPr>
            <p:cNvPr id="19" name="object 19"/>
            <p:cNvSpPr/>
            <p:nvPr/>
          </p:nvSpPr>
          <p:spPr>
            <a:xfrm>
              <a:off x="4667249" y="3018535"/>
              <a:ext cx="561975" cy="533400"/>
            </a:xfrm>
            <a:custGeom>
              <a:avLst/>
              <a:gdLst/>
              <a:ahLst/>
              <a:cxnLst/>
              <a:rect l="l" t="t" r="r" b="b"/>
              <a:pathLst>
                <a:path w="561975" h="533400">
                  <a:moveTo>
                    <a:pt x="281050" y="0"/>
                  </a:moveTo>
                  <a:lnTo>
                    <a:pt x="230538" y="4295"/>
                  </a:lnTo>
                  <a:lnTo>
                    <a:pt x="182993" y="16681"/>
                  </a:lnTo>
                  <a:lnTo>
                    <a:pt x="139210" y="36401"/>
                  </a:lnTo>
                  <a:lnTo>
                    <a:pt x="99984" y="62704"/>
                  </a:lnTo>
                  <a:lnTo>
                    <a:pt x="66108" y="94836"/>
                  </a:lnTo>
                  <a:lnTo>
                    <a:pt x="38377" y="132042"/>
                  </a:lnTo>
                  <a:lnTo>
                    <a:pt x="17586" y="173569"/>
                  </a:lnTo>
                  <a:lnTo>
                    <a:pt x="4528" y="218664"/>
                  </a:lnTo>
                  <a:lnTo>
                    <a:pt x="0" y="266572"/>
                  </a:lnTo>
                  <a:lnTo>
                    <a:pt x="4528" y="314481"/>
                  </a:lnTo>
                  <a:lnTo>
                    <a:pt x="17586" y="359576"/>
                  </a:lnTo>
                  <a:lnTo>
                    <a:pt x="38377" y="401103"/>
                  </a:lnTo>
                  <a:lnTo>
                    <a:pt x="66108" y="438309"/>
                  </a:lnTo>
                  <a:lnTo>
                    <a:pt x="99984" y="470441"/>
                  </a:lnTo>
                  <a:lnTo>
                    <a:pt x="139210" y="496744"/>
                  </a:lnTo>
                  <a:lnTo>
                    <a:pt x="182993" y="516464"/>
                  </a:lnTo>
                  <a:lnTo>
                    <a:pt x="230538" y="528850"/>
                  </a:lnTo>
                  <a:lnTo>
                    <a:pt x="281050" y="533145"/>
                  </a:lnTo>
                  <a:lnTo>
                    <a:pt x="331525" y="528850"/>
                  </a:lnTo>
                  <a:lnTo>
                    <a:pt x="379040" y="516464"/>
                  </a:lnTo>
                  <a:lnTo>
                    <a:pt x="422801" y="496744"/>
                  </a:lnTo>
                  <a:lnTo>
                    <a:pt x="462012" y="470441"/>
                  </a:lnTo>
                  <a:lnTo>
                    <a:pt x="495877" y="438309"/>
                  </a:lnTo>
                  <a:lnTo>
                    <a:pt x="523602" y="401103"/>
                  </a:lnTo>
                  <a:lnTo>
                    <a:pt x="544390" y="359576"/>
                  </a:lnTo>
                  <a:lnTo>
                    <a:pt x="557446" y="314481"/>
                  </a:lnTo>
                  <a:lnTo>
                    <a:pt x="561975" y="266572"/>
                  </a:lnTo>
                  <a:lnTo>
                    <a:pt x="557446" y="218664"/>
                  </a:lnTo>
                  <a:lnTo>
                    <a:pt x="544390" y="173569"/>
                  </a:lnTo>
                  <a:lnTo>
                    <a:pt x="523602" y="132042"/>
                  </a:lnTo>
                  <a:lnTo>
                    <a:pt x="495877" y="94836"/>
                  </a:lnTo>
                  <a:lnTo>
                    <a:pt x="462012" y="62704"/>
                  </a:lnTo>
                  <a:lnTo>
                    <a:pt x="422801" y="36401"/>
                  </a:lnTo>
                  <a:lnTo>
                    <a:pt x="379040" y="16681"/>
                  </a:lnTo>
                  <a:lnTo>
                    <a:pt x="331525" y="4295"/>
                  </a:lnTo>
                  <a:lnTo>
                    <a:pt x="281050" y="0"/>
                  </a:lnTo>
                  <a:close/>
                </a:path>
              </a:pathLst>
            </a:custGeom>
            <a:solidFill>
              <a:srgbClr val="534F4F"/>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20" name="object 20"/>
          <p:cNvSpPr txBox="1"/>
          <p:nvPr/>
        </p:nvSpPr>
        <p:spPr>
          <a:xfrm>
            <a:off x="6444827" y="4126145"/>
            <a:ext cx="313267" cy="513816"/>
          </a:xfrm>
          <a:prstGeom prst="rect">
            <a:avLst/>
          </a:prstGeom>
        </p:spPr>
        <p:txBody>
          <a:bodyPr vert="horz" wrap="square" lIns="0" tIns="26247" rIns="0" bIns="0" rtlCol="0">
            <a:spAutoFit/>
          </a:bodyPr>
          <a:lstStyle/>
          <a:p>
            <a:pPr marL="16933" marR="6773" lvl="0" indent="67732" algn="l" defTabSz="1219170" rtl="0" eaLnBrk="1" fontAlgn="auto" latinLnBrk="0" hangingPunct="1">
              <a:lnSpc>
                <a:spcPts val="1907"/>
              </a:lnSpc>
              <a:spcBef>
                <a:spcPts val="207"/>
              </a:spcBef>
              <a:spcAft>
                <a:spcPts val="0"/>
              </a:spcAft>
              <a:buClrTx/>
              <a:buSzTx/>
              <a:buFontTx/>
              <a:buNone/>
              <a:tabLst/>
              <a:defRPr/>
            </a:pPr>
            <a:r>
              <a:rPr kumimoji="0" sz="1600" b="0" i="0" u="none" strike="noStrike" kern="0" cap="none" spc="-67" normalizeH="0" baseline="0" noProof="0" dirty="0">
                <a:ln>
                  <a:noFill/>
                </a:ln>
                <a:solidFill>
                  <a:srgbClr val="FFFFFF"/>
                </a:solidFill>
                <a:effectLst/>
                <a:uLnTx/>
                <a:uFillTx/>
                <a:latin typeface="Arial"/>
                <a:ea typeface="+mn-ea"/>
                <a:cs typeface="Arial"/>
              </a:rPr>
              <a:t>R </a:t>
            </a:r>
            <a:r>
              <a:rPr kumimoji="0" sz="1600" b="0" i="0" u="none" strike="noStrike" kern="0" cap="none" spc="-33" normalizeH="0" baseline="0" noProof="0" dirty="0">
                <a:ln>
                  <a:noFill/>
                </a:ln>
                <a:solidFill>
                  <a:srgbClr val="FFFFFF"/>
                </a:solidFill>
                <a:effectLst/>
                <a:uLnTx/>
                <a:uFillTx/>
                <a:latin typeface="Arial"/>
                <a:ea typeface="+mn-ea"/>
                <a:cs typeface="Arial"/>
              </a:rPr>
              <a:t>1:1</a:t>
            </a:r>
            <a:endParaRPr kumimoji="0" sz="16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21" name="object 21"/>
          <p:cNvSpPr txBox="1"/>
          <p:nvPr/>
        </p:nvSpPr>
        <p:spPr>
          <a:xfrm>
            <a:off x="3835740" y="4934036"/>
            <a:ext cx="2087033" cy="670398"/>
          </a:xfrm>
          <a:prstGeom prst="rect">
            <a:avLst/>
          </a:prstGeom>
        </p:spPr>
        <p:txBody>
          <a:bodyPr vert="horz" wrap="square" lIns="0" tIns="21167" rIns="0" bIns="0" rtlCol="0">
            <a:spAutoFit/>
          </a:bodyPr>
          <a:lstStyle/>
          <a:p>
            <a:pPr marL="16933" marR="0" lvl="0" indent="0" algn="l" defTabSz="1219170" rtl="0" eaLnBrk="1" fontAlgn="auto" latinLnBrk="0" hangingPunct="1">
              <a:lnSpc>
                <a:spcPct val="100000"/>
              </a:lnSpc>
              <a:spcBef>
                <a:spcPts val="167"/>
              </a:spcBef>
              <a:spcAft>
                <a:spcPts val="0"/>
              </a:spcAft>
              <a:buClrTx/>
              <a:buSzTx/>
              <a:buFontTx/>
              <a:buNone/>
              <a:tabLst/>
              <a:defRPr/>
            </a:pPr>
            <a:r>
              <a:rPr kumimoji="0" sz="1067" b="1" i="0" u="none" strike="noStrike" kern="0" cap="none" spc="-13" normalizeH="0" baseline="0" noProof="0" dirty="0">
                <a:ln>
                  <a:noFill/>
                </a:ln>
                <a:solidFill>
                  <a:sysClr val="windowText" lastClr="000000"/>
                </a:solidFill>
                <a:effectLst/>
                <a:uLnTx/>
                <a:uFillTx/>
                <a:latin typeface="Arial"/>
                <a:ea typeface="+mn-ea"/>
                <a:cs typeface="Arial"/>
              </a:rPr>
              <a:t>Stratification</a:t>
            </a:r>
            <a:r>
              <a:rPr kumimoji="0" sz="1067" b="1" i="0" u="none" strike="noStrike" kern="0" cap="none" spc="60" normalizeH="0" baseline="0" noProof="0" dirty="0">
                <a:ln>
                  <a:noFill/>
                </a:ln>
                <a:solidFill>
                  <a:sysClr val="windowText" lastClr="000000"/>
                </a:solidFill>
                <a:effectLst/>
                <a:uLnTx/>
                <a:uFillTx/>
                <a:latin typeface="Arial"/>
                <a:ea typeface="+mn-ea"/>
                <a:cs typeface="Arial"/>
              </a:rPr>
              <a:t> </a:t>
            </a:r>
            <a:r>
              <a:rPr kumimoji="0" sz="1067" b="1" i="0" u="none" strike="noStrike" kern="0" cap="none" spc="-13" normalizeH="0" baseline="0" noProof="0" dirty="0">
                <a:ln>
                  <a:noFill/>
                </a:ln>
                <a:solidFill>
                  <a:sysClr val="windowText" lastClr="000000"/>
                </a:solidFill>
                <a:effectLst/>
                <a:uLnTx/>
                <a:uFillTx/>
                <a:latin typeface="Arial"/>
                <a:ea typeface="+mn-ea"/>
                <a:cs typeface="Arial"/>
              </a:rPr>
              <a:t>Factors</a:t>
            </a:r>
            <a:endParaRPr kumimoji="0" sz="1067" b="0" i="0" u="none" strike="noStrike" kern="0" cap="none" spc="0" normalizeH="0" baseline="0" noProof="0">
              <a:ln>
                <a:noFill/>
              </a:ln>
              <a:solidFill>
                <a:sysClr val="windowText" lastClr="000000"/>
              </a:solidFill>
              <a:effectLst/>
              <a:uLnTx/>
              <a:uFillTx/>
              <a:latin typeface="Arial"/>
              <a:ea typeface="+mn-ea"/>
              <a:cs typeface="Arial"/>
            </a:endParaRPr>
          </a:p>
          <a:p>
            <a:pPr marL="253994" marR="0" lvl="0" indent="-167636" algn="l" defTabSz="1219170" rtl="0" eaLnBrk="1" fontAlgn="auto" latinLnBrk="0" hangingPunct="1">
              <a:lnSpc>
                <a:spcPts val="1240"/>
              </a:lnSpc>
              <a:spcBef>
                <a:spcPts val="20"/>
              </a:spcBef>
              <a:spcAft>
                <a:spcPts val="0"/>
              </a:spcAft>
              <a:buClr>
                <a:srgbClr val="0A41CD"/>
              </a:buClr>
              <a:buSzPct val="75000"/>
              <a:buFontTx/>
              <a:buChar char="●"/>
              <a:tabLst>
                <a:tab pos="253994" algn="l"/>
              </a:tabLst>
              <a:defRPr/>
            </a:pPr>
            <a:r>
              <a:rPr kumimoji="0" sz="1067" b="0" i="0" u="none" strike="noStrike" kern="0" cap="none" spc="0" normalizeH="0" baseline="0" noProof="0" dirty="0">
                <a:ln>
                  <a:noFill/>
                </a:ln>
                <a:solidFill>
                  <a:sysClr val="windowText" lastClr="000000"/>
                </a:solidFill>
                <a:effectLst/>
                <a:uLnTx/>
                <a:uFillTx/>
                <a:latin typeface="Arial"/>
                <a:ea typeface="+mn-ea"/>
                <a:cs typeface="Arial"/>
              </a:rPr>
              <a:t>Age</a:t>
            </a:r>
            <a:r>
              <a:rPr kumimoji="0" sz="1067" b="0" i="0" u="none" strike="noStrike" kern="0" cap="none" spc="-20" normalizeH="0" baseline="0" noProof="0" dirty="0">
                <a:ln>
                  <a:noFill/>
                </a:ln>
                <a:solidFill>
                  <a:sysClr val="windowText" lastClr="000000"/>
                </a:solidFill>
                <a:effectLst/>
                <a:uLnTx/>
                <a:uFillTx/>
                <a:latin typeface="Arial"/>
                <a:ea typeface="+mn-ea"/>
                <a:cs typeface="Arial"/>
              </a:rPr>
              <a:t> </a:t>
            </a:r>
            <a:r>
              <a:rPr kumimoji="0" sz="1067" b="0" i="0" u="none" strike="noStrike" kern="0" cap="none" spc="0" normalizeH="0" baseline="0" noProof="0" dirty="0">
                <a:ln>
                  <a:noFill/>
                </a:ln>
                <a:solidFill>
                  <a:sysClr val="windowText" lastClr="000000"/>
                </a:solidFill>
                <a:effectLst/>
                <a:uLnTx/>
                <a:uFillTx/>
                <a:latin typeface="Arial"/>
                <a:ea typeface="+mn-ea"/>
                <a:cs typeface="Arial"/>
              </a:rPr>
              <a:t>(≤70</a:t>
            </a:r>
            <a:r>
              <a:rPr kumimoji="0" sz="1067" b="0" i="0" u="none" strike="noStrike" kern="0" cap="none" spc="-20" normalizeH="0" baseline="0" noProof="0" dirty="0">
                <a:ln>
                  <a:noFill/>
                </a:ln>
                <a:solidFill>
                  <a:sysClr val="windowText" lastClr="000000"/>
                </a:solidFill>
                <a:effectLst/>
                <a:uLnTx/>
                <a:uFillTx/>
                <a:latin typeface="Arial"/>
                <a:ea typeface="+mn-ea"/>
                <a:cs typeface="Arial"/>
              </a:rPr>
              <a:t> </a:t>
            </a:r>
            <a:r>
              <a:rPr kumimoji="0" sz="1067" b="0" i="0" u="none" strike="noStrike" kern="0" cap="none" spc="0" normalizeH="0" baseline="0" noProof="0" dirty="0">
                <a:ln>
                  <a:noFill/>
                </a:ln>
                <a:solidFill>
                  <a:sysClr val="windowText" lastClr="000000"/>
                </a:solidFill>
                <a:effectLst/>
                <a:uLnTx/>
                <a:uFillTx/>
                <a:latin typeface="Arial"/>
                <a:ea typeface="+mn-ea"/>
                <a:cs typeface="Arial"/>
              </a:rPr>
              <a:t>vs</a:t>
            </a:r>
            <a:r>
              <a:rPr kumimoji="0" sz="1067" b="0" i="0" u="none" strike="noStrike" kern="0" cap="none" spc="-53" normalizeH="0" baseline="0" noProof="0" dirty="0">
                <a:ln>
                  <a:noFill/>
                </a:ln>
                <a:solidFill>
                  <a:sysClr val="windowText" lastClr="000000"/>
                </a:solidFill>
                <a:effectLst/>
                <a:uLnTx/>
                <a:uFillTx/>
                <a:latin typeface="Arial"/>
                <a:ea typeface="+mn-ea"/>
                <a:cs typeface="Arial"/>
              </a:rPr>
              <a:t> </a:t>
            </a:r>
            <a:r>
              <a:rPr kumimoji="0" sz="1067" b="0" i="0" u="none" strike="noStrike" kern="0" cap="none" spc="0" normalizeH="0" baseline="0" noProof="0" dirty="0">
                <a:ln>
                  <a:noFill/>
                </a:ln>
                <a:solidFill>
                  <a:sysClr val="windowText" lastClr="000000"/>
                </a:solidFill>
                <a:effectLst/>
                <a:uLnTx/>
                <a:uFillTx/>
                <a:latin typeface="Arial"/>
                <a:ea typeface="+mn-ea"/>
                <a:cs typeface="Arial"/>
              </a:rPr>
              <a:t>&gt;70</a:t>
            </a:r>
            <a:r>
              <a:rPr kumimoji="0" sz="1067" b="0" i="0" u="none" strike="noStrike" kern="0" cap="none" spc="-20" normalizeH="0" baseline="0" noProof="0" dirty="0">
                <a:ln>
                  <a:noFill/>
                </a:ln>
                <a:solidFill>
                  <a:sysClr val="windowText" lastClr="000000"/>
                </a:solidFill>
                <a:effectLst/>
                <a:uLnTx/>
                <a:uFillTx/>
                <a:latin typeface="Arial"/>
                <a:ea typeface="+mn-ea"/>
                <a:cs typeface="Arial"/>
              </a:rPr>
              <a:t> </a:t>
            </a:r>
            <a:r>
              <a:rPr kumimoji="0" sz="1067" b="0" i="0" u="none" strike="noStrike" kern="0" cap="none" spc="-13" normalizeH="0" baseline="0" noProof="0" dirty="0">
                <a:ln>
                  <a:noFill/>
                </a:ln>
                <a:solidFill>
                  <a:sysClr val="windowText" lastClr="000000"/>
                </a:solidFill>
                <a:effectLst/>
                <a:uLnTx/>
                <a:uFillTx/>
                <a:latin typeface="Arial"/>
                <a:ea typeface="+mn-ea"/>
                <a:cs typeface="Arial"/>
              </a:rPr>
              <a:t>years)</a:t>
            </a:r>
            <a:endParaRPr kumimoji="0" sz="1067" b="0" i="0" u="none" strike="noStrike" kern="0" cap="none" spc="0" normalizeH="0" baseline="0" noProof="0">
              <a:ln>
                <a:noFill/>
              </a:ln>
              <a:solidFill>
                <a:sysClr val="windowText" lastClr="000000"/>
              </a:solidFill>
              <a:effectLst/>
              <a:uLnTx/>
              <a:uFillTx/>
              <a:latin typeface="Arial"/>
              <a:ea typeface="+mn-ea"/>
              <a:cs typeface="Arial"/>
            </a:endParaRPr>
          </a:p>
          <a:p>
            <a:pPr marL="253994" marR="0" lvl="0" indent="-167636" algn="l" defTabSz="1219170" rtl="0" eaLnBrk="1" fontAlgn="auto" latinLnBrk="0" hangingPunct="1">
              <a:lnSpc>
                <a:spcPts val="1240"/>
              </a:lnSpc>
              <a:spcBef>
                <a:spcPts val="0"/>
              </a:spcBef>
              <a:spcAft>
                <a:spcPts val="0"/>
              </a:spcAft>
              <a:buClr>
                <a:srgbClr val="0A41CD"/>
              </a:buClr>
              <a:buSzPct val="75000"/>
              <a:buFontTx/>
              <a:buChar char="●"/>
              <a:tabLst>
                <a:tab pos="253994" algn="l"/>
              </a:tabLst>
              <a:defRPr/>
            </a:pPr>
            <a:r>
              <a:rPr kumimoji="0" sz="1067" b="0" i="0" u="none" strike="noStrike" kern="0" cap="none" spc="0" normalizeH="0" baseline="0" noProof="0" dirty="0">
                <a:ln>
                  <a:noFill/>
                </a:ln>
                <a:solidFill>
                  <a:sysClr val="windowText" lastClr="000000"/>
                </a:solidFill>
                <a:effectLst/>
                <a:uLnTx/>
                <a:uFillTx/>
                <a:latin typeface="Arial"/>
                <a:ea typeface="+mn-ea"/>
                <a:cs typeface="Arial"/>
              </a:rPr>
              <a:t>Prior</a:t>
            </a:r>
            <a:r>
              <a:rPr kumimoji="0" sz="1067" b="0" i="0" u="none" strike="noStrike" kern="0" cap="none" spc="27" normalizeH="0" baseline="0" noProof="0" dirty="0">
                <a:ln>
                  <a:noFill/>
                </a:ln>
                <a:solidFill>
                  <a:sysClr val="windowText" lastClr="000000"/>
                </a:solidFill>
                <a:effectLst/>
                <a:uLnTx/>
                <a:uFillTx/>
                <a:latin typeface="Arial"/>
                <a:ea typeface="+mn-ea"/>
                <a:cs typeface="Arial"/>
              </a:rPr>
              <a:t> </a:t>
            </a:r>
            <a:r>
              <a:rPr kumimoji="0" sz="1067" b="0" i="0" u="none" strike="noStrike" kern="0" cap="none" spc="0" normalizeH="0" baseline="0" noProof="0" dirty="0">
                <a:ln>
                  <a:noFill/>
                </a:ln>
                <a:solidFill>
                  <a:sysClr val="windowText" lastClr="000000"/>
                </a:solidFill>
                <a:effectLst/>
                <a:uLnTx/>
                <a:uFillTx/>
                <a:latin typeface="Arial"/>
                <a:ea typeface="+mn-ea"/>
                <a:cs typeface="Arial"/>
              </a:rPr>
              <a:t>lines</a:t>
            </a:r>
            <a:r>
              <a:rPr kumimoji="0" sz="1067" b="0" i="0" u="none" strike="noStrike" kern="0" cap="none" spc="33" normalizeH="0" baseline="0" noProof="0" dirty="0">
                <a:ln>
                  <a:noFill/>
                </a:ln>
                <a:solidFill>
                  <a:sysClr val="windowText" lastClr="000000"/>
                </a:solidFill>
                <a:effectLst/>
                <a:uLnTx/>
                <a:uFillTx/>
                <a:latin typeface="Arial"/>
                <a:ea typeface="+mn-ea"/>
                <a:cs typeface="Arial"/>
              </a:rPr>
              <a:t> </a:t>
            </a:r>
            <a:r>
              <a:rPr kumimoji="0" sz="1067" b="0" i="0" u="none" strike="noStrike" kern="0" cap="none" spc="0" normalizeH="0" baseline="0" noProof="0" dirty="0">
                <a:ln>
                  <a:noFill/>
                </a:ln>
                <a:solidFill>
                  <a:sysClr val="windowText" lastClr="000000"/>
                </a:solidFill>
                <a:effectLst/>
                <a:uLnTx/>
                <a:uFillTx/>
                <a:latin typeface="Arial"/>
                <a:ea typeface="+mn-ea"/>
                <a:cs typeface="Arial"/>
              </a:rPr>
              <a:t>of</a:t>
            </a:r>
            <a:r>
              <a:rPr kumimoji="0" sz="1067" b="0" i="0" u="none" strike="noStrike" kern="0" cap="none" spc="-7" normalizeH="0" baseline="0" noProof="0" dirty="0">
                <a:ln>
                  <a:noFill/>
                </a:ln>
                <a:solidFill>
                  <a:sysClr val="windowText" lastClr="000000"/>
                </a:solidFill>
                <a:effectLst/>
                <a:uLnTx/>
                <a:uFillTx/>
                <a:latin typeface="Arial"/>
                <a:ea typeface="+mn-ea"/>
                <a:cs typeface="Arial"/>
              </a:rPr>
              <a:t> </a:t>
            </a:r>
            <a:r>
              <a:rPr kumimoji="0" sz="1067" b="0" i="0" u="none" strike="noStrike" kern="0" cap="none" spc="-13" normalizeH="0" baseline="0" noProof="0" dirty="0">
                <a:ln>
                  <a:noFill/>
                </a:ln>
                <a:solidFill>
                  <a:sysClr val="windowText" lastClr="000000"/>
                </a:solidFill>
                <a:effectLst/>
                <a:uLnTx/>
                <a:uFillTx/>
                <a:latin typeface="Arial"/>
                <a:ea typeface="+mn-ea"/>
                <a:cs typeface="Arial"/>
              </a:rPr>
              <a:t>therapy</a:t>
            </a:r>
            <a:r>
              <a:rPr kumimoji="0" sz="1067" b="0" i="0" u="none" strike="noStrike" kern="0" cap="none" spc="-60" normalizeH="0" baseline="0" noProof="0" dirty="0">
                <a:ln>
                  <a:noFill/>
                </a:ln>
                <a:solidFill>
                  <a:sysClr val="windowText" lastClr="000000"/>
                </a:solidFill>
                <a:effectLst/>
                <a:uLnTx/>
                <a:uFillTx/>
                <a:latin typeface="Arial"/>
                <a:ea typeface="+mn-ea"/>
                <a:cs typeface="Arial"/>
              </a:rPr>
              <a:t> </a:t>
            </a:r>
            <a:r>
              <a:rPr kumimoji="0" sz="1067" b="0" i="0" u="none" strike="noStrike" kern="0" cap="none" spc="0" normalizeH="0" baseline="0" noProof="0" dirty="0">
                <a:ln>
                  <a:noFill/>
                </a:ln>
                <a:solidFill>
                  <a:sysClr val="windowText" lastClr="000000"/>
                </a:solidFill>
                <a:effectLst/>
                <a:uLnTx/>
                <a:uFillTx/>
                <a:latin typeface="Arial"/>
                <a:ea typeface="+mn-ea"/>
                <a:cs typeface="Arial"/>
              </a:rPr>
              <a:t>(1</a:t>
            </a:r>
            <a:r>
              <a:rPr kumimoji="0" sz="1067" b="0" i="0" u="none" strike="noStrike" kern="0" cap="none" spc="-20" normalizeH="0" baseline="0" noProof="0" dirty="0">
                <a:ln>
                  <a:noFill/>
                </a:ln>
                <a:solidFill>
                  <a:sysClr val="windowText" lastClr="000000"/>
                </a:solidFill>
                <a:effectLst/>
                <a:uLnTx/>
                <a:uFillTx/>
                <a:latin typeface="Arial"/>
                <a:ea typeface="+mn-ea"/>
                <a:cs typeface="Arial"/>
              </a:rPr>
              <a:t> </a:t>
            </a:r>
            <a:r>
              <a:rPr kumimoji="0" sz="1067" b="0" i="0" u="none" strike="noStrike" kern="0" cap="none" spc="0" normalizeH="0" baseline="0" noProof="0" dirty="0">
                <a:ln>
                  <a:noFill/>
                </a:ln>
                <a:solidFill>
                  <a:sysClr val="windowText" lastClr="000000"/>
                </a:solidFill>
                <a:effectLst/>
                <a:uLnTx/>
                <a:uFillTx/>
                <a:latin typeface="Arial"/>
                <a:ea typeface="+mn-ea"/>
                <a:cs typeface="Arial"/>
              </a:rPr>
              <a:t>vs</a:t>
            </a:r>
            <a:r>
              <a:rPr kumimoji="0" sz="1067" b="0" i="0" u="none" strike="noStrike" kern="0" cap="none" spc="40" normalizeH="0" baseline="0" noProof="0" dirty="0">
                <a:ln>
                  <a:noFill/>
                </a:ln>
                <a:solidFill>
                  <a:sysClr val="windowText" lastClr="000000"/>
                </a:solidFill>
                <a:effectLst/>
                <a:uLnTx/>
                <a:uFillTx/>
                <a:latin typeface="Arial"/>
                <a:ea typeface="+mn-ea"/>
                <a:cs typeface="Arial"/>
              </a:rPr>
              <a:t> </a:t>
            </a:r>
            <a:r>
              <a:rPr kumimoji="0" sz="1067" b="0" i="0" u="none" strike="noStrike" kern="0" cap="none" spc="-33" normalizeH="0" baseline="0" noProof="0" dirty="0">
                <a:ln>
                  <a:noFill/>
                </a:ln>
                <a:solidFill>
                  <a:sysClr val="windowText" lastClr="000000"/>
                </a:solidFill>
                <a:effectLst/>
                <a:uLnTx/>
                <a:uFillTx/>
                <a:latin typeface="Arial"/>
                <a:ea typeface="+mn-ea"/>
                <a:cs typeface="Arial"/>
              </a:rPr>
              <a:t>≥2)</a:t>
            </a:r>
            <a:endParaRPr kumimoji="0" sz="1067" b="0" i="0" u="none" strike="noStrike" kern="0" cap="none" spc="0" normalizeH="0" baseline="0" noProof="0">
              <a:ln>
                <a:noFill/>
              </a:ln>
              <a:solidFill>
                <a:sysClr val="windowText" lastClr="000000"/>
              </a:solidFill>
              <a:effectLst/>
              <a:uLnTx/>
              <a:uFillTx/>
              <a:latin typeface="Arial"/>
              <a:ea typeface="+mn-ea"/>
              <a:cs typeface="Arial"/>
            </a:endParaRPr>
          </a:p>
          <a:p>
            <a:pPr marL="253994" marR="0" lvl="0" indent="-167636" algn="l" defTabSz="1219170" rtl="0" eaLnBrk="1" fontAlgn="auto" latinLnBrk="0" hangingPunct="1">
              <a:lnSpc>
                <a:spcPct val="100000"/>
              </a:lnSpc>
              <a:spcBef>
                <a:spcPts val="127"/>
              </a:spcBef>
              <a:spcAft>
                <a:spcPts val="0"/>
              </a:spcAft>
              <a:buClr>
                <a:srgbClr val="0A41CD"/>
              </a:buClr>
              <a:buSzPct val="75000"/>
              <a:buFontTx/>
              <a:buChar char="●"/>
              <a:tabLst>
                <a:tab pos="253994" algn="l"/>
              </a:tabLst>
              <a:defRPr/>
            </a:pPr>
            <a:r>
              <a:rPr kumimoji="0" sz="1067" b="0" i="0" u="none" strike="noStrike" kern="0" cap="none" spc="-13" normalizeH="0" baseline="0" noProof="0" dirty="0">
                <a:ln>
                  <a:noFill/>
                </a:ln>
                <a:solidFill>
                  <a:sysClr val="windowText" lastClr="000000"/>
                </a:solidFill>
                <a:effectLst/>
                <a:uLnTx/>
                <a:uFillTx/>
                <a:latin typeface="Arial"/>
                <a:ea typeface="+mn-ea"/>
                <a:cs typeface="Arial"/>
              </a:rPr>
              <a:t>Relapsed</a:t>
            </a:r>
            <a:r>
              <a:rPr kumimoji="0" sz="1067" b="0" i="0" u="none" strike="noStrike" kern="0" cap="none" spc="40" normalizeH="0" baseline="0" noProof="0" dirty="0">
                <a:ln>
                  <a:noFill/>
                </a:ln>
                <a:solidFill>
                  <a:sysClr val="windowText" lastClr="000000"/>
                </a:solidFill>
                <a:effectLst/>
                <a:uLnTx/>
                <a:uFillTx/>
                <a:latin typeface="Arial"/>
                <a:ea typeface="+mn-ea"/>
                <a:cs typeface="Arial"/>
              </a:rPr>
              <a:t> </a:t>
            </a:r>
            <a:r>
              <a:rPr kumimoji="0" sz="1067" b="0" i="0" u="none" strike="noStrike" kern="0" cap="none" spc="0" normalizeH="0" baseline="0" noProof="0" dirty="0">
                <a:ln>
                  <a:noFill/>
                </a:ln>
                <a:solidFill>
                  <a:sysClr val="windowText" lastClr="000000"/>
                </a:solidFill>
                <a:effectLst/>
                <a:uLnTx/>
                <a:uFillTx/>
                <a:latin typeface="Arial"/>
                <a:ea typeface="+mn-ea"/>
                <a:cs typeface="Arial"/>
              </a:rPr>
              <a:t>vs</a:t>
            </a:r>
            <a:r>
              <a:rPr kumimoji="0" sz="1067" b="0" i="0" u="none" strike="noStrike" kern="0" cap="none" spc="7" normalizeH="0" baseline="0" noProof="0" dirty="0">
                <a:ln>
                  <a:noFill/>
                </a:ln>
                <a:solidFill>
                  <a:sysClr val="windowText" lastClr="000000"/>
                </a:solidFill>
                <a:effectLst/>
                <a:uLnTx/>
                <a:uFillTx/>
                <a:latin typeface="Arial"/>
                <a:ea typeface="+mn-ea"/>
                <a:cs typeface="Arial"/>
              </a:rPr>
              <a:t> </a:t>
            </a:r>
            <a:r>
              <a:rPr kumimoji="0" sz="1067" b="0" i="0" u="none" strike="noStrike" kern="0" cap="none" spc="-13" normalizeH="0" baseline="0" noProof="0" dirty="0">
                <a:ln>
                  <a:noFill/>
                </a:ln>
                <a:solidFill>
                  <a:sysClr val="windowText" lastClr="000000"/>
                </a:solidFill>
                <a:effectLst/>
                <a:uLnTx/>
                <a:uFillTx/>
                <a:latin typeface="Arial"/>
                <a:ea typeface="+mn-ea"/>
                <a:cs typeface="Arial"/>
              </a:rPr>
              <a:t>refractory</a:t>
            </a:r>
            <a:endParaRPr kumimoji="0" sz="1067"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22" name="object 22"/>
          <p:cNvSpPr/>
          <p:nvPr/>
        </p:nvSpPr>
        <p:spPr>
          <a:xfrm>
            <a:off x="381001" y="2158322"/>
            <a:ext cx="2933700" cy="2920153"/>
          </a:xfrm>
          <a:custGeom>
            <a:avLst/>
            <a:gdLst/>
            <a:ahLst/>
            <a:cxnLst/>
            <a:rect l="l" t="t" r="r" b="b"/>
            <a:pathLst>
              <a:path w="2200275" h="2190115">
                <a:moveTo>
                  <a:pt x="1970151" y="0"/>
                </a:moveTo>
                <a:lnTo>
                  <a:pt x="230073" y="0"/>
                </a:lnTo>
                <a:lnTo>
                  <a:pt x="183706" y="4673"/>
                </a:lnTo>
                <a:lnTo>
                  <a:pt x="140519" y="18077"/>
                </a:lnTo>
                <a:lnTo>
                  <a:pt x="101438" y="39286"/>
                </a:lnTo>
                <a:lnTo>
                  <a:pt x="67387" y="67373"/>
                </a:lnTo>
                <a:lnTo>
                  <a:pt x="39293" y="101413"/>
                </a:lnTo>
                <a:lnTo>
                  <a:pt x="18080" y="140481"/>
                </a:lnTo>
                <a:lnTo>
                  <a:pt x="4674" y="183651"/>
                </a:lnTo>
                <a:lnTo>
                  <a:pt x="0" y="229997"/>
                </a:lnTo>
                <a:lnTo>
                  <a:pt x="0" y="1960118"/>
                </a:lnTo>
                <a:lnTo>
                  <a:pt x="4674" y="2006463"/>
                </a:lnTo>
                <a:lnTo>
                  <a:pt x="18080" y="2049633"/>
                </a:lnTo>
                <a:lnTo>
                  <a:pt x="39293" y="2088701"/>
                </a:lnTo>
                <a:lnTo>
                  <a:pt x="67387" y="2122741"/>
                </a:lnTo>
                <a:lnTo>
                  <a:pt x="101438" y="2150828"/>
                </a:lnTo>
                <a:lnTo>
                  <a:pt x="140519" y="2172037"/>
                </a:lnTo>
                <a:lnTo>
                  <a:pt x="183706" y="2185441"/>
                </a:lnTo>
                <a:lnTo>
                  <a:pt x="230073" y="2190115"/>
                </a:lnTo>
                <a:lnTo>
                  <a:pt x="1970151" y="2190115"/>
                </a:lnTo>
                <a:lnTo>
                  <a:pt x="2016538" y="2185441"/>
                </a:lnTo>
                <a:lnTo>
                  <a:pt x="2059739" y="2172037"/>
                </a:lnTo>
                <a:lnTo>
                  <a:pt x="2098830" y="2150828"/>
                </a:lnTo>
                <a:lnTo>
                  <a:pt x="2132885" y="2122741"/>
                </a:lnTo>
                <a:lnTo>
                  <a:pt x="2160982" y="2088701"/>
                </a:lnTo>
                <a:lnTo>
                  <a:pt x="2182195" y="2049633"/>
                </a:lnTo>
                <a:lnTo>
                  <a:pt x="2195601" y="2006463"/>
                </a:lnTo>
                <a:lnTo>
                  <a:pt x="2200275" y="1960118"/>
                </a:lnTo>
                <a:lnTo>
                  <a:pt x="2200275" y="229997"/>
                </a:lnTo>
                <a:lnTo>
                  <a:pt x="2195601" y="183651"/>
                </a:lnTo>
                <a:lnTo>
                  <a:pt x="2182195" y="140481"/>
                </a:lnTo>
                <a:lnTo>
                  <a:pt x="2160982" y="101413"/>
                </a:lnTo>
                <a:lnTo>
                  <a:pt x="2132885" y="67373"/>
                </a:lnTo>
                <a:lnTo>
                  <a:pt x="2098830" y="39286"/>
                </a:lnTo>
                <a:lnTo>
                  <a:pt x="2059739" y="18077"/>
                </a:lnTo>
                <a:lnTo>
                  <a:pt x="2016538" y="4673"/>
                </a:lnTo>
                <a:lnTo>
                  <a:pt x="1970151" y="0"/>
                </a:lnTo>
                <a:close/>
              </a:path>
            </a:pathLst>
          </a:custGeom>
          <a:solidFill>
            <a:srgbClr val="DDDBDB"/>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3" name="object 23"/>
          <p:cNvSpPr txBox="1"/>
          <p:nvPr/>
        </p:nvSpPr>
        <p:spPr>
          <a:xfrm>
            <a:off x="581237" y="2477770"/>
            <a:ext cx="2085340" cy="263320"/>
          </a:xfrm>
          <a:prstGeom prst="rect">
            <a:avLst/>
          </a:prstGeom>
        </p:spPr>
        <p:txBody>
          <a:bodyPr vert="horz" wrap="square" lIns="0" tIns="16933" rIns="0" bIns="0" rtlCol="0">
            <a:spAutoFit/>
          </a:bodyPr>
          <a:lstStyle/>
          <a:p>
            <a:pPr marL="16933" marR="0" lvl="0" indent="0" algn="l" defTabSz="1219170" rtl="0" eaLnBrk="1" fontAlgn="auto" latinLnBrk="0" hangingPunct="1">
              <a:lnSpc>
                <a:spcPct val="100000"/>
              </a:lnSpc>
              <a:spcBef>
                <a:spcPts val="133"/>
              </a:spcBef>
              <a:spcAft>
                <a:spcPts val="0"/>
              </a:spcAft>
              <a:buClrTx/>
              <a:buSzTx/>
              <a:buFontTx/>
              <a:buNone/>
              <a:tabLst/>
              <a:defRPr/>
            </a:pPr>
            <a:r>
              <a:rPr kumimoji="0" sz="1600" b="1" i="0" u="none" strike="noStrike" kern="0" cap="none" spc="0" normalizeH="0" baseline="0" noProof="0" dirty="0">
                <a:ln>
                  <a:noFill/>
                </a:ln>
                <a:solidFill>
                  <a:sysClr val="windowText" lastClr="000000"/>
                </a:solidFill>
                <a:effectLst/>
                <a:uLnTx/>
                <a:uFillTx/>
                <a:latin typeface="Arial"/>
                <a:ea typeface="+mn-ea"/>
                <a:cs typeface="Arial"/>
              </a:rPr>
              <a:t>Key</a:t>
            </a:r>
            <a:r>
              <a:rPr kumimoji="0" sz="1600" b="1" i="0" u="none" strike="noStrike" kern="0" cap="none" spc="13" normalizeH="0" baseline="0" noProof="0" dirty="0">
                <a:ln>
                  <a:noFill/>
                </a:ln>
                <a:solidFill>
                  <a:sysClr val="windowText" lastClr="000000"/>
                </a:solidFill>
                <a:effectLst/>
                <a:uLnTx/>
                <a:uFillTx/>
                <a:latin typeface="Arial"/>
                <a:ea typeface="+mn-ea"/>
                <a:cs typeface="Arial"/>
              </a:rPr>
              <a:t> </a:t>
            </a:r>
            <a:r>
              <a:rPr kumimoji="0" sz="1600" b="1" i="0" u="none" strike="noStrike" kern="0" cap="none" spc="0" normalizeH="0" baseline="0" noProof="0" dirty="0">
                <a:ln>
                  <a:noFill/>
                </a:ln>
                <a:solidFill>
                  <a:sysClr val="windowText" lastClr="000000"/>
                </a:solidFill>
                <a:effectLst/>
                <a:uLnTx/>
                <a:uFillTx/>
                <a:latin typeface="Arial"/>
                <a:ea typeface="+mn-ea"/>
                <a:cs typeface="Arial"/>
              </a:rPr>
              <a:t>eligibility</a:t>
            </a:r>
            <a:r>
              <a:rPr kumimoji="0" sz="1600" b="1" i="0" u="none" strike="noStrike" kern="0" cap="none" spc="-80" normalizeH="0" baseline="0" noProof="0" dirty="0">
                <a:ln>
                  <a:noFill/>
                </a:ln>
                <a:solidFill>
                  <a:sysClr val="windowText" lastClr="000000"/>
                </a:solidFill>
                <a:effectLst/>
                <a:uLnTx/>
                <a:uFillTx/>
                <a:latin typeface="Arial"/>
                <a:ea typeface="+mn-ea"/>
                <a:cs typeface="Arial"/>
              </a:rPr>
              <a:t> </a:t>
            </a:r>
            <a:r>
              <a:rPr kumimoji="0" sz="1600" b="1" i="0" u="none" strike="noStrike" kern="0" cap="none" spc="-13" normalizeH="0" baseline="0" noProof="0" dirty="0">
                <a:ln>
                  <a:noFill/>
                </a:ln>
                <a:solidFill>
                  <a:sysClr val="windowText" lastClr="000000"/>
                </a:solidFill>
                <a:effectLst/>
                <a:uLnTx/>
                <a:uFillTx/>
                <a:latin typeface="Arial"/>
                <a:ea typeface="+mn-ea"/>
                <a:cs typeface="Arial"/>
              </a:rPr>
              <a:t>criteria</a:t>
            </a:r>
            <a:endParaRPr kumimoji="0" sz="16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24" name="object 24"/>
          <p:cNvSpPr txBox="1"/>
          <p:nvPr/>
        </p:nvSpPr>
        <p:spPr>
          <a:xfrm>
            <a:off x="608754" y="2910501"/>
            <a:ext cx="2484967" cy="716905"/>
          </a:xfrm>
          <a:prstGeom prst="rect">
            <a:avLst/>
          </a:prstGeom>
        </p:spPr>
        <p:txBody>
          <a:bodyPr vert="horz" wrap="square" lIns="0" tIns="22013" rIns="0" bIns="0" rtlCol="0">
            <a:spAutoFit/>
          </a:bodyPr>
          <a:lstStyle/>
          <a:p>
            <a:pPr marL="241294" marR="6773" lvl="0" indent="-224361" algn="just" defTabSz="1219170" rtl="0" eaLnBrk="1" fontAlgn="auto" latinLnBrk="0" hangingPunct="1">
              <a:lnSpc>
                <a:spcPct val="105300"/>
              </a:lnSpc>
              <a:spcBef>
                <a:spcPts val="173"/>
              </a:spcBef>
              <a:spcAft>
                <a:spcPts val="0"/>
              </a:spcAft>
              <a:buClr>
                <a:srgbClr val="0A41CD"/>
              </a:buClr>
              <a:buSzTx/>
              <a:buFontTx/>
              <a:buChar char="•"/>
              <a:tabLst>
                <a:tab pos="245527" algn="l"/>
              </a:tabLst>
              <a:defRPr/>
            </a:pPr>
            <a:r>
              <a:rPr kumimoji="0" sz="1467" b="0" i="0" u="none" strike="noStrike" kern="0" cap="none" spc="0" normalizeH="0" baseline="0" noProof="0" dirty="0">
                <a:ln>
                  <a:noFill/>
                </a:ln>
                <a:solidFill>
                  <a:sysClr val="windowText" lastClr="000000"/>
                </a:solidFill>
                <a:effectLst/>
                <a:uLnTx/>
                <a:uFillTx/>
                <a:latin typeface="Arial"/>
                <a:ea typeface="+mn-ea"/>
                <a:cs typeface="Arial"/>
              </a:rPr>
              <a:t>DLBCL,</a:t>
            </a:r>
            <a:r>
              <a:rPr kumimoji="0" sz="1467" b="0" i="0" u="none" strike="noStrike" kern="0" cap="none" spc="207" normalizeH="0" baseline="0" noProof="0" dirty="0">
                <a:ln>
                  <a:noFill/>
                </a:ln>
                <a:solidFill>
                  <a:sysClr val="windowText" lastClr="000000"/>
                </a:solidFill>
                <a:effectLst/>
                <a:uLnTx/>
                <a:uFillTx/>
                <a:latin typeface="Arial"/>
                <a:ea typeface="+mn-ea"/>
                <a:cs typeface="Arial"/>
              </a:rPr>
              <a:t> </a:t>
            </a:r>
            <a:r>
              <a:rPr kumimoji="0" sz="1467" b="0" i="0" u="none" strike="noStrike" kern="0" cap="none" spc="0" normalizeH="0" baseline="0" noProof="0" dirty="0">
                <a:ln>
                  <a:noFill/>
                </a:ln>
                <a:solidFill>
                  <a:sysClr val="windowText" lastClr="000000"/>
                </a:solidFill>
                <a:effectLst/>
                <a:uLnTx/>
                <a:uFillTx/>
                <a:latin typeface="Arial"/>
                <a:ea typeface="+mn-ea"/>
                <a:cs typeface="Arial"/>
              </a:rPr>
              <a:t>NOS</a:t>
            </a:r>
            <a:r>
              <a:rPr kumimoji="0" sz="1467" b="0" i="0" u="none" strike="noStrike" kern="0" cap="none" spc="100" normalizeH="0" baseline="0" noProof="0" dirty="0">
                <a:ln>
                  <a:noFill/>
                </a:ln>
                <a:solidFill>
                  <a:sysClr val="windowText" lastClr="000000"/>
                </a:solidFill>
                <a:effectLst/>
                <a:uLnTx/>
                <a:uFillTx/>
                <a:latin typeface="Arial"/>
                <a:ea typeface="+mn-ea"/>
                <a:cs typeface="Arial"/>
              </a:rPr>
              <a:t> </a:t>
            </a:r>
            <a:r>
              <a:rPr kumimoji="0" sz="1467" b="0" i="0" u="none" strike="noStrike" kern="0" cap="none" spc="0" normalizeH="0" baseline="0" noProof="0" dirty="0">
                <a:ln>
                  <a:noFill/>
                </a:ln>
                <a:solidFill>
                  <a:sysClr val="windowText" lastClr="000000"/>
                </a:solidFill>
                <a:effectLst/>
                <a:uLnTx/>
                <a:uFillTx/>
                <a:latin typeface="Arial"/>
                <a:ea typeface="+mn-ea"/>
                <a:cs typeface="Arial"/>
              </a:rPr>
              <a:t>or</a:t>
            </a:r>
            <a:r>
              <a:rPr kumimoji="0" sz="1467" b="0" i="0" u="none" strike="noStrike" kern="0" cap="none" spc="100" normalizeH="0" baseline="0" noProof="0" dirty="0">
                <a:ln>
                  <a:noFill/>
                </a:ln>
                <a:solidFill>
                  <a:sysClr val="windowText" lastClr="000000"/>
                </a:solidFill>
                <a:effectLst/>
                <a:uLnTx/>
                <a:uFillTx/>
                <a:latin typeface="Arial"/>
                <a:ea typeface="+mn-ea"/>
                <a:cs typeface="Arial"/>
              </a:rPr>
              <a:t> </a:t>
            </a:r>
            <a:r>
              <a:rPr kumimoji="0" sz="1467" b="0" i="0" u="none" strike="noStrike" kern="0" cap="none" spc="0" normalizeH="0" baseline="0" noProof="0" dirty="0">
                <a:ln>
                  <a:noFill/>
                </a:ln>
                <a:solidFill>
                  <a:sysClr val="windowText" lastClr="000000"/>
                </a:solidFill>
                <a:effectLst/>
                <a:uLnTx/>
                <a:uFillTx/>
                <a:latin typeface="Arial"/>
                <a:ea typeface="+mn-ea"/>
                <a:cs typeface="Arial"/>
              </a:rPr>
              <a:t>history</a:t>
            </a:r>
            <a:r>
              <a:rPr kumimoji="0" sz="1467" b="0" i="0" u="none" strike="noStrike" kern="0" cap="none" spc="167" normalizeH="0" baseline="0" noProof="0" dirty="0">
                <a:ln>
                  <a:noFill/>
                </a:ln>
                <a:solidFill>
                  <a:sysClr val="windowText" lastClr="000000"/>
                </a:solidFill>
                <a:effectLst/>
                <a:uLnTx/>
                <a:uFillTx/>
                <a:latin typeface="Arial"/>
                <a:ea typeface="+mn-ea"/>
                <a:cs typeface="Arial"/>
              </a:rPr>
              <a:t> </a:t>
            </a:r>
            <a:r>
              <a:rPr kumimoji="0" sz="1467" b="0" i="0" u="none" strike="noStrike" kern="0" cap="none" spc="-33" normalizeH="0" baseline="0" noProof="0" dirty="0">
                <a:ln>
                  <a:noFill/>
                </a:ln>
                <a:solidFill>
                  <a:sysClr val="windowText" lastClr="000000"/>
                </a:solidFill>
                <a:effectLst/>
                <a:uLnTx/>
                <a:uFillTx/>
                <a:latin typeface="Arial"/>
                <a:ea typeface="+mn-ea"/>
                <a:cs typeface="Arial"/>
              </a:rPr>
              <a:t>of 	</a:t>
            </a:r>
            <a:r>
              <a:rPr kumimoji="0" sz="1467" b="0" i="0" u="none" strike="noStrike" kern="0" cap="none" spc="0" normalizeH="0" baseline="0" noProof="0" dirty="0">
                <a:ln>
                  <a:noFill/>
                </a:ln>
                <a:solidFill>
                  <a:sysClr val="windowText" lastClr="000000"/>
                </a:solidFill>
                <a:effectLst/>
                <a:uLnTx/>
                <a:uFillTx/>
                <a:latin typeface="Arial"/>
                <a:ea typeface="+mn-ea"/>
                <a:cs typeface="Arial"/>
              </a:rPr>
              <a:t>transformation</a:t>
            </a:r>
            <a:r>
              <a:rPr kumimoji="0" sz="1467" b="0" i="0" u="none" strike="noStrike" kern="0" cap="none" spc="240" normalizeH="0" baseline="0" noProof="0" dirty="0">
                <a:ln>
                  <a:noFill/>
                </a:ln>
                <a:solidFill>
                  <a:sysClr val="windowText" lastClr="000000"/>
                </a:solidFill>
                <a:effectLst/>
                <a:uLnTx/>
                <a:uFillTx/>
                <a:latin typeface="Arial"/>
                <a:ea typeface="+mn-ea"/>
                <a:cs typeface="Arial"/>
              </a:rPr>
              <a:t> </a:t>
            </a:r>
            <a:r>
              <a:rPr kumimoji="0" sz="1467" b="0" i="0" u="none" strike="noStrike" kern="0" cap="none" spc="0" normalizeH="0" baseline="0" noProof="0" dirty="0">
                <a:ln>
                  <a:noFill/>
                </a:ln>
                <a:solidFill>
                  <a:sysClr val="windowText" lastClr="000000"/>
                </a:solidFill>
                <a:effectLst/>
                <a:uLnTx/>
                <a:uFillTx/>
                <a:latin typeface="Arial"/>
                <a:ea typeface="+mn-ea"/>
                <a:cs typeface="Arial"/>
              </a:rPr>
              <a:t>of</a:t>
            </a:r>
            <a:r>
              <a:rPr kumimoji="0" sz="1467" b="0" i="0" u="none" strike="noStrike" kern="0" cap="none" spc="272" normalizeH="0" baseline="0" noProof="0" dirty="0">
                <a:ln>
                  <a:noFill/>
                </a:ln>
                <a:solidFill>
                  <a:sysClr val="windowText" lastClr="000000"/>
                </a:solidFill>
                <a:effectLst/>
                <a:uLnTx/>
                <a:uFillTx/>
                <a:latin typeface="Arial"/>
                <a:ea typeface="+mn-ea"/>
                <a:cs typeface="Arial"/>
              </a:rPr>
              <a:t> </a:t>
            </a:r>
            <a:r>
              <a:rPr kumimoji="0" sz="1467" b="0" i="0" u="none" strike="noStrike" kern="0" cap="none" spc="-13" normalizeH="0" baseline="0" noProof="0" dirty="0">
                <a:ln>
                  <a:noFill/>
                </a:ln>
                <a:solidFill>
                  <a:sysClr val="windowText" lastClr="000000"/>
                </a:solidFill>
                <a:effectLst/>
                <a:uLnTx/>
                <a:uFillTx/>
                <a:latin typeface="Arial"/>
                <a:ea typeface="+mn-ea"/>
                <a:cs typeface="Arial"/>
              </a:rPr>
              <a:t>indolent 	</a:t>
            </a:r>
            <a:r>
              <a:rPr kumimoji="0" sz="1467" b="0" i="0" u="none" strike="noStrike" kern="0" cap="none" spc="0" normalizeH="0" baseline="0" noProof="0" dirty="0">
                <a:ln>
                  <a:noFill/>
                </a:ln>
                <a:solidFill>
                  <a:sysClr val="windowText" lastClr="000000"/>
                </a:solidFill>
                <a:effectLst/>
                <a:uLnTx/>
                <a:uFillTx/>
                <a:latin typeface="Arial"/>
                <a:ea typeface="+mn-ea"/>
                <a:cs typeface="Arial"/>
              </a:rPr>
              <a:t>disease</a:t>
            </a:r>
            <a:r>
              <a:rPr kumimoji="0" sz="1467" b="0" i="0" u="none" strike="noStrike" kern="0" cap="none" spc="120" normalizeH="0" baseline="0" noProof="0" dirty="0">
                <a:ln>
                  <a:noFill/>
                </a:ln>
                <a:solidFill>
                  <a:sysClr val="windowText" lastClr="000000"/>
                </a:solidFill>
                <a:effectLst/>
                <a:uLnTx/>
                <a:uFillTx/>
                <a:latin typeface="Arial"/>
                <a:ea typeface="+mn-ea"/>
                <a:cs typeface="Arial"/>
              </a:rPr>
              <a:t> </a:t>
            </a:r>
            <a:r>
              <a:rPr kumimoji="0" sz="1467" b="0" i="0" u="none" strike="noStrike" kern="0" cap="none" spc="0" normalizeH="0" baseline="0" noProof="0" dirty="0">
                <a:ln>
                  <a:noFill/>
                </a:ln>
                <a:solidFill>
                  <a:sysClr val="windowText" lastClr="000000"/>
                </a:solidFill>
                <a:effectLst/>
                <a:uLnTx/>
                <a:uFillTx/>
                <a:latin typeface="Arial"/>
                <a:ea typeface="+mn-ea"/>
                <a:cs typeface="Arial"/>
              </a:rPr>
              <a:t>to</a:t>
            </a:r>
            <a:r>
              <a:rPr kumimoji="0" sz="1467" b="0" i="0" u="none" strike="noStrike" kern="0" cap="none" spc="127" normalizeH="0" baseline="0" noProof="0" dirty="0">
                <a:ln>
                  <a:noFill/>
                </a:ln>
                <a:solidFill>
                  <a:sysClr val="windowText" lastClr="000000"/>
                </a:solidFill>
                <a:effectLst/>
                <a:uLnTx/>
                <a:uFillTx/>
                <a:latin typeface="Arial"/>
                <a:ea typeface="+mn-ea"/>
                <a:cs typeface="Arial"/>
              </a:rPr>
              <a:t> </a:t>
            </a:r>
            <a:r>
              <a:rPr kumimoji="0" sz="1467" b="0" i="0" u="none" strike="noStrike" kern="0" cap="none" spc="-27" normalizeH="0" baseline="0" noProof="0" dirty="0">
                <a:ln>
                  <a:noFill/>
                </a:ln>
                <a:solidFill>
                  <a:sysClr val="windowText" lastClr="000000"/>
                </a:solidFill>
                <a:effectLst/>
                <a:uLnTx/>
                <a:uFillTx/>
                <a:latin typeface="Arial"/>
                <a:ea typeface="+mn-ea"/>
                <a:cs typeface="Arial"/>
              </a:rPr>
              <a:t>DLBCL</a:t>
            </a:r>
            <a:endParaRPr kumimoji="0" sz="1467"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25" name="object 25"/>
          <p:cNvSpPr txBox="1"/>
          <p:nvPr/>
        </p:nvSpPr>
        <p:spPr>
          <a:xfrm>
            <a:off x="608754" y="3813641"/>
            <a:ext cx="2378285" cy="498556"/>
          </a:xfrm>
          <a:prstGeom prst="rect">
            <a:avLst/>
          </a:prstGeom>
        </p:spPr>
        <p:txBody>
          <a:bodyPr vert="horz" wrap="square" lIns="0" tIns="33867" rIns="0" bIns="0" rtlCol="0">
            <a:spAutoFit/>
          </a:bodyPr>
          <a:lstStyle/>
          <a:p>
            <a:pPr marL="241294" marR="0" lvl="0" indent="-224361" algn="l" defTabSz="1219170" rtl="0" eaLnBrk="1" fontAlgn="auto" latinLnBrk="0" hangingPunct="1">
              <a:lnSpc>
                <a:spcPct val="100000"/>
              </a:lnSpc>
              <a:spcBef>
                <a:spcPts val="267"/>
              </a:spcBef>
              <a:spcAft>
                <a:spcPts val="0"/>
              </a:spcAft>
              <a:buClr>
                <a:srgbClr val="0A41CD"/>
              </a:buClr>
              <a:buSzTx/>
              <a:buFontTx/>
              <a:buChar char="•"/>
              <a:tabLst>
                <a:tab pos="241294" algn="l"/>
              </a:tabLst>
              <a:defRPr/>
            </a:pPr>
            <a:r>
              <a:rPr kumimoji="0" sz="1467" b="0" i="0" u="none" strike="noStrike" kern="0" cap="none" spc="0" normalizeH="0" baseline="0" noProof="0" dirty="0">
                <a:ln>
                  <a:noFill/>
                </a:ln>
                <a:solidFill>
                  <a:sysClr val="windowText" lastClr="000000"/>
                </a:solidFill>
                <a:effectLst/>
                <a:uLnTx/>
                <a:uFillTx/>
                <a:latin typeface="Arial"/>
                <a:ea typeface="+mn-ea"/>
                <a:cs typeface="Arial"/>
              </a:rPr>
              <a:t>R/R</a:t>
            </a:r>
            <a:r>
              <a:rPr kumimoji="0" sz="1467" b="0" i="0" u="none" strike="noStrike" kern="0" cap="none" spc="180" normalizeH="0" baseline="0" noProof="0" dirty="0">
                <a:ln>
                  <a:noFill/>
                </a:ln>
                <a:solidFill>
                  <a:sysClr val="windowText" lastClr="000000"/>
                </a:solidFill>
                <a:effectLst/>
                <a:uLnTx/>
                <a:uFillTx/>
                <a:latin typeface="Arial"/>
                <a:ea typeface="+mn-ea"/>
                <a:cs typeface="Arial"/>
              </a:rPr>
              <a:t> </a:t>
            </a:r>
            <a:r>
              <a:rPr kumimoji="0" sz="1467" b="0" i="0" u="none" strike="noStrike" kern="0" cap="none" spc="0" normalizeH="0" baseline="0" noProof="0" dirty="0">
                <a:ln>
                  <a:noFill/>
                </a:ln>
                <a:solidFill>
                  <a:sysClr val="windowText" lastClr="000000"/>
                </a:solidFill>
                <a:effectLst/>
                <a:uLnTx/>
                <a:uFillTx/>
                <a:latin typeface="Arial"/>
                <a:ea typeface="+mn-ea"/>
                <a:cs typeface="Arial"/>
              </a:rPr>
              <a:t>disease</a:t>
            </a:r>
            <a:r>
              <a:rPr kumimoji="0" sz="1467" b="0" i="0" u="none" strike="noStrike" kern="0" cap="none" spc="127" normalizeH="0" baseline="0" noProof="0" dirty="0">
                <a:ln>
                  <a:noFill/>
                </a:ln>
                <a:solidFill>
                  <a:sysClr val="windowText" lastClr="000000"/>
                </a:solidFill>
                <a:effectLst/>
                <a:uLnTx/>
                <a:uFillTx/>
                <a:latin typeface="Arial"/>
                <a:ea typeface="+mn-ea"/>
                <a:cs typeface="Arial"/>
              </a:rPr>
              <a:t> </a:t>
            </a:r>
            <a:r>
              <a:rPr kumimoji="0" sz="1467" b="0" i="0" u="none" strike="noStrike" kern="0" cap="none" spc="-27" normalizeH="0" baseline="0" noProof="0" dirty="0">
                <a:ln>
                  <a:noFill/>
                </a:ln>
                <a:solidFill>
                  <a:sysClr val="windowText" lastClr="000000"/>
                </a:solidFill>
                <a:effectLst/>
                <a:uLnTx/>
                <a:uFillTx/>
                <a:latin typeface="Arial"/>
                <a:ea typeface="+mn-ea"/>
                <a:cs typeface="Arial"/>
              </a:rPr>
              <a:t>after</a:t>
            </a:r>
            <a:endParaRPr kumimoji="0" sz="1467" b="0" i="0" u="none" strike="noStrike" kern="0" cap="none" spc="0" normalizeH="0" baseline="0" noProof="0">
              <a:ln>
                <a:noFill/>
              </a:ln>
              <a:solidFill>
                <a:sysClr val="windowText" lastClr="000000"/>
              </a:solidFill>
              <a:effectLst/>
              <a:uLnTx/>
              <a:uFillTx/>
              <a:latin typeface="Arial"/>
              <a:ea typeface="+mn-ea"/>
              <a:cs typeface="Arial"/>
            </a:endParaRPr>
          </a:p>
          <a:p>
            <a:pPr marL="245527" marR="0" lvl="0" indent="0" algn="l" defTabSz="1219170" rtl="0" eaLnBrk="1" fontAlgn="auto" latinLnBrk="0" hangingPunct="1">
              <a:lnSpc>
                <a:spcPct val="100000"/>
              </a:lnSpc>
              <a:spcBef>
                <a:spcPts val="140"/>
              </a:spcBef>
              <a:spcAft>
                <a:spcPts val="0"/>
              </a:spcAft>
              <a:buClrTx/>
              <a:buSzTx/>
              <a:buFontTx/>
              <a:buNone/>
              <a:tabLst/>
              <a:defRPr/>
            </a:pPr>
            <a:r>
              <a:rPr kumimoji="0" sz="1467" b="0" i="0" u="none" strike="noStrike" kern="0" cap="none" spc="0" normalizeH="0" baseline="0" noProof="0" dirty="0">
                <a:ln>
                  <a:noFill/>
                </a:ln>
                <a:solidFill>
                  <a:sysClr val="windowText" lastClr="000000"/>
                </a:solidFill>
                <a:effectLst/>
                <a:uLnTx/>
                <a:uFillTx/>
                <a:latin typeface="Arial"/>
                <a:ea typeface="+mn-ea"/>
                <a:cs typeface="Arial"/>
              </a:rPr>
              <a:t>≥1</a:t>
            </a:r>
            <a:r>
              <a:rPr kumimoji="0" sz="1467" b="0" i="0" u="none" strike="noStrike" kern="0" cap="none" spc="120" normalizeH="0" baseline="0" noProof="0" dirty="0">
                <a:ln>
                  <a:noFill/>
                </a:ln>
                <a:solidFill>
                  <a:sysClr val="windowText" lastClr="000000"/>
                </a:solidFill>
                <a:effectLst/>
                <a:uLnTx/>
                <a:uFillTx/>
                <a:latin typeface="Arial"/>
                <a:ea typeface="+mn-ea"/>
                <a:cs typeface="Arial"/>
              </a:rPr>
              <a:t> </a:t>
            </a:r>
            <a:r>
              <a:rPr kumimoji="0" sz="1467" b="0" i="0" u="none" strike="noStrike" kern="0" cap="none" spc="0" normalizeH="0" baseline="0" noProof="0" dirty="0">
                <a:ln>
                  <a:noFill/>
                </a:ln>
                <a:solidFill>
                  <a:sysClr val="windowText" lastClr="000000"/>
                </a:solidFill>
                <a:effectLst/>
                <a:uLnTx/>
                <a:uFillTx/>
                <a:latin typeface="Arial"/>
                <a:ea typeface="+mn-ea"/>
                <a:cs typeface="Arial"/>
              </a:rPr>
              <a:t>prior</a:t>
            </a:r>
            <a:r>
              <a:rPr kumimoji="0" sz="1467" b="0" i="0" u="none" strike="noStrike" kern="0" cap="none" spc="47" normalizeH="0" baseline="0" noProof="0" dirty="0">
                <a:ln>
                  <a:noFill/>
                </a:ln>
                <a:solidFill>
                  <a:sysClr val="windowText" lastClr="000000"/>
                </a:solidFill>
                <a:effectLst/>
                <a:uLnTx/>
                <a:uFillTx/>
                <a:latin typeface="Arial"/>
                <a:ea typeface="+mn-ea"/>
                <a:cs typeface="Arial"/>
              </a:rPr>
              <a:t> </a:t>
            </a:r>
            <a:r>
              <a:rPr kumimoji="0" sz="1467" b="0" i="0" u="none" strike="noStrike" kern="0" cap="none" spc="0" normalizeH="0" baseline="0" noProof="0" dirty="0">
                <a:ln>
                  <a:noFill/>
                </a:ln>
                <a:solidFill>
                  <a:sysClr val="windowText" lastClr="000000"/>
                </a:solidFill>
                <a:effectLst/>
                <a:uLnTx/>
                <a:uFillTx/>
                <a:latin typeface="Arial"/>
                <a:ea typeface="+mn-ea"/>
                <a:cs typeface="Arial"/>
              </a:rPr>
              <a:t>line</a:t>
            </a:r>
            <a:r>
              <a:rPr kumimoji="0" sz="1467" b="0" i="0" u="none" strike="noStrike" kern="0" cap="none" spc="120" normalizeH="0" baseline="0" noProof="0" dirty="0">
                <a:ln>
                  <a:noFill/>
                </a:ln>
                <a:solidFill>
                  <a:sysClr val="windowText" lastClr="000000"/>
                </a:solidFill>
                <a:effectLst/>
                <a:uLnTx/>
                <a:uFillTx/>
                <a:latin typeface="Arial"/>
                <a:ea typeface="+mn-ea"/>
                <a:cs typeface="Arial"/>
              </a:rPr>
              <a:t> </a:t>
            </a:r>
            <a:r>
              <a:rPr kumimoji="0" sz="1467" b="0" i="0" u="none" strike="noStrike" kern="0" cap="none" spc="0" normalizeH="0" baseline="0" noProof="0" dirty="0">
                <a:ln>
                  <a:noFill/>
                </a:ln>
                <a:solidFill>
                  <a:sysClr val="windowText" lastClr="000000"/>
                </a:solidFill>
                <a:effectLst/>
                <a:uLnTx/>
                <a:uFillTx/>
                <a:latin typeface="Arial"/>
                <a:ea typeface="+mn-ea"/>
                <a:cs typeface="Arial"/>
              </a:rPr>
              <a:t>of</a:t>
            </a:r>
            <a:r>
              <a:rPr kumimoji="0" sz="1467" b="0" i="0" u="none" strike="noStrike" kern="0" cap="none" spc="87" normalizeH="0" baseline="0" noProof="0" dirty="0">
                <a:ln>
                  <a:noFill/>
                </a:ln>
                <a:solidFill>
                  <a:sysClr val="windowText" lastClr="000000"/>
                </a:solidFill>
                <a:effectLst/>
                <a:uLnTx/>
                <a:uFillTx/>
                <a:latin typeface="Arial"/>
                <a:ea typeface="+mn-ea"/>
                <a:cs typeface="Arial"/>
              </a:rPr>
              <a:t> </a:t>
            </a:r>
            <a:r>
              <a:rPr kumimoji="0" sz="1467" b="0" i="0" u="none" strike="noStrike" kern="0" cap="none" spc="-13" normalizeH="0" baseline="0" noProof="0" dirty="0">
                <a:ln>
                  <a:noFill/>
                </a:ln>
                <a:solidFill>
                  <a:sysClr val="windowText" lastClr="000000"/>
                </a:solidFill>
                <a:effectLst/>
                <a:uLnTx/>
                <a:uFillTx/>
                <a:latin typeface="Arial"/>
                <a:ea typeface="+mn-ea"/>
                <a:cs typeface="Arial"/>
              </a:rPr>
              <a:t>treatment</a:t>
            </a:r>
            <a:endParaRPr kumimoji="0" sz="1467"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26" name="object 26"/>
          <p:cNvSpPr txBox="1"/>
          <p:nvPr/>
        </p:nvSpPr>
        <p:spPr>
          <a:xfrm>
            <a:off x="608754" y="4499948"/>
            <a:ext cx="2219113" cy="247141"/>
          </a:xfrm>
          <a:prstGeom prst="rect">
            <a:avLst/>
          </a:prstGeom>
        </p:spPr>
        <p:txBody>
          <a:bodyPr vert="horz" wrap="square" lIns="0" tIns="21167" rIns="0" bIns="0" rtlCol="0">
            <a:spAutoFit/>
          </a:bodyPr>
          <a:lstStyle/>
          <a:p>
            <a:pPr marL="241294" marR="0" lvl="0" indent="-224361" algn="l" defTabSz="1219170" rtl="0" eaLnBrk="1" fontAlgn="auto" latinLnBrk="0" hangingPunct="1">
              <a:lnSpc>
                <a:spcPct val="100000"/>
              </a:lnSpc>
              <a:spcBef>
                <a:spcPts val="167"/>
              </a:spcBef>
              <a:spcAft>
                <a:spcPts val="0"/>
              </a:spcAft>
              <a:buClr>
                <a:srgbClr val="0A41CD"/>
              </a:buClr>
              <a:buSzTx/>
              <a:buFontTx/>
              <a:buChar char="•"/>
              <a:tabLst>
                <a:tab pos="241294" algn="l"/>
              </a:tabLst>
              <a:defRPr/>
            </a:pPr>
            <a:r>
              <a:rPr kumimoji="0" sz="1467" b="0" i="0" u="none" strike="noStrike" kern="0" cap="none" spc="0" normalizeH="0" baseline="0" noProof="0" dirty="0">
                <a:ln>
                  <a:noFill/>
                </a:ln>
                <a:solidFill>
                  <a:sysClr val="windowText" lastClr="000000"/>
                </a:solidFill>
                <a:effectLst/>
                <a:uLnTx/>
                <a:uFillTx/>
                <a:latin typeface="Arial"/>
                <a:ea typeface="+mn-ea"/>
                <a:cs typeface="Arial"/>
              </a:rPr>
              <a:t>Ineligible</a:t>
            </a:r>
            <a:r>
              <a:rPr kumimoji="0" sz="1467" b="0" i="0" u="none" strike="noStrike" kern="0" cap="none" spc="127" normalizeH="0" baseline="0" noProof="0" dirty="0">
                <a:ln>
                  <a:noFill/>
                </a:ln>
                <a:solidFill>
                  <a:sysClr val="windowText" lastClr="000000"/>
                </a:solidFill>
                <a:effectLst/>
                <a:uLnTx/>
                <a:uFillTx/>
                <a:latin typeface="Arial"/>
                <a:ea typeface="+mn-ea"/>
                <a:cs typeface="Arial"/>
              </a:rPr>
              <a:t> </a:t>
            </a:r>
            <a:r>
              <a:rPr kumimoji="0" sz="1467" b="0" i="0" u="none" strike="noStrike" kern="0" cap="none" spc="0" normalizeH="0" baseline="0" noProof="0" dirty="0">
                <a:ln>
                  <a:noFill/>
                </a:ln>
                <a:solidFill>
                  <a:sysClr val="windowText" lastClr="000000"/>
                </a:solidFill>
                <a:effectLst/>
                <a:uLnTx/>
                <a:uFillTx/>
                <a:latin typeface="Arial"/>
                <a:ea typeface="+mn-ea"/>
                <a:cs typeface="Arial"/>
              </a:rPr>
              <a:t>for</a:t>
            </a:r>
            <a:r>
              <a:rPr kumimoji="0" sz="1467" b="0" i="0" u="none" strike="noStrike" kern="0" cap="none" spc="167" normalizeH="0" baseline="0" noProof="0" dirty="0">
                <a:ln>
                  <a:noFill/>
                </a:ln>
                <a:solidFill>
                  <a:sysClr val="windowText" lastClr="000000"/>
                </a:solidFill>
                <a:effectLst/>
                <a:uLnTx/>
                <a:uFillTx/>
                <a:latin typeface="Arial"/>
                <a:ea typeface="+mn-ea"/>
                <a:cs typeface="Arial"/>
              </a:rPr>
              <a:t> </a:t>
            </a:r>
            <a:r>
              <a:rPr kumimoji="0" sz="1467" b="0" i="0" u="none" strike="noStrike" kern="0" cap="none" spc="-13" normalizeH="0" baseline="0" noProof="0" dirty="0">
                <a:ln>
                  <a:noFill/>
                </a:ln>
                <a:solidFill>
                  <a:sysClr val="windowText" lastClr="000000"/>
                </a:solidFill>
                <a:effectLst/>
                <a:uLnTx/>
                <a:uFillTx/>
                <a:latin typeface="Arial"/>
                <a:ea typeface="+mn-ea"/>
                <a:cs typeface="Arial"/>
              </a:rPr>
              <a:t>transplant</a:t>
            </a:r>
            <a:endParaRPr kumimoji="0" sz="1467"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27" name="object 5">
            <a:extLst>
              <a:ext uri="{FF2B5EF4-FFF2-40B4-BE49-F238E27FC236}">
                <a16:creationId xmlns:a16="http://schemas.microsoft.com/office/drawing/2014/main" id="{FAEC02EF-D5B9-C5D6-2BA7-51ADD210B8F2}"/>
              </a:ext>
            </a:extLst>
          </p:cNvPr>
          <p:cNvSpPr txBox="1"/>
          <p:nvPr/>
        </p:nvSpPr>
        <p:spPr>
          <a:xfrm>
            <a:off x="4811713" y="6510925"/>
            <a:ext cx="7566659" cy="170560"/>
          </a:xfrm>
          <a:prstGeom prst="rect">
            <a:avLst/>
          </a:prstGeom>
        </p:spPr>
        <p:txBody>
          <a:bodyPr vert="horz" wrap="square" lIns="0" tIns="16510" rIns="0" bIns="0" rtlCol="0">
            <a:spAutoFit/>
          </a:bodyPr>
          <a:lstStyle/>
          <a:p>
            <a:pPr marL="50800" marR="436880" lvl="0" indent="0" algn="l" defTabSz="914400" rtl="0" eaLnBrk="1" fontAlgn="auto" latinLnBrk="0" hangingPunct="1">
              <a:lnSpc>
                <a:spcPct val="99900"/>
              </a:lnSpc>
              <a:spcBef>
                <a:spcPts val="130"/>
              </a:spcBef>
              <a:spcAft>
                <a:spcPts val="0"/>
              </a:spcAft>
              <a:buClrTx/>
              <a:buSzTx/>
              <a:buFontTx/>
              <a:buNone/>
              <a:tabLst/>
              <a:defRPr/>
            </a:pPr>
            <a:r>
              <a:rPr kumimoji="0"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atthew</a:t>
            </a:r>
            <a:r>
              <a:rPr kumimoji="0" sz="1000" b="0" i="0" u="none" strike="noStrike" kern="1200" cap="none" spc="-4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Matasar</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et al. </a:t>
            </a:r>
            <a:r>
              <a:rPr kumimoji="0"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esented</a:t>
            </a:r>
            <a:r>
              <a:rPr kumimoji="0" sz="1000" b="0" i="0" u="none" strike="noStrike" kern="1200" cap="none" spc="-2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a:t>
            </a:r>
            <a:r>
              <a:rPr kumimoji="0" sz="1000" b="0" i="0" u="none" strike="noStrike" kern="1200" cap="none" spc="-3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2025</a:t>
            </a:r>
            <a:r>
              <a:rPr kumimoji="0" sz="1000" b="0" i="0" u="none" strike="noStrike" kern="1200" cap="none" spc="-6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uropean</a:t>
            </a:r>
            <a:r>
              <a:rPr kumimoji="0" sz="1000" b="0" i="0" u="none" strike="noStrike" kern="1200" cap="none" spc="-6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ematology</a:t>
            </a:r>
            <a:r>
              <a:rPr kumimoji="0" sz="1000" b="0" i="0" u="none" strike="noStrike" kern="1200" cap="none" spc="-1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000" b="0" i="0" u="none" strike="noStrike" kern="1200" cap="none" spc="-1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ssociation</a:t>
            </a:r>
            <a:r>
              <a:rPr kumimoji="0" sz="1000" b="0" i="0" u="none" strike="noStrike" kern="1200" cap="none" spc="-6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HA)</a:t>
            </a:r>
            <a:r>
              <a:rPr kumimoji="0" sz="1000" b="0" i="0" u="none" strike="noStrike" kern="1200" cap="none" spc="-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nnual</a:t>
            </a:r>
            <a:r>
              <a:rPr kumimoji="0" sz="1000" b="0" i="0" u="none" strike="noStrike" kern="1200" cap="none" spc="2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eting |</a:t>
            </a:r>
            <a:r>
              <a:rPr kumimoji="0" sz="1000" b="0" i="0" u="none" strike="noStrike" kern="1200" cap="none" spc="-1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June 12–15,</a:t>
            </a:r>
            <a:r>
              <a:rPr kumimoji="0" sz="1000" b="0" i="0" u="none" strike="noStrike" kern="1200" cap="none" spc="-2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000" b="0" i="0" u="none" strike="noStrike" kern="1200" cap="none" spc="-2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025</a:t>
            </a:r>
            <a:endParaRPr kumimoji="0"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 name="object 2"/>
          <p:cNvGraphicFramePr>
            <a:graphicFrameLocks noGrp="1"/>
          </p:cNvGraphicFramePr>
          <p:nvPr/>
        </p:nvGraphicFramePr>
        <p:xfrm>
          <a:off x="528709" y="1256877"/>
          <a:ext cx="11128585" cy="5025812"/>
        </p:xfrm>
        <a:graphic>
          <a:graphicData uri="http://schemas.openxmlformats.org/drawingml/2006/table">
            <a:tbl>
              <a:tblPr firstRow="1" bandRow="1">
                <a:tableStyleId>{2D5ABB26-0587-4C30-8999-92F81FD0307C}</a:tableStyleId>
              </a:tblPr>
              <a:tblGrid>
                <a:gridCol w="2781300">
                  <a:extLst>
                    <a:ext uri="{9D8B030D-6E8A-4147-A177-3AD203B41FA5}">
                      <a16:colId xmlns:a16="http://schemas.microsoft.com/office/drawing/2014/main" val="20000"/>
                    </a:ext>
                  </a:extLst>
                </a:gridCol>
                <a:gridCol w="3319780">
                  <a:extLst>
                    <a:ext uri="{9D8B030D-6E8A-4147-A177-3AD203B41FA5}">
                      <a16:colId xmlns:a16="http://schemas.microsoft.com/office/drawing/2014/main" val="20001"/>
                    </a:ext>
                  </a:extLst>
                </a:gridCol>
                <a:gridCol w="2513752">
                  <a:extLst>
                    <a:ext uri="{9D8B030D-6E8A-4147-A177-3AD203B41FA5}">
                      <a16:colId xmlns:a16="http://schemas.microsoft.com/office/drawing/2014/main" val="20002"/>
                    </a:ext>
                  </a:extLst>
                </a:gridCol>
                <a:gridCol w="2513753">
                  <a:extLst>
                    <a:ext uri="{9D8B030D-6E8A-4147-A177-3AD203B41FA5}">
                      <a16:colId xmlns:a16="http://schemas.microsoft.com/office/drawing/2014/main" val="20003"/>
                    </a:ext>
                  </a:extLst>
                </a:gridCol>
              </a:tblGrid>
              <a:tr h="43179">
                <a:tc gridSpan="2">
                  <a:txBody>
                    <a:bodyPr/>
                    <a:lstStyle/>
                    <a:p>
                      <a:pPr>
                        <a:lnSpc>
                          <a:spcPct val="100000"/>
                        </a:lnSpc>
                      </a:pPr>
                      <a:endParaRPr sz="100">
                        <a:latin typeface="Times New Roman"/>
                        <a:cs typeface="Times New Roman"/>
                      </a:endParaRPr>
                    </a:p>
                  </a:txBody>
                  <a:tcPr marL="0" marR="0" marT="0" marB="0">
                    <a:lnT w="38100">
                      <a:solidFill>
                        <a:srgbClr val="0A41CD"/>
                      </a:solidFill>
                      <a:prstDash val="solid"/>
                    </a:lnT>
                    <a:lnB w="12700">
                      <a:solidFill>
                        <a:srgbClr val="0A41CD"/>
                      </a:solidFill>
                      <a:prstDash val="solid"/>
                    </a:lnB>
                    <a:solidFill>
                      <a:srgbClr val="0A41CD"/>
                    </a:solidFill>
                  </a:tcPr>
                </a:tc>
                <a:tc hMerge="1">
                  <a:txBody>
                    <a:bodyPr/>
                    <a:lstStyle/>
                    <a:p>
                      <a:endParaRPr/>
                    </a:p>
                  </a:txBody>
                  <a:tcPr marL="0" marR="0" marT="0" marB="0"/>
                </a:tc>
                <a:tc>
                  <a:txBody>
                    <a:bodyPr/>
                    <a:lstStyle/>
                    <a:p>
                      <a:pPr>
                        <a:lnSpc>
                          <a:spcPct val="100000"/>
                        </a:lnSpc>
                      </a:pPr>
                      <a:endParaRPr sz="100">
                        <a:latin typeface="Times New Roman"/>
                        <a:cs typeface="Times New Roman"/>
                      </a:endParaRPr>
                    </a:p>
                  </a:txBody>
                  <a:tcPr marL="0" marR="0" marT="0" marB="0">
                    <a:lnT w="38100">
                      <a:solidFill>
                        <a:srgbClr val="0A41CD"/>
                      </a:solidFill>
                      <a:prstDash val="solid"/>
                    </a:lnT>
                    <a:solidFill>
                      <a:srgbClr val="009963"/>
                    </a:solidFill>
                  </a:tcPr>
                </a:tc>
                <a:tc>
                  <a:txBody>
                    <a:bodyPr/>
                    <a:lstStyle/>
                    <a:p>
                      <a:pPr>
                        <a:lnSpc>
                          <a:spcPct val="100000"/>
                        </a:lnSpc>
                      </a:pPr>
                      <a:endParaRPr sz="100">
                        <a:latin typeface="Times New Roman"/>
                        <a:cs typeface="Times New Roman"/>
                      </a:endParaRPr>
                    </a:p>
                  </a:txBody>
                  <a:tcPr marL="0" marR="0" marT="0" marB="0">
                    <a:lnT w="38100">
                      <a:solidFill>
                        <a:srgbClr val="0A41CD"/>
                      </a:solidFill>
                      <a:prstDash val="solid"/>
                    </a:lnT>
                    <a:lnB w="12700">
                      <a:solidFill>
                        <a:srgbClr val="0A41CD"/>
                      </a:solidFill>
                      <a:prstDash val="solid"/>
                    </a:lnB>
                    <a:solidFill>
                      <a:srgbClr val="0A41CD"/>
                    </a:solidFill>
                  </a:tcPr>
                </a:tc>
                <a:extLst>
                  <a:ext uri="{0D108BD9-81ED-4DB2-BD59-A6C34878D82A}">
                    <a16:rowId xmlns:a16="http://schemas.microsoft.com/office/drawing/2014/main" val="10000"/>
                  </a:ext>
                </a:extLst>
              </a:tr>
              <a:tr h="231140">
                <a:tc gridSpan="2">
                  <a:txBody>
                    <a:bodyPr/>
                    <a:lstStyle/>
                    <a:p>
                      <a:pPr marL="48895">
                        <a:lnSpc>
                          <a:spcPct val="100000"/>
                        </a:lnSpc>
                        <a:spcBef>
                          <a:spcPts val="75"/>
                        </a:spcBef>
                      </a:pPr>
                      <a:r>
                        <a:rPr sz="1300" b="1" dirty="0">
                          <a:solidFill>
                            <a:srgbClr val="FFFFFF"/>
                          </a:solidFill>
                          <a:latin typeface="Arial"/>
                          <a:cs typeface="Arial"/>
                        </a:rPr>
                        <a:t>n</a:t>
                      </a:r>
                      <a:r>
                        <a:rPr sz="1300" b="1" spc="-20" dirty="0">
                          <a:solidFill>
                            <a:srgbClr val="FFFFFF"/>
                          </a:solidFill>
                          <a:latin typeface="Arial"/>
                          <a:cs typeface="Arial"/>
                        </a:rPr>
                        <a:t> </a:t>
                      </a:r>
                      <a:r>
                        <a:rPr sz="1300" b="1" dirty="0">
                          <a:solidFill>
                            <a:srgbClr val="FFFFFF"/>
                          </a:solidFill>
                          <a:latin typeface="Arial"/>
                          <a:cs typeface="Arial"/>
                        </a:rPr>
                        <a:t>(%),</a:t>
                      </a:r>
                      <a:r>
                        <a:rPr sz="1300" b="1" spc="10" dirty="0">
                          <a:solidFill>
                            <a:srgbClr val="FFFFFF"/>
                          </a:solidFill>
                          <a:latin typeface="Arial"/>
                          <a:cs typeface="Arial"/>
                        </a:rPr>
                        <a:t> </a:t>
                      </a:r>
                      <a:r>
                        <a:rPr sz="1300" b="1" dirty="0">
                          <a:solidFill>
                            <a:srgbClr val="FFFFFF"/>
                          </a:solidFill>
                          <a:latin typeface="Arial"/>
                          <a:cs typeface="Arial"/>
                        </a:rPr>
                        <a:t>unless</a:t>
                      </a:r>
                      <a:r>
                        <a:rPr sz="1300" b="1" spc="-40" dirty="0">
                          <a:solidFill>
                            <a:srgbClr val="FFFFFF"/>
                          </a:solidFill>
                          <a:latin typeface="Arial"/>
                          <a:cs typeface="Arial"/>
                        </a:rPr>
                        <a:t> </a:t>
                      </a:r>
                      <a:r>
                        <a:rPr sz="1300" b="1" dirty="0">
                          <a:solidFill>
                            <a:srgbClr val="FFFFFF"/>
                          </a:solidFill>
                          <a:latin typeface="Arial"/>
                          <a:cs typeface="Arial"/>
                        </a:rPr>
                        <a:t>otherwise</a:t>
                      </a:r>
                      <a:r>
                        <a:rPr sz="1300" b="1" spc="40" dirty="0">
                          <a:solidFill>
                            <a:srgbClr val="FFFFFF"/>
                          </a:solidFill>
                          <a:latin typeface="Arial"/>
                          <a:cs typeface="Arial"/>
                        </a:rPr>
                        <a:t> </a:t>
                      </a:r>
                      <a:r>
                        <a:rPr sz="1300" b="1" spc="-10" dirty="0">
                          <a:solidFill>
                            <a:srgbClr val="FFFFFF"/>
                          </a:solidFill>
                          <a:latin typeface="Arial"/>
                          <a:cs typeface="Arial"/>
                        </a:rPr>
                        <a:t>stated</a:t>
                      </a:r>
                      <a:endParaRPr sz="1300">
                        <a:latin typeface="Arial"/>
                        <a:cs typeface="Arial"/>
                      </a:endParaRPr>
                    </a:p>
                  </a:txBody>
                  <a:tcPr marL="0" marR="0" marT="12700" marB="0">
                    <a:lnL w="12700">
                      <a:solidFill>
                        <a:srgbClr val="0A41CD"/>
                      </a:solidFill>
                      <a:prstDash val="solid"/>
                    </a:lnL>
                    <a:lnR w="12700">
                      <a:solidFill>
                        <a:srgbClr val="FFFFFF"/>
                      </a:solidFill>
                      <a:prstDash val="solid"/>
                    </a:lnR>
                    <a:lnT w="12700">
                      <a:solidFill>
                        <a:srgbClr val="0A41CD"/>
                      </a:solidFill>
                      <a:prstDash val="solid"/>
                    </a:lnT>
                    <a:solidFill>
                      <a:srgbClr val="0A41CD"/>
                    </a:solidFill>
                  </a:tcPr>
                </a:tc>
                <a:tc hMerge="1">
                  <a:txBody>
                    <a:bodyPr/>
                    <a:lstStyle/>
                    <a:p>
                      <a:endParaRPr/>
                    </a:p>
                  </a:txBody>
                  <a:tcPr marL="0" marR="0" marT="0" marB="0"/>
                </a:tc>
                <a:tc>
                  <a:txBody>
                    <a:bodyPr/>
                    <a:lstStyle/>
                    <a:p>
                      <a:pPr marL="13335" algn="ctr">
                        <a:lnSpc>
                          <a:spcPct val="100000"/>
                        </a:lnSpc>
                        <a:spcBef>
                          <a:spcPts val="75"/>
                        </a:spcBef>
                      </a:pPr>
                      <a:r>
                        <a:rPr sz="1300" b="1" spc="-10" dirty="0">
                          <a:solidFill>
                            <a:srgbClr val="FFFFFF"/>
                          </a:solidFill>
                          <a:latin typeface="Arial"/>
                          <a:cs typeface="Arial"/>
                        </a:rPr>
                        <a:t>Pola-R-</a:t>
                      </a:r>
                      <a:r>
                        <a:rPr sz="1300" b="1" dirty="0">
                          <a:solidFill>
                            <a:srgbClr val="FFFFFF"/>
                          </a:solidFill>
                          <a:latin typeface="Arial"/>
                          <a:cs typeface="Arial"/>
                        </a:rPr>
                        <a:t>GemOx</a:t>
                      </a:r>
                      <a:r>
                        <a:rPr sz="1300" b="1" spc="35" dirty="0">
                          <a:solidFill>
                            <a:srgbClr val="FFFFFF"/>
                          </a:solidFill>
                          <a:latin typeface="Arial"/>
                          <a:cs typeface="Arial"/>
                        </a:rPr>
                        <a:t> </a:t>
                      </a:r>
                      <a:r>
                        <a:rPr sz="1300" b="1" spc="-10" dirty="0">
                          <a:solidFill>
                            <a:srgbClr val="FFFFFF"/>
                          </a:solidFill>
                          <a:latin typeface="Arial"/>
                          <a:cs typeface="Arial"/>
                        </a:rPr>
                        <a:t>(n=129)</a:t>
                      </a:r>
                      <a:endParaRPr sz="1300">
                        <a:latin typeface="Arial"/>
                        <a:cs typeface="Arial"/>
                      </a:endParaRPr>
                    </a:p>
                  </a:txBody>
                  <a:tcPr marL="0" marR="0" marT="12700" marB="0">
                    <a:lnL w="12700">
                      <a:solidFill>
                        <a:srgbClr val="FFFFFF"/>
                      </a:solidFill>
                      <a:prstDash val="solid"/>
                    </a:lnL>
                    <a:lnR w="12700">
                      <a:solidFill>
                        <a:srgbClr val="FFFFFF"/>
                      </a:solidFill>
                      <a:prstDash val="solid"/>
                    </a:lnR>
                    <a:solidFill>
                      <a:srgbClr val="009963"/>
                    </a:solidFill>
                  </a:tcPr>
                </a:tc>
                <a:tc>
                  <a:txBody>
                    <a:bodyPr/>
                    <a:lstStyle/>
                    <a:p>
                      <a:pPr marL="15875" algn="ctr">
                        <a:lnSpc>
                          <a:spcPct val="100000"/>
                        </a:lnSpc>
                        <a:spcBef>
                          <a:spcPts val="75"/>
                        </a:spcBef>
                      </a:pPr>
                      <a:r>
                        <a:rPr sz="1300" b="1" spc="-10" dirty="0">
                          <a:solidFill>
                            <a:srgbClr val="FFFFFF"/>
                          </a:solidFill>
                          <a:latin typeface="Arial"/>
                          <a:cs typeface="Arial"/>
                        </a:rPr>
                        <a:t>R-</a:t>
                      </a:r>
                      <a:r>
                        <a:rPr sz="1300" b="1" dirty="0">
                          <a:solidFill>
                            <a:srgbClr val="FFFFFF"/>
                          </a:solidFill>
                          <a:latin typeface="Arial"/>
                          <a:cs typeface="Arial"/>
                        </a:rPr>
                        <a:t>GemOx</a:t>
                      </a:r>
                      <a:r>
                        <a:rPr sz="1300" b="1" spc="10" dirty="0">
                          <a:solidFill>
                            <a:srgbClr val="FFFFFF"/>
                          </a:solidFill>
                          <a:latin typeface="Arial"/>
                          <a:cs typeface="Arial"/>
                        </a:rPr>
                        <a:t> </a:t>
                      </a:r>
                      <a:r>
                        <a:rPr sz="1300" b="1" spc="-10" dirty="0">
                          <a:solidFill>
                            <a:srgbClr val="FFFFFF"/>
                          </a:solidFill>
                          <a:latin typeface="Arial"/>
                          <a:cs typeface="Arial"/>
                        </a:rPr>
                        <a:t>(n=126)</a:t>
                      </a:r>
                      <a:endParaRPr sz="1300">
                        <a:latin typeface="Arial"/>
                        <a:cs typeface="Arial"/>
                      </a:endParaRPr>
                    </a:p>
                  </a:txBody>
                  <a:tcPr marL="0" marR="0" marT="12700" marB="0">
                    <a:lnL w="12700">
                      <a:solidFill>
                        <a:srgbClr val="FFFFFF"/>
                      </a:solidFill>
                      <a:prstDash val="solid"/>
                    </a:lnL>
                    <a:lnR w="12700">
                      <a:solidFill>
                        <a:srgbClr val="0A41CD"/>
                      </a:solidFill>
                      <a:prstDash val="solid"/>
                    </a:lnR>
                    <a:lnT w="12700">
                      <a:solidFill>
                        <a:srgbClr val="0A41CD"/>
                      </a:solidFill>
                      <a:prstDash val="solid"/>
                    </a:lnT>
                    <a:solidFill>
                      <a:srgbClr val="0A41CD"/>
                    </a:solidFill>
                  </a:tcPr>
                </a:tc>
                <a:extLst>
                  <a:ext uri="{0D108BD9-81ED-4DB2-BD59-A6C34878D82A}">
                    <a16:rowId xmlns:a16="http://schemas.microsoft.com/office/drawing/2014/main" val="10001"/>
                  </a:ext>
                </a:extLst>
              </a:tr>
              <a:tr h="218440">
                <a:tc rowSpan="2">
                  <a:txBody>
                    <a:bodyPr/>
                    <a:lstStyle/>
                    <a:p>
                      <a:pPr marL="15875">
                        <a:lnSpc>
                          <a:spcPct val="100000"/>
                        </a:lnSpc>
                        <a:spcBef>
                          <a:spcPts val="645"/>
                        </a:spcBef>
                      </a:pPr>
                      <a:r>
                        <a:rPr sz="1300" b="1" dirty="0">
                          <a:latin typeface="Arial"/>
                          <a:cs typeface="Arial"/>
                        </a:rPr>
                        <a:t>Age,</a:t>
                      </a:r>
                      <a:r>
                        <a:rPr sz="1300" b="1" spc="-15" dirty="0">
                          <a:latin typeface="Arial"/>
                          <a:cs typeface="Arial"/>
                        </a:rPr>
                        <a:t> </a:t>
                      </a:r>
                      <a:r>
                        <a:rPr sz="1300" b="1" spc="-10" dirty="0">
                          <a:latin typeface="Arial"/>
                          <a:cs typeface="Arial"/>
                        </a:rPr>
                        <a:t>years</a:t>
                      </a:r>
                      <a:endParaRPr sz="1300">
                        <a:latin typeface="Arial"/>
                        <a:cs typeface="Arial"/>
                      </a:endParaRPr>
                    </a:p>
                  </a:txBody>
                  <a:tcPr marL="0" marR="0" marT="109220" marB="0">
                    <a:lnL w="12700">
                      <a:solidFill>
                        <a:srgbClr val="0A41CD"/>
                      </a:solidFill>
                      <a:prstDash val="solid"/>
                    </a:lnL>
                    <a:lnB w="12700">
                      <a:solidFill>
                        <a:srgbClr val="DDDBDB"/>
                      </a:solidFill>
                      <a:prstDash val="solid"/>
                    </a:lnB>
                  </a:tcPr>
                </a:tc>
                <a:tc>
                  <a:txBody>
                    <a:bodyPr/>
                    <a:lstStyle/>
                    <a:p>
                      <a:pPr marL="46990">
                        <a:lnSpc>
                          <a:spcPct val="100000"/>
                        </a:lnSpc>
                        <a:spcBef>
                          <a:spcPts val="75"/>
                        </a:spcBef>
                      </a:pPr>
                      <a:r>
                        <a:rPr sz="1300" dirty="0">
                          <a:latin typeface="Arial"/>
                          <a:cs typeface="Arial"/>
                        </a:rPr>
                        <a:t>Median</a:t>
                      </a:r>
                      <a:r>
                        <a:rPr sz="1300" spc="-15" dirty="0">
                          <a:latin typeface="Arial"/>
                          <a:cs typeface="Arial"/>
                        </a:rPr>
                        <a:t> </a:t>
                      </a:r>
                      <a:r>
                        <a:rPr sz="1300" spc="-10" dirty="0">
                          <a:latin typeface="Arial"/>
                          <a:cs typeface="Arial"/>
                        </a:rPr>
                        <a:t>(range)</a:t>
                      </a:r>
                      <a:endParaRPr sz="1300">
                        <a:latin typeface="Arial"/>
                        <a:cs typeface="Arial"/>
                      </a:endParaRPr>
                    </a:p>
                  </a:txBody>
                  <a:tcPr marL="0" marR="0" marT="12700" marB="0">
                    <a:lnR w="12700">
                      <a:solidFill>
                        <a:srgbClr val="009963"/>
                      </a:solidFill>
                      <a:prstDash val="solid"/>
                    </a:lnR>
                  </a:tcPr>
                </a:tc>
                <a:tc>
                  <a:txBody>
                    <a:bodyPr/>
                    <a:lstStyle/>
                    <a:p>
                      <a:pPr marL="11430" algn="ctr">
                        <a:lnSpc>
                          <a:spcPct val="100000"/>
                        </a:lnSpc>
                        <a:spcBef>
                          <a:spcPts val="75"/>
                        </a:spcBef>
                      </a:pPr>
                      <a:r>
                        <a:rPr sz="1300" dirty="0">
                          <a:latin typeface="Arial"/>
                          <a:cs typeface="Arial"/>
                        </a:rPr>
                        <a:t>67</a:t>
                      </a:r>
                      <a:r>
                        <a:rPr sz="1300" spc="25" dirty="0">
                          <a:latin typeface="Arial"/>
                          <a:cs typeface="Arial"/>
                        </a:rPr>
                        <a:t> </a:t>
                      </a:r>
                      <a:r>
                        <a:rPr sz="1300" spc="-10" dirty="0">
                          <a:latin typeface="Arial"/>
                          <a:cs typeface="Arial"/>
                        </a:rPr>
                        <a:t>(20–85)</a:t>
                      </a:r>
                      <a:endParaRPr sz="1300">
                        <a:latin typeface="Arial"/>
                        <a:cs typeface="Arial"/>
                      </a:endParaRPr>
                    </a:p>
                  </a:txBody>
                  <a:tcPr marL="0" marR="0" marT="12700" marB="0">
                    <a:lnL w="12700">
                      <a:solidFill>
                        <a:srgbClr val="009963"/>
                      </a:solidFill>
                      <a:prstDash val="solid"/>
                    </a:lnL>
                    <a:lnR w="12700">
                      <a:solidFill>
                        <a:srgbClr val="009963"/>
                      </a:solidFill>
                      <a:prstDash val="solid"/>
                    </a:lnR>
                    <a:solidFill>
                      <a:srgbClr val="E6F6EE"/>
                    </a:solidFill>
                  </a:tcPr>
                </a:tc>
                <a:tc>
                  <a:txBody>
                    <a:bodyPr/>
                    <a:lstStyle/>
                    <a:p>
                      <a:pPr marL="15240" algn="ctr">
                        <a:lnSpc>
                          <a:spcPct val="100000"/>
                        </a:lnSpc>
                        <a:spcBef>
                          <a:spcPts val="75"/>
                        </a:spcBef>
                      </a:pPr>
                      <a:r>
                        <a:rPr sz="1300" dirty="0">
                          <a:latin typeface="Arial"/>
                          <a:cs typeface="Arial"/>
                        </a:rPr>
                        <a:t>64</a:t>
                      </a:r>
                      <a:r>
                        <a:rPr sz="1300" spc="25" dirty="0">
                          <a:latin typeface="Arial"/>
                          <a:cs typeface="Arial"/>
                        </a:rPr>
                        <a:t> </a:t>
                      </a:r>
                      <a:r>
                        <a:rPr sz="1300" spc="-10" dirty="0">
                          <a:latin typeface="Arial"/>
                          <a:cs typeface="Arial"/>
                        </a:rPr>
                        <a:t>(24–89)</a:t>
                      </a:r>
                      <a:endParaRPr sz="1300">
                        <a:latin typeface="Arial"/>
                        <a:cs typeface="Arial"/>
                      </a:endParaRPr>
                    </a:p>
                  </a:txBody>
                  <a:tcPr marL="0" marR="0" marT="12700" marB="0">
                    <a:lnL w="12700">
                      <a:solidFill>
                        <a:srgbClr val="009963"/>
                      </a:solidFill>
                      <a:prstDash val="solid"/>
                    </a:lnL>
                    <a:lnR w="12700">
                      <a:solidFill>
                        <a:srgbClr val="0A41CD"/>
                      </a:solidFill>
                      <a:prstDash val="solid"/>
                    </a:lnR>
                    <a:solidFill>
                      <a:srgbClr val="E7EFF8"/>
                    </a:solidFill>
                  </a:tcPr>
                </a:tc>
                <a:extLst>
                  <a:ext uri="{0D108BD9-81ED-4DB2-BD59-A6C34878D82A}">
                    <a16:rowId xmlns:a16="http://schemas.microsoft.com/office/drawing/2014/main" val="10002"/>
                  </a:ext>
                </a:extLst>
              </a:tr>
              <a:tr h="205740">
                <a:tc vMerge="1">
                  <a:txBody>
                    <a:bodyPr/>
                    <a:lstStyle/>
                    <a:p>
                      <a:endParaRPr/>
                    </a:p>
                  </a:txBody>
                  <a:tcPr marL="0" marR="0" marT="81915" marB="0">
                    <a:lnL w="12700">
                      <a:solidFill>
                        <a:srgbClr val="0A41CD"/>
                      </a:solidFill>
                      <a:prstDash val="solid"/>
                    </a:lnL>
                    <a:lnB w="12700">
                      <a:solidFill>
                        <a:srgbClr val="DDDBDB"/>
                      </a:solidFill>
                      <a:prstDash val="solid"/>
                    </a:lnB>
                  </a:tcPr>
                </a:tc>
                <a:tc>
                  <a:txBody>
                    <a:bodyPr/>
                    <a:lstStyle/>
                    <a:p>
                      <a:pPr marL="46990">
                        <a:lnSpc>
                          <a:spcPct val="100000"/>
                        </a:lnSpc>
                      </a:pPr>
                      <a:r>
                        <a:rPr sz="1300" dirty="0">
                          <a:latin typeface="Arial"/>
                          <a:cs typeface="Arial"/>
                        </a:rPr>
                        <a:t>&gt;70</a:t>
                      </a:r>
                      <a:r>
                        <a:rPr sz="1300" spc="-5" dirty="0">
                          <a:latin typeface="Arial"/>
                          <a:cs typeface="Arial"/>
                        </a:rPr>
                        <a:t> </a:t>
                      </a:r>
                      <a:r>
                        <a:rPr sz="1300" spc="-20" dirty="0">
                          <a:latin typeface="Arial"/>
                          <a:cs typeface="Arial"/>
                        </a:rPr>
                        <a:t>years</a:t>
                      </a:r>
                      <a:endParaRPr sz="1300">
                        <a:latin typeface="Arial"/>
                        <a:cs typeface="Arial"/>
                      </a:endParaRPr>
                    </a:p>
                  </a:txBody>
                  <a:tcPr marL="0" marR="0" marT="0" marB="0">
                    <a:lnR w="12700">
                      <a:solidFill>
                        <a:srgbClr val="009963"/>
                      </a:solidFill>
                      <a:prstDash val="solid"/>
                    </a:lnR>
                    <a:lnB w="12700">
                      <a:solidFill>
                        <a:srgbClr val="DDDBDB"/>
                      </a:solidFill>
                      <a:prstDash val="solid"/>
                    </a:lnB>
                  </a:tcPr>
                </a:tc>
                <a:tc>
                  <a:txBody>
                    <a:bodyPr/>
                    <a:lstStyle/>
                    <a:p>
                      <a:pPr marL="11430" algn="ctr">
                        <a:lnSpc>
                          <a:spcPct val="100000"/>
                        </a:lnSpc>
                      </a:pPr>
                      <a:r>
                        <a:rPr sz="1300" dirty="0">
                          <a:latin typeface="Arial"/>
                          <a:cs typeface="Arial"/>
                        </a:rPr>
                        <a:t>45</a:t>
                      </a:r>
                      <a:r>
                        <a:rPr sz="1300" spc="25" dirty="0">
                          <a:latin typeface="Arial"/>
                          <a:cs typeface="Arial"/>
                        </a:rPr>
                        <a:t> </a:t>
                      </a:r>
                      <a:r>
                        <a:rPr sz="1300" spc="-10" dirty="0">
                          <a:latin typeface="Arial"/>
                          <a:cs typeface="Arial"/>
                        </a:rPr>
                        <a:t>(34.9)</a:t>
                      </a:r>
                      <a:endParaRPr sz="1300">
                        <a:latin typeface="Arial"/>
                        <a:cs typeface="Arial"/>
                      </a:endParaRPr>
                    </a:p>
                  </a:txBody>
                  <a:tcPr marL="0" marR="0" marT="0" marB="0">
                    <a:lnL w="12700">
                      <a:solidFill>
                        <a:srgbClr val="009963"/>
                      </a:solidFill>
                      <a:prstDash val="solid"/>
                    </a:lnL>
                    <a:lnR w="12700">
                      <a:solidFill>
                        <a:srgbClr val="009963"/>
                      </a:solidFill>
                      <a:prstDash val="solid"/>
                    </a:lnR>
                    <a:lnB w="12700">
                      <a:solidFill>
                        <a:srgbClr val="DDDBDB"/>
                      </a:solidFill>
                      <a:prstDash val="solid"/>
                    </a:lnB>
                    <a:solidFill>
                      <a:srgbClr val="E6F6EE"/>
                    </a:solidFill>
                  </a:tcPr>
                </a:tc>
                <a:tc>
                  <a:txBody>
                    <a:bodyPr/>
                    <a:lstStyle/>
                    <a:p>
                      <a:pPr marL="15240" algn="ctr">
                        <a:lnSpc>
                          <a:spcPct val="100000"/>
                        </a:lnSpc>
                      </a:pPr>
                      <a:r>
                        <a:rPr sz="1300" dirty="0">
                          <a:latin typeface="Arial"/>
                          <a:cs typeface="Arial"/>
                        </a:rPr>
                        <a:t>44</a:t>
                      </a:r>
                      <a:r>
                        <a:rPr sz="1300" spc="25" dirty="0">
                          <a:latin typeface="Arial"/>
                          <a:cs typeface="Arial"/>
                        </a:rPr>
                        <a:t> </a:t>
                      </a:r>
                      <a:r>
                        <a:rPr sz="1300" spc="-10" dirty="0">
                          <a:latin typeface="Arial"/>
                          <a:cs typeface="Arial"/>
                        </a:rPr>
                        <a:t>(34.9)</a:t>
                      </a:r>
                      <a:endParaRPr sz="1300">
                        <a:latin typeface="Arial"/>
                        <a:cs typeface="Arial"/>
                      </a:endParaRPr>
                    </a:p>
                  </a:txBody>
                  <a:tcPr marL="0" marR="0" marT="0" marB="0">
                    <a:lnL w="12700">
                      <a:solidFill>
                        <a:srgbClr val="009963"/>
                      </a:solidFill>
                      <a:prstDash val="solid"/>
                    </a:lnL>
                    <a:lnR w="12700">
                      <a:solidFill>
                        <a:srgbClr val="0A41CD"/>
                      </a:solidFill>
                      <a:prstDash val="solid"/>
                    </a:lnR>
                    <a:lnB w="12700">
                      <a:solidFill>
                        <a:srgbClr val="DDDBDB"/>
                      </a:solidFill>
                      <a:prstDash val="solid"/>
                    </a:lnB>
                    <a:solidFill>
                      <a:srgbClr val="E7EFF8"/>
                    </a:solidFill>
                  </a:tcPr>
                </a:tc>
                <a:extLst>
                  <a:ext uri="{0D108BD9-81ED-4DB2-BD59-A6C34878D82A}">
                    <a16:rowId xmlns:a16="http://schemas.microsoft.com/office/drawing/2014/main" val="10003"/>
                  </a:ext>
                </a:extLst>
              </a:tr>
              <a:tr h="214207">
                <a:tc>
                  <a:txBody>
                    <a:bodyPr/>
                    <a:lstStyle/>
                    <a:p>
                      <a:pPr>
                        <a:lnSpc>
                          <a:spcPct val="100000"/>
                        </a:lnSpc>
                      </a:pPr>
                      <a:endParaRPr sz="1200">
                        <a:latin typeface="Times New Roman"/>
                        <a:cs typeface="Times New Roman"/>
                      </a:endParaRPr>
                    </a:p>
                  </a:txBody>
                  <a:tcPr marL="0" marR="0" marT="0" marB="0">
                    <a:lnL w="12700">
                      <a:solidFill>
                        <a:srgbClr val="0A41CD"/>
                      </a:solidFill>
                      <a:prstDash val="solid"/>
                    </a:lnL>
                    <a:lnT w="12700">
                      <a:solidFill>
                        <a:srgbClr val="DDDBDB"/>
                      </a:solidFill>
                      <a:prstDash val="solid"/>
                    </a:lnT>
                    <a:solidFill>
                      <a:srgbClr val="F1F1F1"/>
                    </a:solidFill>
                  </a:tcPr>
                </a:tc>
                <a:tc>
                  <a:txBody>
                    <a:bodyPr/>
                    <a:lstStyle/>
                    <a:p>
                      <a:pPr marL="46990">
                        <a:lnSpc>
                          <a:spcPct val="100000"/>
                        </a:lnSpc>
                        <a:spcBef>
                          <a:spcPts val="80"/>
                        </a:spcBef>
                      </a:pPr>
                      <a:r>
                        <a:rPr sz="1300" dirty="0">
                          <a:latin typeface="Arial"/>
                          <a:cs typeface="Arial"/>
                        </a:rPr>
                        <a:t>Western</a:t>
                      </a:r>
                      <a:r>
                        <a:rPr sz="1300" spc="15" dirty="0">
                          <a:latin typeface="Arial"/>
                          <a:cs typeface="Arial"/>
                        </a:rPr>
                        <a:t> </a:t>
                      </a:r>
                      <a:r>
                        <a:rPr sz="1300" spc="-10" dirty="0">
                          <a:latin typeface="Arial"/>
                          <a:cs typeface="Arial"/>
                        </a:rPr>
                        <a:t>Europe, </a:t>
                      </a:r>
                      <a:r>
                        <a:rPr sz="1300" dirty="0">
                          <a:latin typeface="Arial"/>
                          <a:cs typeface="Arial"/>
                        </a:rPr>
                        <a:t>United</a:t>
                      </a:r>
                      <a:r>
                        <a:rPr sz="1300" spc="-50" dirty="0">
                          <a:latin typeface="Arial"/>
                          <a:cs typeface="Arial"/>
                        </a:rPr>
                        <a:t> </a:t>
                      </a:r>
                      <a:r>
                        <a:rPr sz="1300" dirty="0">
                          <a:latin typeface="Arial"/>
                          <a:cs typeface="Arial"/>
                        </a:rPr>
                        <a:t>States,</a:t>
                      </a:r>
                      <a:r>
                        <a:rPr sz="1300" spc="-10" dirty="0">
                          <a:latin typeface="Arial"/>
                          <a:cs typeface="Arial"/>
                        </a:rPr>
                        <a:t> Canada</a:t>
                      </a:r>
                      <a:endParaRPr sz="1300">
                        <a:latin typeface="Arial"/>
                        <a:cs typeface="Arial"/>
                      </a:endParaRPr>
                    </a:p>
                  </a:txBody>
                  <a:tcPr marL="0" marR="0" marT="13547" marB="0">
                    <a:lnR w="12700">
                      <a:solidFill>
                        <a:srgbClr val="009963"/>
                      </a:solidFill>
                      <a:prstDash val="solid"/>
                    </a:lnR>
                    <a:lnT w="12700">
                      <a:solidFill>
                        <a:srgbClr val="DDDBDB"/>
                      </a:solidFill>
                      <a:prstDash val="solid"/>
                    </a:lnT>
                    <a:solidFill>
                      <a:srgbClr val="F1F1F1"/>
                    </a:solidFill>
                  </a:tcPr>
                </a:tc>
                <a:tc>
                  <a:txBody>
                    <a:bodyPr/>
                    <a:lstStyle/>
                    <a:p>
                      <a:pPr marL="11430" algn="ctr">
                        <a:lnSpc>
                          <a:spcPct val="100000"/>
                        </a:lnSpc>
                        <a:spcBef>
                          <a:spcPts val="80"/>
                        </a:spcBef>
                      </a:pPr>
                      <a:r>
                        <a:rPr sz="1300" dirty="0">
                          <a:latin typeface="Arial"/>
                          <a:cs typeface="Arial"/>
                        </a:rPr>
                        <a:t>32</a:t>
                      </a:r>
                      <a:r>
                        <a:rPr sz="1300" spc="25" dirty="0">
                          <a:latin typeface="Arial"/>
                          <a:cs typeface="Arial"/>
                        </a:rPr>
                        <a:t> </a:t>
                      </a:r>
                      <a:r>
                        <a:rPr sz="1300" spc="-10" dirty="0">
                          <a:latin typeface="Arial"/>
                          <a:cs typeface="Arial"/>
                        </a:rPr>
                        <a:t>(24.8)</a:t>
                      </a:r>
                      <a:endParaRPr sz="1300">
                        <a:latin typeface="Arial"/>
                        <a:cs typeface="Arial"/>
                      </a:endParaRPr>
                    </a:p>
                  </a:txBody>
                  <a:tcPr marL="0" marR="0" marT="13547" marB="0">
                    <a:lnL w="12700">
                      <a:solidFill>
                        <a:srgbClr val="009963"/>
                      </a:solidFill>
                      <a:prstDash val="solid"/>
                    </a:lnL>
                    <a:lnR w="12700">
                      <a:solidFill>
                        <a:srgbClr val="009963"/>
                      </a:solidFill>
                      <a:prstDash val="solid"/>
                    </a:lnR>
                    <a:lnT w="12700">
                      <a:solidFill>
                        <a:srgbClr val="DDDBDB"/>
                      </a:solidFill>
                      <a:prstDash val="solid"/>
                    </a:lnT>
                    <a:solidFill>
                      <a:srgbClr val="D1EEE1"/>
                    </a:solidFill>
                  </a:tcPr>
                </a:tc>
                <a:tc>
                  <a:txBody>
                    <a:bodyPr/>
                    <a:lstStyle/>
                    <a:p>
                      <a:pPr marL="15240" algn="ctr">
                        <a:lnSpc>
                          <a:spcPct val="100000"/>
                        </a:lnSpc>
                        <a:spcBef>
                          <a:spcPts val="80"/>
                        </a:spcBef>
                      </a:pPr>
                      <a:r>
                        <a:rPr sz="1300" dirty="0">
                          <a:latin typeface="Arial"/>
                          <a:cs typeface="Arial"/>
                        </a:rPr>
                        <a:t>37</a:t>
                      </a:r>
                      <a:r>
                        <a:rPr sz="1300" spc="25" dirty="0">
                          <a:latin typeface="Arial"/>
                          <a:cs typeface="Arial"/>
                        </a:rPr>
                        <a:t> </a:t>
                      </a:r>
                      <a:r>
                        <a:rPr sz="1300" spc="-10" dirty="0">
                          <a:latin typeface="Arial"/>
                          <a:cs typeface="Arial"/>
                        </a:rPr>
                        <a:t>(29.4)</a:t>
                      </a:r>
                      <a:endParaRPr sz="1300">
                        <a:latin typeface="Arial"/>
                        <a:cs typeface="Arial"/>
                      </a:endParaRPr>
                    </a:p>
                  </a:txBody>
                  <a:tcPr marL="0" marR="0" marT="13547" marB="0">
                    <a:lnL w="12700">
                      <a:solidFill>
                        <a:srgbClr val="009963"/>
                      </a:solidFill>
                      <a:prstDash val="solid"/>
                    </a:lnL>
                    <a:lnR w="12700">
                      <a:solidFill>
                        <a:srgbClr val="0A41CD"/>
                      </a:solidFill>
                      <a:prstDash val="solid"/>
                    </a:lnR>
                    <a:lnT w="12700">
                      <a:solidFill>
                        <a:srgbClr val="DDDBDB"/>
                      </a:solidFill>
                      <a:prstDash val="solid"/>
                    </a:lnT>
                    <a:solidFill>
                      <a:srgbClr val="D3E3F4"/>
                    </a:solidFill>
                  </a:tcPr>
                </a:tc>
                <a:extLst>
                  <a:ext uri="{0D108BD9-81ED-4DB2-BD59-A6C34878D82A}">
                    <a16:rowId xmlns:a16="http://schemas.microsoft.com/office/drawing/2014/main" val="10004"/>
                  </a:ext>
                </a:extLst>
              </a:tr>
              <a:tr h="202353">
                <a:tc>
                  <a:txBody>
                    <a:bodyPr/>
                    <a:lstStyle/>
                    <a:p>
                      <a:pPr marL="15875">
                        <a:lnSpc>
                          <a:spcPct val="100000"/>
                        </a:lnSpc>
                      </a:pPr>
                      <a:r>
                        <a:rPr sz="1300" b="1" dirty="0">
                          <a:latin typeface="Arial"/>
                          <a:cs typeface="Arial"/>
                        </a:rPr>
                        <a:t>Geographical</a:t>
                      </a:r>
                      <a:r>
                        <a:rPr sz="1300" b="1" spc="-55" dirty="0">
                          <a:latin typeface="Arial"/>
                          <a:cs typeface="Arial"/>
                        </a:rPr>
                        <a:t> </a:t>
                      </a:r>
                      <a:r>
                        <a:rPr sz="1300" b="1" spc="-10" dirty="0">
                          <a:latin typeface="Arial"/>
                          <a:cs typeface="Arial"/>
                        </a:rPr>
                        <a:t>region</a:t>
                      </a:r>
                      <a:endParaRPr sz="1300">
                        <a:latin typeface="Arial"/>
                        <a:cs typeface="Arial"/>
                      </a:endParaRPr>
                    </a:p>
                  </a:txBody>
                  <a:tcPr marL="0" marR="0" marT="0" marB="0">
                    <a:lnL w="12700">
                      <a:solidFill>
                        <a:srgbClr val="0A41CD"/>
                      </a:solidFill>
                      <a:prstDash val="solid"/>
                    </a:lnL>
                    <a:solidFill>
                      <a:srgbClr val="F1F1F1"/>
                    </a:solidFill>
                  </a:tcPr>
                </a:tc>
                <a:tc>
                  <a:txBody>
                    <a:bodyPr/>
                    <a:lstStyle/>
                    <a:p>
                      <a:pPr marL="46990">
                        <a:lnSpc>
                          <a:spcPct val="100000"/>
                        </a:lnSpc>
                        <a:spcBef>
                          <a:spcPts val="20"/>
                        </a:spcBef>
                      </a:pPr>
                      <a:r>
                        <a:rPr sz="1300" dirty="0">
                          <a:latin typeface="Arial"/>
                          <a:cs typeface="Arial"/>
                        </a:rPr>
                        <a:t>China,</a:t>
                      </a:r>
                      <a:r>
                        <a:rPr sz="1300" spc="-25" dirty="0">
                          <a:latin typeface="Arial"/>
                          <a:cs typeface="Arial"/>
                        </a:rPr>
                        <a:t> </a:t>
                      </a:r>
                      <a:r>
                        <a:rPr sz="1300" dirty="0">
                          <a:latin typeface="Arial"/>
                          <a:cs typeface="Arial"/>
                        </a:rPr>
                        <a:t>South</a:t>
                      </a:r>
                      <a:r>
                        <a:rPr sz="1300" spc="10" dirty="0">
                          <a:latin typeface="Arial"/>
                          <a:cs typeface="Arial"/>
                        </a:rPr>
                        <a:t> </a:t>
                      </a:r>
                      <a:r>
                        <a:rPr sz="1300" spc="-20" dirty="0">
                          <a:latin typeface="Arial"/>
                          <a:cs typeface="Arial"/>
                        </a:rPr>
                        <a:t>Korea</a:t>
                      </a:r>
                      <a:endParaRPr sz="1300">
                        <a:latin typeface="Arial"/>
                        <a:cs typeface="Arial"/>
                      </a:endParaRPr>
                    </a:p>
                  </a:txBody>
                  <a:tcPr marL="0" marR="0" marT="3387" marB="0">
                    <a:lnR w="12700">
                      <a:solidFill>
                        <a:srgbClr val="009963"/>
                      </a:solidFill>
                      <a:prstDash val="solid"/>
                    </a:lnR>
                    <a:solidFill>
                      <a:srgbClr val="F1F1F1"/>
                    </a:solidFill>
                  </a:tcPr>
                </a:tc>
                <a:tc>
                  <a:txBody>
                    <a:bodyPr/>
                    <a:lstStyle/>
                    <a:p>
                      <a:pPr marL="11430" algn="ctr">
                        <a:lnSpc>
                          <a:spcPct val="100000"/>
                        </a:lnSpc>
                        <a:spcBef>
                          <a:spcPts val="20"/>
                        </a:spcBef>
                      </a:pPr>
                      <a:r>
                        <a:rPr sz="1300" dirty="0">
                          <a:latin typeface="Arial"/>
                          <a:cs typeface="Arial"/>
                        </a:rPr>
                        <a:t>42</a:t>
                      </a:r>
                      <a:r>
                        <a:rPr sz="1300" spc="25" dirty="0">
                          <a:latin typeface="Arial"/>
                          <a:cs typeface="Arial"/>
                        </a:rPr>
                        <a:t> </a:t>
                      </a:r>
                      <a:r>
                        <a:rPr sz="1300" spc="-10" dirty="0">
                          <a:latin typeface="Arial"/>
                          <a:cs typeface="Arial"/>
                        </a:rPr>
                        <a:t>(32.6)</a:t>
                      </a:r>
                      <a:endParaRPr sz="1300">
                        <a:latin typeface="Arial"/>
                        <a:cs typeface="Arial"/>
                      </a:endParaRPr>
                    </a:p>
                  </a:txBody>
                  <a:tcPr marL="0" marR="0" marT="3387" marB="0">
                    <a:lnL w="12700">
                      <a:solidFill>
                        <a:srgbClr val="009963"/>
                      </a:solidFill>
                      <a:prstDash val="solid"/>
                    </a:lnL>
                    <a:lnR w="12700">
                      <a:solidFill>
                        <a:srgbClr val="009963"/>
                      </a:solidFill>
                      <a:prstDash val="solid"/>
                    </a:lnR>
                    <a:solidFill>
                      <a:srgbClr val="D1EEE1"/>
                    </a:solidFill>
                  </a:tcPr>
                </a:tc>
                <a:tc>
                  <a:txBody>
                    <a:bodyPr/>
                    <a:lstStyle/>
                    <a:p>
                      <a:pPr marL="15240" algn="ctr">
                        <a:lnSpc>
                          <a:spcPct val="100000"/>
                        </a:lnSpc>
                        <a:spcBef>
                          <a:spcPts val="20"/>
                        </a:spcBef>
                      </a:pPr>
                      <a:r>
                        <a:rPr sz="1300" dirty="0">
                          <a:latin typeface="Arial"/>
                          <a:cs typeface="Arial"/>
                        </a:rPr>
                        <a:t>34</a:t>
                      </a:r>
                      <a:r>
                        <a:rPr sz="1300" spc="25" dirty="0">
                          <a:latin typeface="Arial"/>
                          <a:cs typeface="Arial"/>
                        </a:rPr>
                        <a:t> </a:t>
                      </a:r>
                      <a:r>
                        <a:rPr sz="1300" spc="-10" dirty="0">
                          <a:latin typeface="Arial"/>
                          <a:cs typeface="Arial"/>
                        </a:rPr>
                        <a:t>(27.0)</a:t>
                      </a:r>
                      <a:endParaRPr sz="1300">
                        <a:latin typeface="Arial"/>
                        <a:cs typeface="Arial"/>
                      </a:endParaRPr>
                    </a:p>
                  </a:txBody>
                  <a:tcPr marL="0" marR="0" marT="3387" marB="0">
                    <a:lnL w="12700">
                      <a:solidFill>
                        <a:srgbClr val="009963"/>
                      </a:solidFill>
                      <a:prstDash val="solid"/>
                    </a:lnL>
                    <a:lnR w="12700">
                      <a:solidFill>
                        <a:srgbClr val="0A41CD"/>
                      </a:solidFill>
                      <a:prstDash val="solid"/>
                    </a:lnR>
                    <a:solidFill>
                      <a:srgbClr val="D3E3F4"/>
                    </a:solidFill>
                  </a:tcPr>
                </a:tc>
                <a:extLst>
                  <a:ext uri="{0D108BD9-81ED-4DB2-BD59-A6C34878D82A}">
                    <a16:rowId xmlns:a16="http://schemas.microsoft.com/office/drawing/2014/main" val="10005"/>
                  </a:ext>
                </a:extLst>
              </a:tr>
              <a:tr h="199813">
                <a:tc>
                  <a:txBody>
                    <a:bodyPr/>
                    <a:lstStyle/>
                    <a:p>
                      <a:pPr>
                        <a:lnSpc>
                          <a:spcPct val="100000"/>
                        </a:lnSpc>
                      </a:pPr>
                      <a:endParaRPr sz="1100">
                        <a:latin typeface="Times New Roman"/>
                        <a:cs typeface="Times New Roman"/>
                      </a:endParaRPr>
                    </a:p>
                  </a:txBody>
                  <a:tcPr marL="0" marR="0" marT="0" marB="0">
                    <a:lnL w="12700">
                      <a:solidFill>
                        <a:srgbClr val="0A41CD"/>
                      </a:solidFill>
                      <a:prstDash val="solid"/>
                    </a:lnL>
                    <a:lnB w="12700">
                      <a:solidFill>
                        <a:srgbClr val="DDDBDB"/>
                      </a:solidFill>
                      <a:prstDash val="solid"/>
                    </a:lnB>
                    <a:solidFill>
                      <a:srgbClr val="F1F1F1"/>
                    </a:solidFill>
                  </a:tcPr>
                </a:tc>
                <a:tc>
                  <a:txBody>
                    <a:bodyPr/>
                    <a:lstStyle/>
                    <a:p>
                      <a:pPr marL="46990">
                        <a:lnSpc>
                          <a:spcPct val="100000"/>
                        </a:lnSpc>
                      </a:pPr>
                      <a:r>
                        <a:rPr sz="1300" dirty="0">
                          <a:latin typeface="Arial"/>
                          <a:cs typeface="Arial"/>
                        </a:rPr>
                        <a:t>Brazil,</a:t>
                      </a:r>
                      <a:r>
                        <a:rPr sz="1300" spc="-25" dirty="0">
                          <a:latin typeface="Arial"/>
                          <a:cs typeface="Arial"/>
                        </a:rPr>
                        <a:t> </a:t>
                      </a:r>
                      <a:r>
                        <a:rPr sz="1300" dirty="0">
                          <a:latin typeface="Arial"/>
                          <a:cs typeface="Arial"/>
                        </a:rPr>
                        <a:t>Mexico,</a:t>
                      </a:r>
                      <a:r>
                        <a:rPr sz="1300" spc="-20" dirty="0">
                          <a:latin typeface="Arial"/>
                          <a:cs typeface="Arial"/>
                        </a:rPr>
                        <a:t> </a:t>
                      </a:r>
                      <a:r>
                        <a:rPr sz="1300" dirty="0">
                          <a:latin typeface="Arial"/>
                          <a:cs typeface="Arial"/>
                        </a:rPr>
                        <a:t>India,</a:t>
                      </a:r>
                      <a:r>
                        <a:rPr sz="1300" spc="-20" dirty="0">
                          <a:latin typeface="Arial"/>
                          <a:cs typeface="Arial"/>
                        </a:rPr>
                        <a:t> </a:t>
                      </a:r>
                      <a:r>
                        <a:rPr sz="1300" spc="-10" dirty="0">
                          <a:latin typeface="Arial"/>
                          <a:cs typeface="Arial"/>
                        </a:rPr>
                        <a:t>Turkey</a:t>
                      </a:r>
                      <a:endParaRPr sz="1300" dirty="0">
                        <a:latin typeface="Arial"/>
                        <a:cs typeface="Arial"/>
                      </a:endParaRPr>
                    </a:p>
                  </a:txBody>
                  <a:tcPr marL="0" marR="0" marT="0" marB="0">
                    <a:lnR w="12700">
                      <a:solidFill>
                        <a:srgbClr val="009963"/>
                      </a:solidFill>
                      <a:prstDash val="solid"/>
                    </a:lnR>
                    <a:lnB w="12700">
                      <a:solidFill>
                        <a:srgbClr val="DDDBDB"/>
                      </a:solidFill>
                      <a:prstDash val="solid"/>
                    </a:lnB>
                    <a:solidFill>
                      <a:srgbClr val="F1F1F1"/>
                    </a:solidFill>
                  </a:tcPr>
                </a:tc>
                <a:tc>
                  <a:txBody>
                    <a:bodyPr/>
                    <a:lstStyle/>
                    <a:p>
                      <a:pPr marL="11430" algn="ctr">
                        <a:lnSpc>
                          <a:spcPct val="100000"/>
                        </a:lnSpc>
                      </a:pPr>
                      <a:r>
                        <a:rPr sz="1300" dirty="0">
                          <a:latin typeface="Arial"/>
                          <a:cs typeface="Arial"/>
                        </a:rPr>
                        <a:t>55</a:t>
                      </a:r>
                      <a:r>
                        <a:rPr sz="1300" spc="25" dirty="0">
                          <a:latin typeface="Arial"/>
                          <a:cs typeface="Arial"/>
                        </a:rPr>
                        <a:t> </a:t>
                      </a:r>
                      <a:r>
                        <a:rPr sz="1300" spc="-10" dirty="0">
                          <a:latin typeface="Arial"/>
                          <a:cs typeface="Arial"/>
                        </a:rPr>
                        <a:t>(42.6)</a:t>
                      </a:r>
                      <a:endParaRPr sz="1300">
                        <a:latin typeface="Arial"/>
                        <a:cs typeface="Arial"/>
                      </a:endParaRPr>
                    </a:p>
                  </a:txBody>
                  <a:tcPr marL="0" marR="0" marT="0" marB="0">
                    <a:lnL w="12700">
                      <a:solidFill>
                        <a:srgbClr val="009963"/>
                      </a:solidFill>
                      <a:prstDash val="solid"/>
                    </a:lnL>
                    <a:lnR w="12700">
                      <a:solidFill>
                        <a:srgbClr val="009963"/>
                      </a:solidFill>
                      <a:prstDash val="solid"/>
                    </a:lnR>
                    <a:lnB w="12700">
                      <a:solidFill>
                        <a:srgbClr val="DDDBDB"/>
                      </a:solidFill>
                      <a:prstDash val="solid"/>
                    </a:lnB>
                    <a:solidFill>
                      <a:srgbClr val="D1EEE1"/>
                    </a:solidFill>
                  </a:tcPr>
                </a:tc>
                <a:tc>
                  <a:txBody>
                    <a:bodyPr/>
                    <a:lstStyle/>
                    <a:p>
                      <a:pPr marL="14604" algn="ctr">
                        <a:lnSpc>
                          <a:spcPct val="100000"/>
                        </a:lnSpc>
                      </a:pPr>
                      <a:r>
                        <a:rPr sz="1300" dirty="0">
                          <a:latin typeface="Arial"/>
                          <a:cs typeface="Arial"/>
                        </a:rPr>
                        <a:t>55</a:t>
                      </a:r>
                      <a:r>
                        <a:rPr sz="1300" spc="25" dirty="0">
                          <a:latin typeface="Arial"/>
                          <a:cs typeface="Arial"/>
                        </a:rPr>
                        <a:t> </a:t>
                      </a:r>
                      <a:r>
                        <a:rPr sz="1300" spc="-10" dirty="0">
                          <a:latin typeface="Arial"/>
                          <a:cs typeface="Arial"/>
                        </a:rPr>
                        <a:t>(43.7)</a:t>
                      </a:r>
                      <a:endParaRPr sz="1300">
                        <a:latin typeface="Arial"/>
                        <a:cs typeface="Arial"/>
                      </a:endParaRPr>
                    </a:p>
                  </a:txBody>
                  <a:tcPr marL="0" marR="0" marT="0" marB="0">
                    <a:lnL w="12700">
                      <a:solidFill>
                        <a:srgbClr val="009963"/>
                      </a:solidFill>
                      <a:prstDash val="solid"/>
                    </a:lnL>
                    <a:lnR w="12700">
                      <a:solidFill>
                        <a:srgbClr val="0A41CD"/>
                      </a:solidFill>
                      <a:prstDash val="solid"/>
                    </a:lnR>
                    <a:lnB w="12700">
                      <a:solidFill>
                        <a:srgbClr val="DDDBDB"/>
                      </a:solidFill>
                      <a:prstDash val="solid"/>
                    </a:lnB>
                    <a:solidFill>
                      <a:srgbClr val="D3E3F4"/>
                    </a:solidFill>
                  </a:tcPr>
                </a:tc>
                <a:extLst>
                  <a:ext uri="{0D108BD9-81ED-4DB2-BD59-A6C34878D82A}">
                    <a16:rowId xmlns:a16="http://schemas.microsoft.com/office/drawing/2014/main" val="10006"/>
                  </a:ext>
                </a:extLst>
              </a:tr>
              <a:tr h="219287">
                <a:tc rowSpan="2">
                  <a:txBody>
                    <a:bodyPr/>
                    <a:lstStyle/>
                    <a:p>
                      <a:pPr marL="15875">
                        <a:lnSpc>
                          <a:spcPct val="100000"/>
                        </a:lnSpc>
                        <a:spcBef>
                          <a:spcPts val="660"/>
                        </a:spcBef>
                      </a:pPr>
                      <a:r>
                        <a:rPr sz="1300" b="1" dirty="0">
                          <a:latin typeface="Arial"/>
                          <a:cs typeface="Arial"/>
                        </a:rPr>
                        <a:t>ECOG </a:t>
                      </a:r>
                      <a:r>
                        <a:rPr sz="1300" b="1" spc="-25" dirty="0">
                          <a:latin typeface="Arial"/>
                          <a:cs typeface="Arial"/>
                        </a:rPr>
                        <a:t>PS</a:t>
                      </a:r>
                      <a:endParaRPr sz="1300">
                        <a:latin typeface="Arial"/>
                        <a:cs typeface="Arial"/>
                      </a:endParaRPr>
                    </a:p>
                  </a:txBody>
                  <a:tcPr marL="0" marR="0" marT="111760" marB="0">
                    <a:lnL w="12700">
                      <a:solidFill>
                        <a:srgbClr val="0A41CD"/>
                      </a:solidFill>
                      <a:prstDash val="solid"/>
                    </a:lnL>
                    <a:lnT w="12700">
                      <a:solidFill>
                        <a:srgbClr val="DDDBDB"/>
                      </a:solidFill>
                      <a:prstDash val="solid"/>
                    </a:lnT>
                    <a:lnB w="12700">
                      <a:solidFill>
                        <a:srgbClr val="DDDBDB"/>
                      </a:solidFill>
                      <a:prstDash val="solid"/>
                    </a:lnB>
                  </a:tcPr>
                </a:tc>
                <a:tc>
                  <a:txBody>
                    <a:bodyPr/>
                    <a:lstStyle/>
                    <a:p>
                      <a:pPr marL="46990">
                        <a:lnSpc>
                          <a:spcPct val="100000"/>
                        </a:lnSpc>
                        <a:spcBef>
                          <a:spcPts val="90"/>
                        </a:spcBef>
                      </a:pPr>
                      <a:r>
                        <a:rPr sz="1300" spc="-25" dirty="0">
                          <a:latin typeface="Arial"/>
                          <a:cs typeface="Arial"/>
                        </a:rPr>
                        <a:t>0–1</a:t>
                      </a:r>
                      <a:endParaRPr sz="1300">
                        <a:latin typeface="Arial"/>
                        <a:cs typeface="Arial"/>
                      </a:endParaRPr>
                    </a:p>
                  </a:txBody>
                  <a:tcPr marL="0" marR="0" marT="15240" marB="0">
                    <a:lnR w="12700">
                      <a:solidFill>
                        <a:srgbClr val="009963"/>
                      </a:solidFill>
                      <a:prstDash val="solid"/>
                    </a:lnR>
                    <a:lnT w="12700">
                      <a:solidFill>
                        <a:srgbClr val="DDDBDB"/>
                      </a:solidFill>
                      <a:prstDash val="solid"/>
                    </a:lnT>
                  </a:tcPr>
                </a:tc>
                <a:tc>
                  <a:txBody>
                    <a:bodyPr/>
                    <a:lstStyle/>
                    <a:p>
                      <a:pPr marL="10795" algn="ctr">
                        <a:lnSpc>
                          <a:spcPct val="100000"/>
                        </a:lnSpc>
                        <a:spcBef>
                          <a:spcPts val="90"/>
                        </a:spcBef>
                      </a:pPr>
                      <a:r>
                        <a:rPr sz="1300" dirty="0">
                          <a:latin typeface="Arial"/>
                          <a:cs typeface="Arial"/>
                        </a:rPr>
                        <a:t>115</a:t>
                      </a:r>
                      <a:r>
                        <a:rPr sz="1300" spc="20" dirty="0">
                          <a:latin typeface="Arial"/>
                          <a:cs typeface="Arial"/>
                        </a:rPr>
                        <a:t> </a:t>
                      </a:r>
                      <a:r>
                        <a:rPr sz="1300" spc="-10" dirty="0">
                          <a:latin typeface="Arial"/>
                          <a:cs typeface="Arial"/>
                        </a:rPr>
                        <a:t>(89.1)</a:t>
                      </a:r>
                      <a:endParaRPr sz="1300" dirty="0">
                        <a:latin typeface="Arial"/>
                        <a:cs typeface="Arial"/>
                      </a:endParaRPr>
                    </a:p>
                  </a:txBody>
                  <a:tcPr marL="0" marR="0" marT="15240" marB="0">
                    <a:lnL w="12700">
                      <a:solidFill>
                        <a:srgbClr val="009963"/>
                      </a:solidFill>
                      <a:prstDash val="solid"/>
                    </a:lnL>
                    <a:lnR w="12700">
                      <a:solidFill>
                        <a:srgbClr val="009963"/>
                      </a:solidFill>
                      <a:prstDash val="solid"/>
                    </a:lnR>
                    <a:lnT w="12700">
                      <a:solidFill>
                        <a:srgbClr val="DDDBDB"/>
                      </a:solidFill>
                      <a:prstDash val="solid"/>
                    </a:lnT>
                    <a:solidFill>
                      <a:srgbClr val="E6F6EE"/>
                    </a:solidFill>
                  </a:tcPr>
                </a:tc>
                <a:tc>
                  <a:txBody>
                    <a:bodyPr/>
                    <a:lstStyle/>
                    <a:p>
                      <a:pPr marL="14604" algn="ctr">
                        <a:lnSpc>
                          <a:spcPct val="100000"/>
                        </a:lnSpc>
                        <a:spcBef>
                          <a:spcPts val="90"/>
                        </a:spcBef>
                      </a:pPr>
                      <a:r>
                        <a:rPr sz="1300" dirty="0">
                          <a:latin typeface="Arial"/>
                          <a:cs typeface="Arial"/>
                        </a:rPr>
                        <a:t>110</a:t>
                      </a:r>
                      <a:r>
                        <a:rPr sz="1300" spc="20" dirty="0">
                          <a:latin typeface="Arial"/>
                          <a:cs typeface="Arial"/>
                        </a:rPr>
                        <a:t> </a:t>
                      </a:r>
                      <a:r>
                        <a:rPr sz="1300" spc="-10" dirty="0">
                          <a:latin typeface="Arial"/>
                          <a:cs typeface="Arial"/>
                        </a:rPr>
                        <a:t>(87.3)</a:t>
                      </a:r>
                      <a:endParaRPr sz="1300">
                        <a:latin typeface="Arial"/>
                        <a:cs typeface="Arial"/>
                      </a:endParaRPr>
                    </a:p>
                  </a:txBody>
                  <a:tcPr marL="0" marR="0" marT="15240" marB="0">
                    <a:lnL w="12700">
                      <a:solidFill>
                        <a:srgbClr val="009963"/>
                      </a:solidFill>
                      <a:prstDash val="solid"/>
                    </a:lnL>
                    <a:lnR w="12700">
                      <a:solidFill>
                        <a:srgbClr val="0A41CD"/>
                      </a:solidFill>
                      <a:prstDash val="solid"/>
                    </a:lnR>
                    <a:lnT w="12700">
                      <a:solidFill>
                        <a:srgbClr val="DDDBDB"/>
                      </a:solidFill>
                      <a:prstDash val="solid"/>
                    </a:lnT>
                    <a:solidFill>
                      <a:srgbClr val="E7EFF8"/>
                    </a:solidFill>
                  </a:tcPr>
                </a:tc>
                <a:extLst>
                  <a:ext uri="{0D108BD9-81ED-4DB2-BD59-A6C34878D82A}">
                    <a16:rowId xmlns:a16="http://schemas.microsoft.com/office/drawing/2014/main" val="10007"/>
                  </a:ext>
                </a:extLst>
              </a:tr>
              <a:tr h="204047">
                <a:tc vMerge="1">
                  <a:txBody>
                    <a:bodyPr/>
                    <a:lstStyle/>
                    <a:p>
                      <a:endParaRPr/>
                    </a:p>
                  </a:txBody>
                  <a:tcPr marL="0" marR="0" marT="83820" marB="0">
                    <a:lnL w="12700">
                      <a:solidFill>
                        <a:srgbClr val="0A41CD"/>
                      </a:solidFill>
                      <a:prstDash val="solid"/>
                    </a:lnL>
                    <a:lnT w="12700">
                      <a:solidFill>
                        <a:srgbClr val="DDDBDB"/>
                      </a:solidFill>
                      <a:prstDash val="solid"/>
                    </a:lnT>
                    <a:lnB w="12700">
                      <a:solidFill>
                        <a:srgbClr val="DDDBDB"/>
                      </a:solidFill>
                      <a:prstDash val="solid"/>
                    </a:lnB>
                  </a:tcPr>
                </a:tc>
                <a:tc>
                  <a:txBody>
                    <a:bodyPr/>
                    <a:lstStyle/>
                    <a:p>
                      <a:pPr marL="46990">
                        <a:lnSpc>
                          <a:spcPct val="100000"/>
                        </a:lnSpc>
                      </a:pPr>
                      <a:r>
                        <a:rPr sz="1300" spc="-50" dirty="0">
                          <a:latin typeface="Arial"/>
                          <a:cs typeface="Arial"/>
                        </a:rPr>
                        <a:t>2</a:t>
                      </a:r>
                      <a:endParaRPr sz="1300">
                        <a:latin typeface="Arial"/>
                        <a:cs typeface="Arial"/>
                      </a:endParaRPr>
                    </a:p>
                  </a:txBody>
                  <a:tcPr marL="0" marR="0" marT="0" marB="0">
                    <a:lnR w="12700">
                      <a:solidFill>
                        <a:srgbClr val="009963"/>
                      </a:solidFill>
                      <a:prstDash val="solid"/>
                    </a:lnR>
                    <a:lnB w="12700">
                      <a:solidFill>
                        <a:srgbClr val="DDDBDB"/>
                      </a:solidFill>
                      <a:prstDash val="solid"/>
                    </a:lnB>
                  </a:tcPr>
                </a:tc>
                <a:tc>
                  <a:txBody>
                    <a:bodyPr/>
                    <a:lstStyle/>
                    <a:p>
                      <a:pPr marL="11430" algn="ctr">
                        <a:lnSpc>
                          <a:spcPct val="100000"/>
                        </a:lnSpc>
                      </a:pPr>
                      <a:r>
                        <a:rPr sz="1300" dirty="0">
                          <a:latin typeface="Arial"/>
                          <a:cs typeface="Arial"/>
                        </a:rPr>
                        <a:t>14</a:t>
                      </a:r>
                      <a:r>
                        <a:rPr sz="1300" spc="25" dirty="0">
                          <a:latin typeface="Arial"/>
                          <a:cs typeface="Arial"/>
                        </a:rPr>
                        <a:t> </a:t>
                      </a:r>
                      <a:r>
                        <a:rPr sz="1300" spc="-10" dirty="0">
                          <a:latin typeface="Arial"/>
                          <a:cs typeface="Arial"/>
                        </a:rPr>
                        <a:t>(10.9)</a:t>
                      </a:r>
                      <a:endParaRPr sz="1300">
                        <a:latin typeface="Arial"/>
                        <a:cs typeface="Arial"/>
                      </a:endParaRPr>
                    </a:p>
                  </a:txBody>
                  <a:tcPr marL="0" marR="0" marT="0" marB="0">
                    <a:lnL w="12700">
                      <a:solidFill>
                        <a:srgbClr val="009963"/>
                      </a:solidFill>
                      <a:prstDash val="solid"/>
                    </a:lnL>
                    <a:lnR w="12700">
                      <a:solidFill>
                        <a:srgbClr val="009963"/>
                      </a:solidFill>
                      <a:prstDash val="solid"/>
                    </a:lnR>
                    <a:lnB w="12700">
                      <a:solidFill>
                        <a:srgbClr val="DDDBDB"/>
                      </a:solidFill>
                      <a:prstDash val="solid"/>
                    </a:lnB>
                    <a:solidFill>
                      <a:srgbClr val="E6F6EE"/>
                    </a:solidFill>
                  </a:tcPr>
                </a:tc>
                <a:tc>
                  <a:txBody>
                    <a:bodyPr/>
                    <a:lstStyle/>
                    <a:p>
                      <a:pPr marL="15240" algn="ctr">
                        <a:lnSpc>
                          <a:spcPct val="100000"/>
                        </a:lnSpc>
                      </a:pPr>
                      <a:r>
                        <a:rPr sz="1300" dirty="0">
                          <a:latin typeface="Arial"/>
                          <a:cs typeface="Arial"/>
                        </a:rPr>
                        <a:t>16</a:t>
                      </a:r>
                      <a:r>
                        <a:rPr sz="1300" spc="25" dirty="0">
                          <a:latin typeface="Arial"/>
                          <a:cs typeface="Arial"/>
                        </a:rPr>
                        <a:t> </a:t>
                      </a:r>
                      <a:r>
                        <a:rPr sz="1300" spc="-10" dirty="0">
                          <a:latin typeface="Arial"/>
                          <a:cs typeface="Arial"/>
                        </a:rPr>
                        <a:t>(12.7)</a:t>
                      </a:r>
                      <a:endParaRPr sz="1300">
                        <a:latin typeface="Arial"/>
                        <a:cs typeface="Arial"/>
                      </a:endParaRPr>
                    </a:p>
                  </a:txBody>
                  <a:tcPr marL="0" marR="0" marT="0" marB="0">
                    <a:lnL w="12700">
                      <a:solidFill>
                        <a:srgbClr val="009963"/>
                      </a:solidFill>
                      <a:prstDash val="solid"/>
                    </a:lnL>
                    <a:lnR w="12700">
                      <a:solidFill>
                        <a:srgbClr val="0A41CD"/>
                      </a:solidFill>
                      <a:prstDash val="solid"/>
                    </a:lnR>
                    <a:lnB w="12700">
                      <a:solidFill>
                        <a:srgbClr val="DDDBDB"/>
                      </a:solidFill>
                      <a:prstDash val="solid"/>
                    </a:lnB>
                    <a:solidFill>
                      <a:srgbClr val="E7EFF8"/>
                    </a:solidFill>
                  </a:tcPr>
                </a:tc>
                <a:extLst>
                  <a:ext uri="{0D108BD9-81ED-4DB2-BD59-A6C34878D82A}">
                    <a16:rowId xmlns:a16="http://schemas.microsoft.com/office/drawing/2014/main" val="10008"/>
                  </a:ext>
                </a:extLst>
              </a:tr>
              <a:tr h="220133">
                <a:tc rowSpan="2">
                  <a:txBody>
                    <a:bodyPr/>
                    <a:lstStyle/>
                    <a:p>
                      <a:pPr marL="15875">
                        <a:lnSpc>
                          <a:spcPct val="100000"/>
                        </a:lnSpc>
                        <a:spcBef>
                          <a:spcPts val="660"/>
                        </a:spcBef>
                      </a:pPr>
                      <a:r>
                        <a:rPr sz="1300" b="1" dirty="0">
                          <a:latin typeface="Arial"/>
                          <a:cs typeface="Arial"/>
                        </a:rPr>
                        <a:t>Ann</a:t>
                      </a:r>
                      <a:r>
                        <a:rPr sz="1300" b="1" spc="-20" dirty="0">
                          <a:latin typeface="Arial"/>
                          <a:cs typeface="Arial"/>
                        </a:rPr>
                        <a:t> </a:t>
                      </a:r>
                      <a:r>
                        <a:rPr sz="1300" b="1" dirty="0">
                          <a:latin typeface="Arial"/>
                          <a:cs typeface="Arial"/>
                        </a:rPr>
                        <a:t>Arbor</a:t>
                      </a:r>
                      <a:r>
                        <a:rPr sz="1300" b="1" spc="-25" dirty="0">
                          <a:latin typeface="Arial"/>
                          <a:cs typeface="Arial"/>
                        </a:rPr>
                        <a:t> </a:t>
                      </a:r>
                      <a:r>
                        <a:rPr sz="1300" b="1" spc="-10" dirty="0">
                          <a:latin typeface="Arial"/>
                          <a:cs typeface="Arial"/>
                        </a:rPr>
                        <a:t>stage</a:t>
                      </a:r>
                      <a:endParaRPr sz="1300">
                        <a:latin typeface="Arial"/>
                        <a:cs typeface="Arial"/>
                      </a:endParaRPr>
                    </a:p>
                  </a:txBody>
                  <a:tcPr marL="0" marR="0" marT="111760" marB="0">
                    <a:lnL w="12700">
                      <a:solidFill>
                        <a:srgbClr val="0A41CD"/>
                      </a:solidFill>
                      <a:prstDash val="solid"/>
                    </a:lnL>
                    <a:lnT w="12700">
                      <a:solidFill>
                        <a:srgbClr val="DDDBDB"/>
                      </a:solidFill>
                      <a:prstDash val="solid"/>
                    </a:lnT>
                    <a:lnB w="12700">
                      <a:solidFill>
                        <a:srgbClr val="DDDBDB"/>
                      </a:solidFill>
                      <a:prstDash val="solid"/>
                    </a:lnB>
                    <a:solidFill>
                      <a:srgbClr val="F1F1F1"/>
                    </a:solidFill>
                  </a:tcPr>
                </a:tc>
                <a:tc>
                  <a:txBody>
                    <a:bodyPr/>
                    <a:lstStyle/>
                    <a:p>
                      <a:pPr marL="46990">
                        <a:lnSpc>
                          <a:spcPct val="100000"/>
                        </a:lnSpc>
                        <a:spcBef>
                          <a:spcPts val="90"/>
                        </a:spcBef>
                      </a:pPr>
                      <a:r>
                        <a:rPr sz="1300" spc="-20" dirty="0">
                          <a:latin typeface="Arial"/>
                          <a:cs typeface="Arial"/>
                        </a:rPr>
                        <a:t>I–II</a:t>
                      </a:r>
                      <a:endParaRPr sz="1300">
                        <a:latin typeface="Arial"/>
                        <a:cs typeface="Arial"/>
                      </a:endParaRPr>
                    </a:p>
                  </a:txBody>
                  <a:tcPr marL="0" marR="0" marT="15240" marB="0">
                    <a:lnR w="12700">
                      <a:solidFill>
                        <a:srgbClr val="009963"/>
                      </a:solidFill>
                      <a:prstDash val="solid"/>
                    </a:lnR>
                    <a:lnT w="12700">
                      <a:solidFill>
                        <a:srgbClr val="DDDBDB"/>
                      </a:solidFill>
                      <a:prstDash val="solid"/>
                    </a:lnT>
                    <a:solidFill>
                      <a:srgbClr val="F1F1F1"/>
                    </a:solidFill>
                  </a:tcPr>
                </a:tc>
                <a:tc>
                  <a:txBody>
                    <a:bodyPr/>
                    <a:lstStyle/>
                    <a:p>
                      <a:pPr marL="11430" algn="ctr">
                        <a:lnSpc>
                          <a:spcPct val="100000"/>
                        </a:lnSpc>
                        <a:spcBef>
                          <a:spcPts val="90"/>
                        </a:spcBef>
                      </a:pPr>
                      <a:r>
                        <a:rPr sz="1300" dirty="0">
                          <a:latin typeface="Arial"/>
                          <a:cs typeface="Arial"/>
                        </a:rPr>
                        <a:t>32</a:t>
                      </a:r>
                      <a:r>
                        <a:rPr sz="1300" spc="25" dirty="0">
                          <a:latin typeface="Arial"/>
                          <a:cs typeface="Arial"/>
                        </a:rPr>
                        <a:t> </a:t>
                      </a:r>
                      <a:r>
                        <a:rPr sz="1300" spc="-10" dirty="0">
                          <a:latin typeface="Arial"/>
                          <a:cs typeface="Arial"/>
                        </a:rPr>
                        <a:t>(24.8)</a:t>
                      </a:r>
                      <a:endParaRPr sz="1300">
                        <a:latin typeface="Arial"/>
                        <a:cs typeface="Arial"/>
                      </a:endParaRPr>
                    </a:p>
                  </a:txBody>
                  <a:tcPr marL="0" marR="0" marT="15240" marB="0">
                    <a:lnL w="12700">
                      <a:solidFill>
                        <a:srgbClr val="009963"/>
                      </a:solidFill>
                      <a:prstDash val="solid"/>
                    </a:lnL>
                    <a:lnR w="12700">
                      <a:solidFill>
                        <a:srgbClr val="009963"/>
                      </a:solidFill>
                      <a:prstDash val="solid"/>
                    </a:lnR>
                    <a:lnT w="12700">
                      <a:solidFill>
                        <a:srgbClr val="DDDBDB"/>
                      </a:solidFill>
                      <a:prstDash val="solid"/>
                    </a:lnT>
                    <a:solidFill>
                      <a:srgbClr val="D1EEE1"/>
                    </a:solidFill>
                  </a:tcPr>
                </a:tc>
                <a:tc>
                  <a:txBody>
                    <a:bodyPr/>
                    <a:lstStyle/>
                    <a:p>
                      <a:pPr marL="14604" algn="ctr">
                        <a:lnSpc>
                          <a:spcPct val="100000"/>
                        </a:lnSpc>
                        <a:spcBef>
                          <a:spcPts val="90"/>
                        </a:spcBef>
                      </a:pPr>
                      <a:r>
                        <a:rPr sz="1300" dirty="0">
                          <a:latin typeface="Arial"/>
                          <a:cs typeface="Arial"/>
                        </a:rPr>
                        <a:t>28</a:t>
                      </a:r>
                      <a:r>
                        <a:rPr sz="1300" spc="25" dirty="0">
                          <a:latin typeface="Arial"/>
                          <a:cs typeface="Arial"/>
                        </a:rPr>
                        <a:t> </a:t>
                      </a:r>
                      <a:r>
                        <a:rPr sz="1300" spc="-10" dirty="0">
                          <a:latin typeface="Arial"/>
                          <a:cs typeface="Arial"/>
                        </a:rPr>
                        <a:t>(22.2)</a:t>
                      </a:r>
                      <a:endParaRPr sz="1300">
                        <a:latin typeface="Arial"/>
                        <a:cs typeface="Arial"/>
                      </a:endParaRPr>
                    </a:p>
                  </a:txBody>
                  <a:tcPr marL="0" marR="0" marT="15240" marB="0">
                    <a:lnL w="12700">
                      <a:solidFill>
                        <a:srgbClr val="009963"/>
                      </a:solidFill>
                      <a:prstDash val="solid"/>
                    </a:lnL>
                    <a:lnR w="12700">
                      <a:solidFill>
                        <a:srgbClr val="0A41CD"/>
                      </a:solidFill>
                      <a:prstDash val="solid"/>
                    </a:lnR>
                    <a:lnT w="12700">
                      <a:solidFill>
                        <a:srgbClr val="DDDBDB"/>
                      </a:solidFill>
                      <a:prstDash val="solid"/>
                    </a:lnT>
                    <a:solidFill>
                      <a:srgbClr val="D3E3F4"/>
                    </a:solidFill>
                  </a:tcPr>
                </a:tc>
                <a:extLst>
                  <a:ext uri="{0D108BD9-81ED-4DB2-BD59-A6C34878D82A}">
                    <a16:rowId xmlns:a16="http://schemas.microsoft.com/office/drawing/2014/main" val="10009"/>
                  </a:ext>
                </a:extLst>
              </a:tr>
              <a:tr h="203200">
                <a:tc vMerge="1">
                  <a:txBody>
                    <a:bodyPr/>
                    <a:lstStyle/>
                    <a:p>
                      <a:endParaRPr/>
                    </a:p>
                  </a:txBody>
                  <a:tcPr marL="0" marR="0" marT="83820" marB="0">
                    <a:lnL w="12700">
                      <a:solidFill>
                        <a:srgbClr val="0A41CD"/>
                      </a:solidFill>
                      <a:prstDash val="solid"/>
                    </a:lnL>
                    <a:lnT w="12700">
                      <a:solidFill>
                        <a:srgbClr val="DDDBDB"/>
                      </a:solidFill>
                      <a:prstDash val="solid"/>
                    </a:lnT>
                    <a:lnB w="12700">
                      <a:solidFill>
                        <a:srgbClr val="DDDBDB"/>
                      </a:solidFill>
                      <a:prstDash val="solid"/>
                    </a:lnB>
                    <a:solidFill>
                      <a:srgbClr val="F1F1F1"/>
                    </a:solidFill>
                  </a:tcPr>
                </a:tc>
                <a:tc>
                  <a:txBody>
                    <a:bodyPr/>
                    <a:lstStyle/>
                    <a:p>
                      <a:pPr marL="46990">
                        <a:lnSpc>
                          <a:spcPct val="100000"/>
                        </a:lnSpc>
                      </a:pPr>
                      <a:r>
                        <a:rPr sz="1300" spc="-10" dirty="0">
                          <a:latin typeface="Arial"/>
                          <a:cs typeface="Arial"/>
                        </a:rPr>
                        <a:t>III–IV</a:t>
                      </a:r>
                      <a:endParaRPr sz="1300">
                        <a:latin typeface="Arial"/>
                        <a:cs typeface="Arial"/>
                      </a:endParaRPr>
                    </a:p>
                  </a:txBody>
                  <a:tcPr marL="0" marR="0" marT="0" marB="0">
                    <a:lnR w="12700">
                      <a:solidFill>
                        <a:srgbClr val="009963"/>
                      </a:solidFill>
                      <a:prstDash val="solid"/>
                    </a:lnR>
                    <a:lnB w="12700">
                      <a:solidFill>
                        <a:srgbClr val="DDDBDB"/>
                      </a:solidFill>
                      <a:prstDash val="solid"/>
                    </a:lnB>
                    <a:solidFill>
                      <a:srgbClr val="F1F1F1"/>
                    </a:solidFill>
                  </a:tcPr>
                </a:tc>
                <a:tc>
                  <a:txBody>
                    <a:bodyPr/>
                    <a:lstStyle/>
                    <a:p>
                      <a:pPr marL="11430" algn="ctr">
                        <a:lnSpc>
                          <a:spcPct val="100000"/>
                        </a:lnSpc>
                      </a:pPr>
                      <a:r>
                        <a:rPr sz="1300" dirty="0">
                          <a:latin typeface="Arial"/>
                          <a:cs typeface="Arial"/>
                        </a:rPr>
                        <a:t>97</a:t>
                      </a:r>
                      <a:r>
                        <a:rPr sz="1300" spc="25" dirty="0">
                          <a:latin typeface="Arial"/>
                          <a:cs typeface="Arial"/>
                        </a:rPr>
                        <a:t> </a:t>
                      </a:r>
                      <a:r>
                        <a:rPr sz="1300" spc="-10" dirty="0">
                          <a:latin typeface="Arial"/>
                          <a:cs typeface="Arial"/>
                        </a:rPr>
                        <a:t>(75.2)</a:t>
                      </a:r>
                      <a:endParaRPr sz="1300">
                        <a:latin typeface="Arial"/>
                        <a:cs typeface="Arial"/>
                      </a:endParaRPr>
                    </a:p>
                  </a:txBody>
                  <a:tcPr marL="0" marR="0" marT="0" marB="0">
                    <a:lnL w="12700">
                      <a:solidFill>
                        <a:srgbClr val="009963"/>
                      </a:solidFill>
                      <a:prstDash val="solid"/>
                    </a:lnL>
                    <a:lnR w="12700">
                      <a:solidFill>
                        <a:srgbClr val="009963"/>
                      </a:solidFill>
                      <a:prstDash val="solid"/>
                    </a:lnR>
                    <a:lnB w="12700">
                      <a:solidFill>
                        <a:srgbClr val="DDDBDB"/>
                      </a:solidFill>
                      <a:prstDash val="solid"/>
                    </a:lnB>
                    <a:solidFill>
                      <a:srgbClr val="D1EEE1"/>
                    </a:solidFill>
                  </a:tcPr>
                </a:tc>
                <a:tc>
                  <a:txBody>
                    <a:bodyPr/>
                    <a:lstStyle/>
                    <a:p>
                      <a:pPr marL="15240" algn="ctr">
                        <a:lnSpc>
                          <a:spcPct val="100000"/>
                        </a:lnSpc>
                      </a:pPr>
                      <a:r>
                        <a:rPr sz="1300" dirty="0">
                          <a:latin typeface="Arial"/>
                          <a:cs typeface="Arial"/>
                        </a:rPr>
                        <a:t>98</a:t>
                      </a:r>
                      <a:r>
                        <a:rPr sz="1300" spc="25" dirty="0">
                          <a:latin typeface="Arial"/>
                          <a:cs typeface="Arial"/>
                        </a:rPr>
                        <a:t> </a:t>
                      </a:r>
                      <a:r>
                        <a:rPr sz="1300" spc="-10" dirty="0">
                          <a:latin typeface="Arial"/>
                          <a:cs typeface="Arial"/>
                        </a:rPr>
                        <a:t>(77.8)</a:t>
                      </a:r>
                      <a:endParaRPr sz="1300">
                        <a:latin typeface="Arial"/>
                        <a:cs typeface="Arial"/>
                      </a:endParaRPr>
                    </a:p>
                  </a:txBody>
                  <a:tcPr marL="0" marR="0" marT="0" marB="0">
                    <a:lnL w="12700">
                      <a:solidFill>
                        <a:srgbClr val="009963"/>
                      </a:solidFill>
                      <a:prstDash val="solid"/>
                    </a:lnL>
                    <a:lnR w="12700">
                      <a:solidFill>
                        <a:srgbClr val="0A41CD"/>
                      </a:solidFill>
                      <a:prstDash val="solid"/>
                    </a:lnR>
                    <a:lnB w="12700">
                      <a:solidFill>
                        <a:srgbClr val="DDDBDB"/>
                      </a:solidFill>
                      <a:prstDash val="solid"/>
                    </a:lnB>
                    <a:solidFill>
                      <a:srgbClr val="D3E3F4"/>
                    </a:solidFill>
                  </a:tcPr>
                </a:tc>
                <a:extLst>
                  <a:ext uri="{0D108BD9-81ED-4DB2-BD59-A6C34878D82A}">
                    <a16:rowId xmlns:a16="http://schemas.microsoft.com/office/drawing/2014/main" val="10010"/>
                  </a:ext>
                </a:extLst>
              </a:tr>
              <a:tr h="220980">
                <a:tc rowSpan="2">
                  <a:txBody>
                    <a:bodyPr/>
                    <a:lstStyle/>
                    <a:p>
                      <a:pPr marL="15875">
                        <a:lnSpc>
                          <a:spcPct val="100000"/>
                        </a:lnSpc>
                        <a:spcBef>
                          <a:spcPts val="665"/>
                        </a:spcBef>
                      </a:pPr>
                      <a:r>
                        <a:rPr sz="1300" b="1" dirty="0">
                          <a:latin typeface="Arial"/>
                          <a:cs typeface="Arial"/>
                        </a:rPr>
                        <a:t>IPI</a:t>
                      </a:r>
                      <a:r>
                        <a:rPr sz="1300" b="1" spc="10" dirty="0">
                          <a:latin typeface="Arial"/>
                          <a:cs typeface="Arial"/>
                        </a:rPr>
                        <a:t> </a:t>
                      </a:r>
                      <a:r>
                        <a:rPr sz="1300" b="1" dirty="0">
                          <a:latin typeface="Arial"/>
                          <a:cs typeface="Arial"/>
                        </a:rPr>
                        <a:t>risk</a:t>
                      </a:r>
                      <a:r>
                        <a:rPr sz="1300" b="1" spc="-40" dirty="0">
                          <a:latin typeface="Arial"/>
                          <a:cs typeface="Arial"/>
                        </a:rPr>
                        <a:t> </a:t>
                      </a:r>
                      <a:r>
                        <a:rPr sz="1300" b="1" spc="-10" dirty="0">
                          <a:latin typeface="Arial"/>
                          <a:cs typeface="Arial"/>
                        </a:rPr>
                        <a:t>factor</a:t>
                      </a:r>
                      <a:endParaRPr sz="1300">
                        <a:latin typeface="Arial"/>
                        <a:cs typeface="Arial"/>
                      </a:endParaRPr>
                    </a:p>
                  </a:txBody>
                  <a:tcPr marL="0" marR="0" marT="112607" marB="0">
                    <a:lnL w="12700">
                      <a:solidFill>
                        <a:srgbClr val="0A41CD"/>
                      </a:solidFill>
                      <a:prstDash val="solid"/>
                    </a:lnL>
                    <a:lnT w="12700">
                      <a:solidFill>
                        <a:srgbClr val="DDDBDB"/>
                      </a:solidFill>
                      <a:prstDash val="solid"/>
                    </a:lnT>
                    <a:lnB w="12700">
                      <a:solidFill>
                        <a:srgbClr val="DDDBDB"/>
                      </a:solidFill>
                      <a:prstDash val="solid"/>
                    </a:lnB>
                  </a:tcPr>
                </a:tc>
                <a:tc>
                  <a:txBody>
                    <a:bodyPr/>
                    <a:lstStyle/>
                    <a:p>
                      <a:pPr marL="46990">
                        <a:lnSpc>
                          <a:spcPct val="100000"/>
                        </a:lnSpc>
                        <a:spcBef>
                          <a:spcPts val="95"/>
                        </a:spcBef>
                      </a:pPr>
                      <a:r>
                        <a:rPr sz="1300" spc="-25" dirty="0">
                          <a:latin typeface="Arial"/>
                          <a:cs typeface="Arial"/>
                        </a:rPr>
                        <a:t>0–2</a:t>
                      </a:r>
                      <a:endParaRPr sz="1300">
                        <a:latin typeface="Arial"/>
                        <a:cs typeface="Arial"/>
                      </a:endParaRPr>
                    </a:p>
                  </a:txBody>
                  <a:tcPr marL="0" marR="0" marT="16087" marB="0">
                    <a:lnR w="12700">
                      <a:solidFill>
                        <a:srgbClr val="009963"/>
                      </a:solidFill>
                      <a:prstDash val="solid"/>
                    </a:lnR>
                    <a:lnT w="12700">
                      <a:solidFill>
                        <a:srgbClr val="DDDBDB"/>
                      </a:solidFill>
                      <a:prstDash val="solid"/>
                    </a:lnT>
                  </a:tcPr>
                </a:tc>
                <a:tc>
                  <a:txBody>
                    <a:bodyPr/>
                    <a:lstStyle/>
                    <a:p>
                      <a:pPr marL="11430" algn="ctr">
                        <a:lnSpc>
                          <a:spcPct val="100000"/>
                        </a:lnSpc>
                        <a:spcBef>
                          <a:spcPts val="95"/>
                        </a:spcBef>
                      </a:pPr>
                      <a:r>
                        <a:rPr sz="1300" dirty="0">
                          <a:latin typeface="Arial"/>
                          <a:cs typeface="Arial"/>
                        </a:rPr>
                        <a:t>66</a:t>
                      </a:r>
                      <a:r>
                        <a:rPr sz="1300" spc="25" dirty="0">
                          <a:latin typeface="Arial"/>
                          <a:cs typeface="Arial"/>
                        </a:rPr>
                        <a:t> </a:t>
                      </a:r>
                      <a:r>
                        <a:rPr sz="1300" spc="-10" dirty="0">
                          <a:latin typeface="Arial"/>
                          <a:cs typeface="Arial"/>
                        </a:rPr>
                        <a:t>(51.2)</a:t>
                      </a:r>
                      <a:endParaRPr sz="1300">
                        <a:latin typeface="Arial"/>
                        <a:cs typeface="Arial"/>
                      </a:endParaRPr>
                    </a:p>
                  </a:txBody>
                  <a:tcPr marL="0" marR="0" marT="16087" marB="0">
                    <a:lnL w="12700">
                      <a:solidFill>
                        <a:srgbClr val="009963"/>
                      </a:solidFill>
                      <a:prstDash val="solid"/>
                    </a:lnL>
                    <a:lnR w="12700">
                      <a:solidFill>
                        <a:srgbClr val="009963"/>
                      </a:solidFill>
                      <a:prstDash val="solid"/>
                    </a:lnR>
                    <a:lnT w="12700">
                      <a:solidFill>
                        <a:srgbClr val="DDDBDB"/>
                      </a:solidFill>
                      <a:prstDash val="solid"/>
                    </a:lnT>
                    <a:solidFill>
                      <a:srgbClr val="E6F6EE"/>
                    </a:solidFill>
                  </a:tcPr>
                </a:tc>
                <a:tc>
                  <a:txBody>
                    <a:bodyPr/>
                    <a:lstStyle/>
                    <a:p>
                      <a:pPr marL="14604" algn="ctr">
                        <a:lnSpc>
                          <a:spcPct val="100000"/>
                        </a:lnSpc>
                        <a:spcBef>
                          <a:spcPts val="95"/>
                        </a:spcBef>
                      </a:pPr>
                      <a:r>
                        <a:rPr sz="1300" dirty="0">
                          <a:latin typeface="Arial"/>
                          <a:cs typeface="Arial"/>
                        </a:rPr>
                        <a:t>63</a:t>
                      </a:r>
                      <a:r>
                        <a:rPr sz="1300" spc="25" dirty="0">
                          <a:latin typeface="Arial"/>
                          <a:cs typeface="Arial"/>
                        </a:rPr>
                        <a:t> </a:t>
                      </a:r>
                      <a:r>
                        <a:rPr sz="1300" spc="-10" dirty="0">
                          <a:latin typeface="Arial"/>
                          <a:cs typeface="Arial"/>
                        </a:rPr>
                        <a:t>(50.0)</a:t>
                      </a:r>
                      <a:endParaRPr sz="1300">
                        <a:latin typeface="Arial"/>
                        <a:cs typeface="Arial"/>
                      </a:endParaRPr>
                    </a:p>
                  </a:txBody>
                  <a:tcPr marL="0" marR="0" marT="16087" marB="0">
                    <a:lnL w="12700">
                      <a:solidFill>
                        <a:srgbClr val="009963"/>
                      </a:solidFill>
                      <a:prstDash val="solid"/>
                    </a:lnL>
                    <a:lnR w="12700">
                      <a:solidFill>
                        <a:srgbClr val="0A41CD"/>
                      </a:solidFill>
                      <a:prstDash val="solid"/>
                    </a:lnR>
                    <a:lnT w="12700">
                      <a:solidFill>
                        <a:srgbClr val="DDDBDB"/>
                      </a:solidFill>
                      <a:prstDash val="solid"/>
                    </a:lnT>
                    <a:solidFill>
                      <a:srgbClr val="E7EFF8"/>
                    </a:solidFill>
                  </a:tcPr>
                </a:tc>
                <a:extLst>
                  <a:ext uri="{0D108BD9-81ED-4DB2-BD59-A6C34878D82A}">
                    <a16:rowId xmlns:a16="http://schemas.microsoft.com/office/drawing/2014/main" val="10011"/>
                  </a:ext>
                </a:extLst>
              </a:tr>
              <a:tr h="202353">
                <a:tc vMerge="1">
                  <a:txBody>
                    <a:bodyPr/>
                    <a:lstStyle/>
                    <a:p>
                      <a:endParaRPr/>
                    </a:p>
                  </a:txBody>
                  <a:tcPr marL="0" marR="0" marT="84455" marB="0">
                    <a:lnL w="12700">
                      <a:solidFill>
                        <a:srgbClr val="0A41CD"/>
                      </a:solidFill>
                      <a:prstDash val="solid"/>
                    </a:lnL>
                    <a:lnT w="12700">
                      <a:solidFill>
                        <a:srgbClr val="DDDBDB"/>
                      </a:solidFill>
                      <a:prstDash val="solid"/>
                    </a:lnT>
                    <a:lnB w="12700">
                      <a:solidFill>
                        <a:srgbClr val="DDDBDB"/>
                      </a:solidFill>
                      <a:prstDash val="solid"/>
                    </a:lnB>
                  </a:tcPr>
                </a:tc>
                <a:tc>
                  <a:txBody>
                    <a:bodyPr/>
                    <a:lstStyle/>
                    <a:p>
                      <a:pPr marL="46990">
                        <a:lnSpc>
                          <a:spcPct val="100000"/>
                        </a:lnSpc>
                      </a:pPr>
                      <a:r>
                        <a:rPr sz="1300" spc="-25" dirty="0">
                          <a:latin typeface="Arial"/>
                          <a:cs typeface="Arial"/>
                        </a:rPr>
                        <a:t>3–5</a:t>
                      </a:r>
                      <a:endParaRPr sz="1300">
                        <a:latin typeface="Arial"/>
                        <a:cs typeface="Arial"/>
                      </a:endParaRPr>
                    </a:p>
                  </a:txBody>
                  <a:tcPr marL="0" marR="0" marT="0" marB="0">
                    <a:lnR w="12700">
                      <a:solidFill>
                        <a:srgbClr val="009963"/>
                      </a:solidFill>
                      <a:prstDash val="solid"/>
                    </a:lnR>
                    <a:lnB w="12700">
                      <a:solidFill>
                        <a:srgbClr val="DDDBDB"/>
                      </a:solidFill>
                      <a:prstDash val="solid"/>
                    </a:lnB>
                  </a:tcPr>
                </a:tc>
                <a:tc>
                  <a:txBody>
                    <a:bodyPr/>
                    <a:lstStyle/>
                    <a:p>
                      <a:pPr marL="11430" algn="ctr">
                        <a:lnSpc>
                          <a:spcPct val="100000"/>
                        </a:lnSpc>
                      </a:pPr>
                      <a:r>
                        <a:rPr sz="1300" dirty="0">
                          <a:latin typeface="Arial"/>
                          <a:cs typeface="Arial"/>
                        </a:rPr>
                        <a:t>63</a:t>
                      </a:r>
                      <a:r>
                        <a:rPr sz="1300" spc="25" dirty="0">
                          <a:latin typeface="Arial"/>
                          <a:cs typeface="Arial"/>
                        </a:rPr>
                        <a:t> </a:t>
                      </a:r>
                      <a:r>
                        <a:rPr sz="1300" spc="-10" dirty="0">
                          <a:latin typeface="Arial"/>
                          <a:cs typeface="Arial"/>
                        </a:rPr>
                        <a:t>(48.8)</a:t>
                      </a:r>
                      <a:endParaRPr sz="1300">
                        <a:latin typeface="Arial"/>
                        <a:cs typeface="Arial"/>
                      </a:endParaRPr>
                    </a:p>
                  </a:txBody>
                  <a:tcPr marL="0" marR="0" marT="0" marB="0">
                    <a:lnL w="12700">
                      <a:solidFill>
                        <a:srgbClr val="009963"/>
                      </a:solidFill>
                      <a:prstDash val="solid"/>
                    </a:lnL>
                    <a:lnR w="12700">
                      <a:solidFill>
                        <a:srgbClr val="009963"/>
                      </a:solidFill>
                      <a:prstDash val="solid"/>
                    </a:lnR>
                    <a:lnB w="12700">
                      <a:solidFill>
                        <a:srgbClr val="DDDBDB"/>
                      </a:solidFill>
                      <a:prstDash val="solid"/>
                    </a:lnB>
                    <a:solidFill>
                      <a:srgbClr val="E6F6EE"/>
                    </a:solidFill>
                  </a:tcPr>
                </a:tc>
                <a:tc>
                  <a:txBody>
                    <a:bodyPr/>
                    <a:lstStyle/>
                    <a:p>
                      <a:pPr marL="15240" algn="ctr">
                        <a:lnSpc>
                          <a:spcPct val="100000"/>
                        </a:lnSpc>
                      </a:pPr>
                      <a:r>
                        <a:rPr sz="1300" dirty="0">
                          <a:latin typeface="Arial"/>
                          <a:cs typeface="Arial"/>
                        </a:rPr>
                        <a:t>63</a:t>
                      </a:r>
                      <a:r>
                        <a:rPr sz="1300" spc="25" dirty="0">
                          <a:latin typeface="Arial"/>
                          <a:cs typeface="Arial"/>
                        </a:rPr>
                        <a:t> </a:t>
                      </a:r>
                      <a:r>
                        <a:rPr sz="1300" spc="-10" dirty="0">
                          <a:latin typeface="Arial"/>
                          <a:cs typeface="Arial"/>
                        </a:rPr>
                        <a:t>(50.0)</a:t>
                      </a:r>
                      <a:endParaRPr sz="1300">
                        <a:latin typeface="Arial"/>
                        <a:cs typeface="Arial"/>
                      </a:endParaRPr>
                    </a:p>
                  </a:txBody>
                  <a:tcPr marL="0" marR="0" marT="0" marB="0">
                    <a:lnL w="12700">
                      <a:solidFill>
                        <a:srgbClr val="009963"/>
                      </a:solidFill>
                      <a:prstDash val="solid"/>
                    </a:lnL>
                    <a:lnR w="12700">
                      <a:solidFill>
                        <a:srgbClr val="0A41CD"/>
                      </a:solidFill>
                      <a:prstDash val="solid"/>
                    </a:lnR>
                    <a:lnB w="12700">
                      <a:solidFill>
                        <a:srgbClr val="DDDBDB"/>
                      </a:solidFill>
                      <a:prstDash val="solid"/>
                    </a:lnB>
                    <a:solidFill>
                      <a:srgbClr val="E7EFF8"/>
                    </a:solidFill>
                  </a:tcPr>
                </a:tc>
                <a:extLst>
                  <a:ext uri="{0D108BD9-81ED-4DB2-BD59-A6C34878D82A}">
                    <a16:rowId xmlns:a16="http://schemas.microsoft.com/office/drawing/2014/main" val="10012"/>
                  </a:ext>
                </a:extLst>
              </a:tr>
              <a:tr h="213360">
                <a:tc rowSpan="2">
                  <a:txBody>
                    <a:bodyPr/>
                    <a:lstStyle/>
                    <a:p>
                      <a:pPr marL="12700">
                        <a:lnSpc>
                          <a:spcPct val="100000"/>
                        </a:lnSpc>
                        <a:spcBef>
                          <a:spcPts val="655"/>
                        </a:spcBef>
                      </a:pPr>
                      <a:r>
                        <a:rPr sz="1300" b="1" dirty="0">
                          <a:latin typeface="Arial"/>
                          <a:cs typeface="Arial"/>
                        </a:rPr>
                        <a:t>Histopathologic</a:t>
                      </a:r>
                      <a:r>
                        <a:rPr sz="1300" b="1" spc="-50" dirty="0">
                          <a:latin typeface="Arial"/>
                          <a:cs typeface="Arial"/>
                        </a:rPr>
                        <a:t> </a:t>
                      </a:r>
                      <a:r>
                        <a:rPr sz="1300" b="1" spc="-10" dirty="0">
                          <a:latin typeface="Arial"/>
                          <a:cs typeface="Arial"/>
                        </a:rPr>
                        <a:t>diagnosis</a:t>
                      </a:r>
                      <a:endParaRPr sz="1300">
                        <a:latin typeface="Arial"/>
                        <a:cs typeface="Arial"/>
                      </a:endParaRPr>
                    </a:p>
                  </a:txBody>
                  <a:tcPr marL="0" marR="0" marT="110913" marB="0">
                    <a:lnL w="12700">
                      <a:solidFill>
                        <a:srgbClr val="0A41CD"/>
                      </a:solidFill>
                      <a:prstDash val="solid"/>
                    </a:lnL>
                    <a:lnT w="12700">
                      <a:solidFill>
                        <a:srgbClr val="DDDBDB"/>
                      </a:solidFill>
                      <a:prstDash val="solid"/>
                    </a:lnT>
                    <a:lnB w="12700">
                      <a:solidFill>
                        <a:srgbClr val="DDDBDB"/>
                      </a:solidFill>
                      <a:prstDash val="solid"/>
                    </a:lnB>
                    <a:solidFill>
                      <a:srgbClr val="F1F1F1"/>
                    </a:solidFill>
                  </a:tcPr>
                </a:tc>
                <a:tc>
                  <a:txBody>
                    <a:bodyPr/>
                    <a:lstStyle/>
                    <a:p>
                      <a:pPr marL="36830">
                        <a:lnSpc>
                          <a:spcPct val="100000"/>
                        </a:lnSpc>
                        <a:spcBef>
                          <a:spcPts val="85"/>
                        </a:spcBef>
                      </a:pPr>
                      <a:r>
                        <a:rPr sz="1300" dirty="0">
                          <a:latin typeface="Arial"/>
                          <a:cs typeface="Arial"/>
                        </a:rPr>
                        <a:t>DLBCL,</a:t>
                      </a:r>
                      <a:r>
                        <a:rPr sz="1300" spc="-30" dirty="0">
                          <a:latin typeface="Arial"/>
                          <a:cs typeface="Arial"/>
                        </a:rPr>
                        <a:t> </a:t>
                      </a:r>
                      <a:r>
                        <a:rPr sz="1300" spc="-25" dirty="0">
                          <a:latin typeface="Arial"/>
                          <a:cs typeface="Arial"/>
                        </a:rPr>
                        <a:t>NOS</a:t>
                      </a:r>
                      <a:endParaRPr sz="1300">
                        <a:latin typeface="Arial"/>
                        <a:cs typeface="Arial"/>
                      </a:endParaRPr>
                    </a:p>
                  </a:txBody>
                  <a:tcPr marL="0" marR="0" marT="14393" marB="0">
                    <a:lnR w="12700">
                      <a:solidFill>
                        <a:srgbClr val="009963"/>
                      </a:solidFill>
                      <a:prstDash val="solid"/>
                    </a:lnR>
                    <a:lnT w="12700">
                      <a:solidFill>
                        <a:srgbClr val="DDDBDB"/>
                      </a:solidFill>
                      <a:prstDash val="solid"/>
                    </a:lnT>
                    <a:solidFill>
                      <a:srgbClr val="F1F1F1"/>
                    </a:solidFill>
                  </a:tcPr>
                </a:tc>
                <a:tc>
                  <a:txBody>
                    <a:bodyPr/>
                    <a:lstStyle/>
                    <a:p>
                      <a:pPr marL="11430" algn="ctr">
                        <a:lnSpc>
                          <a:spcPct val="100000"/>
                        </a:lnSpc>
                        <a:spcBef>
                          <a:spcPts val="85"/>
                        </a:spcBef>
                      </a:pPr>
                      <a:r>
                        <a:rPr sz="1300" dirty="0">
                          <a:latin typeface="Arial"/>
                          <a:cs typeface="Arial"/>
                        </a:rPr>
                        <a:t>116</a:t>
                      </a:r>
                      <a:r>
                        <a:rPr sz="1300" spc="20" dirty="0">
                          <a:latin typeface="Arial"/>
                          <a:cs typeface="Arial"/>
                        </a:rPr>
                        <a:t> </a:t>
                      </a:r>
                      <a:r>
                        <a:rPr sz="1300" spc="-10" dirty="0">
                          <a:latin typeface="Arial"/>
                          <a:cs typeface="Arial"/>
                        </a:rPr>
                        <a:t>(89.9)</a:t>
                      </a:r>
                      <a:endParaRPr sz="1300">
                        <a:latin typeface="Arial"/>
                        <a:cs typeface="Arial"/>
                      </a:endParaRPr>
                    </a:p>
                  </a:txBody>
                  <a:tcPr marL="0" marR="0" marT="14393" marB="0">
                    <a:lnL w="12700">
                      <a:solidFill>
                        <a:srgbClr val="009963"/>
                      </a:solidFill>
                      <a:prstDash val="solid"/>
                    </a:lnL>
                    <a:lnR w="12700">
                      <a:solidFill>
                        <a:srgbClr val="009963"/>
                      </a:solidFill>
                      <a:prstDash val="solid"/>
                    </a:lnR>
                    <a:lnT w="12700">
                      <a:solidFill>
                        <a:srgbClr val="DDDBDB"/>
                      </a:solidFill>
                      <a:prstDash val="solid"/>
                    </a:lnT>
                    <a:solidFill>
                      <a:srgbClr val="D1EEE1"/>
                    </a:solidFill>
                  </a:tcPr>
                </a:tc>
                <a:tc>
                  <a:txBody>
                    <a:bodyPr/>
                    <a:lstStyle/>
                    <a:p>
                      <a:pPr marL="15240" algn="ctr">
                        <a:lnSpc>
                          <a:spcPct val="100000"/>
                        </a:lnSpc>
                        <a:spcBef>
                          <a:spcPts val="85"/>
                        </a:spcBef>
                      </a:pPr>
                      <a:r>
                        <a:rPr sz="1300" dirty="0">
                          <a:latin typeface="Arial"/>
                          <a:cs typeface="Arial"/>
                        </a:rPr>
                        <a:t>116</a:t>
                      </a:r>
                      <a:r>
                        <a:rPr sz="1300" spc="20" dirty="0">
                          <a:latin typeface="Arial"/>
                          <a:cs typeface="Arial"/>
                        </a:rPr>
                        <a:t> </a:t>
                      </a:r>
                      <a:r>
                        <a:rPr sz="1300" spc="-10" dirty="0">
                          <a:latin typeface="Arial"/>
                          <a:cs typeface="Arial"/>
                        </a:rPr>
                        <a:t>(92.1)</a:t>
                      </a:r>
                      <a:endParaRPr sz="1300">
                        <a:latin typeface="Arial"/>
                        <a:cs typeface="Arial"/>
                      </a:endParaRPr>
                    </a:p>
                  </a:txBody>
                  <a:tcPr marL="0" marR="0" marT="14393" marB="0">
                    <a:lnL w="12700">
                      <a:solidFill>
                        <a:srgbClr val="009963"/>
                      </a:solidFill>
                      <a:prstDash val="solid"/>
                    </a:lnL>
                    <a:lnR w="12700">
                      <a:solidFill>
                        <a:srgbClr val="0A41CD"/>
                      </a:solidFill>
                      <a:prstDash val="solid"/>
                    </a:lnR>
                    <a:lnT w="12700">
                      <a:solidFill>
                        <a:srgbClr val="DDDBDB"/>
                      </a:solidFill>
                      <a:prstDash val="solid"/>
                    </a:lnT>
                    <a:solidFill>
                      <a:srgbClr val="D3E3F4"/>
                    </a:solidFill>
                  </a:tcPr>
                </a:tc>
                <a:extLst>
                  <a:ext uri="{0D108BD9-81ED-4DB2-BD59-A6C34878D82A}">
                    <a16:rowId xmlns:a16="http://schemas.microsoft.com/office/drawing/2014/main" val="10013"/>
                  </a:ext>
                </a:extLst>
              </a:tr>
              <a:tr h="205740">
                <a:tc vMerge="1">
                  <a:txBody>
                    <a:bodyPr/>
                    <a:lstStyle/>
                    <a:p>
                      <a:endParaRPr/>
                    </a:p>
                  </a:txBody>
                  <a:tcPr marL="0" marR="0" marT="83185" marB="0">
                    <a:lnL w="12700">
                      <a:solidFill>
                        <a:srgbClr val="0A41CD"/>
                      </a:solidFill>
                      <a:prstDash val="solid"/>
                    </a:lnL>
                    <a:lnT w="12700">
                      <a:solidFill>
                        <a:srgbClr val="DDDBDB"/>
                      </a:solidFill>
                      <a:prstDash val="solid"/>
                    </a:lnT>
                    <a:lnB w="12700">
                      <a:solidFill>
                        <a:srgbClr val="DDDBDB"/>
                      </a:solidFill>
                      <a:prstDash val="solid"/>
                    </a:lnB>
                    <a:solidFill>
                      <a:srgbClr val="F1F1F1"/>
                    </a:solidFill>
                  </a:tcPr>
                </a:tc>
                <a:tc>
                  <a:txBody>
                    <a:bodyPr/>
                    <a:lstStyle/>
                    <a:p>
                      <a:pPr marL="36830">
                        <a:lnSpc>
                          <a:spcPct val="100000"/>
                        </a:lnSpc>
                      </a:pPr>
                      <a:r>
                        <a:rPr sz="1300" spc="-10" dirty="0">
                          <a:latin typeface="Arial"/>
                          <a:cs typeface="Arial"/>
                        </a:rPr>
                        <a:t>Transformation</a:t>
                      </a:r>
                      <a:r>
                        <a:rPr sz="1300" spc="-15" dirty="0">
                          <a:latin typeface="Arial"/>
                          <a:cs typeface="Arial"/>
                        </a:rPr>
                        <a:t> </a:t>
                      </a:r>
                      <a:r>
                        <a:rPr sz="1300" dirty="0">
                          <a:latin typeface="Arial"/>
                          <a:cs typeface="Arial"/>
                        </a:rPr>
                        <a:t>from</a:t>
                      </a:r>
                      <a:r>
                        <a:rPr sz="1300" spc="25" dirty="0">
                          <a:latin typeface="Arial"/>
                          <a:cs typeface="Arial"/>
                        </a:rPr>
                        <a:t> </a:t>
                      </a:r>
                      <a:r>
                        <a:rPr sz="1300" dirty="0">
                          <a:latin typeface="Arial"/>
                          <a:cs typeface="Arial"/>
                        </a:rPr>
                        <a:t>indolent</a:t>
                      </a:r>
                      <a:r>
                        <a:rPr sz="1300" spc="45" dirty="0">
                          <a:latin typeface="Arial"/>
                          <a:cs typeface="Arial"/>
                        </a:rPr>
                        <a:t> </a:t>
                      </a:r>
                      <a:r>
                        <a:rPr sz="1300" spc="-10" dirty="0">
                          <a:latin typeface="Arial"/>
                          <a:cs typeface="Arial"/>
                        </a:rPr>
                        <a:t>disease</a:t>
                      </a:r>
                      <a:endParaRPr sz="1300">
                        <a:latin typeface="Arial"/>
                        <a:cs typeface="Arial"/>
                      </a:endParaRPr>
                    </a:p>
                  </a:txBody>
                  <a:tcPr marL="0" marR="0" marT="0" marB="0">
                    <a:lnR w="12700">
                      <a:solidFill>
                        <a:srgbClr val="009963"/>
                      </a:solidFill>
                      <a:prstDash val="solid"/>
                    </a:lnR>
                    <a:lnB w="12700">
                      <a:solidFill>
                        <a:srgbClr val="DDDBDB"/>
                      </a:solidFill>
                      <a:prstDash val="solid"/>
                    </a:lnB>
                    <a:solidFill>
                      <a:srgbClr val="F1F1F1"/>
                    </a:solidFill>
                  </a:tcPr>
                </a:tc>
                <a:tc>
                  <a:txBody>
                    <a:bodyPr/>
                    <a:lstStyle/>
                    <a:p>
                      <a:pPr marL="11430" algn="ctr">
                        <a:lnSpc>
                          <a:spcPct val="100000"/>
                        </a:lnSpc>
                      </a:pPr>
                      <a:r>
                        <a:rPr sz="1300" dirty="0">
                          <a:latin typeface="Arial"/>
                          <a:cs typeface="Arial"/>
                        </a:rPr>
                        <a:t>13</a:t>
                      </a:r>
                      <a:r>
                        <a:rPr sz="1300" spc="25" dirty="0">
                          <a:latin typeface="Arial"/>
                          <a:cs typeface="Arial"/>
                        </a:rPr>
                        <a:t> </a:t>
                      </a:r>
                      <a:r>
                        <a:rPr sz="1300" spc="-10" dirty="0">
                          <a:latin typeface="Arial"/>
                          <a:cs typeface="Arial"/>
                        </a:rPr>
                        <a:t>(10.1)</a:t>
                      </a:r>
                      <a:endParaRPr sz="1300">
                        <a:latin typeface="Arial"/>
                        <a:cs typeface="Arial"/>
                      </a:endParaRPr>
                    </a:p>
                  </a:txBody>
                  <a:tcPr marL="0" marR="0" marT="0" marB="0">
                    <a:lnL w="12700">
                      <a:solidFill>
                        <a:srgbClr val="009963"/>
                      </a:solidFill>
                      <a:prstDash val="solid"/>
                    </a:lnL>
                    <a:lnR w="12700">
                      <a:solidFill>
                        <a:srgbClr val="009963"/>
                      </a:solidFill>
                      <a:prstDash val="solid"/>
                    </a:lnR>
                    <a:lnB w="12700">
                      <a:solidFill>
                        <a:srgbClr val="DDDBDB"/>
                      </a:solidFill>
                      <a:prstDash val="solid"/>
                    </a:lnB>
                    <a:solidFill>
                      <a:srgbClr val="D1EEE1"/>
                    </a:solidFill>
                  </a:tcPr>
                </a:tc>
                <a:tc>
                  <a:txBody>
                    <a:bodyPr/>
                    <a:lstStyle/>
                    <a:p>
                      <a:pPr marL="15240" algn="ctr">
                        <a:lnSpc>
                          <a:spcPct val="100000"/>
                        </a:lnSpc>
                      </a:pPr>
                      <a:r>
                        <a:rPr sz="1300" dirty="0">
                          <a:latin typeface="Arial"/>
                          <a:cs typeface="Arial"/>
                        </a:rPr>
                        <a:t>10</a:t>
                      </a:r>
                      <a:r>
                        <a:rPr sz="1300" spc="25" dirty="0">
                          <a:latin typeface="Arial"/>
                          <a:cs typeface="Arial"/>
                        </a:rPr>
                        <a:t> </a:t>
                      </a:r>
                      <a:r>
                        <a:rPr sz="1300" spc="-20" dirty="0">
                          <a:latin typeface="Arial"/>
                          <a:cs typeface="Arial"/>
                        </a:rPr>
                        <a:t>(7.9)</a:t>
                      </a:r>
                      <a:endParaRPr sz="1300">
                        <a:latin typeface="Arial"/>
                        <a:cs typeface="Arial"/>
                      </a:endParaRPr>
                    </a:p>
                  </a:txBody>
                  <a:tcPr marL="0" marR="0" marT="0" marB="0">
                    <a:lnL w="12700">
                      <a:solidFill>
                        <a:srgbClr val="009963"/>
                      </a:solidFill>
                      <a:prstDash val="solid"/>
                    </a:lnL>
                    <a:lnR w="12700">
                      <a:solidFill>
                        <a:srgbClr val="0A41CD"/>
                      </a:solidFill>
                      <a:prstDash val="solid"/>
                    </a:lnR>
                    <a:lnB w="12700">
                      <a:solidFill>
                        <a:srgbClr val="DDDBDB"/>
                      </a:solidFill>
                      <a:prstDash val="solid"/>
                    </a:lnB>
                    <a:solidFill>
                      <a:srgbClr val="D3E3F4"/>
                    </a:solidFill>
                  </a:tcPr>
                </a:tc>
                <a:extLst>
                  <a:ext uri="{0D108BD9-81ED-4DB2-BD59-A6C34878D82A}">
                    <a16:rowId xmlns:a16="http://schemas.microsoft.com/office/drawing/2014/main" val="10014"/>
                  </a:ext>
                </a:extLst>
              </a:tr>
              <a:tr h="226907">
                <a:tc>
                  <a:txBody>
                    <a:bodyPr/>
                    <a:lstStyle/>
                    <a:p>
                      <a:pPr marL="12700">
                        <a:lnSpc>
                          <a:spcPct val="100000"/>
                        </a:lnSpc>
                        <a:spcBef>
                          <a:spcPts val="90"/>
                        </a:spcBef>
                      </a:pPr>
                      <a:r>
                        <a:rPr sz="1300" b="1" dirty="0">
                          <a:latin typeface="Arial"/>
                          <a:cs typeface="Arial"/>
                        </a:rPr>
                        <a:t>Bulky</a:t>
                      </a:r>
                      <a:r>
                        <a:rPr sz="1300" b="1" spc="-15" dirty="0">
                          <a:latin typeface="Arial"/>
                          <a:cs typeface="Arial"/>
                        </a:rPr>
                        <a:t> </a:t>
                      </a:r>
                      <a:r>
                        <a:rPr sz="1300" b="1" dirty="0">
                          <a:latin typeface="Arial"/>
                          <a:cs typeface="Arial"/>
                        </a:rPr>
                        <a:t>disease</a:t>
                      </a:r>
                      <a:r>
                        <a:rPr sz="1300" b="1" spc="-15" dirty="0">
                          <a:latin typeface="Arial"/>
                          <a:cs typeface="Arial"/>
                        </a:rPr>
                        <a:t> </a:t>
                      </a:r>
                      <a:r>
                        <a:rPr sz="1300" b="1" spc="-10" dirty="0">
                          <a:latin typeface="Arial"/>
                          <a:cs typeface="Arial"/>
                        </a:rPr>
                        <a:t>(≥7.5cm)</a:t>
                      </a:r>
                      <a:endParaRPr sz="1300">
                        <a:latin typeface="Arial"/>
                        <a:cs typeface="Arial"/>
                      </a:endParaRPr>
                    </a:p>
                  </a:txBody>
                  <a:tcPr marL="0" marR="0" marT="15240" marB="0">
                    <a:lnL w="12700">
                      <a:solidFill>
                        <a:srgbClr val="0A41CD"/>
                      </a:solidFill>
                      <a:prstDash val="solid"/>
                    </a:lnL>
                    <a:lnT w="12700">
                      <a:solidFill>
                        <a:srgbClr val="DDDBDB"/>
                      </a:solidFill>
                      <a:prstDash val="solid"/>
                    </a:lnT>
                    <a:lnB w="12700">
                      <a:solidFill>
                        <a:srgbClr val="DDDBDB"/>
                      </a:solidFill>
                      <a:prstDash val="solid"/>
                    </a:lnB>
                  </a:tcPr>
                </a:tc>
                <a:tc>
                  <a:txBody>
                    <a:bodyPr/>
                    <a:lstStyle/>
                    <a:p>
                      <a:pPr marL="36830">
                        <a:lnSpc>
                          <a:spcPct val="100000"/>
                        </a:lnSpc>
                        <a:spcBef>
                          <a:spcPts val="90"/>
                        </a:spcBef>
                      </a:pPr>
                      <a:r>
                        <a:rPr sz="1300" spc="-10" dirty="0">
                          <a:latin typeface="Arial"/>
                          <a:cs typeface="Arial"/>
                        </a:rPr>
                        <a:t>Present</a:t>
                      </a:r>
                      <a:endParaRPr sz="1300">
                        <a:latin typeface="Arial"/>
                        <a:cs typeface="Arial"/>
                      </a:endParaRPr>
                    </a:p>
                  </a:txBody>
                  <a:tcPr marL="0" marR="0" marT="15240" marB="0">
                    <a:lnR w="12700">
                      <a:solidFill>
                        <a:srgbClr val="009963"/>
                      </a:solidFill>
                      <a:prstDash val="solid"/>
                    </a:lnR>
                    <a:lnT w="12700">
                      <a:solidFill>
                        <a:srgbClr val="DDDBDB"/>
                      </a:solidFill>
                      <a:prstDash val="solid"/>
                    </a:lnT>
                    <a:lnB w="12700">
                      <a:solidFill>
                        <a:srgbClr val="DDDBDB"/>
                      </a:solidFill>
                      <a:prstDash val="solid"/>
                    </a:lnB>
                  </a:tcPr>
                </a:tc>
                <a:tc>
                  <a:txBody>
                    <a:bodyPr/>
                    <a:lstStyle/>
                    <a:p>
                      <a:pPr marL="11430" algn="ctr">
                        <a:lnSpc>
                          <a:spcPct val="100000"/>
                        </a:lnSpc>
                        <a:spcBef>
                          <a:spcPts val="90"/>
                        </a:spcBef>
                      </a:pPr>
                      <a:r>
                        <a:rPr sz="1300" dirty="0">
                          <a:latin typeface="Arial"/>
                          <a:cs typeface="Arial"/>
                        </a:rPr>
                        <a:t>23</a:t>
                      </a:r>
                      <a:r>
                        <a:rPr sz="1300" spc="25" dirty="0">
                          <a:latin typeface="Arial"/>
                          <a:cs typeface="Arial"/>
                        </a:rPr>
                        <a:t> </a:t>
                      </a:r>
                      <a:r>
                        <a:rPr sz="1300" spc="-10" dirty="0">
                          <a:latin typeface="Arial"/>
                          <a:cs typeface="Arial"/>
                        </a:rPr>
                        <a:t>(17.8)</a:t>
                      </a:r>
                      <a:endParaRPr sz="1300">
                        <a:latin typeface="Arial"/>
                        <a:cs typeface="Arial"/>
                      </a:endParaRPr>
                    </a:p>
                  </a:txBody>
                  <a:tcPr marL="0" marR="0" marT="15240" marB="0">
                    <a:lnL w="12700">
                      <a:solidFill>
                        <a:srgbClr val="009963"/>
                      </a:solidFill>
                      <a:prstDash val="solid"/>
                    </a:lnL>
                    <a:lnR w="12700">
                      <a:solidFill>
                        <a:srgbClr val="009963"/>
                      </a:solidFill>
                      <a:prstDash val="solid"/>
                    </a:lnR>
                    <a:lnT w="12700">
                      <a:solidFill>
                        <a:srgbClr val="DDDBDB"/>
                      </a:solidFill>
                      <a:prstDash val="solid"/>
                    </a:lnT>
                    <a:lnB w="12700">
                      <a:solidFill>
                        <a:srgbClr val="DDDBDB"/>
                      </a:solidFill>
                      <a:prstDash val="solid"/>
                    </a:lnB>
                    <a:solidFill>
                      <a:srgbClr val="E6F6EE"/>
                    </a:solidFill>
                  </a:tcPr>
                </a:tc>
                <a:tc>
                  <a:txBody>
                    <a:bodyPr/>
                    <a:lstStyle/>
                    <a:p>
                      <a:pPr marL="15240" algn="ctr">
                        <a:lnSpc>
                          <a:spcPct val="100000"/>
                        </a:lnSpc>
                        <a:spcBef>
                          <a:spcPts val="90"/>
                        </a:spcBef>
                      </a:pPr>
                      <a:r>
                        <a:rPr sz="1300" dirty="0">
                          <a:latin typeface="Arial"/>
                          <a:cs typeface="Arial"/>
                        </a:rPr>
                        <a:t>25</a:t>
                      </a:r>
                      <a:r>
                        <a:rPr sz="1300" spc="25" dirty="0">
                          <a:latin typeface="Arial"/>
                          <a:cs typeface="Arial"/>
                        </a:rPr>
                        <a:t> </a:t>
                      </a:r>
                      <a:r>
                        <a:rPr sz="1300" spc="-10" dirty="0">
                          <a:latin typeface="Arial"/>
                          <a:cs typeface="Arial"/>
                        </a:rPr>
                        <a:t>(19.8)</a:t>
                      </a:r>
                      <a:endParaRPr sz="1300">
                        <a:latin typeface="Arial"/>
                        <a:cs typeface="Arial"/>
                      </a:endParaRPr>
                    </a:p>
                  </a:txBody>
                  <a:tcPr marL="0" marR="0" marT="15240" marB="0">
                    <a:lnL w="12700">
                      <a:solidFill>
                        <a:srgbClr val="009963"/>
                      </a:solidFill>
                      <a:prstDash val="solid"/>
                    </a:lnL>
                    <a:lnR w="12700">
                      <a:solidFill>
                        <a:srgbClr val="0A41CD"/>
                      </a:solidFill>
                      <a:prstDash val="solid"/>
                    </a:lnR>
                    <a:lnT w="12700">
                      <a:solidFill>
                        <a:srgbClr val="DDDBDB"/>
                      </a:solidFill>
                      <a:prstDash val="solid"/>
                    </a:lnT>
                    <a:lnB w="12700">
                      <a:solidFill>
                        <a:srgbClr val="DDDBDB"/>
                      </a:solidFill>
                      <a:prstDash val="solid"/>
                    </a:lnB>
                    <a:solidFill>
                      <a:srgbClr val="E7EFF8"/>
                    </a:solidFill>
                  </a:tcPr>
                </a:tc>
                <a:extLst>
                  <a:ext uri="{0D108BD9-81ED-4DB2-BD59-A6C34878D82A}">
                    <a16:rowId xmlns:a16="http://schemas.microsoft.com/office/drawing/2014/main" val="10015"/>
                  </a:ext>
                </a:extLst>
              </a:tr>
              <a:tr h="216747">
                <a:tc rowSpan="2">
                  <a:txBody>
                    <a:bodyPr/>
                    <a:lstStyle/>
                    <a:p>
                      <a:pPr marL="15875">
                        <a:lnSpc>
                          <a:spcPct val="100000"/>
                        </a:lnSpc>
                        <a:spcBef>
                          <a:spcPts val="675"/>
                        </a:spcBef>
                      </a:pPr>
                      <a:r>
                        <a:rPr sz="1300" b="1" dirty="0">
                          <a:latin typeface="Arial"/>
                          <a:cs typeface="Arial"/>
                        </a:rPr>
                        <a:t>Prior</a:t>
                      </a:r>
                      <a:r>
                        <a:rPr sz="1300" b="1" spc="-40" dirty="0">
                          <a:latin typeface="Arial"/>
                          <a:cs typeface="Arial"/>
                        </a:rPr>
                        <a:t> </a:t>
                      </a:r>
                      <a:r>
                        <a:rPr sz="1300" b="1" dirty="0">
                          <a:latin typeface="Arial"/>
                          <a:cs typeface="Arial"/>
                        </a:rPr>
                        <a:t>lines</a:t>
                      </a:r>
                      <a:r>
                        <a:rPr sz="1300" b="1" spc="-55" dirty="0">
                          <a:latin typeface="Arial"/>
                          <a:cs typeface="Arial"/>
                        </a:rPr>
                        <a:t> </a:t>
                      </a:r>
                      <a:r>
                        <a:rPr sz="1300" b="1" dirty="0">
                          <a:latin typeface="Arial"/>
                          <a:cs typeface="Arial"/>
                        </a:rPr>
                        <a:t>of</a:t>
                      </a:r>
                      <a:r>
                        <a:rPr sz="1300" b="1" spc="20" dirty="0">
                          <a:latin typeface="Arial"/>
                          <a:cs typeface="Arial"/>
                        </a:rPr>
                        <a:t> </a:t>
                      </a:r>
                      <a:r>
                        <a:rPr sz="1300" b="1" dirty="0">
                          <a:latin typeface="Arial"/>
                          <a:cs typeface="Arial"/>
                        </a:rPr>
                        <a:t>therapy</a:t>
                      </a:r>
                      <a:r>
                        <a:rPr sz="1300" b="1" spc="25" dirty="0">
                          <a:latin typeface="Arial"/>
                          <a:cs typeface="Arial"/>
                        </a:rPr>
                        <a:t> </a:t>
                      </a:r>
                      <a:r>
                        <a:rPr sz="1300" b="1" dirty="0">
                          <a:latin typeface="Arial"/>
                          <a:cs typeface="Arial"/>
                        </a:rPr>
                        <a:t>for</a:t>
                      </a:r>
                      <a:r>
                        <a:rPr sz="1300" b="1" spc="-35" dirty="0">
                          <a:latin typeface="Arial"/>
                          <a:cs typeface="Arial"/>
                        </a:rPr>
                        <a:t> </a:t>
                      </a:r>
                      <a:r>
                        <a:rPr sz="1300" b="1" spc="-10" dirty="0">
                          <a:latin typeface="Arial"/>
                          <a:cs typeface="Arial"/>
                        </a:rPr>
                        <a:t>lymphoma</a:t>
                      </a:r>
                      <a:endParaRPr sz="1300">
                        <a:latin typeface="Arial"/>
                        <a:cs typeface="Arial"/>
                      </a:endParaRPr>
                    </a:p>
                  </a:txBody>
                  <a:tcPr marL="0" marR="0" marT="114300" marB="0">
                    <a:lnL w="12700">
                      <a:solidFill>
                        <a:srgbClr val="0A41CD"/>
                      </a:solidFill>
                      <a:prstDash val="solid"/>
                    </a:lnL>
                    <a:lnT w="12700">
                      <a:solidFill>
                        <a:srgbClr val="DDDBDB"/>
                      </a:solidFill>
                      <a:prstDash val="solid"/>
                    </a:lnT>
                    <a:lnB w="12700">
                      <a:solidFill>
                        <a:srgbClr val="DDDBDB"/>
                      </a:solidFill>
                      <a:prstDash val="solid"/>
                    </a:lnB>
                    <a:solidFill>
                      <a:srgbClr val="F1F1F1"/>
                    </a:solidFill>
                  </a:tcPr>
                </a:tc>
                <a:tc>
                  <a:txBody>
                    <a:bodyPr/>
                    <a:lstStyle/>
                    <a:p>
                      <a:pPr marL="46990">
                        <a:lnSpc>
                          <a:spcPct val="100000"/>
                        </a:lnSpc>
                        <a:spcBef>
                          <a:spcPts val="105"/>
                        </a:spcBef>
                      </a:pPr>
                      <a:r>
                        <a:rPr sz="1300" spc="-50" dirty="0">
                          <a:latin typeface="Arial"/>
                          <a:cs typeface="Arial"/>
                        </a:rPr>
                        <a:t>1</a:t>
                      </a:r>
                      <a:endParaRPr sz="1300">
                        <a:latin typeface="Arial"/>
                        <a:cs typeface="Arial"/>
                      </a:endParaRPr>
                    </a:p>
                  </a:txBody>
                  <a:tcPr marL="0" marR="0" marT="17780" marB="0">
                    <a:lnR w="12700">
                      <a:solidFill>
                        <a:srgbClr val="009963"/>
                      </a:solidFill>
                      <a:prstDash val="solid"/>
                    </a:lnR>
                    <a:lnT w="12700">
                      <a:solidFill>
                        <a:srgbClr val="DDDBDB"/>
                      </a:solidFill>
                      <a:prstDash val="solid"/>
                    </a:lnT>
                    <a:solidFill>
                      <a:srgbClr val="F1F1F1"/>
                    </a:solidFill>
                  </a:tcPr>
                </a:tc>
                <a:tc>
                  <a:txBody>
                    <a:bodyPr/>
                    <a:lstStyle/>
                    <a:p>
                      <a:pPr marL="11430" algn="ctr">
                        <a:lnSpc>
                          <a:spcPct val="100000"/>
                        </a:lnSpc>
                        <a:spcBef>
                          <a:spcPts val="105"/>
                        </a:spcBef>
                      </a:pPr>
                      <a:r>
                        <a:rPr sz="1300" dirty="0">
                          <a:latin typeface="Arial"/>
                          <a:cs typeface="Arial"/>
                        </a:rPr>
                        <a:t>81</a:t>
                      </a:r>
                      <a:r>
                        <a:rPr sz="1300" spc="25" dirty="0">
                          <a:latin typeface="Arial"/>
                          <a:cs typeface="Arial"/>
                        </a:rPr>
                        <a:t> </a:t>
                      </a:r>
                      <a:r>
                        <a:rPr sz="1300" spc="-10" dirty="0">
                          <a:latin typeface="Arial"/>
                          <a:cs typeface="Arial"/>
                        </a:rPr>
                        <a:t>(62.8)</a:t>
                      </a:r>
                      <a:endParaRPr sz="1300">
                        <a:latin typeface="Arial"/>
                        <a:cs typeface="Arial"/>
                      </a:endParaRPr>
                    </a:p>
                  </a:txBody>
                  <a:tcPr marL="0" marR="0" marT="17780" marB="0">
                    <a:lnL w="12700">
                      <a:solidFill>
                        <a:srgbClr val="009963"/>
                      </a:solidFill>
                      <a:prstDash val="solid"/>
                    </a:lnL>
                    <a:lnR w="12700">
                      <a:solidFill>
                        <a:srgbClr val="009963"/>
                      </a:solidFill>
                      <a:prstDash val="solid"/>
                    </a:lnR>
                    <a:lnT w="12700">
                      <a:solidFill>
                        <a:srgbClr val="DDDBDB"/>
                      </a:solidFill>
                      <a:prstDash val="solid"/>
                    </a:lnT>
                    <a:solidFill>
                      <a:srgbClr val="D1EEE1"/>
                    </a:solidFill>
                  </a:tcPr>
                </a:tc>
                <a:tc>
                  <a:txBody>
                    <a:bodyPr/>
                    <a:lstStyle/>
                    <a:p>
                      <a:pPr marL="15240" algn="ctr">
                        <a:lnSpc>
                          <a:spcPct val="100000"/>
                        </a:lnSpc>
                        <a:spcBef>
                          <a:spcPts val="105"/>
                        </a:spcBef>
                      </a:pPr>
                      <a:r>
                        <a:rPr sz="1300" dirty="0">
                          <a:latin typeface="Arial"/>
                          <a:cs typeface="Arial"/>
                        </a:rPr>
                        <a:t>81</a:t>
                      </a:r>
                      <a:r>
                        <a:rPr sz="1300" spc="25" dirty="0">
                          <a:latin typeface="Arial"/>
                          <a:cs typeface="Arial"/>
                        </a:rPr>
                        <a:t> </a:t>
                      </a:r>
                      <a:r>
                        <a:rPr sz="1300" spc="-10" dirty="0">
                          <a:latin typeface="Arial"/>
                          <a:cs typeface="Arial"/>
                        </a:rPr>
                        <a:t>(64.3)</a:t>
                      </a:r>
                      <a:endParaRPr sz="1300">
                        <a:latin typeface="Arial"/>
                        <a:cs typeface="Arial"/>
                      </a:endParaRPr>
                    </a:p>
                  </a:txBody>
                  <a:tcPr marL="0" marR="0" marT="17780" marB="0">
                    <a:lnL w="12700">
                      <a:solidFill>
                        <a:srgbClr val="009963"/>
                      </a:solidFill>
                      <a:prstDash val="solid"/>
                    </a:lnL>
                    <a:lnR w="12700">
                      <a:solidFill>
                        <a:srgbClr val="0A41CD"/>
                      </a:solidFill>
                      <a:prstDash val="solid"/>
                    </a:lnR>
                    <a:lnT w="12700">
                      <a:solidFill>
                        <a:srgbClr val="DDDBDB"/>
                      </a:solidFill>
                      <a:prstDash val="solid"/>
                    </a:lnT>
                    <a:solidFill>
                      <a:srgbClr val="D3E3F4"/>
                    </a:solidFill>
                  </a:tcPr>
                </a:tc>
                <a:extLst>
                  <a:ext uri="{0D108BD9-81ED-4DB2-BD59-A6C34878D82A}">
                    <a16:rowId xmlns:a16="http://schemas.microsoft.com/office/drawing/2014/main" val="10016"/>
                  </a:ext>
                </a:extLst>
              </a:tr>
              <a:tr h="207433">
                <a:tc vMerge="1">
                  <a:txBody>
                    <a:bodyPr/>
                    <a:lstStyle/>
                    <a:p>
                      <a:endParaRPr/>
                    </a:p>
                  </a:txBody>
                  <a:tcPr marL="0" marR="0" marT="85725" marB="0">
                    <a:lnL w="12700">
                      <a:solidFill>
                        <a:srgbClr val="0A41CD"/>
                      </a:solidFill>
                      <a:prstDash val="solid"/>
                    </a:lnL>
                    <a:lnT w="12700">
                      <a:solidFill>
                        <a:srgbClr val="DDDBDB"/>
                      </a:solidFill>
                      <a:prstDash val="solid"/>
                    </a:lnT>
                    <a:lnB w="12700">
                      <a:solidFill>
                        <a:srgbClr val="DDDBDB"/>
                      </a:solidFill>
                      <a:prstDash val="solid"/>
                    </a:lnB>
                    <a:solidFill>
                      <a:srgbClr val="F1F1F1"/>
                    </a:solidFill>
                  </a:tcPr>
                </a:tc>
                <a:tc>
                  <a:txBody>
                    <a:bodyPr/>
                    <a:lstStyle/>
                    <a:p>
                      <a:pPr marL="46990">
                        <a:lnSpc>
                          <a:spcPct val="100000"/>
                        </a:lnSpc>
                        <a:spcBef>
                          <a:spcPts val="25"/>
                        </a:spcBef>
                      </a:pPr>
                      <a:r>
                        <a:rPr sz="1300" spc="-25" dirty="0">
                          <a:latin typeface="Arial"/>
                          <a:cs typeface="Arial"/>
                        </a:rPr>
                        <a:t>≥2</a:t>
                      </a:r>
                      <a:endParaRPr sz="1300">
                        <a:latin typeface="Arial"/>
                        <a:cs typeface="Arial"/>
                      </a:endParaRPr>
                    </a:p>
                  </a:txBody>
                  <a:tcPr marL="0" marR="0" marT="4233" marB="0">
                    <a:lnR w="12700">
                      <a:solidFill>
                        <a:srgbClr val="009963"/>
                      </a:solidFill>
                      <a:prstDash val="solid"/>
                    </a:lnR>
                    <a:lnB w="12700">
                      <a:solidFill>
                        <a:srgbClr val="DDDBDB"/>
                      </a:solidFill>
                      <a:prstDash val="solid"/>
                    </a:lnB>
                    <a:solidFill>
                      <a:srgbClr val="F1F1F1"/>
                    </a:solidFill>
                  </a:tcPr>
                </a:tc>
                <a:tc>
                  <a:txBody>
                    <a:bodyPr/>
                    <a:lstStyle/>
                    <a:p>
                      <a:pPr marL="11430" algn="ctr">
                        <a:lnSpc>
                          <a:spcPct val="100000"/>
                        </a:lnSpc>
                      </a:pPr>
                      <a:r>
                        <a:rPr sz="1300" dirty="0">
                          <a:latin typeface="Arial"/>
                          <a:cs typeface="Arial"/>
                        </a:rPr>
                        <a:t>48</a:t>
                      </a:r>
                      <a:r>
                        <a:rPr sz="1300" spc="25" dirty="0">
                          <a:latin typeface="Arial"/>
                          <a:cs typeface="Arial"/>
                        </a:rPr>
                        <a:t> </a:t>
                      </a:r>
                      <a:r>
                        <a:rPr sz="1300" spc="-10" dirty="0">
                          <a:latin typeface="Arial"/>
                          <a:cs typeface="Arial"/>
                        </a:rPr>
                        <a:t>(37.2)</a:t>
                      </a:r>
                      <a:endParaRPr sz="1300">
                        <a:latin typeface="Arial"/>
                        <a:cs typeface="Arial"/>
                      </a:endParaRPr>
                    </a:p>
                  </a:txBody>
                  <a:tcPr marL="0" marR="0" marT="0" marB="0">
                    <a:lnL w="12700">
                      <a:solidFill>
                        <a:srgbClr val="009963"/>
                      </a:solidFill>
                      <a:prstDash val="solid"/>
                    </a:lnL>
                    <a:lnR w="12700">
                      <a:solidFill>
                        <a:srgbClr val="009963"/>
                      </a:solidFill>
                      <a:prstDash val="solid"/>
                    </a:lnR>
                    <a:lnB w="12700">
                      <a:solidFill>
                        <a:srgbClr val="DDDBDB"/>
                      </a:solidFill>
                      <a:prstDash val="solid"/>
                    </a:lnB>
                    <a:solidFill>
                      <a:srgbClr val="D1EEE1"/>
                    </a:solidFill>
                  </a:tcPr>
                </a:tc>
                <a:tc>
                  <a:txBody>
                    <a:bodyPr/>
                    <a:lstStyle/>
                    <a:p>
                      <a:pPr marL="15240" algn="ctr">
                        <a:lnSpc>
                          <a:spcPct val="100000"/>
                        </a:lnSpc>
                      </a:pPr>
                      <a:r>
                        <a:rPr sz="1300" dirty="0">
                          <a:latin typeface="Arial"/>
                          <a:cs typeface="Arial"/>
                        </a:rPr>
                        <a:t>45</a:t>
                      </a:r>
                      <a:r>
                        <a:rPr sz="1300" spc="25" dirty="0">
                          <a:latin typeface="Arial"/>
                          <a:cs typeface="Arial"/>
                        </a:rPr>
                        <a:t> </a:t>
                      </a:r>
                      <a:r>
                        <a:rPr sz="1300" spc="-10" dirty="0">
                          <a:latin typeface="Arial"/>
                          <a:cs typeface="Arial"/>
                        </a:rPr>
                        <a:t>(35.7)</a:t>
                      </a:r>
                      <a:endParaRPr sz="1300">
                        <a:latin typeface="Arial"/>
                        <a:cs typeface="Arial"/>
                      </a:endParaRPr>
                    </a:p>
                  </a:txBody>
                  <a:tcPr marL="0" marR="0" marT="0" marB="0">
                    <a:lnL w="12700">
                      <a:solidFill>
                        <a:srgbClr val="009963"/>
                      </a:solidFill>
                      <a:prstDash val="solid"/>
                    </a:lnL>
                    <a:lnR w="12700">
                      <a:solidFill>
                        <a:srgbClr val="0A41CD"/>
                      </a:solidFill>
                      <a:prstDash val="solid"/>
                    </a:lnR>
                    <a:lnB w="12700">
                      <a:solidFill>
                        <a:srgbClr val="DDDBDB"/>
                      </a:solidFill>
                      <a:prstDash val="solid"/>
                    </a:lnB>
                    <a:solidFill>
                      <a:srgbClr val="D3E3F4"/>
                    </a:solidFill>
                  </a:tcPr>
                </a:tc>
                <a:extLst>
                  <a:ext uri="{0D108BD9-81ED-4DB2-BD59-A6C34878D82A}">
                    <a16:rowId xmlns:a16="http://schemas.microsoft.com/office/drawing/2014/main" val="10017"/>
                  </a:ext>
                </a:extLst>
              </a:tr>
              <a:tr h="231140">
                <a:tc>
                  <a:txBody>
                    <a:bodyPr/>
                    <a:lstStyle/>
                    <a:p>
                      <a:pPr marL="15875">
                        <a:lnSpc>
                          <a:spcPct val="100000"/>
                        </a:lnSpc>
                        <a:spcBef>
                          <a:spcPts val="110"/>
                        </a:spcBef>
                      </a:pPr>
                      <a:r>
                        <a:rPr sz="1300" b="1" dirty="0">
                          <a:latin typeface="Arial"/>
                          <a:cs typeface="Arial"/>
                        </a:rPr>
                        <a:t>Primary</a:t>
                      </a:r>
                      <a:r>
                        <a:rPr sz="1300" b="1" spc="25" dirty="0">
                          <a:latin typeface="Arial"/>
                          <a:cs typeface="Arial"/>
                        </a:rPr>
                        <a:t> </a:t>
                      </a:r>
                      <a:r>
                        <a:rPr sz="1300" b="1" spc="-10" dirty="0">
                          <a:latin typeface="Arial"/>
                          <a:cs typeface="Arial"/>
                        </a:rPr>
                        <a:t>refractory</a:t>
                      </a:r>
                      <a:r>
                        <a:rPr sz="1300" b="1" spc="-55" dirty="0">
                          <a:latin typeface="Arial"/>
                          <a:cs typeface="Arial"/>
                        </a:rPr>
                        <a:t> </a:t>
                      </a:r>
                      <a:r>
                        <a:rPr sz="1300" b="1" dirty="0">
                          <a:latin typeface="Arial"/>
                          <a:cs typeface="Arial"/>
                        </a:rPr>
                        <a:t>(DLBCL,</a:t>
                      </a:r>
                      <a:r>
                        <a:rPr sz="1300" b="1" spc="-5" dirty="0">
                          <a:latin typeface="Arial"/>
                          <a:cs typeface="Arial"/>
                        </a:rPr>
                        <a:t> </a:t>
                      </a:r>
                      <a:r>
                        <a:rPr sz="1300" b="1" spc="-20" dirty="0">
                          <a:latin typeface="Arial"/>
                          <a:cs typeface="Arial"/>
                        </a:rPr>
                        <a:t>NOS)</a:t>
                      </a:r>
                      <a:endParaRPr sz="1300">
                        <a:latin typeface="Arial"/>
                        <a:cs typeface="Arial"/>
                      </a:endParaRPr>
                    </a:p>
                  </a:txBody>
                  <a:tcPr marL="0" marR="0" marT="18627" marB="0">
                    <a:lnL w="12700">
                      <a:solidFill>
                        <a:srgbClr val="0A41CD"/>
                      </a:solidFill>
                      <a:prstDash val="solid"/>
                    </a:lnL>
                    <a:lnT w="12700">
                      <a:solidFill>
                        <a:srgbClr val="DDDBDB"/>
                      </a:solidFill>
                      <a:prstDash val="solid"/>
                    </a:lnT>
                    <a:lnB w="12700">
                      <a:solidFill>
                        <a:srgbClr val="DDDBDB"/>
                      </a:solidFill>
                      <a:prstDash val="solid"/>
                    </a:lnB>
                  </a:tcPr>
                </a:tc>
                <a:tc>
                  <a:txBody>
                    <a:bodyPr/>
                    <a:lstStyle/>
                    <a:p>
                      <a:pPr marL="46990">
                        <a:lnSpc>
                          <a:spcPct val="100000"/>
                        </a:lnSpc>
                        <a:spcBef>
                          <a:spcPts val="110"/>
                        </a:spcBef>
                      </a:pPr>
                      <a:r>
                        <a:rPr sz="1300" spc="-25" dirty="0">
                          <a:latin typeface="Arial"/>
                          <a:cs typeface="Arial"/>
                        </a:rPr>
                        <a:t>Yes</a:t>
                      </a:r>
                      <a:endParaRPr sz="1300">
                        <a:latin typeface="Arial"/>
                        <a:cs typeface="Arial"/>
                      </a:endParaRPr>
                    </a:p>
                  </a:txBody>
                  <a:tcPr marL="0" marR="0" marT="18627" marB="0">
                    <a:lnR w="12700">
                      <a:solidFill>
                        <a:srgbClr val="009963"/>
                      </a:solidFill>
                      <a:prstDash val="solid"/>
                    </a:lnR>
                    <a:lnT w="12700">
                      <a:solidFill>
                        <a:srgbClr val="DDDBDB"/>
                      </a:solidFill>
                      <a:prstDash val="solid"/>
                    </a:lnT>
                    <a:lnB w="12700">
                      <a:solidFill>
                        <a:srgbClr val="DDDBDB"/>
                      </a:solidFill>
                      <a:prstDash val="solid"/>
                    </a:lnB>
                  </a:tcPr>
                </a:tc>
                <a:tc>
                  <a:txBody>
                    <a:bodyPr/>
                    <a:lstStyle/>
                    <a:p>
                      <a:pPr marL="15875" algn="ctr">
                        <a:lnSpc>
                          <a:spcPct val="100000"/>
                        </a:lnSpc>
                        <a:spcBef>
                          <a:spcPts val="110"/>
                        </a:spcBef>
                      </a:pPr>
                      <a:r>
                        <a:rPr sz="1300" dirty="0">
                          <a:latin typeface="Arial"/>
                          <a:cs typeface="Arial"/>
                        </a:rPr>
                        <a:t>65/116</a:t>
                      </a:r>
                      <a:r>
                        <a:rPr sz="1300" spc="-30" dirty="0">
                          <a:latin typeface="Arial"/>
                          <a:cs typeface="Arial"/>
                        </a:rPr>
                        <a:t> </a:t>
                      </a:r>
                      <a:r>
                        <a:rPr sz="1300" spc="-10" dirty="0">
                          <a:latin typeface="Arial"/>
                          <a:cs typeface="Arial"/>
                        </a:rPr>
                        <a:t>(56.0)</a:t>
                      </a:r>
                      <a:endParaRPr sz="1300">
                        <a:latin typeface="Arial"/>
                        <a:cs typeface="Arial"/>
                      </a:endParaRPr>
                    </a:p>
                  </a:txBody>
                  <a:tcPr marL="0" marR="0" marT="18627" marB="0">
                    <a:lnL w="12700">
                      <a:solidFill>
                        <a:srgbClr val="009963"/>
                      </a:solidFill>
                      <a:prstDash val="solid"/>
                    </a:lnL>
                    <a:lnR w="12700">
                      <a:solidFill>
                        <a:srgbClr val="009963"/>
                      </a:solidFill>
                      <a:prstDash val="solid"/>
                    </a:lnR>
                    <a:lnT w="12700">
                      <a:solidFill>
                        <a:srgbClr val="DDDBDB"/>
                      </a:solidFill>
                      <a:prstDash val="solid"/>
                    </a:lnT>
                    <a:lnB w="12700">
                      <a:solidFill>
                        <a:srgbClr val="DDDBDB"/>
                      </a:solidFill>
                      <a:prstDash val="solid"/>
                    </a:lnB>
                    <a:solidFill>
                      <a:srgbClr val="E6F6EE"/>
                    </a:solidFill>
                  </a:tcPr>
                </a:tc>
                <a:tc>
                  <a:txBody>
                    <a:bodyPr/>
                    <a:lstStyle/>
                    <a:p>
                      <a:pPr marL="19685" algn="ctr">
                        <a:lnSpc>
                          <a:spcPct val="100000"/>
                        </a:lnSpc>
                        <a:spcBef>
                          <a:spcPts val="110"/>
                        </a:spcBef>
                      </a:pPr>
                      <a:r>
                        <a:rPr sz="1300" dirty="0">
                          <a:latin typeface="Arial"/>
                          <a:cs typeface="Arial"/>
                        </a:rPr>
                        <a:t>71/116</a:t>
                      </a:r>
                      <a:r>
                        <a:rPr sz="1300" spc="-30" dirty="0">
                          <a:latin typeface="Arial"/>
                          <a:cs typeface="Arial"/>
                        </a:rPr>
                        <a:t> </a:t>
                      </a:r>
                      <a:r>
                        <a:rPr sz="1300" spc="-10" dirty="0">
                          <a:latin typeface="Arial"/>
                          <a:cs typeface="Arial"/>
                        </a:rPr>
                        <a:t>(61.2)</a:t>
                      </a:r>
                      <a:endParaRPr sz="1300">
                        <a:latin typeface="Arial"/>
                        <a:cs typeface="Arial"/>
                      </a:endParaRPr>
                    </a:p>
                  </a:txBody>
                  <a:tcPr marL="0" marR="0" marT="18627" marB="0">
                    <a:lnL w="12700">
                      <a:solidFill>
                        <a:srgbClr val="009963"/>
                      </a:solidFill>
                      <a:prstDash val="solid"/>
                    </a:lnL>
                    <a:lnR w="12700">
                      <a:solidFill>
                        <a:srgbClr val="0A41CD"/>
                      </a:solidFill>
                      <a:prstDash val="solid"/>
                    </a:lnR>
                    <a:lnT w="12700">
                      <a:solidFill>
                        <a:srgbClr val="DDDBDB"/>
                      </a:solidFill>
                      <a:prstDash val="solid"/>
                    </a:lnT>
                    <a:lnB w="12700">
                      <a:solidFill>
                        <a:srgbClr val="DDDBDB"/>
                      </a:solidFill>
                      <a:prstDash val="solid"/>
                    </a:lnB>
                    <a:solidFill>
                      <a:srgbClr val="E7EFF8"/>
                    </a:solidFill>
                  </a:tcPr>
                </a:tc>
                <a:extLst>
                  <a:ext uri="{0D108BD9-81ED-4DB2-BD59-A6C34878D82A}">
                    <a16:rowId xmlns:a16="http://schemas.microsoft.com/office/drawing/2014/main" val="10018"/>
                  </a:ext>
                </a:extLst>
              </a:tr>
              <a:tr h="231140">
                <a:tc>
                  <a:txBody>
                    <a:bodyPr/>
                    <a:lstStyle/>
                    <a:p>
                      <a:pPr marL="15875">
                        <a:lnSpc>
                          <a:spcPct val="100000"/>
                        </a:lnSpc>
                        <a:spcBef>
                          <a:spcPts val="110"/>
                        </a:spcBef>
                      </a:pPr>
                      <a:r>
                        <a:rPr sz="1300" b="1" dirty="0">
                          <a:latin typeface="Arial"/>
                          <a:cs typeface="Arial"/>
                        </a:rPr>
                        <a:t>R/R</a:t>
                      </a:r>
                      <a:r>
                        <a:rPr sz="1300" b="1" spc="-60" dirty="0">
                          <a:latin typeface="Arial"/>
                          <a:cs typeface="Arial"/>
                        </a:rPr>
                        <a:t> </a:t>
                      </a:r>
                      <a:r>
                        <a:rPr sz="1300" b="1" dirty="0">
                          <a:latin typeface="Arial"/>
                          <a:cs typeface="Arial"/>
                        </a:rPr>
                        <a:t>to</a:t>
                      </a:r>
                      <a:r>
                        <a:rPr sz="1300" b="1" spc="-20" dirty="0">
                          <a:latin typeface="Arial"/>
                          <a:cs typeface="Arial"/>
                        </a:rPr>
                        <a:t> </a:t>
                      </a:r>
                      <a:r>
                        <a:rPr sz="1300" b="1" dirty="0">
                          <a:latin typeface="Arial"/>
                          <a:cs typeface="Arial"/>
                        </a:rPr>
                        <a:t>last</a:t>
                      </a:r>
                      <a:r>
                        <a:rPr sz="1300" b="1" spc="25" dirty="0">
                          <a:latin typeface="Arial"/>
                          <a:cs typeface="Arial"/>
                        </a:rPr>
                        <a:t> </a:t>
                      </a:r>
                      <a:r>
                        <a:rPr sz="1300" b="1" dirty="0">
                          <a:latin typeface="Arial"/>
                          <a:cs typeface="Arial"/>
                        </a:rPr>
                        <a:t>prior</a:t>
                      </a:r>
                      <a:r>
                        <a:rPr sz="1300" b="1" spc="-25" dirty="0">
                          <a:latin typeface="Arial"/>
                          <a:cs typeface="Arial"/>
                        </a:rPr>
                        <a:t> </a:t>
                      </a:r>
                      <a:r>
                        <a:rPr sz="1300" b="1" spc="-10" dirty="0">
                          <a:latin typeface="Arial"/>
                          <a:cs typeface="Arial"/>
                        </a:rPr>
                        <a:t>therapy</a:t>
                      </a:r>
                      <a:endParaRPr sz="1300">
                        <a:latin typeface="Arial"/>
                        <a:cs typeface="Arial"/>
                      </a:endParaRPr>
                    </a:p>
                  </a:txBody>
                  <a:tcPr marL="0" marR="0" marT="18627" marB="0">
                    <a:lnL w="12700">
                      <a:solidFill>
                        <a:srgbClr val="0A41CD"/>
                      </a:solidFill>
                      <a:prstDash val="solid"/>
                    </a:lnL>
                    <a:lnT w="12700">
                      <a:solidFill>
                        <a:srgbClr val="DDDBDB"/>
                      </a:solidFill>
                      <a:prstDash val="solid"/>
                    </a:lnT>
                    <a:lnB w="12700">
                      <a:solidFill>
                        <a:srgbClr val="DDDBDB"/>
                      </a:solidFill>
                      <a:prstDash val="solid"/>
                    </a:lnB>
                    <a:solidFill>
                      <a:srgbClr val="F1F1F1"/>
                    </a:solidFill>
                  </a:tcPr>
                </a:tc>
                <a:tc>
                  <a:txBody>
                    <a:bodyPr/>
                    <a:lstStyle/>
                    <a:p>
                      <a:pPr marL="46990">
                        <a:lnSpc>
                          <a:spcPct val="100000"/>
                        </a:lnSpc>
                        <a:spcBef>
                          <a:spcPts val="110"/>
                        </a:spcBef>
                      </a:pPr>
                      <a:r>
                        <a:rPr sz="1300" spc="-10" dirty="0">
                          <a:latin typeface="Arial"/>
                          <a:cs typeface="Arial"/>
                        </a:rPr>
                        <a:t>Refractory</a:t>
                      </a:r>
                      <a:endParaRPr sz="1300">
                        <a:latin typeface="Arial"/>
                        <a:cs typeface="Arial"/>
                      </a:endParaRPr>
                    </a:p>
                  </a:txBody>
                  <a:tcPr marL="0" marR="0" marT="18627" marB="0">
                    <a:lnR w="12700">
                      <a:solidFill>
                        <a:srgbClr val="009963"/>
                      </a:solidFill>
                      <a:prstDash val="solid"/>
                    </a:lnR>
                    <a:lnT w="12700">
                      <a:solidFill>
                        <a:srgbClr val="DDDBDB"/>
                      </a:solidFill>
                      <a:prstDash val="solid"/>
                    </a:lnT>
                    <a:lnB w="12700">
                      <a:solidFill>
                        <a:srgbClr val="DDDBDB"/>
                      </a:solidFill>
                      <a:prstDash val="solid"/>
                    </a:lnB>
                    <a:solidFill>
                      <a:srgbClr val="F1F1F1"/>
                    </a:solidFill>
                  </a:tcPr>
                </a:tc>
                <a:tc>
                  <a:txBody>
                    <a:bodyPr/>
                    <a:lstStyle/>
                    <a:p>
                      <a:pPr marL="11430" algn="ctr">
                        <a:lnSpc>
                          <a:spcPct val="100000"/>
                        </a:lnSpc>
                        <a:spcBef>
                          <a:spcPts val="110"/>
                        </a:spcBef>
                      </a:pPr>
                      <a:r>
                        <a:rPr sz="1300" dirty="0">
                          <a:latin typeface="Arial"/>
                          <a:cs typeface="Arial"/>
                        </a:rPr>
                        <a:t>85</a:t>
                      </a:r>
                      <a:r>
                        <a:rPr sz="1300" spc="25" dirty="0">
                          <a:latin typeface="Arial"/>
                          <a:cs typeface="Arial"/>
                        </a:rPr>
                        <a:t> </a:t>
                      </a:r>
                      <a:r>
                        <a:rPr sz="1300" spc="-10" dirty="0">
                          <a:latin typeface="Arial"/>
                          <a:cs typeface="Arial"/>
                        </a:rPr>
                        <a:t>(65.9)</a:t>
                      </a:r>
                      <a:endParaRPr sz="1300">
                        <a:latin typeface="Arial"/>
                        <a:cs typeface="Arial"/>
                      </a:endParaRPr>
                    </a:p>
                  </a:txBody>
                  <a:tcPr marL="0" marR="0" marT="18627" marB="0">
                    <a:lnL w="12700">
                      <a:solidFill>
                        <a:srgbClr val="009963"/>
                      </a:solidFill>
                      <a:prstDash val="solid"/>
                    </a:lnL>
                    <a:lnR w="12700">
                      <a:solidFill>
                        <a:srgbClr val="009963"/>
                      </a:solidFill>
                      <a:prstDash val="solid"/>
                    </a:lnR>
                    <a:lnT w="12700">
                      <a:solidFill>
                        <a:srgbClr val="DDDBDB"/>
                      </a:solidFill>
                      <a:prstDash val="solid"/>
                    </a:lnT>
                    <a:lnB w="12700">
                      <a:solidFill>
                        <a:srgbClr val="DDDBDB"/>
                      </a:solidFill>
                      <a:prstDash val="solid"/>
                    </a:lnB>
                    <a:solidFill>
                      <a:srgbClr val="D1EEE1"/>
                    </a:solidFill>
                  </a:tcPr>
                </a:tc>
                <a:tc>
                  <a:txBody>
                    <a:bodyPr/>
                    <a:lstStyle/>
                    <a:p>
                      <a:pPr marL="14604" algn="ctr">
                        <a:lnSpc>
                          <a:spcPct val="100000"/>
                        </a:lnSpc>
                        <a:spcBef>
                          <a:spcPts val="110"/>
                        </a:spcBef>
                      </a:pPr>
                      <a:r>
                        <a:rPr sz="1300" dirty="0">
                          <a:latin typeface="Arial"/>
                          <a:cs typeface="Arial"/>
                        </a:rPr>
                        <a:t>83</a:t>
                      </a:r>
                      <a:r>
                        <a:rPr sz="1300" spc="25" dirty="0">
                          <a:latin typeface="Arial"/>
                          <a:cs typeface="Arial"/>
                        </a:rPr>
                        <a:t> </a:t>
                      </a:r>
                      <a:r>
                        <a:rPr sz="1300" spc="-10" dirty="0">
                          <a:latin typeface="Arial"/>
                          <a:cs typeface="Arial"/>
                        </a:rPr>
                        <a:t>(65.9)</a:t>
                      </a:r>
                      <a:endParaRPr sz="1300">
                        <a:latin typeface="Arial"/>
                        <a:cs typeface="Arial"/>
                      </a:endParaRPr>
                    </a:p>
                  </a:txBody>
                  <a:tcPr marL="0" marR="0" marT="18627" marB="0">
                    <a:lnL w="12700">
                      <a:solidFill>
                        <a:srgbClr val="009963"/>
                      </a:solidFill>
                      <a:prstDash val="solid"/>
                    </a:lnL>
                    <a:lnR w="12700">
                      <a:solidFill>
                        <a:srgbClr val="0A41CD"/>
                      </a:solidFill>
                      <a:prstDash val="solid"/>
                    </a:lnR>
                    <a:lnT w="12700">
                      <a:solidFill>
                        <a:srgbClr val="DDDBDB"/>
                      </a:solidFill>
                      <a:prstDash val="solid"/>
                    </a:lnT>
                    <a:lnB w="12700">
                      <a:solidFill>
                        <a:srgbClr val="DDDBDB"/>
                      </a:solidFill>
                      <a:prstDash val="solid"/>
                    </a:lnB>
                    <a:solidFill>
                      <a:srgbClr val="D3E3F4"/>
                    </a:solidFill>
                  </a:tcPr>
                </a:tc>
                <a:extLst>
                  <a:ext uri="{0D108BD9-81ED-4DB2-BD59-A6C34878D82A}">
                    <a16:rowId xmlns:a16="http://schemas.microsoft.com/office/drawing/2014/main" val="10019"/>
                  </a:ext>
                </a:extLst>
              </a:tr>
              <a:tr h="217593">
                <a:tc>
                  <a:txBody>
                    <a:bodyPr/>
                    <a:lstStyle/>
                    <a:p>
                      <a:pPr>
                        <a:lnSpc>
                          <a:spcPct val="100000"/>
                        </a:lnSpc>
                      </a:pPr>
                      <a:endParaRPr sz="1200">
                        <a:latin typeface="Times New Roman"/>
                        <a:cs typeface="Times New Roman"/>
                      </a:endParaRPr>
                    </a:p>
                  </a:txBody>
                  <a:tcPr marL="0" marR="0" marT="0" marB="0">
                    <a:lnL w="12700">
                      <a:solidFill>
                        <a:srgbClr val="0A41CD"/>
                      </a:solidFill>
                      <a:prstDash val="solid"/>
                    </a:lnL>
                    <a:lnT w="12700">
                      <a:solidFill>
                        <a:srgbClr val="DDDBDB"/>
                      </a:solidFill>
                      <a:prstDash val="solid"/>
                    </a:lnT>
                  </a:tcPr>
                </a:tc>
                <a:tc>
                  <a:txBody>
                    <a:bodyPr/>
                    <a:lstStyle/>
                    <a:p>
                      <a:pPr marL="46990">
                        <a:lnSpc>
                          <a:spcPct val="100000"/>
                        </a:lnSpc>
                        <a:spcBef>
                          <a:spcPts val="110"/>
                        </a:spcBef>
                      </a:pPr>
                      <a:r>
                        <a:rPr sz="1300" spc="-25" dirty="0">
                          <a:latin typeface="Arial"/>
                          <a:cs typeface="Arial"/>
                        </a:rPr>
                        <a:t>ABC</a:t>
                      </a:r>
                      <a:endParaRPr sz="1300">
                        <a:latin typeface="Arial"/>
                        <a:cs typeface="Arial"/>
                      </a:endParaRPr>
                    </a:p>
                  </a:txBody>
                  <a:tcPr marL="0" marR="0" marT="18627" marB="0">
                    <a:lnR w="12700">
                      <a:solidFill>
                        <a:srgbClr val="009963"/>
                      </a:solidFill>
                      <a:prstDash val="solid"/>
                    </a:lnR>
                    <a:lnT w="12700">
                      <a:solidFill>
                        <a:srgbClr val="DDDBDB"/>
                      </a:solidFill>
                      <a:prstDash val="solid"/>
                    </a:lnT>
                  </a:tcPr>
                </a:tc>
                <a:tc>
                  <a:txBody>
                    <a:bodyPr/>
                    <a:lstStyle/>
                    <a:p>
                      <a:pPr marL="11430" algn="ctr">
                        <a:lnSpc>
                          <a:spcPct val="100000"/>
                        </a:lnSpc>
                        <a:spcBef>
                          <a:spcPts val="110"/>
                        </a:spcBef>
                      </a:pPr>
                      <a:r>
                        <a:rPr sz="1300" dirty="0">
                          <a:latin typeface="Arial"/>
                          <a:cs typeface="Arial"/>
                        </a:rPr>
                        <a:t>41</a:t>
                      </a:r>
                      <a:r>
                        <a:rPr sz="1300" spc="25" dirty="0">
                          <a:latin typeface="Arial"/>
                          <a:cs typeface="Arial"/>
                        </a:rPr>
                        <a:t> </a:t>
                      </a:r>
                      <a:r>
                        <a:rPr sz="1300" spc="-10" dirty="0">
                          <a:latin typeface="Arial"/>
                          <a:cs typeface="Arial"/>
                        </a:rPr>
                        <a:t>(31.8)</a:t>
                      </a:r>
                      <a:endParaRPr sz="1300">
                        <a:latin typeface="Arial"/>
                        <a:cs typeface="Arial"/>
                      </a:endParaRPr>
                    </a:p>
                  </a:txBody>
                  <a:tcPr marL="0" marR="0" marT="18627" marB="0">
                    <a:lnL w="12700">
                      <a:solidFill>
                        <a:srgbClr val="009963"/>
                      </a:solidFill>
                      <a:prstDash val="solid"/>
                    </a:lnL>
                    <a:lnR w="12700">
                      <a:solidFill>
                        <a:srgbClr val="009963"/>
                      </a:solidFill>
                      <a:prstDash val="solid"/>
                    </a:lnR>
                    <a:lnT w="12700">
                      <a:solidFill>
                        <a:srgbClr val="DDDBDB"/>
                      </a:solidFill>
                      <a:prstDash val="solid"/>
                    </a:lnT>
                    <a:solidFill>
                      <a:srgbClr val="E6F6EE"/>
                    </a:solidFill>
                  </a:tcPr>
                </a:tc>
                <a:tc>
                  <a:txBody>
                    <a:bodyPr/>
                    <a:lstStyle/>
                    <a:p>
                      <a:pPr marL="15240" algn="ctr">
                        <a:lnSpc>
                          <a:spcPct val="100000"/>
                        </a:lnSpc>
                        <a:spcBef>
                          <a:spcPts val="110"/>
                        </a:spcBef>
                      </a:pPr>
                      <a:r>
                        <a:rPr sz="1300" dirty="0">
                          <a:latin typeface="Arial"/>
                          <a:cs typeface="Arial"/>
                        </a:rPr>
                        <a:t>45</a:t>
                      </a:r>
                      <a:r>
                        <a:rPr sz="1300" spc="25" dirty="0">
                          <a:latin typeface="Arial"/>
                          <a:cs typeface="Arial"/>
                        </a:rPr>
                        <a:t> </a:t>
                      </a:r>
                      <a:r>
                        <a:rPr sz="1300" spc="-10" dirty="0">
                          <a:latin typeface="Arial"/>
                          <a:cs typeface="Arial"/>
                        </a:rPr>
                        <a:t>(35.7)</a:t>
                      </a:r>
                      <a:endParaRPr sz="1300">
                        <a:latin typeface="Arial"/>
                        <a:cs typeface="Arial"/>
                      </a:endParaRPr>
                    </a:p>
                  </a:txBody>
                  <a:tcPr marL="0" marR="0" marT="18627" marB="0">
                    <a:lnL w="12700">
                      <a:solidFill>
                        <a:srgbClr val="009963"/>
                      </a:solidFill>
                      <a:prstDash val="solid"/>
                    </a:lnL>
                    <a:lnR w="12700">
                      <a:solidFill>
                        <a:srgbClr val="0A41CD"/>
                      </a:solidFill>
                      <a:prstDash val="solid"/>
                    </a:lnR>
                    <a:lnT w="12700">
                      <a:solidFill>
                        <a:srgbClr val="DDDBDB"/>
                      </a:solidFill>
                      <a:prstDash val="solid"/>
                    </a:lnT>
                    <a:solidFill>
                      <a:srgbClr val="E7EFF8"/>
                    </a:solidFill>
                  </a:tcPr>
                </a:tc>
                <a:extLst>
                  <a:ext uri="{0D108BD9-81ED-4DB2-BD59-A6C34878D82A}">
                    <a16:rowId xmlns:a16="http://schemas.microsoft.com/office/drawing/2014/main" val="10020"/>
                  </a:ext>
                </a:extLst>
              </a:tr>
              <a:tr h="386927">
                <a:tc>
                  <a:txBody>
                    <a:bodyPr/>
                    <a:lstStyle/>
                    <a:p>
                      <a:pPr marL="15875">
                        <a:lnSpc>
                          <a:spcPct val="100000"/>
                        </a:lnSpc>
                        <a:spcBef>
                          <a:spcPts val="535"/>
                        </a:spcBef>
                      </a:pPr>
                      <a:r>
                        <a:rPr sz="1300" b="1" dirty="0">
                          <a:latin typeface="Arial"/>
                          <a:cs typeface="Arial"/>
                        </a:rPr>
                        <a:t>Cell</a:t>
                      </a:r>
                      <a:r>
                        <a:rPr sz="1300" b="1" spc="-30" dirty="0">
                          <a:latin typeface="Arial"/>
                          <a:cs typeface="Arial"/>
                        </a:rPr>
                        <a:t> </a:t>
                      </a:r>
                      <a:r>
                        <a:rPr sz="1300" b="1" dirty="0">
                          <a:latin typeface="Arial"/>
                          <a:cs typeface="Arial"/>
                        </a:rPr>
                        <a:t>of</a:t>
                      </a:r>
                      <a:r>
                        <a:rPr sz="1300" b="1" spc="-5" dirty="0">
                          <a:latin typeface="Arial"/>
                          <a:cs typeface="Arial"/>
                        </a:rPr>
                        <a:t> </a:t>
                      </a:r>
                      <a:r>
                        <a:rPr sz="1300" b="1" dirty="0">
                          <a:latin typeface="Arial"/>
                          <a:cs typeface="Arial"/>
                        </a:rPr>
                        <a:t>origin</a:t>
                      </a:r>
                      <a:r>
                        <a:rPr sz="1300" b="1" spc="-10" dirty="0">
                          <a:latin typeface="Arial"/>
                          <a:cs typeface="Arial"/>
                        </a:rPr>
                        <a:t> </a:t>
                      </a:r>
                      <a:r>
                        <a:rPr sz="1300" b="1" dirty="0">
                          <a:latin typeface="Arial"/>
                          <a:cs typeface="Arial"/>
                        </a:rPr>
                        <a:t>(central,</a:t>
                      </a:r>
                      <a:r>
                        <a:rPr sz="1300" b="1" spc="-25" dirty="0">
                          <a:latin typeface="Arial"/>
                          <a:cs typeface="Arial"/>
                        </a:rPr>
                        <a:t> </a:t>
                      </a:r>
                      <a:r>
                        <a:rPr sz="1300" b="1" spc="-20" dirty="0">
                          <a:latin typeface="Arial"/>
                          <a:cs typeface="Arial"/>
                        </a:rPr>
                        <a:t>GEP)</a:t>
                      </a:r>
                      <a:endParaRPr sz="1300">
                        <a:latin typeface="Arial"/>
                        <a:cs typeface="Arial"/>
                      </a:endParaRPr>
                    </a:p>
                  </a:txBody>
                  <a:tcPr marL="0" marR="0" marT="90593" marB="0">
                    <a:lnL w="12700">
                      <a:solidFill>
                        <a:srgbClr val="0A41CD"/>
                      </a:solidFill>
                      <a:prstDash val="solid"/>
                    </a:lnL>
                  </a:tcPr>
                </a:tc>
                <a:tc>
                  <a:txBody>
                    <a:bodyPr/>
                    <a:lstStyle/>
                    <a:p>
                      <a:pPr marL="46990">
                        <a:lnSpc>
                          <a:spcPct val="100000"/>
                        </a:lnSpc>
                        <a:spcBef>
                          <a:spcPts val="25"/>
                        </a:spcBef>
                      </a:pPr>
                      <a:r>
                        <a:rPr sz="1300" spc="-25" dirty="0">
                          <a:latin typeface="Arial"/>
                          <a:cs typeface="Arial"/>
                        </a:rPr>
                        <a:t>GCB</a:t>
                      </a:r>
                      <a:endParaRPr sz="1300" dirty="0">
                        <a:latin typeface="Arial"/>
                        <a:cs typeface="Arial"/>
                      </a:endParaRPr>
                    </a:p>
                    <a:p>
                      <a:pPr marL="46990">
                        <a:lnSpc>
                          <a:spcPct val="100000"/>
                        </a:lnSpc>
                      </a:pPr>
                      <a:r>
                        <a:rPr sz="1300" spc="-10" dirty="0">
                          <a:latin typeface="Arial"/>
                          <a:cs typeface="Arial"/>
                        </a:rPr>
                        <a:t>Unclassified</a:t>
                      </a:r>
                      <a:endParaRPr sz="1300" dirty="0">
                        <a:latin typeface="Arial"/>
                        <a:cs typeface="Arial"/>
                      </a:endParaRPr>
                    </a:p>
                  </a:txBody>
                  <a:tcPr marL="0" marR="0" marT="4233" marB="0">
                    <a:lnR w="12700">
                      <a:solidFill>
                        <a:srgbClr val="009963"/>
                      </a:solidFill>
                      <a:prstDash val="solid"/>
                    </a:lnR>
                  </a:tcPr>
                </a:tc>
                <a:tc>
                  <a:txBody>
                    <a:bodyPr/>
                    <a:lstStyle/>
                    <a:p>
                      <a:pPr marL="11430" algn="ctr">
                        <a:lnSpc>
                          <a:spcPct val="100000"/>
                        </a:lnSpc>
                      </a:pPr>
                      <a:r>
                        <a:rPr sz="1300" dirty="0">
                          <a:latin typeface="Arial"/>
                          <a:cs typeface="Arial"/>
                        </a:rPr>
                        <a:t>48</a:t>
                      </a:r>
                      <a:r>
                        <a:rPr sz="1300" spc="25" dirty="0">
                          <a:latin typeface="Arial"/>
                          <a:cs typeface="Arial"/>
                        </a:rPr>
                        <a:t> </a:t>
                      </a:r>
                      <a:r>
                        <a:rPr sz="1300" spc="-10" dirty="0">
                          <a:latin typeface="Arial"/>
                          <a:cs typeface="Arial"/>
                        </a:rPr>
                        <a:t>(37.2)</a:t>
                      </a:r>
                      <a:endParaRPr sz="1300">
                        <a:latin typeface="Arial"/>
                        <a:cs typeface="Arial"/>
                      </a:endParaRPr>
                    </a:p>
                    <a:p>
                      <a:pPr marL="11430" algn="ctr">
                        <a:lnSpc>
                          <a:spcPct val="100000"/>
                        </a:lnSpc>
                      </a:pPr>
                      <a:r>
                        <a:rPr sz="1300" dirty="0">
                          <a:latin typeface="Arial"/>
                          <a:cs typeface="Arial"/>
                        </a:rPr>
                        <a:t>11</a:t>
                      </a:r>
                      <a:r>
                        <a:rPr sz="1300" spc="25" dirty="0">
                          <a:latin typeface="Arial"/>
                          <a:cs typeface="Arial"/>
                        </a:rPr>
                        <a:t> </a:t>
                      </a:r>
                      <a:r>
                        <a:rPr sz="1300" spc="-20" dirty="0">
                          <a:latin typeface="Arial"/>
                          <a:cs typeface="Arial"/>
                        </a:rPr>
                        <a:t>(8.5)</a:t>
                      </a:r>
                      <a:endParaRPr sz="1300">
                        <a:latin typeface="Arial"/>
                        <a:cs typeface="Arial"/>
                      </a:endParaRPr>
                    </a:p>
                  </a:txBody>
                  <a:tcPr marL="0" marR="0" marT="0" marB="0">
                    <a:lnL w="12700">
                      <a:solidFill>
                        <a:srgbClr val="009963"/>
                      </a:solidFill>
                      <a:prstDash val="solid"/>
                    </a:lnL>
                    <a:lnR w="12700">
                      <a:solidFill>
                        <a:srgbClr val="009963"/>
                      </a:solidFill>
                      <a:prstDash val="solid"/>
                    </a:lnR>
                    <a:solidFill>
                      <a:srgbClr val="E6F6EE"/>
                    </a:solidFill>
                  </a:tcPr>
                </a:tc>
                <a:tc>
                  <a:txBody>
                    <a:bodyPr/>
                    <a:lstStyle/>
                    <a:p>
                      <a:pPr marL="14604" algn="ctr">
                        <a:lnSpc>
                          <a:spcPct val="100000"/>
                        </a:lnSpc>
                      </a:pPr>
                      <a:r>
                        <a:rPr sz="1300" dirty="0">
                          <a:latin typeface="Arial"/>
                          <a:cs typeface="Arial"/>
                        </a:rPr>
                        <a:t>50</a:t>
                      </a:r>
                      <a:r>
                        <a:rPr sz="1300" spc="25" dirty="0">
                          <a:latin typeface="Arial"/>
                          <a:cs typeface="Arial"/>
                        </a:rPr>
                        <a:t> </a:t>
                      </a:r>
                      <a:r>
                        <a:rPr sz="1300" spc="-10" dirty="0">
                          <a:latin typeface="Arial"/>
                          <a:cs typeface="Arial"/>
                        </a:rPr>
                        <a:t>(39.7)</a:t>
                      </a:r>
                      <a:endParaRPr sz="1300">
                        <a:latin typeface="Arial"/>
                        <a:cs typeface="Arial"/>
                      </a:endParaRPr>
                    </a:p>
                    <a:p>
                      <a:pPr marL="16510" algn="ctr">
                        <a:lnSpc>
                          <a:spcPct val="100000"/>
                        </a:lnSpc>
                      </a:pPr>
                      <a:r>
                        <a:rPr sz="1300" dirty="0">
                          <a:latin typeface="Arial"/>
                          <a:cs typeface="Arial"/>
                        </a:rPr>
                        <a:t>9</a:t>
                      </a:r>
                      <a:r>
                        <a:rPr sz="1300" spc="35" dirty="0">
                          <a:latin typeface="Arial"/>
                          <a:cs typeface="Arial"/>
                        </a:rPr>
                        <a:t> </a:t>
                      </a:r>
                      <a:r>
                        <a:rPr sz="1300" spc="-20" dirty="0">
                          <a:latin typeface="Arial"/>
                          <a:cs typeface="Arial"/>
                        </a:rPr>
                        <a:t>(7.1)</a:t>
                      </a:r>
                      <a:endParaRPr sz="1300">
                        <a:latin typeface="Arial"/>
                        <a:cs typeface="Arial"/>
                      </a:endParaRPr>
                    </a:p>
                  </a:txBody>
                  <a:tcPr marL="0" marR="0" marT="0" marB="0">
                    <a:lnL w="12700">
                      <a:solidFill>
                        <a:srgbClr val="009963"/>
                      </a:solidFill>
                      <a:prstDash val="solid"/>
                    </a:lnL>
                    <a:lnR w="12700">
                      <a:solidFill>
                        <a:srgbClr val="0A41CD"/>
                      </a:solidFill>
                      <a:prstDash val="solid"/>
                    </a:lnR>
                    <a:solidFill>
                      <a:srgbClr val="E7EFF8"/>
                    </a:solidFill>
                  </a:tcPr>
                </a:tc>
                <a:extLst>
                  <a:ext uri="{0D108BD9-81ED-4DB2-BD59-A6C34878D82A}">
                    <a16:rowId xmlns:a16="http://schemas.microsoft.com/office/drawing/2014/main" val="10021"/>
                  </a:ext>
                </a:extLst>
              </a:tr>
              <a:tr h="204047">
                <a:tc>
                  <a:txBody>
                    <a:bodyPr/>
                    <a:lstStyle/>
                    <a:p>
                      <a:pPr>
                        <a:lnSpc>
                          <a:spcPct val="100000"/>
                        </a:lnSpc>
                      </a:pPr>
                      <a:endParaRPr sz="1100">
                        <a:latin typeface="Times New Roman"/>
                        <a:cs typeface="Times New Roman"/>
                      </a:endParaRPr>
                    </a:p>
                  </a:txBody>
                  <a:tcPr marL="0" marR="0" marT="0" marB="0">
                    <a:lnL w="12700">
                      <a:solidFill>
                        <a:srgbClr val="0A41CD"/>
                      </a:solidFill>
                      <a:prstDash val="solid"/>
                    </a:lnL>
                    <a:lnB w="12700">
                      <a:solidFill>
                        <a:srgbClr val="0A41CD"/>
                      </a:solidFill>
                      <a:prstDash val="solid"/>
                    </a:lnB>
                  </a:tcPr>
                </a:tc>
                <a:tc>
                  <a:txBody>
                    <a:bodyPr/>
                    <a:lstStyle/>
                    <a:p>
                      <a:pPr marL="46990">
                        <a:lnSpc>
                          <a:spcPct val="100000"/>
                        </a:lnSpc>
                      </a:pPr>
                      <a:r>
                        <a:rPr sz="1300" spc="-10" dirty="0">
                          <a:latin typeface="Arial"/>
                          <a:cs typeface="Arial"/>
                        </a:rPr>
                        <a:t>Unknown</a:t>
                      </a:r>
                      <a:endParaRPr sz="1300" dirty="0">
                        <a:latin typeface="Arial"/>
                        <a:cs typeface="Arial"/>
                      </a:endParaRPr>
                    </a:p>
                  </a:txBody>
                  <a:tcPr marL="0" marR="0" marT="0" marB="0">
                    <a:lnR w="12700">
                      <a:solidFill>
                        <a:srgbClr val="009963"/>
                      </a:solidFill>
                      <a:prstDash val="solid"/>
                    </a:lnR>
                    <a:lnB w="12700">
                      <a:solidFill>
                        <a:srgbClr val="0A41CD"/>
                      </a:solidFill>
                      <a:prstDash val="solid"/>
                    </a:lnB>
                  </a:tcPr>
                </a:tc>
                <a:tc>
                  <a:txBody>
                    <a:bodyPr/>
                    <a:lstStyle/>
                    <a:p>
                      <a:pPr marL="11430" algn="ctr">
                        <a:lnSpc>
                          <a:spcPct val="100000"/>
                        </a:lnSpc>
                      </a:pPr>
                      <a:r>
                        <a:rPr sz="1300" dirty="0">
                          <a:latin typeface="Arial"/>
                          <a:cs typeface="Arial"/>
                        </a:rPr>
                        <a:t>29</a:t>
                      </a:r>
                      <a:r>
                        <a:rPr sz="1300" spc="25" dirty="0">
                          <a:latin typeface="Arial"/>
                          <a:cs typeface="Arial"/>
                        </a:rPr>
                        <a:t> </a:t>
                      </a:r>
                      <a:r>
                        <a:rPr sz="1300" spc="-10" dirty="0">
                          <a:latin typeface="Arial"/>
                          <a:cs typeface="Arial"/>
                        </a:rPr>
                        <a:t>(22.5)</a:t>
                      </a:r>
                      <a:endParaRPr sz="1300">
                        <a:latin typeface="Arial"/>
                        <a:cs typeface="Arial"/>
                      </a:endParaRPr>
                    </a:p>
                  </a:txBody>
                  <a:tcPr marL="0" marR="0" marT="0" marB="0">
                    <a:lnL w="12700">
                      <a:solidFill>
                        <a:srgbClr val="009963"/>
                      </a:solidFill>
                      <a:prstDash val="solid"/>
                    </a:lnL>
                    <a:lnR w="12700">
                      <a:solidFill>
                        <a:srgbClr val="009963"/>
                      </a:solidFill>
                      <a:prstDash val="solid"/>
                    </a:lnR>
                    <a:lnB w="12700">
                      <a:solidFill>
                        <a:srgbClr val="0A41CD"/>
                      </a:solidFill>
                      <a:prstDash val="solid"/>
                    </a:lnB>
                    <a:solidFill>
                      <a:srgbClr val="E6F6EE"/>
                    </a:solidFill>
                  </a:tcPr>
                </a:tc>
                <a:tc>
                  <a:txBody>
                    <a:bodyPr/>
                    <a:lstStyle/>
                    <a:p>
                      <a:pPr marL="15240" algn="ctr">
                        <a:lnSpc>
                          <a:spcPct val="100000"/>
                        </a:lnSpc>
                      </a:pPr>
                      <a:r>
                        <a:rPr sz="1300" dirty="0">
                          <a:latin typeface="Arial"/>
                          <a:cs typeface="Arial"/>
                        </a:rPr>
                        <a:t>22</a:t>
                      </a:r>
                      <a:r>
                        <a:rPr sz="1300" spc="25" dirty="0">
                          <a:latin typeface="Arial"/>
                          <a:cs typeface="Arial"/>
                        </a:rPr>
                        <a:t> </a:t>
                      </a:r>
                      <a:r>
                        <a:rPr sz="1300" spc="-10" dirty="0">
                          <a:latin typeface="Arial"/>
                          <a:cs typeface="Arial"/>
                        </a:rPr>
                        <a:t>(17.5)</a:t>
                      </a:r>
                      <a:endParaRPr sz="1300" dirty="0">
                        <a:latin typeface="Arial"/>
                        <a:cs typeface="Arial"/>
                      </a:endParaRPr>
                    </a:p>
                  </a:txBody>
                  <a:tcPr marL="0" marR="0" marT="0" marB="0">
                    <a:lnL w="12700">
                      <a:solidFill>
                        <a:srgbClr val="009963"/>
                      </a:solidFill>
                      <a:prstDash val="solid"/>
                    </a:lnL>
                    <a:lnR w="12700">
                      <a:solidFill>
                        <a:srgbClr val="0A41CD"/>
                      </a:solidFill>
                      <a:prstDash val="solid"/>
                    </a:lnR>
                    <a:lnB w="12700">
                      <a:solidFill>
                        <a:srgbClr val="0A41CD"/>
                      </a:solidFill>
                      <a:prstDash val="solid"/>
                    </a:lnB>
                    <a:solidFill>
                      <a:srgbClr val="E7EFF8"/>
                    </a:solidFill>
                  </a:tcPr>
                </a:tc>
                <a:extLst>
                  <a:ext uri="{0D108BD9-81ED-4DB2-BD59-A6C34878D82A}">
                    <a16:rowId xmlns:a16="http://schemas.microsoft.com/office/drawing/2014/main" val="10022"/>
                  </a:ext>
                </a:extLst>
              </a:tr>
            </a:tbl>
          </a:graphicData>
        </a:graphic>
      </p:graphicFrame>
      <p:sp>
        <p:nvSpPr>
          <p:cNvPr id="3" name="object 3"/>
          <p:cNvSpPr txBox="1">
            <a:spLocks noGrp="1"/>
          </p:cNvSpPr>
          <p:nvPr>
            <p:ph type="title"/>
          </p:nvPr>
        </p:nvSpPr>
        <p:spPr>
          <a:xfrm>
            <a:off x="528709" y="0"/>
            <a:ext cx="11717867" cy="1006259"/>
          </a:xfrm>
          <a:prstGeom prst="rect">
            <a:avLst/>
          </a:prstGeom>
        </p:spPr>
        <p:txBody>
          <a:bodyPr vert="horz" wrap="square" lIns="0" tIns="508847" rIns="0" bIns="0" rtlCol="0">
            <a:spAutoFit/>
          </a:bodyPr>
          <a:lstStyle/>
          <a:p>
            <a:pPr marL="15240">
              <a:spcBef>
                <a:spcPts val="140"/>
              </a:spcBef>
            </a:pPr>
            <a:r>
              <a:rPr lang="en-US" dirty="0">
                <a:solidFill>
                  <a:srgbClr val="002060"/>
                </a:solidFill>
                <a:latin typeface="Calibri" panose="020F0502020204030204" pitchFamily="34" charset="0"/>
                <a:cs typeface="Calibri" panose="020F0502020204030204" pitchFamily="34" charset="0"/>
              </a:rPr>
              <a:t>POLARGO </a:t>
            </a:r>
            <a:r>
              <a:rPr dirty="0">
                <a:solidFill>
                  <a:srgbClr val="002060"/>
                </a:solidFill>
                <a:latin typeface="Calibri" panose="020F0502020204030204" pitchFamily="34" charset="0"/>
                <a:cs typeface="Calibri" panose="020F0502020204030204" pitchFamily="34" charset="0"/>
              </a:rPr>
              <a:t>Baseline</a:t>
            </a:r>
            <a:r>
              <a:rPr spc="-13" dirty="0">
                <a:solidFill>
                  <a:srgbClr val="002060"/>
                </a:solidFill>
                <a:latin typeface="Calibri" panose="020F0502020204030204" pitchFamily="34" charset="0"/>
                <a:cs typeface="Calibri" panose="020F0502020204030204" pitchFamily="34" charset="0"/>
              </a:rPr>
              <a:t> characteristics</a:t>
            </a:r>
          </a:p>
        </p:txBody>
      </p:sp>
      <p:sp>
        <p:nvSpPr>
          <p:cNvPr id="4" name="object 4"/>
          <p:cNvSpPr txBox="1"/>
          <p:nvPr/>
        </p:nvSpPr>
        <p:spPr>
          <a:xfrm>
            <a:off x="520701" y="6413501"/>
            <a:ext cx="9005145" cy="247931"/>
          </a:xfrm>
          <a:prstGeom prst="rect">
            <a:avLst/>
          </a:prstGeom>
        </p:spPr>
        <p:txBody>
          <a:bodyPr vert="horz" wrap="square" lIns="0" tIns="16933" rIns="0" bIns="0" rtlCol="0">
            <a:spAutoFit/>
          </a:bodyPr>
          <a:lstStyle/>
          <a:p>
            <a:pPr marL="16933" marR="0" lvl="0" indent="0" algn="l" defTabSz="1219170" rtl="0" eaLnBrk="1" fontAlgn="auto" latinLnBrk="0" hangingPunct="1">
              <a:lnSpc>
                <a:spcPts val="933"/>
              </a:lnSpc>
              <a:spcBef>
                <a:spcPts val="133"/>
              </a:spcBef>
              <a:spcAft>
                <a:spcPts val="0"/>
              </a:spcAft>
              <a:buClrTx/>
              <a:buSzTx/>
              <a:buFontTx/>
              <a:buNone/>
              <a:tabLst/>
              <a:defRPr/>
            </a:pPr>
            <a:r>
              <a:rPr kumimoji="0" sz="800" b="0" i="0" u="none" strike="noStrike" kern="0" cap="none" spc="0" normalizeH="0" baseline="0" noProof="0" dirty="0">
                <a:ln>
                  <a:noFill/>
                </a:ln>
                <a:solidFill>
                  <a:sysClr val="windowText" lastClr="000000"/>
                </a:solidFill>
                <a:effectLst/>
                <a:uLnTx/>
                <a:uFillTx/>
                <a:latin typeface="Arial"/>
                <a:ea typeface="+mn-ea"/>
                <a:cs typeface="Arial"/>
              </a:rPr>
              <a:t>All</a:t>
            </a:r>
            <a:r>
              <a:rPr kumimoji="0" sz="800" b="0" i="0" u="none" strike="noStrike" kern="0" cap="none" spc="7" normalizeH="0" baseline="0" noProof="0" dirty="0">
                <a:ln>
                  <a:noFill/>
                </a:ln>
                <a:solidFill>
                  <a:sysClr val="windowText" lastClr="000000"/>
                </a:solidFill>
                <a:effectLst/>
                <a:uLnTx/>
                <a:uFillTx/>
                <a:latin typeface="Arial"/>
                <a:ea typeface="+mn-ea"/>
                <a:cs typeface="Arial"/>
              </a:rPr>
              <a:t> </a:t>
            </a:r>
            <a:r>
              <a:rPr kumimoji="0" sz="800" b="0" i="0" u="none" strike="noStrike" kern="0" cap="none" spc="0" normalizeH="0" baseline="0" noProof="0" dirty="0">
                <a:ln>
                  <a:noFill/>
                </a:ln>
                <a:solidFill>
                  <a:sysClr val="windowText" lastClr="000000"/>
                </a:solidFill>
                <a:effectLst/>
                <a:uLnTx/>
                <a:uFillTx/>
                <a:latin typeface="Arial"/>
                <a:ea typeface="+mn-ea"/>
                <a:cs typeface="Arial"/>
              </a:rPr>
              <a:t>baseline</a:t>
            </a:r>
            <a:r>
              <a:rPr kumimoji="0" sz="800" b="0" i="0" u="none" strike="noStrike" kern="0" cap="none" spc="47" normalizeH="0" baseline="0" noProof="0" dirty="0">
                <a:ln>
                  <a:noFill/>
                </a:ln>
                <a:solidFill>
                  <a:sysClr val="windowText" lastClr="000000"/>
                </a:solidFill>
                <a:effectLst/>
                <a:uLnTx/>
                <a:uFillTx/>
                <a:latin typeface="Arial"/>
                <a:ea typeface="+mn-ea"/>
                <a:cs typeface="Arial"/>
              </a:rPr>
              <a:t> </a:t>
            </a:r>
            <a:r>
              <a:rPr kumimoji="0" sz="800" b="0" i="0" u="none" strike="noStrike" kern="0" cap="none" spc="-13" normalizeH="0" baseline="0" noProof="0" dirty="0">
                <a:ln>
                  <a:noFill/>
                </a:ln>
                <a:solidFill>
                  <a:sysClr val="windowText" lastClr="000000"/>
                </a:solidFill>
                <a:effectLst/>
                <a:uLnTx/>
                <a:uFillTx/>
                <a:latin typeface="Arial"/>
                <a:ea typeface="+mn-ea"/>
                <a:cs typeface="Arial"/>
              </a:rPr>
              <a:t>characteristics </a:t>
            </a:r>
            <a:r>
              <a:rPr kumimoji="0" sz="800" b="0" i="0" u="none" strike="noStrike" kern="0" cap="none" spc="0" normalizeH="0" baseline="0" noProof="0" dirty="0">
                <a:ln>
                  <a:noFill/>
                </a:ln>
                <a:solidFill>
                  <a:sysClr val="windowText" lastClr="000000"/>
                </a:solidFill>
                <a:effectLst/>
                <a:uLnTx/>
                <a:uFillTx/>
                <a:latin typeface="Arial"/>
                <a:ea typeface="+mn-ea"/>
                <a:cs typeface="Arial"/>
              </a:rPr>
              <a:t>are</a:t>
            </a:r>
            <a:r>
              <a:rPr kumimoji="0" sz="800" b="0" i="0" u="none" strike="noStrike" kern="0" cap="none" spc="47" normalizeH="0" baseline="0" noProof="0" dirty="0">
                <a:ln>
                  <a:noFill/>
                </a:ln>
                <a:solidFill>
                  <a:sysClr val="windowText" lastClr="000000"/>
                </a:solidFill>
                <a:effectLst/>
                <a:uLnTx/>
                <a:uFillTx/>
                <a:latin typeface="Arial"/>
                <a:ea typeface="+mn-ea"/>
                <a:cs typeface="Arial"/>
              </a:rPr>
              <a:t> </a:t>
            </a:r>
            <a:r>
              <a:rPr kumimoji="0" sz="800" b="0" i="0" u="none" strike="noStrike" kern="0" cap="none" spc="-13" normalizeH="0" baseline="0" noProof="0" dirty="0">
                <a:ln>
                  <a:noFill/>
                </a:ln>
                <a:solidFill>
                  <a:sysClr val="windowText" lastClr="000000"/>
                </a:solidFill>
                <a:effectLst/>
                <a:uLnTx/>
                <a:uFillTx/>
                <a:latin typeface="Arial"/>
                <a:ea typeface="+mn-ea"/>
                <a:cs typeface="Arial"/>
              </a:rPr>
              <a:t>determined</a:t>
            </a:r>
            <a:r>
              <a:rPr kumimoji="0" sz="800" b="0" i="0" u="none" strike="noStrike" kern="0" cap="none" spc="-67" normalizeH="0" baseline="0" noProof="0" dirty="0">
                <a:ln>
                  <a:noFill/>
                </a:ln>
                <a:solidFill>
                  <a:sysClr val="windowText" lastClr="000000"/>
                </a:solidFill>
                <a:effectLst/>
                <a:uLnTx/>
                <a:uFillTx/>
                <a:latin typeface="Arial"/>
                <a:ea typeface="+mn-ea"/>
                <a:cs typeface="Arial"/>
              </a:rPr>
              <a:t> </a:t>
            </a:r>
            <a:r>
              <a:rPr kumimoji="0" sz="800" b="0" i="0" u="none" strike="noStrike" kern="0" cap="none" spc="0" normalizeH="0" baseline="0" noProof="0" dirty="0">
                <a:ln>
                  <a:noFill/>
                </a:ln>
                <a:solidFill>
                  <a:sysClr val="windowText" lastClr="000000"/>
                </a:solidFill>
                <a:effectLst/>
                <a:uLnTx/>
                <a:uFillTx/>
                <a:latin typeface="Arial"/>
                <a:ea typeface="+mn-ea"/>
                <a:cs typeface="Arial"/>
              </a:rPr>
              <a:t>at</a:t>
            </a:r>
            <a:r>
              <a:rPr kumimoji="0" sz="800" b="0" i="0" u="none" strike="noStrike" kern="0" cap="none" spc="-33" normalizeH="0" baseline="0" noProof="0" dirty="0">
                <a:ln>
                  <a:noFill/>
                </a:ln>
                <a:solidFill>
                  <a:sysClr val="windowText" lastClr="000000"/>
                </a:solidFill>
                <a:effectLst/>
                <a:uLnTx/>
                <a:uFillTx/>
                <a:latin typeface="Arial"/>
                <a:ea typeface="+mn-ea"/>
                <a:cs typeface="Arial"/>
              </a:rPr>
              <a:t> </a:t>
            </a:r>
            <a:r>
              <a:rPr kumimoji="0" sz="800" b="0" i="0" u="none" strike="noStrike" kern="0" cap="none" spc="0" normalizeH="0" baseline="0" noProof="0" dirty="0">
                <a:ln>
                  <a:noFill/>
                </a:ln>
                <a:solidFill>
                  <a:sysClr val="windowText" lastClr="000000"/>
                </a:solidFill>
                <a:effectLst/>
                <a:uLnTx/>
                <a:uFillTx/>
                <a:latin typeface="Arial"/>
                <a:ea typeface="+mn-ea"/>
                <a:cs typeface="Arial"/>
              </a:rPr>
              <a:t>study</a:t>
            </a:r>
            <a:r>
              <a:rPr kumimoji="0" sz="800" b="0" i="0" u="none" strike="noStrike" kern="0" cap="none" spc="100" normalizeH="0" baseline="0" noProof="0" dirty="0">
                <a:ln>
                  <a:noFill/>
                </a:ln>
                <a:solidFill>
                  <a:sysClr val="windowText" lastClr="000000"/>
                </a:solidFill>
                <a:effectLst/>
                <a:uLnTx/>
                <a:uFillTx/>
                <a:latin typeface="Arial"/>
                <a:ea typeface="+mn-ea"/>
                <a:cs typeface="Arial"/>
              </a:rPr>
              <a:t> </a:t>
            </a:r>
            <a:r>
              <a:rPr kumimoji="0" sz="800" b="0" i="0" u="none" strike="noStrike" kern="0" cap="none" spc="-13" normalizeH="0" baseline="0" noProof="0" dirty="0">
                <a:ln>
                  <a:noFill/>
                </a:ln>
                <a:solidFill>
                  <a:sysClr val="windowText" lastClr="000000"/>
                </a:solidFill>
                <a:effectLst/>
                <a:uLnTx/>
                <a:uFillTx/>
                <a:latin typeface="Arial"/>
                <a:ea typeface="+mn-ea"/>
                <a:cs typeface="Arial"/>
              </a:rPr>
              <a:t>entry.</a:t>
            </a:r>
            <a:endParaRPr kumimoji="0" sz="800" b="0" i="0" u="none" strike="noStrike" kern="0" cap="none" spc="0" normalizeH="0" baseline="0" noProof="0">
              <a:ln>
                <a:noFill/>
              </a:ln>
              <a:solidFill>
                <a:sysClr val="windowText" lastClr="000000"/>
              </a:solidFill>
              <a:effectLst/>
              <a:uLnTx/>
              <a:uFillTx/>
              <a:latin typeface="Arial"/>
              <a:ea typeface="+mn-ea"/>
              <a:cs typeface="Arial"/>
            </a:endParaRPr>
          </a:p>
          <a:p>
            <a:pPr marL="16933" marR="0" lvl="0" indent="0" algn="l" defTabSz="1219170" rtl="0" eaLnBrk="1" fontAlgn="auto" latinLnBrk="0" hangingPunct="1">
              <a:lnSpc>
                <a:spcPts val="927"/>
              </a:lnSpc>
              <a:spcBef>
                <a:spcPts val="0"/>
              </a:spcBef>
              <a:spcAft>
                <a:spcPts val="0"/>
              </a:spcAft>
              <a:buClrTx/>
              <a:buSzTx/>
              <a:buFontTx/>
              <a:buNone/>
              <a:tabLst/>
              <a:defRPr/>
            </a:pPr>
            <a:r>
              <a:rPr kumimoji="0" sz="800" b="0" i="0" u="none" strike="noStrike" kern="0" cap="none" spc="0" normalizeH="0" baseline="0" noProof="0" dirty="0">
                <a:ln>
                  <a:noFill/>
                </a:ln>
                <a:solidFill>
                  <a:sysClr val="windowText" lastClr="000000"/>
                </a:solidFill>
                <a:effectLst/>
                <a:uLnTx/>
                <a:uFillTx/>
                <a:latin typeface="Arial"/>
                <a:ea typeface="+mn-ea"/>
                <a:cs typeface="Arial"/>
              </a:rPr>
              <a:t>ABC,</a:t>
            </a:r>
            <a:r>
              <a:rPr kumimoji="0" sz="800" b="0" i="0" u="none" strike="noStrike" kern="0" cap="none" spc="-40" normalizeH="0" baseline="0" noProof="0" dirty="0">
                <a:ln>
                  <a:noFill/>
                </a:ln>
                <a:solidFill>
                  <a:sysClr val="windowText" lastClr="000000"/>
                </a:solidFill>
                <a:effectLst/>
                <a:uLnTx/>
                <a:uFillTx/>
                <a:latin typeface="Arial"/>
                <a:ea typeface="+mn-ea"/>
                <a:cs typeface="Arial"/>
              </a:rPr>
              <a:t> </a:t>
            </a:r>
            <a:r>
              <a:rPr kumimoji="0" sz="800" b="0" i="0" u="none" strike="noStrike" kern="0" cap="none" spc="-13" normalizeH="0" baseline="0" noProof="0" dirty="0">
                <a:ln>
                  <a:noFill/>
                </a:ln>
                <a:solidFill>
                  <a:sysClr val="windowText" lastClr="000000"/>
                </a:solidFill>
                <a:effectLst/>
                <a:uLnTx/>
                <a:uFillTx/>
                <a:latin typeface="Arial"/>
                <a:ea typeface="+mn-ea"/>
                <a:cs typeface="Arial"/>
              </a:rPr>
              <a:t>activated</a:t>
            </a:r>
            <a:r>
              <a:rPr kumimoji="0" sz="800" b="0" i="0" u="none" strike="noStrike" kern="0" cap="none" spc="-73" normalizeH="0" baseline="0" noProof="0" dirty="0">
                <a:ln>
                  <a:noFill/>
                </a:ln>
                <a:solidFill>
                  <a:sysClr val="windowText" lastClr="000000"/>
                </a:solidFill>
                <a:effectLst/>
                <a:uLnTx/>
                <a:uFillTx/>
                <a:latin typeface="Arial"/>
                <a:ea typeface="+mn-ea"/>
                <a:cs typeface="Arial"/>
              </a:rPr>
              <a:t> </a:t>
            </a:r>
            <a:r>
              <a:rPr kumimoji="0" sz="800" b="0" i="0" u="none" strike="noStrike" kern="0" cap="none" spc="0" normalizeH="0" baseline="0" noProof="0" dirty="0">
                <a:ln>
                  <a:noFill/>
                </a:ln>
                <a:solidFill>
                  <a:sysClr val="windowText" lastClr="000000"/>
                </a:solidFill>
                <a:effectLst/>
                <a:uLnTx/>
                <a:uFillTx/>
                <a:latin typeface="Arial"/>
                <a:ea typeface="+mn-ea"/>
                <a:cs typeface="Arial"/>
              </a:rPr>
              <a:t>B-cells;</a:t>
            </a:r>
            <a:r>
              <a:rPr kumimoji="0" sz="800" b="0" i="0" u="none" strike="noStrike" kern="0" cap="none" spc="60" normalizeH="0" baseline="0" noProof="0" dirty="0">
                <a:ln>
                  <a:noFill/>
                </a:ln>
                <a:solidFill>
                  <a:sysClr val="windowText" lastClr="000000"/>
                </a:solidFill>
                <a:effectLst/>
                <a:uLnTx/>
                <a:uFillTx/>
                <a:latin typeface="Arial"/>
                <a:ea typeface="+mn-ea"/>
                <a:cs typeface="Arial"/>
              </a:rPr>
              <a:t> </a:t>
            </a:r>
            <a:r>
              <a:rPr kumimoji="0" sz="800" b="0" i="0" u="none" strike="noStrike" kern="0" cap="none" spc="-13" normalizeH="0" baseline="0" noProof="0" dirty="0">
                <a:ln>
                  <a:noFill/>
                </a:ln>
                <a:solidFill>
                  <a:sysClr val="windowText" lastClr="000000"/>
                </a:solidFill>
                <a:effectLst/>
                <a:uLnTx/>
                <a:uFillTx/>
                <a:latin typeface="Arial"/>
                <a:ea typeface="+mn-ea"/>
                <a:cs typeface="Arial"/>
              </a:rPr>
              <a:t>ECOG</a:t>
            </a:r>
            <a:r>
              <a:rPr kumimoji="0" sz="800" b="0" i="0" u="none" strike="noStrike" kern="0" cap="none" spc="-47" normalizeH="0" baseline="0" noProof="0" dirty="0">
                <a:ln>
                  <a:noFill/>
                </a:ln>
                <a:solidFill>
                  <a:sysClr val="windowText" lastClr="000000"/>
                </a:solidFill>
                <a:effectLst/>
                <a:uLnTx/>
                <a:uFillTx/>
                <a:latin typeface="Arial"/>
                <a:ea typeface="+mn-ea"/>
                <a:cs typeface="Arial"/>
              </a:rPr>
              <a:t> </a:t>
            </a:r>
            <a:r>
              <a:rPr kumimoji="0" sz="800" b="0" i="0" u="none" strike="noStrike" kern="0" cap="none" spc="0" normalizeH="0" baseline="0" noProof="0" dirty="0">
                <a:ln>
                  <a:noFill/>
                </a:ln>
                <a:solidFill>
                  <a:sysClr val="windowText" lastClr="000000"/>
                </a:solidFill>
                <a:effectLst/>
                <a:uLnTx/>
                <a:uFillTx/>
                <a:latin typeface="Arial"/>
                <a:ea typeface="+mn-ea"/>
                <a:cs typeface="Arial"/>
              </a:rPr>
              <a:t>PS,</a:t>
            </a:r>
            <a:r>
              <a:rPr kumimoji="0" sz="800" b="0" i="0" u="none" strike="noStrike" kern="0" cap="none" spc="-40" normalizeH="0" baseline="0" noProof="0" dirty="0">
                <a:ln>
                  <a:noFill/>
                </a:ln>
                <a:solidFill>
                  <a:sysClr val="windowText" lastClr="000000"/>
                </a:solidFill>
                <a:effectLst/>
                <a:uLnTx/>
                <a:uFillTx/>
                <a:latin typeface="Arial"/>
                <a:ea typeface="+mn-ea"/>
                <a:cs typeface="Arial"/>
              </a:rPr>
              <a:t> </a:t>
            </a:r>
            <a:r>
              <a:rPr kumimoji="0" sz="800" b="0" i="0" u="none" strike="noStrike" kern="0" cap="none" spc="0" normalizeH="0" baseline="0" noProof="0" dirty="0">
                <a:ln>
                  <a:noFill/>
                </a:ln>
                <a:solidFill>
                  <a:sysClr val="windowText" lastClr="000000"/>
                </a:solidFill>
                <a:effectLst/>
                <a:uLnTx/>
                <a:uFillTx/>
                <a:latin typeface="Arial"/>
                <a:ea typeface="+mn-ea"/>
                <a:cs typeface="Arial"/>
              </a:rPr>
              <a:t>Eastern</a:t>
            </a:r>
            <a:r>
              <a:rPr kumimoji="0" sz="800" b="0" i="0" u="none" strike="noStrike" kern="0" cap="none" spc="33" normalizeH="0" baseline="0" noProof="0" dirty="0">
                <a:ln>
                  <a:noFill/>
                </a:ln>
                <a:solidFill>
                  <a:sysClr val="windowText" lastClr="000000"/>
                </a:solidFill>
                <a:effectLst/>
                <a:uLnTx/>
                <a:uFillTx/>
                <a:latin typeface="Arial"/>
                <a:ea typeface="+mn-ea"/>
                <a:cs typeface="Arial"/>
              </a:rPr>
              <a:t> </a:t>
            </a:r>
            <a:r>
              <a:rPr kumimoji="0" sz="800" b="0" i="0" u="none" strike="noStrike" kern="0" cap="none" spc="0" normalizeH="0" baseline="0" noProof="0" dirty="0">
                <a:ln>
                  <a:noFill/>
                </a:ln>
                <a:solidFill>
                  <a:sysClr val="windowText" lastClr="000000"/>
                </a:solidFill>
                <a:effectLst/>
                <a:uLnTx/>
                <a:uFillTx/>
                <a:latin typeface="Arial"/>
                <a:ea typeface="+mn-ea"/>
                <a:cs typeface="Arial"/>
              </a:rPr>
              <a:t>Cooperative</a:t>
            </a:r>
            <a:r>
              <a:rPr kumimoji="0" sz="800" b="0" i="0" u="none" strike="noStrike" kern="0" cap="none" spc="40" normalizeH="0" baseline="0" noProof="0" dirty="0">
                <a:ln>
                  <a:noFill/>
                </a:ln>
                <a:solidFill>
                  <a:sysClr val="windowText" lastClr="000000"/>
                </a:solidFill>
                <a:effectLst/>
                <a:uLnTx/>
                <a:uFillTx/>
                <a:latin typeface="Arial"/>
                <a:ea typeface="+mn-ea"/>
                <a:cs typeface="Arial"/>
              </a:rPr>
              <a:t> </a:t>
            </a:r>
            <a:r>
              <a:rPr kumimoji="0" sz="800" b="0" i="0" u="none" strike="noStrike" kern="0" cap="none" spc="-13" normalizeH="0" baseline="0" noProof="0" dirty="0">
                <a:ln>
                  <a:noFill/>
                </a:ln>
                <a:solidFill>
                  <a:sysClr val="windowText" lastClr="000000"/>
                </a:solidFill>
                <a:effectLst/>
                <a:uLnTx/>
                <a:uFillTx/>
                <a:latin typeface="Arial"/>
                <a:ea typeface="+mn-ea"/>
                <a:cs typeface="Arial"/>
              </a:rPr>
              <a:t>Oncology</a:t>
            </a:r>
            <a:r>
              <a:rPr kumimoji="0" sz="800" b="0" i="0" u="none" strike="noStrike" kern="0" cap="none" spc="-20" normalizeH="0" baseline="0" noProof="0" dirty="0">
                <a:ln>
                  <a:noFill/>
                </a:ln>
                <a:solidFill>
                  <a:sysClr val="windowText" lastClr="000000"/>
                </a:solidFill>
                <a:effectLst/>
                <a:uLnTx/>
                <a:uFillTx/>
                <a:latin typeface="Arial"/>
                <a:ea typeface="+mn-ea"/>
                <a:cs typeface="Arial"/>
              </a:rPr>
              <a:t> </a:t>
            </a:r>
            <a:r>
              <a:rPr kumimoji="0" sz="800" b="0" i="0" u="none" strike="noStrike" kern="0" cap="none" spc="-13" normalizeH="0" baseline="0" noProof="0" dirty="0">
                <a:ln>
                  <a:noFill/>
                </a:ln>
                <a:solidFill>
                  <a:sysClr val="windowText" lastClr="000000"/>
                </a:solidFill>
                <a:effectLst/>
                <a:uLnTx/>
                <a:uFillTx/>
                <a:latin typeface="Arial"/>
                <a:ea typeface="+mn-ea"/>
                <a:cs typeface="Arial"/>
              </a:rPr>
              <a:t>Group</a:t>
            </a:r>
            <a:r>
              <a:rPr kumimoji="0" sz="800" b="0" i="0" u="none" strike="noStrike" kern="0" cap="none" spc="-67" normalizeH="0" baseline="0" noProof="0" dirty="0">
                <a:ln>
                  <a:noFill/>
                </a:ln>
                <a:solidFill>
                  <a:sysClr val="windowText" lastClr="000000"/>
                </a:solidFill>
                <a:effectLst/>
                <a:uLnTx/>
                <a:uFillTx/>
                <a:latin typeface="Arial"/>
                <a:ea typeface="+mn-ea"/>
                <a:cs typeface="Arial"/>
              </a:rPr>
              <a:t> </a:t>
            </a:r>
            <a:r>
              <a:rPr kumimoji="0" sz="800" b="0" i="0" u="none" strike="noStrike" kern="0" cap="none" spc="0" normalizeH="0" baseline="0" noProof="0" dirty="0">
                <a:ln>
                  <a:noFill/>
                </a:ln>
                <a:solidFill>
                  <a:sysClr val="windowText" lastClr="000000"/>
                </a:solidFill>
                <a:effectLst/>
                <a:uLnTx/>
                <a:uFillTx/>
                <a:latin typeface="Arial"/>
                <a:ea typeface="+mn-ea"/>
                <a:cs typeface="Arial"/>
              </a:rPr>
              <a:t>performance</a:t>
            </a:r>
            <a:r>
              <a:rPr kumimoji="0" sz="800" b="0" i="0" u="none" strike="noStrike" kern="0" cap="none" spc="33" normalizeH="0" baseline="0" noProof="0" dirty="0">
                <a:ln>
                  <a:noFill/>
                </a:ln>
                <a:solidFill>
                  <a:sysClr val="windowText" lastClr="000000"/>
                </a:solidFill>
                <a:effectLst/>
                <a:uLnTx/>
                <a:uFillTx/>
                <a:latin typeface="Arial"/>
                <a:ea typeface="+mn-ea"/>
                <a:cs typeface="Arial"/>
              </a:rPr>
              <a:t> </a:t>
            </a:r>
            <a:r>
              <a:rPr kumimoji="0" sz="800" b="0" i="0" u="none" strike="noStrike" kern="0" cap="none" spc="-13" normalizeH="0" baseline="0" noProof="0" dirty="0">
                <a:ln>
                  <a:noFill/>
                </a:ln>
                <a:solidFill>
                  <a:sysClr val="windowText" lastClr="000000"/>
                </a:solidFill>
                <a:effectLst/>
                <a:uLnTx/>
                <a:uFillTx/>
                <a:latin typeface="Arial"/>
                <a:ea typeface="+mn-ea"/>
                <a:cs typeface="Arial"/>
              </a:rPr>
              <a:t>status;</a:t>
            </a:r>
            <a:r>
              <a:rPr kumimoji="0" sz="800" b="0" i="0" u="none" strike="noStrike" kern="0" cap="none" spc="-47" normalizeH="0" baseline="0" noProof="0" dirty="0">
                <a:ln>
                  <a:noFill/>
                </a:ln>
                <a:solidFill>
                  <a:sysClr val="windowText" lastClr="000000"/>
                </a:solidFill>
                <a:effectLst/>
                <a:uLnTx/>
                <a:uFillTx/>
                <a:latin typeface="Arial"/>
                <a:ea typeface="+mn-ea"/>
                <a:cs typeface="Arial"/>
              </a:rPr>
              <a:t> </a:t>
            </a:r>
            <a:r>
              <a:rPr kumimoji="0" sz="800" b="0" i="0" u="none" strike="noStrike" kern="0" cap="none" spc="0" normalizeH="0" baseline="0" noProof="0" dirty="0">
                <a:ln>
                  <a:noFill/>
                </a:ln>
                <a:solidFill>
                  <a:sysClr val="windowText" lastClr="000000"/>
                </a:solidFill>
                <a:effectLst/>
                <a:uLnTx/>
                <a:uFillTx/>
                <a:latin typeface="Arial"/>
                <a:ea typeface="+mn-ea"/>
                <a:cs typeface="Arial"/>
              </a:rPr>
              <a:t>GEP,</a:t>
            </a:r>
            <a:r>
              <a:rPr kumimoji="0" sz="800" b="0" i="0" u="none" strike="noStrike" kern="0" cap="none" spc="67" normalizeH="0" baseline="0" noProof="0" dirty="0">
                <a:ln>
                  <a:noFill/>
                </a:ln>
                <a:solidFill>
                  <a:sysClr val="windowText" lastClr="000000"/>
                </a:solidFill>
                <a:effectLst/>
                <a:uLnTx/>
                <a:uFillTx/>
                <a:latin typeface="Arial"/>
                <a:ea typeface="+mn-ea"/>
                <a:cs typeface="Arial"/>
              </a:rPr>
              <a:t> </a:t>
            </a:r>
            <a:r>
              <a:rPr kumimoji="0" sz="800" b="0" i="0" u="none" strike="noStrike" kern="0" cap="none" spc="0" normalizeH="0" baseline="0" noProof="0" dirty="0">
                <a:ln>
                  <a:noFill/>
                </a:ln>
                <a:solidFill>
                  <a:sysClr val="windowText" lastClr="000000"/>
                </a:solidFill>
                <a:effectLst/>
                <a:uLnTx/>
                <a:uFillTx/>
                <a:latin typeface="Arial"/>
                <a:ea typeface="+mn-ea"/>
                <a:cs typeface="Arial"/>
              </a:rPr>
              <a:t>gene</a:t>
            </a:r>
            <a:r>
              <a:rPr kumimoji="0" sz="800" b="0" i="0" u="none" strike="noStrike" kern="0" cap="none" spc="33" normalizeH="0" baseline="0" noProof="0" dirty="0">
                <a:ln>
                  <a:noFill/>
                </a:ln>
                <a:solidFill>
                  <a:sysClr val="windowText" lastClr="000000"/>
                </a:solidFill>
                <a:effectLst/>
                <a:uLnTx/>
                <a:uFillTx/>
                <a:latin typeface="Arial"/>
                <a:ea typeface="+mn-ea"/>
                <a:cs typeface="Arial"/>
              </a:rPr>
              <a:t> </a:t>
            </a:r>
            <a:r>
              <a:rPr kumimoji="0" sz="800" b="0" i="0" u="none" strike="noStrike" kern="0" cap="none" spc="-13" normalizeH="0" baseline="0" noProof="0" dirty="0">
                <a:ln>
                  <a:noFill/>
                </a:ln>
                <a:solidFill>
                  <a:sysClr val="windowText" lastClr="000000"/>
                </a:solidFill>
                <a:effectLst/>
                <a:uLnTx/>
                <a:uFillTx/>
                <a:latin typeface="Arial"/>
                <a:ea typeface="+mn-ea"/>
                <a:cs typeface="Arial"/>
              </a:rPr>
              <a:t>expression</a:t>
            </a:r>
            <a:r>
              <a:rPr kumimoji="0" sz="800" b="0" i="0" u="none" strike="noStrike" kern="0" cap="none" spc="40" normalizeH="0" baseline="0" noProof="0" dirty="0">
                <a:ln>
                  <a:noFill/>
                </a:ln>
                <a:solidFill>
                  <a:sysClr val="windowText" lastClr="000000"/>
                </a:solidFill>
                <a:effectLst/>
                <a:uLnTx/>
                <a:uFillTx/>
                <a:latin typeface="Arial"/>
                <a:ea typeface="+mn-ea"/>
                <a:cs typeface="Arial"/>
              </a:rPr>
              <a:t> </a:t>
            </a:r>
            <a:r>
              <a:rPr kumimoji="0" sz="800" b="0" i="0" u="none" strike="noStrike" kern="0" cap="none" spc="0" normalizeH="0" baseline="0" noProof="0" dirty="0">
                <a:ln>
                  <a:noFill/>
                </a:ln>
                <a:solidFill>
                  <a:sysClr val="windowText" lastClr="000000"/>
                </a:solidFill>
                <a:effectLst/>
                <a:uLnTx/>
                <a:uFillTx/>
                <a:latin typeface="Arial"/>
                <a:ea typeface="+mn-ea"/>
                <a:cs typeface="Arial"/>
              </a:rPr>
              <a:t>profiling;</a:t>
            </a:r>
            <a:r>
              <a:rPr kumimoji="0" sz="800" b="0" i="0" u="none" strike="noStrike" kern="0" cap="none" spc="67" normalizeH="0" baseline="0" noProof="0" dirty="0">
                <a:ln>
                  <a:noFill/>
                </a:ln>
                <a:solidFill>
                  <a:sysClr val="windowText" lastClr="000000"/>
                </a:solidFill>
                <a:effectLst/>
                <a:uLnTx/>
                <a:uFillTx/>
                <a:latin typeface="Arial"/>
                <a:ea typeface="+mn-ea"/>
                <a:cs typeface="Arial"/>
              </a:rPr>
              <a:t> </a:t>
            </a:r>
            <a:r>
              <a:rPr kumimoji="0" sz="800" b="0" i="0" u="none" strike="noStrike" kern="0" cap="none" spc="-13" normalizeH="0" baseline="0" noProof="0" dirty="0">
                <a:ln>
                  <a:noFill/>
                </a:ln>
                <a:solidFill>
                  <a:sysClr val="windowText" lastClr="000000"/>
                </a:solidFill>
                <a:effectLst/>
                <a:uLnTx/>
                <a:uFillTx/>
                <a:latin typeface="Arial"/>
                <a:ea typeface="+mn-ea"/>
                <a:cs typeface="Arial"/>
              </a:rPr>
              <a:t>GCB,</a:t>
            </a:r>
            <a:r>
              <a:rPr kumimoji="0" sz="800" b="0" i="0" u="none" strike="noStrike" kern="0" cap="none" spc="-40" normalizeH="0" baseline="0" noProof="0" dirty="0">
                <a:ln>
                  <a:noFill/>
                </a:ln>
                <a:solidFill>
                  <a:sysClr val="windowText" lastClr="000000"/>
                </a:solidFill>
                <a:effectLst/>
                <a:uLnTx/>
                <a:uFillTx/>
                <a:latin typeface="Arial"/>
                <a:ea typeface="+mn-ea"/>
                <a:cs typeface="Arial"/>
              </a:rPr>
              <a:t> </a:t>
            </a:r>
            <a:r>
              <a:rPr kumimoji="0" sz="800" b="0" i="0" u="none" strike="noStrike" kern="0" cap="none" spc="-13" normalizeH="0" baseline="0" noProof="0" dirty="0">
                <a:ln>
                  <a:noFill/>
                </a:ln>
                <a:solidFill>
                  <a:sysClr val="windowText" lastClr="000000"/>
                </a:solidFill>
                <a:effectLst/>
                <a:uLnTx/>
                <a:uFillTx/>
                <a:latin typeface="Arial"/>
                <a:ea typeface="+mn-ea"/>
                <a:cs typeface="Arial"/>
              </a:rPr>
              <a:t>ger</a:t>
            </a:r>
            <a:r>
              <a:rPr kumimoji="0" sz="800" b="0" i="0" u="none" strike="noStrike" kern="0" cap="none" spc="-120" normalizeH="0" baseline="0" noProof="0" dirty="0">
                <a:ln>
                  <a:noFill/>
                </a:ln>
                <a:solidFill>
                  <a:sysClr val="windowText" lastClr="000000"/>
                </a:solidFill>
                <a:effectLst/>
                <a:uLnTx/>
                <a:uFillTx/>
                <a:latin typeface="Arial"/>
                <a:ea typeface="+mn-ea"/>
                <a:cs typeface="Arial"/>
              </a:rPr>
              <a:t> </a:t>
            </a:r>
            <a:r>
              <a:rPr kumimoji="0" sz="800" b="0" i="0" u="none" strike="noStrike" kern="0" cap="none" spc="0" normalizeH="0" baseline="0" noProof="0" dirty="0">
                <a:ln>
                  <a:noFill/>
                </a:ln>
                <a:solidFill>
                  <a:sysClr val="windowText" lastClr="000000"/>
                </a:solidFill>
                <a:effectLst/>
                <a:uLnTx/>
                <a:uFillTx/>
                <a:latin typeface="Arial"/>
                <a:ea typeface="+mn-ea"/>
                <a:cs typeface="Arial"/>
              </a:rPr>
              <a:t>minal </a:t>
            </a:r>
            <a:r>
              <a:rPr kumimoji="0" sz="800" b="0" i="0" u="none" strike="noStrike" kern="0" cap="none" spc="-13" normalizeH="0" baseline="0" noProof="0" dirty="0">
                <a:ln>
                  <a:noFill/>
                </a:ln>
                <a:solidFill>
                  <a:sysClr val="windowText" lastClr="000000"/>
                </a:solidFill>
                <a:effectLst/>
                <a:uLnTx/>
                <a:uFillTx/>
                <a:latin typeface="Arial"/>
                <a:ea typeface="+mn-ea"/>
                <a:cs typeface="Arial"/>
              </a:rPr>
              <a:t>center</a:t>
            </a:r>
            <a:r>
              <a:rPr kumimoji="0" sz="800" b="0" i="0" u="none" strike="noStrike" kern="0" cap="none" spc="20" normalizeH="0" baseline="0" noProof="0" dirty="0">
                <a:ln>
                  <a:noFill/>
                </a:ln>
                <a:solidFill>
                  <a:sysClr val="windowText" lastClr="000000"/>
                </a:solidFill>
                <a:effectLst/>
                <a:uLnTx/>
                <a:uFillTx/>
                <a:latin typeface="Arial"/>
                <a:ea typeface="+mn-ea"/>
                <a:cs typeface="Arial"/>
              </a:rPr>
              <a:t> </a:t>
            </a:r>
            <a:r>
              <a:rPr kumimoji="0" sz="800" b="0" i="0" u="none" strike="noStrike" kern="0" cap="none" spc="0" normalizeH="0" baseline="0" noProof="0" dirty="0">
                <a:ln>
                  <a:noFill/>
                </a:ln>
                <a:solidFill>
                  <a:sysClr val="windowText" lastClr="000000"/>
                </a:solidFill>
                <a:effectLst/>
                <a:uLnTx/>
                <a:uFillTx/>
                <a:latin typeface="Arial"/>
                <a:ea typeface="+mn-ea"/>
                <a:cs typeface="Arial"/>
              </a:rPr>
              <a:t>derived</a:t>
            </a:r>
            <a:r>
              <a:rPr kumimoji="0" sz="800" b="0" i="0" u="none" strike="noStrike" kern="0" cap="none" spc="33" normalizeH="0" baseline="0" noProof="0" dirty="0">
                <a:ln>
                  <a:noFill/>
                </a:ln>
                <a:solidFill>
                  <a:sysClr val="windowText" lastClr="000000"/>
                </a:solidFill>
                <a:effectLst/>
                <a:uLnTx/>
                <a:uFillTx/>
                <a:latin typeface="Arial"/>
                <a:ea typeface="+mn-ea"/>
                <a:cs typeface="Arial"/>
              </a:rPr>
              <a:t> </a:t>
            </a:r>
            <a:r>
              <a:rPr kumimoji="0" sz="800" b="0" i="0" u="none" strike="noStrike" kern="0" cap="none" spc="-13" normalizeH="0" baseline="0" noProof="0" dirty="0">
                <a:ln>
                  <a:noFill/>
                </a:ln>
                <a:solidFill>
                  <a:sysClr val="windowText" lastClr="000000"/>
                </a:solidFill>
                <a:effectLst/>
                <a:uLnTx/>
                <a:uFillTx/>
                <a:latin typeface="Arial"/>
                <a:ea typeface="+mn-ea"/>
                <a:cs typeface="Arial"/>
              </a:rPr>
              <a:t>B-</a:t>
            </a:r>
            <a:r>
              <a:rPr kumimoji="0" sz="800" b="0" i="0" u="none" strike="noStrike" kern="0" cap="none" spc="0" normalizeH="0" baseline="0" noProof="0" dirty="0">
                <a:ln>
                  <a:noFill/>
                </a:ln>
                <a:solidFill>
                  <a:sysClr val="windowText" lastClr="000000"/>
                </a:solidFill>
                <a:effectLst/>
                <a:uLnTx/>
                <a:uFillTx/>
                <a:latin typeface="Arial"/>
                <a:ea typeface="+mn-ea"/>
                <a:cs typeface="Arial"/>
              </a:rPr>
              <a:t>cells;</a:t>
            </a:r>
            <a:r>
              <a:rPr kumimoji="0" sz="800" b="0" i="0" u="none" strike="noStrike" kern="0" cap="none" spc="60" normalizeH="0" baseline="0" noProof="0" dirty="0">
                <a:ln>
                  <a:noFill/>
                </a:ln>
                <a:solidFill>
                  <a:sysClr val="windowText" lastClr="000000"/>
                </a:solidFill>
                <a:effectLst/>
                <a:uLnTx/>
                <a:uFillTx/>
                <a:latin typeface="Arial"/>
                <a:ea typeface="+mn-ea"/>
                <a:cs typeface="Arial"/>
              </a:rPr>
              <a:t> </a:t>
            </a:r>
            <a:r>
              <a:rPr kumimoji="0" sz="800" b="0" i="0" u="none" strike="noStrike" kern="0" cap="none" spc="0" normalizeH="0" baseline="0" noProof="0" dirty="0">
                <a:ln>
                  <a:noFill/>
                </a:ln>
                <a:solidFill>
                  <a:sysClr val="windowText" lastClr="000000"/>
                </a:solidFill>
                <a:effectLst/>
                <a:uLnTx/>
                <a:uFillTx/>
                <a:latin typeface="Arial"/>
                <a:ea typeface="+mn-ea"/>
                <a:cs typeface="Arial"/>
              </a:rPr>
              <a:t>IPI,</a:t>
            </a:r>
            <a:r>
              <a:rPr kumimoji="0" sz="800" b="0" i="0" u="none" strike="noStrike" kern="0" cap="none" spc="60" normalizeH="0" baseline="0" noProof="0" dirty="0">
                <a:ln>
                  <a:noFill/>
                </a:ln>
                <a:solidFill>
                  <a:sysClr val="windowText" lastClr="000000"/>
                </a:solidFill>
                <a:effectLst/>
                <a:uLnTx/>
                <a:uFillTx/>
                <a:latin typeface="Arial"/>
                <a:ea typeface="+mn-ea"/>
                <a:cs typeface="Arial"/>
              </a:rPr>
              <a:t> </a:t>
            </a:r>
            <a:r>
              <a:rPr kumimoji="0" sz="800" b="0" i="0" u="none" strike="noStrike" kern="0" cap="none" spc="-13" normalizeH="0" baseline="0" noProof="0" dirty="0">
                <a:ln>
                  <a:noFill/>
                </a:ln>
                <a:solidFill>
                  <a:sysClr val="windowText" lastClr="000000"/>
                </a:solidFill>
                <a:effectLst/>
                <a:uLnTx/>
                <a:uFillTx/>
                <a:latin typeface="Arial"/>
                <a:ea typeface="+mn-ea"/>
                <a:cs typeface="Arial"/>
              </a:rPr>
              <a:t>international</a:t>
            </a:r>
            <a:r>
              <a:rPr kumimoji="0" sz="800" b="0" i="0" u="none" strike="noStrike" kern="0" cap="none" spc="7" normalizeH="0" baseline="0" noProof="0" dirty="0">
                <a:ln>
                  <a:noFill/>
                </a:ln>
                <a:solidFill>
                  <a:sysClr val="windowText" lastClr="000000"/>
                </a:solidFill>
                <a:effectLst/>
                <a:uLnTx/>
                <a:uFillTx/>
                <a:latin typeface="Arial"/>
                <a:ea typeface="+mn-ea"/>
                <a:cs typeface="Arial"/>
              </a:rPr>
              <a:t> </a:t>
            </a:r>
            <a:r>
              <a:rPr kumimoji="0" sz="800" b="0" i="0" u="none" strike="noStrike" kern="0" cap="none" spc="-13" normalizeH="0" baseline="0" noProof="0" dirty="0">
                <a:ln>
                  <a:noFill/>
                </a:ln>
                <a:solidFill>
                  <a:sysClr val="windowText" lastClr="000000"/>
                </a:solidFill>
                <a:effectLst/>
                <a:uLnTx/>
                <a:uFillTx/>
                <a:latin typeface="Arial"/>
                <a:ea typeface="+mn-ea"/>
                <a:cs typeface="Arial"/>
              </a:rPr>
              <a:t>prognostic</a:t>
            </a:r>
            <a:r>
              <a:rPr kumimoji="0" sz="800" b="0" i="0" u="none" strike="noStrike" kern="0" cap="none" spc="-20" normalizeH="0" baseline="0" noProof="0" dirty="0">
                <a:ln>
                  <a:noFill/>
                </a:ln>
                <a:solidFill>
                  <a:sysClr val="windowText" lastClr="000000"/>
                </a:solidFill>
                <a:effectLst/>
                <a:uLnTx/>
                <a:uFillTx/>
                <a:latin typeface="Arial"/>
                <a:ea typeface="+mn-ea"/>
                <a:cs typeface="Arial"/>
              </a:rPr>
              <a:t> </a:t>
            </a:r>
            <a:r>
              <a:rPr kumimoji="0" sz="800" b="0" i="0" u="none" strike="noStrike" kern="0" cap="none" spc="-13" normalizeH="0" baseline="0" noProof="0" dirty="0">
                <a:ln>
                  <a:noFill/>
                </a:ln>
                <a:solidFill>
                  <a:sysClr val="windowText" lastClr="000000"/>
                </a:solidFill>
                <a:effectLst/>
                <a:uLnTx/>
                <a:uFillTx/>
                <a:latin typeface="Arial"/>
                <a:ea typeface="+mn-ea"/>
                <a:cs typeface="Arial"/>
              </a:rPr>
              <a:t>index.</a:t>
            </a:r>
            <a:endParaRPr kumimoji="0" sz="800" b="0" i="0" u="none" strike="noStrike" kern="0" cap="none" spc="0" normalizeH="0" baseline="0" noProof="0">
              <a:ln>
                <a:noFill/>
              </a:ln>
              <a:solidFill>
                <a:sysClr val="windowText" lastClr="000000"/>
              </a:solidFill>
              <a:effectLst/>
              <a:uLnTx/>
              <a:uFillTx/>
              <a:latin typeface="Arial"/>
              <a:ea typeface="+mn-ea"/>
              <a:cs typeface="Arial"/>
            </a:endParaRP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C80B2D8-8C40-A21B-ACAB-A382AF63A196}"/>
              </a:ext>
            </a:extLst>
          </p:cNvPr>
          <p:cNvPicPr>
            <a:picLocks noChangeAspect="1"/>
          </p:cNvPicPr>
          <p:nvPr/>
        </p:nvPicPr>
        <p:blipFill>
          <a:blip r:embed="rId2"/>
          <a:stretch>
            <a:fillRect/>
          </a:stretch>
        </p:blipFill>
        <p:spPr>
          <a:xfrm>
            <a:off x="24711" y="1772400"/>
            <a:ext cx="6199197" cy="3564628"/>
          </a:xfrm>
          <a:prstGeom prst="rect">
            <a:avLst/>
          </a:prstGeom>
        </p:spPr>
      </p:pic>
      <p:pic>
        <p:nvPicPr>
          <p:cNvPr id="3" name="Picture 2">
            <a:extLst>
              <a:ext uri="{FF2B5EF4-FFF2-40B4-BE49-F238E27FC236}">
                <a16:creationId xmlns:a16="http://schemas.microsoft.com/office/drawing/2014/main" id="{769FB47B-30A1-38C4-01A7-BEF90F42FAF9}"/>
              </a:ext>
            </a:extLst>
          </p:cNvPr>
          <p:cNvPicPr>
            <a:picLocks noChangeAspect="1"/>
          </p:cNvPicPr>
          <p:nvPr/>
        </p:nvPicPr>
        <p:blipFill>
          <a:blip r:embed="rId3"/>
          <a:srcRect l="2149"/>
          <a:stretch>
            <a:fillRect/>
          </a:stretch>
        </p:blipFill>
        <p:spPr>
          <a:xfrm>
            <a:off x="5978132" y="1767019"/>
            <a:ext cx="6199198" cy="3633597"/>
          </a:xfrm>
          <a:prstGeom prst="rect">
            <a:avLst/>
          </a:prstGeom>
        </p:spPr>
      </p:pic>
      <p:sp>
        <p:nvSpPr>
          <p:cNvPr id="5" name="object 2">
            <a:extLst>
              <a:ext uri="{FF2B5EF4-FFF2-40B4-BE49-F238E27FC236}">
                <a16:creationId xmlns:a16="http://schemas.microsoft.com/office/drawing/2014/main" id="{353B8A31-704A-8273-3BA8-511EC9A9D91F}"/>
              </a:ext>
            </a:extLst>
          </p:cNvPr>
          <p:cNvSpPr txBox="1">
            <a:spLocks/>
          </p:cNvSpPr>
          <p:nvPr/>
        </p:nvSpPr>
        <p:spPr>
          <a:xfrm>
            <a:off x="1396787" y="362230"/>
            <a:ext cx="9918913" cy="935876"/>
          </a:xfrm>
          <a:prstGeom prst="rect">
            <a:avLst/>
          </a:prstGeom>
        </p:spPr>
        <p:txBody>
          <a:bodyPr vert="horz" wrap="square" lIns="0" tIns="9313" rIns="0" bIns="0" rtlCol="0">
            <a:spAutoFit/>
          </a:bodyPr>
          <a:lstStyle>
            <a:lvl1pPr>
              <a:defRPr sz="3200" b="1" i="0">
                <a:solidFill>
                  <a:srgbClr val="0A41CD"/>
                </a:solidFill>
                <a:latin typeface="Arial"/>
                <a:ea typeface="+mj-ea"/>
                <a:cs typeface="Arial"/>
              </a:defRPr>
            </a:lvl1pPr>
          </a:lstStyle>
          <a:p>
            <a:pPr marL="16933" marR="6773" lvl="0" indent="0" algn="l" defTabSz="914400" rtl="0" eaLnBrk="1" fontAlgn="auto" latinLnBrk="0" hangingPunct="1">
              <a:lnSpc>
                <a:spcPct val="101699"/>
              </a:lnSpc>
              <a:spcBef>
                <a:spcPts val="73"/>
              </a:spcBef>
              <a:spcAft>
                <a:spcPts val="0"/>
              </a:spcAft>
              <a:buClrTx/>
              <a:buSzTx/>
              <a:buFontTx/>
              <a:buNone/>
              <a:tabLst/>
              <a:defRPr/>
            </a:pPr>
            <a:r>
              <a:rPr kumimoji="0" lang="en-US" sz="3200" b="1" i="0" u="none" strike="noStrike" kern="0" cap="none" spc="0" normalizeH="0" baseline="0" noProof="0" dirty="0">
                <a:ln>
                  <a:noFill/>
                </a:ln>
                <a:solidFill>
                  <a:srgbClr val="002060"/>
                </a:solidFill>
                <a:effectLst/>
                <a:uLnTx/>
                <a:uFillTx/>
                <a:latin typeface="Arial"/>
                <a:ea typeface="+mj-ea"/>
                <a:cs typeface="Arial"/>
              </a:rPr>
              <a:t>POLARGO</a:t>
            </a:r>
            <a:r>
              <a:rPr kumimoji="0" lang="en-US" sz="3200" b="1" i="0" u="none" strike="noStrike" kern="0" cap="none" spc="-107" normalizeH="0" baseline="0" noProof="0" dirty="0">
                <a:ln>
                  <a:noFill/>
                </a:ln>
                <a:solidFill>
                  <a:srgbClr val="002060"/>
                </a:solidFill>
                <a:effectLst/>
                <a:uLnTx/>
                <a:uFillTx/>
                <a:latin typeface="Arial"/>
                <a:ea typeface="+mj-ea"/>
                <a:cs typeface="Arial"/>
              </a:rPr>
              <a:t> </a:t>
            </a:r>
            <a:r>
              <a:rPr kumimoji="0" lang="en-US" sz="3200" b="1" i="0" u="none" strike="noStrike" kern="0" cap="none" spc="0" normalizeH="0" baseline="0" noProof="0" dirty="0">
                <a:ln>
                  <a:noFill/>
                </a:ln>
                <a:solidFill>
                  <a:srgbClr val="002060"/>
                </a:solidFill>
                <a:effectLst/>
                <a:uLnTx/>
                <a:uFillTx/>
                <a:latin typeface="Arial"/>
                <a:ea typeface="+mj-ea"/>
                <a:cs typeface="Arial"/>
              </a:rPr>
              <a:t>Primary and secondary endpoints:</a:t>
            </a:r>
          </a:p>
          <a:p>
            <a:pPr marL="16933" marR="6773" lvl="0" indent="0" algn="l" defTabSz="914400" rtl="0" eaLnBrk="1" fontAlgn="auto" latinLnBrk="0" hangingPunct="1">
              <a:lnSpc>
                <a:spcPct val="101699"/>
              </a:lnSpc>
              <a:spcBef>
                <a:spcPts val="73"/>
              </a:spcBef>
              <a:spcAft>
                <a:spcPts val="0"/>
              </a:spcAft>
              <a:buClrTx/>
              <a:buSzTx/>
              <a:buFontTx/>
              <a:buNone/>
              <a:tabLst/>
              <a:defRPr/>
            </a:pPr>
            <a:r>
              <a:rPr kumimoji="0" lang="en-US" sz="2800" b="1" i="0" u="none" strike="noStrike" kern="0" cap="none" spc="0" normalizeH="0" baseline="0" noProof="0" dirty="0">
                <a:ln>
                  <a:noFill/>
                </a:ln>
                <a:solidFill>
                  <a:srgbClr val="002060"/>
                </a:solidFill>
                <a:effectLst/>
                <a:uLnTx/>
                <a:uFillTx/>
                <a:latin typeface="Arial"/>
                <a:ea typeface="+mj-ea"/>
                <a:cs typeface="Arial"/>
              </a:rPr>
              <a:t>Adding Polatuzumab to R-</a:t>
            </a:r>
            <a:r>
              <a:rPr kumimoji="0" lang="en-US" sz="2800" b="1" i="0" u="none" strike="noStrike" kern="0" cap="none" spc="0" normalizeH="0" baseline="0" noProof="0" dirty="0" err="1">
                <a:ln>
                  <a:noFill/>
                </a:ln>
                <a:solidFill>
                  <a:srgbClr val="002060"/>
                </a:solidFill>
                <a:effectLst/>
                <a:uLnTx/>
                <a:uFillTx/>
                <a:latin typeface="Arial"/>
                <a:ea typeface="+mj-ea"/>
                <a:cs typeface="Arial"/>
              </a:rPr>
              <a:t>GemOx</a:t>
            </a:r>
            <a:r>
              <a:rPr kumimoji="0" lang="en-US" sz="2800" b="1" i="0" u="none" strike="noStrike" kern="0" cap="none" spc="0" normalizeH="0" baseline="0" noProof="0" dirty="0">
                <a:ln>
                  <a:noFill/>
                </a:ln>
                <a:solidFill>
                  <a:srgbClr val="002060"/>
                </a:solidFill>
                <a:effectLst/>
                <a:uLnTx/>
                <a:uFillTx/>
                <a:latin typeface="Arial"/>
                <a:ea typeface="+mj-ea"/>
                <a:cs typeface="Arial"/>
              </a:rPr>
              <a:t> improved OS and PFS</a:t>
            </a:r>
            <a:endParaRPr kumimoji="0" lang="en-US" sz="2800" b="1" i="0" u="none" strike="noStrike" kern="0" cap="none" spc="-13" normalizeH="0" baseline="0" noProof="0" dirty="0">
              <a:ln>
                <a:noFill/>
              </a:ln>
              <a:solidFill>
                <a:srgbClr val="002060"/>
              </a:solidFill>
              <a:effectLst/>
              <a:uLnTx/>
              <a:uFillTx/>
              <a:latin typeface="Arial"/>
              <a:ea typeface="+mj-ea"/>
              <a:cs typeface="Arial"/>
            </a:endParaRPr>
          </a:p>
        </p:txBody>
      </p:sp>
      <p:sp>
        <p:nvSpPr>
          <p:cNvPr id="6" name="object 5">
            <a:extLst>
              <a:ext uri="{FF2B5EF4-FFF2-40B4-BE49-F238E27FC236}">
                <a16:creationId xmlns:a16="http://schemas.microsoft.com/office/drawing/2014/main" id="{ED14B3E9-EA5C-9A01-9119-6C0881F0588D}"/>
              </a:ext>
            </a:extLst>
          </p:cNvPr>
          <p:cNvSpPr txBox="1"/>
          <p:nvPr/>
        </p:nvSpPr>
        <p:spPr>
          <a:xfrm>
            <a:off x="4811713" y="6510925"/>
            <a:ext cx="7566659" cy="170560"/>
          </a:xfrm>
          <a:prstGeom prst="rect">
            <a:avLst/>
          </a:prstGeom>
        </p:spPr>
        <p:txBody>
          <a:bodyPr vert="horz" wrap="square" lIns="0" tIns="16510" rIns="0" bIns="0" rtlCol="0">
            <a:spAutoFit/>
          </a:bodyPr>
          <a:lstStyle/>
          <a:p>
            <a:pPr marL="50800" marR="436880" lvl="0" indent="0" algn="l" defTabSz="914400" rtl="0" eaLnBrk="1" fontAlgn="auto" latinLnBrk="0" hangingPunct="1">
              <a:lnSpc>
                <a:spcPct val="99900"/>
              </a:lnSpc>
              <a:spcBef>
                <a:spcPts val="130"/>
              </a:spcBef>
              <a:spcAft>
                <a:spcPts val="0"/>
              </a:spcAft>
              <a:buClrTx/>
              <a:buSzTx/>
              <a:buFontTx/>
              <a:buNone/>
              <a:tabLst/>
              <a:defRPr/>
            </a:pPr>
            <a:r>
              <a:rPr kumimoji="0"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atthew</a:t>
            </a:r>
            <a:r>
              <a:rPr kumimoji="0" sz="1000" b="0" i="0" u="none" strike="noStrike" kern="1200" cap="none" spc="-4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Matasar</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et al. </a:t>
            </a:r>
            <a:r>
              <a:rPr kumimoji="0"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esented</a:t>
            </a:r>
            <a:r>
              <a:rPr kumimoji="0" sz="1000" b="0" i="0" u="none" strike="noStrike" kern="1200" cap="none" spc="-2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a:t>
            </a:r>
            <a:r>
              <a:rPr kumimoji="0" sz="1000" b="0" i="0" u="none" strike="noStrike" kern="1200" cap="none" spc="-3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2025</a:t>
            </a:r>
            <a:r>
              <a:rPr kumimoji="0" sz="1000" b="0" i="0" u="none" strike="noStrike" kern="1200" cap="none" spc="-6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uropean</a:t>
            </a:r>
            <a:r>
              <a:rPr kumimoji="0" sz="1000" b="0" i="0" u="none" strike="noStrike" kern="1200" cap="none" spc="-6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ematology</a:t>
            </a:r>
            <a:r>
              <a:rPr kumimoji="0" sz="1000" b="0" i="0" u="none" strike="noStrike" kern="1200" cap="none" spc="-1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000" b="0" i="0" u="none" strike="noStrike" kern="1200" cap="none" spc="-1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ssociation</a:t>
            </a:r>
            <a:r>
              <a:rPr kumimoji="0" sz="1000" b="0" i="0" u="none" strike="noStrike" kern="1200" cap="none" spc="-6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HA)</a:t>
            </a:r>
            <a:r>
              <a:rPr kumimoji="0" sz="1000" b="0" i="0" u="none" strike="noStrike" kern="1200" cap="none" spc="-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nnual</a:t>
            </a:r>
            <a:r>
              <a:rPr kumimoji="0" sz="1000" b="0" i="0" u="none" strike="noStrike" kern="1200" cap="none" spc="2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eting |</a:t>
            </a:r>
            <a:r>
              <a:rPr kumimoji="0" sz="1000" b="0" i="0" u="none" strike="noStrike" kern="1200" cap="none" spc="-1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June 12–15,</a:t>
            </a:r>
            <a:r>
              <a:rPr kumimoji="0" sz="1000" b="0" i="0" u="none" strike="noStrike" kern="1200" cap="none" spc="-2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000" b="0" i="0" u="none" strike="noStrike" kern="1200" cap="none" spc="-2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025</a:t>
            </a:r>
            <a:endParaRPr kumimoji="0"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2562088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txBox="1">
            <a:spLocks noGrp="1"/>
          </p:cNvSpPr>
          <p:nvPr>
            <p:ph type="title"/>
          </p:nvPr>
        </p:nvSpPr>
        <p:spPr>
          <a:xfrm>
            <a:off x="510539" y="206713"/>
            <a:ext cx="11347663" cy="995936"/>
          </a:xfrm>
          <a:prstGeom prst="rect">
            <a:avLst/>
          </a:prstGeom>
        </p:spPr>
        <p:txBody>
          <a:bodyPr vert="horz" wrap="square" lIns="0" tIns="8467" rIns="0" bIns="0" rtlCol="0">
            <a:spAutoFit/>
          </a:bodyPr>
          <a:lstStyle/>
          <a:p>
            <a:pPr marL="15240" marR="6773">
              <a:lnSpc>
                <a:spcPct val="101699"/>
              </a:lnSpc>
              <a:spcBef>
                <a:spcPts val="67"/>
              </a:spcBef>
            </a:pPr>
            <a:r>
              <a:rPr lang="en-US" dirty="0">
                <a:solidFill>
                  <a:srgbClr val="002060"/>
                </a:solidFill>
                <a:latin typeface="Calibri" panose="020F0502020204030204" pitchFamily="34" charset="0"/>
                <a:cs typeface="Calibri" panose="020F0502020204030204" pitchFamily="34" charset="0"/>
              </a:rPr>
              <a:t>POLARGO: </a:t>
            </a:r>
            <a:r>
              <a:rPr dirty="0">
                <a:solidFill>
                  <a:srgbClr val="002060"/>
                </a:solidFill>
                <a:latin typeface="Calibri" panose="020F0502020204030204" pitchFamily="34" charset="0"/>
                <a:cs typeface="Calibri" panose="020F0502020204030204" pitchFamily="34" charset="0"/>
              </a:rPr>
              <a:t>Survival</a:t>
            </a:r>
            <a:r>
              <a:rPr spc="-113" dirty="0">
                <a:solidFill>
                  <a:srgbClr val="002060"/>
                </a:solidFill>
                <a:latin typeface="Calibri" panose="020F0502020204030204" pitchFamily="34" charset="0"/>
                <a:cs typeface="Calibri" panose="020F0502020204030204" pitchFamily="34" charset="0"/>
              </a:rPr>
              <a:t> </a:t>
            </a:r>
            <a:r>
              <a:rPr dirty="0">
                <a:solidFill>
                  <a:srgbClr val="002060"/>
                </a:solidFill>
                <a:latin typeface="Calibri" panose="020F0502020204030204" pitchFamily="34" charset="0"/>
                <a:cs typeface="Calibri" panose="020F0502020204030204" pitchFamily="34" charset="0"/>
              </a:rPr>
              <a:t>benefit</a:t>
            </a:r>
            <a:r>
              <a:rPr spc="-80" dirty="0">
                <a:solidFill>
                  <a:srgbClr val="002060"/>
                </a:solidFill>
                <a:latin typeface="Calibri" panose="020F0502020204030204" pitchFamily="34" charset="0"/>
                <a:cs typeface="Calibri" panose="020F0502020204030204" pitchFamily="34" charset="0"/>
              </a:rPr>
              <a:t> </a:t>
            </a:r>
            <a:r>
              <a:rPr dirty="0">
                <a:solidFill>
                  <a:srgbClr val="002060"/>
                </a:solidFill>
                <a:latin typeface="Calibri" panose="020F0502020204030204" pitchFamily="34" charset="0"/>
                <a:cs typeface="Calibri" panose="020F0502020204030204" pitchFamily="34" charset="0"/>
              </a:rPr>
              <a:t>seen</a:t>
            </a:r>
            <a:r>
              <a:rPr spc="-80" dirty="0">
                <a:solidFill>
                  <a:srgbClr val="002060"/>
                </a:solidFill>
                <a:latin typeface="Calibri" panose="020F0502020204030204" pitchFamily="34" charset="0"/>
                <a:cs typeface="Calibri" panose="020F0502020204030204" pitchFamily="34" charset="0"/>
              </a:rPr>
              <a:t> </a:t>
            </a:r>
            <a:r>
              <a:rPr dirty="0">
                <a:solidFill>
                  <a:srgbClr val="002060"/>
                </a:solidFill>
                <a:latin typeface="Calibri" panose="020F0502020204030204" pitchFamily="34" charset="0"/>
                <a:cs typeface="Calibri" panose="020F0502020204030204" pitchFamily="34" charset="0"/>
              </a:rPr>
              <a:t>in</a:t>
            </a:r>
            <a:r>
              <a:rPr spc="-73" dirty="0">
                <a:solidFill>
                  <a:srgbClr val="002060"/>
                </a:solidFill>
                <a:latin typeface="Calibri" panose="020F0502020204030204" pitchFamily="34" charset="0"/>
                <a:cs typeface="Calibri" panose="020F0502020204030204" pitchFamily="34" charset="0"/>
              </a:rPr>
              <a:t> </a:t>
            </a:r>
            <a:r>
              <a:rPr dirty="0">
                <a:solidFill>
                  <a:srgbClr val="002060"/>
                </a:solidFill>
                <a:latin typeface="Calibri" panose="020F0502020204030204" pitchFamily="34" charset="0"/>
                <a:cs typeface="Calibri" panose="020F0502020204030204" pitchFamily="34" charset="0"/>
              </a:rPr>
              <a:t>both</a:t>
            </a:r>
            <a:r>
              <a:rPr spc="-167" dirty="0">
                <a:solidFill>
                  <a:srgbClr val="002060"/>
                </a:solidFill>
                <a:latin typeface="Calibri" panose="020F0502020204030204" pitchFamily="34" charset="0"/>
                <a:cs typeface="Calibri" panose="020F0502020204030204" pitchFamily="34" charset="0"/>
              </a:rPr>
              <a:t> </a:t>
            </a:r>
            <a:r>
              <a:rPr dirty="0">
                <a:solidFill>
                  <a:srgbClr val="002060"/>
                </a:solidFill>
                <a:latin typeface="Calibri" panose="020F0502020204030204" pitchFamily="34" charset="0"/>
                <a:cs typeface="Calibri" panose="020F0502020204030204" pitchFamily="34" charset="0"/>
              </a:rPr>
              <a:t>ABC</a:t>
            </a:r>
            <a:r>
              <a:rPr spc="-33" dirty="0">
                <a:solidFill>
                  <a:srgbClr val="002060"/>
                </a:solidFill>
                <a:latin typeface="Calibri" panose="020F0502020204030204" pitchFamily="34" charset="0"/>
                <a:cs typeface="Calibri" panose="020F0502020204030204" pitchFamily="34" charset="0"/>
              </a:rPr>
              <a:t> </a:t>
            </a:r>
            <a:r>
              <a:rPr dirty="0">
                <a:solidFill>
                  <a:srgbClr val="002060"/>
                </a:solidFill>
                <a:latin typeface="Calibri" panose="020F0502020204030204" pitchFamily="34" charset="0"/>
                <a:cs typeface="Calibri" panose="020F0502020204030204" pitchFamily="34" charset="0"/>
              </a:rPr>
              <a:t>and</a:t>
            </a:r>
            <a:r>
              <a:rPr spc="13" dirty="0">
                <a:solidFill>
                  <a:srgbClr val="002060"/>
                </a:solidFill>
                <a:latin typeface="Calibri" panose="020F0502020204030204" pitchFamily="34" charset="0"/>
                <a:cs typeface="Calibri" panose="020F0502020204030204" pitchFamily="34" charset="0"/>
              </a:rPr>
              <a:t> </a:t>
            </a:r>
            <a:r>
              <a:rPr spc="-33" dirty="0">
                <a:solidFill>
                  <a:srgbClr val="002060"/>
                </a:solidFill>
                <a:latin typeface="Calibri" panose="020F0502020204030204" pitchFamily="34" charset="0"/>
                <a:cs typeface="Calibri" panose="020F0502020204030204" pitchFamily="34" charset="0"/>
              </a:rPr>
              <a:t>GCB </a:t>
            </a:r>
            <a:r>
              <a:rPr dirty="0">
                <a:solidFill>
                  <a:srgbClr val="002060"/>
                </a:solidFill>
                <a:latin typeface="Calibri" panose="020F0502020204030204" pitchFamily="34" charset="0"/>
                <a:cs typeface="Calibri" panose="020F0502020204030204" pitchFamily="34" charset="0"/>
              </a:rPr>
              <a:t>cell</a:t>
            </a:r>
            <a:r>
              <a:rPr spc="-93" dirty="0">
                <a:solidFill>
                  <a:srgbClr val="002060"/>
                </a:solidFill>
                <a:latin typeface="Calibri" panose="020F0502020204030204" pitchFamily="34" charset="0"/>
                <a:cs typeface="Calibri" panose="020F0502020204030204" pitchFamily="34" charset="0"/>
              </a:rPr>
              <a:t> </a:t>
            </a:r>
            <a:r>
              <a:rPr dirty="0">
                <a:solidFill>
                  <a:srgbClr val="002060"/>
                </a:solidFill>
                <a:latin typeface="Calibri" panose="020F0502020204030204" pitchFamily="34" charset="0"/>
                <a:cs typeface="Calibri" panose="020F0502020204030204" pitchFamily="34" charset="0"/>
              </a:rPr>
              <a:t>of</a:t>
            </a:r>
            <a:r>
              <a:rPr spc="-60" dirty="0">
                <a:solidFill>
                  <a:srgbClr val="002060"/>
                </a:solidFill>
                <a:latin typeface="Calibri" panose="020F0502020204030204" pitchFamily="34" charset="0"/>
                <a:cs typeface="Calibri" panose="020F0502020204030204" pitchFamily="34" charset="0"/>
              </a:rPr>
              <a:t> </a:t>
            </a:r>
            <a:r>
              <a:rPr dirty="0">
                <a:solidFill>
                  <a:srgbClr val="002060"/>
                </a:solidFill>
                <a:latin typeface="Calibri" panose="020F0502020204030204" pitchFamily="34" charset="0"/>
                <a:cs typeface="Calibri" panose="020F0502020204030204" pitchFamily="34" charset="0"/>
              </a:rPr>
              <a:t>origin</a:t>
            </a:r>
            <a:r>
              <a:rPr spc="40" dirty="0">
                <a:solidFill>
                  <a:srgbClr val="002060"/>
                </a:solidFill>
                <a:latin typeface="Calibri" panose="020F0502020204030204" pitchFamily="34" charset="0"/>
                <a:cs typeface="Calibri" panose="020F0502020204030204" pitchFamily="34" charset="0"/>
              </a:rPr>
              <a:t> </a:t>
            </a:r>
            <a:r>
              <a:rPr spc="-13" dirty="0">
                <a:solidFill>
                  <a:srgbClr val="002060"/>
                </a:solidFill>
                <a:latin typeface="Calibri" panose="020F0502020204030204" pitchFamily="34" charset="0"/>
                <a:cs typeface="Calibri" panose="020F0502020204030204" pitchFamily="34" charset="0"/>
              </a:rPr>
              <a:t>subgroups</a:t>
            </a:r>
          </a:p>
        </p:txBody>
      </p:sp>
      <p:sp>
        <p:nvSpPr>
          <p:cNvPr id="16" name="object 16"/>
          <p:cNvSpPr txBox="1"/>
          <p:nvPr/>
        </p:nvSpPr>
        <p:spPr>
          <a:xfrm>
            <a:off x="510539" y="6526954"/>
            <a:ext cx="1319107" cy="140209"/>
          </a:xfrm>
          <a:prstGeom prst="rect">
            <a:avLst/>
          </a:prstGeom>
        </p:spPr>
        <p:txBody>
          <a:bodyPr vert="horz" wrap="square" lIns="0" tIns="16933" rIns="0" bIns="0" rtlCol="0">
            <a:spAutoFit/>
          </a:bodyPr>
          <a:lstStyle/>
          <a:p>
            <a:pPr marL="16933" marR="0" lvl="0" indent="0" algn="l" defTabSz="1219170" rtl="0" eaLnBrk="1" fontAlgn="auto" latinLnBrk="0" hangingPunct="1">
              <a:lnSpc>
                <a:spcPct val="100000"/>
              </a:lnSpc>
              <a:spcBef>
                <a:spcPts val="133"/>
              </a:spcBef>
              <a:spcAft>
                <a:spcPts val="0"/>
              </a:spcAft>
              <a:buClrTx/>
              <a:buSzTx/>
              <a:buFontTx/>
              <a:buNone/>
              <a:tabLst/>
              <a:defRPr/>
            </a:pPr>
            <a:r>
              <a:rPr kumimoji="0" sz="800" b="0" i="0" u="none" strike="noStrike" kern="0" cap="none" spc="0" normalizeH="0" baseline="0" noProof="0" dirty="0">
                <a:ln>
                  <a:noFill/>
                </a:ln>
                <a:solidFill>
                  <a:sysClr val="windowText" lastClr="000000"/>
                </a:solidFill>
                <a:effectLst/>
                <a:uLnTx/>
                <a:uFillTx/>
                <a:latin typeface="Arial"/>
                <a:ea typeface="+mn-ea"/>
                <a:cs typeface="Arial"/>
              </a:rPr>
              <a:t>Cell</a:t>
            </a:r>
            <a:r>
              <a:rPr kumimoji="0" sz="800" b="0" i="0" u="none" strike="noStrike" kern="0" cap="none" spc="-7" normalizeH="0" baseline="0" noProof="0" dirty="0">
                <a:ln>
                  <a:noFill/>
                </a:ln>
                <a:solidFill>
                  <a:sysClr val="windowText" lastClr="000000"/>
                </a:solidFill>
                <a:effectLst/>
                <a:uLnTx/>
                <a:uFillTx/>
                <a:latin typeface="Arial"/>
                <a:ea typeface="+mn-ea"/>
                <a:cs typeface="Arial"/>
              </a:rPr>
              <a:t> </a:t>
            </a:r>
            <a:r>
              <a:rPr kumimoji="0" sz="800" b="0" i="0" u="none" strike="noStrike" kern="0" cap="none" spc="0" normalizeH="0" baseline="0" noProof="0" dirty="0">
                <a:ln>
                  <a:noFill/>
                </a:ln>
                <a:solidFill>
                  <a:sysClr val="windowText" lastClr="000000"/>
                </a:solidFill>
                <a:effectLst/>
                <a:uLnTx/>
                <a:uFillTx/>
                <a:latin typeface="Arial"/>
                <a:ea typeface="+mn-ea"/>
                <a:cs typeface="Arial"/>
              </a:rPr>
              <a:t>of</a:t>
            </a:r>
            <a:r>
              <a:rPr kumimoji="0" sz="800" b="0" i="0" u="none" strike="noStrike" kern="0" cap="none" spc="-47" normalizeH="0" baseline="0" noProof="0" dirty="0">
                <a:ln>
                  <a:noFill/>
                </a:ln>
                <a:solidFill>
                  <a:sysClr val="windowText" lastClr="000000"/>
                </a:solidFill>
                <a:effectLst/>
                <a:uLnTx/>
                <a:uFillTx/>
                <a:latin typeface="Arial"/>
                <a:ea typeface="+mn-ea"/>
                <a:cs typeface="Arial"/>
              </a:rPr>
              <a:t> </a:t>
            </a:r>
            <a:r>
              <a:rPr kumimoji="0" sz="800" b="0" i="0" u="none" strike="noStrike" kern="0" cap="none" spc="0" normalizeH="0" baseline="0" noProof="0" dirty="0">
                <a:ln>
                  <a:noFill/>
                </a:ln>
                <a:solidFill>
                  <a:sysClr val="windowText" lastClr="000000"/>
                </a:solidFill>
                <a:effectLst/>
                <a:uLnTx/>
                <a:uFillTx/>
                <a:latin typeface="Arial"/>
                <a:ea typeface="+mn-ea"/>
                <a:cs typeface="Arial"/>
              </a:rPr>
              <a:t>origin</a:t>
            </a:r>
            <a:r>
              <a:rPr kumimoji="0" sz="800" b="0" i="0" u="none" strike="noStrike" kern="0" cap="none" spc="27" normalizeH="0" baseline="0" noProof="0" dirty="0">
                <a:ln>
                  <a:noFill/>
                </a:ln>
                <a:solidFill>
                  <a:sysClr val="windowText" lastClr="000000"/>
                </a:solidFill>
                <a:effectLst/>
                <a:uLnTx/>
                <a:uFillTx/>
                <a:latin typeface="Arial"/>
                <a:ea typeface="+mn-ea"/>
                <a:cs typeface="Arial"/>
              </a:rPr>
              <a:t> </a:t>
            </a:r>
            <a:r>
              <a:rPr kumimoji="0" sz="800" b="0" i="0" u="none" strike="noStrike" kern="0" cap="none" spc="0" normalizeH="0" baseline="0" noProof="0" dirty="0">
                <a:ln>
                  <a:noFill/>
                </a:ln>
                <a:solidFill>
                  <a:sysClr val="windowText" lastClr="000000"/>
                </a:solidFill>
                <a:effectLst/>
                <a:uLnTx/>
                <a:uFillTx/>
                <a:latin typeface="Arial"/>
                <a:ea typeface="+mn-ea"/>
                <a:cs typeface="Arial"/>
              </a:rPr>
              <a:t>based</a:t>
            </a:r>
            <a:r>
              <a:rPr kumimoji="0" sz="800" b="0" i="0" u="none" strike="noStrike" kern="0" cap="none" spc="-73" normalizeH="0" baseline="0" noProof="0" dirty="0">
                <a:ln>
                  <a:noFill/>
                </a:ln>
                <a:solidFill>
                  <a:sysClr val="windowText" lastClr="000000"/>
                </a:solidFill>
                <a:effectLst/>
                <a:uLnTx/>
                <a:uFillTx/>
                <a:latin typeface="Arial"/>
                <a:ea typeface="+mn-ea"/>
                <a:cs typeface="Arial"/>
              </a:rPr>
              <a:t> </a:t>
            </a:r>
            <a:r>
              <a:rPr kumimoji="0" sz="800" b="0" i="0" u="none" strike="noStrike" kern="0" cap="none" spc="0" normalizeH="0" baseline="0" noProof="0" dirty="0">
                <a:ln>
                  <a:noFill/>
                </a:ln>
                <a:solidFill>
                  <a:sysClr val="windowText" lastClr="000000"/>
                </a:solidFill>
                <a:effectLst/>
                <a:uLnTx/>
                <a:uFillTx/>
                <a:latin typeface="Arial"/>
                <a:ea typeface="+mn-ea"/>
                <a:cs typeface="Arial"/>
              </a:rPr>
              <a:t>on</a:t>
            </a:r>
            <a:r>
              <a:rPr kumimoji="0" sz="800" b="0" i="0" u="none" strike="noStrike" kern="0" cap="none" spc="-73" normalizeH="0" baseline="0" noProof="0" dirty="0">
                <a:ln>
                  <a:noFill/>
                </a:ln>
                <a:solidFill>
                  <a:sysClr val="windowText" lastClr="000000"/>
                </a:solidFill>
                <a:effectLst/>
                <a:uLnTx/>
                <a:uFillTx/>
                <a:latin typeface="Arial"/>
                <a:ea typeface="+mn-ea"/>
                <a:cs typeface="Arial"/>
              </a:rPr>
              <a:t> </a:t>
            </a:r>
            <a:r>
              <a:rPr kumimoji="0" sz="800" b="0" i="0" u="none" strike="noStrike" kern="0" cap="none" spc="-27" normalizeH="0" baseline="0" noProof="0" dirty="0">
                <a:ln>
                  <a:noFill/>
                </a:ln>
                <a:solidFill>
                  <a:sysClr val="windowText" lastClr="000000"/>
                </a:solidFill>
                <a:effectLst/>
                <a:uLnTx/>
                <a:uFillTx/>
                <a:latin typeface="Arial"/>
                <a:ea typeface="+mn-ea"/>
                <a:cs typeface="Arial"/>
              </a:rPr>
              <a:t>GEP.</a:t>
            </a:r>
            <a:endParaRPr kumimoji="0" sz="800" b="0" i="0" u="none" strike="noStrike" kern="0" cap="none" spc="0" normalizeH="0" baseline="0" noProof="0">
              <a:ln>
                <a:noFill/>
              </a:ln>
              <a:solidFill>
                <a:sysClr val="windowText" lastClr="000000"/>
              </a:solidFill>
              <a:effectLst/>
              <a:uLnTx/>
              <a:uFillTx/>
              <a:latin typeface="Arial"/>
              <a:ea typeface="+mn-ea"/>
              <a:cs typeface="Arial"/>
            </a:endParaRPr>
          </a:p>
        </p:txBody>
      </p:sp>
      <p:pic>
        <p:nvPicPr>
          <p:cNvPr id="98" name="Picture 97">
            <a:extLst>
              <a:ext uri="{FF2B5EF4-FFF2-40B4-BE49-F238E27FC236}">
                <a16:creationId xmlns:a16="http://schemas.microsoft.com/office/drawing/2014/main" id="{2C8D72B8-3D64-7D28-357B-F3B6C4975AF5}"/>
              </a:ext>
            </a:extLst>
          </p:cNvPr>
          <p:cNvPicPr>
            <a:picLocks noChangeAspect="1"/>
          </p:cNvPicPr>
          <p:nvPr/>
        </p:nvPicPr>
        <p:blipFill>
          <a:blip r:embed="rId2"/>
          <a:srcRect t="2086"/>
          <a:stretch>
            <a:fillRect/>
          </a:stretch>
        </p:blipFill>
        <p:spPr>
          <a:xfrm>
            <a:off x="269345" y="1202649"/>
            <a:ext cx="11653309" cy="5545067"/>
          </a:xfrm>
          <a:prstGeom prst="rect">
            <a:avLst/>
          </a:prstGeom>
        </p:spPr>
      </p:pic>
      <p:sp>
        <p:nvSpPr>
          <p:cNvPr id="93" name="object 5">
            <a:extLst>
              <a:ext uri="{FF2B5EF4-FFF2-40B4-BE49-F238E27FC236}">
                <a16:creationId xmlns:a16="http://schemas.microsoft.com/office/drawing/2014/main" id="{15F461EE-2D32-9A0B-469F-73B979703F7C}"/>
              </a:ext>
            </a:extLst>
          </p:cNvPr>
          <p:cNvSpPr txBox="1"/>
          <p:nvPr/>
        </p:nvSpPr>
        <p:spPr>
          <a:xfrm>
            <a:off x="4625341" y="6597058"/>
            <a:ext cx="7566659" cy="170560"/>
          </a:xfrm>
          <a:prstGeom prst="rect">
            <a:avLst/>
          </a:prstGeom>
        </p:spPr>
        <p:txBody>
          <a:bodyPr vert="horz" wrap="square" lIns="0" tIns="16510" rIns="0" bIns="0" rtlCol="0">
            <a:spAutoFit/>
          </a:bodyPr>
          <a:lstStyle/>
          <a:p>
            <a:pPr marL="50800" marR="436880" lvl="0" indent="0" algn="l" defTabSz="914400" rtl="0" eaLnBrk="1" fontAlgn="auto" latinLnBrk="0" hangingPunct="1">
              <a:lnSpc>
                <a:spcPct val="99900"/>
              </a:lnSpc>
              <a:spcBef>
                <a:spcPts val="130"/>
              </a:spcBef>
              <a:spcAft>
                <a:spcPts val="0"/>
              </a:spcAft>
              <a:buClrTx/>
              <a:buSzTx/>
              <a:buFontTx/>
              <a:buNone/>
              <a:tabLst/>
              <a:defRPr/>
            </a:pPr>
            <a:r>
              <a:rPr kumimoji="0"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atthew</a:t>
            </a:r>
            <a:r>
              <a:rPr kumimoji="0" sz="1000" b="0" i="0" u="none" strike="noStrike" kern="1200" cap="none" spc="-4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Matasar</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et al. </a:t>
            </a:r>
            <a:r>
              <a:rPr kumimoji="0"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esented</a:t>
            </a:r>
            <a:r>
              <a:rPr kumimoji="0" sz="1000" b="0" i="0" u="none" strike="noStrike" kern="1200" cap="none" spc="-2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a:t>
            </a:r>
            <a:r>
              <a:rPr kumimoji="0" sz="1000" b="0" i="0" u="none" strike="noStrike" kern="1200" cap="none" spc="-3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2025</a:t>
            </a:r>
            <a:r>
              <a:rPr kumimoji="0" sz="1000" b="0" i="0" u="none" strike="noStrike" kern="1200" cap="none" spc="-6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uropean</a:t>
            </a:r>
            <a:r>
              <a:rPr kumimoji="0" sz="1000" b="0" i="0" u="none" strike="noStrike" kern="1200" cap="none" spc="-6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ematology</a:t>
            </a:r>
            <a:r>
              <a:rPr kumimoji="0" sz="1000" b="0" i="0" u="none" strike="noStrike" kern="1200" cap="none" spc="-1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000" b="0" i="0" u="none" strike="noStrike" kern="1200" cap="none" spc="-1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ssociation</a:t>
            </a:r>
            <a:r>
              <a:rPr kumimoji="0" sz="1000" b="0" i="0" u="none" strike="noStrike" kern="1200" cap="none" spc="-6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HA)</a:t>
            </a:r>
            <a:r>
              <a:rPr kumimoji="0" sz="1000" b="0" i="0" u="none" strike="noStrike" kern="1200" cap="none" spc="-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nnual</a:t>
            </a:r>
            <a:r>
              <a:rPr kumimoji="0" sz="1000" b="0" i="0" u="none" strike="noStrike" kern="1200" cap="none" spc="2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eting |</a:t>
            </a:r>
            <a:r>
              <a:rPr kumimoji="0" sz="1000" b="0" i="0" u="none" strike="noStrike" kern="1200" cap="none" spc="-1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June 12–15,</a:t>
            </a:r>
            <a:r>
              <a:rPr kumimoji="0" sz="1000" b="0" i="0" u="none" strike="noStrike" kern="1200" cap="none" spc="-2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000" b="0" i="0" u="none" strike="noStrike" kern="1200" cap="none" spc="-2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025</a:t>
            </a:r>
            <a:endParaRPr kumimoji="0"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000" dirty="0">
                <a:ea typeface="ＭＳ Ｐゴシック" charset="0"/>
              </a:rPr>
              <a:t>Disclosures for Moderator Neil Love, MD</a:t>
            </a:r>
            <a:endParaRPr lang="en-US" sz="3000" dirty="0"/>
          </a:p>
        </p:txBody>
      </p:sp>
      <p:sp>
        <p:nvSpPr>
          <p:cNvPr id="3" name="Content Placeholder 2"/>
          <p:cNvSpPr>
            <a:spLocks noGrp="1"/>
          </p:cNvSpPr>
          <p:nvPr>
            <p:ph idx="1"/>
          </p:nvPr>
        </p:nvSpPr>
        <p:spPr>
          <a:xfrm>
            <a:off x="838200" y="1185685"/>
            <a:ext cx="10515600" cy="4800600"/>
          </a:xfrm>
        </p:spPr>
        <p:txBody>
          <a:bodyPr>
            <a:noAutofit/>
          </a:bodyPr>
          <a:lstStyle/>
          <a:p>
            <a:pPr marL="0" lvl="0" indent="0">
              <a:lnSpc>
                <a:spcPct val="100000"/>
              </a:lnSpc>
              <a:buNone/>
            </a:pPr>
            <a:r>
              <a:rPr lang="en-US" sz="1700" dirty="0">
                <a:solidFill>
                  <a:srgbClr val="002656"/>
                </a:solidFill>
              </a:rPr>
              <a:t>Dr Love is president and CEO of Research To Practice. Research To Practice receives funds in the form of educational grants to develop CME activities from the following companies: Aadi Bioscience, AbbVie Inc, ADC Therapeutics, </a:t>
            </a:r>
            <a:r>
              <a:rPr lang="en-US" sz="1700" dirty="0" err="1">
                <a:solidFill>
                  <a:srgbClr val="002656"/>
                </a:solidFill>
              </a:rPr>
              <a:t>Agendia</a:t>
            </a:r>
            <a:r>
              <a:rPr lang="en-US" sz="1700" dirty="0">
                <a:solidFill>
                  <a:srgbClr val="002656"/>
                </a:solidFill>
              </a:rPr>
              <a:t> Inc, Alexion Pharmaceuticals, Amgen Inc, Array BioPharma Inc, a subsidiary of Pfizer Inc, </a:t>
            </a:r>
            <a:r>
              <a:rPr lang="en-US" sz="1700" dirty="0" err="1">
                <a:solidFill>
                  <a:srgbClr val="002656"/>
                </a:solidFill>
              </a:rPr>
              <a:t>Arvinas</a:t>
            </a:r>
            <a:r>
              <a:rPr lang="en-US" sz="1700" dirty="0">
                <a:solidFill>
                  <a:srgbClr val="002656"/>
                </a:solidFill>
              </a:rPr>
              <a:t>, Astellas, AstraZeneca Pharmaceuticals LP, Aveo Pharmaceuticals, Bayer HealthCare Pharmaceuticals, </a:t>
            </a:r>
            <a:r>
              <a:rPr lang="en-US" sz="1700" dirty="0" err="1">
                <a:solidFill>
                  <a:srgbClr val="002656"/>
                </a:solidFill>
              </a:rPr>
              <a:t>BeOne</a:t>
            </a:r>
            <a:r>
              <a:rPr lang="en-US" sz="1700" dirty="0">
                <a:solidFill>
                  <a:srgbClr val="002656"/>
                </a:solidFill>
              </a:rPr>
              <a:t>, </a:t>
            </a:r>
            <a:r>
              <a:rPr lang="en-US" sz="1700" dirty="0" err="1">
                <a:solidFill>
                  <a:srgbClr val="002656"/>
                </a:solidFill>
              </a:rPr>
              <a:t>Biotheranostics</a:t>
            </a:r>
            <a:r>
              <a:rPr lang="en-US" sz="1700" dirty="0">
                <a:solidFill>
                  <a:srgbClr val="002656"/>
                </a:solidFill>
              </a:rPr>
              <a:t> Inc, A Hologic Company, Black Diamond Therapeutics Inc, Blueprint Medicines, Boehringer Ingelheim Pharmaceuticals Inc, Bristol Myers Squibb, </a:t>
            </a:r>
            <a:r>
              <a:rPr lang="en-US" sz="1700" dirty="0" err="1">
                <a:solidFill>
                  <a:srgbClr val="002656"/>
                </a:solidFill>
              </a:rPr>
              <a:t>Celcuity</a:t>
            </a:r>
            <a:r>
              <a:rPr lang="en-US" sz="1700" dirty="0">
                <a:solidFill>
                  <a:srgbClr val="002656"/>
                </a:solidFill>
              </a:rPr>
              <a:t>, Clovis Oncology, </a:t>
            </a:r>
            <a:r>
              <a:rPr lang="en-US" sz="1700" dirty="0" err="1">
                <a:solidFill>
                  <a:srgbClr val="002656"/>
                </a:solidFill>
              </a:rPr>
              <a:t>Coherus</a:t>
            </a:r>
            <a:r>
              <a:rPr lang="en-US" sz="1700" dirty="0">
                <a:solidFill>
                  <a:srgbClr val="002656"/>
                </a:solidFill>
              </a:rPr>
              <a:t> </a:t>
            </a:r>
            <a:r>
              <a:rPr lang="en-US" sz="1700" dirty="0" err="1">
                <a:solidFill>
                  <a:srgbClr val="002656"/>
                </a:solidFill>
              </a:rPr>
              <a:t>BioSciences</a:t>
            </a:r>
            <a:r>
              <a:rPr lang="en-US" sz="1700" dirty="0">
                <a:solidFill>
                  <a:srgbClr val="002656"/>
                </a:solidFill>
              </a:rPr>
              <a:t>, </a:t>
            </a:r>
            <a:r>
              <a:rPr lang="en-US" sz="1700" dirty="0" err="1">
                <a:solidFill>
                  <a:srgbClr val="002656"/>
                </a:solidFill>
              </a:rPr>
              <a:t>Corcept</a:t>
            </a:r>
            <a:r>
              <a:rPr lang="en-US" sz="1700" dirty="0">
                <a:solidFill>
                  <a:srgbClr val="002656"/>
                </a:solidFill>
              </a:rPr>
              <a:t> Therapeutics Inc, CTI BioPharma, a Sobi Company, Daiichi Sankyo Inc, Eisai Inc, Elevation Oncology Inc, Exact Sciences Corporation, Exelixis Inc, Genentech, a member of the Roche Group, Genmab US Inc, Geron Corporation, Gilead Sciences Inc, GSK, </a:t>
            </a:r>
            <a:r>
              <a:rPr lang="en-US" sz="1700" dirty="0" err="1">
                <a:solidFill>
                  <a:srgbClr val="002656"/>
                </a:solidFill>
              </a:rPr>
              <a:t>Helsinn</a:t>
            </a:r>
            <a:r>
              <a:rPr lang="en-US" sz="1700" dirty="0">
                <a:solidFill>
                  <a:srgbClr val="002656"/>
                </a:solidFill>
              </a:rPr>
              <a:t> Therapeutics (US) Inc, </a:t>
            </a:r>
            <a:r>
              <a:rPr lang="en-US" sz="1700" dirty="0" err="1">
                <a:solidFill>
                  <a:srgbClr val="002656"/>
                </a:solidFill>
              </a:rPr>
              <a:t>ImmunoGen</a:t>
            </a:r>
            <a:r>
              <a:rPr lang="en-US" sz="1700" dirty="0">
                <a:solidFill>
                  <a:srgbClr val="002656"/>
                </a:solidFill>
              </a:rPr>
              <a:t> Inc, Incyte Corporation, Ipsen Biopharmaceuticals Inc, Jazz Pharmaceuticals Inc, Johnson &amp; Johnson, </a:t>
            </a:r>
            <a:r>
              <a:rPr lang="en-US" sz="1700" dirty="0" err="1">
                <a:solidFill>
                  <a:srgbClr val="002656"/>
                </a:solidFill>
              </a:rPr>
              <a:t>Karyopharm</a:t>
            </a:r>
            <a:r>
              <a:rPr lang="en-US" sz="1700" dirty="0">
                <a:solidFill>
                  <a:srgbClr val="002656"/>
                </a:solidFill>
              </a:rPr>
              <a:t> Therapeutics, Kite, A Gilead Company, Kura Oncology, Legend Biotech, Lilly, MEI Pharma Inc, Merck, Mersana Therapeutics Inc, Mirati Therapeutics Inc, Mural Oncology Inc, Natera Inc, Novartis, Novartis Pharmaceuticals Corporation on behalf of Advanced Accelerator Applications, </a:t>
            </a:r>
            <a:r>
              <a:rPr lang="en-US" sz="1700" dirty="0" err="1">
                <a:solidFill>
                  <a:srgbClr val="002656"/>
                </a:solidFill>
              </a:rPr>
              <a:t>Novocure</a:t>
            </a:r>
            <a:r>
              <a:rPr lang="en-US" sz="1700" dirty="0">
                <a:solidFill>
                  <a:srgbClr val="002656"/>
                </a:solidFill>
              </a:rPr>
              <a:t> Inc, </a:t>
            </a:r>
            <a:r>
              <a:rPr lang="en-US" sz="1700" dirty="0" err="1">
                <a:solidFill>
                  <a:srgbClr val="002656"/>
                </a:solidFill>
              </a:rPr>
              <a:t>Nuvalent</a:t>
            </a:r>
            <a:r>
              <a:rPr lang="en-US" sz="1700" dirty="0">
                <a:solidFill>
                  <a:srgbClr val="002656"/>
                </a:solidFill>
              </a:rPr>
              <a:t>, Nuvation Bio Inc, Pfizer Inc, Pharmacyclics LLC, an AbbVie Company, Puma Biotechnology Inc, Regeneron Pharmaceuticals Inc, Revolution Medicines Inc, Rigel Pharmaceuticals Inc, R-Pharm US, Sanofi, </a:t>
            </a:r>
            <a:r>
              <a:rPr lang="en-US" sz="1700" dirty="0" err="1">
                <a:solidFill>
                  <a:srgbClr val="002656"/>
                </a:solidFill>
              </a:rPr>
              <a:t>Seagen</a:t>
            </a:r>
            <a:r>
              <a:rPr lang="en-US" sz="1700" dirty="0">
                <a:solidFill>
                  <a:srgbClr val="002656"/>
                </a:solidFill>
              </a:rPr>
              <a:t> Inc, Servier Pharmaceuticals LLC, </a:t>
            </a:r>
            <a:r>
              <a:rPr lang="en-US" sz="1700" dirty="0" err="1">
                <a:solidFill>
                  <a:srgbClr val="002656"/>
                </a:solidFill>
              </a:rPr>
              <a:t>SpringWorks</a:t>
            </a:r>
            <a:r>
              <a:rPr lang="en-US" sz="1700" dirty="0">
                <a:solidFill>
                  <a:srgbClr val="002656"/>
                </a:solidFill>
              </a:rPr>
              <a:t> Therapeutics Inc, </a:t>
            </a:r>
            <a:r>
              <a:rPr lang="en-US" sz="1700" dirty="0" err="1">
                <a:solidFill>
                  <a:srgbClr val="002656"/>
                </a:solidFill>
              </a:rPr>
              <a:t>Stemline</a:t>
            </a:r>
            <a:r>
              <a:rPr lang="en-US" sz="1700" dirty="0">
                <a:solidFill>
                  <a:srgbClr val="002656"/>
                </a:solidFill>
              </a:rPr>
              <a:t> Therapeutics Inc, Sumitomo Pharma America, Summit Therapeutics, </a:t>
            </a:r>
            <a:r>
              <a:rPr lang="en-US" sz="1700" dirty="0" err="1">
                <a:solidFill>
                  <a:srgbClr val="002656"/>
                </a:solidFill>
              </a:rPr>
              <a:t>Syndax</a:t>
            </a:r>
            <a:r>
              <a:rPr lang="en-US" sz="1700" dirty="0">
                <a:solidFill>
                  <a:srgbClr val="002656"/>
                </a:solidFill>
              </a:rPr>
              <a:t> Pharmaceuticals, Taiho Oncology Inc, Takeda Pharmaceuticals USA Inc, </a:t>
            </a:r>
            <a:r>
              <a:rPr lang="en-US" sz="1700" dirty="0" err="1">
                <a:solidFill>
                  <a:srgbClr val="002656"/>
                </a:solidFill>
              </a:rPr>
              <a:t>TerSera</a:t>
            </a:r>
            <a:r>
              <a:rPr lang="en-US" sz="1700" dirty="0">
                <a:solidFill>
                  <a:srgbClr val="002656"/>
                </a:solidFill>
              </a:rPr>
              <a:t> Therapeutics LLC, and </a:t>
            </a:r>
            <a:r>
              <a:rPr lang="en-US" sz="1700" dirty="0" err="1">
                <a:solidFill>
                  <a:srgbClr val="002656"/>
                </a:solidFill>
              </a:rPr>
              <a:t>Tesaro</a:t>
            </a:r>
            <a:r>
              <a:rPr lang="en-US" sz="1700" dirty="0">
                <a:solidFill>
                  <a:srgbClr val="002656"/>
                </a:solidFill>
              </a:rPr>
              <a:t>, A GSK Company. </a:t>
            </a:r>
          </a:p>
        </p:txBody>
      </p:sp>
    </p:spTree>
    <p:extLst>
      <p:ext uri="{BB962C8B-B14F-4D97-AF65-F5344CB8AC3E}">
        <p14:creationId xmlns:p14="http://schemas.microsoft.com/office/powerpoint/2010/main" val="14526091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04517B8-64E5-B076-8A27-28965B3F0A6B}"/>
              </a:ext>
            </a:extLst>
          </p:cNvPr>
          <p:cNvPicPr>
            <a:picLocks noChangeAspect="1"/>
          </p:cNvPicPr>
          <p:nvPr/>
        </p:nvPicPr>
        <p:blipFill>
          <a:blip r:embed="rId2"/>
          <a:srcRect r="3472"/>
          <a:stretch>
            <a:fillRect/>
          </a:stretch>
        </p:blipFill>
        <p:spPr>
          <a:xfrm>
            <a:off x="-474" y="1683013"/>
            <a:ext cx="6046047" cy="3531926"/>
          </a:xfrm>
          <a:prstGeom prst="rect">
            <a:avLst/>
          </a:prstGeom>
        </p:spPr>
      </p:pic>
      <p:pic>
        <p:nvPicPr>
          <p:cNvPr id="3" name="Picture 2">
            <a:extLst>
              <a:ext uri="{FF2B5EF4-FFF2-40B4-BE49-F238E27FC236}">
                <a16:creationId xmlns:a16="http://schemas.microsoft.com/office/drawing/2014/main" id="{17DCADAF-D5FA-AE72-3238-CC2BCEEB21DA}"/>
              </a:ext>
            </a:extLst>
          </p:cNvPr>
          <p:cNvPicPr>
            <a:picLocks noChangeAspect="1"/>
          </p:cNvPicPr>
          <p:nvPr/>
        </p:nvPicPr>
        <p:blipFill>
          <a:blip r:embed="rId3"/>
          <a:srcRect l="2572" r="2846"/>
          <a:stretch>
            <a:fillRect/>
          </a:stretch>
        </p:blipFill>
        <p:spPr>
          <a:xfrm>
            <a:off x="6033992" y="1680229"/>
            <a:ext cx="6087988" cy="3629666"/>
          </a:xfrm>
          <a:prstGeom prst="rect">
            <a:avLst/>
          </a:prstGeom>
        </p:spPr>
      </p:pic>
      <p:sp>
        <p:nvSpPr>
          <p:cNvPr id="4" name="object 2">
            <a:extLst>
              <a:ext uri="{FF2B5EF4-FFF2-40B4-BE49-F238E27FC236}">
                <a16:creationId xmlns:a16="http://schemas.microsoft.com/office/drawing/2014/main" id="{0FD96C4D-4561-634A-8266-7C7ABB8581C6}"/>
              </a:ext>
            </a:extLst>
          </p:cNvPr>
          <p:cNvSpPr txBox="1">
            <a:spLocks/>
          </p:cNvSpPr>
          <p:nvPr/>
        </p:nvSpPr>
        <p:spPr>
          <a:xfrm>
            <a:off x="3439901" y="839932"/>
            <a:ext cx="5246900" cy="494473"/>
          </a:xfrm>
          <a:prstGeom prst="rect">
            <a:avLst/>
          </a:prstGeom>
        </p:spPr>
        <p:txBody>
          <a:bodyPr vert="horz" wrap="square" lIns="0" tIns="9313" rIns="0" bIns="0" rtlCol="0">
            <a:spAutoFit/>
          </a:bodyPr>
          <a:lstStyle>
            <a:lvl1pPr>
              <a:defRPr sz="3200" b="1" i="0">
                <a:solidFill>
                  <a:srgbClr val="0A41CD"/>
                </a:solidFill>
                <a:latin typeface="Arial"/>
                <a:ea typeface="+mj-ea"/>
                <a:cs typeface="Arial"/>
              </a:defRPr>
            </a:lvl1pPr>
          </a:lstStyle>
          <a:p>
            <a:pPr marL="16933" marR="6773" lvl="0" indent="0" algn="l" defTabSz="914400" rtl="0" eaLnBrk="1" fontAlgn="auto" latinLnBrk="0" hangingPunct="1">
              <a:lnSpc>
                <a:spcPct val="101699"/>
              </a:lnSpc>
              <a:spcBef>
                <a:spcPts val="73"/>
              </a:spcBef>
              <a:spcAft>
                <a:spcPts val="0"/>
              </a:spcAft>
              <a:buClrTx/>
              <a:buSzTx/>
              <a:buFontTx/>
              <a:buNone/>
              <a:tabLst/>
              <a:defRPr/>
            </a:pPr>
            <a:r>
              <a:rPr kumimoji="0" lang="en-US" sz="3200" b="1" i="0" u="none" strike="noStrike" kern="0" cap="none" spc="0" normalizeH="0" baseline="0" noProof="0" dirty="0">
                <a:ln>
                  <a:noFill/>
                </a:ln>
                <a:solidFill>
                  <a:srgbClr val="002060"/>
                </a:solidFill>
                <a:effectLst/>
                <a:uLnTx/>
                <a:uFillTx/>
                <a:latin typeface="Calibri" panose="020F0502020204030204" pitchFamily="34" charset="0"/>
                <a:ea typeface="+mj-ea"/>
                <a:cs typeface="Calibri" panose="020F0502020204030204" pitchFamily="34" charset="0"/>
              </a:rPr>
              <a:t>POLARGO: Safety data</a:t>
            </a:r>
            <a:endParaRPr kumimoji="0" lang="en-US" sz="2800" b="1" i="0" u="none" strike="noStrike" kern="0" cap="none" spc="-13" normalizeH="0" baseline="0" noProof="0" dirty="0">
              <a:ln>
                <a:noFill/>
              </a:ln>
              <a:solidFill>
                <a:srgbClr val="002060"/>
              </a:solidFill>
              <a:effectLst/>
              <a:uLnTx/>
              <a:uFillTx/>
              <a:latin typeface="Calibri" panose="020F0502020204030204" pitchFamily="34" charset="0"/>
              <a:ea typeface="+mj-ea"/>
              <a:cs typeface="Calibri" panose="020F0502020204030204" pitchFamily="34" charset="0"/>
            </a:endParaRPr>
          </a:p>
        </p:txBody>
      </p:sp>
      <p:sp>
        <p:nvSpPr>
          <p:cNvPr id="5" name="object 5">
            <a:extLst>
              <a:ext uri="{FF2B5EF4-FFF2-40B4-BE49-F238E27FC236}">
                <a16:creationId xmlns:a16="http://schemas.microsoft.com/office/drawing/2014/main" id="{101D7C39-D6C8-F703-1852-297BA08C8C5B}"/>
              </a:ext>
            </a:extLst>
          </p:cNvPr>
          <p:cNvSpPr txBox="1"/>
          <p:nvPr/>
        </p:nvSpPr>
        <p:spPr>
          <a:xfrm>
            <a:off x="4811713" y="6510925"/>
            <a:ext cx="7566659" cy="170560"/>
          </a:xfrm>
          <a:prstGeom prst="rect">
            <a:avLst/>
          </a:prstGeom>
        </p:spPr>
        <p:txBody>
          <a:bodyPr vert="horz" wrap="square" lIns="0" tIns="16510" rIns="0" bIns="0" rtlCol="0">
            <a:spAutoFit/>
          </a:bodyPr>
          <a:lstStyle/>
          <a:p>
            <a:pPr marL="50800" marR="436880" lvl="0" indent="0" algn="l" defTabSz="914400" rtl="0" eaLnBrk="1" fontAlgn="auto" latinLnBrk="0" hangingPunct="1">
              <a:lnSpc>
                <a:spcPct val="99900"/>
              </a:lnSpc>
              <a:spcBef>
                <a:spcPts val="130"/>
              </a:spcBef>
              <a:spcAft>
                <a:spcPts val="0"/>
              </a:spcAft>
              <a:buClrTx/>
              <a:buSzTx/>
              <a:buFontTx/>
              <a:buNone/>
              <a:tabLst/>
              <a:defRPr/>
            </a:pPr>
            <a:r>
              <a:rPr kumimoji="0"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atthew</a:t>
            </a:r>
            <a:r>
              <a:rPr kumimoji="0" sz="1000" b="0" i="0" u="none" strike="noStrike" kern="1200" cap="none" spc="-4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Matasar</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et al. </a:t>
            </a:r>
            <a:r>
              <a:rPr kumimoji="0"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esented</a:t>
            </a:r>
            <a:r>
              <a:rPr kumimoji="0" sz="1000" b="0" i="0" u="none" strike="noStrike" kern="1200" cap="none" spc="-2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a:t>
            </a:r>
            <a:r>
              <a:rPr kumimoji="0" sz="1000" b="0" i="0" u="none" strike="noStrike" kern="1200" cap="none" spc="-3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2025</a:t>
            </a:r>
            <a:r>
              <a:rPr kumimoji="0" sz="1000" b="0" i="0" u="none" strike="noStrike" kern="1200" cap="none" spc="-6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uropean</a:t>
            </a:r>
            <a:r>
              <a:rPr kumimoji="0" sz="1000" b="0" i="0" u="none" strike="noStrike" kern="1200" cap="none" spc="-6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ematology</a:t>
            </a:r>
            <a:r>
              <a:rPr kumimoji="0" sz="1000" b="0" i="0" u="none" strike="noStrike" kern="1200" cap="none" spc="-1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000" b="0" i="0" u="none" strike="noStrike" kern="1200" cap="none" spc="-1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ssociation</a:t>
            </a:r>
            <a:r>
              <a:rPr kumimoji="0" sz="1000" b="0" i="0" u="none" strike="noStrike" kern="1200" cap="none" spc="-6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HA)</a:t>
            </a:r>
            <a:r>
              <a:rPr kumimoji="0" sz="1000" b="0" i="0" u="none" strike="noStrike" kern="1200" cap="none" spc="-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nnual</a:t>
            </a:r>
            <a:r>
              <a:rPr kumimoji="0" sz="1000" b="0" i="0" u="none" strike="noStrike" kern="1200" cap="none" spc="2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eting |</a:t>
            </a:r>
            <a:r>
              <a:rPr kumimoji="0" sz="1000" b="0" i="0" u="none" strike="noStrike" kern="1200" cap="none" spc="-1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June 12–15,</a:t>
            </a:r>
            <a:r>
              <a:rPr kumimoji="0" sz="1000" b="0" i="0" u="none" strike="noStrike" kern="1200" cap="none" spc="-2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000" b="0" i="0" u="none" strike="noStrike" kern="1200" cap="none" spc="-2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025</a:t>
            </a:r>
            <a:endParaRPr kumimoji="0"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4953966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object 4"/>
          <p:cNvSpPr txBox="1"/>
          <p:nvPr/>
        </p:nvSpPr>
        <p:spPr>
          <a:xfrm>
            <a:off x="1583124" y="5095668"/>
            <a:ext cx="1069879" cy="261156"/>
          </a:xfrm>
          <a:prstGeom prst="rect">
            <a:avLst/>
          </a:prstGeom>
        </p:spPr>
        <p:txBody>
          <a:bodyPr vert="horz" wrap="square" lIns="0" tIns="18473" rIns="0" bIns="0" rtlCol="0">
            <a:spAutoFit/>
          </a:bodyPr>
          <a:lstStyle/>
          <a:p>
            <a:pPr marL="0" marR="0" lvl="0" indent="0" algn="l" defTabSz="806867" rtl="0" eaLnBrk="1" fontAlgn="auto" latinLnBrk="0" hangingPunct="1">
              <a:lnSpc>
                <a:spcPct val="100000"/>
              </a:lnSpc>
              <a:spcBef>
                <a:spcPts val="146"/>
              </a:spcBef>
              <a:spcAft>
                <a:spcPts val="0"/>
              </a:spcAft>
              <a:buClrTx/>
              <a:buSzTx/>
              <a:buFontTx/>
              <a:buNone/>
              <a:tabLst/>
              <a:defRPr/>
            </a:pPr>
            <a:r>
              <a:rPr kumimoji="0" sz="1576" b="1" i="0" u="none" strike="noStrike" kern="0" cap="none" spc="-121" normalizeH="0" baseline="0" noProof="0" dirty="0">
                <a:ln>
                  <a:noFill/>
                </a:ln>
                <a:solidFill>
                  <a:srgbClr val="19B0DD"/>
                </a:solidFill>
                <a:effectLst/>
                <a:uLnTx/>
                <a:uFillTx/>
                <a:latin typeface="Arial"/>
                <a:ea typeface="+mn-ea"/>
                <a:cs typeface="Arial"/>
              </a:rPr>
              <a:t>First</a:t>
            </a:r>
            <a:r>
              <a:rPr kumimoji="0" sz="1576" b="1" i="0" u="none" strike="noStrike" kern="0" cap="none" spc="-72" normalizeH="0" baseline="0" noProof="0" dirty="0">
                <a:ln>
                  <a:noFill/>
                </a:ln>
                <a:solidFill>
                  <a:srgbClr val="19B0DD"/>
                </a:solidFill>
                <a:effectLst/>
                <a:uLnTx/>
                <a:uFillTx/>
                <a:latin typeface="Arial"/>
                <a:ea typeface="+mn-ea"/>
                <a:cs typeface="Arial"/>
              </a:rPr>
              <a:t> </a:t>
            </a:r>
            <a:r>
              <a:rPr kumimoji="0" sz="1576" b="1" i="0" u="none" strike="noStrike" kern="0" cap="none" spc="-79" normalizeH="0" baseline="0" noProof="0" dirty="0">
                <a:ln>
                  <a:noFill/>
                </a:ln>
                <a:solidFill>
                  <a:srgbClr val="19B0DD"/>
                </a:solidFill>
                <a:effectLst/>
                <a:uLnTx/>
                <a:uFillTx/>
                <a:latin typeface="Arial"/>
                <a:ea typeface="+mn-ea"/>
                <a:cs typeface="Arial"/>
              </a:rPr>
              <a:t>2</a:t>
            </a:r>
            <a:r>
              <a:rPr kumimoji="0" sz="1576" b="1" i="0" u="none" strike="noStrike" kern="0" cap="none" spc="-72" normalizeH="0" baseline="0" noProof="0" dirty="0">
                <a:ln>
                  <a:noFill/>
                </a:ln>
                <a:solidFill>
                  <a:srgbClr val="19B0DD"/>
                </a:solidFill>
                <a:effectLst/>
                <a:uLnTx/>
                <a:uFillTx/>
                <a:latin typeface="Arial"/>
                <a:ea typeface="+mn-ea"/>
                <a:cs typeface="Arial"/>
              </a:rPr>
              <a:t> </a:t>
            </a:r>
            <a:r>
              <a:rPr kumimoji="0" sz="1576" b="1" i="0" u="none" strike="noStrike" kern="0" cap="none" spc="-146" normalizeH="0" baseline="0" noProof="0" dirty="0">
                <a:ln>
                  <a:noFill/>
                </a:ln>
                <a:solidFill>
                  <a:srgbClr val="19B0DD"/>
                </a:solidFill>
                <a:effectLst/>
                <a:uLnTx/>
                <a:uFillTx/>
                <a:latin typeface="Arial"/>
                <a:ea typeface="+mn-ea"/>
                <a:cs typeface="Arial"/>
              </a:rPr>
              <a:t>cycles</a:t>
            </a:r>
            <a:endParaRPr kumimoji="0" sz="1576" b="0" i="0" u="none" strike="noStrike" kern="0" cap="none" spc="0" normalizeH="0" baseline="0" noProof="0">
              <a:ln>
                <a:noFill/>
              </a:ln>
              <a:solidFill>
                <a:sysClr val="windowText" lastClr="000000"/>
              </a:solidFill>
              <a:effectLst/>
              <a:uLnTx/>
              <a:uFillTx/>
              <a:latin typeface="Arial"/>
              <a:ea typeface="+mn-ea"/>
              <a:cs typeface="Arial"/>
            </a:endParaRPr>
          </a:p>
        </p:txBody>
      </p:sp>
      <p:grpSp>
        <p:nvGrpSpPr>
          <p:cNvPr id="5" name="object 5"/>
          <p:cNvGrpSpPr/>
          <p:nvPr/>
        </p:nvGrpSpPr>
        <p:grpSpPr>
          <a:xfrm>
            <a:off x="1108902" y="4385623"/>
            <a:ext cx="5387879" cy="618836"/>
            <a:chOff x="914844" y="4500054"/>
            <a:chExt cx="4445000" cy="510540"/>
          </a:xfrm>
        </p:grpSpPr>
        <p:sp>
          <p:nvSpPr>
            <p:cNvPr id="6" name="object 6"/>
            <p:cNvSpPr/>
            <p:nvPr/>
          </p:nvSpPr>
          <p:spPr>
            <a:xfrm>
              <a:off x="922782" y="4508753"/>
              <a:ext cx="1483360" cy="281305"/>
            </a:xfrm>
            <a:custGeom>
              <a:avLst/>
              <a:gdLst/>
              <a:ahLst/>
              <a:cxnLst/>
              <a:rect l="l" t="t" r="r" b="b"/>
              <a:pathLst>
                <a:path w="1483360" h="281304">
                  <a:moveTo>
                    <a:pt x="1482852" y="234696"/>
                  </a:moveTo>
                  <a:lnTo>
                    <a:pt x="1482852" y="47244"/>
                  </a:lnTo>
                  <a:lnTo>
                    <a:pt x="1479113" y="28932"/>
                  </a:lnTo>
                  <a:lnTo>
                    <a:pt x="1468945" y="13906"/>
                  </a:lnTo>
                  <a:lnTo>
                    <a:pt x="1453919" y="3738"/>
                  </a:lnTo>
                  <a:lnTo>
                    <a:pt x="1435608" y="0"/>
                  </a:lnTo>
                  <a:lnTo>
                    <a:pt x="47243" y="0"/>
                  </a:lnTo>
                  <a:lnTo>
                    <a:pt x="28932" y="3738"/>
                  </a:lnTo>
                  <a:lnTo>
                    <a:pt x="13906" y="13906"/>
                  </a:lnTo>
                  <a:lnTo>
                    <a:pt x="3738" y="28932"/>
                  </a:lnTo>
                  <a:lnTo>
                    <a:pt x="0" y="47244"/>
                  </a:lnTo>
                  <a:lnTo>
                    <a:pt x="0" y="234696"/>
                  </a:lnTo>
                  <a:lnTo>
                    <a:pt x="3738" y="252888"/>
                  </a:lnTo>
                  <a:lnTo>
                    <a:pt x="13906" y="267652"/>
                  </a:lnTo>
                  <a:lnTo>
                    <a:pt x="28932" y="277558"/>
                  </a:lnTo>
                  <a:lnTo>
                    <a:pt x="47244" y="281178"/>
                  </a:lnTo>
                  <a:lnTo>
                    <a:pt x="1435608" y="281178"/>
                  </a:lnTo>
                  <a:lnTo>
                    <a:pt x="1453919" y="277558"/>
                  </a:lnTo>
                  <a:lnTo>
                    <a:pt x="1468945" y="267652"/>
                  </a:lnTo>
                  <a:lnTo>
                    <a:pt x="1479113" y="252888"/>
                  </a:lnTo>
                  <a:lnTo>
                    <a:pt x="1482852" y="234696"/>
                  </a:lnTo>
                  <a:close/>
                </a:path>
              </a:pathLst>
            </a:custGeom>
            <a:solidFill>
              <a:srgbClr val="19B0DD"/>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object 7"/>
            <p:cNvSpPr/>
            <p:nvPr/>
          </p:nvSpPr>
          <p:spPr>
            <a:xfrm>
              <a:off x="922782" y="4508753"/>
              <a:ext cx="1483360" cy="281305"/>
            </a:xfrm>
            <a:custGeom>
              <a:avLst/>
              <a:gdLst/>
              <a:ahLst/>
              <a:cxnLst/>
              <a:rect l="l" t="t" r="r" b="b"/>
              <a:pathLst>
                <a:path w="1483360" h="281304">
                  <a:moveTo>
                    <a:pt x="0" y="47244"/>
                  </a:moveTo>
                  <a:lnTo>
                    <a:pt x="28932" y="3738"/>
                  </a:lnTo>
                  <a:lnTo>
                    <a:pt x="1435608" y="0"/>
                  </a:lnTo>
                  <a:lnTo>
                    <a:pt x="1453919" y="3738"/>
                  </a:lnTo>
                  <a:lnTo>
                    <a:pt x="1468945" y="13906"/>
                  </a:lnTo>
                  <a:lnTo>
                    <a:pt x="1479113" y="28932"/>
                  </a:lnTo>
                  <a:lnTo>
                    <a:pt x="1482852" y="47244"/>
                  </a:lnTo>
                  <a:lnTo>
                    <a:pt x="1482852" y="234696"/>
                  </a:lnTo>
                  <a:lnTo>
                    <a:pt x="1453919" y="277558"/>
                  </a:lnTo>
                  <a:lnTo>
                    <a:pt x="47244" y="281178"/>
                  </a:lnTo>
                  <a:lnTo>
                    <a:pt x="28932" y="277558"/>
                  </a:lnTo>
                  <a:lnTo>
                    <a:pt x="13906" y="267652"/>
                  </a:lnTo>
                  <a:lnTo>
                    <a:pt x="3738" y="252888"/>
                  </a:lnTo>
                  <a:lnTo>
                    <a:pt x="0" y="234696"/>
                  </a:lnTo>
                  <a:lnTo>
                    <a:pt x="0" y="47244"/>
                  </a:lnTo>
                  <a:close/>
                </a:path>
              </a:pathLst>
            </a:custGeom>
            <a:ln w="15709">
              <a:solidFill>
                <a:srgbClr val="44546A"/>
              </a:solidFill>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 name="object 8"/>
            <p:cNvSpPr/>
            <p:nvPr/>
          </p:nvSpPr>
          <p:spPr>
            <a:xfrm>
              <a:off x="2557272" y="4507991"/>
              <a:ext cx="2794635" cy="502284"/>
            </a:xfrm>
            <a:custGeom>
              <a:avLst/>
              <a:gdLst/>
              <a:ahLst/>
              <a:cxnLst/>
              <a:rect l="l" t="t" r="r" b="b"/>
              <a:pathLst>
                <a:path w="2794635" h="502285">
                  <a:moveTo>
                    <a:pt x="2794254" y="409956"/>
                  </a:moveTo>
                  <a:lnTo>
                    <a:pt x="2702814" y="318516"/>
                  </a:lnTo>
                  <a:lnTo>
                    <a:pt x="2702814" y="364236"/>
                  </a:lnTo>
                  <a:lnTo>
                    <a:pt x="21336" y="364236"/>
                  </a:lnTo>
                  <a:lnTo>
                    <a:pt x="21336" y="455676"/>
                  </a:lnTo>
                  <a:lnTo>
                    <a:pt x="2702814" y="455676"/>
                  </a:lnTo>
                  <a:lnTo>
                    <a:pt x="2702814" y="502158"/>
                  </a:lnTo>
                  <a:lnTo>
                    <a:pt x="2794254" y="409956"/>
                  </a:lnTo>
                  <a:close/>
                </a:path>
                <a:path w="2794635" h="502285">
                  <a:moveTo>
                    <a:pt x="2794254" y="46482"/>
                  </a:moveTo>
                  <a:lnTo>
                    <a:pt x="2790634" y="28295"/>
                  </a:lnTo>
                  <a:lnTo>
                    <a:pt x="2780728" y="13525"/>
                  </a:lnTo>
                  <a:lnTo>
                    <a:pt x="2765958" y="3619"/>
                  </a:lnTo>
                  <a:lnTo>
                    <a:pt x="2747772" y="0"/>
                  </a:lnTo>
                  <a:lnTo>
                    <a:pt x="46482" y="0"/>
                  </a:lnTo>
                  <a:lnTo>
                    <a:pt x="28282" y="3619"/>
                  </a:lnTo>
                  <a:lnTo>
                    <a:pt x="13525" y="13525"/>
                  </a:lnTo>
                  <a:lnTo>
                    <a:pt x="3619" y="28295"/>
                  </a:lnTo>
                  <a:lnTo>
                    <a:pt x="0" y="46482"/>
                  </a:lnTo>
                  <a:lnTo>
                    <a:pt x="0" y="233934"/>
                  </a:lnTo>
                  <a:lnTo>
                    <a:pt x="3619" y="252247"/>
                  </a:lnTo>
                  <a:lnTo>
                    <a:pt x="13525" y="267271"/>
                  </a:lnTo>
                  <a:lnTo>
                    <a:pt x="28282" y="277444"/>
                  </a:lnTo>
                  <a:lnTo>
                    <a:pt x="46482" y="281178"/>
                  </a:lnTo>
                  <a:lnTo>
                    <a:pt x="2747772" y="281178"/>
                  </a:lnTo>
                  <a:lnTo>
                    <a:pt x="2765958" y="277444"/>
                  </a:lnTo>
                  <a:lnTo>
                    <a:pt x="2780728" y="267271"/>
                  </a:lnTo>
                  <a:lnTo>
                    <a:pt x="2790634" y="252247"/>
                  </a:lnTo>
                  <a:lnTo>
                    <a:pt x="2794254" y="233934"/>
                  </a:lnTo>
                  <a:lnTo>
                    <a:pt x="2794254" y="46482"/>
                  </a:lnTo>
                  <a:close/>
                </a:path>
              </a:pathLst>
            </a:custGeom>
            <a:solidFill>
              <a:srgbClr val="023CA6"/>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9" name="object 9"/>
            <p:cNvSpPr/>
            <p:nvPr/>
          </p:nvSpPr>
          <p:spPr>
            <a:xfrm>
              <a:off x="2557272" y="4507991"/>
              <a:ext cx="2794635" cy="281305"/>
            </a:xfrm>
            <a:custGeom>
              <a:avLst/>
              <a:gdLst/>
              <a:ahLst/>
              <a:cxnLst/>
              <a:rect l="l" t="t" r="r" b="b"/>
              <a:pathLst>
                <a:path w="2794635" h="281304">
                  <a:moveTo>
                    <a:pt x="0" y="46482"/>
                  </a:moveTo>
                  <a:lnTo>
                    <a:pt x="28289" y="3619"/>
                  </a:lnTo>
                  <a:lnTo>
                    <a:pt x="2747772" y="0"/>
                  </a:lnTo>
                  <a:lnTo>
                    <a:pt x="2765964" y="3619"/>
                  </a:lnTo>
                  <a:lnTo>
                    <a:pt x="2780728" y="13525"/>
                  </a:lnTo>
                  <a:lnTo>
                    <a:pt x="2790634" y="28289"/>
                  </a:lnTo>
                  <a:lnTo>
                    <a:pt x="2794254" y="46482"/>
                  </a:lnTo>
                  <a:lnTo>
                    <a:pt x="2794254" y="233934"/>
                  </a:lnTo>
                  <a:lnTo>
                    <a:pt x="2765964" y="277439"/>
                  </a:lnTo>
                  <a:lnTo>
                    <a:pt x="46482" y="281178"/>
                  </a:lnTo>
                  <a:lnTo>
                    <a:pt x="28289" y="277439"/>
                  </a:lnTo>
                  <a:lnTo>
                    <a:pt x="13525" y="267271"/>
                  </a:lnTo>
                  <a:lnTo>
                    <a:pt x="3619" y="252245"/>
                  </a:lnTo>
                  <a:lnTo>
                    <a:pt x="0" y="233934"/>
                  </a:lnTo>
                  <a:lnTo>
                    <a:pt x="0" y="46482"/>
                  </a:lnTo>
                  <a:close/>
                </a:path>
              </a:pathLst>
            </a:custGeom>
            <a:ln w="15709">
              <a:solidFill>
                <a:srgbClr val="44546A"/>
              </a:solidFill>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10" name="object 10"/>
          <p:cNvSpPr txBox="1"/>
          <p:nvPr/>
        </p:nvSpPr>
        <p:spPr>
          <a:xfrm>
            <a:off x="1546168" y="3754548"/>
            <a:ext cx="3922376" cy="926683"/>
          </a:xfrm>
          <a:prstGeom prst="rect">
            <a:avLst/>
          </a:prstGeom>
        </p:spPr>
        <p:txBody>
          <a:bodyPr vert="horz" wrap="square" lIns="0" tIns="14624" rIns="0" bIns="0" rtlCol="0">
            <a:spAutoFit/>
          </a:bodyPr>
          <a:lstStyle/>
          <a:p>
            <a:pPr marL="734310" marR="6157" lvl="0" indent="-160101" algn="l" defTabSz="806867" rtl="0" eaLnBrk="1" fontAlgn="auto" latinLnBrk="0" hangingPunct="1">
              <a:lnSpc>
                <a:spcPct val="101499"/>
              </a:lnSpc>
              <a:spcBef>
                <a:spcPts val="116"/>
              </a:spcBef>
              <a:spcAft>
                <a:spcPts val="0"/>
              </a:spcAft>
              <a:buClrTx/>
              <a:buSzTx/>
              <a:buFontTx/>
              <a:buNone/>
              <a:tabLst/>
              <a:defRPr/>
            </a:pPr>
            <a:r>
              <a:rPr kumimoji="0" sz="1576" b="1" i="0" u="none" strike="noStrike" kern="0" cap="none" spc="-188" normalizeH="0" baseline="0" noProof="0" dirty="0">
                <a:ln>
                  <a:noFill/>
                </a:ln>
                <a:solidFill>
                  <a:srgbClr val="3189C3"/>
                </a:solidFill>
                <a:effectLst/>
                <a:uLnTx/>
                <a:uFillTx/>
                <a:latin typeface="Arial"/>
                <a:ea typeface="+mn-ea"/>
                <a:cs typeface="Arial"/>
              </a:rPr>
              <a:t>Lonca</a:t>
            </a:r>
            <a:r>
              <a:rPr kumimoji="0" sz="1576" b="1" i="0" u="none" strike="noStrike" kern="0" cap="none" spc="-30" normalizeH="0" baseline="0" noProof="0" dirty="0">
                <a:ln>
                  <a:noFill/>
                </a:ln>
                <a:solidFill>
                  <a:srgbClr val="3189C3"/>
                </a:solidFill>
                <a:effectLst/>
                <a:uLnTx/>
                <a:uFillTx/>
                <a:latin typeface="Arial"/>
                <a:ea typeface="+mn-ea"/>
                <a:cs typeface="Arial"/>
              </a:rPr>
              <a:t> </a:t>
            </a:r>
            <a:r>
              <a:rPr kumimoji="0" sz="1576" b="1" i="0" u="none" strike="noStrike" kern="0" cap="none" spc="-61" normalizeH="0" baseline="0" noProof="0" dirty="0">
                <a:ln>
                  <a:noFill/>
                </a:ln>
                <a:solidFill>
                  <a:srgbClr val="3189C3"/>
                </a:solidFill>
                <a:effectLst/>
                <a:uLnTx/>
                <a:uFillTx/>
                <a:latin typeface="Arial"/>
                <a:ea typeface="+mn-ea"/>
                <a:cs typeface="Arial"/>
              </a:rPr>
              <a:t>(IV)</a:t>
            </a:r>
            <a:r>
              <a:rPr kumimoji="0" sz="1576" b="1" i="0" u="none" strike="noStrike" kern="0" cap="none" spc="-36" normalizeH="0" baseline="0" noProof="0" dirty="0">
                <a:ln>
                  <a:noFill/>
                </a:ln>
                <a:solidFill>
                  <a:srgbClr val="3189C3"/>
                </a:solidFill>
                <a:effectLst/>
                <a:uLnTx/>
                <a:uFillTx/>
                <a:latin typeface="Arial"/>
                <a:ea typeface="+mn-ea"/>
                <a:cs typeface="Arial"/>
              </a:rPr>
              <a:t> </a:t>
            </a:r>
            <a:r>
              <a:rPr kumimoji="0" sz="1576" b="1" i="0" u="none" strike="noStrike" kern="0" cap="none" spc="-133" normalizeH="0" baseline="0" noProof="0" dirty="0">
                <a:ln>
                  <a:noFill/>
                </a:ln>
                <a:solidFill>
                  <a:srgbClr val="3189C3"/>
                </a:solidFill>
                <a:effectLst/>
                <a:uLnTx/>
                <a:uFillTx/>
                <a:latin typeface="Arial"/>
                <a:ea typeface="+mn-ea"/>
                <a:cs typeface="Arial"/>
              </a:rPr>
              <a:t>was</a:t>
            </a:r>
            <a:r>
              <a:rPr kumimoji="0" sz="1576" b="1" i="0" u="none" strike="noStrike" kern="0" cap="none" spc="-55" normalizeH="0" baseline="0" noProof="0" dirty="0">
                <a:ln>
                  <a:noFill/>
                </a:ln>
                <a:solidFill>
                  <a:srgbClr val="3189C3"/>
                </a:solidFill>
                <a:effectLst/>
                <a:uLnTx/>
                <a:uFillTx/>
                <a:latin typeface="Arial"/>
                <a:ea typeface="+mn-ea"/>
                <a:cs typeface="Arial"/>
              </a:rPr>
              <a:t> </a:t>
            </a:r>
            <a:r>
              <a:rPr kumimoji="0" sz="1576" b="1" i="0" u="none" strike="noStrike" kern="0" cap="none" spc="-103" normalizeH="0" baseline="0" noProof="0" dirty="0">
                <a:ln>
                  <a:noFill/>
                </a:ln>
                <a:solidFill>
                  <a:srgbClr val="3189C3"/>
                </a:solidFill>
                <a:effectLst/>
                <a:uLnTx/>
                <a:uFillTx/>
                <a:latin typeface="Arial"/>
                <a:ea typeface="+mn-ea"/>
                <a:cs typeface="Arial"/>
              </a:rPr>
              <a:t>administered</a:t>
            </a:r>
            <a:r>
              <a:rPr kumimoji="0" sz="1576" b="1" i="0" u="none" strike="noStrike" kern="0" cap="none" spc="-49" normalizeH="0" baseline="0" noProof="0" dirty="0">
                <a:ln>
                  <a:noFill/>
                </a:ln>
                <a:solidFill>
                  <a:srgbClr val="3189C3"/>
                </a:solidFill>
                <a:effectLst/>
                <a:uLnTx/>
                <a:uFillTx/>
                <a:latin typeface="Arial"/>
                <a:ea typeface="+mn-ea"/>
                <a:cs typeface="Arial"/>
              </a:rPr>
              <a:t> </a:t>
            </a:r>
            <a:r>
              <a:rPr kumimoji="0" sz="1576" b="1" i="0" u="none" strike="noStrike" kern="0" cap="none" spc="-176" normalizeH="0" baseline="0" noProof="0" dirty="0">
                <a:ln>
                  <a:noFill/>
                </a:ln>
                <a:solidFill>
                  <a:srgbClr val="3189C3"/>
                </a:solidFill>
                <a:effectLst/>
                <a:uLnTx/>
                <a:uFillTx/>
                <a:latin typeface="Arial"/>
                <a:ea typeface="+mn-ea"/>
                <a:cs typeface="Arial"/>
              </a:rPr>
              <a:t>as</a:t>
            </a:r>
            <a:r>
              <a:rPr kumimoji="0" sz="1576" b="1" i="0" u="none" strike="noStrike" kern="0" cap="none" spc="-55" normalizeH="0" baseline="0" noProof="0" dirty="0">
                <a:ln>
                  <a:noFill/>
                </a:ln>
                <a:solidFill>
                  <a:srgbClr val="3189C3"/>
                </a:solidFill>
                <a:effectLst/>
                <a:uLnTx/>
                <a:uFillTx/>
                <a:latin typeface="Arial"/>
                <a:ea typeface="+mn-ea"/>
                <a:cs typeface="Arial"/>
              </a:rPr>
              <a:t> </a:t>
            </a:r>
            <a:r>
              <a:rPr kumimoji="0" sz="1576" b="1" i="0" u="none" strike="noStrike" kern="0" cap="none" spc="-103" normalizeH="0" baseline="0" noProof="0" dirty="0">
                <a:ln>
                  <a:noFill/>
                </a:ln>
                <a:solidFill>
                  <a:srgbClr val="3189C3"/>
                </a:solidFill>
                <a:effectLst/>
                <a:uLnTx/>
                <a:uFillTx/>
                <a:latin typeface="Arial"/>
                <a:ea typeface="+mn-ea"/>
                <a:cs typeface="Arial"/>
              </a:rPr>
              <a:t>a</a:t>
            </a:r>
            <a:r>
              <a:rPr kumimoji="0" sz="1576" b="1" i="0" u="none" strike="noStrike" kern="0" cap="none" spc="-30" normalizeH="0" baseline="0" noProof="0" dirty="0">
                <a:ln>
                  <a:noFill/>
                </a:ln>
                <a:solidFill>
                  <a:srgbClr val="3189C3"/>
                </a:solidFill>
                <a:effectLst/>
                <a:uLnTx/>
                <a:uFillTx/>
                <a:latin typeface="Arial"/>
                <a:ea typeface="+mn-ea"/>
                <a:cs typeface="Arial"/>
              </a:rPr>
              <a:t> </a:t>
            </a:r>
            <a:r>
              <a:rPr kumimoji="0" sz="1576" b="1" i="0" u="none" strike="noStrike" kern="0" cap="none" spc="-97" normalizeH="0" baseline="0" noProof="0" dirty="0">
                <a:ln>
                  <a:noFill/>
                </a:ln>
                <a:solidFill>
                  <a:srgbClr val="3189C3"/>
                </a:solidFill>
                <a:effectLst/>
                <a:uLnTx/>
                <a:uFillTx/>
                <a:latin typeface="Arial"/>
                <a:ea typeface="+mn-ea"/>
                <a:cs typeface="Arial"/>
              </a:rPr>
              <a:t>single, </a:t>
            </a:r>
            <a:r>
              <a:rPr kumimoji="0" sz="1576" b="1" i="0" u="none" strike="noStrike" kern="0" cap="none" spc="-72" normalizeH="0" baseline="0" noProof="0" dirty="0">
                <a:ln>
                  <a:noFill/>
                </a:ln>
                <a:solidFill>
                  <a:srgbClr val="3189C3"/>
                </a:solidFill>
                <a:effectLst/>
                <a:uLnTx/>
                <a:uFillTx/>
                <a:latin typeface="Arial"/>
                <a:ea typeface="+mn-ea"/>
                <a:cs typeface="Arial"/>
              </a:rPr>
              <a:t>30-</a:t>
            </a:r>
            <a:r>
              <a:rPr kumimoji="0" sz="1576" b="1" i="0" u="none" strike="noStrike" kern="0" cap="none" spc="-79" normalizeH="0" baseline="0" noProof="0" dirty="0">
                <a:ln>
                  <a:noFill/>
                </a:ln>
                <a:solidFill>
                  <a:srgbClr val="3189C3"/>
                </a:solidFill>
                <a:effectLst/>
                <a:uLnTx/>
                <a:uFillTx/>
                <a:latin typeface="Arial"/>
                <a:ea typeface="+mn-ea"/>
                <a:cs typeface="Arial"/>
              </a:rPr>
              <a:t>minute</a:t>
            </a:r>
            <a:r>
              <a:rPr kumimoji="0" sz="1576" b="1" i="0" u="none" strike="noStrike" kern="0" cap="none" spc="-49" normalizeH="0" baseline="0" noProof="0" dirty="0">
                <a:ln>
                  <a:noFill/>
                </a:ln>
                <a:solidFill>
                  <a:srgbClr val="3189C3"/>
                </a:solidFill>
                <a:effectLst/>
                <a:uLnTx/>
                <a:uFillTx/>
                <a:latin typeface="Arial"/>
                <a:ea typeface="+mn-ea"/>
                <a:cs typeface="Arial"/>
              </a:rPr>
              <a:t> </a:t>
            </a:r>
            <a:r>
              <a:rPr kumimoji="0" sz="1576" b="1" i="0" u="none" strike="noStrike" kern="0" cap="none" spc="-72" normalizeH="0" baseline="0" noProof="0" dirty="0">
                <a:ln>
                  <a:noFill/>
                </a:ln>
                <a:solidFill>
                  <a:srgbClr val="3189C3"/>
                </a:solidFill>
                <a:effectLst/>
                <a:uLnTx/>
                <a:uFillTx/>
                <a:latin typeface="Arial"/>
                <a:ea typeface="+mn-ea"/>
                <a:cs typeface="Arial"/>
              </a:rPr>
              <a:t>outpatient</a:t>
            </a:r>
            <a:r>
              <a:rPr kumimoji="0" sz="1576" b="1" i="0" u="none" strike="noStrike" kern="0" cap="none" spc="-42" normalizeH="0" baseline="0" noProof="0" dirty="0">
                <a:ln>
                  <a:noFill/>
                </a:ln>
                <a:solidFill>
                  <a:srgbClr val="3189C3"/>
                </a:solidFill>
                <a:effectLst/>
                <a:uLnTx/>
                <a:uFillTx/>
                <a:latin typeface="Arial"/>
                <a:ea typeface="+mn-ea"/>
                <a:cs typeface="Arial"/>
              </a:rPr>
              <a:t> </a:t>
            </a:r>
            <a:r>
              <a:rPr kumimoji="0" sz="1576" b="1" i="0" u="none" strike="noStrike" kern="0" cap="none" spc="-103" normalizeH="0" baseline="0" noProof="0" dirty="0">
                <a:ln>
                  <a:noFill/>
                </a:ln>
                <a:solidFill>
                  <a:srgbClr val="3189C3"/>
                </a:solidFill>
                <a:effectLst/>
                <a:uLnTx/>
                <a:uFillTx/>
                <a:latin typeface="Arial"/>
                <a:ea typeface="+mn-ea"/>
                <a:cs typeface="Arial"/>
              </a:rPr>
              <a:t>infusion</a:t>
            </a:r>
            <a:r>
              <a:rPr kumimoji="0" sz="1576" b="1" i="0" u="none" strike="noStrike" kern="0" cap="none" spc="-24" normalizeH="0" baseline="0" noProof="0" dirty="0">
                <a:ln>
                  <a:noFill/>
                </a:ln>
                <a:solidFill>
                  <a:srgbClr val="3189C3"/>
                </a:solidFill>
                <a:effectLst/>
                <a:uLnTx/>
                <a:uFillTx/>
                <a:latin typeface="Arial"/>
                <a:ea typeface="+mn-ea"/>
                <a:cs typeface="Arial"/>
              </a:rPr>
              <a:t> </a:t>
            </a:r>
            <a:r>
              <a:rPr kumimoji="0" sz="1576" b="1" i="0" u="none" strike="noStrike" kern="0" cap="none" spc="-30" normalizeH="0" baseline="0" noProof="0" dirty="0">
                <a:ln>
                  <a:noFill/>
                </a:ln>
                <a:solidFill>
                  <a:srgbClr val="3189C3"/>
                </a:solidFill>
                <a:effectLst/>
                <a:uLnTx/>
                <a:uFillTx/>
                <a:latin typeface="Arial"/>
                <a:ea typeface="+mn-ea"/>
                <a:cs typeface="Arial"/>
              </a:rPr>
              <a:t>Q3W</a:t>
            </a:r>
            <a:endParaRPr kumimoji="0" sz="1576" b="0" i="0" u="none" strike="noStrike" kern="0" cap="none" spc="0" normalizeH="0" baseline="0" noProof="0">
              <a:ln>
                <a:noFill/>
              </a:ln>
              <a:solidFill>
                <a:sysClr val="windowText" lastClr="000000"/>
              </a:solidFill>
              <a:effectLst/>
              <a:uLnTx/>
              <a:uFillTx/>
              <a:latin typeface="Arial"/>
              <a:ea typeface="+mn-ea"/>
              <a:cs typeface="Arial"/>
            </a:endParaRPr>
          </a:p>
          <a:p>
            <a:pPr marL="0" marR="0" lvl="0" indent="0" algn="l" defTabSz="806867" rtl="0" eaLnBrk="1" fontAlgn="auto" latinLnBrk="0" hangingPunct="1">
              <a:lnSpc>
                <a:spcPct val="100000"/>
              </a:lnSpc>
              <a:spcBef>
                <a:spcPts val="1394"/>
              </a:spcBef>
              <a:spcAft>
                <a:spcPts val="0"/>
              </a:spcAft>
              <a:buClrTx/>
              <a:buSzTx/>
              <a:buFontTx/>
              <a:buNone/>
              <a:tabLst>
                <a:tab pos="2714792" algn="l"/>
              </a:tabLst>
              <a:defRPr/>
            </a:pPr>
            <a:r>
              <a:rPr kumimoji="0" sz="1576" b="1" i="0" u="none" strike="noStrike" kern="0" cap="none" spc="-67" normalizeH="0" baseline="0" noProof="0" dirty="0">
                <a:ln>
                  <a:noFill/>
                </a:ln>
                <a:solidFill>
                  <a:srgbClr val="FFFFFF"/>
                </a:solidFill>
                <a:effectLst/>
                <a:uLnTx/>
                <a:uFillTx/>
                <a:latin typeface="Arial"/>
                <a:ea typeface="+mn-ea"/>
                <a:cs typeface="Arial"/>
              </a:rPr>
              <a:t>0.15</a:t>
            </a:r>
            <a:r>
              <a:rPr kumimoji="0" sz="1576" b="1" i="0" u="none" strike="noStrike" kern="0" cap="none" spc="-72" normalizeH="0" baseline="0" noProof="0" dirty="0">
                <a:ln>
                  <a:noFill/>
                </a:ln>
                <a:solidFill>
                  <a:srgbClr val="FFFFFF"/>
                </a:solidFill>
                <a:effectLst/>
                <a:uLnTx/>
                <a:uFillTx/>
                <a:latin typeface="Arial"/>
                <a:ea typeface="+mn-ea"/>
                <a:cs typeface="Arial"/>
              </a:rPr>
              <a:t> </a:t>
            </a:r>
            <a:r>
              <a:rPr kumimoji="0" sz="1576" b="1" i="0" u="none" strike="noStrike" kern="0" cap="none" spc="-12" normalizeH="0" baseline="0" noProof="0" dirty="0">
                <a:ln>
                  <a:noFill/>
                </a:ln>
                <a:solidFill>
                  <a:srgbClr val="FFFFFF"/>
                </a:solidFill>
                <a:effectLst/>
                <a:uLnTx/>
                <a:uFillTx/>
                <a:latin typeface="Arial"/>
                <a:ea typeface="+mn-ea"/>
                <a:cs typeface="Arial"/>
              </a:rPr>
              <a:t>mg/kg</a:t>
            </a:r>
            <a:r>
              <a:rPr kumimoji="0" sz="1576" b="1" i="0" u="none" strike="noStrike" kern="0" cap="none" spc="0" normalizeH="0" baseline="0" noProof="0" dirty="0">
                <a:ln>
                  <a:noFill/>
                </a:ln>
                <a:solidFill>
                  <a:srgbClr val="FFFFFF"/>
                </a:solidFill>
                <a:effectLst/>
                <a:uLnTx/>
                <a:uFillTx/>
                <a:latin typeface="Arial"/>
                <a:ea typeface="+mn-ea"/>
                <a:cs typeface="Arial"/>
              </a:rPr>
              <a:t>	</a:t>
            </a:r>
            <a:r>
              <a:rPr kumimoji="0" sz="1576" b="1" i="0" u="none" strike="noStrike" kern="0" cap="none" spc="-67" normalizeH="0" baseline="0" noProof="0" dirty="0">
                <a:ln>
                  <a:noFill/>
                </a:ln>
                <a:solidFill>
                  <a:srgbClr val="FFFFFF"/>
                </a:solidFill>
                <a:effectLst/>
                <a:uLnTx/>
                <a:uFillTx/>
                <a:latin typeface="Arial"/>
                <a:ea typeface="+mn-ea"/>
                <a:cs typeface="Arial"/>
              </a:rPr>
              <a:t>0.075</a:t>
            </a:r>
            <a:r>
              <a:rPr kumimoji="0" sz="1576" b="1" i="0" u="none" strike="noStrike" kern="0" cap="none" spc="-79" normalizeH="0" baseline="0" noProof="0" dirty="0">
                <a:ln>
                  <a:noFill/>
                </a:ln>
                <a:solidFill>
                  <a:srgbClr val="FFFFFF"/>
                </a:solidFill>
                <a:effectLst/>
                <a:uLnTx/>
                <a:uFillTx/>
                <a:latin typeface="Arial"/>
                <a:ea typeface="+mn-ea"/>
                <a:cs typeface="Arial"/>
              </a:rPr>
              <a:t> </a:t>
            </a:r>
            <a:r>
              <a:rPr kumimoji="0" sz="1576" b="1" i="0" u="none" strike="noStrike" kern="0" cap="none" spc="-24" normalizeH="0" baseline="0" noProof="0" dirty="0">
                <a:ln>
                  <a:noFill/>
                </a:ln>
                <a:solidFill>
                  <a:srgbClr val="FFFFFF"/>
                </a:solidFill>
                <a:effectLst/>
                <a:uLnTx/>
                <a:uFillTx/>
                <a:latin typeface="Arial"/>
                <a:ea typeface="+mn-ea"/>
                <a:cs typeface="Arial"/>
              </a:rPr>
              <a:t>mg/kg</a:t>
            </a:r>
            <a:endParaRPr kumimoji="0" sz="1576" b="0" i="0" u="none" strike="noStrike" kern="0" cap="none" spc="0" normalizeH="0" baseline="0" noProof="0">
              <a:ln>
                <a:noFill/>
              </a:ln>
              <a:solidFill>
                <a:sysClr val="windowText" lastClr="000000"/>
              </a:solidFill>
              <a:effectLst/>
              <a:uLnTx/>
              <a:uFillTx/>
              <a:latin typeface="Arial"/>
              <a:ea typeface="+mn-ea"/>
              <a:cs typeface="Arial"/>
            </a:endParaRPr>
          </a:p>
        </p:txBody>
      </p:sp>
      <p:graphicFrame>
        <p:nvGraphicFramePr>
          <p:cNvPr id="11" name="object 11"/>
          <p:cNvGraphicFramePr>
            <a:graphicFrameLocks noGrp="1"/>
          </p:cNvGraphicFramePr>
          <p:nvPr/>
        </p:nvGraphicFramePr>
        <p:xfrm>
          <a:off x="846166" y="1659433"/>
          <a:ext cx="10973568" cy="1905769"/>
        </p:xfrm>
        <a:graphic>
          <a:graphicData uri="http://schemas.openxmlformats.org/drawingml/2006/table">
            <a:tbl>
              <a:tblPr firstRow="1" bandRow="1">
                <a:tableStyleId>{2D5ABB26-0587-4C30-8999-92F81FD0307C}</a:tableStyleId>
              </a:tblPr>
              <a:tblGrid>
                <a:gridCol w="5814291">
                  <a:extLst>
                    <a:ext uri="{9D8B030D-6E8A-4147-A177-3AD203B41FA5}">
                      <a16:colId xmlns:a16="http://schemas.microsoft.com/office/drawing/2014/main" val="20000"/>
                    </a:ext>
                  </a:extLst>
                </a:gridCol>
                <a:gridCol w="5159277">
                  <a:extLst>
                    <a:ext uri="{9D8B030D-6E8A-4147-A177-3AD203B41FA5}">
                      <a16:colId xmlns:a16="http://schemas.microsoft.com/office/drawing/2014/main" val="20001"/>
                    </a:ext>
                  </a:extLst>
                </a:gridCol>
              </a:tblGrid>
              <a:tr h="369454">
                <a:tc gridSpan="2">
                  <a:txBody>
                    <a:bodyPr/>
                    <a:lstStyle/>
                    <a:p>
                      <a:pPr marR="3810" algn="ctr">
                        <a:lnSpc>
                          <a:spcPct val="100000"/>
                        </a:lnSpc>
                        <a:spcBef>
                          <a:spcPts val="235"/>
                        </a:spcBef>
                      </a:pPr>
                      <a:r>
                        <a:rPr sz="1800" b="1" spc="0" baseline="0" dirty="0">
                          <a:solidFill>
                            <a:srgbClr val="FFFFFF"/>
                          </a:solidFill>
                          <a:latin typeface="Arial"/>
                          <a:cs typeface="Arial"/>
                        </a:rPr>
                        <a:t>LOTIS-2 (NCT03589469): a multicenter, open-label, single-arm, phase 2 study</a:t>
                      </a:r>
                      <a:endParaRPr sz="1800" spc="0" baseline="0" dirty="0">
                        <a:latin typeface="Arial"/>
                        <a:cs typeface="Arial"/>
                      </a:endParaRPr>
                    </a:p>
                  </a:txBody>
                  <a:tcPr marL="0" marR="0" marT="36176" marB="0">
                    <a:solidFill>
                      <a:srgbClr val="023CA6"/>
                    </a:solidFill>
                  </a:tcPr>
                </a:tc>
                <a:tc hMerge="1">
                  <a:txBody>
                    <a:bodyPr/>
                    <a:lstStyle/>
                    <a:p>
                      <a:endParaRPr/>
                    </a:p>
                  </a:txBody>
                  <a:tcPr marL="0" marR="0" marT="0" marB="0"/>
                </a:tc>
                <a:extLst>
                  <a:ext uri="{0D108BD9-81ED-4DB2-BD59-A6C34878D82A}">
                    <a16:rowId xmlns:a16="http://schemas.microsoft.com/office/drawing/2014/main" val="10000"/>
                  </a:ext>
                </a:extLst>
              </a:tr>
              <a:tr h="1536315">
                <a:tc>
                  <a:txBody>
                    <a:bodyPr/>
                    <a:lstStyle/>
                    <a:p>
                      <a:pPr marL="41275" algn="ctr">
                        <a:lnSpc>
                          <a:spcPct val="100000"/>
                        </a:lnSpc>
                        <a:spcBef>
                          <a:spcPts val="1280"/>
                        </a:spcBef>
                      </a:pPr>
                      <a:r>
                        <a:rPr sz="1600" b="1" spc="-60" dirty="0">
                          <a:solidFill>
                            <a:srgbClr val="023CA6"/>
                          </a:solidFill>
                          <a:latin typeface="Arial"/>
                          <a:cs typeface="Arial"/>
                        </a:rPr>
                        <a:t>Patient</a:t>
                      </a:r>
                      <a:r>
                        <a:rPr sz="1600" b="1" spc="-55" dirty="0">
                          <a:solidFill>
                            <a:srgbClr val="023CA6"/>
                          </a:solidFill>
                          <a:latin typeface="Arial"/>
                          <a:cs typeface="Arial"/>
                        </a:rPr>
                        <a:t> </a:t>
                      </a:r>
                      <a:r>
                        <a:rPr sz="1600" b="1" spc="-10" dirty="0">
                          <a:solidFill>
                            <a:srgbClr val="023CA6"/>
                          </a:solidFill>
                          <a:latin typeface="Arial"/>
                          <a:cs typeface="Arial"/>
                        </a:rPr>
                        <a:t>population</a:t>
                      </a:r>
                      <a:endParaRPr sz="1600" dirty="0">
                        <a:latin typeface="Arial"/>
                        <a:cs typeface="Arial"/>
                      </a:endParaRPr>
                    </a:p>
                    <a:p>
                      <a:pPr marL="40640" algn="ctr">
                        <a:lnSpc>
                          <a:spcPct val="100000"/>
                        </a:lnSpc>
                        <a:spcBef>
                          <a:spcPts val="165"/>
                        </a:spcBef>
                      </a:pPr>
                      <a:r>
                        <a:rPr sz="1400" spc="-95" dirty="0">
                          <a:solidFill>
                            <a:srgbClr val="2A2B2C"/>
                          </a:solidFill>
                          <a:latin typeface="Arial"/>
                          <a:cs typeface="Arial"/>
                        </a:rPr>
                        <a:t>R/R</a:t>
                      </a:r>
                      <a:r>
                        <a:rPr sz="1400" spc="-45" dirty="0">
                          <a:solidFill>
                            <a:srgbClr val="2A2B2C"/>
                          </a:solidFill>
                          <a:latin typeface="Arial"/>
                          <a:cs typeface="Arial"/>
                        </a:rPr>
                        <a:t> </a:t>
                      </a:r>
                      <a:r>
                        <a:rPr sz="1400" spc="-145" dirty="0">
                          <a:solidFill>
                            <a:srgbClr val="2A2B2C"/>
                          </a:solidFill>
                          <a:latin typeface="Arial"/>
                          <a:cs typeface="Arial"/>
                        </a:rPr>
                        <a:t>DLBCL</a:t>
                      </a:r>
                      <a:r>
                        <a:rPr sz="1300" spc="-217" baseline="25925" dirty="0">
                          <a:solidFill>
                            <a:srgbClr val="2A2B2C"/>
                          </a:solidFill>
                          <a:latin typeface="Arial"/>
                          <a:cs typeface="Arial"/>
                        </a:rPr>
                        <a:t>a</a:t>
                      </a:r>
                      <a:r>
                        <a:rPr sz="1300" spc="104" baseline="25925" dirty="0">
                          <a:solidFill>
                            <a:srgbClr val="2A2B2C"/>
                          </a:solidFill>
                          <a:latin typeface="Arial"/>
                          <a:cs typeface="Arial"/>
                        </a:rPr>
                        <a:t> </a:t>
                      </a:r>
                      <a:r>
                        <a:rPr sz="1400" spc="-20" dirty="0">
                          <a:solidFill>
                            <a:srgbClr val="2A2B2C"/>
                          </a:solidFill>
                          <a:latin typeface="Arial"/>
                          <a:cs typeface="Arial"/>
                        </a:rPr>
                        <a:t>after</a:t>
                      </a:r>
                      <a:r>
                        <a:rPr sz="1400" spc="-35" dirty="0">
                          <a:solidFill>
                            <a:srgbClr val="2A2B2C"/>
                          </a:solidFill>
                          <a:latin typeface="Arial"/>
                          <a:cs typeface="Arial"/>
                        </a:rPr>
                        <a:t> </a:t>
                      </a:r>
                      <a:r>
                        <a:rPr sz="1400" spc="-60" dirty="0">
                          <a:solidFill>
                            <a:srgbClr val="2A2B2C"/>
                          </a:solidFill>
                          <a:latin typeface="Arial"/>
                          <a:cs typeface="Arial"/>
                        </a:rPr>
                        <a:t>≥2</a:t>
                      </a:r>
                      <a:r>
                        <a:rPr sz="1400" spc="-35" dirty="0">
                          <a:solidFill>
                            <a:srgbClr val="2A2B2C"/>
                          </a:solidFill>
                          <a:latin typeface="Arial"/>
                          <a:cs typeface="Arial"/>
                        </a:rPr>
                        <a:t> </a:t>
                      </a:r>
                      <a:r>
                        <a:rPr sz="1400" spc="-10" dirty="0">
                          <a:solidFill>
                            <a:srgbClr val="2A2B2C"/>
                          </a:solidFill>
                          <a:latin typeface="Arial"/>
                          <a:cs typeface="Arial"/>
                        </a:rPr>
                        <a:t>prior</a:t>
                      </a:r>
                      <a:r>
                        <a:rPr sz="1400" spc="-30" dirty="0">
                          <a:solidFill>
                            <a:srgbClr val="2A2B2C"/>
                          </a:solidFill>
                          <a:latin typeface="Arial"/>
                          <a:cs typeface="Arial"/>
                        </a:rPr>
                        <a:t> </a:t>
                      </a:r>
                      <a:r>
                        <a:rPr sz="1400" spc="-50" dirty="0">
                          <a:solidFill>
                            <a:srgbClr val="2A2B2C"/>
                          </a:solidFill>
                          <a:latin typeface="Arial"/>
                          <a:cs typeface="Arial"/>
                        </a:rPr>
                        <a:t>lines</a:t>
                      </a:r>
                      <a:r>
                        <a:rPr sz="1400" spc="-20" dirty="0">
                          <a:solidFill>
                            <a:srgbClr val="2A2B2C"/>
                          </a:solidFill>
                          <a:latin typeface="Arial"/>
                          <a:cs typeface="Arial"/>
                        </a:rPr>
                        <a:t> </a:t>
                      </a:r>
                      <a:r>
                        <a:rPr sz="1400" dirty="0">
                          <a:solidFill>
                            <a:srgbClr val="2A2B2C"/>
                          </a:solidFill>
                          <a:latin typeface="Arial"/>
                          <a:cs typeface="Arial"/>
                        </a:rPr>
                        <a:t>of</a:t>
                      </a:r>
                      <a:r>
                        <a:rPr sz="1400" spc="-45" dirty="0">
                          <a:solidFill>
                            <a:srgbClr val="2A2B2C"/>
                          </a:solidFill>
                          <a:latin typeface="Arial"/>
                          <a:cs typeface="Arial"/>
                        </a:rPr>
                        <a:t> </a:t>
                      </a:r>
                      <a:r>
                        <a:rPr sz="1400" spc="-60" dirty="0">
                          <a:solidFill>
                            <a:srgbClr val="2A2B2C"/>
                          </a:solidFill>
                          <a:latin typeface="Arial"/>
                          <a:cs typeface="Arial"/>
                        </a:rPr>
                        <a:t>systemic</a:t>
                      </a:r>
                      <a:r>
                        <a:rPr sz="1400" spc="-40" dirty="0">
                          <a:solidFill>
                            <a:srgbClr val="2A2B2C"/>
                          </a:solidFill>
                          <a:latin typeface="Arial"/>
                          <a:cs typeface="Arial"/>
                        </a:rPr>
                        <a:t> therapy,</a:t>
                      </a:r>
                      <a:r>
                        <a:rPr sz="1400" spc="-15" dirty="0">
                          <a:solidFill>
                            <a:srgbClr val="2A2B2C"/>
                          </a:solidFill>
                          <a:latin typeface="Arial"/>
                          <a:cs typeface="Arial"/>
                        </a:rPr>
                        <a:t> </a:t>
                      </a:r>
                      <a:r>
                        <a:rPr sz="1400" spc="-40" dirty="0">
                          <a:solidFill>
                            <a:srgbClr val="2A2B2C"/>
                          </a:solidFill>
                          <a:latin typeface="Arial"/>
                          <a:cs typeface="Arial"/>
                        </a:rPr>
                        <a:t>including</a:t>
                      </a:r>
                      <a:r>
                        <a:rPr sz="1400" spc="-20" dirty="0">
                          <a:solidFill>
                            <a:srgbClr val="2A2B2C"/>
                          </a:solidFill>
                          <a:latin typeface="Arial"/>
                          <a:cs typeface="Arial"/>
                        </a:rPr>
                        <a:t> the</a:t>
                      </a:r>
                      <a:r>
                        <a:rPr sz="1400" spc="-30" dirty="0">
                          <a:solidFill>
                            <a:srgbClr val="2A2B2C"/>
                          </a:solidFill>
                          <a:latin typeface="Arial"/>
                          <a:cs typeface="Arial"/>
                        </a:rPr>
                        <a:t> </a:t>
                      </a:r>
                      <a:r>
                        <a:rPr sz="1400" spc="-10" dirty="0">
                          <a:solidFill>
                            <a:srgbClr val="2A2B2C"/>
                          </a:solidFill>
                          <a:latin typeface="Arial"/>
                          <a:cs typeface="Arial"/>
                        </a:rPr>
                        <a:t>following:</a:t>
                      </a:r>
                      <a:endParaRPr sz="1400" dirty="0">
                        <a:latin typeface="Arial"/>
                        <a:cs typeface="Arial"/>
                      </a:endParaRPr>
                    </a:p>
                    <a:p>
                      <a:pPr marL="880110" indent="-144145">
                        <a:lnSpc>
                          <a:spcPct val="100000"/>
                        </a:lnSpc>
                        <a:spcBef>
                          <a:spcPts val="145"/>
                        </a:spcBef>
                        <a:buClr>
                          <a:srgbClr val="19B0DD"/>
                        </a:buClr>
                        <a:buChar char="•"/>
                        <a:tabLst>
                          <a:tab pos="880110" algn="l"/>
                        </a:tabLst>
                      </a:pPr>
                      <a:r>
                        <a:rPr sz="1400" spc="-160" dirty="0">
                          <a:solidFill>
                            <a:srgbClr val="2A2B2C"/>
                          </a:solidFill>
                          <a:latin typeface="Arial"/>
                          <a:cs typeface="Arial"/>
                        </a:rPr>
                        <a:t>DLBCL</a:t>
                      </a:r>
                      <a:r>
                        <a:rPr sz="1400" spc="-45" dirty="0">
                          <a:solidFill>
                            <a:srgbClr val="2A2B2C"/>
                          </a:solidFill>
                          <a:latin typeface="Arial"/>
                          <a:cs typeface="Arial"/>
                        </a:rPr>
                        <a:t> </a:t>
                      </a:r>
                      <a:r>
                        <a:rPr sz="1400" spc="-25" dirty="0">
                          <a:solidFill>
                            <a:srgbClr val="2A2B2C"/>
                          </a:solidFill>
                          <a:latin typeface="Arial"/>
                          <a:cs typeface="Arial"/>
                        </a:rPr>
                        <a:t>NOS</a:t>
                      </a:r>
                      <a:endParaRPr sz="1400" dirty="0">
                        <a:latin typeface="Arial"/>
                        <a:cs typeface="Arial"/>
                      </a:endParaRPr>
                    </a:p>
                    <a:p>
                      <a:pPr marL="880110" indent="-144145">
                        <a:lnSpc>
                          <a:spcPct val="100000"/>
                        </a:lnSpc>
                        <a:spcBef>
                          <a:spcPts val="145"/>
                        </a:spcBef>
                        <a:buClr>
                          <a:srgbClr val="19B0DD"/>
                        </a:buClr>
                        <a:buChar char="•"/>
                        <a:tabLst>
                          <a:tab pos="880110" algn="l"/>
                        </a:tabLst>
                      </a:pPr>
                      <a:r>
                        <a:rPr sz="1400" spc="-55" dirty="0">
                          <a:solidFill>
                            <a:srgbClr val="2A2B2C"/>
                          </a:solidFill>
                          <a:latin typeface="Arial"/>
                          <a:cs typeface="Arial"/>
                        </a:rPr>
                        <a:t>Primary</a:t>
                      </a:r>
                      <a:r>
                        <a:rPr sz="1400" spc="-35" dirty="0">
                          <a:solidFill>
                            <a:srgbClr val="2A2B2C"/>
                          </a:solidFill>
                          <a:latin typeface="Arial"/>
                          <a:cs typeface="Arial"/>
                        </a:rPr>
                        <a:t> </a:t>
                      </a:r>
                      <a:r>
                        <a:rPr sz="1400" spc="-40" dirty="0">
                          <a:solidFill>
                            <a:srgbClr val="2A2B2C"/>
                          </a:solidFill>
                          <a:latin typeface="Arial"/>
                          <a:cs typeface="Arial"/>
                        </a:rPr>
                        <a:t>mediastinal</a:t>
                      </a:r>
                      <a:r>
                        <a:rPr sz="1400" spc="-10" dirty="0">
                          <a:solidFill>
                            <a:srgbClr val="2A2B2C"/>
                          </a:solidFill>
                          <a:latin typeface="Arial"/>
                          <a:cs typeface="Arial"/>
                        </a:rPr>
                        <a:t> </a:t>
                      </a:r>
                      <a:r>
                        <a:rPr sz="1400" spc="-50" dirty="0">
                          <a:solidFill>
                            <a:srgbClr val="2A2B2C"/>
                          </a:solidFill>
                          <a:latin typeface="Arial"/>
                          <a:cs typeface="Arial"/>
                        </a:rPr>
                        <a:t>large</a:t>
                      </a:r>
                      <a:r>
                        <a:rPr sz="1400" spc="-30" dirty="0">
                          <a:solidFill>
                            <a:srgbClr val="2A2B2C"/>
                          </a:solidFill>
                          <a:latin typeface="Arial"/>
                          <a:cs typeface="Arial"/>
                        </a:rPr>
                        <a:t> </a:t>
                      </a:r>
                      <a:r>
                        <a:rPr sz="1400" spc="-70" dirty="0">
                          <a:solidFill>
                            <a:srgbClr val="2A2B2C"/>
                          </a:solidFill>
                          <a:latin typeface="Arial"/>
                          <a:cs typeface="Arial"/>
                        </a:rPr>
                        <a:t>B-</a:t>
                      </a:r>
                      <a:r>
                        <a:rPr sz="1400" spc="-50" dirty="0">
                          <a:solidFill>
                            <a:srgbClr val="2A2B2C"/>
                          </a:solidFill>
                          <a:latin typeface="Arial"/>
                          <a:cs typeface="Arial"/>
                        </a:rPr>
                        <a:t>cell</a:t>
                      </a:r>
                      <a:r>
                        <a:rPr sz="1400" spc="-40" dirty="0">
                          <a:solidFill>
                            <a:srgbClr val="2A2B2C"/>
                          </a:solidFill>
                          <a:latin typeface="Arial"/>
                          <a:cs typeface="Arial"/>
                        </a:rPr>
                        <a:t> </a:t>
                      </a:r>
                      <a:r>
                        <a:rPr sz="1400" spc="-10" dirty="0">
                          <a:solidFill>
                            <a:srgbClr val="2A2B2C"/>
                          </a:solidFill>
                          <a:latin typeface="Arial"/>
                          <a:cs typeface="Arial"/>
                        </a:rPr>
                        <a:t>lymphoma</a:t>
                      </a:r>
                      <a:endParaRPr sz="1400" dirty="0">
                        <a:latin typeface="Arial"/>
                        <a:cs typeface="Arial"/>
                      </a:endParaRPr>
                    </a:p>
                    <a:p>
                      <a:pPr marL="880110" indent="-144145">
                        <a:lnSpc>
                          <a:spcPct val="100000"/>
                        </a:lnSpc>
                        <a:spcBef>
                          <a:spcPts val="145"/>
                        </a:spcBef>
                        <a:buClr>
                          <a:srgbClr val="19B0DD"/>
                        </a:buClr>
                        <a:buChar char="•"/>
                        <a:tabLst>
                          <a:tab pos="880110" algn="l"/>
                        </a:tabLst>
                      </a:pPr>
                      <a:r>
                        <a:rPr sz="1400" spc="-165" dirty="0">
                          <a:solidFill>
                            <a:srgbClr val="2A2B2C"/>
                          </a:solidFill>
                          <a:latin typeface="Arial"/>
                          <a:cs typeface="Arial"/>
                        </a:rPr>
                        <a:t>HGBCL</a:t>
                      </a:r>
                      <a:r>
                        <a:rPr sz="1400" spc="-45" dirty="0">
                          <a:solidFill>
                            <a:srgbClr val="2A2B2C"/>
                          </a:solidFill>
                          <a:latin typeface="Arial"/>
                          <a:cs typeface="Arial"/>
                        </a:rPr>
                        <a:t> </a:t>
                      </a:r>
                      <a:r>
                        <a:rPr sz="1400" dirty="0">
                          <a:solidFill>
                            <a:srgbClr val="2A2B2C"/>
                          </a:solidFill>
                          <a:latin typeface="Arial"/>
                          <a:cs typeface="Arial"/>
                        </a:rPr>
                        <a:t>with</a:t>
                      </a:r>
                      <a:r>
                        <a:rPr sz="1400" spc="-40" dirty="0">
                          <a:solidFill>
                            <a:srgbClr val="2A2B2C"/>
                          </a:solidFill>
                          <a:latin typeface="Arial"/>
                          <a:cs typeface="Arial"/>
                        </a:rPr>
                        <a:t> </a:t>
                      </a:r>
                      <a:r>
                        <a:rPr sz="1400" i="1" spc="-140" dirty="0">
                          <a:solidFill>
                            <a:srgbClr val="2A2B2C"/>
                          </a:solidFill>
                          <a:latin typeface="Arial"/>
                          <a:cs typeface="Arial"/>
                        </a:rPr>
                        <a:t>MYC</a:t>
                      </a:r>
                      <a:r>
                        <a:rPr sz="1400" i="1" spc="-40" dirty="0">
                          <a:solidFill>
                            <a:srgbClr val="2A2B2C"/>
                          </a:solidFill>
                          <a:latin typeface="Arial"/>
                          <a:cs typeface="Arial"/>
                        </a:rPr>
                        <a:t> </a:t>
                      </a:r>
                      <a:r>
                        <a:rPr sz="1400" spc="-55" dirty="0">
                          <a:solidFill>
                            <a:srgbClr val="2A2B2C"/>
                          </a:solidFill>
                          <a:latin typeface="Arial"/>
                          <a:cs typeface="Arial"/>
                        </a:rPr>
                        <a:t>and</a:t>
                      </a:r>
                      <a:r>
                        <a:rPr sz="1400" spc="-40" dirty="0">
                          <a:solidFill>
                            <a:srgbClr val="2A2B2C"/>
                          </a:solidFill>
                          <a:latin typeface="Arial"/>
                          <a:cs typeface="Arial"/>
                        </a:rPr>
                        <a:t> </a:t>
                      </a:r>
                      <a:r>
                        <a:rPr sz="1400" i="1" spc="-145" dirty="0">
                          <a:solidFill>
                            <a:srgbClr val="2A2B2C"/>
                          </a:solidFill>
                          <a:latin typeface="Arial"/>
                          <a:cs typeface="Arial"/>
                        </a:rPr>
                        <a:t>BCL2</a:t>
                      </a:r>
                      <a:r>
                        <a:rPr sz="1400" i="1" spc="-50" dirty="0">
                          <a:solidFill>
                            <a:srgbClr val="2A2B2C"/>
                          </a:solidFill>
                          <a:latin typeface="Arial"/>
                          <a:cs typeface="Arial"/>
                        </a:rPr>
                        <a:t> </a:t>
                      </a:r>
                      <a:r>
                        <a:rPr sz="1400" spc="-10" dirty="0">
                          <a:solidFill>
                            <a:srgbClr val="2A2B2C"/>
                          </a:solidFill>
                          <a:latin typeface="Arial"/>
                          <a:cs typeface="Arial"/>
                        </a:rPr>
                        <a:t>and/or</a:t>
                      </a:r>
                      <a:r>
                        <a:rPr sz="1400" spc="-55" dirty="0">
                          <a:solidFill>
                            <a:srgbClr val="2A2B2C"/>
                          </a:solidFill>
                          <a:latin typeface="Arial"/>
                          <a:cs typeface="Arial"/>
                        </a:rPr>
                        <a:t> </a:t>
                      </a:r>
                      <a:r>
                        <a:rPr sz="1400" i="1" spc="-130" dirty="0">
                          <a:solidFill>
                            <a:srgbClr val="2A2B2C"/>
                          </a:solidFill>
                          <a:latin typeface="Arial"/>
                          <a:cs typeface="Arial"/>
                        </a:rPr>
                        <a:t>BCL-6</a:t>
                      </a:r>
                      <a:r>
                        <a:rPr sz="1400" i="1" spc="-50" dirty="0">
                          <a:solidFill>
                            <a:srgbClr val="2A2B2C"/>
                          </a:solidFill>
                          <a:latin typeface="Arial"/>
                          <a:cs typeface="Arial"/>
                        </a:rPr>
                        <a:t> </a:t>
                      </a:r>
                      <a:r>
                        <a:rPr sz="1400" spc="-10" dirty="0">
                          <a:solidFill>
                            <a:srgbClr val="2A2B2C"/>
                          </a:solidFill>
                          <a:latin typeface="Arial"/>
                          <a:cs typeface="Arial"/>
                        </a:rPr>
                        <a:t>rearrangements</a:t>
                      </a:r>
                      <a:endParaRPr sz="1400" dirty="0">
                        <a:latin typeface="Arial"/>
                        <a:cs typeface="Arial"/>
                      </a:endParaRPr>
                    </a:p>
                  </a:txBody>
                  <a:tcPr marL="0" marR="0" marT="197043" marB="0">
                    <a:lnL w="12700">
                      <a:solidFill>
                        <a:srgbClr val="44546A"/>
                      </a:solidFill>
                      <a:prstDash val="solid"/>
                    </a:lnL>
                    <a:lnR w="12700">
                      <a:solidFill>
                        <a:srgbClr val="44546A"/>
                      </a:solidFill>
                      <a:prstDash val="solid"/>
                    </a:lnR>
                  </a:tcPr>
                </a:tc>
                <a:tc>
                  <a:txBody>
                    <a:bodyPr/>
                    <a:lstStyle/>
                    <a:p>
                      <a:pPr>
                        <a:lnSpc>
                          <a:spcPct val="100000"/>
                        </a:lnSpc>
                        <a:spcBef>
                          <a:spcPts val="810"/>
                        </a:spcBef>
                      </a:pPr>
                      <a:endParaRPr sz="1600" dirty="0">
                        <a:latin typeface="Times New Roman"/>
                        <a:cs typeface="Times New Roman"/>
                      </a:endParaRPr>
                    </a:p>
                    <a:p>
                      <a:pPr marL="42545" algn="ctr">
                        <a:lnSpc>
                          <a:spcPct val="100000"/>
                        </a:lnSpc>
                      </a:pPr>
                      <a:r>
                        <a:rPr sz="1600" b="1" spc="-80" dirty="0">
                          <a:solidFill>
                            <a:srgbClr val="ED7C31"/>
                          </a:solidFill>
                          <a:latin typeface="Arial"/>
                          <a:cs typeface="Arial"/>
                        </a:rPr>
                        <a:t>Primary</a:t>
                      </a:r>
                      <a:r>
                        <a:rPr sz="1600" b="1" spc="-35" dirty="0">
                          <a:solidFill>
                            <a:srgbClr val="ED7C31"/>
                          </a:solidFill>
                          <a:latin typeface="Arial"/>
                          <a:cs typeface="Arial"/>
                        </a:rPr>
                        <a:t> </a:t>
                      </a:r>
                      <a:r>
                        <a:rPr sz="1600" b="1" spc="-95" dirty="0">
                          <a:solidFill>
                            <a:srgbClr val="ED7C31"/>
                          </a:solidFill>
                          <a:latin typeface="Arial"/>
                          <a:cs typeface="Arial"/>
                        </a:rPr>
                        <a:t>end</a:t>
                      </a:r>
                      <a:r>
                        <a:rPr sz="1600" b="1" spc="-35" dirty="0">
                          <a:solidFill>
                            <a:srgbClr val="ED7C31"/>
                          </a:solidFill>
                          <a:latin typeface="Arial"/>
                          <a:cs typeface="Arial"/>
                        </a:rPr>
                        <a:t> </a:t>
                      </a:r>
                      <a:r>
                        <a:rPr sz="1600" b="1" spc="-10" dirty="0">
                          <a:solidFill>
                            <a:srgbClr val="ED7C31"/>
                          </a:solidFill>
                          <a:latin typeface="Arial"/>
                          <a:cs typeface="Arial"/>
                        </a:rPr>
                        <a:t>point</a:t>
                      </a:r>
                      <a:endParaRPr sz="1600" dirty="0">
                        <a:latin typeface="Arial"/>
                        <a:cs typeface="Arial"/>
                      </a:endParaRPr>
                    </a:p>
                    <a:p>
                      <a:pPr marL="40640" algn="ctr">
                        <a:lnSpc>
                          <a:spcPct val="100000"/>
                        </a:lnSpc>
                        <a:spcBef>
                          <a:spcPts val="660"/>
                        </a:spcBef>
                      </a:pPr>
                      <a:r>
                        <a:rPr sz="1400" spc="-185" dirty="0">
                          <a:solidFill>
                            <a:srgbClr val="2A2B2C"/>
                          </a:solidFill>
                          <a:latin typeface="Arial"/>
                          <a:cs typeface="Arial"/>
                        </a:rPr>
                        <a:t>ORR</a:t>
                      </a:r>
                      <a:r>
                        <a:rPr sz="1400" spc="-55" dirty="0">
                          <a:solidFill>
                            <a:srgbClr val="2A2B2C"/>
                          </a:solidFill>
                          <a:latin typeface="Arial"/>
                          <a:cs typeface="Arial"/>
                        </a:rPr>
                        <a:t> </a:t>
                      </a:r>
                      <a:r>
                        <a:rPr sz="1400" spc="-50" dirty="0">
                          <a:solidFill>
                            <a:srgbClr val="2A2B2C"/>
                          </a:solidFill>
                          <a:latin typeface="Arial"/>
                          <a:cs typeface="Arial"/>
                        </a:rPr>
                        <a:t>by</a:t>
                      </a:r>
                      <a:r>
                        <a:rPr sz="1400" spc="-40" dirty="0">
                          <a:solidFill>
                            <a:srgbClr val="2A2B2C"/>
                          </a:solidFill>
                          <a:latin typeface="Arial"/>
                          <a:cs typeface="Arial"/>
                        </a:rPr>
                        <a:t> </a:t>
                      </a:r>
                      <a:r>
                        <a:rPr sz="1400" spc="-160" dirty="0">
                          <a:solidFill>
                            <a:srgbClr val="2A2B2C"/>
                          </a:solidFill>
                          <a:latin typeface="Arial"/>
                          <a:cs typeface="Arial"/>
                        </a:rPr>
                        <a:t>IRC</a:t>
                      </a:r>
                      <a:r>
                        <a:rPr sz="1400" spc="-50" dirty="0">
                          <a:solidFill>
                            <a:srgbClr val="2A2B2C"/>
                          </a:solidFill>
                          <a:latin typeface="Arial"/>
                          <a:cs typeface="Arial"/>
                        </a:rPr>
                        <a:t> </a:t>
                      </a:r>
                      <a:r>
                        <a:rPr sz="1400" dirty="0">
                          <a:solidFill>
                            <a:srgbClr val="2A2B2C"/>
                          </a:solidFill>
                          <a:latin typeface="Arial"/>
                          <a:cs typeface="Arial"/>
                        </a:rPr>
                        <a:t>of</a:t>
                      </a:r>
                      <a:r>
                        <a:rPr sz="1400" spc="-55" dirty="0">
                          <a:solidFill>
                            <a:srgbClr val="2A2B2C"/>
                          </a:solidFill>
                          <a:latin typeface="Arial"/>
                          <a:cs typeface="Arial"/>
                        </a:rPr>
                        <a:t> </a:t>
                      </a:r>
                      <a:r>
                        <a:rPr sz="1400" spc="-155" dirty="0">
                          <a:solidFill>
                            <a:srgbClr val="2A2B2C"/>
                          </a:solidFill>
                          <a:latin typeface="Arial"/>
                          <a:cs typeface="Arial"/>
                        </a:rPr>
                        <a:t>PET-</a:t>
                      </a:r>
                      <a:r>
                        <a:rPr sz="1400" spc="-180" dirty="0">
                          <a:solidFill>
                            <a:srgbClr val="2A2B2C"/>
                          </a:solidFill>
                          <a:latin typeface="Arial"/>
                          <a:cs typeface="Arial"/>
                        </a:rPr>
                        <a:t>CT</a:t>
                      </a:r>
                      <a:r>
                        <a:rPr sz="1400" spc="-40" dirty="0">
                          <a:solidFill>
                            <a:srgbClr val="2A2B2C"/>
                          </a:solidFill>
                          <a:latin typeface="Arial"/>
                          <a:cs typeface="Arial"/>
                        </a:rPr>
                        <a:t> </a:t>
                      </a:r>
                      <a:r>
                        <a:rPr sz="1400" spc="-75" dirty="0">
                          <a:solidFill>
                            <a:srgbClr val="2A2B2C"/>
                          </a:solidFill>
                          <a:latin typeface="Arial"/>
                          <a:cs typeface="Arial"/>
                        </a:rPr>
                        <a:t>(Lugano</a:t>
                      </a:r>
                      <a:r>
                        <a:rPr sz="1400" spc="-40" dirty="0">
                          <a:solidFill>
                            <a:srgbClr val="2A2B2C"/>
                          </a:solidFill>
                          <a:latin typeface="Arial"/>
                          <a:cs typeface="Arial"/>
                        </a:rPr>
                        <a:t> </a:t>
                      </a:r>
                      <a:r>
                        <a:rPr sz="1400" spc="-55" dirty="0">
                          <a:solidFill>
                            <a:srgbClr val="2A2B2C"/>
                          </a:solidFill>
                          <a:latin typeface="Arial"/>
                          <a:cs typeface="Arial"/>
                        </a:rPr>
                        <a:t>2014</a:t>
                      </a:r>
                      <a:r>
                        <a:rPr sz="1400" spc="-40" dirty="0">
                          <a:solidFill>
                            <a:srgbClr val="2A2B2C"/>
                          </a:solidFill>
                          <a:latin typeface="Arial"/>
                          <a:cs typeface="Arial"/>
                        </a:rPr>
                        <a:t> </a:t>
                      </a:r>
                      <a:r>
                        <a:rPr sz="1400" spc="-10" dirty="0">
                          <a:solidFill>
                            <a:srgbClr val="2A2B2C"/>
                          </a:solidFill>
                          <a:latin typeface="Arial"/>
                          <a:cs typeface="Arial"/>
                        </a:rPr>
                        <a:t>criteria)</a:t>
                      </a:r>
                      <a:endParaRPr sz="1400" dirty="0">
                        <a:latin typeface="Arial"/>
                        <a:cs typeface="Arial"/>
                      </a:endParaRPr>
                    </a:p>
                  </a:txBody>
                  <a:tcPr marL="0" marR="0" marT="124691" marB="0">
                    <a:lnL w="12700">
                      <a:solidFill>
                        <a:srgbClr val="44546A"/>
                      </a:solidFill>
                      <a:prstDash val="solid"/>
                    </a:lnL>
                    <a:lnR w="12700">
                      <a:solidFill>
                        <a:srgbClr val="44546A"/>
                      </a:solidFill>
                      <a:prstDash val="solid"/>
                    </a:lnR>
                  </a:tcPr>
                </a:tc>
                <a:extLst>
                  <a:ext uri="{0D108BD9-81ED-4DB2-BD59-A6C34878D82A}">
                    <a16:rowId xmlns:a16="http://schemas.microsoft.com/office/drawing/2014/main" val="10001"/>
                  </a:ext>
                </a:extLst>
              </a:tr>
            </a:tbl>
          </a:graphicData>
        </a:graphic>
      </p:graphicFrame>
      <p:grpSp>
        <p:nvGrpSpPr>
          <p:cNvPr id="12" name="object 12"/>
          <p:cNvGrpSpPr/>
          <p:nvPr/>
        </p:nvGrpSpPr>
        <p:grpSpPr>
          <a:xfrm>
            <a:off x="832312" y="3629666"/>
            <a:ext cx="5838152" cy="2219805"/>
            <a:chOff x="686657" y="3876389"/>
            <a:chExt cx="4816475" cy="1831339"/>
          </a:xfrm>
        </p:grpSpPr>
        <p:sp>
          <p:nvSpPr>
            <p:cNvPr id="13" name="object 13"/>
            <p:cNvSpPr/>
            <p:nvPr/>
          </p:nvSpPr>
          <p:spPr>
            <a:xfrm>
              <a:off x="691896" y="3881628"/>
              <a:ext cx="4806315" cy="1820545"/>
            </a:xfrm>
            <a:custGeom>
              <a:avLst/>
              <a:gdLst/>
              <a:ahLst/>
              <a:cxnLst/>
              <a:rect l="l" t="t" r="r" b="b"/>
              <a:pathLst>
                <a:path w="4806315" h="1820545">
                  <a:moveTo>
                    <a:pt x="0" y="0"/>
                  </a:moveTo>
                  <a:lnTo>
                    <a:pt x="4805933" y="0"/>
                  </a:lnTo>
                  <a:lnTo>
                    <a:pt x="4805933" y="1820418"/>
                  </a:lnTo>
                  <a:lnTo>
                    <a:pt x="0" y="1820418"/>
                  </a:lnTo>
                  <a:lnTo>
                    <a:pt x="0" y="0"/>
                  </a:lnTo>
                  <a:close/>
                </a:path>
              </a:pathLst>
            </a:custGeom>
            <a:ln w="10477">
              <a:solidFill>
                <a:srgbClr val="44546A"/>
              </a:solidFill>
              <a:prstDash val="sysDashDot"/>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4" name="object 14"/>
            <p:cNvSpPr/>
            <p:nvPr/>
          </p:nvSpPr>
          <p:spPr>
            <a:xfrm>
              <a:off x="922782" y="4837176"/>
              <a:ext cx="1475740" cy="216535"/>
            </a:xfrm>
            <a:custGeom>
              <a:avLst/>
              <a:gdLst/>
              <a:ahLst/>
              <a:cxnLst/>
              <a:rect l="l" t="t" r="r" b="b"/>
              <a:pathLst>
                <a:path w="1475739" h="216535">
                  <a:moveTo>
                    <a:pt x="1475232" y="0"/>
                  </a:moveTo>
                  <a:lnTo>
                    <a:pt x="1468671" y="42302"/>
                  </a:lnTo>
                  <a:lnTo>
                    <a:pt x="1450752" y="76676"/>
                  </a:lnTo>
                  <a:lnTo>
                    <a:pt x="1391412" y="108204"/>
                  </a:lnTo>
                  <a:lnTo>
                    <a:pt x="821436" y="108204"/>
                  </a:lnTo>
                  <a:lnTo>
                    <a:pt x="788729" y="116752"/>
                  </a:lnTo>
                  <a:lnTo>
                    <a:pt x="762095" y="140017"/>
                  </a:lnTo>
                  <a:lnTo>
                    <a:pt x="744176" y="174426"/>
                  </a:lnTo>
                  <a:lnTo>
                    <a:pt x="737616" y="216408"/>
                  </a:lnTo>
                  <a:lnTo>
                    <a:pt x="731055" y="174426"/>
                  </a:lnTo>
                  <a:lnTo>
                    <a:pt x="713136" y="140017"/>
                  </a:lnTo>
                  <a:lnTo>
                    <a:pt x="686502" y="116752"/>
                  </a:lnTo>
                  <a:lnTo>
                    <a:pt x="653795" y="108204"/>
                  </a:lnTo>
                  <a:lnTo>
                    <a:pt x="83819" y="108204"/>
                  </a:lnTo>
                  <a:lnTo>
                    <a:pt x="51113" y="99762"/>
                  </a:lnTo>
                  <a:lnTo>
                    <a:pt x="24479" y="76676"/>
                  </a:lnTo>
                  <a:lnTo>
                    <a:pt x="6560" y="42302"/>
                  </a:lnTo>
                  <a:lnTo>
                    <a:pt x="0" y="0"/>
                  </a:lnTo>
                </a:path>
              </a:pathLst>
            </a:custGeom>
            <a:ln w="15709">
              <a:solidFill>
                <a:srgbClr val="19B0DD"/>
              </a:solidFill>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15" name="object 15"/>
          <p:cNvSpPr txBox="1"/>
          <p:nvPr/>
        </p:nvSpPr>
        <p:spPr>
          <a:xfrm>
            <a:off x="2891482" y="4990066"/>
            <a:ext cx="3675120" cy="768640"/>
          </a:xfrm>
          <a:prstGeom prst="rect">
            <a:avLst/>
          </a:prstGeom>
        </p:spPr>
        <p:txBody>
          <a:bodyPr vert="horz" wrap="square" lIns="0" tIns="104679" rIns="0" bIns="0" rtlCol="0">
            <a:spAutoFit/>
          </a:bodyPr>
          <a:lstStyle/>
          <a:p>
            <a:pPr marL="11113" marR="0" lvl="0" indent="0" algn="ctr" defTabSz="806867" rtl="0" eaLnBrk="1" fontAlgn="auto" latinLnBrk="0" hangingPunct="1">
              <a:lnSpc>
                <a:spcPct val="100000"/>
              </a:lnSpc>
              <a:spcBef>
                <a:spcPts val="824"/>
              </a:spcBef>
              <a:spcAft>
                <a:spcPts val="0"/>
              </a:spcAft>
              <a:buClrTx/>
              <a:buSzTx/>
              <a:buFontTx/>
              <a:buNone/>
              <a:tabLst/>
              <a:defRPr/>
            </a:pPr>
            <a:r>
              <a:rPr kumimoji="0" sz="1576" b="1" i="0" u="none" strike="noStrike" kern="0" cap="none" spc="-158" normalizeH="0" baseline="0" noProof="0" dirty="0">
                <a:ln>
                  <a:noFill/>
                </a:ln>
                <a:solidFill>
                  <a:srgbClr val="023CA6"/>
                </a:solidFill>
                <a:effectLst/>
                <a:uLnTx/>
                <a:uFillTx/>
                <a:latin typeface="Arial"/>
                <a:ea typeface="+mn-ea"/>
                <a:cs typeface="Arial"/>
              </a:rPr>
              <a:t>Cycle</a:t>
            </a:r>
            <a:r>
              <a:rPr kumimoji="0" sz="1576" b="1" i="0" u="none" strike="noStrike" kern="0" cap="none" spc="-72" normalizeH="0" baseline="0" noProof="0" dirty="0">
                <a:ln>
                  <a:noFill/>
                </a:ln>
                <a:solidFill>
                  <a:srgbClr val="023CA6"/>
                </a:solidFill>
                <a:effectLst/>
                <a:uLnTx/>
                <a:uFillTx/>
                <a:latin typeface="Arial"/>
                <a:ea typeface="+mn-ea"/>
                <a:cs typeface="Arial"/>
              </a:rPr>
              <a:t> </a:t>
            </a:r>
            <a:r>
              <a:rPr kumimoji="0" sz="1576" b="1" i="0" u="none" strike="noStrike" kern="0" cap="none" spc="-103" normalizeH="0" baseline="0" noProof="0" dirty="0">
                <a:ln>
                  <a:noFill/>
                </a:ln>
                <a:solidFill>
                  <a:srgbClr val="023CA6"/>
                </a:solidFill>
                <a:effectLst/>
                <a:uLnTx/>
                <a:uFillTx/>
                <a:latin typeface="Arial"/>
                <a:ea typeface="+mn-ea"/>
                <a:cs typeface="Arial"/>
              </a:rPr>
              <a:t>3+:</a:t>
            </a:r>
            <a:r>
              <a:rPr kumimoji="0" sz="1576" b="1" i="0" u="none" strike="noStrike" kern="0" cap="none" spc="-72" normalizeH="0" baseline="0" noProof="0" dirty="0">
                <a:ln>
                  <a:noFill/>
                </a:ln>
                <a:solidFill>
                  <a:srgbClr val="023CA6"/>
                </a:solidFill>
                <a:effectLst/>
                <a:uLnTx/>
                <a:uFillTx/>
                <a:latin typeface="Arial"/>
                <a:ea typeface="+mn-ea"/>
                <a:cs typeface="Arial"/>
              </a:rPr>
              <a:t> </a:t>
            </a:r>
            <a:r>
              <a:rPr kumimoji="0" sz="1576" b="1" i="0" u="none" strike="noStrike" kern="0" cap="none" spc="-79" normalizeH="0" baseline="0" noProof="0" dirty="0">
                <a:ln>
                  <a:noFill/>
                </a:ln>
                <a:solidFill>
                  <a:srgbClr val="023CA6"/>
                </a:solidFill>
                <a:effectLst/>
                <a:uLnTx/>
                <a:uFillTx/>
                <a:latin typeface="Arial"/>
                <a:ea typeface="+mn-ea"/>
                <a:cs typeface="Arial"/>
              </a:rPr>
              <a:t>1</a:t>
            </a:r>
            <a:r>
              <a:rPr kumimoji="0" sz="1576" b="1" i="0" u="none" strike="noStrike" kern="0" cap="none" spc="-72" normalizeH="0" baseline="0" noProof="0" dirty="0">
                <a:ln>
                  <a:noFill/>
                </a:ln>
                <a:solidFill>
                  <a:srgbClr val="023CA6"/>
                </a:solidFill>
                <a:effectLst/>
                <a:uLnTx/>
                <a:uFillTx/>
                <a:latin typeface="Arial"/>
                <a:ea typeface="+mn-ea"/>
                <a:cs typeface="Arial"/>
              </a:rPr>
              <a:t> </a:t>
            </a:r>
            <a:r>
              <a:rPr kumimoji="0" sz="1576" b="1" i="0" u="none" strike="noStrike" kern="0" cap="none" spc="-91" normalizeH="0" baseline="0" noProof="0" dirty="0">
                <a:ln>
                  <a:noFill/>
                </a:ln>
                <a:solidFill>
                  <a:srgbClr val="023CA6"/>
                </a:solidFill>
                <a:effectLst/>
                <a:uLnTx/>
                <a:uFillTx/>
                <a:latin typeface="Arial"/>
                <a:ea typeface="+mn-ea"/>
                <a:cs typeface="Arial"/>
              </a:rPr>
              <a:t>year</a:t>
            </a:r>
            <a:r>
              <a:rPr kumimoji="0" sz="1576" b="1" i="0" u="none" strike="noStrike" kern="0" cap="none" spc="-67" normalizeH="0" baseline="0" noProof="0" dirty="0">
                <a:ln>
                  <a:noFill/>
                </a:ln>
                <a:solidFill>
                  <a:srgbClr val="023CA6"/>
                </a:solidFill>
                <a:effectLst/>
                <a:uLnTx/>
                <a:uFillTx/>
                <a:latin typeface="Arial"/>
                <a:ea typeface="+mn-ea"/>
                <a:cs typeface="Arial"/>
              </a:rPr>
              <a:t> </a:t>
            </a:r>
            <a:r>
              <a:rPr kumimoji="0" sz="1576" b="1" i="0" u="none" strike="noStrike" kern="0" cap="none" spc="-79" normalizeH="0" baseline="0" noProof="0" dirty="0">
                <a:ln>
                  <a:noFill/>
                </a:ln>
                <a:solidFill>
                  <a:srgbClr val="023CA6"/>
                </a:solidFill>
                <a:effectLst/>
                <a:uLnTx/>
                <a:uFillTx/>
                <a:latin typeface="Arial"/>
                <a:ea typeface="+mn-ea"/>
                <a:cs typeface="Arial"/>
              </a:rPr>
              <a:t>of</a:t>
            </a:r>
            <a:r>
              <a:rPr kumimoji="0" sz="1576" b="1" i="0" u="none" strike="noStrike" kern="0" cap="none" spc="-67" normalizeH="0" baseline="0" noProof="0" dirty="0">
                <a:ln>
                  <a:noFill/>
                </a:ln>
                <a:solidFill>
                  <a:srgbClr val="023CA6"/>
                </a:solidFill>
                <a:effectLst/>
                <a:uLnTx/>
                <a:uFillTx/>
                <a:latin typeface="Arial"/>
                <a:ea typeface="+mn-ea"/>
                <a:cs typeface="Arial"/>
              </a:rPr>
              <a:t> </a:t>
            </a:r>
            <a:r>
              <a:rPr kumimoji="0" sz="1576" b="1" i="0" u="none" strike="noStrike" kern="0" cap="none" spc="-24" normalizeH="0" baseline="0" noProof="0" dirty="0">
                <a:ln>
                  <a:noFill/>
                </a:ln>
                <a:solidFill>
                  <a:srgbClr val="023CA6"/>
                </a:solidFill>
                <a:effectLst/>
                <a:uLnTx/>
                <a:uFillTx/>
                <a:latin typeface="Arial"/>
                <a:ea typeface="+mn-ea"/>
                <a:cs typeface="Arial"/>
              </a:rPr>
              <a:t>Lonca</a:t>
            </a:r>
            <a:endParaRPr kumimoji="0" sz="1576" b="0" i="0" u="none" strike="noStrike" kern="0" cap="none" spc="0" normalizeH="0" baseline="0" noProof="0" dirty="0">
              <a:ln>
                <a:noFill/>
              </a:ln>
              <a:solidFill>
                <a:sysClr val="windowText" lastClr="000000"/>
              </a:solidFill>
              <a:effectLst/>
              <a:uLnTx/>
              <a:uFillTx/>
              <a:latin typeface="Arial"/>
              <a:ea typeface="+mn-ea"/>
              <a:cs typeface="Arial"/>
            </a:endParaRPr>
          </a:p>
          <a:p>
            <a:pPr marL="0" marR="6157" lvl="0" indent="134700" algn="ctr" defTabSz="806867" rtl="0" eaLnBrk="1" fontAlgn="auto" latinLnBrk="0" hangingPunct="1">
              <a:lnSpc>
                <a:spcPct val="104200"/>
              </a:lnSpc>
              <a:spcBef>
                <a:spcPts val="503"/>
              </a:spcBef>
              <a:spcAft>
                <a:spcPts val="0"/>
              </a:spcAft>
              <a:buClrTx/>
              <a:buSzTx/>
              <a:buFontTx/>
              <a:buNone/>
              <a:tabLst/>
              <a:defRPr/>
            </a:pPr>
            <a:r>
              <a:rPr kumimoji="0" sz="1152" b="0" i="0" u="none" strike="noStrike" kern="0" cap="none" spc="-30" normalizeH="0" baseline="0" noProof="0" dirty="0">
                <a:ln>
                  <a:noFill/>
                </a:ln>
                <a:solidFill>
                  <a:srgbClr val="023CA6"/>
                </a:solidFill>
                <a:effectLst/>
                <a:uLnTx/>
                <a:uFillTx/>
                <a:latin typeface="Arial"/>
                <a:ea typeface="+mn-ea"/>
                <a:cs typeface="Arial"/>
              </a:rPr>
              <a:t>Treatment</a:t>
            </a:r>
            <a:r>
              <a:rPr kumimoji="0" sz="1152" b="0" i="0" u="none" strike="noStrike" kern="0" cap="none" spc="12" normalizeH="0" baseline="0" noProof="0" dirty="0">
                <a:ln>
                  <a:noFill/>
                </a:ln>
                <a:solidFill>
                  <a:srgbClr val="023CA6"/>
                </a:solidFill>
                <a:effectLst/>
                <a:uLnTx/>
                <a:uFillTx/>
                <a:latin typeface="Arial"/>
                <a:ea typeface="+mn-ea"/>
                <a:cs typeface="Arial"/>
              </a:rPr>
              <a:t> </a:t>
            </a:r>
            <a:r>
              <a:rPr kumimoji="0" sz="1152" b="0" i="0" u="none" strike="noStrike" kern="0" cap="none" spc="0" normalizeH="0" baseline="0" noProof="0" dirty="0">
                <a:ln>
                  <a:noFill/>
                </a:ln>
                <a:solidFill>
                  <a:srgbClr val="023CA6"/>
                </a:solidFill>
                <a:effectLst/>
                <a:uLnTx/>
                <a:uFillTx/>
                <a:latin typeface="Arial"/>
                <a:ea typeface="+mn-ea"/>
                <a:cs typeface="Arial"/>
              </a:rPr>
              <a:t>until </a:t>
            </a:r>
            <a:r>
              <a:rPr kumimoji="0" sz="1152" b="0" i="0" u="none" strike="noStrike" kern="0" cap="none" spc="-42" normalizeH="0" baseline="0" noProof="0" dirty="0">
                <a:ln>
                  <a:noFill/>
                </a:ln>
                <a:solidFill>
                  <a:srgbClr val="023CA6"/>
                </a:solidFill>
                <a:effectLst/>
                <a:uLnTx/>
                <a:uFillTx/>
                <a:latin typeface="Arial"/>
                <a:ea typeface="+mn-ea"/>
                <a:cs typeface="Arial"/>
              </a:rPr>
              <a:t>progressive</a:t>
            </a:r>
            <a:r>
              <a:rPr kumimoji="0" sz="1152" b="0" i="0" u="none" strike="noStrike" kern="0" cap="none" spc="-6" normalizeH="0" baseline="0" noProof="0" dirty="0">
                <a:ln>
                  <a:noFill/>
                </a:ln>
                <a:solidFill>
                  <a:srgbClr val="023CA6"/>
                </a:solidFill>
                <a:effectLst/>
                <a:uLnTx/>
                <a:uFillTx/>
                <a:latin typeface="Arial"/>
                <a:ea typeface="+mn-ea"/>
                <a:cs typeface="Arial"/>
              </a:rPr>
              <a:t> </a:t>
            </a:r>
            <a:r>
              <a:rPr kumimoji="0" sz="1152" b="0" i="0" u="none" strike="noStrike" kern="0" cap="none" spc="-61" normalizeH="0" baseline="0" noProof="0" dirty="0">
                <a:ln>
                  <a:noFill/>
                </a:ln>
                <a:solidFill>
                  <a:srgbClr val="023CA6"/>
                </a:solidFill>
                <a:effectLst/>
                <a:uLnTx/>
                <a:uFillTx/>
                <a:latin typeface="Arial"/>
                <a:ea typeface="+mn-ea"/>
                <a:cs typeface="Arial"/>
              </a:rPr>
              <a:t>disease</a:t>
            </a:r>
            <a:r>
              <a:rPr kumimoji="0" sz="1152" b="0" i="0" u="none" strike="noStrike" kern="0" cap="none" spc="19" normalizeH="0" baseline="0" noProof="0" dirty="0">
                <a:ln>
                  <a:noFill/>
                </a:ln>
                <a:solidFill>
                  <a:srgbClr val="023CA6"/>
                </a:solidFill>
                <a:effectLst/>
                <a:uLnTx/>
                <a:uFillTx/>
                <a:latin typeface="Arial"/>
                <a:ea typeface="+mn-ea"/>
                <a:cs typeface="Arial"/>
              </a:rPr>
              <a:t> </a:t>
            </a:r>
            <a:r>
              <a:rPr kumimoji="0" sz="1152" b="0" i="0" u="none" strike="noStrike" kern="0" cap="none" spc="0" normalizeH="0" baseline="0" noProof="0" dirty="0">
                <a:ln>
                  <a:noFill/>
                </a:ln>
                <a:solidFill>
                  <a:srgbClr val="023CA6"/>
                </a:solidFill>
                <a:effectLst/>
                <a:uLnTx/>
                <a:uFillTx/>
                <a:latin typeface="Arial"/>
                <a:ea typeface="+mn-ea"/>
                <a:cs typeface="Arial"/>
              </a:rPr>
              <a:t>or</a:t>
            </a:r>
            <a:r>
              <a:rPr kumimoji="0" sz="1152" b="0" i="0" u="none" strike="noStrike" kern="0" cap="none" spc="12" normalizeH="0" baseline="0" noProof="0" dirty="0">
                <a:ln>
                  <a:noFill/>
                </a:ln>
                <a:solidFill>
                  <a:srgbClr val="023CA6"/>
                </a:solidFill>
                <a:effectLst/>
                <a:uLnTx/>
                <a:uFillTx/>
                <a:latin typeface="Arial"/>
                <a:ea typeface="+mn-ea"/>
                <a:cs typeface="Arial"/>
              </a:rPr>
              <a:t> </a:t>
            </a:r>
            <a:r>
              <a:rPr kumimoji="0" sz="1152" b="0" i="0" u="none" strike="noStrike" kern="0" cap="none" spc="-12" normalizeH="0" baseline="0" noProof="0" dirty="0">
                <a:ln>
                  <a:noFill/>
                </a:ln>
                <a:solidFill>
                  <a:srgbClr val="023CA6"/>
                </a:solidFill>
                <a:effectLst/>
                <a:uLnTx/>
                <a:uFillTx/>
                <a:latin typeface="Arial"/>
                <a:ea typeface="+mn-ea"/>
                <a:cs typeface="Arial"/>
              </a:rPr>
              <a:t>unacceptable toxicity,</a:t>
            </a:r>
            <a:r>
              <a:rPr kumimoji="0" sz="1152" b="0" i="0" u="none" strike="noStrike" kern="0" cap="none" spc="-19" normalizeH="0" baseline="0" noProof="0" dirty="0">
                <a:ln>
                  <a:noFill/>
                </a:ln>
                <a:solidFill>
                  <a:srgbClr val="023CA6"/>
                </a:solidFill>
                <a:effectLst/>
                <a:uLnTx/>
                <a:uFillTx/>
                <a:latin typeface="Arial"/>
                <a:ea typeface="+mn-ea"/>
                <a:cs typeface="Arial"/>
              </a:rPr>
              <a:t> </a:t>
            </a:r>
            <a:r>
              <a:rPr kumimoji="0" sz="1152" b="0" i="0" u="none" strike="noStrike" kern="0" cap="none" spc="0" normalizeH="0" baseline="0" noProof="0" dirty="0">
                <a:ln>
                  <a:noFill/>
                </a:ln>
                <a:solidFill>
                  <a:srgbClr val="023CA6"/>
                </a:solidFill>
                <a:effectLst/>
                <a:uLnTx/>
                <a:uFillTx/>
                <a:latin typeface="Arial"/>
                <a:ea typeface="+mn-ea"/>
                <a:cs typeface="Arial"/>
              </a:rPr>
              <a:t>up</a:t>
            </a:r>
            <a:r>
              <a:rPr kumimoji="0" sz="1152" b="0" i="0" u="none" strike="noStrike" kern="0" cap="none" spc="-42" normalizeH="0" baseline="0" noProof="0" dirty="0">
                <a:ln>
                  <a:noFill/>
                </a:ln>
                <a:solidFill>
                  <a:srgbClr val="023CA6"/>
                </a:solidFill>
                <a:effectLst/>
                <a:uLnTx/>
                <a:uFillTx/>
                <a:latin typeface="Arial"/>
                <a:ea typeface="+mn-ea"/>
                <a:cs typeface="Arial"/>
              </a:rPr>
              <a:t> </a:t>
            </a:r>
            <a:r>
              <a:rPr kumimoji="0" sz="1152" b="0" i="0" u="none" strike="noStrike" kern="0" cap="none" spc="0" normalizeH="0" baseline="0" noProof="0" dirty="0">
                <a:ln>
                  <a:noFill/>
                </a:ln>
                <a:solidFill>
                  <a:srgbClr val="023CA6"/>
                </a:solidFill>
                <a:effectLst/>
                <a:uLnTx/>
                <a:uFillTx/>
                <a:latin typeface="Arial"/>
                <a:ea typeface="+mn-ea"/>
                <a:cs typeface="Arial"/>
              </a:rPr>
              <a:t>to</a:t>
            </a:r>
            <a:r>
              <a:rPr kumimoji="0" sz="1152" b="0" i="0" u="none" strike="noStrike" kern="0" cap="none" spc="-24" normalizeH="0" baseline="0" noProof="0" dirty="0">
                <a:ln>
                  <a:noFill/>
                </a:ln>
                <a:solidFill>
                  <a:srgbClr val="023CA6"/>
                </a:solidFill>
                <a:effectLst/>
                <a:uLnTx/>
                <a:uFillTx/>
                <a:latin typeface="Arial"/>
                <a:ea typeface="+mn-ea"/>
                <a:cs typeface="Arial"/>
              </a:rPr>
              <a:t> </a:t>
            </a:r>
            <a:r>
              <a:rPr kumimoji="0" sz="1152" b="0" i="0" u="none" strike="noStrike" kern="0" cap="none" spc="-36" normalizeH="0" baseline="0" noProof="0" dirty="0">
                <a:ln>
                  <a:noFill/>
                </a:ln>
                <a:solidFill>
                  <a:srgbClr val="023CA6"/>
                </a:solidFill>
                <a:effectLst/>
                <a:uLnTx/>
                <a:uFillTx/>
                <a:latin typeface="Arial"/>
                <a:ea typeface="+mn-ea"/>
                <a:cs typeface="Arial"/>
              </a:rPr>
              <a:t>1</a:t>
            </a:r>
            <a:r>
              <a:rPr kumimoji="0" sz="1152" b="0" i="0" u="none" strike="noStrike" kern="0" cap="none" spc="-30" normalizeH="0" baseline="0" noProof="0" dirty="0">
                <a:ln>
                  <a:noFill/>
                </a:ln>
                <a:solidFill>
                  <a:srgbClr val="023CA6"/>
                </a:solidFill>
                <a:effectLst/>
                <a:uLnTx/>
                <a:uFillTx/>
                <a:latin typeface="Arial"/>
                <a:ea typeface="+mn-ea"/>
                <a:cs typeface="Arial"/>
              </a:rPr>
              <a:t> year</a:t>
            </a:r>
            <a:r>
              <a:rPr kumimoji="0" sz="1152" b="0" i="0" u="none" strike="noStrike" kern="0" cap="none" spc="-42" normalizeH="0" baseline="0" noProof="0" dirty="0">
                <a:ln>
                  <a:noFill/>
                </a:ln>
                <a:solidFill>
                  <a:srgbClr val="023CA6"/>
                </a:solidFill>
                <a:effectLst/>
                <a:uLnTx/>
                <a:uFillTx/>
                <a:latin typeface="Arial"/>
                <a:ea typeface="+mn-ea"/>
                <a:cs typeface="Arial"/>
              </a:rPr>
              <a:t> </a:t>
            </a:r>
            <a:r>
              <a:rPr kumimoji="0" sz="1152" b="0" i="0" u="none" strike="noStrike" kern="0" cap="none" spc="-12" normalizeH="0" baseline="0" noProof="0" dirty="0">
                <a:ln>
                  <a:noFill/>
                </a:ln>
                <a:solidFill>
                  <a:srgbClr val="023CA6"/>
                </a:solidFill>
                <a:effectLst/>
                <a:uLnTx/>
                <a:uFillTx/>
                <a:latin typeface="Arial"/>
                <a:ea typeface="+mn-ea"/>
                <a:cs typeface="Arial"/>
              </a:rPr>
              <a:t>(patients</a:t>
            </a:r>
            <a:r>
              <a:rPr kumimoji="0" sz="1152" b="0" i="0" u="none" strike="noStrike" kern="0" cap="none" spc="-30" normalizeH="0" baseline="0" noProof="0" dirty="0">
                <a:ln>
                  <a:noFill/>
                </a:ln>
                <a:solidFill>
                  <a:srgbClr val="023CA6"/>
                </a:solidFill>
                <a:effectLst/>
                <a:uLnTx/>
                <a:uFillTx/>
                <a:latin typeface="Arial"/>
                <a:ea typeface="+mn-ea"/>
                <a:cs typeface="Arial"/>
              </a:rPr>
              <a:t> </a:t>
            </a:r>
            <a:r>
              <a:rPr kumimoji="0" sz="1152" b="0" i="0" u="none" strike="noStrike" kern="0" cap="none" spc="-12" normalizeH="0" baseline="0" noProof="0" dirty="0">
                <a:ln>
                  <a:noFill/>
                </a:ln>
                <a:solidFill>
                  <a:srgbClr val="023CA6"/>
                </a:solidFill>
                <a:effectLst/>
                <a:uLnTx/>
                <a:uFillTx/>
                <a:latin typeface="Arial"/>
                <a:ea typeface="+mn-ea"/>
                <a:cs typeface="Arial"/>
              </a:rPr>
              <a:t>followed</a:t>
            </a:r>
            <a:r>
              <a:rPr kumimoji="0" sz="1152" b="0" i="0" u="none" strike="noStrike" kern="0" cap="none" spc="-30" normalizeH="0" baseline="0" noProof="0" dirty="0">
                <a:ln>
                  <a:noFill/>
                </a:ln>
                <a:solidFill>
                  <a:srgbClr val="023CA6"/>
                </a:solidFill>
                <a:effectLst/>
                <a:uLnTx/>
                <a:uFillTx/>
                <a:latin typeface="Arial"/>
                <a:ea typeface="+mn-ea"/>
                <a:cs typeface="Arial"/>
              </a:rPr>
              <a:t> </a:t>
            </a:r>
            <a:r>
              <a:rPr kumimoji="0" sz="1152" b="0" i="0" u="none" strike="noStrike" kern="0" cap="none" spc="0" normalizeH="0" baseline="0" noProof="0" dirty="0">
                <a:ln>
                  <a:noFill/>
                </a:ln>
                <a:solidFill>
                  <a:srgbClr val="023CA6"/>
                </a:solidFill>
                <a:effectLst/>
                <a:uLnTx/>
                <a:uFillTx/>
                <a:latin typeface="Arial"/>
                <a:ea typeface="+mn-ea"/>
                <a:cs typeface="Arial"/>
              </a:rPr>
              <a:t>for</a:t>
            </a:r>
            <a:r>
              <a:rPr kumimoji="0" sz="1152" b="0" i="0" u="none" strike="noStrike" kern="0" cap="none" spc="-30" normalizeH="0" baseline="0" noProof="0" dirty="0">
                <a:ln>
                  <a:noFill/>
                </a:ln>
                <a:solidFill>
                  <a:srgbClr val="023CA6"/>
                </a:solidFill>
                <a:effectLst/>
                <a:uLnTx/>
                <a:uFillTx/>
                <a:latin typeface="Arial"/>
                <a:ea typeface="+mn-ea"/>
                <a:cs typeface="Arial"/>
              </a:rPr>
              <a:t> </a:t>
            </a:r>
            <a:r>
              <a:rPr kumimoji="0" sz="1152" b="0" i="0" u="none" strike="noStrike" kern="0" cap="none" spc="0" normalizeH="0" baseline="0" noProof="0" dirty="0">
                <a:ln>
                  <a:noFill/>
                </a:ln>
                <a:solidFill>
                  <a:srgbClr val="023CA6"/>
                </a:solidFill>
                <a:effectLst/>
                <a:uLnTx/>
                <a:uFillTx/>
                <a:latin typeface="Arial"/>
                <a:ea typeface="+mn-ea"/>
                <a:cs typeface="Arial"/>
              </a:rPr>
              <a:t>up</a:t>
            </a:r>
            <a:r>
              <a:rPr kumimoji="0" sz="1152" b="0" i="0" u="none" strike="noStrike" kern="0" cap="none" spc="-42" normalizeH="0" baseline="0" noProof="0" dirty="0">
                <a:ln>
                  <a:noFill/>
                </a:ln>
                <a:solidFill>
                  <a:srgbClr val="023CA6"/>
                </a:solidFill>
                <a:effectLst/>
                <a:uLnTx/>
                <a:uFillTx/>
                <a:latin typeface="Arial"/>
                <a:ea typeface="+mn-ea"/>
                <a:cs typeface="Arial"/>
              </a:rPr>
              <a:t> </a:t>
            </a:r>
            <a:r>
              <a:rPr kumimoji="0" sz="1152" b="0" i="0" u="none" strike="noStrike" kern="0" cap="none" spc="0" normalizeH="0" baseline="0" noProof="0" dirty="0">
                <a:ln>
                  <a:noFill/>
                </a:ln>
                <a:solidFill>
                  <a:srgbClr val="023CA6"/>
                </a:solidFill>
                <a:effectLst/>
                <a:uLnTx/>
                <a:uFillTx/>
                <a:latin typeface="Arial"/>
                <a:ea typeface="+mn-ea"/>
                <a:cs typeface="Arial"/>
              </a:rPr>
              <a:t>to</a:t>
            </a:r>
            <a:r>
              <a:rPr kumimoji="0" sz="1152" b="0" i="0" u="none" strike="noStrike" kern="0" cap="none" spc="-30" normalizeH="0" baseline="0" noProof="0" dirty="0">
                <a:ln>
                  <a:noFill/>
                </a:ln>
                <a:solidFill>
                  <a:srgbClr val="023CA6"/>
                </a:solidFill>
                <a:effectLst/>
                <a:uLnTx/>
                <a:uFillTx/>
                <a:latin typeface="Arial"/>
                <a:ea typeface="+mn-ea"/>
                <a:cs typeface="Arial"/>
              </a:rPr>
              <a:t> </a:t>
            </a:r>
            <a:r>
              <a:rPr kumimoji="0" sz="1152" b="0" i="0" u="none" strike="noStrike" kern="0" cap="none" spc="-36" normalizeH="0" baseline="0" noProof="0" dirty="0">
                <a:ln>
                  <a:noFill/>
                </a:ln>
                <a:solidFill>
                  <a:srgbClr val="023CA6"/>
                </a:solidFill>
                <a:effectLst/>
                <a:uLnTx/>
                <a:uFillTx/>
                <a:latin typeface="Arial"/>
                <a:ea typeface="+mn-ea"/>
                <a:cs typeface="Arial"/>
              </a:rPr>
              <a:t>3</a:t>
            </a:r>
            <a:r>
              <a:rPr kumimoji="0" sz="1152" b="0" i="0" u="none" strike="noStrike" kern="0" cap="none" spc="-30" normalizeH="0" baseline="0" noProof="0" dirty="0">
                <a:ln>
                  <a:noFill/>
                </a:ln>
                <a:solidFill>
                  <a:srgbClr val="023CA6"/>
                </a:solidFill>
                <a:effectLst/>
                <a:uLnTx/>
                <a:uFillTx/>
                <a:latin typeface="Arial"/>
                <a:ea typeface="+mn-ea"/>
                <a:cs typeface="Arial"/>
              </a:rPr>
              <a:t> </a:t>
            </a:r>
            <a:r>
              <a:rPr kumimoji="0" sz="1152" b="0" i="0" u="none" strike="noStrike" kern="0" cap="none" spc="-12" normalizeH="0" baseline="0" noProof="0" dirty="0">
                <a:ln>
                  <a:noFill/>
                </a:ln>
                <a:solidFill>
                  <a:srgbClr val="023CA6"/>
                </a:solidFill>
                <a:effectLst/>
                <a:uLnTx/>
                <a:uFillTx/>
                <a:latin typeface="Arial"/>
                <a:ea typeface="+mn-ea"/>
                <a:cs typeface="Arial"/>
              </a:rPr>
              <a:t>years)</a:t>
            </a:r>
            <a:endParaRPr kumimoji="0" sz="1152" b="0" i="0" u="none" strike="noStrike" kern="0" cap="none" spc="0" normalizeH="0" baseline="0" noProof="0" dirty="0">
              <a:ln>
                <a:noFill/>
              </a:ln>
              <a:solidFill>
                <a:sysClr val="windowText" lastClr="000000"/>
              </a:solidFill>
              <a:effectLst/>
              <a:uLnTx/>
              <a:uFillTx/>
              <a:latin typeface="Arial"/>
              <a:ea typeface="+mn-ea"/>
              <a:cs typeface="Arial"/>
            </a:endParaRPr>
          </a:p>
        </p:txBody>
      </p:sp>
      <p:sp>
        <p:nvSpPr>
          <p:cNvPr id="16" name="object 16"/>
          <p:cNvSpPr txBox="1"/>
          <p:nvPr/>
        </p:nvSpPr>
        <p:spPr>
          <a:xfrm>
            <a:off x="7148329" y="3929446"/>
            <a:ext cx="4400358" cy="1694512"/>
          </a:xfrm>
          <a:prstGeom prst="rect">
            <a:avLst/>
          </a:prstGeom>
        </p:spPr>
        <p:txBody>
          <a:bodyPr vert="horz" wrap="square" lIns="0" tIns="45412" rIns="0" bIns="0" rtlCol="0">
            <a:spAutoFit/>
          </a:bodyPr>
          <a:lstStyle/>
          <a:p>
            <a:pPr marL="926740" marR="0" lvl="0" indent="0" algn="l" defTabSz="806867" rtl="0" eaLnBrk="1" fontAlgn="auto" latinLnBrk="0" hangingPunct="1">
              <a:lnSpc>
                <a:spcPct val="100000"/>
              </a:lnSpc>
              <a:spcBef>
                <a:spcPts val="357"/>
              </a:spcBef>
              <a:spcAft>
                <a:spcPts val="0"/>
              </a:spcAft>
              <a:buClrTx/>
              <a:buSzTx/>
              <a:buFontTx/>
              <a:buNone/>
              <a:tabLst/>
              <a:defRPr/>
            </a:pPr>
            <a:r>
              <a:rPr kumimoji="0" sz="1576" b="1" i="0" u="none" strike="noStrike" kern="0" cap="none" spc="-163" normalizeH="0" baseline="0" noProof="0" dirty="0">
                <a:ln>
                  <a:noFill/>
                </a:ln>
                <a:solidFill>
                  <a:srgbClr val="023CA6"/>
                </a:solidFill>
                <a:effectLst/>
                <a:uLnTx/>
                <a:uFillTx/>
                <a:latin typeface="Arial"/>
                <a:ea typeface="+mn-ea"/>
                <a:cs typeface="Arial"/>
              </a:rPr>
              <a:t>Key</a:t>
            </a:r>
            <a:r>
              <a:rPr kumimoji="0" sz="1576" b="1" i="0" u="none" strike="noStrike" kern="0" cap="none" spc="12" normalizeH="0" baseline="0" noProof="0" dirty="0">
                <a:ln>
                  <a:noFill/>
                </a:ln>
                <a:solidFill>
                  <a:srgbClr val="023CA6"/>
                </a:solidFill>
                <a:effectLst/>
                <a:uLnTx/>
                <a:uFillTx/>
                <a:latin typeface="Arial"/>
                <a:ea typeface="+mn-ea"/>
                <a:cs typeface="Arial"/>
              </a:rPr>
              <a:t> </a:t>
            </a:r>
            <a:r>
              <a:rPr kumimoji="0" sz="1576" b="1" i="0" u="none" strike="noStrike" kern="0" cap="none" spc="-109" normalizeH="0" baseline="0" noProof="0" dirty="0">
                <a:ln>
                  <a:noFill/>
                </a:ln>
                <a:solidFill>
                  <a:srgbClr val="023CA6"/>
                </a:solidFill>
                <a:effectLst/>
                <a:uLnTx/>
                <a:uFillTx/>
                <a:latin typeface="Arial"/>
                <a:ea typeface="+mn-ea"/>
                <a:cs typeface="Arial"/>
              </a:rPr>
              <a:t>inclusion/exclusion</a:t>
            </a:r>
            <a:r>
              <a:rPr kumimoji="0" sz="1576" b="1" i="0" u="none" strike="noStrike" kern="0" cap="none" spc="19" normalizeH="0" baseline="0" noProof="0" dirty="0">
                <a:ln>
                  <a:noFill/>
                </a:ln>
                <a:solidFill>
                  <a:srgbClr val="023CA6"/>
                </a:solidFill>
                <a:effectLst/>
                <a:uLnTx/>
                <a:uFillTx/>
                <a:latin typeface="Arial"/>
                <a:ea typeface="+mn-ea"/>
                <a:cs typeface="Arial"/>
              </a:rPr>
              <a:t> </a:t>
            </a:r>
            <a:r>
              <a:rPr kumimoji="0" sz="1576" b="1" i="0" u="none" strike="noStrike" kern="0" cap="none" spc="-12" normalizeH="0" baseline="0" noProof="0" dirty="0">
                <a:ln>
                  <a:noFill/>
                </a:ln>
                <a:solidFill>
                  <a:srgbClr val="023CA6"/>
                </a:solidFill>
                <a:effectLst/>
                <a:uLnTx/>
                <a:uFillTx/>
                <a:latin typeface="Arial"/>
                <a:ea typeface="+mn-ea"/>
                <a:cs typeface="Arial"/>
              </a:rPr>
              <a:t>criteria</a:t>
            </a:r>
            <a:endParaRPr kumimoji="0" sz="1576" b="0" i="0" u="none" strike="noStrike" kern="0" cap="none" spc="0" normalizeH="0" baseline="0" noProof="0" dirty="0">
              <a:ln>
                <a:noFill/>
              </a:ln>
              <a:solidFill>
                <a:sysClr val="windowText" lastClr="000000"/>
              </a:solidFill>
              <a:effectLst/>
              <a:uLnTx/>
              <a:uFillTx/>
              <a:latin typeface="Arial"/>
              <a:ea typeface="+mn-ea"/>
              <a:cs typeface="Arial"/>
            </a:endParaRPr>
          </a:p>
          <a:p>
            <a:pPr marL="190120" marR="0" lvl="0" indent="-174726" algn="l" defTabSz="806867" rtl="0" eaLnBrk="1" fontAlgn="auto" latinLnBrk="0" hangingPunct="1">
              <a:lnSpc>
                <a:spcPct val="100000"/>
              </a:lnSpc>
              <a:spcBef>
                <a:spcPts val="206"/>
              </a:spcBef>
              <a:spcAft>
                <a:spcPts val="0"/>
              </a:spcAft>
              <a:buClr>
                <a:srgbClr val="19B0DD"/>
              </a:buClr>
              <a:buSzTx/>
              <a:buFontTx/>
              <a:buChar char="•"/>
              <a:tabLst>
                <a:tab pos="190120" algn="l"/>
              </a:tabLst>
              <a:defRPr/>
            </a:pPr>
            <a:r>
              <a:rPr kumimoji="0" sz="1394" b="0" i="0" u="none" strike="noStrike" kern="0" cap="none" spc="-42" normalizeH="0" baseline="0" noProof="0" dirty="0">
                <a:ln>
                  <a:noFill/>
                </a:ln>
                <a:solidFill>
                  <a:sysClr val="windowText" lastClr="000000"/>
                </a:solidFill>
                <a:effectLst/>
                <a:uLnTx/>
                <a:uFillTx/>
                <a:latin typeface="Arial"/>
                <a:ea typeface="+mn-ea"/>
                <a:cs typeface="Arial"/>
              </a:rPr>
              <a:t>Male</a:t>
            </a:r>
            <a:r>
              <a:rPr kumimoji="0" sz="1394" b="0" i="0" u="none" strike="noStrike" kern="0" cap="none" spc="-61" normalizeH="0" baseline="0" noProof="0" dirty="0">
                <a:ln>
                  <a:noFill/>
                </a:ln>
                <a:solidFill>
                  <a:sysClr val="windowText" lastClr="000000"/>
                </a:solidFill>
                <a:effectLst/>
                <a:uLnTx/>
                <a:uFillTx/>
                <a:latin typeface="Arial"/>
                <a:ea typeface="+mn-ea"/>
                <a:cs typeface="Arial"/>
              </a:rPr>
              <a:t> </a:t>
            </a:r>
            <a:r>
              <a:rPr kumimoji="0" sz="1394" b="0" i="0" u="none" strike="noStrike" kern="0" cap="none" spc="-12" normalizeH="0" baseline="0" noProof="0" dirty="0">
                <a:ln>
                  <a:noFill/>
                </a:ln>
                <a:solidFill>
                  <a:sysClr val="windowText" lastClr="000000"/>
                </a:solidFill>
                <a:effectLst/>
                <a:uLnTx/>
                <a:uFillTx/>
                <a:latin typeface="Arial"/>
                <a:ea typeface="+mn-ea"/>
                <a:cs typeface="Arial"/>
              </a:rPr>
              <a:t>or</a:t>
            </a:r>
            <a:r>
              <a:rPr kumimoji="0" sz="1394" b="0" i="0" u="none" strike="noStrike" kern="0" cap="none" spc="-79" normalizeH="0" baseline="0" noProof="0" dirty="0">
                <a:ln>
                  <a:noFill/>
                </a:ln>
                <a:solidFill>
                  <a:sysClr val="windowText" lastClr="000000"/>
                </a:solidFill>
                <a:effectLst/>
                <a:uLnTx/>
                <a:uFillTx/>
                <a:latin typeface="Arial"/>
                <a:ea typeface="+mn-ea"/>
                <a:cs typeface="Arial"/>
              </a:rPr>
              <a:t> </a:t>
            </a:r>
            <a:r>
              <a:rPr kumimoji="0" sz="1394" b="0" i="0" u="none" strike="noStrike" kern="0" cap="none" spc="-55" normalizeH="0" baseline="0" noProof="0" dirty="0">
                <a:ln>
                  <a:noFill/>
                </a:ln>
                <a:solidFill>
                  <a:sysClr val="windowText" lastClr="000000"/>
                </a:solidFill>
                <a:effectLst/>
                <a:uLnTx/>
                <a:uFillTx/>
                <a:latin typeface="Arial"/>
                <a:ea typeface="+mn-ea"/>
                <a:cs typeface="Arial"/>
              </a:rPr>
              <a:t>female</a:t>
            </a:r>
            <a:r>
              <a:rPr kumimoji="0" sz="1394" b="0" i="0" u="none" strike="noStrike" kern="0" cap="none" spc="-67" normalizeH="0" baseline="0" noProof="0" dirty="0">
                <a:ln>
                  <a:noFill/>
                </a:ln>
                <a:solidFill>
                  <a:sysClr val="windowText" lastClr="000000"/>
                </a:solidFill>
                <a:effectLst/>
                <a:uLnTx/>
                <a:uFillTx/>
                <a:latin typeface="Arial"/>
                <a:ea typeface="+mn-ea"/>
                <a:cs typeface="Arial"/>
              </a:rPr>
              <a:t> </a:t>
            </a:r>
            <a:r>
              <a:rPr kumimoji="0" sz="1394" b="0" i="0" u="none" strike="noStrike" kern="0" cap="none" spc="-36" normalizeH="0" baseline="0" noProof="0" dirty="0">
                <a:ln>
                  <a:noFill/>
                </a:ln>
                <a:solidFill>
                  <a:sysClr val="windowText" lastClr="000000"/>
                </a:solidFill>
                <a:effectLst/>
                <a:uLnTx/>
                <a:uFillTx/>
                <a:latin typeface="Arial"/>
                <a:ea typeface="+mn-ea"/>
                <a:cs typeface="Arial"/>
              </a:rPr>
              <a:t>patients</a:t>
            </a:r>
            <a:r>
              <a:rPr kumimoji="0" sz="1394" b="0" i="0" u="none" strike="noStrike" kern="0" cap="none" spc="-42" normalizeH="0" baseline="0" noProof="0" dirty="0">
                <a:ln>
                  <a:noFill/>
                </a:ln>
                <a:solidFill>
                  <a:sysClr val="windowText" lastClr="000000"/>
                </a:solidFill>
                <a:effectLst/>
                <a:uLnTx/>
                <a:uFillTx/>
                <a:latin typeface="Arial"/>
                <a:ea typeface="+mn-ea"/>
                <a:cs typeface="Arial"/>
              </a:rPr>
              <a:t> </a:t>
            </a:r>
            <a:r>
              <a:rPr kumimoji="0" sz="1394" b="0" i="0" u="none" strike="noStrike" kern="0" cap="none" spc="-67" normalizeH="0" baseline="0" noProof="0" dirty="0">
                <a:ln>
                  <a:noFill/>
                </a:ln>
                <a:solidFill>
                  <a:sysClr val="windowText" lastClr="000000"/>
                </a:solidFill>
                <a:effectLst/>
                <a:uLnTx/>
                <a:uFillTx/>
                <a:latin typeface="Arial"/>
                <a:ea typeface="+mn-ea"/>
                <a:cs typeface="Arial"/>
              </a:rPr>
              <a:t>≥18</a:t>
            </a:r>
            <a:r>
              <a:rPr kumimoji="0" sz="1394" b="0" i="0" u="none" strike="noStrike" kern="0" cap="none" spc="-72" normalizeH="0" baseline="0" noProof="0" dirty="0">
                <a:ln>
                  <a:noFill/>
                </a:ln>
                <a:solidFill>
                  <a:sysClr val="windowText" lastClr="000000"/>
                </a:solidFill>
                <a:effectLst/>
                <a:uLnTx/>
                <a:uFillTx/>
                <a:latin typeface="Arial"/>
                <a:ea typeface="+mn-ea"/>
                <a:cs typeface="Arial"/>
              </a:rPr>
              <a:t> </a:t>
            </a:r>
            <a:r>
              <a:rPr kumimoji="0" sz="1394" b="0" i="0" u="none" strike="noStrike" kern="0" cap="none" spc="-91" normalizeH="0" baseline="0" noProof="0" dirty="0">
                <a:ln>
                  <a:noFill/>
                </a:ln>
                <a:solidFill>
                  <a:sysClr val="windowText" lastClr="000000"/>
                </a:solidFill>
                <a:effectLst/>
                <a:uLnTx/>
                <a:uFillTx/>
                <a:latin typeface="Arial"/>
                <a:ea typeface="+mn-ea"/>
                <a:cs typeface="Arial"/>
              </a:rPr>
              <a:t>years</a:t>
            </a:r>
            <a:r>
              <a:rPr kumimoji="0" sz="1394" b="0" i="0" u="none" strike="noStrike" kern="0" cap="none" spc="-61" normalizeH="0" baseline="0" noProof="0" dirty="0">
                <a:ln>
                  <a:noFill/>
                </a:ln>
                <a:solidFill>
                  <a:sysClr val="windowText" lastClr="000000"/>
                </a:solidFill>
                <a:effectLst/>
                <a:uLnTx/>
                <a:uFillTx/>
                <a:latin typeface="Arial"/>
                <a:ea typeface="+mn-ea"/>
                <a:cs typeface="Arial"/>
              </a:rPr>
              <a:t> </a:t>
            </a:r>
            <a:r>
              <a:rPr kumimoji="0" sz="1394" b="0" i="0" u="none" strike="noStrike" kern="0" cap="none" spc="0" normalizeH="0" baseline="0" noProof="0" dirty="0">
                <a:ln>
                  <a:noFill/>
                </a:ln>
                <a:solidFill>
                  <a:sysClr val="windowText" lastClr="000000"/>
                </a:solidFill>
                <a:effectLst/>
                <a:uLnTx/>
                <a:uFillTx/>
                <a:latin typeface="Arial"/>
                <a:ea typeface="+mn-ea"/>
                <a:cs typeface="Arial"/>
              </a:rPr>
              <a:t>of</a:t>
            </a:r>
            <a:r>
              <a:rPr kumimoji="0" sz="1394" b="0" i="0" u="none" strike="noStrike" kern="0" cap="none" spc="-79" normalizeH="0" baseline="0" noProof="0" dirty="0">
                <a:ln>
                  <a:noFill/>
                </a:ln>
                <a:solidFill>
                  <a:sysClr val="windowText" lastClr="000000"/>
                </a:solidFill>
                <a:effectLst/>
                <a:uLnTx/>
                <a:uFillTx/>
                <a:latin typeface="Arial"/>
                <a:ea typeface="+mn-ea"/>
                <a:cs typeface="Arial"/>
              </a:rPr>
              <a:t> </a:t>
            </a:r>
            <a:r>
              <a:rPr kumimoji="0" sz="1394" b="0" i="0" u="none" strike="noStrike" kern="0" cap="none" spc="-30" normalizeH="0" baseline="0" noProof="0" dirty="0">
                <a:ln>
                  <a:noFill/>
                </a:ln>
                <a:solidFill>
                  <a:sysClr val="windowText" lastClr="000000"/>
                </a:solidFill>
                <a:effectLst/>
                <a:uLnTx/>
                <a:uFillTx/>
                <a:latin typeface="Arial"/>
                <a:ea typeface="+mn-ea"/>
                <a:cs typeface="Arial"/>
              </a:rPr>
              <a:t>age</a:t>
            </a:r>
            <a:endParaRPr kumimoji="0" sz="1394" b="0" i="0" u="none" strike="noStrike" kern="0" cap="none" spc="0" normalizeH="0" baseline="0" noProof="0" dirty="0">
              <a:ln>
                <a:noFill/>
              </a:ln>
              <a:solidFill>
                <a:sysClr val="windowText" lastClr="000000"/>
              </a:solidFill>
              <a:effectLst/>
              <a:uLnTx/>
              <a:uFillTx/>
              <a:latin typeface="Arial"/>
              <a:ea typeface="+mn-ea"/>
              <a:cs typeface="Arial"/>
            </a:endParaRPr>
          </a:p>
          <a:p>
            <a:pPr marL="188580" marR="6157" lvl="0" indent="-173956" algn="l" defTabSz="806867" rtl="0" eaLnBrk="1" fontAlgn="auto" latinLnBrk="0" hangingPunct="1">
              <a:lnSpc>
                <a:spcPct val="110400"/>
              </a:lnSpc>
              <a:spcBef>
                <a:spcPts val="0"/>
              </a:spcBef>
              <a:spcAft>
                <a:spcPts val="0"/>
              </a:spcAft>
              <a:buClr>
                <a:srgbClr val="19B0DD"/>
              </a:buClr>
              <a:buSzTx/>
              <a:buFontTx/>
              <a:buChar char="•"/>
              <a:tabLst>
                <a:tab pos="188580" algn="l"/>
              </a:tabLst>
              <a:defRPr/>
            </a:pPr>
            <a:r>
              <a:rPr kumimoji="0" sz="1394" b="0" i="0" u="none" strike="noStrike" kern="0" cap="none" spc="-72" normalizeH="0" baseline="0" noProof="0" dirty="0">
                <a:ln>
                  <a:noFill/>
                </a:ln>
                <a:solidFill>
                  <a:sysClr val="windowText" lastClr="000000"/>
                </a:solidFill>
                <a:effectLst/>
                <a:uLnTx/>
                <a:uFillTx/>
                <a:latin typeface="Arial"/>
                <a:ea typeface="+mn-ea"/>
                <a:cs typeface="Arial"/>
              </a:rPr>
              <a:t>Pathologic</a:t>
            </a:r>
            <a:r>
              <a:rPr kumimoji="0" sz="1394" b="0" i="0" u="none" strike="noStrike" kern="0" cap="none" spc="-42" normalizeH="0" baseline="0" noProof="0" dirty="0">
                <a:ln>
                  <a:noFill/>
                </a:ln>
                <a:solidFill>
                  <a:sysClr val="windowText" lastClr="000000"/>
                </a:solidFill>
                <a:effectLst/>
                <a:uLnTx/>
                <a:uFillTx/>
                <a:latin typeface="Arial"/>
                <a:ea typeface="+mn-ea"/>
                <a:cs typeface="Arial"/>
              </a:rPr>
              <a:t> </a:t>
            </a:r>
            <a:r>
              <a:rPr kumimoji="0" sz="1394" b="0" i="0" u="none" strike="noStrike" kern="0" cap="none" spc="-72" normalizeH="0" baseline="0" noProof="0" dirty="0">
                <a:ln>
                  <a:noFill/>
                </a:ln>
                <a:solidFill>
                  <a:sysClr val="windowText" lastClr="000000"/>
                </a:solidFill>
                <a:effectLst/>
                <a:uLnTx/>
                <a:uFillTx/>
                <a:latin typeface="Arial"/>
                <a:ea typeface="+mn-ea"/>
                <a:cs typeface="Arial"/>
              </a:rPr>
              <a:t>diagnosis</a:t>
            </a:r>
            <a:r>
              <a:rPr kumimoji="0" sz="1394" b="0" i="0" u="none" strike="noStrike" kern="0" cap="none" spc="-6" normalizeH="0" baseline="0" noProof="0" dirty="0">
                <a:ln>
                  <a:noFill/>
                </a:ln>
                <a:solidFill>
                  <a:sysClr val="windowText" lastClr="000000"/>
                </a:solidFill>
                <a:effectLst/>
                <a:uLnTx/>
                <a:uFillTx/>
                <a:latin typeface="Arial"/>
                <a:ea typeface="+mn-ea"/>
                <a:cs typeface="Arial"/>
              </a:rPr>
              <a:t> </a:t>
            </a:r>
            <a:r>
              <a:rPr kumimoji="0" sz="1394" b="0" i="0" u="none" strike="noStrike" kern="0" cap="none" spc="0" normalizeH="0" baseline="0" noProof="0" dirty="0">
                <a:ln>
                  <a:noFill/>
                </a:ln>
                <a:solidFill>
                  <a:sysClr val="windowText" lastClr="000000"/>
                </a:solidFill>
                <a:effectLst/>
                <a:uLnTx/>
                <a:uFillTx/>
                <a:latin typeface="Arial"/>
                <a:ea typeface="+mn-ea"/>
                <a:cs typeface="Arial"/>
              </a:rPr>
              <a:t>of</a:t>
            </a:r>
            <a:r>
              <a:rPr kumimoji="0" sz="1394" b="0" i="0" u="none" strike="noStrike" kern="0" cap="none" spc="-55" normalizeH="0" baseline="0" noProof="0" dirty="0">
                <a:ln>
                  <a:noFill/>
                </a:ln>
                <a:solidFill>
                  <a:sysClr val="windowText" lastClr="000000"/>
                </a:solidFill>
                <a:effectLst/>
                <a:uLnTx/>
                <a:uFillTx/>
                <a:latin typeface="Arial"/>
                <a:ea typeface="+mn-ea"/>
                <a:cs typeface="Arial"/>
              </a:rPr>
              <a:t> </a:t>
            </a:r>
            <a:r>
              <a:rPr kumimoji="0" sz="1394" b="0" i="0" u="none" strike="noStrike" kern="0" cap="none" spc="-121" normalizeH="0" baseline="0" noProof="0" dirty="0">
                <a:ln>
                  <a:noFill/>
                </a:ln>
                <a:solidFill>
                  <a:sysClr val="windowText" lastClr="000000"/>
                </a:solidFill>
                <a:effectLst/>
                <a:uLnTx/>
                <a:uFillTx/>
                <a:latin typeface="Arial"/>
                <a:ea typeface="+mn-ea"/>
                <a:cs typeface="Arial"/>
              </a:rPr>
              <a:t>R/R</a:t>
            </a:r>
            <a:r>
              <a:rPr kumimoji="0" sz="1394" b="0" i="0" u="none" strike="noStrike" kern="0" cap="none" spc="-55" normalizeH="0" baseline="0" noProof="0" dirty="0">
                <a:ln>
                  <a:noFill/>
                </a:ln>
                <a:solidFill>
                  <a:sysClr val="windowText" lastClr="000000"/>
                </a:solidFill>
                <a:effectLst/>
                <a:uLnTx/>
                <a:uFillTx/>
                <a:latin typeface="Arial"/>
                <a:ea typeface="+mn-ea"/>
                <a:cs typeface="Arial"/>
              </a:rPr>
              <a:t> </a:t>
            </a:r>
            <a:r>
              <a:rPr kumimoji="0" sz="1394" b="0" i="0" u="none" strike="noStrike" kern="0" cap="none" spc="-200" normalizeH="0" baseline="0" noProof="0" dirty="0">
                <a:ln>
                  <a:noFill/>
                </a:ln>
                <a:solidFill>
                  <a:sysClr val="windowText" lastClr="000000"/>
                </a:solidFill>
                <a:effectLst/>
                <a:uLnTx/>
                <a:uFillTx/>
                <a:latin typeface="Arial"/>
                <a:ea typeface="+mn-ea"/>
                <a:cs typeface="Arial"/>
              </a:rPr>
              <a:t>DLBCL</a:t>
            </a:r>
            <a:r>
              <a:rPr kumimoji="0" sz="1394" b="0" i="0" u="none" strike="noStrike" kern="0" cap="none" spc="-42" normalizeH="0" baseline="0" noProof="0" dirty="0">
                <a:ln>
                  <a:noFill/>
                </a:ln>
                <a:solidFill>
                  <a:sysClr val="windowText" lastClr="000000"/>
                </a:solidFill>
                <a:effectLst/>
                <a:uLnTx/>
                <a:uFillTx/>
                <a:latin typeface="Arial"/>
                <a:ea typeface="+mn-ea"/>
                <a:cs typeface="Arial"/>
              </a:rPr>
              <a:t> </a:t>
            </a:r>
            <a:r>
              <a:rPr kumimoji="0" sz="1394" b="0" i="0" u="none" strike="noStrike" kern="0" cap="none" spc="-30" normalizeH="0" baseline="0" noProof="0" dirty="0">
                <a:ln>
                  <a:noFill/>
                </a:ln>
                <a:solidFill>
                  <a:sysClr val="windowText" lastClr="000000"/>
                </a:solidFill>
                <a:effectLst/>
                <a:uLnTx/>
                <a:uFillTx/>
                <a:latin typeface="Arial"/>
                <a:ea typeface="+mn-ea"/>
                <a:cs typeface="Arial"/>
              </a:rPr>
              <a:t>following</a:t>
            </a:r>
            <a:r>
              <a:rPr kumimoji="0" sz="1394" b="0" i="0" u="none" strike="noStrike" kern="0" cap="none" spc="-42" normalizeH="0" baseline="0" noProof="0" dirty="0">
                <a:ln>
                  <a:noFill/>
                </a:ln>
                <a:solidFill>
                  <a:sysClr val="windowText" lastClr="000000"/>
                </a:solidFill>
                <a:effectLst/>
                <a:uLnTx/>
                <a:uFillTx/>
                <a:latin typeface="Arial"/>
                <a:ea typeface="+mn-ea"/>
                <a:cs typeface="Arial"/>
              </a:rPr>
              <a:t> </a:t>
            </a:r>
            <a:r>
              <a:rPr kumimoji="0" sz="1394" b="0" i="0" u="none" strike="noStrike" kern="0" cap="none" spc="-72" normalizeH="0" baseline="0" noProof="0" dirty="0">
                <a:ln>
                  <a:noFill/>
                </a:ln>
                <a:solidFill>
                  <a:sysClr val="windowText" lastClr="000000"/>
                </a:solidFill>
                <a:effectLst/>
                <a:uLnTx/>
                <a:uFillTx/>
                <a:latin typeface="Arial"/>
                <a:ea typeface="+mn-ea"/>
                <a:cs typeface="Arial"/>
              </a:rPr>
              <a:t>≥2</a:t>
            </a:r>
            <a:r>
              <a:rPr kumimoji="0" sz="1394" b="0" i="0" u="none" strike="noStrike" kern="0" cap="none" spc="-49" normalizeH="0" baseline="0" noProof="0" dirty="0">
                <a:ln>
                  <a:noFill/>
                </a:ln>
                <a:solidFill>
                  <a:sysClr val="windowText" lastClr="000000"/>
                </a:solidFill>
                <a:effectLst/>
                <a:uLnTx/>
                <a:uFillTx/>
                <a:latin typeface="Arial"/>
                <a:ea typeface="+mn-ea"/>
                <a:cs typeface="Arial"/>
              </a:rPr>
              <a:t> </a:t>
            </a:r>
            <a:r>
              <a:rPr kumimoji="0" sz="1394" b="0" i="0" u="none" strike="noStrike" kern="0" cap="none" spc="-12" normalizeH="0" baseline="0" noProof="0" dirty="0">
                <a:ln>
                  <a:noFill/>
                </a:ln>
                <a:solidFill>
                  <a:sysClr val="windowText" lastClr="000000"/>
                </a:solidFill>
                <a:effectLst/>
                <a:uLnTx/>
                <a:uFillTx/>
                <a:latin typeface="Arial"/>
                <a:ea typeface="+mn-ea"/>
                <a:cs typeface="Arial"/>
              </a:rPr>
              <a:t>multiagent </a:t>
            </a:r>
            <a:r>
              <a:rPr kumimoji="0" sz="1394" b="0" i="0" u="none" strike="noStrike" kern="0" cap="none" spc="-79" normalizeH="0" baseline="0" noProof="0" dirty="0">
                <a:ln>
                  <a:noFill/>
                </a:ln>
                <a:solidFill>
                  <a:sysClr val="windowText" lastClr="000000"/>
                </a:solidFill>
                <a:effectLst/>
                <a:uLnTx/>
                <a:uFillTx/>
                <a:latin typeface="Arial"/>
                <a:ea typeface="+mn-ea"/>
                <a:cs typeface="Arial"/>
              </a:rPr>
              <a:t>systemic</a:t>
            </a:r>
            <a:r>
              <a:rPr kumimoji="0" sz="1394" b="0" i="0" u="none" strike="noStrike" kern="0" cap="none" spc="-30" normalizeH="0" baseline="0" noProof="0" dirty="0">
                <a:ln>
                  <a:noFill/>
                </a:ln>
                <a:solidFill>
                  <a:sysClr val="windowText" lastClr="000000"/>
                </a:solidFill>
                <a:effectLst/>
                <a:uLnTx/>
                <a:uFillTx/>
                <a:latin typeface="Arial"/>
                <a:ea typeface="+mn-ea"/>
                <a:cs typeface="Arial"/>
              </a:rPr>
              <a:t> </a:t>
            </a:r>
            <a:r>
              <a:rPr kumimoji="0" sz="1394" b="0" i="0" u="none" strike="noStrike" kern="0" cap="none" spc="-24" normalizeH="0" baseline="0" noProof="0" dirty="0">
                <a:ln>
                  <a:noFill/>
                </a:ln>
                <a:solidFill>
                  <a:sysClr val="windowText" lastClr="000000"/>
                </a:solidFill>
                <a:effectLst/>
                <a:uLnTx/>
                <a:uFillTx/>
                <a:latin typeface="Arial"/>
                <a:ea typeface="+mn-ea"/>
                <a:cs typeface="Arial"/>
              </a:rPr>
              <a:t>treatment</a:t>
            </a:r>
            <a:r>
              <a:rPr kumimoji="0" sz="1394" b="0" i="0" u="none" strike="noStrike" kern="0" cap="none" spc="-12" normalizeH="0" baseline="0" noProof="0" dirty="0">
                <a:ln>
                  <a:noFill/>
                </a:ln>
                <a:solidFill>
                  <a:sysClr val="windowText" lastClr="000000"/>
                </a:solidFill>
                <a:effectLst/>
                <a:uLnTx/>
                <a:uFillTx/>
                <a:latin typeface="Arial"/>
                <a:ea typeface="+mn-ea"/>
                <a:cs typeface="Arial"/>
              </a:rPr>
              <a:t> regimens</a:t>
            </a:r>
            <a:endParaRPr kumimoji="0" sz="1394" b="0" i="0" u="none" strike="noStrike" kern="0" cap="none" spc="0" normalizeH="0" baseline="0" noProof="0" dirty="0">
              <a:ln>
                <a:noFill/>
              </a:ln>
              <a:solidFill>
                <a:sysClr val="windowText" lastClr="000000"/>
              </a:solidFill>
              <a:effectLst/>
              <a:uLnTx/>
              <a:uFillTx/>
              <a:latin typeface="Arial"/>
              <a:ea typeface="+mn-ea"/>
              <a:cs typeface="Arial"/>
            </a:endParaRPr>
          </a:p>
          <a:p>
            <a:pPr marL="190120" marR="0" lvl="0" indent="-174726" algn="l" defTabSz="806867" rtl="0" eaLnBrk="1" fontAlgn="auto" latinLnBrk="0" hangingPunct="1">
              <a:lnSpc>
                <a:spcPct val="100000"/>
              </a:lnSpc>
              <a:spcBef>
                <a:spcPts val="176"/>
              </a:spcBef>
              <a:spcAft>
                <a:spcPts val="0"/>
              </a:spcAft>
              <a:buClr>
                <a:srgbClr val="19B0DD"/>
              </a:buClr>
              <a:buSzTx/>
              <a:buFontTx/>
              <a:buChar char="•"/>
              <a:tabLst>
                <a:tab pos="190120" algn="l"/>
              </a:tabLst>
              <a:defRPr/>
            </a:pPr>
            <a:r>
              <a:rPr kumimoji="0" sz="1394" b="0" i="0" u="none" strike="noStrike" kern="0" cap="none" spc="-230" normalizeH="0" baseline="0" noProof="0" dirty="0">
                <a:ln>
                  <a:noFill/>
                </a:ln>
                <a:solidFill>
                  <a:sysClr val="windowText" lastClr="000000"/>
                </a:solidFill>
                <a:effectLst/>
                <a:uLnTx/>
                <a:uFillTx/>
                <a:latin typeface="Arial"/>
                <a:ea typeface="+mn-ea"/>
                <a:cs typeface="Arial"/>
              </a:rPr>
              <a:t>ECOG</a:t>
            </a:r>
            <a:r>
              <a:rPr kumimoji="0" sz="1394" b="0" i="0" u="none" strike="noStrike" kern="0" cap="none" spc="-36" normalizeH="0" baseline="0" noProof="0" dirty="0">
                <a:ln>
                  <a:noFill/>
                </a:ln>
                <a:solidFill>
                  <a:sysClr val="windowText" lastClr="000000"/>
                </a:solidFill>
                <a:effectLst/>
                <a:uLnTx/>
                <a:uFillTx/>
                <a:latin typeface="Arial"/>
                <a:ea typeface="+mn-ea"/>
                <a:cs typeface="Arial"/>
              </a:rPr>
              <a:t> </a:t>
            </a:r>
            <a:r>
              <a:rPr kumimoji="0" sz="1394" b="0" i="0" u="none" strike="noStrike" kern="0" cap="none" spc="-55" normalizeH="0" baseline="0" noProof="0" dirty="0">
                <a:ln>
                  <a:noFill/>
                </a:ln>
                <a:solidFill>
                  <a:sysClr val="windowText" lastClr="000000"/>
                </a:solidFill>
                <a:effectLst/>
                <a:uLnTx/>
                <a:uFillTx/>
                <a:latin typeface="Arial"/>
                <a:ea typeface="+mn-ea"/>
                <a:cs typeface="Arial"/>
              </a:rPr>
              <a:t>performance </a:t>
            </a:r>
            <a:r>
              <a:rPr kumimoji="0" sz="1394" b="0" i="0" u="none" strike="noStrike" kern="0" cap="none" spc="-67" normalizeH="0" baseline="0" noProof="0" dirty="0">
                <a:ln>
                  <a:noFill/>
                </a:ln>
                <a:solidFill>
                  <a:sysClr val="windowText" lastClr="000000"/>
                </a:solidFill>
                <a:effectLst/>
                <a:uLnTx/>
                <a:uFillTx/>
                <a:latin typeface="Arial"/>
                <a:ea typeface="+mn-ea"/>
                <a:cs typeface="Arial"/>
              </a:rPr>
              <a:t>status</a:t>
            </a:r>
            <a:r>
              <a:rPr kumimoji="0" sz="1394" b="0" i="0" u="none" strike="noStrike" kern="0" cap="none" spc="-24" normalizeH="0" baseline="0" noProof="0" dirty="0">
                <a:ln>
                  <a:noFill/>
                </a:ln>
                <a:solidFill>
                  <a:sysClr val="windowText" lastClr="000000"/>
                </a:solidFill>
                <a:effectLst/>
                <a:uLnTx/>
                <a:uFillTx/>
                <a:latin typeface="Arial"/>
                <a:ea typeface="+mn-ea"/>
                <a:cs typeface="Arial"/>
              </a:rPr>
              <a:t> </a:t>
            </a:r>
            <a:r>
              <a:rPr kumimoji="0" sz="1394" b="0" i="0" u="none" strike="noStrike" kern="0" cap="none" spc="0" normalizeH="0" baseline="0" noProof="0" dirty="0">
                <a:ln>
                  <a:noFill/>
                </a:ln>
                <a:solidFill>
                  <a:sysClr val="windowText" lastClr="000000"/>
                </a:solidFill>
                <a:effectLst/>
                <a:uLnTx/>
                <a:uFillTx/>
                <a:latin typeface="Arial"/>
                <a:ea typeface="+mn-ea"/>
                <a:cs typeface="Arial"/>
              </a:rPr>
              <a:t>of</a:t>
            </a:r>
            <a:r>
              <a:rPr kumimoji="0" sz="1394" b="0" i="0" u="none" strike="noStrike" kern="0" cap="none" spc="-55" normalizeH="0" baseline="0" noProof="0" dirty="0">
                <a:ln>
                  <a:noFill/>
                </a:ln>
                <a:solidFill>
                  <a:sysClr val="windowText" lastClr="000000"/>
                </a:solidFill>
                <a:effectLst/>
                <a:uLnTx/>
                <a:uFillTx/>
                <a:latin typeface="Arial"/>
                <a:ea typeface="+mn-ea"/>
                <a:cs typeface="Arial"/>
              </a:rPr>
              <a:t> </a:t>
            </a:r>
            <a:r>
              <a:rPr kumimoji="0" sz="1394" b="0" i="0" u="none" strike="noStrike" kern="0" cap="none" spc="-67" normalizeH="0" baseline="0" noProof="0" dirty="0">
                <a:ln>
                  <a:noFill/>
                </a:ln>
                <a:solidFill>
                  <a:sysClr val="windowText" lastClr="000000"/>
                </a:solidFill>
                <a:effectLst/>
                <a:uLnTx/>
                <a:uFillTx/>
                <a:latin typeface="Arial"/>
                <a:ea typeface="+mn-ea"/>
                <a:cs typeface="Arial"/>
              </a:rPr>
              <a:t>0-</a:t>
            </a:r>
            <a:r>
              <a:rPr kumimoji="0" sz="1394" b="0" i="0" u="none" strike="noStrike" kern="0" cap="none" spc="-61" normalizeH="0" baseline="0" noProof="0" dirty="0">
                <a:ln>
                  <a:noFill/>
                </a:ln>
                <a:solidFill>
                  <a:sysClr val="windowText" lastClr="000000"/>
                </a:solidFill>
                <a:effectLst/>
                <a:uLnTx/>
                <a:uFillTx/>
                <a:latin typeface="Arial"/>
                <a:ea typeface="+mn-ea"/>
                <a:cs typeface="Arial"/>
              </a:rPr>
              <a:t>2</a:t>
            </a:r>
            <a:endParaRPr kumimoji="0" sz="1394" b="0" i="0" u="none" strike="noStrike" kern="0" cap="none" spc="0" normalizeH="0" baseline="0" noProof="0" dirty="0">
              <a:ln>
                <a:noFill/>
              </a:ln>
              <a:solidFill>
                <a:sysClr val="windowText" lastClr="000000"/>
              </a:solidFill>
              <a:effectLst/>
              <a:uLnTx/>
              <a:uFillTx/>
              <a:latin typeface="Arial"/>
              <a:ea typeface="+mn-ea"/>
              <a:cs typeface="Arial"/>
            </a:endParaRPr>
          </a:p>
          <a:p>
            <a:pPr marL="188580" marR="496467" lvl="0" indent="-173956" algn="l" defTabSz="806867" rtl="0" eaLnBrk="1" fontAlgn="auto" latinLnBrk="0" hangingPunct="1">
              <a:lnSpc>
                <a:spcPct val="110400"/>
              </a:lnSpc>
              <a:spcBef>
                <a:spcPts val="0"/>
              </a:spcBef>
              <a:spcAft>
                <a:spcPts val="0"/>
              </a:spcAft>
              <a:buClr>
                <a:srgbClr val="19B0DD"/>
              </a:buClr>
              <a:buSzTx/>
              <a:buFontTx/>
              <a:buChar char="•"/>
              <a:tabLst>
                <a:tab pos="188580" algn="l"/>
              </a:tabLst>
              <a:defRPr/>
            </a:pPr>
            <a:r>
              <a:rPr kumimoji="0" sz="1394" b="0" i="0" u="none" strike="noStrike" kern="0" cap="none" spc="-79" normalizeH="0" baseline="0" noProof="0" dirty="0">
                <a:ln>
                  <a:noFill/>
                </a:ln>
                <a:solidFill>
                  <a:sysClr val="windowText" lastClr="000000"/>
                </a:solidFill>
                <a:effectLst/>
                <a:uLnTx/>
                <a:uFillTx/>
                <a:latin typeface="Arial"/>
                <a:ea typeface="+mn-ea"/>
                <a:cs typeface="Arial"/>
              </a:rPr>
              <a:t>No</a:t>
            </a:r>
            <a:r>
              <a:rPr kumimoji="0" sz="1394" b="0" i="0" u="none" strike="noStrike" kern="0" cap="none" spc="-61" normalizeH="0" baseline="0" noProof="0" dirty="0">
                <a:ln>
                  <a:noFill/>
                </a:ln>
                <a:solidFill>
                  <a:sysClr val="windowText" lastClr="000000"/>
                </a:solidFill>
                <a:effectLst/>
                <a:uLnTx/>
                <a:uFillTx/>
                <a:latin typeface="Arial"/>
                <a:ea typeface="+mn-ea"/>
                <a:cs typeface="Arial"/>
              </a:rPr>
              <a:t> </a:t>
            </a:r>
            <a:r>
              <a:rPr kumimoji="0" sz="1394" b="0" i="0" u="none" strike="noStrike" kern="0" cap="none" spc="-55" normalizeH="0" baseline="0" noProof="0" dirty="0">
                <a:ln>
                  <a:noFill/>
                </a:ln>
                <a:solidFill>
                  <a:sysClr val="windowText" lastClr="000000"/>
                </a:solidFill>
                <a:effectLst/>
                <a:uLnTx/>
                <a:uFillTx/>
                <a:latin typeface="Arial"/>
                <a:ea typeface="+mn-ea"/>
                <a:cs typeface="Arial"/>
              </a:rPr>
              <a:t>bulky</a:t>
            </a:r>
            <a:r>
              <a:rPr kumimoji="0" sz="1394" b="0" i="0" u="none" strike="noStrike" kern="0" cap="none" spc="-24" normalizeH="0" baseline="0" noProof="0" dirty="0">
                <a:ln>
                  <a:noFill/>
                </a:ln>
                <a:solidFill>
                  <a:sysClr val="windowText" lastClr="000000"/>
                </a:solidFill>
                <a:effectLst/>
                <a:uLnTx/>
                <a:uFillTx/>
                <a:latin typeface="Arial"/>
                <a:ea typeface="+mn-ea"/>
                <a:cs typeface="Arial"/>
              </a:rPr>
              <a:t> </a:t>
            </a:r>
            <a:r>
              <a:rPr kumimoji="0" sz="1394" b="0" i="0" u="none" strike="noStrike" kern="0" cap="none" spc="-103" normalizeH="0" baseline="0" noProof="0" dirty="0">
                <a:ln>
                  <a:noFill/>
                </a:ln>
                <a:solidFill>
                  <a:sysClr val="windowText" lastClr="000000"/>
                </a:solidFill>
                <a:effectLst/>
                <a:uLnTx/>
                <a:uFillTx/>
                <a:latin typeface="Arial"/>
                <a:ea typeface="+mn-ea"/>
                <a:cs typeface="Arial"/>
              </a:rPr>
              <a:t>disease</a:t>
            </a:r>
            <a:r>
              <a:rPr kumimoji="0" sz="1394" b="0" i="0" u="none" strike="noStrike" kern="0" cap="none" spc="-12" normalizeH="0" baseline="0" noProof="0" dirty="0">
                <a:ln>
                  <a:noFill/>
                </a:ln>
                <a:solidFill>
                  <a:sysClr val="windowText" lastClr="000000"/>
                </a:solidFill>
                <a:effectLst/>
                <a:uLnTx/>
                <a:uFillTx/>
                <a:latin typeface="Arial"/>
                <a:ea typeface="+mn-ea"/>
                <a:cs typeface="Arial"/>
              </a:rPr>
              <a:t> </a:t>
            </a:r>
            <a:r>
              <a:rPr kumimoji="0" sz="1394" b="0" i="0" u="none" strike="noStrike" kern="0" cap="none" spc="-67" normalizeH="0" baseline="0" noProof="0" dirty="0">
                <a:ln>
                  <a:noFill/>
                </a:ln>
                <a:solidFill>
                  <a:sysClr val="windowText" lastClr="000000"/>
                </a:solidFill>
                <a:effectLst/>
                <a:uLnTx/>
                <a:uFillTx/>
                <a:latin typeface="Arial"/>
                <a:ea typeface="+mn-ea"/>
                <a:cs typeface="Arial"/>
              </a:rPr>
              <a:t>(≥10</a:t>
            </a:r>
            <a:r>
              <a:rPr kumimoji="0" sz="1394" b="0" i="0" u="none" strike="noStrike" kern="0" cap="none" spc="-55" normalizeH="0" baseline="0" noProof="0" dirty="0">
                <a:ln>
                  <a:noFill/>
                </a:ln>
                <a:solidFill>
                  <a:sysClr val="windowText" lastClr="000000"/>
                </a:solidFill>
                <a:effectLst/>
                <a:uLnTx/>
                <a:uFillTx/>
                <a:latin typeface="Arial"/>
                <a:ea typeface="+mn-ea"/>
                <a:cs typeface="Arial"/>
              </a:rPr>
              <a:t> </a:t>
            </a:r>
            <a:r>
              <a:rPr kumimoji="0" sz="1394" b="0" i="0" u="none" strike="noStrike" kern="0" cap="none" spc="-85" normalizeH="0" baseline="0" noProof="0" dirty="0">
                <a:ln>
                  <a:noFill/>
                </a:ln>
                <a:solidFill>
                  <a:sysClr val="windowText" lastClr="000000"/>
                </a:solidFill>
                <a:effectLst/>
                <a:uLnTx/>
                <a:uFillTx/>
                <a:latin typeface="Arial"/>
                <a:ea typeface="+mn-ea"/>
                <a:cs typeface="Arial"/>
              </a:rPr>
              <a:t>cm</a:t>
            </a:r>
            <a:r>
              <a:rPr kumimoji="0" sz="1394" b="0" i="0" u="none" strike="noStrike" kern="0" cap="none" spc="-55" normalizeH="0" baseline="0" noProof="0" dirty="0">
                <a:ln>
                  <a:noFill/>
                </a:ln>
                <a:solidFill>
                  <a:sysClr val="windowText" lastClr="000000"/>
                </a:solidFill>
                <a:effectLst/>
                <a:uLnTx/>
                <a:uFillTx/>
                <a:latin typeface="Arial"/>
                <a:ea typeface="+mn-ea"/>
                <a:cs typeface="Arial"/>
              </a:rPr>
              <a:t> </a:t>
            </a:r>
            <a:r>
              <a:rPr kumimoji="0" sz="1394" b="0" i="0" u="none" strike="noStrike" kern="0" cap="none" spc="-12" normalizeH="0" baseline="0" noProof="0" dirty="0">
                <a:ln>
                  <a:noFill/>
                </a:ln>
                <a:solidFill>
                  <a:sysClr val="windowText" lastClr="000000"/>
                </a:solidFill>
                <a:effectLst/>
                <a:uLnTx/>
                <a:uFillTx/>
                <a:latin typeface="Arial"/>
                <a:ea typeface="+mn-ea"/>
                <a:cs typeface="Arial"/>
              </a:rPr>
              <a:t>in</a:t>
            </a:r>
            <a:r>
              <a:rPr kumimoji="0" sz="1394" b="0" i="0" u="none" strike="noStrike" kern="0" cap="none" spc="-36" normalizeH="0" baseline="0" noProof="0" dirty="0">
                <a:ln>
                  <a:noFill/>
                </a:ln>
                <a:solidFill>
                  <a:sysClr val="windowText" lastClr="000000"/>
                </a:solidFill>
                <a:effectLst/>
                <a:uLnTx/>
                <a:uFillTx/>
                <a:latin typeface="Arial"/>
                <a:ea typeface="+mn-ea"/>
                <a:cs typeface="Arial"/>
              </a:rPr>
              <a:t> </a:t>
            </a:r>
            <a:r>
              <a:rPr kumimoji="0" sz="1394" b="0" i="0" u="none" strike="noStrike" kern="0" cap="none" spc="-61" normalizeH="0" baseline="0" noProof="0" dirty="0">
                <a:ln>
                  <a:noFill/>
                </a:ln>
                <a:solidFill>
                  <a:sysClr val="windowText" lastClr="000000"/>
                </a:solidFill>
                <a:effectLst/>
                <a:uLnTx/>
                <a:uFillTx/>
                <a:latin typeface="Arial"/>
                <a:ea typeface="+mn-ea"/>
                <a:cs typeface="Arial"/>
              </a:rPr>
              <a:t>longest</a:t>
            </a:r>
            <a:r>
              <a:rPr kumimoji="0" sz="1394" b="0" i="0" u="none" strike="noStrike" kern="0" cap="none" spc="-36" normalizeH="0" baseline="0" noProof="0" dirty="0">
                <a:ln>
                  <a:noFill/>
                </a:ln>
                <a:solidFill>
                  <a:sysClr val="windowText" lastClr="000000"/>
                </a:solidFill>
                <a:effectLst/>
                <a:uLnTx/>
                <a:uFillTx/>
                <a:latin typeface="Arial"/>
                <a:ea typeface="+mn-ea"/>
                <a:cs typeface="Arial"/>
              </a:rPr>
              <a:t> </a:t>
            </a:r>
            <a:r>
              <a:rPr kumimoji="0" sz="1394" b="0" i="0" u="none" strike="noStrike" kern="0" cap="none" spc="-61" normalizeH="0" baseline="0" noProof="0" dirty="0">
                <a:ln>
                  <a:noFill/>
                </a:ln>
                <a:solidFill>
                  <a:sysClr val="windowText" lastClr="000000"/>
                </a:solidFill>
                <a:effectLst/>
                <a:uLnTx/>
                <a:uFillTx/>
                <a:latin typeface="Arial"/>
                <a:ea typeface="+mn-ea"/>
                <a:cs typeface="Arial"/>
              </a:rPr>
              <a:t>dimension,</a:t>
            </a:r>
            <a:r>
              <a:rPr kumimoji="0" sz="1394" b="0" i="0" u="none" strike="noStrike" kern="0" cap="none" spc="-24" normalizeH="0" baseline="0" noProof="0" dirty="0">
                <a:ln>
                  <a:noFill/>
                </a:ln>
                <a:solidFill>
                  <a:sysClr val="windowText" lastClr="000000"/>
                </a:solidFill>
                <a:effectLst/>
                <a:uLnTx/>
                <a:uFillTx/>
                <a:latin typeface="Arial"/>
                <a:ea typeface="+mn-ea"/>
                <a:cs typeface="Arial"/>
              </a:rPr>
              <a:t> </a:t>
            </a:r>
            <a:r>
              <a:rPr kumimoji="0" sz="1394" b="0" i="0" u="none" strike="noStrike" kern="0" cap="none" spc="-30" normalizeH="0" baseline="0" noProof="0" dirty="0">
                <a:ln>
                  <a:noFill/>
                </a:ln>
                <a:solidFill>
                  <a:sysClr val="windowText" lastClr="000000"/>
                </a:solidFill>
                <a:effectLst/>
                <a:uLnTx/>
                <a:uFillTx/>
                <a:latin typeface="Arial"/>
                <a:ea typeface="+mn-ea"/>
                <a:cs typeface="Arial"/>
              </a:rPr>
              <a:t>per </a:t>
            </a:r>
            <a:r>
              <a:rPr kumimoji="0" sz="1394" b="0" i="0" u="none" strike="noStrike" kern="0" cap="none" spc="-36" normalizeH="0" baseline="0" noProof="0" dirty="0">
                <a:ln>
                  <a:noFill/>
                </a:ln>
                <a:solidFill>
                  <a:sysClr val="windowText" lastClr="000000"/>
                </a:solidFill>
                <a:effectLst/>
                <a:uLnTx/>
                <a:uFillTx/>
                <a:latin typeface="Arial"/>
                <a:ea typeface="+mn-ea"/>
                <a:cs typeface="Arial"/>
              </a:rPr>
              <a:t>protocol </a:t>
            </a:r>
            <a:r>
              <a:rPr kumimoji="0" sz="1394" b="0" i="0" u="none" strike="noStrike" kern="0" cap="none" spc="-55" normalizeH="0" baseline="0" noProof="0" dirty="0">
                <a:ln>
                  <a:noFill/>
                </a:ln>
                <a:solidFill>
                  <a:sysClr val="windowText" lastClr="000000"/>
                </a:solidFill>
                <a:effectLst/>
                <a:uLnTx/>
                <a:uFillTx/>
                <a:latin typeface="Arial"/>
                <a:ea typeface="+mn-ea"/>
                <a:cs typeface="Arial"/>
              </a:rPr>
              <a:t>amendment</a:t>
            </a:r>
            <a:r>
              <a:rPr kumimoji="0" sz="1394" b="0" i="0" u="none" strike="noStrike" kern="0" cap="none" spc="-12" normalizeH="0" baseline="0" noProof="0" dirty="0">
                <a:ln>
                  <a:noFill/>
                </a:ln>
                <a:solidFill>
                  <a:sysClr val="windowText" lastClr="000000"/>
                </a:solidFill>
                <a:effectLst/>
                <a:uLnTx/>
                <a:uFillTx/>
                <a:latin typeface="Arial"/>
                <a:ea typeface="+mn-ea"/>
                <a:cs typeface="Arial"/>
              </a:rPr>
              <a:t> </a:t>
            </a:r>
            <a:r>
              <a:rPr kumimoji="0" sz="1394" b="0" i="0" u="none" strike="noStrike" kern="0" cap="none" spc="-30" normalizeH="0" baseline="0" noProof="0" dirty="0">
                <a:ln>
                  <a:noFill/>
                </a:ln>
                <a:solidFill>
                  <a:sysClr val="windowText" lastClr="000000"/>
                </a:solidFill>
                <a:effectLst/>
                <a:uLnTx/>
                <a:uFillTx/>
                <a:latin typeface="Arial"/>
                <a:ea typeface="+mn-ea"/>
                <a:cs typeface="Arial"/>
              </a:rPr>
              <a:t>2)</a:t>
            </a:r>
            <a:endParaRPr kumimoji="0" sz="1394" b="0" i="0" u="none" strike="noStrike" kern="0" cap="none" spc="0" normalizeH="0" baseline="0" noProof="0" dirty="0">
              <a:ln>
                <a:noFill/>
              </a:ln>
              <a:solidFill>
                <a:sysClr val="windowText" lastClr="000000"/>
              </a:solidFill>
              <a:effectLst/>
              <a:uLnTx/>
              <a:uFillTx/>
              <a:latin typeface="Arial"/>
              <a:ea typeface="+mn-ea"/>
              <a:cs typeface="Arial"/>
            </a:endParaRPr>
          </a:p>
        </p:txBody>
      </p:sp>
      <p:sp>
        <p:nvSpPr>
          <p:cNvPr id="17" name="object 17"/>
          <p:cNvSpPr txBox="1"/>
          <p:nvPr/>
        </p:nvSpPr>
        <p:spPr>
          <a:xfrm>
            <a:off x="868214" y="5933399"/>
            <a:ext cx="10255443" cy="687788"/>
          </a:xfrm>
          <a:prstGeom prst="rect">
            <a:avLst/>
          </a:prstGeom>
        </p:spPr>
        <p:txBody>
          <a:bodyPr vert="horz" wrap="square" lIns="0" tIns="16164" rIns="0" bIns="0" rtlCol="0">
            <a:spAutoFit/>
          </a:bodyPr>
          <a:lstStyle/>
          <a:p>
            <a:pPr marL="46183" marR="0" lvl="0" indent="0" algn="l" defTabSz="806867" rtl="0" eaLnBrk="1" fontAlgn="auto" latinLnBrk="0" hangingPunct="1">
              <a:lnSpc>
                <a:spcPct val="100000"/>
              </a:lnSpc>
              <a:spcBef>
                <a:spcPts val="127"/>
              </a:spcBef>
              <a:spcAft>
                <a:spcPts val="0"/>
              </a:spcAft>
              <a:buClrTx/>
              <a:buSzTx/>
              <a:buFontTx/>
              <a:buNone/>
              <a:tabLst/>
              <a:defRPr/>
            </a:pPr>
            <a:r>
              <a:rPr kumimoji="0" sz="1091" b="0" i="0" u="none" strike="noStrike" kern="0" cap="none" spc="-72" normalizeH="0" baseline="23148" noProof="0" dirty="0">
                <a:ln>
                  <a:noFill/>
                </a:ln>
                <a:solidFill>
                  <a:srgbClr val="3F3F3F"/>
                </a:solidFill>
                <a:effectLst/>
                <a:uLnTx/>
                <a:uFillTx/>
                <a:latin typeface="Arial"/>
                <a:ea typeface="+mn-ea"/>
                <a:cs typeface="Arial"/>
              </a:rPr>
              <a:t>a</a:t>
            </a:r>
            <a:r>
              <a:rPr kumimoji="0" sz="1091" b="0" i="0" u="none" strike="noStrike" kern="0" cap="none" spc="-49" normalizeH="0" baseline="0" noProof="0" dirty="0">
                <a:ln>
                  <a:noFill/>
                </a:ln>
                <a:solidFill>
                  <a:srgbClr val="3F3F3F"/>
                </a:solidFill>
                <a:effectLst/>
                <a:uLnTx/>
                <a:uFillTx/>
                <a:latin typeface="Arial"/>
                <a:ea typeface="+mn-ea"/>
                <a:cs typeface="Arial"/>
              </a:rPr>
              <a:t>Defined</a:t>
            </a:r>
            <a:r>
              <a:rPr kumimoji="0" sz="1091" b="0" i="0" u="none" strike="noStrike" kern="0" cap="none" spc="-36" normalizeH="0" baseline="0" noProof="0" dirty="0">
                <a:ln>
                  <a:noFill/>
                </a:ln>
                <a:solidFill>
                  <a:srgbClr val="3F3F3F"/>
                </a:solidFill>
                <a:effectLst/>
                <a:uLnTx/>
                <a:uFillTx/>
                <a:latin typeface="Arial"/>
                <a:ea typeface="+mn-ea"/>
                <a:cs typeface="Arial"/>
              </a:rPr>
              <a:t> </a:t>
            </a:r>
            <a:r>
              <a:rPr kumimoji="0" sz="1091" b="0" i="0" u="none" strike="noStrike" kern="0" cap="none" spc="-49" normalizeH="0" baseline="0" noProof="0" dirty="0">
                <a:ln>
                  <a:noFill/>
                </a:ln>
                <a:solidFill>
                  <a:srgbClr val="3F3F3F"/>
                </a:solidFill>
                <a:effectLst/>
                <a:uLnTx/>
                <a:uFillTx/>
                <a:latin typeface="Arial"/>
                <a:ea typeface="+mn-ea"/>
                <a:cs typeface="Arial"/>
              </a:rPr>
              <a:t>by</a:t>
            </a:r>
            <a:r>
              <a:rPr kumimoji="0" sz="1091" b="0" i="0" u="none" strike="noStrike" kern="0" cap="none" spc="-24" normalizeH="0" baseline="0" noProof="0" dirty="0">
                <a:ln>
                  <a:noFill/>
                </a:ln>
                <a:solidFill>
                  <a:srgbClr val="3F3F3F"/>
                </a:solidFill>
                <a:effectLst/>
                <a:uLnTx/>
                <a:uFillTx/>
                <a:latin typeface="Arial"/>
                <a:ea typeface="+mn-ea"/>
                <a:cs typeface="Arial"/>
              </a:rPr>
              <a:t> </a:t>
            </a:r>
            <a:r>
              <a:rPr kumimoji="0" sz="1091" b="0" i="0" u="none" strike="noStrike" kern="0" cap="none" spc="-12" normalizeH="0" baseline="0" noProof="0" dirty="0">
                <a:ln>
                  <a:noFill/>
                </a:ln>
                <a:solidFill>
                  <a:srgbClr val="3F3F3F"/>
                </a:solidFill>
                <a:effectLst/>
                <a:uLnTx/>
                <a:uFillTx/>
                <a:latin typeface="Arial"/>
                <a:ea typeface="+mn-ea"/>
                <a:cs typeface="Arial"/>
              </a:rPr>
              <a:t>the</a:t>
            </a:r>
            <a:r>
              <a:rPr kumimoji="0" sz="1091" b="0" i="0" u="none" strike="noStrike" kern="0" cap="none" spc="-36" normalizeH="0" baseline="0" noProof="0" dirty="0">
                <a:ln>
                  <a:noFill/>
                </a:ln>
                <a:solidFill>
                  <a:srgbClr val="3F3F3F"/>
                </a:solidFill>
                <a:effectLst/>
                <a:uLnTx/>
                <a:uFillTx/>
                <a:latin typeface="Arial"/>
                <a:ea typeface="+mn-ea"/>
                <a:cs typeface="Arial"/>
              </a:rPr>
              <a:t> </a:t>
            </a:r>
            <a:r>
              <a:rPr kumimoji="0" sz="1091" b="0" i="0" u="none" strike="noStrike" kern="0" cap="none" spc="-61" normalizeH="0" baseline="0" noProof="0" dirty="0">
                <a:ln>
                  <a:noFill/>
                </a:ln>
                <a:solidFill>
                  <a:srgbClr val="3F3F3F"/>
                </a:solidFill>
                <a:effectLst/>
                <a:uLnTx/>
                <a:uFillTx/>
                <a:latin typeface="Arial"/>
                <a:ea typeface="+mn-ea"/>
                <a:cs typeface="Arial"/>
              </a:rPr>
              <a:t>2016</a:t>
            </a:r>
            <a:r>
              <a:rPr kumimoji="0" sz="1091" b="0" i="0" u="none" strike="noStrike" kern="0" cap="none" spc="-30" normalizeH="0" baseline="0" noProof="0" dirty="0">
                <a:ln>
                  <a:noFill/>
                </a:ln>
                <a:solidFill>
                  <a:srgbClr val="3F3F3F"/>
                </a:solidFill>
                <a:effectLst/>
                <a:uLnTx/>
                <a:uFillTx/>
                <a:latin typeface="Arial"/>
                <a:ea typeface="+mn-ea"/>
                <a:cs typeface="Arial"/>
              </a:rPr>
              <a:t> </a:t>
            </a:r>
            <a:r>
              <a:rPr kumimoji="0" sz="1091" b="0" i="0" u="none" strike="noStrike" kern="0" cap="none" spc="-116" normalizeH="0" baseline="0" noProof="0" dirty="0">
                <a:ln>
                  <a:noFill/>
                </a:ln>
                <a:solidFill>
                  <a:srgbClr val="3F3F3F"/>
                </a:solidFill>
                <a:effectLst/>
                <a:uLnTx/>
                <a:uFillTx/>
                <a:latin typeface="Arial"/>
                <a:ea typeface="+mn-ea"/>
                <a:cs typeface="Arial"/>
              </a:rPr>
              <a:t>WHO</a:t>
            </a:r>
            <a:r>
              <a:rPr kumimoji="0" sz="1091" b="0" i="0" u="none" strike="noStrike" kern="0" cap="none" spc="-30" normalizeH="0" baseline="0" noProof="0" dirty="0">
                <a:ln>
                  <a:noFill/>
                </a:ln>
                <a:solidFill>
                  <a:srgbClr val="3F3F3F"/>
                </a:solidFill>
                <a:effectLst/>
                <a:uLnTx/>
                <a:uFillTx/>
                <a:latin typeface="Arial"/>
                <a:ea typeface="+mn-ea"/>
                <a:cs typeface="Arial"/>
              </a:rPr>
              <a:t> </a:t>
            </a:r>
            <a:r>
              <a:rPr kumimoji="0" sz="1091" b="0" i="0" u="none" strike="noStrike" kern="0" cap="none" spc="-12" normalizeH="0" baseline="0" noProof="0" dirty="0">
                <a:ln>
                  <a:noFill/>
                </a:ln>
                <a:solidFill>
                  <a:srgbClr val="3F3F3F"/>
                </a:solidFill>
                <a:effectLst/>
                <a:uLnTx/>
                <a:uFillTx/>
                <a:latin typeface="Arial"/>
                <a:ea typeface="+mn-ea"/>
                <a:cs typeface="Arial"/>
              </a:rPr>
              <a:t>classification.</a:t>
            </a:r>
            <a:endParaRPr kumimoji="0" sz="1091" b="0" i="0" u="none" strike="noStrike" kern="0" cap="none" spc="0" normalizeH="0" baseline="0" noProof="0" dirty="0">
              <a:ln>
                <a:noFill/>
              </a:ln>
              <a:solidFill>
                <a:sysClr val="windowText" lastClr="000000"/>
              </a:solidFill>
              <a:effectLst/>
              <a:uLnTx/>
              <a:uFillTx/>
              <a:latin typeface="Arial"/>
              <a:ea typeface="+mn-ea"/>
              <a:cs typeface="Arial"/>
            </a:endParaRPr>
          </a:p>
          <a:p>
            <a:pPr marL="46183" marR="0" lvl="0" indent="0" algn="l" defTabSz="806867" rtl="0" eaLnBrk="1" fontAlgn="auto" latinLnBrk="0" hangingPunct="1">
              <a:lnSpc>
                <a:spcPct val="100000"/>
              </a:lnSpc>
              <a:spcBef>
                <a:spcPts val="6"/>
              </a:spcBef>
              <a:spcAft>
                <a:spcPts val="0"/>
              </a:spcAft>
              <a:buClrTx/>
              <a:buSzTx/>
              <a:buFontTx/>
              <a:buNone/>
              <a:tabLst/>
              <a:defRPr/>
            </a:pPr>
            <a:r>
              <a:rPr kumimoji="0" sz="1091" b="0" i="0" u="none" strike="noStrike" kern="0" cap="none" spc="-127" normalizeH="0" baseline="0" noProof="0" dirty="0">
                <a:ln>
                  <a:noFill/>
                </a:ln>
                <a:solidFill>
                  <a:srgbClr val="3F3F3F"/>
                </a:solidFill>
                <a:effectLst/>
                <a:uLnTx/>
                <a:uFillTx/>
                <a:latin typeface="Arial"/>
                <a:ea typeface="+mn-ea"/>
                <a:cs typeface="Arial"/>
              </a:rPr>
              <a:t>CT,</a:t>
            </a:r>
            <a:r>
              <a:rPr kumimoji="0" sz="1091" b="0" i="0" u="none" strike="noStrike" kern="0" cap="none" spc="-12" normalizeH="0" baseline="0" noProof="0" dirty="0">
                <a:ln>
                  <a:noFill/>
                </a:ln>
                <a:solidFill>
                  <a:srgbClr val="3F3F3F"/>
                </a:solidFill>
                <a:effectLst/>
                <a:uLnTx/>
                <a:uFillTx/>
                <a:latin typeface="Arial"/>
                <a:ea typeface="+mn-ea"/>
                <a:cs typeface="Arial"/>
              </a:rPr>
              <a:t> </a:t>
            </a:r>
            <a:r>
              <a:rPr kumimoji="0" sz="1091" b="0" i="0" u="none" strike="noStrike" kern="0" cap="none" spc="-42" normalizeH="0" baseline="0" noProof="0" dirty="0">
                <a:ln>
                  <a:noFill/>
                </a:ln>
                <a:solidFill>
                  <a:srgbClr val="3F3F3F"/>
                </a:solidFill>
                <a:effectLst/>
                <a:uLnTx/>
                <a:uFillTx/>
                <a:latin typeface="Arial"/>
                <a:ea typeface="+mn-ea"/>
                <a:cs typeface="Arial"/>
              </a:rPr>
              <a:t>computed</a:t>
            </a:r>
            <a:r>
              <a:rPr kumimoji="0" sz="1091" b="0" i="0" u="none" strike="noStrike" kern="0" cap="none" spc="-24" normalizeH="0" baseline="0" noProof="0" dirty="0">
                <a:ln>
                  <a:noFill/>
                </a:ln>
                <a:solidFill>
                  <a:srgbClr val="3F3F3F"/>
                </a:solidFill>
                <a:effectLst/>
                <a:uLnTx/>
                <a:uFillTx/>
                <a:latin typeface="Arial"/>
                <a:ea typeface="+mn-ea"/>
                <a:cs typeface="Arial"/>
              </a:rPr>
              <a:t> </a:t>
            </a:r>
            <a:r>
              <a:rPr kumimoji="0" sz="1091" b="0" i="0" u="none" strike="noStrike" kern="0" cap="none" spc="-36" normalizeH="0" baseline="0" noProof="0" dirty="0">
                <a:ln>
                  <a:noFill/>
                </a:ln>
                <a:solidFill>
                  <a:srgbClr val="3F3F3F"/>
                </a:solidFill>
                <a:effectLst/>
                <a:uLnTx/>
                <a:uFillTx/>
                <a:latin typeface="Arial"/>
                <a:ea typeface="+mn-ea"/>
                <a:cs typeface="Arial"/>
              </a:rPr>
              <a:t>tomography;</a:t>
            </a:r>
            <a:r>
              <a:rPr kumimoji="0" sz="1091" b="0" i="0" u="none" strike="noStrike" kern="0" cap="none" spc="-19" normalizeH="0" baseline="0" noProof="0" dirty="0">
                <a:ln>
                  <a:noFill/>
                </a:ln>
                <a:solidFill>
                  <a:srgbClr val="3F3F3F"/>
                </a:solidFill>
                <a:effectLst/>
                <a:uLnTx/>
                <a:uFillTx/>
                <a:latin typeface="Arial"/>
                <a:ea typeface="+mn-ea"/>
                <a:cs typeface="Arial"/>
              </a:rPr>
              <a:t> </a:t>
            </a:r>
            <a:r>
              <a:rPr kumimoji="0" sz="1091" b="0" i="0" u="none" strike="noStrike" kern="0" cap="none" spc="-133" normalizeH="0" baseline="0" noProof="0" dirty="0">
                <a:ln>
                  <a:noFill/>
                </a:ln>
                <a:solidFill>
                  <a:srgbClr val="3F3F3F"/>
                </a:solidFill>
                <a:effectLst/>
                <a:uLnTx/>
                <a:uFillTx/>
                <a:latin typeface="Arial"/>
                <a:ea typeface="+mn-ea"/>
                <a:cs typeface="Arial"/>
              </a:rPr>
              <a:t>DLBCL,</a:t>
            </a:r>
            <a:r>
              <a:rPr kumimoji="0" sz="1091" b="0" i="0" u="none" strike="noStrike" kern="0" cap="none" spc="0" normalizeH="0" baseline="0" noProof="0" dirty="0">
                <a:ln>
                  <a:noFill/>
                </a:ln>
                <a:solidFill>
                  <a:srgbClr val="3F3F3F"/>
                </a:solidFill>
                <a:effectLst/>
                <a:uLnTx/>
                <a:uFillTx/>
                <a:latin typeface="Arial"/>
                <a:ea typeface="+mn-ea"/>
                <a:cs typeface="Arial"/>
              </a:rPr>
              <a:t> </a:t>
            </a:r>
            <a:r>
              <a:rPr kumimoji="0" sz="1091" b="0" i="0" u="none" strike="noStrike" kern="0" cap="none" spc="-36" normalizeH="0" baseline="0" noProof="0" dirty="0">
                <a:ln>
                  <a:noFill/>
                </a:ln>
                <a:solidFill>
                  <a:srgbClr val="3F3F3F"/>
                </a:solidFill>
                <a:effectLst/>
                <a:uLnTx/>
                <a:uFillTx/>
                <a:latin typeface="Arial"/>
                <a:ea typeface="+mn-ea"/>
                <a:cs typeface="Arial"/>
              </a:rPr>
              <a:t>diffuse</a:t>
            </a:r>
            <a:r>
              <a:rPr kumimoji="0" sz="1091" b="0" i="0" u="none" strike="noStrike" kern="0" cap="none" spc="0" normalizeH="0" baseline="0" noProof="0" dirty="0">
                <a:ln>
                  <a:noFill/>
                </a:ln>
                <a:solidFill>
                  <a:srgbClr val="3F3F3F"/>
                </a:solidFill>
                <a:effectLst/>
                <a:uLnTx/>
                <a:uFillTx/>
                <a:latin typeface="Arial"/>
                <a:ea typeface="+mn-ea"/>
                <a:cs typeface="Arial"/>
              </a:rPr>
              <a:t> </a:t>
            </a:r>
            <a:r>
              <a:rPr kumimoji="0" sz="1091" b="0" i="0" u="none" strike="noStrike" kern="0" cap="none" spc="-49" normalizeH="0" baseline="0" noProof="0" dirty="0">
                <a:ln>
                  <a:noFill/>
                </a:ln>
                <a:solidFill>
                  <a:srgbClr val="3F3F3F"/>
                </a:solidFill>
                <a:effectLst/>
                <a:uLnTx/>
                <a:uFillTx/>
                <a:latin typeface="Arial"/>
                <a:ea typeface="+mn-ea"/>
                <a:cs typeface="Arial"/>
              </a:rPr>
              <a:t>large</a:t>
            </a:r>
            <a:r>
              <a:rPr kumimoji="0" sz="1091" b="0" i="0" u="none" strike="noStrike" kern="0" cap="none" spc="-12" normalizeH="0" baseline="0" noProof="0" dirty="0">
                <a:ln>
                  <a:noFill/>
                </a:ln>
                <a:solidFill>
                  <a:srgbClr val="3F3F3F"/>
                </a:solidFill>
                <a:effectLst/>
                <a:uLnTx/>
                <a:uFillTx/>
                <a:latin typeface="Arial"/>
                <a:ea typeface="+mn-ea"/>
                <a:cs typeface="Arial"/>
              </a:rPr>
              <a:t> </a:t>
            </a:r>
            <a:r>
              <a:rPr kumimoji="0" sz="1091" b="0" i="0" u="none" strike="noStrike" kern="0" cap="none" spc="-72" normalizeH="0" baseline="0" noProof="0" dirty="0">
                <a:ln>
                  <a:noFill/>
                </a:ln>
                <a:solidFill>
                  <a:srgbClr val="3F3F3F"/>
                </a:solidFill>
                <a:effectLst/>
                <a:uLnTx/>
                <a:uFillTx/>
                <a:latin typeface="Arial"/>
                <a:ea typeface="+mn-ea"/>
                <a:cs typeface="Arial"/>
              </a:rPr>
              <a:t>B-</a:t>
            </a:r>
            <a:r>
              <a:rPr kumimoji="0" sz="1091" b="0" i="0" u="none" strike="noStrike" kern="0" cap="none" spc="-55" normalizeH="0" baseline="0" noProof="0" dirty="0">
                <a:ln>
                  <a:noFill/>
                </a:ln>
                <a:solidFill>
                  <a:srgbClr val="3F3F3F"/>
                </a:solidFill>
                <a:effectLst/>
                <a:uLnTx/>
                <a:uFillTx/>
                <a:latin typeface="Arial"/>
                <a:ea typeface="+mn-ea"/>
                <a:cs typeface="Arial"/>
              </a:rPr>
              <a:t>cell</a:t>
            </a:r>
            <a:r>
              <a:rPr kumimoji="0" sz="1091" b="0" i="0" u="none" strike="noStrike" kern="0" cap="none" spc="-12" normalizeH="0" baseline="0" noProof="0" dirty="0">
                <a:ln>
                  <a:noFill/>
                </a:ln>
                <a:solidFill>
                  <a:srgbClr val="3F3F3F"/>
                </a:solidFill>
                <a:effectLst/>
                <a:uLnTx/>
                <a:uFillTx/>
                <a:latin typeface="Arial"/>
                <a:ea typeface="+mn-ea"/>
                <a:cs typeface="Arial"/>
              </a:rPr>
              <a:t> </a:t>
            </a:r>
            <a:r>
              <a:rPr kumimoji="0" sz="1091" b="0" i="0" u="none" strike="noStrike" kern="0" cap="none" spc="-42" normalizeH="0" baseline="0" noProof="0" dirty="0">
                <a:ln>
                  <a:noFill/>
                </a:ln>
                <a:solidFill>
                  <a:srgbClr val="3F3F3F"/>
                </a:solidFill>
                <a:effectLst/>
                <a:uLnTx/>
                <a:uFillTx/>
                <a:latin typeface="Arial"/>
                <a:ea typeface="+mn-ea"/>
                <a:cs typeface="Arial"/>
              </a:rPr>
              <a:t>lymphoma;</a:t>
            </a:r>
            <a:r>
              <a:rPr kumimoji="0" sz="1091" b="0" i="0" u="none" strike="noStrike" kern="0" cap="none" spc="-19" normalizeH="0" baseline="0" noProof="0" dirty="0">
                <a:ln>
                  <a:noFill/>
                </a:ln>
                <a:solidFill>
                  <a:srgbClr val="3F3F3F"/>
                </a:solidFill>
                <a:effectLst/>
                <a:uLnTx/>
                <a:uFillTx/>
                <a:latin typeface="Arial"/>
                <a:ea typeface="+mn-ea"/>
                <a:cs typeface="Arial"/>
              </a:rPr>
              <a:t> </a:t>
            </a:r>
            <a:r>
              <a:rPr kumimoji="0" sz="1091" b="0" i="0" u="none" strike="noStrike" kern="0" cap="none" spc="-146" normalizeH="0" baseline="0" noProof="0" dirty="0">
                <a:ln>
                  <a:noFill/>
                </a:ln>
                <a:solidFill>
                  <a:srgbClr val="3F3F3F"/>
                </a:solidFill>
                <a:effectLst/>
                <a:uLnTx/>
                <a:uFillTx/>
                <a:latin typeface="Arial"/>
                <a:ea typeface="+mn-ea"/>
                <a:cs typeface="Arial"/>
              </a:rPr>
              <a:t>ECOG,</a:t>
            </a:r>
            <a:r>
              <a:rPr kumimoji="0" sz="1091" b="0" i="0" u="none" strike="noStrike" kern="0" cap="none" spc="0" normalizeH="0" baseline="0" noProof="0" dirty="0">
                <a:ln>
                  <a:noFill/>
                </a:ln>
                <a:solidFill>
                  <a:srgbClr val="3F3F3F"/>
                </a:solidFill>
                <a:effectLst/>
                <a:uLnTx/>
                <a:uFillTx/>
                <a:latin typeface="Arial"/>
                <a:ea typeface="+mn-ea"/>
                <a:cs typeface="Arial"/>
              </a:rPr>
              <a:t> </a:t>
            </a:r>
            <a:r>
              <a:rPr kumimoji="0" sz="1091" b="0" i="0" u="none" strike="noStrike" kern="0" cap="none" spc="-67" normalizeH="0" baseline="0" noProof="0" dirty="0">
                <a:ln>
                  <a:noFill/>
                </a:ln>
                <a:solidFill>
                  <a:srgbClr val="3F3F3F"/>
                </a:solidFill>
                <a:effectLst/>
                <a:uLnTx/>
                <a:uFillTx/>
                <a:latin typeface="Arial"/>
                <a:ea typeface="+mn-ea"/>
                <a:cs typeface="Arial"/>
              </a:rPr>
              <a:t>Eastern</a:t>
            </a:r>
            <a:r>
              <a:rPr kumimoji="0" sz="1091" b="0" i="0" u="none" strike="noStrike" kern="0" cap="none" spc="-6" normalizeH="0" baseline="0" noProof="0" dirty="0">
                <a:ln>
                  <a:noFill/>
                </a:ln>
                <a:solidFill>
                  <a:srgbClr val="3F3F3F"/>
                </a:solidFill>
                <a:effectLst/>
                <a:uLnTx/>
                <a:uFillTx/>
                <a:latin typeface="Arial"/>
                <a:ea typeface="+mn-ea"/>
                <a:cs typeface="Arial"/>
              </a:rPr>
              <a:t> </a:t>
            </a:r>
            <a:r>
              <a:rPr kumimoji="0" sz="1091" b="0" i="0" u="none" strike="noStrike" kern="0" cap="none" spc="-49" normalizeH="0" baseline="0" noProof="0" dirty="0">
                <a:ln>
                  <a:noFill/>
                </a:ln>
                <a:solidFill>
                  <a:srgbClr val="3F3F3F"/>
                </a:solidFill>
                <a:effectLst/>
                <a:uLnTx/>
                <a:uFillTx/>
                <a:latin typeface="Arial"/>
                <a:ea typeface="+mn-ea"/>
                <a:cs typeface="Arial"/>
              </a:rPr>
              <a:t>Cooperative</a:t>
            </a:r>
            <a:r>
              <a:rPr kumimoji="0" sz="1091" b="0" i="0" u="none" strike="noStrike" kern="0" cap="none" spc="-19" normalizeH="0" baseline="0" noProof="0" dirty="0">
                <a:ln>
                  <a:noFill/>
                </a:ln>
                <a:solidFill>
                  <a:srgbClr val="3F3F3F"/>
                </a:solidFill>
                <a:effectLst/>
                <a:uLnTx/>
                <a:uFillTx/>
                <a:latin typeface="Arial"/>
                <a:ea typeface="+mn-ea"/>
                <a:cs typeface="Arial"/>
              </a:rPr>
              <a:t> </a:t>
            </a:r>
            <a:r>
              <a:rPr kumimoji="0" sz="1091" b="0" i="0" u="none" strike="noStrike" kern="0" cap="none" spc="-61" normalizeH="0" baseline="0" noProof="0" dirty="0">
                <a:ln>
                  <a:noFill/>
                </a:ln>
                <a:solidFill>
                  <a:srgbClr val="3F3F3F"/>
                </a:solidFill>
                <a:effectLst/>
                <a:uLnTx/>
                <a:uFillTx/>
                <a:latin typeface="Arial"/>
                <a:ea typeface="+mn-ea"/>
                <a:cs typeface="Arial"/>
              </a:rPr>
              <a:t>Oncology</a:t>
            </a:r>
            <a:r>
              <a:rPr kumimoji="0" sz="1091" b="0" i="0" u="none" strike="noStrike" kern="0" cap="none" spc="-30" normalizeH="0" baseline="0" noProof="0" dirty="0">
                <a:ln>
                  <a:noFill/>
                </a:ln>
                <a:solidFill>
                  <a:srgbClr val="3F3F3F"/>
                </a:solidFill>
                <a:effectLst/>
                <a:uLnTx/>
                <a:uFillTx/>
                <a:latin typeface="Arial"/>
                <a:ea typeface="+mn-ea"/>
                <a:cs typeface="Arial"/>
              </a:rPr>
              <a:t> </a:t>
            </a:r>
            <a:r>
              <a:rPr kumimoji="0" sz="1091" b="0" i="0" u="none" strike="noStrike" kern="0" cap="none" spc="-55" normalizeH="0" baseline="0" noProof="0" dirty="0">
                <a:ln>
                  <a:noFill/>
                </a:ln>
                <a:solidFill>
                  <a:srgbClr val="3F3F3F"/>
                </a:solidFill>
                <a:effectLst/>
                <a:uLnTx/>
                <a:uFillTx/>
                <a:latin typeface="Arial"/>
                <a:ea typeface="+mn-ea"/>
                <a:cs typeface="Arial"/>
              </a:rPr>
              <a:t>Group;</a:t>
            </a:r>
            <a:r>
              <a:rPr kumimoji="0" sz="1091" b="0" i="0" u="none" strike="noStrike" kern="0" cap="none" spc="6" normalizeH="0" baseline="0" noProof="0" dirty="0">
                <a:ln>
                  <a:noFill/>
                </a:ln>
                <a:solidFill>
                  <a:srgbClr val="3F3F3F"/>
                </a:solidFill>
                <a:effectLst/>
                <a:uLnTx/>
                <a:uFillTx/>
                <a:latin typeface="Arial"/>
                <a:ea typeface="+mn-ea"/>
                <a:cs typeface="Arial"/>
              </a:rPr>
              <a:t> </a:t>
            </a:r>
            <a:r>
              <a:rPr kumimoji="0" sz="1091" b="0" i="0" u="none" strike="noStrike" kern="0" cap="none" spc="-139" normalizeH="0" baseline="0" noProof="0" dirty="0">
                <a:ln>
                  <a:noFill/>
                </a:ln>
                <a:solidFill>
                  <a:srgbClr val="3F3F3F"/>
                </a:solidFill>
                <a:effectLst/>
                <a:uLnTx/>
                <a:uFillTx/>
                <a:latin typeface="Arial"/>
                <a:ea typeface="+mn-ea"/>
                <a:cs typeface="Arial"/>
              </a:rPr>
              <a:t>HGBCL,</a:t>
            </a:r>
            <a:r>
              <a:rPr kumimoji="0" sz="1091" b="0" i="0" u="none" strike="noStrike" kern="0" cap="none" spc="19" normalizeH="0" baseline="0" noProof="0" dirty="0">
                <a:ln>
                  <a:noFill/>
                </a:ln>
                <a:solidFill>
                  <a:srgbClr val="3F3F3F"/>
                </a:solidFill>
                <a:effectLst/>
                <a:uLnTx/>
                <a:uFillTx/>
                <a:latin typeface="Arial"/>
                <a:ea typeface="+mn-ea"/>
                <a:cs typeface="Arial"/>
              </a:rPr>
              <a:t> </a:t>
            </a:r>
            <a:r>
              <a:rPr kumimoji="0" sz="1091" b="0" i="0" u="none" strike="noStrike" kern="0" cap="none" spc="-55" normalizeH="0" baseline="0" noProof="0" dirty="0">
                <a:ln>
                  <a:noFill/>
                </a:ln>
                <a:solidFill>
                  <a:srgbClr val="3F3F3F"/>
                </a:solidFill>
                <a:effectLst/>
                <a:uLnTx/>
                <a:uFillTx/>
                <a:latin typeface="Arial"/>
                <a:ea typeface="+mn-ea"/>
                <a:cs typeface="Arial"/>
              </a:rPr>
              <a:t>high-grade</a:t>
            </a:r>
            <a:r>
              <a:rPr kumimoji="0" sz="1091" b="0" i="0" u="none" strike="noStrike" kern="0" cap="none" spc="-6" normalizeH="0" baseline="0" noProof="0" dirty="0">
                <a:ln>
                  <a:noFill/>
                </a:ln>
                <a:solidFill>
                  <a:srgbClr val="3F3F3F"/>
                </a:solidFill>
                <a:effectLst/>
                <a:uLnTx/>
                <a:uFillTx/>
                <a:latin typeface="Arial"/>
                <a:ea typeface="+mn-ea"/>
                <a:cs typeface="Arial"/>
              </a:rPr>
              <a:t> </a:t>
            </a:r>
            <a:r>
              <a:rPr kumimoji="0" sz="1091" b="0" i="0" u="none" strike="noStrike" kern="0" cap="none" spc="-103" normalizeH="0" baseline="0" noProof="0" dirty="0">
                <a:ln>
                  <a:noFill/>
                </a:ln>
                <a:solidFill>
                  <a:srgbClr val="3F3F3F"/>
                </a:solidFill>
                <a:effectLst/>
                <a:uLnTx/>
                <a:uFillTx/>
                <a:latin typeface="Arial"/>
                <a:ea typeface="+mn-ea"/>
                <a:cs typeface="Arial"/>
              </a:rPr>
              <a:t>B-</a:t>
            </a:r>
            <a:r>
              <a:rPr kumimoji="0" sz="1091" b="0" i="0" u="none" strike="noStrike" kern="0" cap="none" spc="-36" normalizeH="0" baseline="0" noProof="0" dirty="0">
                <a:ln>
                  <a:noFill/>
                </a:ln>
                <a:solidFill>
                  <a:srgbClr val="3F3F3F"/>
                </a:solidFill>
                <a:effectLst/>
                <a:uLnTx/>
                <a:uFillTx/>
                <a:latin typeface="Arial"/>
                <a:ea typeface="+mn-ea"/>
                <a:cs typeface="Arial"/>
              </a:rPr>
              <a:t>cell</a:t>
            </a:r>
            <a:r>
              <a:rPr kumimoji="0" sz="1091" b="0" i="0" u="none" strike="noStrike" kern="0" cap="none" spc="-19" normalizeH="0" baseline="0" noProof="0" dirty="0">
                <a:ln>
                  <a:noFill/>
                </a:ln>
                <a:solidFill>
                  <a:srgbClr val="3F3F3F"/>
                </a:solidFill>
                <a:effectLst/>
                <a:uLnTx/>
                <a:uFillTx/>
                <a:latin typeface="Arial"/>
                <a:ea typeface="+mn-ea"/>
                <a:cs typeface="Arial"/>
              </a:rPr>
              <a:t> </a:t>
            </a:r>
            <a:r>
              <a:rPr kumimoji="0" sz="1091" b="0" i="0" u="none" strike="noStrike" kern="0" cap="none" spc="-42" normalizeH="0" baseline="0" noProof="0" dirty="0">
                <a:ln>
                  <a:noFill/>
                </a:ln>
                <a:solidFill>
                  <a:srgbClr val="3F3F3F"/>
                </a:solidFill>
                <a:effectLst/>
                <a:uLnTx/>
                <a:uFillTx/>
                <a:latin typeface="Arial"/>
                <a:ea typeface="+mn-ea"/>
                <a:cs typeface="Arial"/>
              </a:rPr>
              <a:t>lymphoma;</a:t>
            </a:r>
            <a:r>
              <a:rPr kumimoji="0" sz="1091" b="0" i="0" u="none" strike="noStrike" kern="0" cap="none" spc="-12" normalizeH="0" baseline="0" noProof="0" dirty="0">
                <a:ln>
                  <a:noFill/>
                </a:ln>
                <a:solidFill>
                  <a:srgbClr val="3F3F3F"/>
                </a:solidFill>
                <a:effectLst/>
                <a:uLnTx/>
                <a:uFillTx/>
                <a:latin typeface="Arial"/>
                <a:ea typeface="+mn-ea"/>
                <a:cs typeface="Arial"/>
              </a:rPr>
              <a:t> </a:t>
            </a:r>
            <a:r>
              <a:rPr kumimoji="0" sz="1091" b="0" i="0" u="none" strike="noStrike" kern="0" cap="none" spc="-121" normalizeH="0" baseline="0" noProof="0" dirty="0">
                <a:ln>
                  <a:noFill/>
                </a:ln>
                <a:solidFill>
                  <a:srgbClr val="3F3F3F"/>
                </a:solidFill>
                <a:effectLst/>
                <a:uLnTx/>
                <a:uFillTx/>
                <a:latin typeface="Arial"/>
                <a:ea typeface="+mn-ea"/>
                <a:cs typeface="Arial"/>
              </a:rPr>
              <a:t>IRC,</a:t>
            </a:r>
            <a:r>
              <a:rPr kumimoji="0" sz="1091" b="0" i="0" u="none" strike="noStrike" kern="0" cap="none" spc="-6" normalizeH="0" baseline="0" noProof="0" dirty="0">
                <a:ln>
                  <a:noFill/>
                </a:ln>
                <a:solidFill>
                  <a:srgbClr val="3F3F3F"/>
                </a:solidFill>
                <a:effectLst/>
                <a:uLnTx/>
                <a:uFillTx/>
                <a:latin typeface="Arial"/>
                <a:ea typeface="+mn-ea"/>
                <a:cs typeface="Arial"/>
              </a:rPr>
              <a:t> </a:t>
            </a:r>
            <a:r>
              <a:rPr kumimoji="0" sz="1091" b="0" i="0" u="none" strike="noStrike" kern="0" cap="none" spc="-42" normalizeH="0" baseline="0" noProof="0" dirty="0">
                <a:ln>
                  <a:noFill/>
                </a:ln>
                <a:solidFill>
                  <a:srgbClr val="3F3F3F"/>
                </a:solidFill>
                <a:effectLst/>
                <a:uLnTx/>
                <a:uFillTx/>
                <a:latin typeface="Arial"/>
                <a:ea typeface="+mn-ea"/>
                <a:cs typeface="Arial"/>
              </a:rPr>
              <a:t>independent</a:t>
            </a:r>
            <a:r>
              <a:rPr kumimoji="0" sz="1091" b="0" i="0" u="none" strike="noStrike" kern="0" cap="none" spc="-6" normalizeH="0" baseline="0" noProof="0" dirty="0">
                <a:ln>
                  <a:noFill/>
                </a:ln>
                <a:solidFill>
                  <a:srgbClr val="3F3F3F"/>
                </a:solidFill>
                <a:effectLst/>
                <a:uLnTx/>
                <a:uFillTx/>
                <a:latin typeface="Arial"/>
                <a:ea typeface="+mn-ea"/>
                <a:cs typeface="Arial"/>
              </a:rPr>
              <a:t> </a:t>
            </a:r>
            <a:r>
              <a:rPr kumimoji="0" sz="1091" b="0" i="0" u="none" strike="noStrike" kern="0" cap="none" spc="-12" normalizeH="0" baseline="0" noProof="0" dirty="0">
                <a:ln>
                  <a:noFill/>
                </a:ln>
                <a:solidFill>
                  <a:srgbClr val="3F3F3F"/>
                </a:solidFill>
                <a:effectLst/>
                <a:uLnTx/>
                <a:uFillTx/>
                <a:latin typeface="Arial"/>
                <a:ea typeface="+mn-ea"/>
                <a:cs typeface="Arial"/>
              </a:rPr>
              <a:t>review</a:t>
            </a:r>
            <a:endParaRPr kumimoji="0" sz="1091" b="0" i="0" u="none" strike="noStrike" kern="0" cap="none" spc="0" normalizeH="0" baseline="0" noProof="0" dirty="0">
              <a:ln>
                <a:noFill/>
              </a:ln>
              <a:solidFill>
                <a:sysClr val="windowText" lastClr="000000"/>
              </a:solidFill>
              <a:effectLst/>
              <a:uLnTx/>
              <a:uFillTx/>
              <a:latin typeface="Arial"/>
              <a:ea typeface="+mn-ea"/>
              <a:cs typeface="Arial"/>
            </a:endParaRPr>
          </a:p>
          <a:p>
            <a:pPr marL="46183" marR="36946" lvl="0" indent="0" algn="l" defTabSz="806867" rtl="0" eaLnBrk="1" fontAlgn="auto" latinLnBrk="0" hangingPunct="1">
              <a:lnSpc>
                <a:spcPct val="100000"/>
              </a:lnSpc>
              <a:spcBef>
                <a:spcPts val="19"/>
              </a:spcBef>
              <a:spcAft>
                <a:spcPts val="0"/>
              </a:spcAft>
              <a:buClrTx/>
              <a:buSzTx/>
              <a:buFontTx/>
              <a:buNone/>
              <a:tabLst/>
              <a:defRPr/>
            </a:pPr>
            <a:r>
              <a:rPr kumimoji="0" sz="1091" b="0" i="0" u="none" strike="noStrike" kern="0" cap="none" spc="-30" normalizeH="0" baseline="0" noProof="0" dirty="0">
                <a:ln>
                  <a:noFill/>
                </a:ln>
                <a:solidFill>
                  <a:srgbClr val="3F3F3F"/>
                </a:solidFill>
                <a:effectLst/>
                <a:uLnTx/>
                <a:uFillTx/>
                <a:latin typeface="Arial"/>
                <a:ea typeface="+mn-ea"/>
                <a:cs typeface="Arial"/>
              </a:rPr>
              <a:t>committee;</a:t>
            </a:r>
            <a:r>
              <a:rPr kumimoji="0" sz="1091" b="0" i="0" u="none" strike="noStrike" kern="0" cap="none" spc="-19" normalizeH="0" baseline="0" noProof="0" dirty="0">
                <a:ln>
                  <a:noFill/>
                </a:ln>
                <a:solidFill>
                  <a:srgbClr val="3F3F3F"/>
                </a:solidFill>
                <a:effectLst/>
                <a:uLnTx/>
                <a:uFillTx/>
                <a:latin typeface="Arial"/>
                <a:ea typeface="+mn-ea"/>
                <a:cs typeface="Arial"/>
              </a:rPr>
              <a:t> </a:t>
            </a:r>
            <a:r>
              <a:rPr kumimoji="0" sz="1091" b="0" i="0" u="none" strike="noStrike" kern="0" cap="none" spc="-55" normalizeH="0" baseline="0" noProof="0" dirty="0">
                <a:ln>
                  <a:noFill/>
                </a:ln>
                <a:solidFill>
                  <a:srgbClr val="3F3F3F"/>
                </a:solidFill>
                <a:effectLst/>
                <a:uLnTx/>
                <a:uFillTx/>
                <a:latin typeface="Arial"/>
                <a:ea typeface="+mn-ea"/>
                <a:cs typeface="Arial"/>
              </a:rPr>
              <a:t>IV,</a:t>
            </a:r>
            <a:r>
              <a:rPr kumimoji="0" sz="1091" b="0" i="0" u="none" strike="noStrike" kern="0" cap="none" spc="-6" normalizeH="0" baseline="0" noProof="0" dirty="0">
                <a:ln>
                  <a:noFill/>
                </a:ln>
                <a:solidFill>
                  <a:srgbClr val="3F3F3F"/>
                </a:solidFill>
                <a:effectLst/>
                <a:uLnTx/>
                <a:uFillTx/>
                <a:latin typeface="Arial"/>
                <a:ea typeface="+mn-ea"/>
                <a:cs typeface="Arial"/>
              </a:rPr>
              <a:t> </a:t>
            </a:r>
            <a:r>
              <a:rPr kumimoji="0" sz="1091" b="0" i="0" u="none" strike="noStrike" kern="0" cap="none" spc="-36" normalizeH="0" baseline="0" noProof="0" dirty="0">
                <a:ln>
                  <a:noFill/>
                </a:ln>
                <a:solidFill>
                  <a:srgbClr val="3F3F3F"/>
                </a:solidFill>
                <a:effectLst/>
                <a:uLnTx/>
                <a:uFillTx/>
                <a:latin typeface="Arial"/>
                <a:ea typeface="+mn-ea"/>
                <a:cs typeface="Arial"/>
              </a:rPr>
              <a:t>intravenous;</a:t>
            </a:r>
            <a:r>
              <a:rPr kumimoji="0" sz="1091" b="0" i="0" u="none" strike="noStrike" kern="0" cap="none" spc="-6" normalizeH="0" baseline="0" noProof="0" dirty="0">
                <a:ln>
                  <a:noFill/>
                </a:ln>
                <a:solidFill>
                  <a:srgbClr val="3F3F3F"/>
                </a:solidFill>
                <a:effectLst/>
                <a:uLnTx/>
                <a:uFillTx/>
                <a:latin typeface="Arial"/>
                <a:ea typeface="+mn-ea"/>
                <a:cs typeface="Arial"/>
              </a:rPr>
              <a:t> </a:t>
            </a:r>
            <a:r>
              <a:rPr kumimoji="0" sz="1091" b="0" i="0" u="none" strike="noStrike" kern="0" cap="none" spc="-79" normalizeH="0" baseline="0" noProof="0" dirty="0">
                <a:ln>
                  <a:noFill/>
                </a:ln>
                <a:solidFill>
                  <a:srgbClr val="3F3F3F"/>
                </a:solidFill>
                <a:effectLst/>
                <a:uLnTx/>
                <a:uFillTx/>
                <a:latin typeface="Arial"/>
                <a:ea typeface="+mn-ea"/>
                <a:cs typeface="Arial"/>
              </a:rPr>
              <a:t>Lonca,</a:t>
            </a:r>
            <a:r>
              <a:rPr kumimoji="0" sz="1091" b="0" i="0" u="none" strike="noStrike" kern="0" cap="none" spc="-24" normalizeH="0" baseline="0" noProof="0" dirty="0">
                <a:ln>
                  <a:noFill/>
                </a:ln>
                <a:solidFill>
                  <a:srgbClr val="3F3F3F"/>
                </a:solidFill>
                <a:effectLst/>
                <a:uLnTx/>
                <a:uFillTx/>
                <a:latin typeface="Arial"/>
                <a:ea typeface="+mn-ea"/>
                <a:cs typeface="Arial"/>
              </a:rPr>
              <a:t> </a:t>
            </a:r>
            <a:r>
              <a:rPr kumimoji="0" sz="1091" b="0" i="0" u="none" strike="noStrike" kern="0" cap="none" spc="-55" normalizeH="0" baseline="0" noProof="0" dirty="0">
                <a:ln>
                  <a:noFill/>
                </a:ln>
                <a:solidFill>
                  <a:srgbClr val="3F3F3F"/>
                </a:solidFill>
                <a:effectLst/>
                <a:uLnTx/>
                <a:uFillTx/>
                <a:latin typeface="Arial"/>
                <a:ea typeface="+mn-ea"/>
                <a:cs typeface="Arial"/>
              </a:rPr>
              <a:t>loncastuximab</a:t>
            </a:r>
            <a:r>
              <a:rPr kumimoji="0" sz="1091" b="0" i="0" u="none" strike="noStrike" kern="0" cap="none" spc="-36" normalizeH="0" baseline="0" noProof="0" dirty="0">
                <a:ln>
                  <a:noFill/>
                </a:ln>
                <a:solidFill>
                  <a:srgbClr val="3F3F3F"/>
                </a:solidFill>
                <a:effectLst/>
                <a:uLnTx/>
                <a:uFillTx/>
                <a:latin typeface="Arial"/>
                <a:ea typeface="+mn-ea"/>
                <a:cs typeface="Arial"/>
              </a:rPr>
              <a:t> </a:t>
            </a:r>
            <a:r>
              <a:rPr kumimoji="0" sz="1091" b="0" i="0" u="none" strike="noStrike" kern="0" cap="none" spc="-30" normalizeH="0" baseline="0" noProof="0" dirty="0">
                <a:ln>
                  <a:noFill/>
                </a:ln>
                <a:solidFill>
                  <a:srgbClr val="3F3F3F"/>
                </a:solidFill>
                <a:effectLst/>
                <a:uLnTx/>
                <a:uFillTx/>
                <a:latin typeface="Arial"/>
                <a:ea typeface="+mn-ea"/>
                <a:cs typeface="Arial"/>
              </a:rPr>
              <a:t>tesirine-</a:t>
            </a:r>
            <a:r>
              <a:rPr kumimoji="0" sz="1091" b="0" i="0" u="none" strike="noStrike" kern="0" cap="none" spc="-24" normalizeH="0" baseline="0" noProof="0" dirty="0">
                <a:ln>
                  <a:noFill/>
                </a:ln>
                <a:solidFill>
                  <a:srgbClr val="3F3F3F"/>
                </a:solidFill>
                <a:effectLst/>
                <a:uLnTx/>
                <a:uFillTx/>
                <a:latin typeface="Arial"/>
                <a:ea typeface="+mn-ea"/>
                <a:cs typeface="Arial"/>
              </a:rPr>
              <a:t>Ipyl;</a:t>
            </a:r>
            <a:r>
              <a:rPr kumimoji="0" sz="1091" b="0" i="0" u="none" strike="noStrike" kern="0" cap="none" spc="-12" normalizeH="0" baseline="0" noProof="0" dirty="0">
                <a:ln>
                  <a:noFill/>
                </a:ln>
                <a:solidFill>
                  <a:srgbClr val="3F3F3F"/>
                </a:solidFill>
                <a:effectLst/>
                <a:uLnTx/>
                <a:uFillTx/>
                <a:latin typeface="Arial"/>
                <a:ea typeface="+mn-ea"/>
                <a:cs typeface="Arial"/>
              </a:rPr>
              <a:t> </a:t>
            </a:r>
            <a:r>
              <a:rPr kumimoji="0" sz="1091" b="0" i="0" u="none" strike="noStrike" kern="0" cap="none" spc="-121" normalizeH="0" baseline="0" noProof="0" dirty="0">
                <a:ln>
                  <a:noFill/>
                </a:ln>
                <a:solidFill>
                  <a:srgbClr val="3F3F3F"/>
                </a:solidFill>
                <a:effectLst/>
                <a:uLnTx/>
                <a:uFillTx/>
                <a:latin typeface="Arial"/>
                <a:ea typeface="+mn-ea"/>
                <a:cs typeface="Arial"/>
              </a:rPr>
              <a:t>NOS,</a:t>
            </a:r>
            <a:r>
              <a:rPr kumimoji="0" sz="1091" b="0" i="0" u="none" strike="noStrike" kern="0" cap="none" spc="0" normalizeH="0" baseline="0" noProof="0" dirty="0">
                <a:ln>
                  <a:noFill/>
                </a:ln>
                <a:solidFill>
                  <a:srgbClr val="3F3F3F"/>
                </a:solidFill>
                <a:effectLst/>
                <a:uLnTx/>
                <a:uFillTx/>
                <a:latin typeface="Arial"/>
                <a:ea typeface="+mn-ea"/>
                <a:cs typeface="Arial"/>
              </a:rPr>
              <a:t> not</a:t>
            </a:r>
            <a:r>
              <a:rPr kumimoji="0" sz="1091" b="0" i="0" u="none" strike="noStrike" kern="0" cap="none" spc="-30" normalizeH="0" baseline="0" noProof="0" dirty="0">
                <a:ln>
                  <a:noFill/>
                </a:ln>
                <a:solidFill>
                  <a:srgbClr val="3F3F3F"/>
                </a:solidFill>
                <a:effectLst/>
                <a:uLnTx/>
                <a:uFillTx/>
                <a:latin typeface="Arial"/>
                <a:ea typeface="+mn-ea"/>
                <a:cs typeface="Arial"/>
              </a:rPr>
              <a:t> </a:t>
            </a:r>
            <a:r>
              <a:rPr kumimoji="0" sz="1091" b="0" i="0" u="none" strike="noStrike" kern="0" cap="none" spc="-36" normalizeH="0" baseline="0" noProof="0" dirty="0">
                <a:ln>
                  <a:noFill/>
                </a:ln>
                <a:solidFill>
                  <a:srgbClr val="3F3F3F"/>
                </a:solidFill>
                <a:effectLst/>
                <a:uLnTx/>
                <a:uFillTx/>
                <a:latin typeface="Arial"/>
                <a:ea typeface="+mn-ea"/>
                <a:cs typeface="Arial"/>
              </a:rPr>
              <a:t>otherwise</a:t>
            </a:r>
            <a:r>
              <a:rPr kumimoji="0" sz="1091" b="0" i="0" u="none" strike="noStrike" kern="0" cap="none" spc="-19" normalizeH="0" baseline="0" noProof="0" dirty="0">
                <a:ln>
                  <a:noFill/>
                </a:ln>
                <a:solidFill>
                  <a:srgbClr val="3F3F3F"/>
                </a:solidFill>
                <a:effectLst/>
                <a:uLnTx/>
                <a:uFillTx/>
                <a:latin typeface="Arial"/>
                <a:ea typeface="+mn-ea"/>
                <a:cs typeface="Arial"/>
              </a:rPr>
              <a:t> </a:t>
            </a:r>
            <a:r>
              <a:rPr kumimoji="0" sz="1091" b="0" i="0" u="none" strike="noStrike" kern="0" cap="none" spc="-42" normalizeH="0" baseline="0" noProof="0" dirty="0">
                <a:ln>
                  <a:noFill/>
                </a:ln>
                <a:solidFill>
                  <a:srgbClr val="3F3F3F"/>
                </a:solidFill>
                <a:effectLst/>
                <a:uLnTx/>
                <a:uFillTx/>
                <a:latin typeface="Arial"/>
                <a:ea typeface="+mn-ea"/>
                <a:cs typeface="Arial"/>
              </a:rPr>
              <a:t>specified;</a:t>
            </a:r>
            <a:r>
              <a:rPr kumimoji="0" sz="1091" b="0" i="0" u="none" strike="noStrike" kern="0" cap="none" spc="-24" normalizeH="0" baseline="0" noProof="0" dirty="0">
                <a:ln>
                  <a:noFill/>
                </a:ln>
                <a:solidFill>
                  <a:srgbClr val="3F3F3F"/>
                </a:solidFill>
                <a:effectLst/>
                <a:uLnTx/>
                <a:uFillTx/>
                <a:latin typeface="Arial"/>
                <a:ea typeface="+mn-ea"/>
                <a:cs typeface="Arial"/>
              </a:rPr>
              <a:t> </a:t>
            </a:r>
            <a:r>
              <a:rPr kumimoji="0" sz="1091" b="0" i="0" u="none" strike="noStrike" kern="0" cap="none" spc="-139" normalizeH="0" baseline="0" noProof="0" dirty="0">
                <a:ln>
                  <a:noFill/>
                </a:ln>
                <a:solidFill>
                  <a:srgbClr val="3F3F3F"/>
                </a:solidFill>
                <a:effectLst/>
                <a:uLnTx/>
                <a:uFillTx/>
                <a:latin typeface="Arial"/>
                <a:ea typeface="+mn-ea"/>
                <a:cs typeface="Arial"/>
              </a:rPr>
              <a:t>ORR,</a:t>
            </a:r>
            <a:r>
              <a:rPr kumimoji="0" sz="1091" b="0" i="0" u="none" strike="noStrike" kern="0" cap="none" spc="0" normalizeH="0" baseline="0" noProof="0" dirty="0">
                <a:ln>
                  <a:noFill/>
                </a:ln>
                <a:solidFill>
                  <a:srgbClr val="3F3F3F"/>
                </a:solidFill>
                <a:effectLst/>
                <a:uLnTx/>
                <a:uFillTx/>
                <a:latin typeface="Arial"/>
                <a:ea typeface="+mn-ea"/>
                <a:cs typeface="Arial"/>
              </a:rPr>
              <a:t> </a:t>
            </a:r>
            <a:r>
              <a:rPr kumimoji="0" sz="1091" b="0" i="0" u="none" strike="noStrike" kern="0" cap="none" spc="-36" normalizeH="0" baseline="0" noProof="0" dirty="0">
                <a:ln>
                  <a:noFill/>
                </a:ln>
                <a:solidFill>
                  <a:srgbClr val="3F3F3F"/>
                </a:solidFill>
                <a:effectLst/>
                <a:uLnTx/>
                <a:uFillTx/>
                <a:latin typeface="Arial"/>
                <a:ea typeface="+mn-ea"/>
                <a:cs typeface="Arial"/>
              </a:rPr>
              <a:t>overall</a:t>
            </a:r>
            <a:r>
              <a:rPr kumimoji="0" sz="1091" b="0" i="0" u="none" strike="noStrike" kern="0" cap="none" spc="-12" normalizeH="0" baseline="0" noProof="0" dirty="0">
                <a:ln>
                  <a:noFill/>
                </a:ln>
                <a:solidFill>
                  <a:srgbClr val="3F3F3F"/>
                </a:solidFill>
                <a:effectLst/>
                <a:uLnTx/>
                <a:uFillTx/>
                <a:latin typeface="Arial"/>
                <a:ea typeface="+mn-ea"/>
                <a:cs typeface="Arial"/>
              </a:rPr>
              <a:t> </a:t>
            </a:r>
            <a:r>
              <a:rPr kumimoji="0" sz="1091" b="0" i="0" u="none" strike="noStrike" kern="0" cap="none" spc="-61" normalizeH="0" baseline="0" noProof="0" dirty="0">
                <a:ln>
                  <a:noFill/>
                </a:ln>
                <a:solidFill>
                  <a:srgbClr val="3F3F3F"/>
                </a:solidFill>
                <a:effectLst/>
                <a:uLnTx/>
                <a:uFillTx/>
                <a:latin typeface="Arial"/>
                <a:ea typeface="+mn-ea"/>
                <a:cs typeface="Arial"/>
              </a:rPr>
              <a:t>response</a:t>
            </a:r>
            <a:r>
              <a:rPr kumimoji="0" sz="1091" b="0" i="0" u="none" strike="noStrike" kern="0" cap="none" spc="-6" normalizeH="0" baseline="0" noProof="0" dirty="0">
                <a:ln>
                  <a:noFill/>
                </a:ln>
                <a:solidFill>
                  <a:srgbClr val="3F3F3F"/>
                </a:solidFill>
                <a:effectLst/>
                <a:uLnTx/>
                <a:uFillTx/>
                <a:latin typeface="Arial"/>
                <a:ea typeface="+mn-ea"/>
                <a:cs typeface="Arial"/>
              </a:rPr>
              <a:t> </a:t>
            </a:r>
            <a:r>
              <a:rPr kumimoji="0" sz="1091" b="0" i="0" u="none" strike="noStrike" kern="0" cap="none" spc="-12" normalizeH="0" baseline="0" noProof="0" dirty="0">
                <a:ln>
                  <a:noFill/>
                </a:ln>
                <a:solidFill>
                  <a:srgbClr val="3F3F3F"/>
                </a:solidFill>
                <a:effectLst/>
                <a:uLnTx/>
                <a:uFillTx/>
                <a:latin typeface="Arial"/>
                <a:ea typeface="+mn-ea"/>
                <a:cs typeface="Arial"/>
              </a:rPr>
              <a:t>rate;</a:t>
            </a:r>
            <a:r>
              <a:rPr kumimoji="0" sz="1091" b="0" i="0" u="none" strike="noStrike" kern="0" cap="none" spc="6" normalizeH="0" baseline="0" noProof="0" dirty="0">
                <a:ln>
                  <a:noFill/>
                </a:ln>
                <a:solidFill>
                  <a:srgbClr val="3F3F3F"/>
                </a:solidFill>
                <a:effectLst/>
                <a:uLnTx/>
                <a:uFillTx/>
                <a:latin typeface="Arial"/>
                <a:ea typeface="+mn-ea"/>
                <a:cs typeface="Arial"/>
              </a:rPr>
              <a:t> </a:t>
            </a:r>
            <a:r>
              <a:rPr kumimoji="0" sz="1091" b="0" i="0" u="none" strike="noStrike" kern="0" cap="none" spc="-139" normalizeH="0" baseline="0" noProof="0" dirty="0">
                <a:ln>
                  <a:noFill/>
                </a:ln>
                <a:solidFill>
                  <a:srgbClr val="3F3F3F"/>
                </a:solidFill>
                <a:effectLst/>
                <a:uLnTx/>
                <a:uFillTx/>
                <a:latin typeface="Arial"/>
                <a:ea typeface="+mn-ea"/>
                <a:cs typeface="Arial"/>
              </a:rPr>
              <a:t>PET,</a:t>
            </a:r>
            <a:r>
              <a:rPr kumimoji="0" sz="1091" b="0" i="0" u="none" strike="noStrike" kern="0" cap="none" spc="-24" normalizeH="0" baseline="0" noProof="0" dirty="0">
                <a:ln>
                  <a:noFill/>
                </a:ln>
                <a:solidFill>
                  <a:srgbClr val="3F3F3F"/>
                </a:solidFill>
                <a:effectLst/>
                <a:uLnTx/>
                <a:uFillTx/>
                <a:latin typeface="Arial"/>
                <a:ea typeface="+mn-ea"/>
                <a:cs typeface="Arial"/>
              </a:rPr>
              <a:t> </a:t>
            </a:r>
            <a:r>
              <a:rPr kumimoji="0" sz="1091" b="0" i="0" u="none" strike="noStrike" kern="0" cap="none" spc="-36" normalizeH="0" baseline="0" noProof="0" dirty="0">
                <a:ln>
                  <a:noFill/>
                </a:ln>
                <a:solidFill>
                  <a:srgbClr val="3F3F3F"/>
                </a:solidFill>
                <a:effectLst/>
                <a:uLnTx/>
                <a:uFillTx/>
                <a:latin typeface="Arial"/>
                <a:ea typeface="+mn-ea"/>
                <a:cs typeface="Arial"/>
              </a:rPr>
              <a:t>positron</a:t>
            </a:r>
            <a:r>
              <a:rPr kumimoji="0" sz="1091" b="0" i="0" u="none" strike="noStrike" kern="0" cap="none" spc="-30" normalizeH="0" baseline="0" noProof="0" dirty="0">
                <a:ln>
                  <a:noFill/>
                </a:ln>
                <a:solidFill>
                  <a:srgbClr val="3F3F3F"/>
                </a:solidFill>
                <a:effectLst/>
                <a:uLnTx/>
                <a:uFillTx/>
                <a:latin typeface="Arial"/>
                <a:ea typeface="+mn-ea"/>
                <a:cs typeface="Arial"/>
              </a:rPr>
              <a:t> </a:t>
            </a:r>
            <a:r>
              <a:rPr kumimoji="0" sz="1091" b="0" i="0" u="none" strike="noStrike" kern="0" cap="none" spc="-61" normalizeH="0" baseline="0" noProof="0" dirty="0">
                <a:ln>
                  <a:noFill/>
                </a:ln>
                <a:solidFill>
                  <a:srgbClr val="3F3F3F"/>
                </a:solidFill>
                <a:effectLst/>
                <a:uLnTx/>
                <a:uFillTx/>
                <a:latin typeface="Arial"/>
                <a:ea typeface="+mn-ea"/>
                <a:cs typeface="Arial"/>
              </a:rPr>
              <a:t>emission</a:t>
            </a:r>
            <a:r>
              <a:rPr kumimoji="0" sz="1091" b="0" i="0" u="none" strike="noStrike" kern="0" cap="none" spc="-30" normalizeH="0" baseline="0" noProof="0" dirty="0">
                <a:ln>
                  <a:noFill/>
                </a:ln>
                <a:solidFill>
                  <a:srgbClr val="3F3F3F"/>
                </a:solidFill>
                <a:effectLst/>
                <a:uLnTx/>
                <a:uFillTx/>
                <a:latin typeface="Arial"/>
                <a:ea typeface="+mn-ea"/>
                <a:cs typeface="Arial"/>
              </a:rPr>
              <a:t> </a:t>
            </a:r>
            <a:r>
              <a:rPr kumimoji="0" sz="1091" b="0" i="0" u="none" strike="noStrike" kern="0" cap="none" spc="-42" normalizeH="0" baseline="0" noProof="0" dirty="0">
                <a:ln>
                  <a:noFill/>
                </a:ln>
                <a:solidFill>
                  <a:srgbClr val="3F3F3F"/>
                </a:solidFill>
                <a:effectLst/>
                <a:uLnTx/>
                <a:uFillTx/>
                <a:latin typeface="Arial"/>
                <a:ea typeface="+mn-ea"/>
                <a:cs typeface="Arial"/>
              </a:rPr>
              <a:t>tomography;</a:t>
            </a:r>
            <a:r>
              <a:rPr kumimoji="0" sz="1091" b="0" i="0" u="none" strike="noStrike" kern="0" cap="none" spc="-12" normalizeH="0" baseline="0" noProof="0" dirty="0">
                <a:ln>
                  <a:noFill/>
                </a:ln>
                <a:solidFill>
                  <a:srgbClr val="3F3F3F"/>
                </a:solidFill>
                <a:effectLst/>
                <a:uLnTx/>
                <a:uFillTx/>
                <a:latin typeface="Arial"/>
                <a:ea typeface="+mn-ea"/>
                <a:cs typeface="Arial"/>
              </a:rPr>
              <a:t> </a:t>
            </a:r>
            <a:r>
              <a:rPr kumimoji="0" sz="1091" b="0" i="0" u="none" strike="noStrike" kern="0" cap="none" spc="-72" normalizeH="0" baseline="0" noProof="0" dirty="0">
                <a:ln>
                  <a:noFill/>
                </a:ln>
                <a:solidFill>
                  <a:srgbClr val="3F3F3F"/>
                </a:solidFill>
                <a:effectLst/>
                <a:uLnTx/>
                <a:uFillTx/>
                <a:latin typeface="Arial"/>
                <a:ea typeface="+mn-ea"/>
                <a:cs typeface="Arial"/>
              </a:rPr>
              <a:t>Q3W,</a:t>
            </a:r>
            <a:r>
              <a:rPr kumimoji="0" sz="1091" b="0" i="0" u="none" strike="noStrike" kern="0" cap="none" spc="-19" normalizeH="0" baseline="0" noProof="0" dirty="0">
                <a:ln>
                  <a:noFill/>
                </a:ln>
                <a:solidFill>
                  <a:srgbClr val="3F3F3F"/>
                </a:solidFill>
                <a:effectLst/>
                <a:uLnTx/>
                <a:uFillTx/>
                <a:latin typeface="Arial"/>
                <a:ea typeface="+mn-ea"/>
                <a:cs typeface="Arial"/>
              </a:rPr>
              <a:t> </a:t>
            </a:r>
            <a:r>
              <a:rPr kumimoji="0" sz="1091" b="0" i="0" u="none" strike="noStrike" kern="0" cap="none" spc="-49" normalizeH="0" baseline="0" noProof="0" dirty="0">
                <a:ln>
                  <a:noFill/>
                </a:ln>
                <a:solidFill>
                  <a:srgbClr val="3F3F3F"/>
                </a:solidFill>
                <a:effectLst/>
                <a:uLnTx/>
                <a:uFillTx/>
                <a:latin typeface="Arial"/>
                <a:ea typeface="+mn-ea"/>
                <a:cs typeface="Arial"/>
              </a:rPr>
              <a:t>every</a:t>
            </a:r>
            <a:r>
              <a:rPr kumimoji="0" sz="1091" b="0" i="0" u="none" strike="noStrike" kern="0" cap="none" spc="24" normalizeH="0" baseline="0" noProof="0" dirty="0">
                <a:ln>
                  <a:noFill/>
                </a:ln>
                <a:solidFill>
                  <a:srgbClr val="3F3F3F"/>
                </a:solidFill>
                <a:effectLst/>
                <a:uLnTx/>
                <a:uFillTx/>
                <a:latin typeface="Arial"/>
                <a:ea typeface="+mn-ea"/>
                <a:cs typeface="Arial"/>
              </a:rPr>
              <a:t> </a:t>
            </a:r>
            <a:r>
              <a:rPr kumimoji="0" sz="1091" b="0" i="0" u="none" strike="noStrike" kern="0" cap="none" spc="-55" normalizeH="0" baseline="0" noProof="0" dirty="0">
                <a:ln>
                  <a:noFill/>
                </a:ln>
                <a:solidFill>
                  <a:srgbClr val="3F3F3F"/>
                </a:solidFill>
                <a:effectLst/>
                <a:uLnTx/>
                <a:uFillTx/>
                <a:latin typeface="Arial"/>
                <a:ea typeface="+mn-ea"/>
                <a:cs typeface="Arial"/>
              </a:rPr>
              <a:t>3</a:t>
            </a:r>
            <a:r>
              <a:rPr kumimoji="0" sz="1091" b="0" i="0" u="none" strike="noStrike" kern="0" cap="none" spc="-6" normalizeH="0" baseline="0" noProof="0" dirty="0">
                <a:ln>
                  <a:noFill/>
                </a:ln>
                <a:solidFill>
                  <a:srgbClr val="3F3F3F"/>
                </a:solidFill>
                <a:effectLst/>
                <a:uLnTx/>
                <a:uFillTx/>
                <a:latin typeface="Arial"/>
                <a:ea typeface="+mn-ea"/>
                <a:cs typeface="Arial"/>
              </a:rPr>
              <a:t> </a:t>
            </a:r>
            <a:r>
              <a:rPr kumimoji="0" sz="1091" b="0" i="0" u="none" strike="noStrike" kern="0" cap="none" spc="-12" normalizeH="0" baseline="0" noProof="0" dirty="0">
                <a:ln>
                  <a:noFill/>
                </a:ln>
                <a:solidFill>
                  <a:srgbClr val="3F3F3F"/>
                </a:solidFill>
                <a:effectLst/>
                <a:uLnTx/>
                <a:uFillTx/>
                <a:latin typeface="Arial"/>
                <a:ea typeface="+mn-ea"/>
                <a:cs typeface="Arial"/>
              </a:rPr>
              <a:t>weeks; </a:t>
            </a:r>
            <a:r>
              <a:rPr kumimoji="0" sz="1091" b="0" i="0" u="none" strike="noStrike" kern="0" cap="none" spc="-79" normalizeH="0" baseline="0" noProof="0" dirty="0">
                <a:ln>
                  <a:noFill/>
                </a:ln>
                <a:solidFill>
                  <a:srgbClr val="3F3F3F"/>
                </a:solidFill>
                <a:effectLst/>
                <a:uLnTx/>
                <a:uFillTx/>
                <a:latin typeface="Arial"/>
                <a:ea typeface="+mn-ea"/>
                <a:cs typeface="Arial"/>
              </a:rPr>
              <a:t>R/R,</a:t>
            </a:r>
            <a:r>
              <a:rPr kumimoji="0" sz="1091" b="0" i="0" u="none" strike="noStrike" kern="0" cap="none" spc="-36" normalizeH="0" baseline="0" noProof="0" dirty="0">
                <a:ln>
                  <a:noFill/>
                </a:ln>
                <a:solidFill>
                  <a:srgbClr val="3F3F3F"/>
                </a:solidFill>
                <a:effectLst/>
                <a:uLnTx/>
                <a:uFillTx/>
                <a:latin typeface="Arial"/>
                <a:ea typeface="+mn-ea"/>
                <a:cs typeface="Arial"/>
              </a:rPr>
              <a:t> </a:t>
            </a:r>
            <a:r>
              <a:rPr kumimoji="0" sz="1091" b="0" i="0" u="none" strike="noStrike" kern="0" cap="none" spc="-12" normalizeH="0" baseline="0" noProof="0" dirty="0">
                <a:ln>
                  <a:noFill/>
                </a:ln>
                <a:solidFill>
                  <a:srgbClr val="3F3F3F"/>
                </a:solidFill>
                <a:effectLst/>
                <a:uLnTx/>
                <a:uFillTx/>
                <a:latin typeface="Arial"/>
                <a:ea typeface="+mn-ea"/>
                <a:cs typeface="Arial"/>
              </a:rPr>
              <a:t>relapsed/refractory.</a:t>
            </a:r>
            <a:endParaRPr kumimoji="0" sz="1091" b="0" i="0" u="none" strike="noStrike" kern="0" cap="none" spc="0" normalizeH="0" baseline="0" noProof="0" dirty="0">
              <a:ln>
                <a:noFill/>
              </a:ln>
              <a:solidFill>
                <a:sysClr val="windowText" lastClr="000000"/>
              </a:solidFill>
              <a:effectLst/>
              <a:uLnTx/>
              <a:uFillTx/>
              <a:latin typeface="Arial"/>
              <a:ea typeface="+mn-ea"/>
              <a:cs typeface="Arial"/>
            </a:endParaRPr>
          </a:p>
        </p:txBody>
      </p:sp>
      <p:sp>
        <p:nvSpPr>
          <p:cNvPr id="18" name="object 18"/>
          <p:cNvSpPr/>
          <p:nvPr/>
        </p:nvSpPr>
        <p:spPr>
          <a:xfrm>
            <a:off x="6734233" y="3635090"/>
            <a:ext cx="5008418" cy="0"/>
          </a:xfrm>
          <a:custGeom>
            <a:avLst/>
            <a:gdLst/>
            <a:ahLst/>
            <a:cxnLst/>
            <a:rect l="l" t="t" r="r" b="b"/>
            <a:pathLst>
              <a:path w="4131945">
                <a:moveTo>
                  <a:pt x="0" y="0"/>
                </a:moveTo>
                <a:lnTo>
                  <a:pt x="4131564" y="0"/>
                </a:lnTo>
              </a:path>
            </a:pathLst>
          </a:custGeom>
          <a:ln w="15709">
            <a:solidFill>
              <a:srgbClr val="A6A6A6"/>
            </a:solidFill>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9" name="Rectangle 1">
            <a:extLst>
              <a:ext uri="{FF2B5EF4-FFF2-40B4-BE49-F238E27FC236}">
                <a16:creationId xmlns:a16="http://schemas.microsoft.com/office/drawing/2014/main" id="{3E4C8C7E-4E65-0981-DB2B-79DCAA1FA07E}"/>
              </a:ext>
            </a:extLst>
          </p:cNvPr>
          <p:cNvSpPr>
            <a:spLocks noChangeArrowheads="1"/>
          </p:cNvSpPr>
          <p:nvPr/>
        </p:nvSpPr>
        <p:spPr bwMode="auto">
          <a:xfrm>
            <a:off x="8303836" y="6612720"/>
            <a:ext cx="3732828" cy="2353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0682" tIns="40341" rIns="80682" bIns="40341" numCol="1" anchor="ctr"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06867" rtl="0" eaLnBrk="0" fontAlgn="base" latinLnBrk="0" hangingPunct="0">
              <a:lnSpc>
                <a:spcPct val="100000"/>
              </a:lnSpc>
              <a:spcBef>
                <a:spcPct val="0"/>
              </a:spcBef>
              <a:spcAft>
                <a:spcPct val="0"/>
              </a:spcAft>
              <a:buClrTx/>
              <a:buSzTx/>
              <a:buFontTx/>
              <a:buNone/>
              <a:tabLst/>
              <a:defRPr/>
            </a:pPr>
            <a:r>
              <a:rPr kumimoji="0" lang="en-US" altLang="en-US" sz="1000" b="0" i="0" u="none" strike="noStrike" kern="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Caimi PF, et al. </a:t>
            </a:r>
            <a:r>
              <a:rPr kumimoji="0" lang="en-US" altLang="en-US" sz="1000" b="0" i="0" u="none" strike="noStrike" kern="0" cap="none" spc="0" normalizeH="0" baseline="0" noProof="0" dirty="0" err="1">
                <a:ln>
                  <a:noFill/>
                </a:ln>
                <a:solidFill>
                  <a:srgbClr val="212121"/>
                </a:solidFill>
                <a:effectLst/>
                <a:uLnTx/>
                <a:uFillTx/>
                <a:latin typeface="Arial" panose="020B0604020202020204" pitchFamily="34" charset="0"/>
                <a:ea typeface="+mn-ea"/>
                <a:cs typeface="Arial" panose="020B0604020202020204" pitchFamily="34" charset="0"/>
              </a:rPr>
              <a:t>Haematologica</a:t>
            </a:r>
            <a:r>
              <a:rPr kumimoji="0" lang="en-US" altLang="en-US" sz="1000" b="0" i="0" u="none" strike="noStrike" kern="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 2024 Apr 1;109(4):1184-1193. </a:t>
            </a:r>
            <a:endParaRPr kumimoji="0" lang="en-US" altLang="en-US" sz="1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 name="TextBox 19">
            <a:extLst>
              <a:ext uri="{FF2B5EF4-FFF2-40B4-BE49-F238E27FC236}">
                <a16:creationId xmlns:a16="http://schemas.microsoft.com/office/drawing/2014/main" id="{D686A70D-46CC-8647-83F6-4D1310B69A1F}"/>
              </a:ext>
            </a:extLst>
          </p:cNvPr>
          <p:cNvSpPr txBox="1"/>
          <p:nvPr/>
        </p:nvSpPr>
        <p:spPr>
          <a:xfrm>
            <a:off x="769605" y="272774"/>
            <a:ext cx="11126690"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a:ea typeface="+mn-ea"/>
                <a:cs typeface="+mn-cs"/>
              </a:rPr>
              <a:t>Updated Results From LOTIS-2, Loncastuximab Tesirine Pivotal Phase 2 Study in Patients With Relapsed/Refractory DLBCL</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4801417" y="1890082"/>
            <a:ext cx="2257157" cy="2256807"/>
          </a:xfrm>
          <a:prstGeom prst="rect">
            <a:avLst/>
          </a:prstGeom>
        </p:spPr>
      </p:pic>
      <p:sp>
        <p:nvSpPr>
          <p:cNvPr id="4" name="object 4"/>
          <p:cNvSpPr txBox="1"/>
          <p:nvPr/>
        </p:nvSpPr>
        <p:spPr>
          <a:xfrm>
            <a:off x="4790284" y="4856327"/>
            <a:ext cx="2395297" cy="659960"/>
          </a:xfrm>
          <a:prstGeom prst="rect">
            <a:avLst/>
          </a:prstGeom>
        </p:spPr>
        <p:txBody>
          <a:bodyPr vert="horz" wrap="square" lIns="0" tIns="16164" rIns="0" bIns="0" rtlCol="0">
            <a:spAutoFit/>
          </a:bodyPr>
          <a:lstStyle/>
          <a:p>
            <a:pPr marL="15394" marR="6157" lvl="0" indent="0" algn="l" defTabSz="806867" rtl="0" eaLnBrk="1" fontAlgn="auto" latinLnBrk="0" hangingPunct="1">
              <a:lnSpc>
                <a:spcPct val="100000"/>
              </a:lnSpc>
              <a:spcBef>
                <a:spcPts val="127"/>
              </a:spcBef>
              <a:spcAft>
                <a:spcPts val="0"/>
              </a:spcAft>
              <a:buClrTx/>
              <a:buSzTx/>
              <a:buFontTx/>
              <a:buNone/>
              <a:tabLst/>
              <a:defRPr/>
            </a:pPr>
            <a:r>
              <a:rPr kumimoji="0" sz="1394" b="0" i="0" u="none" strike="noStrike" kern="0" cap="none" spc="-72" normalizeH="0" baseline="0" noProof="0" dirty="0">
                <a:ln>
                  <a:noFill/>
                </a:ln>
                <a:solidFill>
                  <a:sysClr val="windowText" lastClr="000000"/>
                </a:solidFill>
                <a:effectLst/>
                <a:uLnTx/>
                <a:uFillTx/>
                <a:latin typeface="Arial"/>
                <a:ea typeface="+mn-ea"/>
                <a:cs typeface="Arial"/>
              </a:rPr>
              <a:t>Of </a:t>
            </a:r>
            <a:r>
              <a:rPr kumimoji="0" sz="1394" b="0" i="0" u="none" strike="noStrike" kern="0" cap="none" spc="-24" normalizeH="0" baseline="0" noProof="0" dirty="0">
                <a:ln>
                  <a:noFill/>
                </a:ln>
                <a:solidFill>
                  <a:sysClr val="windowText" lastClr="000000"/>
                </a:solidFill>
                <a:effectLst/>
                <a:uLnTx/>
                <a:uFillTx/>
                <a:latin typeface="Arial"/>
                <a:ea typeface="+mn-ea"/>
                <a:cs typeface="Arial"/>
              </a:rPr>
              <a:t>the</a:t>
            </a:r>
            <a:r>
              <a:rPr kumimoji="0" sz="1394" b="0" i="0" u="none" strike="noStrike" kern="0" cap="none" spc="-55" normalizeH="0" baseline="0" noProof="0" dirty="0">
                <a:ln>
                  <a:noFill/>
                </a:ln>
                <a:solidFill>
                  <a:sysClr val="windowText" lastClr="000000"/>
                </a:solidFill>
                <a:effectLst/>
                <a:uLnTx/>
                <a:uFillTx/>
                <a:latin typeface="Arial"/>
                <a:ea typeface="+mn-ea"/>
                <a:cs typeface="Arial"/>
              </a:rPr>
              <a:t> </a:t>
            </a:r>
            <a:r>
              <a:rPr kumimoji="0" sz="1394" b="0" i="0" u="none" strike="noStrike" kern="0" cap="none" spc="-36" normalizeH="0" baseline="0" noProof="0" dirty="0">
                <a:ln>
                  <a:noFill/>
                </a:ln>
                <a:solidFill>
                  <a:sysClr val="windowText" lastClr="000000"/>
                </a:solidFill>
                <a:effectLst/>
                <a:uLnTx/>
                <a:uFillTx/>
                <a:latin typeface="Arial"/>
                <a:ea typeface="+mn-ea"/>
                <a:cs typeface="Arial"/>
              </a:rPr>
              <a:t>patients </a:t>
            </a:r>
            <a:r>
              <a:rPr kumimoji="0" sz="1394" b="0" i="0" u="none" strike="noStrike" kern="0" cap="none" spc="0" normalizeH="0" baseline="0" noProof="0" dirty="0">
                <a:ln>
                  <a:noFill/>
                </a:ln>
                <a:solidFill>
                  <a:sysClr val="windowText" lastClr="000000"/>
                </a:solidFill>
                <a:effectLst/>
                <a:uLnTx/>
                <a:uFillTx/>
                <a:latin typeface="Arial"/>
                <a:ea typeface="+mn-ea"/>
                <a:cs typeface="Arial"/>
              </a:rPr>
              <a:t>with</a:t>
            </a:r>
            <a:r>
              <a:rPr kumimoji="0" sz="1394" b="0" i="0" u="none" strike="noStrike" kern="0" cap="none" spc="-55" normalizeH="0" baseline="0" noProof="0" dirty="0">
                <a:ln>
                  <a:noFill/>
                </a:ln>
                <a:solidFill>
                  <a:sysClr val="windowText" lastClr="000000"/>
                </a:solidFill>
                <a:effectLst/>
                <a:uLnTx/>
                <a:uFillTx/>
                <a:latin typeface="Arial"/>
                <a:ea typeface="+mn-ea"/>
                <a:cs typeface="Arial"/>
              </a:rPr>
              <a:t> </a:t>
            </a:r>
            <a:r>
              <a:rPr kumimoji="0" sz="1394" b="0" i="0" u="none" strike="noStrike" kern="0" cap="none" spc="-109" normalizeH="0" baseline="0" noProof="0" dirty="0">
                <a:ln>
                  <a:noFill/>
                </a:ln>
                <a:solidFill>
                  <a:sysClr val="windowText" lastClr="000000"/>
                </a:solidFill>
                <a:effectLst/>
                <a:uLnTx/>
                <a:uFillTx/>
                <a:latin typeface="Arial"/>
                <a:ea typeface="+mn-ea"/>
                <a:cs typeface="Arial"/>
              </a:rPr>
              <a:t>a</a:t>
            </a:r>
            <a:r>
              <a:rPr kumimoji="0" sz="1394" b="0" i="0" u="none" strike="noStrike" kern="0" cap="none" spc="-67" normalizeH="0" baseline="0" noProof="0" dirty="0">
                <a:ln>
                  <a:noFill/>
                </a:ln>
                <a:solidFill>
                  <a:sysClr val="windowText" lastClr="000000"/>
                </a:solidFill>
                <a:effectLst/>
                <a:uLnTx/>
                <a:uFillTx/>
                <a:latin typeface="Arial"/>
                <a:ea typeface="+mn-ea"/>
                <a:cs typeface="Arial"/>
              </a:rPr>
              <a:t> </a:t>
            </a:r>
            <a:r>
              <a:rPr kumimoji="0" sz="1394" b="0" i="0" u="none" strike="noStrike" kern="0" cap="none" spc="-194" normalizeH="0" baseline="0" noProof="0" dirty="0">
                <a:ln>
                  <a:noFill/>
                </a:ln>
                <a:solidFill>
                  <a:sysClr val="windowText" lastClr="000000"/>
                </a:solidFill>
                <a:effectLst/>
                <a:uLnTx/>
                <a:uFillTx/>
                <a:latin typeface="Arial"/>
                <a:ea typeface="+mn-ea"/>
                <a:cs typeface="Arial"/>
              </a:rPr>
              <a:t>CR,</a:t>
            </a:r>
            <a:r>
              <a:rPr kumimoji="0" sz="1394" b="0" i="0" u="none" strike="noStrike" kern="0" cap="none" spc="-55" normalizeH="0" baseline="0" noProof="0" dirty="0">
                <a:ln>
                  <a:noFill/>
                </a:ln>
                <a:solidFill>
                  <a:sysClr val="windowText" lastClr="000000"/>
                </a:solidFill>
                <a:effectLst/>
                <a:uLnTx/>
                <a:uFillTx/>
                <a:latin typeface="Arial"/>
                <a:ea typeface="+mn-ea"/>
                <a:cs typeface="Arial"/>
              </a:rPr>
              <a:t> </a:t>
            </a:r>
            <a:r>
              <a:rPr kumimoji="0" sz="1394" b="1" i="0" u="none" strike="noStrike" kern="0" cap="none" spc="-30" normalizeH="0" baseline="0" noProof="0" dirty="0">
                <a:ln>
                  <a:noFill/>
                </a:ln>
                <a:solidFill>
                  <a:srgbClr val="023CA6"/>
                </a:solidFill>
                <a:effectLst/>
                <a:uLnTx/>
                <a:uFillTx/>
                <a:latin typeface="Arial"/>
                <a:ea typeface="+mn-ea"/>
                <a:cs typeface="Arial"/>
              </a:rPr>
              <a:t>31% </a:t>
            </a:r>
            <a:r>
              <a:rPr kumimoji="0" sz="1394" b="1" i="0" u="none" strike="noStrike" kern="0" cap="none" spc="-55" normalizeH="0" baseline="0" noProof="0" dirty="0">
                <a:ln>
                  <a:noFill/>
                </a:ln>
                <a:solidFill>
                  <a:srgbClr val="023CA6"/>
                </a:solidFill>
                <a:effectLst/>
                <a:uLnTx/>
                <a:uFillTx/>
                <a:latin typeface="Arial"/>
                <a:ea typeface="+mn-ea"/>
                <a:cs typeface="Arial"/>
              </a:rPr>
              <a:t>(11 </a:t>
            </a:r>
            <a:r>
              <a:rPr kumimoji="0" sz="1394" b="1" i="0" u="none" strike="noStrike" kern="0" cap="none" spc="-72" normalizeH="0" baseline="0" noProof="0" dirty="0">
                <a:ln>
                  <a:noFill/>
                </a:ln>
                <a:solidFill>
                  <a:srgbClr val="023CA6"/>
                </a:solidFill>
                <a:effectLst/>
                <a:uLnTx/>
                <a:uFillTx/>
                <a:latin typeface="Arial"/>
                <a:ea typeface="+mn-ea"/>
                <a:cs typeface="Arial"/>
              </a:rPr>
              <a:t>of </a:t>
            </a:r>
            <a:r>
              <a:rPr kumimoji="0" sz="1394" b="1" i="0" u="none" strike="noStrike" kern="0" cap="none" spc="-55" normalizeH="0" baseline="0" noProof="0" dirty="0">
                <a:ln>
                  <a:noFill/>
                </a:ln>
                <a:solidFill>
                  <a:srgbClr val="023CA6"/>
                </a:solidFill>
                <a:effectLst/>
                <a:uLnTx/>
                <a:uFillTx/>
                <a:latin typeface="Arial"/>
                <a:ea typeface="+mn-ea"/>
                <a:cs typeface="Arial"/>
              </a:rPr>
              <a:t>36) </a:t>
            </a:r>
            <a:r>
              <a:rPr kumimoji="0" sz="1394" b="0" i="0" u="none" strike="noStrike" kern="0" cap="none" spc="-49" normalizeH="0" baseline="0" noProof="0" dirty="0">
                <a:ln>
                  <a:noFill/>
                </a:ln>
                <a:solidFill>
                  <a:sysClr val="windowText" lastClr="000000"/>
                </a:solidFill>
                <a:effectLst/>
                <a:uLnTx/>
                <a:uFillTx/>
                <a:latin typeface="Arial"/>
                <a:ea typeface="+mn-ea"/>
                <a:cs typeface="Arial"/>
              </a:rPr>
              <a:t>were </a:t>
            </a:r>
            <a:r>
              <a:rPr kumimoji="0" sz="1394" b="0" i="0" u="none" strike="noStrike" kern="0" cap="none" spc="-61" normalizeH="0" baseline="0" noProof="0" dirty="0">
                <a:ln>
                  <a:noFill/>
                </a:ln>
                <a:solidFill>
                  <a:sysClr val="windowText" lastClr="000000"/>
                </a:solidFill>
                <a:effectLst/>
                <a:uLnTx/>
                <a:uFillTx/>
                <a:latin typeface="Arial"/>
                <a:ea typeface="+mn-ea"/>
                <a:cs typeface="Arial"/>
              </a:rPr>
              <a:t>event-</a:t>
            </a:r>
            <a:r>
              <a:rPr kumimoji="0" sz="1394" b="0" i="0" u="none" strike="noStrike" kern="0" cap="none" spc="-42" normalizeH="0" baseline="0" noProof="0" dirty="0">
                <a:ln>
                  <a:noFill/>
                </a:ln>
                <a:solidFill>
                  <a:sysClr val="windowText" lastClr="000000"/>
                </a:solidFill>
                <a:effectLst/>
                <a:uLnTx/>
                <a:uFillTx/>
                <a:latin typeface="Arial"/>
                <a:ea typeface="+mn-ea"/>
                <a:cs typeface="Arial"/>
              </a:rPr>
              <a:t>free </a:t>
            </a:r>
            <a:r>
              <a:rPr kumimoji="0" sz="1394" b="0" i="0" u="none" strike="noStrike" kern="0" cap="none" spc="0" normalizeH="0" baseline="0" noProof="0" dirty="0">
                <a:ln>
                  <a:noFill/>
                </a:ln>
                <a:solidFill>
                  <a:sysClr val="windowText" lastClr="000000"/>
                </a:solidFill>
                <a:effectLst/>
                <a:uLnTx/>
                <a:uFillTx/>
                <a:latin typeface="Arial"/>
                <a:ea typeface="+mn-ea"/>
                <a:cs typeface="Arial"/>
              </a:rPr>
              <a:t>for</a:t>
            </a:r>
            <a:r>
              <a:rPr kumimoji="0" sz="1394" b="0" i="0" u="none" strike="noStrike" kern="0" cap="none" spc="-61" normalizeH="0" baseline="0" noProof="0" dirty="0">
                <a:ln>
                  <a:noFill/>
                </a:ln>
                <a:solidFill>
                  <a:sysClr val="windowText" lastClr="000000"/>
                </a:solidFill>
                <a:effectLst/>
                <a:uLnTx/>
                <a:uFillTx/>
                <a:latin typeface="Arial"/>
                <a:ea typeface="+mn-ea"/>
                <a:cs typeface="Arial"/>
              </a:rPr>
              <a:t> </a:t>
            </a:r>
            <a:r>
              <a:rPr kumimoji="0" sz="1394" b="0" i="0" u="none" strike="noStrike" kern="0" cap="none" spc="-49" normalizeH="0" baseline="0" noProof="0" dirty="0">
                <a:ln>
                  <a:noFill/>
                </a:ln>
                <a:solidFill>
                  <a:sysClr val="windowText" lastClr="000000"/>
                </a:solidFill>
                <a:effectLst/>
                <a:uLnTx/>
                <a:uFillTx/>
                <a:latin typeface="Arial"/>
                <a:ea typeface="+mn-ea"/>
                <a:cs typeface="Arial"/>
              </a:rPr>
              <a:t>≥2 </a:t>
            </a:r>
            <a:r>
              <a:rPr kumimoji="0" sz="1394" b="0" i="0" u="none" strike="noStrike" kern="0" cap="none" spc="-12" normalizeH="0" baseline="0" noProof="0" dirty="0">
                <a:ln>
                  <a:noFill/>
                </a:ln>
                <a:solidFill>
                  <a:sysClr val="windowText" lastClr="000000"/>
                </a:solidFill>
                <a:effectLst/>
                <a:uLnTx/>
                <a:uFillTx/>
                <a:latin typeface="Arial"/>
                <a:ea typeface="+mn-ea"/>
                <a:cs typeface="Arial"/>
              </a:rPr>
              <a:t>years.</a:t>
            </a:r>
            <a:endParaRPr kumimoji="0" sz="1394"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5" name="object 5"/>
          <p:cNvSpPr txBox="1"/>
          <p:nvPr/>
        </p:nvSpPr>
        <p:spPr>
          <a:xfrm>
            <a:off x="911938" y="3109592"/>
            <a:ext cx="230832" cy="1193030"/>
          </a:xfrm>
          <a:prstGeom prst="rect">
            <a:avLst/>
          </a:prstGeom>
        </p:spPr>
        <p:txBody>
          <a:bodyPr vert="vert270" wrap="square" lIns="0" tIns="0" rIns="0" bIns="0" rtlCol="0">
            <a:spAutoFit/>
          </a:bodyPr>
          <a:lstStyle/>
          <a:p>
            <a:pPr marL="15394" marR="0" lvl="0" indent="0" algn="l" defTabSz="806867" rtl="0" eaLnBrk="1" fontAlgn="auto" latinLnBrk="0" hangingPunct="1">
              <a:lnSpc>
                <a:spcPts val="1824"/>
              </a:lnSpc>
              <a:spcBef>
                <a:spcPts val="0"/>
              </a:spcBef>
              <a:spcAft>
                <a:spcPts val="0"/>
              </a:spcAft>
              <a:buClrTx/>
              <a:buSzTx/>
              <a:buFontTx/>
              <a:buNone/>
              <a:tabLst/>
              <a:defRPr/>
            </a:pPr>
            <a:r>
              <a:rPr kumimoji="0" sz="1758" b="0" i="0" u="none" strike="noStrike" kern="0" cap="none" spc="-121" normalizeH="0" baseline="0" noProof="0" dirty="0">
                <a:ln>
                  <a:noFill/>
                </a:ln>
                <a:solidFill>
                  <a:srgbClr val="7E7E7E"/>
                </a:solidFill>
                <a:effectLst/>
                <a:uLnTx/>
                <a:uFillTx/>
                <a:latin typeface="Arial"/>
                <a:ea typeface="+mn-ea"/>
                <a:cs typeface="Arial"/>
              </a:rPr>
              <a:t>Response,</a:t>
            </a:r>
            <a:r>
              <a:rPr kumimoji="0" sz="1758" b="0" i="0" u="none" strike="noStrike" kern="0" cap="none" spc="-49" normalizeH="0" baseline="0" noProof="0" dirty="0">
                <a:ln>
                  <a:noFill/>
                </a:ln>
                <a:solidFill>
                  <a:srgbClr val="7E7E7E"/>
                </a:solidFill>
                <a:effectLst/>
                <a:uLnTx/>
                <a:uFillTx/>
                <a:latin typeface="Arial"/>
                <a:ea typeface="+mn-ea"/>
                <a:cs typeface="Arial"/>
              </a:rPr>
              <a:t> </a:t>
            </a:r>
            <a:r>
              <a:rPr kumimoji="0" sz="1758" b="0" i="0" u="none" strike="noStrike" kern="0" cap="none" spc="-146" normalizeH="0" baseline="0" noProof="0" dirty="0">
                <a:ln>
                  <a:noFill/>
                </a:ln>
                <a:solidFill>
                  <a:srgbClr val="7E7E7E"/>
                </a:solidFill>
                <a:effectLst/>
                <a:uLnTx/>
                <a:uFillTx/>
                <a:latin typeface="Arial"/>
                <a:ea typeface="+mn-ea"/>
                <a:cs typeface="Arial"/>
              </a:rPr>
              <a:t>%</a:t>
            </a:r>
            <a:endParaRPr kumimoji="0" sz="1758"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6" name="object 6"/>
          <p:cNvSpPr txBox="1"/>
          <p:nvPr/>
        </p:nvSpPr>
        <p:spPr>
          <a:xfrm>
            <a:off x="1148387" y="2108515"/>
            <a:ext cx="341746" cy="3104319"/>
          </a:xfrm>
          <a:prstGeom prst="rect">
            <a:avLst/>
          </a:prstGeom>
        </p:spPr>
        <p:txBody>
          <a:bodyPr vert="horz" wrap="square" lIns="0" tIns="51570" rIns="0" bIns="0" rtlCol="0">
            <a:spAutoFit/>
          </a:bodyPr>
          <a:lstStyle/>
          <a:p>
            <a:pPr marL="0" marR="6157" lvl="0" indent="0" algn="r" defTabSz="806867" rtl="0" eaLnBrk="1" fontAlgn="auto" latinLnBrk="0" hangingPunct="1">
              <a:lnSpc>
                <a:spcPct val="100000"/>
              </a:lnSpc>
              <a:spcBef>
                <a:spcPts val="406"/>
              </a:spcBef>
              <a:spcAft>
                <a:spcPts val="0"/>
              </a:spcAft>
              <a:buClrTx/>
              <a:buSzTx/>
              <a:buFontTx/>
              <a:buNone/>
              <a:tabLst/>
              <a:defRPr/>
            </a:pPr>
            <a:r>
              <a:rPr kumimoji="0" sz="1576" b="0" i="0" u="none" strike="noStrike" kern="0" cap="none" spc="-49" normalizeH="0" baseline="0" noProof="0" dirty="0">
                <a:ln>
                  <a:noFill/>
                </a:ln>
                <a:solidFill>
                  <a:srgbClr val="7E7E7E"/>
                </a:solidFill>
                <a:effectLst/>
                <a:uLnTx/>
                <a:uFillTx/>
                <a:latin typeface="Arial"/>
                <a:ea typeface="+mn-ea"/>
                <a:cs typeface="Arial"/>
              </a:rPr>
              <a:t>100</a:t>
            </a:r>
            <a:endParaRPr kumimoji="0" sz="1576" b="0" i="0" u="none" strike="noStrike" kern="0" cap="none" spc="0" normalizeH="0" baseline="0" noProof="0">
              <a:ln>
                <a:noFill/>
              </a:ln>
              <a:solidFill>
                <a:sysClr val="windowText" lastClr="000000"/>
              </a:solidFill>
              <a:effectLst/>
              <a:uLnTx/>
              <a:uFillTx/>
              <a:latin typeface="Arial"/>
              <a:ea typeface="+mn-ea"/>
              <a:cs typeface="Arial"/>
            </a:endParaRPr>
          </a:p>
          <a:p>
            <a:pPr marL="0" marR="6157" lvl="0" indent="0" algn="r" defTabSz="806867" rtl="0" eaLnBrk="1" fontAlgn="auto" latinLnBrk="0" hangingPunct="1">
              <a:lnSpc>
                <a:spcPct val="100000"/>
              </a:lnSpc>
              <a:spcBef>
                <a:spcPts val="291"/>
              </a:spcBef>
              <a:spcAft>
                <a:spcPts val="0"/>
              </a:spcAft>
              <a:buClrTx/>
              <a:buSzTx/>
              <a:buFontTx/>
              <a:buNone/>
              <a:tabLst/>
              <a:defRPr/>
            </a:pPr>
            <a:r>
              <a:rPr kumimoji="0" sz="1576" b="0" i="0" u="none" strike="noStrike" kern="0" cap="none" spc="-30" normalizeH="0" baseline="0" noProof="0" dirty="0">
                <a:ln>
                  <a:noFill/>
                </a:ln>
                <a:solidFill>
                  <a:srgbClr val="7E7E7E"/>
                </a:solidFill>
                <a:effectLst/>
                <a:uLnTx/>
                <a:uFillTx/>
                <a:latin typeface="Arial"/>
                <a:ea typeface="+mn-ea"/>
                <a:cs typeface="Arial"/>
              </a:rPr>
              <a:t>90</a:t>
            </a:r>
            <a:endParaRPr kumimoji="0" sz="1576" b="0" i="0" u="none" strike="noStrike" kern="0" cap="none" spc="0" normalizeH="0" baseline="0" noProof="0">
              <a:ln>
                <a:noFill/>
              </a:ln>
              <a:solidFill>
                <a:sysClr val="windowText" lastClr="000000"/>
              </a:solidFill>
              <a:effectLst/>
              <a:uLnTx/>
              <a:uFillTx/>
              <a:latin typeface="Arial"/>
              <a:ea typeface="+mn-ea"/>
              <a:cs typeface="Arial"/>
            </a:endParaRPr>
          </a:p>
          <a:p>
            <a:pPr marL="0" marR="6157" lvl="0" indent="0" algn="r" defTabSz="806867" rtl="0" eaLnBrk="1" fontAlgn="auto" latinLnBrk="0" hangingPunct="1">
              <a:lnSpc>
                <a:spcPct val="100000"/>
              </a:lnSpc>
              <a:spcBef>
                <a:spcPts val="308"/>
              </a:spcBef>
              <a:spcAft>
                <a:spcPts val="0"/>
              </a:spcAft>
              <a:buClrTx/>
              <a:buSzTx/>
              <a:buFontTx/>
              <a:buNone/>
              <a:tabLst/>
              <a:defRPr/>
            </a:pPr>
            <a:r>
              <a:rPr kumimoji="0" sz="1576" b="0" i="0" u="none" strike="noStrike" kern="0" cap="none" spc="-30" normalizeH="0" baseline="0" noProof="0" dirty="0">
                <a:ln>
                  <a:noFill/>
                </a:ln>
                <a:solidFill>
                  <a:srgbClr val="7E7E7E"/>
                </a:solidFill>
                <a:effectLst/>
                <a:uLnTx/>
                <a:uFillTx/>
                <a:latin typeface="Arial"/>
                <a:ea typeface="+mn-ea"/>
                <a:cs typeface="Arial"/>
              </a:rPr>
              <a:t>80</a:t>
            </a:r>
            <a:endParaRPr kumimoji="0" sz="1576" b="0" i="0" u="none" strike="noStrike" kern="0" cap="none" spc="0" normalizeH="0" baseline="0" noProof="0">
              <a:ln>
                <a:noFill/>
              </a:ln>
              <a:solidFill>
                <a:sysClr val="windowText" lastClr="000000"/>
              </a:solidFill>
              <a:effectLst/>
              <a:uLnTx/>
              <a:uFillTx/>
              <a:latin typeface="Arial"/>
              <a:ea typeface="+mn-ea"/>
              <a:cs typeface="Arial"/>
            </a:endParaRPr>
          </a:p>
          <a:p>
            <a:pPr marL="0" marR="6157" lvl="0" indent="0" algn="r" defTabSz="806867" rtl="0" eaLnBrk="1" fontAlgn="auto" latinLnBrk="0" hangingPunct="1">
              <a:lnSpc>
                <a:spcPct val="100000"/>
              </a:lnSpc>
              <a:spcBef>
                <a:spcPts val="291"/>
              </a:spcBef>
              <a:spcAft>
                <a:spcPts val="0"/>
              </a:spcAft>
              <a:buClrTx/>
              <a:buSzTx/>
              <a:buFontTx/>
              <a:buNone/>
              <a:tabLst/>
              <a:defRPr/>
            </a:pPr>
            <a:r>
              <a:rPr kumimoji="0" sz="1576" b="0" i="0" u="none" strike="noStrike" kern="0" cap="none" spc="-30" normalizeH="0" baseline="0" noProof="0" dirty="0">
                <a:ln>
                  <a:noFill/>
                </a:ln>
                <a:solidFill>
                  <a:srgbClr val="7E7E7E"/>
                </a:solidFill>
                <a:effectLst/>
                <a:uLnTx/>
                <a:uFillTx/>
                <a:latin typeface="Arial"/>
                <a:ea typeface="+mn-ea"/>
                <a:cs typeface="Arial"/>
              </a:rPr>
              <a:t>70</a:t>
            </a:r>
            <a:endParaRPr kumimoji="0" sz="1576" b="0" i="0" u="none" strike="noStrike" kern="0" cap="none" spc="0" normalizeH="0" baseline="0" noProof="0">
              <a:ln>
                <a:noFill/>
              </a:ln>
              <a:solidFill>
                <a:sysClr val="windowText" lastClr="000000"/>
              </a:solidFill>
              <a:effectLst/>
              <a:uLnTx/>
              <a:uFillTx/>
              <a:latin typeface="Arial"/>
              <a:ea typeface="+mn-ea"/>
              <a:cs typeface="Arial"/>
            </a:endParaRPr>
          </a:p>
          <a:p>
            <a:pPr marL="0" marR="6157" lvl="0" indent="0" algn="r" defTabSz="806867" rtl="0" eaLnBrk="1" fontAlgn="auto" latinLnBrk="0" hangingPunct="1">
              <a:lnSpc>
                <a:spcPct val="100000"/>
              </a:lnSpc>
              <a:spcBef>
                <a:spcPts val="315"/>
              </a:spcBef>
              <a:spcAft>
                <a:spcPts val="0"/>
              </a:spcAft>
              <a:buClrTx/>
              <a:buSzTx/>
              <a:buFontTx/>
              <a:buNone/>
              <a:tabLst/>
              <a:defRPr/>
            </a:pPr>
            <a:r>
              <a:rPr kumimoji="0" sz="1576" b="0" i="0" u="none" strike="noStrike" kern="0" cap="none" spc="-30" normalizeH="0" baseline="0" noProof="0" dirty="0">
                <a:ln>
                  <a:noFill/>
                </a:ln>
                <a:solidFill>
                  <a:srgbClr val="7E7E7E"/>
                </a:solidFill>
                <a:effectLst/>
                <a:uLnTx/>
                <a:uFillTx/>
                <a:latin typeface="Arial"/>
                <a:ea typeface="+mn-ea"/>
                <a:cs typeface="Arial"/>
              </a:rPr>
              <a:t>60</a:t>
            </a:r>
            <a:endParaRPr kumimoji="0" sz="1576" b="0" i="0" u="none" strike="noStrike" kern="0" cap="none" spc="0" normalizeH="0" baseline="0" noProof="0">
              <a:ln>
                <a:noFill/>
              </a:ln>
              <a:solidFill>
                <a:sysClr val="windowText" lastClr="000000"/>
              </a:solidFill>
              <a:effectLst/>
              <a:uLnTx/>
              <a:uFillTx/>
              <a:latin typeface="Arial"/>
              <a:ea typeface="+mn-ea"/>
              <a:cs typeface="Arial"/>
            </a:endParaRPr>
          </a:p>
          <a:p>
            <a:pPr marL="0" marR="6157" lvl="0" indent="0" algn="r" defTabSz="806867" rtl="0" eaLnBrk="1" fontAlgn="auto" latinLnBrk="0" hangingPunct="1">
              <a:lnSpc>
                <a:spcPct val="100000"/>
              </a:lnSpc>
              <a:spcBef>
                <a:spcPts val="291"/>
              </a:spcBef>
              <a:spcAft>
                <a:spcPts val="0"/>
              </a:spcAft>
              <a:buClrTx/>
              <a:buSzTx/>
              <a:buFontTx/>
              <a:buNone/>
              <a:tabLst/>
              <a:defRPr/>
            </a:pPr>
            <a:r>
              <a:rPr kumimoji="0" sz="1576" b="0" i="0" u="none" strike="noStrike" kern="0" cap="none" spc="-30" normalizeH="0" baseline="0" noProof="0" dirty="0">
                <a:ln>
                  <a:noFill/>
                </a:ln>
                <a:solidFill>
                  <a:srgbClr val="7E7E7E"/>
                </a:solidFill>
                <a:effectLst/>
                <a:uLnTx/>
                <a:uFillTx/>
                <a:latin typeface="Arial"/>
                <a:ea typeface="+mn-ea"/>
                <a:cs typeface="Arial"/>
              </a:rPr>
              <a:t>50</a:t>
            </a:r>
            <a:endParaRPr kumimoji="0" sz="1576" b="0" i="0" u="none" strike="noStrike" kern="0" cap="none" spc="0" normalizeH="0" baseline="0" noProof="0">
              <a:ln>
                <a:noFill/>
              </a:ln>
              <a:solidFill>
                <a:sysClr val="windowText" lastClr="000000"/>
              </a:solidFill>
              <a:effectLst/>
              <a:uLnTx/>
              <a:uFillTx/>
              <a:latin typeface="Arial"/>
              <a:ea typeface="+mn-ea"/>
              <a:cs typeface="Arial"/>
            </a:endParaRPr>
          </a:p>
          <a:p>
            <a:pPr marL="0" marR="6157" lvl="0" indent="0" algn="r" defTabSz="806867" rtl="0" eaLnBrk="1" fontAlgn="auto" latinLnBrk="0" hangingPunct="1">
              <a:lnSpc>
                <a:spcPct val="100000"/>
              </a:lnSpc>
              <a:spcBef>
                <a:spcPts val="291"/>
              </a:spcBef>
              <a:spcAft>
                <a:spcPts val="0"/>
              </a:spcAft>
              <a:buClrTx/>
              <a:buSzTx/>
              <a:buFontTx/>
              <a:buNone/>
              <a:tabLst/>
              <a:defRPr/>
            </a:pPr>
            <a:r>
              <a:rPr kumimoji="0" sz="1576" b="0" i="0" u="none" strike="noStrike" kern="0" cap="none" spc="-30" normalizeH="0" baseline="0" noProof="0" dirty="0">
                <a:ln>
                  <a:noFill/>
                </a:ln>
                <a:solidFill>
                  <a:srgbClr val="7E7E7E"/>
                </a:solidFill>
                <a:effectLst/>
                <a:uLnTx/>
                <a:uFillTx/>
                <a:latin typeface="Arial"/>
                <a:ea typeface="+mn-ea"/>
                <a:cs typeface="Arial"/>
              </a:rPr>
              <a:t>40</a:t>
            </a:r>
            <a:endParaRPr kumimoji="0" sz="1576" b="0" i="0" u="none" strike="noStrike" kern="0" cap="none" spc="0" normalizeH="0" baseline="0" noProof="0">
              <a:ln>
                <a:noFill/>
              </a:ln>
              <a:solidFill>
                <a:sysClr val="windowText" lastClr="000000"/>
              </a:solidFill>
              <a:effectLst/>
              <a:uLnTx/>
              <a:uFillTx/>
              <a:latin typeface="Arial"/>
              <a:ea typeface="+mn-ea"/>
              <a:cs typeface="Arial"/>
            </a:endParaRPr>
          </a:p>
          <a:p>
            <a:pPr marL="0" marR="6157" lvl="0" indent="0" algn="r" defTabSz="806867" rtl="0" eaLnBrk="1" fontAlgn="auto" latinLnBrk="0" hangingPunct="1">
              <a:lnSpc>
                <a:spcPct val="100000"/>
              </a:lnSpc>
              <a:spcBef>
                <a:spcPts val="291"/>
              </a:spcBef>
              <a:spcAft>
                <a:spcPts val="0"/>
              </a:spcAft>
              <a:buClrTx/>
              <a:buSzTx/>
              <a:buFontTx/>
              <a:buNone/>
              <a:tabLst/>
              <a:defRPr/>
            </a:pPr>
            <a:r>
              <a:rPr kumimoji="0" sz="1576" b="0" i="0" u="none" strike="noStrike" kern="0" cap="none" spc="-30" normalizeH="0" baseline="0" noProof="0" dirty="0">
                <a:ln>
                  <a:noFill/>
                </a:ln>
                <a:solidFill>
                  <a:srgbClr val="7E7E7E"/>
                </a:solidFill>
                <a:effectLst/>
                <a:uLnTx/>
                <a:uFillTx/>
                <a:latin typeface="Arial"/>
                <a:ea typeface="+mn-ea"/>
                <a:cs typeface="Arial"/>
              </a:rPr>
              <a:t>30</a:t>
            </a:r>
            <a:endParaRPr kumimoji="0" sz="1576" b="0" i="0" u="none" strike="noStrike" kern="0" cap="none" spc="0" normalizeH="0" baseline="0" noProof="0">
              <a:ln>
                <a:noFill/>
              </a:ln>
              <a:solidFill>
                <a:sysClr val="windowText" lastClr="000000"/>
              </a:solidFill>
              <a:effectLst/>
              <a:uLnTx/>
              <a:uFillTx/>
              <a:latin typeface="Arial"/>
              <a:ea typeface="+mn-ea"/>
              <a:cs typeface="Arial"/>
            </a:endParaRPr>
          </a:p>
          <a:p>
            <a:pPr marL="0" marR="6157" lvl="0" indent="0" algn="r" defTabSz="806867" rtl="0" eaLnBrk="1" fontAlgn="auto" latinLnBrk="0" hangingPunct="1">
              <a:lnSpc>
                <a:spcPct val="100000"/>
              </a:lnSpc>
              <a:spcBef>
                <a:spcPts val="314"/>
              </a:spcBef>
              <a:spcAft>
                <a:spcPts val="0"/>
              </a:spcAft>
              <a:buClrTx/>
              <a:buSzTx/>
              <a:buFontTx/>
              <a:buNone/>
              <a:tabLst/>
              <a:defRPr/>
            </a:pPr>
            <a:r>
              <a:rPr kumimoji="0" sz="1576" b="0" i="0" u="none" strike="noStrike" kern="0" cap="none" spc="-30" normalizeH="0" baseline="0" noProof="0" dirty="0">
                <a:ln>
                  <a:noFill/>
                </a:ln>
                <a:solidFill>
                  <a:srgbClr val="7E7E7E"/>
                </a:solidFill>
                <a:effectLst/>
                <a:uLnTx/>
                <a:uFillTx/>
                <a:latin typeface="Arial"/>
                <a:ea typeface="+mn-ea"/>
                <a:cs typeface="Arial"/>
              </a:rPr>
              <a:t>20</a:t>
            </a:r>
            <a:endParaRPr kumimoji="0" sz="1576" b="0" i="0" u="none" strike="noStrike" kern="0" cap="none" spc="0" normalizeH="0" baseline="0" noProof="0">
              <a:ln>
                <a:noFill/>
              </a:ln>
              <a:solidFill>
                <a:sysClr val="windowText" lastClr="000000"/>
              </a:solidFill>
              <a:effectLst/>
              <a:uLnTx/>
              <a:uFillTx/>
              <a:latin typeface="Arial"/>
              <a:ea typeface="+mn-ea"/>
              <a:cs typeface="Arial"/>
            </a:endParaRPr>
          </a:p>
          <a:p>
            <a:pPr marL="0" marR="6157" lvl="0" indent="0" algn="r" defTabSz="806867" rtl="0" eaLnBrk="1" fontAlgn="auto" latinLnBrk="0" hangingPunct="1">
              <a:lnSpc>
                <a:spcPct val="100000"/>
              </a:lnSpc>
              <a:spcBef>
                <a:spcPts val="291"/>
              </a:spcBef>
              <a:spcAft>
                <a:spcPts val="0"/>
              </a:spcAft>
              <a:buClrTx/>
              <a:buSzTx/>
              <a:buFontTx/>
              <a:buNone/>
              <a:tabLst/>
              <a:defRPr/>
            </a:pPr>
            <a:r>
              <a:rPr kumimoji="0" sz="1576" b="0" i="0" u="none" strike="noStrike" kern="0" cap="none" spc="-30" normalizeH="0" baseline="0" noProof="0" dirty="0">
                <a:ln>
                  <a:noFill/>
                </a:ln>
                <a:solidFill>
                  <a:srgbClr val="7E7E7E"/>
                </a:solidFill>
                <a:effectLst/>
                <a:uLnTx/>
                <a:uFillTx/>
                <a:latin typeface="Arial"/>
                <a:ea typeface="+mn-ea"/>
                <a:cs typeface="Arial"/>
              </a:rPr>
              <a:t>10</a:t>
            </a:r>
            <a:endParaRPr kumimoji="0" sz="1576" b="0" i="0" u="none" strike="noStrike" kern="0" cap="none" spc="0" normalizeH="0" baseline="0" noProof="0">
              <a:ln>
                <a:noFill/>
              </a:ln>
              <a:solidFill>
                <a:sysClr val="windowText" lastClr="000000"/>
              </a:solidFill>
              <a:effectLst/>
              <a:uLnTx/>
              <a:uFillTx/>
              <a:latin typeface="Arial"/>
              <a:ea typeface="+mn-ea"/>
              <a:cs typeface="Arial"/>
            </a:endParaRPr>
          </a:p>
          <a:p>
            <a:pPr marL="0" marR="6157" lvl="0" indent="0" algn="r" defTabSz="806867" rtl="0" eaLnBrk="1" fontAlgn="auto" latinLnBrk="0" hangingPunct="1">
              <a:lnSpc>
                <a:spcPct val="100000"/>
              </a:lnSpc>
              <a:spcBef>
                <a:spcPts val="291"/>
              </a:spcBef>
              <a:spcAft>
                <a:spcPts val="0"/>
              </a:spcAft>
              <a:buClrTx/>
              <a:buSzTx/>
              <a:buFontTx/>
              <a:buNone/>
              <a:tabLst/>
              <a:defRPr/>
            </a:pPr>
            <a:r>
              <a:rPr kumimoji="0" sz="1576" b="0" i="0" u="none" strike="noStrike" kern="0" cap="none" spc="-61" normalizeH="0" baseline="0" noProof="0" dirty="0">
                <a:ln>
                  <a:noFill/>
                </a:ln>
                <a:solidFill>
                  <a:srgbClr val="7E7E7E"/>
                </a:solidFill>
                <a:effectLst/>
                <a:uLnTx/>
                <a:uFillTx/>
                <a:latin typeface="Arial"/>
                <a:ea typeface="+mn-ea"/>
                <a:cs typeface="Arial"/>
              </a:rPr>
              <a:t>0</a:t>
            </a:r>
            <a:endParaRPr kumimoji="0" sz="1576" b="0" i="0" u="none" strike="noStrike" kern="0" cap="none" spc="0" normalizeH="0" baseline="0" noProof="0">
              <a:ln>
                <a:noFill/>
              </a:ln>
              <a:solidFill>
                <a:sysClr val="windowText" lastClr="000000"/>
              </a:solidFill>
              <a:effectLst/>
              <a:uLnTx/>
              <a:uFillTx/>
              <a:latin typeface="Arial"/>
              <a:ea typeface="+mn-ea"/>
              <a:cs typeface="Arial"/>
            </a:endParaRPr>
          </a:p>
        </p:txBody>
      </p:sp>
      <p:grpSp>
        <p:nvGrpSpPr>
          <p:cNvPr id="7" name="object 7"/>
          <p:cNvGrpSpPr/>
          <p:nvPr/>
        </p:nvGrpSpPr>
        <p:grpSpPr>
          <a:xfrm>
            <a:off x="1563024" y="2255289"/>
            <a:ext cx="2714721" cy="2786303"/>
            <a:chOff x="1289494" y="2917888"/>
            <a:chExt cx="2239645" cy="2298700"/>
          </a:xfrm>
        </p:grpSpPr>
        <p:sp>
          <p:nvSpPr>
            <p:cNvPr id="8" name="object 8"/>
            <p:cNvSpPr/>
            <p:nvPr/>
          </p:nvSpPr>
          <p:spPr>
            <a:xfrm>
              <a:off x="1355598" y="2920746"/>
              <a:ext cx="0" cy="2287905"/>
            </a:xfrm>
            <a:custGeom>
              <a:avLst/>
              <a:gdLst/>
              <a:ahLst/>
              <a:cxnLst/>
              <a:rect l="l" t="t" r="r" b="b"/>
              <a:pathLst>
                <a:path h="2287904">
                  <a:moveTo>
                    <a:pt x="0" y="0"/>
                  </a:moveTo>
                  <a:lnTo>
                    <a:pt x="0" y="2287524"/>
                  </a:lnTo>
                </a:path>
              </a:pathLst>
            </a:custGeom>
            <a:ln w="5232">
              <a:solidFill>
                <a:srgbClr val="000000"/>
              </a:solidFill>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9" name="object 9"/>
            <p:cNvSpPr/>
            <p:nvPr/>
          </p:nvSpPr>
          <p:spPr>
            <a:xfrm>
              <a:off x="1292352" y="2920746"/>
              <a:ext cx="63500" cy="0"/>
            </a:xfrm>
            <a:custGeom>
              <a:avLst/>
              <a:gdLst/>
              <a:ahLst/>
              <a:cxnLst/>
              <a:rect l="l" t="t" r="r" b="b"/>
              <a:pathLst>
                <a:path w="63500">
                  <a:moveTo>
                    <a:pt x="0" y="0"/>
                  </a:moveTo>
                  <a:lnTo>
                    <a:pt x="63246" y="0"/>
                  </a:lnTo>
                </a:path>
              </a:pathLst>
            </a:custGeom>
            <a:ln w="5232">
              <a:solidFill>
                <a:srgbClr val="000000"/>
              </a:solidFill>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0" name="object 10"/>
            <p:cNvSpPr/>
            <p:nvPr/>
          </p:nvSpPr>
          <p:spPr>
            <a:xfrm>
              <a:off x="1292352" y="3149346"/>
              <a:ext cx="63500" cy="0"/>
            </a:xfrm>
            <a:custGeom>
              <a:avLst/>
              <a:gdLst/>
              <a:ahLst/>
              <a:cxnLst/>
              <a:rect l="l" t="t" r="r" b="b"/>
              <a:pathLst>
                <a:path w="63500">
                  <a:moveTo>
                    <a:pt x="0" y="0"/>
                  </a:moveTo>
                  <a:lnTo>
                    <a:pt x="63246" y="0"/>
                  </a:lnTo>
                </a:path>
              </a:pathLst>
            </a:custGeom>
            <a:ln w="5232">
              <a:solidFill>
                <a:srgbClr val="000000"/>
              </a:solidFill>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1" name="object 11"/>
            <p:cNvSpPr/>
            <p:nvPr/>
          </p:nvSpPr>
          <p:spPr>
            <a:xfrm>
              <a:off x="1292352" y="3380232"/>
              <a:ext cx="63500" cy="0"/>
            </a:xfrm>
            <a:custGeom>
              <a:avLst/>
              <a:gdLst/>
              <a:ahLst/>
              <a:cxnLst/>
              <a:rect l="l" t="t" r="r" b="b"/>
              <a:pathLst>
                <a:path w="63500">
                  <a:moveTo>
                    <a:pt x="0" y="0"/>
                  </a:moveTo>
                  <a:lnTo>
                    <a:pt x="63246" y="0"/>
                  </a:lnTo>
                </a:path>
              </a:pathLst>
            </a:custGeom>
            <a:ln w="5232">
              <a:solidFill>
                <a:srgbClr val="000000"/>
              </a:solidFill>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2" name="object 12"/>
            <p:cNvSpPr/>
            <p:nvPr/>
          </p:nvSpPr>
          <p:spPr>
            <a:xfrm>
              <a:off x="1292352" y="3608832"/>
              <a:ext cx="63500" cy="0"/>
            </a:xfrm>
            <a:custGeom>
              <a:avLst/>
              <a:gdLst/>
              <a:ahLst/>
              <a:cxnLst/>
              <a:rect l="l" t="t" r="r" b="b"/>
              <a:pathLst>
                <a:path w="63500">
                  <a:moveTo>
                    <a:pt x="0" y="0"/>
                  </a:moveTo>
                  <a:lnTo>
                    <a:pt x="63246" y="0"/>
                  </a:lnTo>
                </a:path>
              </a:pathLst>
            </a:custGeom>
            <a:ln w="5232">
              <a:solidFill>
                <a:srgbClr val="000000"/>
              </a:solidFill>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3" name="object 13"/>
            <p:cNvSpPr/>
            <p:nvPr/>
          </p:nvSpPr>
          <p:spPr>
            <a:xfrm>
              <a:off x="1292352" y="3839718"/>
              <a:ext cx="63500" cy="0"/>
            </a:xfrm>
            <a:custGeom>
              <a:avLst/>
              <a:gdLst/>
              <a:ahLst/>
              <a:cxnLst/>
              <a:rect l="l" t="t" r="r" b="b"/>
              <a:pathLst>
                <a:path w="63500">
                  <a:moveTo>
                    <a:pt x="0" y="0"/>
                  </a:moveTo>
                  <a:lnTo>
                    <a:pt x="63246" y="0"/>
                  </a:lnTo>
                </a:path>
              </a:pathLst>
            </a:custGeom>
            <a:ln w="5232">
              <a:solidFill>
                <a:srgbClr val="000000"/>
              </a:solidFill>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4" name="object 14"/>
            <p:cNvSpPr/>
            <p:nvPr/>
          </p:nvSpPr>
          <p:spPr>
            <a:xfrm>
              <a:off x="1292352" y="4068318"/>
              <a:ext cx="63500" cy="0"/>
            </a:xfrm>
            <a:custGeom>
              <a:avLst/>
              <a:gdLst/>
              <a:ahLst/>
              <a:cxnLst/>
              <a:rect l="l" t="t" r="r" b="b"/>
              <a:pathLst>
                <a:path w="63500">
                  <a:moveTo>
                    <a:pt x="0" y="0"/>
                  </a:moveTo>
                  <a:lnTo>
                    <a:pt x="63246" y="0"/>
                  </a:lnTo>
                </a:path>
              </a:pathLst>
            </a:custGeom>
            <a:ln w="5232">
              <a:solidFill>
                <a:srgbClr val="000000"/>
              </a:solidFill>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5" name="object 15"/>
            <p:cNvSpPr/>
            <p:nvPr/>
          </p:nvSpPr>
          <p:spPr>
            <a:xfrm>
              <a:off x="1292352" y="4296918"/>
              <a:ext cx="63500" cy="0"/>
            </a:xfrm>
            <a:custGeom>
              <a:avLst/>
              <a:gdLst/>
              <a:ahLst/>
              <a:cxnLst/>
              <a:rect l="l" t="t" r="r" b="b"/>
              <a:pathLst>
                <a:path w="63500">
                  <a:moveTo>
                    <a:pt x="0" y="0"/>
                  </a:moveTo>
                  <a:lnTo>
                    <a:pt x="63246" y="0"/>
                  </a:lnTo>
                </a:path>
              </a:pathLst>
            </a:custGeom>
            <a:ln w="5232">
              <a:solidFill>
                <a:srgbClr val="000000"/>
              </a:solidFill>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6" name="object 16"/>
            <p:cNvSpPr/>
            <p:nvPr/>
          </p:nvSpPr>
          <p:spPr>
            <a:xfrm>
              <a:off x="1292352" y="4525518"/>
              <a:ext cx="63500" cy="0"/>
            </a:xfrm>
            <a:custGeom>
              <a:avLst/>
              <a:gdLst/>
              <a:ahLst/>
              <a:cxnLst/>
              <a:rect l="l" t="t" r="r" b="b"/>
              <a:pathLst>
                <a:path w="63500">
                  <a:moveTo>
                    <a:pt x="0" y="0"/>
                  </a:moveTo>
                  <a:lnTo>
                    <a:pt x="63246" y="0"/>
                  </a:lnTo>
                </a:path>
              </a:pathLst>
            </a:custGeom>
            <a:ln w="5232">
              <a:solidFill>
                <a:srgbClr val="000000"/>
              </a:solidFill>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7" name="object 17"/>
            <p:cNvSpPr/>
            <p:nvPr/>
          </p:nvSpPr>
          <p:spPr>
            <a:xfrm>
              <a:off x="1292352" y="4756404"/>
              <a:ext cx="63500" cy="0"/>
            </a:xfrm>
            <a:custGeom>
              <a:avLst/>
              <a:gdLst/>
              <a:ahLst/>
              <a:cxnLst/>
              <a:rect l="l" t="t" r="r" b="b"/>
              <a:pathLst>
                <a:path w="63500">
                  <a:moveTo>
                    <a:pt x="0" y="0"/>
                  </a:moveTo>
                  <a:lnTo>
                    <a:pt x="63246" y="0"/>
                  </a:lnTo>
                </a:path>
              </a:pathLst>
            </a:custGeom>
            <a:ln w="5232">
              <a:solidFill>
                <a:srgbClr val="000000"/>
              </a:solidFill>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8" name="object 18"/>
            <p:cNvSpPr/>
            <p:nvPr/>
          </p:nvSpPr>
          <p:spPr>
            <a:xfrm>
              <a:off x="1292352" y="4985004"/>
              <a:ext cx="63500" cy="0"/>
            </a:xfrm>
            <a:custGeom>
              <a:avLst/>
              <a:gdLst/>
              <a:ahLst/>
              <a:cxnLst/>
              <a:rect l="l" t="t" r="r" b="b"/>
              <a:pathLst>
                <a:path w="63500">
                  <a:moveTo>
                    <a:pt x="0" y="0"/>
                  </a:moveTo>
                  <a:lnTo>
                    <a:pt x="63246" y="0"/>
                  </a:lnTo>
                </a:path>
              </a:pathLst>
            </a:custGeom>
            <a:ln w="5232">
              <a:solidFill>
                <a:srgbClr val="000000"/>
              </a:solidFill>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9" name="object 19"/>
            <p:cNvSpPr/>
            <p:nvPr/>
          </p:nvSpPr>
          <p:spPr>
            <a:xfrm>
              <a:off x="1292352" y="5213604"/>
              <a:ext cx="2233930" cy="0"/>
            </a:xfrm>
            <a:custGeom>
              <a:avLst/>
              <a:gdLst/>
              <a:ahLst/>
              <a:cxnLst/>
              <a:rect l="l" t="t" r="r" b="b"/>
              <a:pathLst>
                <a:path w="2233929">
                  <a:moveTo>
                    <a:pt x="0" y="0"/>
                  </a:moveTo>
                  <a:lnTo>
                    <a:pt x="342138" y="0"/>
                  </a:lnTo>
                </a:path>
                <a:path w="2233929">
                  <a:moveTo>
                    <a:pt x="1936241" y="0"/>
                  </a:moveTo>
                  <a:lnTo>
                    <a:pt x="2233422" y="0"/>
                  </a:lnTo>
                </a:path>
              </a:pathLst>
            </a:custGeom>
            <a:ln w="5232">
              <a:solidFill>
                <a:srgbClr val="000000"/>
              </a:solidFill>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0" name="object 20"/>
            <p:cNvSpPr/>
            <p:nvPr/>
          </p:nvSpPr>
          <p:spPr>
            <a:xfrm>
              <a:off x="1634490" y="4100322"/>
              <a:ext cx="1594485" cy="580390"/>
            </a:xfrm>
            <a:custGeom>
              <a:avLst/>
              <a:gdLst/>
              <a:ahLst/>
              <a:cxnLst/>
              <a:rect l="l" t="t" r="r" b="b"/>
              <a:pathLst>
                <a:path w="1594485" h="580389">
                  <a:moveTo>
                    <a:pt x="1594103" y="579881"/>
                  </a:moveTo>
                  <a:lnTo>
                    <a:pt x="1594103" y="0"/>
                  </a:lnTo>
                  <a:lnTo>
                    <a:pt x="0" y="0"/>
                  </a:lnTo>
                  <a:lnTo>
                    <a:pt x="0" y="579881"/>
                  </a:lnTo>
                  <a:lnTo>
                    <a:pt x="1594103" y="579881"/>
                  </a:lnTo>
                  <a:close/>
                </a:path>
              </a:pathLst>
            </a:custGeom>
            <a:solidFill>
              <a:srgbClr val="19B0DD"/>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21" name="object 21"/>
          <p:cNvSpPr txBox="1"/>
          <p:nvPr/>
        </p:nvSpPr>
        <p:spPr>
          <a:xfrm>
            <a:off x="1900228" y="5056754"/>
            <a:ext cx="2085108" cy="548952"/>
          </a:xfrm>
          <a:prstGeom prst="rect">
            <a:avLst/>
          </a:prstGeom>
        </p:spPr>
        <p:txBody>
          <a:bodyPr vert="horz" wrap="square" lIns="0" tIns="14624" rIns="0" bIns="0" rtlCol="0">
            <a:spAutoFit/>
          </a:bodyPr>
          <a:lstStyle/>
          <a:p>
            <a:pPr marL="614234" marR="6157" lvl="0" indent="-599609" algn="l" defTabSz="806867" rtl="0" eaLnBrk="1" fontAlgn="auto" latinLnBrk="0" hangingPunct="1">
              <a:lnSpc>
                <a:spcPct val="102400"/>
              </a:lnSpc>
              <a:spcBef>
                <a:spcPts val="116"/>
              </a:spcBef>
              <a:spcAft>
                <a:spcPts val="0"/>
              </a:spcAft>
              <a:buClrTx/>
              <a:buSzTx/>
              <a:buFontTx/>
              <a:buNone/>
              <a:tabLst/>
              <a:defRPr/>
            </a:pPr>
            <a:r>
              <a:rPr kumimoji="0" sz="1758" b="0" i="0" u="none" strike="noStrike" kern="0" cap="none" spc="-12" normalizeH="0" baseline="0" noProof="0" dirty="0">
                <a:ln>
                  <a:noFill/>
                </a:ln>
                <a:solidFill>
                  <a:srgbClr val="7E7E7E"/>
                </a:solidFill>
                <a:effectLst/>
                <a:uLnTx/>
                <a:uFillTx/>
                <a:latin typeface="Arial"/>
                <a:ea typeface="+mn-ea"/>
                <a:cs typeface="Arial"/>
              </a:rPr>
              <a:t>All-</a:t>
            </a:r>
            <a:r>
              <a:rPr kumimoji="0" sz="1758" b="0" i="0" u="none" strike="noStrike" kern="0" cap="none" spc="-49" normalizeH="0" baseline="0" noProof="0" dirty="0">
                <a:ln>
                  <a:noFill/>
                </a:ln>
                <a:solidFill>
                  <a:srgbClr val="7E7E7E"/>
                </a:solidFill>
                <a:effectLst/>
                <a:uLnTx/>
                <a:uFillTx/>
                <a:latin typeface="Arial"/>
                <a:ea typeface="+mn-ea"/>
                <a:cs typeface="Arial"/>
              </a:rPr>
              <a:t>treated</a:t>
            </a:r>
            <a:r>
              <a:rPr kumimoji="0" sz="1758" b="0" i="0" u="none" strike="noStrike" kern="0" cap="none" spc="-55" normalizeH="0" baseline="0" noProof="0" dirty="0">
                <a:ln>
                  <a:noFill/>
                </a:ln>
                <a:solidFill>
                  <a:srgbClr val="7E7E7E"/>
                </a:solidFill>
                <a:effectLst/>
                <a:uLnTx/>
                <a:uFillTx/>
                <a:latin typeface="Arial"/>
                <a:ea typeface="+mn-ea"/>
                <a:cs typeface="Arial"/>
              </a:rPr>
              <a:t> </a:t>
            </a:r>
            <a:r>
              <a:rPr kumimoji="0" sz="1758" b="0" i="0" u="none" strike="noStrike" kern="0" cap="none" spc="-24" normalizeH="0" baseline="0" noProof="0" dirty="0">
                <a:ln>
                  <a:noFill/>
                </a:ln>
                <a:solidFill>
                  <a:srgbClr val="7E7E7E"/>
                </a:solidFill>
                <a:effectLst/>
                <a:uLnTx/>
                <a:uFillTx/>
                <a:latin typeface="Arial"/>
                <a:ea typeface="+mn-ea"/>
                <a:cs typeface="Arial"/>
              </a:rPr>
              <a:t>population </a:t>
            </a:r>
            <a:r>
              <a:rPr kumimoji="0" sz="1758" b="0" i="0" u="none" strike="noStrike" kern="0" cap="none" spc="-91" normalizeH="0" baseline="0" noProof="0" dirty="0">
                <a:ln>
                  <a:noFill/>
                </a:ln>
                <a:solidFill>
                  <a:srgbClr val="7E7E7E"/>
                </a:solidFill>
                <a:effectLst/>
                <a:uLnTx/>
                <a:uFillTx/>
                <a:latin typeface="Arial"/>
                <a:ea typeface="+mn-ea"/>
                <a:cs typeface="Arial"/>
              </a:rPr>
              <a:t>(N</a:t>
            </a:r>
            <a:r>
              <a:rPr kumimoji="0" sz="1758" b="0" i="0" u="none" strike="noStrike" kern="0" cap="none" spc="-67" normalizeH="0" baseline="0" noProof="0" dirty="0">
                <a:ln>
                  <a:noFill/>
                </a:ln>
                <a:solidFill>
                  <a:srgbClr val="7E7E7E"/>
                </a:solidFill>
                <a:effectLst/>
                <a:uLnTx/>
                <a:uFillTx/>
                <a:latin typeface="Arial"/>
                <a:ea typeface="+mn-ea"/>
                <a:cs typeface="Arial"/>
              </a:rPr>
              <a:t> </a:t>
            </a:r>
            <a:r>
              <a:rPr kumimoji="0" sz="1758" b="0" i="0" u="none" strike="noStrike" kern="0" cap="none" spc="-146" normalizeH="0" baseline="0" noProof="0" dirty="0">
                <a:ln>
                  <a:noFill/>
                </a:ln>
                <a:solidFill>
                  <a:srgbClr val="7E7E7E"/>
                </a:solidFill>
                <a:effectLst/>
                <a:uLnTx/>
                <a:uFillTx/>
                <a:latin typeface="Arial"/>
                <a:ea typeface="+mn-ea"/>
                <a:cs typeface="Arial"/>
              </a:rPr>
              <a:t>=</a:t>
            </a:r>
            <a:r>
              <a:rPr kumimoji="0" sz="1758" b="0" i="0" u="none" strike="noStrike" kern="0" cap="none" spc="-67" normalizeH="0" baseline="0" noProof="0" dirty="0">
                <a:ln>
                  <a:noFill/>
                </a:ln>
                <a:solidFill>
                  <a:srgbClr val="7E7E7E"/>
                </a:solidFill>
                <a:effectLst/>
                <a:uLnTx/>
                <a:uFillTx/>
                <a:latin typeface="Arial"/>
                <a:ea typeface="+mn-ea"/>
                <a:cs typeface="Arial"/>
              </a:rPr>
              <a:t> </a:t>
            </a:r>
            <a:r>
              <a:rPr kumimoji="0" sz="1758" b="0" i="0" u="none" strike="noStrike" kern="0" cap="none" spc="-24" normalizeH="0" baseline="0" noProof="0" dirty="0">
                <a:ln>
                  <a:noFill/>
                </a:ln>
                <a:solidFill>
                  <a:srgbClr val="7E7E7E"/>
                </a:solidFill>
                <a:effectLst/>
                <a:uLnTx/>
                <a:uFillTx/>
                <a:latin typeface="Arial"/>
                <a:ea typeface="+mn-ea"/>
                <a:cs typeface="Arial"/>
              </a:rPr>
              <a:t>145)</a:t>
            </a:r>
            <a:endParaRPr kumimoji="0" sz="1758"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22" name="object 22"/>
          <p:cNvSpPr txBox="1"/>
          <p:nvPr/>
        </p:nvSpPr>
        <p:spPr>
          <a:xfrm>
            <a:off x="2591108" y="3748885"/>
            <a:ext cx="713509" cy="570063"/>
          </a:xfrm>
          <a:prstGeom prst="rect">
            <a:avLst/>
          </a:prstGeom>
        </p:spPr>
        <p:txBody>
          <a:bodyPr vert="horz" wrap="square" lIns="0" tIns="16164" rIns="0" bIns="0" rtlCol="0">
            <a:spAutoFit/>
          </a:bodyPr>
          <a:lstStyle/>
          <a:p>
            <a:pPr marL="15394" marR="0" lvl="0" indent="0" algn="l" defTabSz="806867" rtl="0" eaLnBrk="1" fontAlgn="auto" latinLnBrk="0" hangingPunct="1">
              <a:lnSpc>
                <a:spcPct val="100000"/>
              </a:lnSpc>
              <a:spcBef>
                <a:spcPts val="127"/>
              </a:spcBef>
              <a:spcAft>
                <a:spcPts val="0"/>
              </a:spcAft>
              <a:buClrTx/>
              <a:buSzTx/>
              <a:buFontTx/>
              <a:buNone/>
              <a:tabLst/>
              <a:defRPr/>
            </a:pPr>
            <a:r>
              <a:rPr kumimoji="0" sz="2121" b="1" i="0" u="none" strike="noStrike" kern="0" cap="none" spc="-127" normalizeH="0" baseline="0" noProof="0" dirty="0">
                <a:ln>
                  <a:noFill/>
                </a:ln>
                <a:solidFill>
                  <a:srgbClr val="FFFFFF"/>
                </a:solidFill>
                <a:effectLst/>
                <a:uLnTx/>
                <a:uFillTx/>
                <a:latin typeface="Arial"/>
                <a:ea typeface="+mn-ea"/>
                <a:cs typeface="Arial"/>
              </a:rPr>
              <a:t>24.8%</a:t>
            </a:r>
            <a:endParaRPr kumimoji="0" sz="2121" b="0" i="0" u="none" strike="noStrike" kern="0" cap="none" spc="0" normalizeH="0" baseline="0" noProof="0">
              <a:ln>
                <a:noFill/>
              </a:ln>
              <a:solidFill>
                <a:sysClr val="windowText" lastClr="000000"/>
              </a:solidFill>
              <a:effectLst/>
              <a:uLnTx/>
              <a:uFillTx/>
              <a:latin typeface="Arial"/>
              <a:ea typeface="+mn-ea"/>
              <a:cs typeface="Arial"/>
            </a:endParaRPr>
          </a:p>
          <a:p>
            <a:pPr marL="78510" marR="0" lvl="0" indent="0" algn="l" defTabSz="806867" rtl="0" eaLnBrk="1" fontAlgn="auto" latinLnBrk="0" hangingPunct="1">
              <a:lnSpc>
                <a:spcPct val="100000"/>
              </a:lnSpc>
              <a:spcBef>
                <a:spcPts val="55"/>
              </a:spcBef>
              <a:spcAft>
                <a:spcPts val="0"/>
              </a:spcAft>
              <a:buClrTx/>
              <a:buSzTx/>
              <a:buFontTx/>
              <a:buNone/>
              <a:tabLst/>
              <a:defRPr/>
            </a:pPr>
            <a:r>
              <a:rPr kumimoji="0" sz="1394" b="1" i="0" u="none" strike="noStrike" kern="0" cap="none" spc="-67" normalizeH="0" baseline="0" noProof="0" dirty="0">
                <a:ln>
                  <a:noFill/>
                </a:ln>
                <a:solidFill>
                  <a:srgbClr val="FFFFFF"/>
                </a:solidFill>
                <a:effectLst/>
                <a:uLnTx/>
                <a:uFillTx/>
                <a:latin typeface="Arial"/>
                <a:ea typeface="+mn-ea"/>
                <a:cs typeface="Arial"/>
              </a:rPr>
              <a:t>(n</a:t>
            </a:r>
            <a:r>
              <a:rPr kumimoji="0" sz="1394" b="1" i="0" u="none" strike="noStrike" kern="0" cap="none" spc="-85" normalizeH="0" baseline="0" noProof="0" dirty="0">
                <a:ln>
                  <a:noFill/>
                </a:ln>
                <a:solidFill>
                  <a:srgbClr val="FFFFFF"/>
                </a:solidFill>
                <a:effectLst/>
                <a:uLnTx/>
                <a:uFillTx/>
                <a:latin typeface="Arial"/>
                <a:ea typeface="+mn-ea"/>
                <a:cs typeface="Arial"/>
              </a:rPr>
              <a:t> </a:t>
            </a:r>
            <a:r>
              <a:rPr kumimoji="0" sz="1394" b="1" i="0" u="none" strike="noStrike" kern="0" cap="none" spc="-133" normalizeH="0" baseline="0" noProof="0" dirty="0">
                <a:ln>
                  <a:noFill/>
                </a:ln>
                <a:solidFill>
                  <a:srgbClr val="FFFFFF"/>
                </a:solidFill>
                <a:effectLst/>
                <a:uLnTx/>
                <a:uFillTx/>
                <a:latin typeface="Arial"/>
                <a:ea typeface="+mn-ea"/>
                <a:cs typeface="Arial"/>
              </a:rPr>
              <a:t>=</a:t>
            </a:r>
            <a:r>
              <a:rPr kumimoji="0" sz="1394" b="1" i="0" u="none" strike="noStrike" kern="0" cap="none" spc="-61" normalizeH="0" baseline="0" noProof="0" dirty="0">
                <a:ln>
                  <a:noFill/>
                </a:ln>
                <a:solidFill>
                  <a:srgbClr val="FFFFFF"/>
                </a:solidFill>
                <a:effectLst/>
                <a:uLnTx/>
                <a:uFillTx/>
                <a:latin typeface="Arial"/>
                <a:ea typeface="+mn-ea"/>
                <a:cs typeface="Arial"/>
              </a:rPr>
              <a:t> </a:t>
            </a:r>
            <a:r>
              <a:rPr kumimoji="0" sz="1394" b="1" i="0" u="none" strike="noStrike" kern="0" cap="none" spc="-30" normalizeH="0" baseline="0" noProof="0" dirty="0">
                <a:ln>
                  <a:noFill/>
                </a:ln>
                <a:solidFill>
                  <a:srgbClr val="FFFFFF"/>
                </a:solidFill>
                <a:effectLst/>
                <a:uLnTx/>
                <a:uFillTx/>
                <a:latin typeface="Arial"/>
                <a:ea typeface="+mn-ea"/>
                <a:cs typeface="Arial"/>
              </a:rPr>
              <a:t>36)</a:t>
            </a:r>
            <a:endParaRPr kumimoji="0" sz="1394"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23" name="object 23"/>
          <p:cNvSpPr/>
          <p:nvPr/>
        </p:nvSpPr>
        <p:spPr>
          <a:xfrm>
            <a:off x="1981199" y="4391429"/>
            <a:ext cx="1932709" cy="650394"/>
          </a:xfrm>
          <a:custGeom>
            <a:avLst/>
            <a:gdLst/>
            <a:ahLst/>
            <a:cxnLst/>
            <a:rect l="l" t="t" r="r" b="b"/>
            <a:pathLst>
              <a:path w="1594485" h="536575">
                <a:moveTo>
                  <a:pt x="1594103" y="536448"/>
                </a:moveTo>
                <a:lnTo>
                  <a:pt x="1594103" y="0"/>
                </a:lnTo>
                <a:lnTo>
                  <a:pt x="0" y="0"/>
                </a:lnTo>
                <a:lnTo>
                  <a:pt x="0" y="536448"/>
                </a:lnTo>
                <a:lnTo>
                  <a:pt x="1594103" y="536448"/>
                </a:lnTo>
                <a:close/>
              </a:path>
            </a:pathLst>
          </a:custGeom>
          <a:solidFill>
            <a:srgbClr val="ED7D31"/>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4" name="object 24"/>
          <p:cNvSpPr txBox="1"/>
          <p:nvPr/>
        </p:nvSpPr>
        <p:spPr>
          <a:xfrm>
            <a:off x="2591108" y="4448079"/>
            <a:ext cx="713509" cy="570063"/>
          </a:xfrm>
          <a:prstGeom prst="rect">
            <a:avLst/>
          </a:prstGeom>
        </p:spPr>
        <p:txBody>
          <a:bodyPr vert="horz" wrap="square" lIns="0" tIns="16164" rIns="0" bIns="0" rtlCol="0">
            <a:spAutoFit/>
          </a:bodyPr>
          <a:lstStyle/>
          <a:p>
            <a:pPr marL="15394" marR="0" lvl="0" indent="0" algn="l" defTabSz="806867" rtl="0" eaLnBrk="1" fontAlgn="auto" latinLnBrk="0" hangingPunct="1">
              <a:lnSpc>
                <a:spcPct val="100000"/>
              </a:lnSpc>
              <a:spcBef>
                <a:spcPts val="127"/>
              </a:spcBef>
              <a:spcAft>
                <a:spcPts val="0"/>
              </a:spcAft>
              <a:buClrTx/>
              <a:buSzTx/>
              <a:buFontTx/>
              <a:buNone/>
              <a:tabLst/>
              <a:defRPr/>
            </a:pPr>
            <a:r>
              <a:rPr kumimoji="0" sz="2121" b="1" i="0" u="none" strike="noStrike" kern="0" cap="none" spc="-127" normalizeH="0" baseline="0" noProof="0" dirty="0">
                <a:ln>
                  <a:noFill/>
                </a:ln>
                <a:solidFill>
                  <a:srgbClr val="FFFFFF"/>
                </a:solidFill>
                <a:effectLst/>
                <a:uLnTx/>
                <a:uFillTx/>
                <a:latin typeface="Arial"/>
                <a:ea typeface="+mn-ea"/>
                <a:cs typeface="Arial"/>
              </a:rPr>
              <a:t>23.4%</a:t>
            </a:r>
            <a:endParaRPr kumimoji="0" sz="2121" b="0" i="0" u="none" strike="noStrike" kern="0" cap="none" spc="0" normalizeH="0" baseline="0" noProof="0">
              <a:ln>
                <a:noFill/>
              </a:ln>
              <a:solidFill>
                <a:sysClr val="windowText" lastClr="000000"/>
              </a:solidFill>
              <a:effectLst/>
              <a:uLnTx/>
              <a:uFillTx/>
              <a:latin typeface="Arial"/>
              <a:ea typeface="+mn-ea"/>
              <a:cs typeface="Arial"/>
            </a:endParaRPr>
          </a:p>
          <a:p>
            <a:pPr marL="78510" marR="0" lvl="0" indent="0" algn="l" defTabSz="806867" rtl="0" eaLnBrk="1" fontAlgn="auto" latinLnBrk="0" hangingPunct="1">
              <a:lnSpc>
                <a:spcPct val="100000"/>
              </a:lnSpc>
              <a:spcBef>
                <a:spcPts val="55"/>
              </a:spcBef>
              <a:spcAft>
                <a:spcPts val="0"/>
              </a:spcAft>
              <a:buClrTx/>
              <a:buSzTx/>
              <a:buFontTx/>
              <a:buNone/>
              <a:tabLst/>
              <a:defRPr/>
            </a:pPr>
            <a:r>
              <a:rPr kumimoji="0" sz="1394" b="1" i="0" u="none" strike="noStrike" kern="0" cap="none" spc="-67" normalizeH="0" baseline="0" noProof="0" dirty="0">
                <a:ln>
                  <a:noFill/>
                </a:ln>
                <a:solidFill>
                  <a:srgbClr val="FFFFFF"/>
                </a:solidFill>
                <a:effectLst/>
                <a:uLnTx/>
                <a:uFillTx/>
                <a:latin typeface="Arial"/>
                <a:ea typeface="+mn-ea"/>
                <a:cs typeface="Arial"/>
              </a:rPr>
              <a:t>(n</a:t>
            </a:r>
            <a:r>
              <a:rPr kumimoji="0" sz="1394" b="1" i="0" u="none" strike="noStrike" kern="0" cap="none" spc="-85" normalizeH="0" baseline="0" noProof="0" dirty="0">
                <a:ln>
                  <a:noFill/>
                </a:ln>
                <a:solidFill>
                  <a:srgbClr val="FFFFFF"/>
                </a:solidFill>
                <a:effectLst/>
                <a:uLnTx/>
                <a:uFillTx/>
                <a:latin typeface="Arial"/>
                <a:ea typeface="+mn-ea"/>
                <a:cs typeface="Arial"/>
              </a:rPr>
              <a:t> </a:t>
            </a:r>
            <a:r>
              <a:rPr kumimoji="0" sz="1394" b="1" i="0" u="none" strike="noStrike" kern="0" cap="none" spc="-133" normalizeH="0" baseline="0" noProof="0" dirty="0">
                <a:ln>
                  <a:noFill/>
                </a:ln>
                <a:solidFill>
                  <a:srgbClr val="FFFFFF"/>
                </a:solidFill>
                <a:effectLst/>
                <a:uLnTx/>
                <a:uFillTx/>
                <a:latin typeface="Arial"/>
                <a:ea typeface="+mn-ea"/>
                <a:cs typeface="Arial"/>
              </a:rPr>
              <a:t>=</a:t>
            </a:r>
            <a:r>
              <a:rPr kumimoji="0" sz="1394" b="1" i="0" u="none" strike="noStrike" kern="0" cap="none" spc="-61" normalizeH="0" baseline="0" noProof="0" dirty="0">
                <a:ln>
                  <a:noFill/>
                </a:ln>
                <a:solidFill>
                  <a:srgbClr val="FFFFFF"/>
                </a:solidFill>
                <a:effectLst/>
                <a:uLnTx/>
                <a:uFillTx/>
                <a:latin typeface="Arial"/>
                <a:ea typeface="+mn-ea"/>
                <a:cs typeface="Arial"/>
              </a:rPr>
              <a:t> </a:t>
            </a:r>
            <a:r>
              <a:rPr kumimoji="0" sz="1394" b="1" i="0" u="none" strike="noStrike" kern="0" cap="none" spc="-30" normalizeH="0" baseline="0" noProof="0" dirty="0">
                <a:ln>
                  <a:noFill/>
                </a:ln>
                <a:solidFill>
                  <a:srgbClr val="FFFFFF"/>
                </a:solidFill>
                <a:effectLst/>
                <a:uLnTx/>
                <a:uFillTx/>
                <a:latin typeface="Arial"/>
                <a:ea typeface="+mn-ea"/>
                <a:cs typeface="Arial"/>
              </a:rPr>
              <a:t>34)</a:t>
            </a:r>
            <a:endParaRPr kumimoji="0" sz="1394" b="0" i="0" u="none" strike="noStrike" kern="0" cap="none" spc="0" normalizeH="0" baseline="0" noProof="0">
              <a:ln>
                <a:noFill/>
              </a:ln>
              <a:solidFill>
                <a:sysClr val="windowText" lastClr="000000"/>
              </a:solidFill>
              <a:effectLst/>
              <a:uLnTx/>
              <a:uFillTx/>
              <a:latin typeface="Arial"/>
              <a:ea typeface="+mn-ea"/>
              <a:cs typeface="Arial"/>
            </a:endParaRPr>
          </a:p>
        </p:txBody>
      </p:sp>
      <p:grpSp>
        <p:nvGrpSpPr>
          <p:cNvPr id="25" name="object 25"/>
          <p:cNvGrpSpPr/>
          <p:nvPr/>
        </p:nvGrpSpPr>
        <p:grpSpPr>
          <a:xfrm>
            <a:off x="1803863" y="2314171"/>
            <a:ext cx="91594" cy="406400"/>
            <a:chOff x="1488186" y="2966466"/>
            <a:chExt cx="75565" cy="335280"/>
          </a:xfrm>
        </p:grpSpPr>
        <p:sp>
          <p:nvSpPr>
            <p:cNvPr id="26" name="object 26"/>
            <p:cNvSpPr/>
            <p:nvPr/>
          </p:nvSpPr>
          <p:spPr>
            <a:xfrm>
              <a:off x="1488186" y="2966466"/>
              <a:ext cx="75565" cy="93980"/>
            </a:xfrm>
            <a:custGeom>
              <a:avLst/>
              <a:gdLst/>
              <a:ahLst/>
              <a:cxnLst/>
              <a:rect l="l" t="t" r="r" b="b"/>
              <a:pathLst>
                <a:path w="75565" h="93980">
                  <a:moveTo>
                    <a:pt x="75437" y="93725"/>
                  </a:moveTo>
                  <a:lnTo>
                    <a:pt x="75437" y="0"/>
                  </a:lnTo>
                  <a:lnTo>
                    <a:pt x="0" y="0"/>
                  </a:lnTo>
                  <a:lnTo>
                    <a:pt x="0" y="93725"/>
                  </a:lnTo>
                  <a:lnTo>
                    <a:pt x="75437" y="93725"/>
                  </a:lnTo>
                  <a:close/>
                </a:path>
              </a:pathLst>
            </a:custGeom>
            <a:solidFill>
              <a:srgbClr val="19B0DD"/>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7" name="object 27"/>
            <p:cNvSpPr/>
            <p:nvPr/>
          </p:nvSpPr>
          <p:spPr>
            <a:xfrm>
              <a:off x="1488186" y="3208020"/>
              <a:ext cx="75565" cy="93980"/>
            </a:xfrm>
            <a:custGeom>
              <a:avLst/>
              <a:gdLst/>
              <a:ahLst/>
              <a:cxnLst/>
              <a:rect l="l" t="t" r="r" b="b"/>
              <a:pathLst>
                <a:path w="75565" h="93979">
                  <a:moveTo>
                    <a:pt x="75437" y="93725"/>
                  </a:moveTo>
                  <a:lnTo>
                    <a:pt x="75437" y="0"/>
                  </a:lnTo>
                  <a:lnTo>
                    <a:pt x="0" y="0"/>
                  </a:lnTo>
                  <a:lnTo>
                    <a:pt x="0" y="93725"/>
                  </a:lnTo>
                  <a:lnTo>
                    <a:pt x="75437" y="93725"/>
                  </a:lnTo>
                  <a:close/>
                </a:path>
              </a:pathLst>
            </a:custGeom>
            <a:solidFill>
              <a:srgbClr val="ED7D31"/>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28" name="object 28"/>
          <p:cNvSpPr txBox="1"/>
          <p:nvPr/>
        </p:nvSpPr>
        <p:spPr>
          <a:xfrm>
            <a:off x="1965805" y="2138619"/>
            <a:ext cx="1427018" cy="573510"/>
          </a:xfrm>
          <a:prstGeom prst="rect">
            <a:avLst/>
          </a:prstGeom>
        </p:spPr>
        <p:txBody>
          <a:bodyPr vert="horz" wrap="square" lIns="0" tIns="14624" rIns="0" bIns="0" rtlCol="0">
            <a:spAutoFit/>
          </a:bodyPr>
          <a:lstStyle/>
          <a:p>
            <a:pPr marL="15394" marR="6157" lvl="0" indent="0" algn="l" defTabSz="806867" rtl="0" eaLnBrk="1" fontAlgn="auto" latinLnBrk="0" hangingPunct="1">
              <a:lnSpc>
                <a:spcPct val="137800"/>
              </a:lnSpc>
              <a:spcBef>
                <a:spcPts val="116"/>
              </a:spcBef>
              <a:spcAft>
                <a:spcPts val="0"/>
              </a:spcAft>
              <a:buClrTx/>
              <a:buSzTx/>
              <a:buFontTx/>
              <a:buNone/>
              <a:tabLst/>
              <a:defRPr/>
            </a:pPr>
            <a:r>
              <a:rPr kumimoji="0" sz="1394" b="0" i="0" u="none" strike="noStrike" kern="0" cap="none" spc="-67" normalizeH="0" baseline="0" noProof="0" dirty="0">
                <a:ln>
                  <a:noFill/>
                </a:ln>
                <a:solidFill>
                  <a:srgbClr val="7E7E7E"/>
                </a:solidFill>
                <a:effectLst/>
                <a:uLnTx/>
                <a:uFillTx/>
                <a:latin typeface="Arial"/>
                <a:ea typeface="+mn-ea"/>
                <a:cs typeface="Arial"/>
              </a:rPr>
              <a:t>Complete</a:t>
            </a:r>
            <a:r>
              <a:rPr kumimoji="0" sz="1394" b="0" i="0" u="none" strike="noStrike" kern="0" cap="none" spc="-30" normalizeH="0" baseline="0" noProof="0" dirty="0">
                <a:ln>
                  <a:noFill/>
                </a:ln>
                <a:solidFill>
                  <a:srgbClr val="7E7E7E"/>
                </a:solidFill>
                <a:effectLst/>
                <a:uLnTx/>
                <a:uFillTx/>
                <a:latin typeface="Arial"/>
                <a:ea typeface="+mn-ea"/>
                <a:cs typeface="Arial"/>
              </a:rPr>
              <a:t> </a:t>
            </a:r>
            <a:r>
              <a:rPr kumimoji="0" sz="1394" b="0" i="0" u="none" strike="noStrike" kern="0" cap="none" spc="-79" normalizeH="0" baseline="0" noProof="0" dirty="0">
                <a:ln>
                  <a:noFill/>
                </a:ln>
                <a:solidFill>
                  <a:srgbClr val="7E7E7E"/>
                </a:solidFill>
                <a:effectLst/>
                <a:uLnTx/>
                <a:uFillTx/>
                <a:latin typeface="Arial"/>
                <a:ea typeface="+mn-ea"/>
                <a:cs typeface="Arial"/>
              </a:rPr>
              <a:t>response </a:t>
            </a:r>
            <a:r>
              <a:rPr kumimoji="0" sz="1394" b="0" i="0" u="none" strike="noStrike" kern="0" cap="none" spc="-55" normalizeH="0" baseline="0" noProof="0" dirty="0">
                <a:ln>
                  <a:noFill/>
                </a:ln>
                <a:solidFill>
                  <a:srgbClr val="7E7E7E"/>
                </a:solidFill>
                <a:effectLst/>
                <a:uLnTx/>
                <a:uFillTx/>
                <a:latin typeface="Arial"/>
                <a:ea typeface="+mn-ea"/>
                <a:cs typeface="Arial"/>
              </a:rPr>
              <a:t>Partial</a:t>
            </a:r>
            <a:r>
              <a:rPr kumimoji="0" sz="1394" b="0" i="0" u="none" strike="noStrike" kern="0" cap="none" spc="-24" normalizeH="0" baseline="0" noProof="0" dirty="0">
                <a:ln>
                  <a:noFill/>
                </a:ln>
                <a:solidFill>
                  <a:srgbClr val="7E7E7E"/>
                </a:solidFill>
                <a:effectLst/>
                <a:uLnTx/>
                <a:uFillTx/>
                <a:latin typeface="Arial"/>
                <a:ea typeface="+mn-ea"/>
                <a:cs typeface="Arial"/>
              </a:rPr>
              <a:t> </a:t>
            </a:r>
            <a:r>
              <a:rPr kumimoji="0" sz="1394" b="0" i="0" u="none" strike="noStrike" kern="0" cap="none" spc="-12" normalizeH="0" baseline="0" noProof="0" dirty="0">
                <a:ln>
                  <a:noFill/>
                </a:ln>
                <a:solidFill>
                  <a:srgbClr val="7E7E7E"/>
                </a:solidFill>
                <a:effectLst/>
                <a:uLnTx/>
                <a:uFillTx/>
                <a:latin typeface="Arial"/>
                <a:ea typeface="+mn-ea"/>
                <a:cs typeface="Arial"/>
              </a:rPr>
              <a:t>response</a:t>
            </a:r>
            <a:endParaRPr kumimoji="0" sz="1394"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29" name="object 29"/>
          <p:cNvSpPr txBox="1"/>
          <p:nvPr/>
        </p:nvSpPr>
        <p:spPr>
          <a:xfrm>
            <a:off x="1753371" y="3294459"/>
            <a:ext cx="2520911" cy="323321"/>
          </a:xfrm>
          <a:prstGeom prst="rect">
            <a:avLst/>
          </a:prstGeom>
        </p:spPr>
        <p:txBody>
          <a:bodyPr vert="horz" wrap="square" lIns="0" tIns="15394" rIns="0" bIns="0" rtlCol="0">
            <a:spAutoFit/>
          </a:bodyPr>
          <a:lstStyle/>
          <a:p>
            <a:pPr marL="15394" marR="0" lvl="0" indent="0" algn="l" defTabSz="806867" rtl="0" eaLnBrk="1" fontAlgn="auto" latinLnBrk="0" hangingPunct="1">
              <a:lnSpc>
                <a:spcPct val="100000"/>
              </a:lnSpc>
              <a:spcBef>
                <a:spcPts val="121"/>
              </a:spcBef>
              <a:spcAft>
                <a:spcPts val="0"/>
              </a:spcAft>
              <a:buClrTx/>
              <a:buSzTx/>
              <a:buFontTx/>
              <a:buNone/>
              <a:tabLst/>
              <a:defRPr/>
            </a:pPr>
            <a:r>
              <a:rPr kumimoji="0" sz="2000" b="1" i="0" u="none" strike="noStrike" kern="0" cap="none" spc="0" normalizeH="0" baseline="0" noProof="0" dirty="0">
                <a:ln>
                  <a:noFill/>
                </a:ln>
                <a:solidFill>
                  <a:srgbClr val="3F3F3F"/>
                </a:solidFill>
                <a:effectLst/>
                <a:uLnTx/>
                <a:uFillTx/>
                <a:latin typeface="Arial"/>
                <a:ea typeface="+mn-ea"/>
                <a:cs typeface="Arial"/>
              </a:rPr>
              <a:t>ORR 48.3% (n = 70)</a:t>
            </a:r>
            <a:endParaRPr kumimoji="0" sz="2000" b="0" i="0" u="none" strike="noStrike" kern="0" cap="none" spc="0" normalizeH="0" baseline="0" noProof="0" dirty="0">
              <a:ln>
                <a:noFill/>
              </a:ln>
              <a:solidFill>
                <a:sysClr val="windowText" lastClr="000000"/>
              </a:solidFill>
              <a:effectLst/>
              <a:uLnTx/>
              <a:uFillTx/>
              <a:latin typeface="Arial"/>
              <a:ea typeface="+mn-ea"/>
              <a:cs typeface="Arial"/>
            </a:endParaRPr>
          </a:p>
        </p:txBody>
      </p:sp>
      <p:grpSp>
        <p:nvGrpSpPr>
          <p:cNvPr id="30" name="object 30"/>
          <p:cNvGrpSpPr/>
          <p:nvPr/>
        </p:nvGrpSpPr>
        <p:grpSpPr>
          <a:xfrm>
            <a:off x="3899162" y="2135478"/>
            <a:ext cx="687340" cy="1919624"/>
            <a:chOff x="3216808" y="2819044"/>
            <a:chExt cx="567055" cy="1583690"/>
          </a:xfrm>
        </p:grpSpPr>
        <p:sp>
          <p:nvSpPr>
            <p:cNvPr id="31" name="object 31"/>
            <p:cNvSpPr/>
            <p:nvPr/>
          </p:nvSpPr>
          <p:spPr>
            <a:xfrm>
              <a:off x="3228594" y="3585209"/>
              <a:ext cx="384175" cy="805815"/>
            </a:xfrm>
            <a:custGeom>
              <a:avLst/>
              <a:gdLst/>
              <a:ahLst/>
              <a:cxnLst/>
              <a:rect l="l" t="t" r="r" b="b"/>
              <a:pathLst>
                <a:path w="384175" h="805814">
                  <a:moveTo>
                    <a:pt x="0" y="805434"/>
                  </a:moveTo>
                  <a:lnTo>
                    <a:pt x="384047" y="0"/>
                  </a:lnTo>
                </a:path>
              </a:pathLst>
            </a:custGeom>
            <a:ln w="23571">
              <a:solidFill>
                <a:srgbClr val="19B0DD"/>
              </a:solidFill>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2" name="object 32"/>
            <p:cNvSpPr/>
            <p:nvPr/>
          </p:nvSpPr>
          <p:spPr>
            <a:xfrm>
              <a:off x="3612642" y="2830830"/>
              <a:ext cx="159385" cy="1508760"/>
            </a:xfrm>
            <a:custGeom>
              <a:avLst/>
              <a:gdLst/>
              <a:ahLst/>
              <a:cxnLst/>
              <a:rect l="l" t="t" r="r" b="b"/>
              <a:pathLst>
                <a:path w="159385" h="1508760">
                  <a:moveTo>
                    <a:pt x="159258" y="1508760"/>
                  </a:moveTo>
                  <a:lnTo>
                    <a:pt x="102679" y="1504759"/>
                  </a:lnTo>
                  <a:lnTo>
                    <a:pt x="79248" y="767334"/>
                  </a:lnTo>
                  <a:lnTo>
                    <a:pt x="73080" y="762416"/>
                  </a:lnTo>
                  <a:lnTo>
                    <a:pt x="56197" y="758285"/>
                  </a:lnTo>
                  <a:lnTo>
                    <a:pt x="31027" y="755439"/>
                  </a:lnTo>
                  <a:lnTo>
                    <a:pt x="0" y="754380"/>
                  </a:lnTo>
                  <a:lnTo>
                    <a:pt x="31027" y="753308"/>
                  </a:lnTo>
                  <a:lnTo>
                    <a:pt x="56197" y="750379"/>
                  </a:lnTo>
                  <a:lnTo>
                    <a:pt x="73080" y="746021"/>
                  </a:lnTo>
                  <a:lnTo>
                    <a:pt x="79248" y="740664"/>
                  </a:lnTo>
                  <a:lnTo>
                    <a:pt x="79248" y="12954"/>
                  </a:lnTo>
                  <a:lnTo>
                    <a:pt x="85534" y="8036"/>
                  </a:lnTo>
                  <a:lnTo>
                    <a:pt x="102679" y="3905"/>
                  </a:lnTo>
                  <a:lnTo>
                    <a:pt x="128111" y="1059"/>
                  </a:lnTo>
                  <a:lnTo>
                    <a:pt x="159258" y="0"/>
                  </a:lnTo>
                </a:path>
              </a:pathLst>
            </a:custGeom>
            <a:ln w="23571">
              <a:solidFill>
                <a:srgbClr val="19B0DD"/>
              </a:solidFill>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33" name="object 33"/>
          <p:cNvSpPr txBox="1"/>
          <p:nvPr/>
        </p:nvSpPr>
        <p:spPr>
          <a:xfrm>
            <a:off x="869141" y="5839075"/>
            <a:ext cx="9645071" cy="687788"/>
          </a:xfrm>
          <a:prstGeom prst="rect">
            <a:avLst/>
          </a:prstGeom>
        </p:spPr>
        <p:txBody>
          <a:bodyPr vert="horz" wrap="square" lIns="0" tIns="16164" rIns="0" bIns="0" rtlCol="0">
            <a:spAutoFit/>
          </a:bodyPr>
          <a:lstStyle/>
          <a:p>
            <a:pPr marL="46183" marR="0" lvl="0" indent="0" algn="l" defTabSz="806867" rtl="0" eaLnBrk="1" fontAlgn="auto" latinLnBrk="0" hangingPunct="1">
              <a:lnSpc>
                <a:spcPct val="100000"/>
              </a:lnSpc>
              <a:spcBef>
                <a:spcPts val="127"/>
              </a:spcBef>
              <a:spcAft>
                <a:spcPts val="0"/>
              </a:spcAft>
              <a:buClrTx/>
              <a:buSzTx/>
              <a:buFontTx/>
              <a:buNone/>
              <a:tabLst/>
              <a:defRPr/>
            </a:pPr>
            <a:r>
              <a:rPr kumimoji="0" sz="1091" b="0" i="0" u="none" strike="noStrike" kern="0" cap="none" spc="-61" normalizeH="0" baseline="0" noProof="0" dirty="0">
                <a:ln>
                  <a:noFill/>
                </a:ln>
                <a:solidFill>
                  <a:srgbClr val="3F3F3F"/>
                </a:solidFill>
                <a:effectLst/>
                <a:uLnTx/>
                <a:uFillTx/>
                <a:latin typeface="Arial"/>
                <a:ea typeface="+mn-ea"/>
                <a:cs typeface="Arial"/>
              </a:rPr>
              <a:t>Data</a:t>
            </a:r>
            <a:r>
              <a:rPr kumimoji="0" sz="1091" b="0" i="0" u="none" strike="noStrike" kern="0" cap="none" spc="-30" normalizeH="0" baseline="0" noProof="0" dirty="0">
                <a:ln>
                  <a:noFill/>
                </a:ln>
                <a:solidFill>
                  <a:srgbClr val="3F3F3F"/>
                </a:solidFill>
                <a:effectLst/>
                <a:uLnTx/>
                <a:uFillTx/>
                <a:latin typeface="Arial"/>
                <a:ea typeface="+mn-ea"/>
                <a:cs typeface="Arial"/>
              </a:rPr>
              <a:t> </a:t>
            </a:r>
            <a:r>
              <a:rPr kumimoji="0" sz="1091" b="0" i="0" u="none" strike="noStrike" kern="0" cap="none" spc="-12" normalizeH="0" baseline="0" noProof="0" dirty="0">
                <a:ln>
                  <a:noFill/>
                </a:ln>
                <a:solidFill>
                  <a:srgbClr val="3F3F3F"/>
                </a:solidFill>
                <a:effectLst/>
                <a:uLnTx/>
                <a:uFillTx/>
                <a:latin typeface="Arial"/>
                <a:ea typeface="+mn-ea"/>
                <a:cs typeface="Arial"/>
              </a:rPr>
              <a:t>cutoff:</a:t>
            </a:r>
            <a:r>
              <a:rPr kumimoji="0" sz="1091" b="0" i="0" u="none" strike="noStrike" kern="0" cap="none" spc="-19" normalizeH="0" baseline="0" noProof="0" dirty="0">
                <a:ln>
                  <a:noFill/>
                </a:ln>
                <a:solidFill>
                  <a:srgbClr val="3F3F3F"/>
                </a:solidFill>
                <a:effectLst/>
                <a:uLnTx/>
                <a:uFillTx/>
                <a:latin typeface="Arial"/>
                <a:ea typeface="+mn-ea"/>
                <a:cs typeface="Arial"/>
              </a:rPr>
              <a:t> </a:t>
            </a:r>
            <a:r>
              <a:rPr kumimoji="0" sz="1091" b="0" i="0" u="none" strike="noStrike" kern="0" cap="none" spc="-61" normalizeH="0" baseline="0" noProof="0" dirty="0">
                <a:ln>
                  <a:noFill/>
                </a:ln>
                <a:solidFill>
                  <a:srgbClr val="3F3F3F"/>
                </a:solidFill>
                <a:effectLst/>
                <a:uLnTx/>
                <a:uFillTx/>
                <a:latin typeface="Arial"/>
                <a:ea typeface="+mn-ea"/>
                <a:cs typeface="Arial"/>
              </a:rPr>
              <a:t>September</a:t>
            </a:r>
            <a:r>
              <a:rPr kumimoji="0" sz="1091" b="0" i="0" u="none" strike="noStrike" kern="0" cap="none" spc="-19" normalizeH="0" baseline="0" noProof="0" dirty="0">
                <a:ln>
                  <a:noFill/>
                </a:ln>
                <a:solidFill>
                  <a:srgbClr val="3F3F3F"/>
                </a:solidFill>
                <a:effectLst/>
                <a:uLnTx/>
                <a:uFillTx/>
                <a:latin typeface="Arial"/>
                <a:ea typeface="+mn-ea"/>
                <a:cs typeface="Arial"/>
              </a:rPr>
              <a:t> </a:t>
            </a:r>
            <a:r>
              <a:rPr kumimoji="0" sz="1091" b="0" i="0" u="none" strike="noStrike" kern="0" cap="none" spc="-49" normalizeH="0" baseline="0" noProof="0" dirty="0">
                <a:ln>
                  <a:noFill/>
                </a:ln>
                <a:solidFill>
                  <a:srgbClr val="3F3F3F"/>
                </a:solidFill>
                <a:effectLst/>
                <a:uLnTx/>
                <a:uFillTx/>
                <a:latin typeface="Arial"/>
                <a:ea typeface="+mn-ea"/>
                <a:cs typeface="Arial"/>
              </a:rPr>
              <a:t>15,</a:t>
            </a:r>
            <a:r>
              <a:rPr kumimoji="0" sz="1091" b="0" i="0" u="none" strike="noStrike" kern="0" cap="none" spc="-12" normalizeH="0" baseline="0" noProof="0" dirty="0">
                <a:ln>
                  <a:noFill/>
                </a:ln>
                <a:solidFill>
                  <a:srgbClr val="3F3F3F"/>
                </a:solidFill>
                <a:effectLst/>
                <a:uLnTx/>
                <a:uFillTx/>
                <a:latin typeface="Arial"/>
                <a:ea typeface="+mn-ea"/>
                <a:cs typeface="Arial"/>
              </a:rPr>
              <a:t> 2022.</a:t>
            </a:r>
            <a:endParaRPr kumimoji="0" sz="1091" b="0" i="0" u="none" strike="noStrike" kern="0" cap="none" spc="0" normalizeH="0" baseline="0" noProof="0">
              <a:ln>
                <a:noFill/>
              </a:ln>
              <a:solidFill>
                <a:sysClr val="windowText" lastClr="000000"/>
              </a:solidFill>
              <a:effectLst/>
              <a:uLnTx/>
              <a:uFillTx/>
              <a:latin typeface="Arial"/>
              <a:ea typeface="+mn-ea"/>
              <a:cs typeface="Arial"/>
            </a:endParaRPr>
          </a:p>
          <a:p>
            <a:pPr marL="46183" marR="0" lvl="0" indent="0" algn="l" defTabSz="806867" rtl="0" eaLnBrk="1" fontAlgn="auto" latinLnBrk="0" hangingPunct="1">
              <a:lnSpc>
                <a:spcPct val="100000"/>
              </a:lnSpc>
              <a:spcBef>
                <a:spcPts val="6"/>
              </a:spcBef>
              <a:spcAft>
                <a:spcPts val="0"/>
              </a:spcAft>
              <a:buClrTx/>
              <a:buSzTx/>
              <a:buFontTx/>
              <a:buNone/>
              <a:tabLst/>
              <a:defRPr/>
            </a:pPr>
            <a:r>
              <a:rPr kumimoji="0" sz="1091" b="0" i="0" u="none" strike="noStrike" kern="0" cap="none" spc="-85" normalizeH="0" baseline="0" noProof="0" dirty="0">
                <a:ln>
                  <a:noFill/>
                </a:ln>
                <a:solidFill>
                  <a:srgbClr val="3F3F3F"/>
                </a:solidFill>
                <a:effectLst/>
                <a:uLnTx/>
                <a:uFillTx/>
                <a:latin typeface="Arial"/>
                <a:ea typeface="+mn-ea"/>
                <a:cs typeface="Arial"/>
              </a:rPr>
              <a:t>The</a:t>
            </a:r>
            <a:r>
              <a:rPr kumimoji="0" sz="1091" b="0" i="0" u="none" strike="noStrike" kern="0" cap="none" spc="-12" normalizeH="0" baseline="0" noProof="0" dirty="0">
                <a:ln>
                  <a:noFill/>
                </a:ln>
                <a:solidFill>
                  <a:srgbClr val="3F3F3F"/>
                </a:solidFill>
                <a:effectLst/>
                <a:uLnTx/>
                <a:uFillTx/>
                <a:latin typeface="Arial"/>
                <a:ea typeface="+mn-ea"/>
                <a:cs typeface="Arial"/>
              </a:rPr>
              <a:t> </a:t>
            </a:r>
            <a:r>
              <a:rPr kumimoji="0" sz="1091" b="0" i="0" u="none" strike="noStrike" kern="0" cap="none" spc="-55" normalizeH="0" baseline="0" noProof="0" dirty="0">
                <a:ln>
                  <a:noFill/>
                </a:ln>
                <a:solidFill>
                  <a:srgbClr val="3F3F3F"/>
                </a:solidFill>
                <a:effectLst/>
                <a:uLnTx/>
                <a:uFillTx/>
                <a:latin typeface="Arial"/>
                <a:ea typeface="+mn-ea"/>
                <a:cs typeface="Arial"/>
              </a:rPr>
              <a:t>median</a:t>
            </a:r>
            <a:r>
              <a:rPr kumimoji="0" sz="1091" b="0" i="0" u="none" strike="noStrike" kern="0" cap="none" spc="-24" normalizeH="0" baseline="0" noProof="0" dirty="0">
                <a:ln>
                  <a:noFill/>
                </a:ln>
                <a:solidFill>
                  <a:srgbClr val="3F3F3F"/>
                </a:solidFill>
                <a:effectLst/>
                <a:uLnTx/>
                <a:uFillTx/>
                <a:latin typeface="Arial"/>
                <a:ea typeface="+mn-ea"/>
                <a:cs typeface="Arial"/>
              </a:rPr>
              <a:t> </a:t>
            </a:r>
            <a:r>
              <a:rPr kumimoji="0" sz="1091" b="0" i="0" u="none" strike="noStrike" kern="0" cap="none" spc="-30" normalizeH="0" baseline="0" noProof="0" dirty="0">
                <a:ln>
                  <a:noFill/>
                </a:ln>
                <a:solidFill>
                  <a:srgbClr val="3F3F3F"/>
                </a:solidFill>
                <a:effectLst/>
                <a:uLnTx/>
                <a:uFillTx/>
                <a:latin typeface="Arial"/>
                <a:ea typeface="+mn-ea"/>
                <a:cs typeface="Arial"/>
              </a:rPr>
              <a:t>duration</a:t>
            </a:r>
            <a:r>
              <a:rPr kumimoji="0" sz="1091" b="0" i="0" u="none" strike="noStrike" kern="0" cap="none" spc="-36" normalizeH="0" baseline="0" noProof="0" dirty="0">
                <a:ln>
                  <a:noFill/>
                </a:ln>
                <a:solidFill>
                  <a:srgbClr val="3F3F3F"/>
                </a:solidFill>
                <a:effectLst/>
                <a:uLnTx/>
                <a:uFillTx/>
                <a:latin typeface="Arial"/>
                <a:ea typeface="+mn-ea"/>
                <a:cs typeface="Arial"/>
              </a:rPr>
              <a:t> </a:t>
            </a:r>
            <a:r>
              <a:rPr kumimoji="0" sz="1091" b="0" i="0" u="none" strike="noStrike" kern="0" cap="none" spc="0" normalizeH="0" baseline="0" noProof="0" dirty="0">
                <a:ln>
                  <a:noFill/>
                </a:ln>
                <a:solidFill>
                  <a:srgbClr val="3F3F3F"/>
                </a:solidFill>
                <a:effectLst/>
                <a:uLnTx/>
                <a:uFillTx/>
                <a:latin typeface="Arial"/>
                <a:ea typeface="+mn-ea"/>
                <a:cs typeface="Arial"/>
              </a:rPr>
              <a:t>of</a:t>
            </a:r>
            <a:r>
              <a:rPr kumimoji="0" sz="1091" b="0" i="0" u="none" strike="noStrike" kern="0" cap="none" spc="-24" normalizeH="0" baseline="0" noProof="0" dirty="0">
                <a:ln>
                  <a:noFill/>
                </a:ln>
                <a:solidFill>
                  <a:srgbClr val="3F3F3F"/>
                </a:solidFill>
                <a:effectLst/>
                <a:uLnTx/>
                <a:uFillTx/>
                <a:latin typeface="Arial"/>
                <a:ea typeface="+mn-ea"/>
                <a:cs typeface="Arial"/>
              </a:rPr>
              <a:t> </a:t>
            </a:r>
            <a:r>
              <a:rPr kumimoji="0" sz="1091" b="0" i="0" u="none" strike="noStrike" kern="0" cap="none" spc="-30" normalizeH="0" baseline="0" noProof="0" dirty="0">
                <a:ln>
                  <a:noFill/>
                </a:ln>
                <a:solidFill>
                  <a:srgbClr val="3F3F3F"/>
                </a:solidFill>
                <a:effectLst/>
                <a:uLnTx/>
                <a:uFillTx/>
                <a:latin typeface="Arial"/>
                <a:ea typeface="+mn-ea"/>
                <a:cs typeface="Arial"/>
              </a:rPr>
              <a:t>follow-</a:t>
            </a:r>
            <a:r>
              <a:rPr kumimoji="0" sz="1091" b="0" i="0" u="none" strike="noStrike" kern="0" cap="none" spc="-24" normalizeH="0" baseline="0" noProof="0" dirty="0">
                <a:ln>
                  <a:noFill/>
                </a:ln>
                <a:solidFill>
                  <a:srgbClr val="3F3F3F"/>
                </a:solidFill>
                <a:effectLst/>
                <a:uLnTx/>
                <a:uFillTx/>
                <a:latin typeface="Arial"/>
                <a:ea typeface="+mn-ea"/>
                <a:cs typeface="Arial"/>
              </a:rPr>
              <a:t>up</a:t>
            </a:r>
            <a:r>
              <a:rPr kumimoji="0" sz="1091" b="0" i="0" u="none" strike="noStrike" kern="0" cap="none" spc="-19" normalizeH="0" baseline="0" noProof="0" dirty="0">
                <a:ln>
                  <a:noFill/>
                </a:ln>
                <a:solidFill>
                  <a:srgbClr val="3F3F3F"/>
                </a:solidFill>
                <a:effectLst/>
                <a:uLnTx/>
                <a:uFillTx/>
                <a:latin typeface="Arial"/>
                <a:ea typeface="+mn-ea"/>
                <a:cs typeface="Arial"/>
              </a:rPr>
              <a:t> </a:t>
            </a:r>
            <a:r>
              <a:rPr kumimoji="0" sz="1091" b="0" i="0" u="none" strike="noStrike" kern="0" cap="none" spc="-72" normalizeH="0" baseline="0" noProof="0" dirty="0">
                <a:ln>
                  <a:noFill/>
                </a:ln>
                <a:solidFill>
                  <a:srgbClr val="3F3F3F"/>
                </a:solidFill>
                <a:effectLst/>
                <a:uLnTx/>
                <a:uFillTx/>
                <a:latin typeface="Arial"/>
                <a:ea typeface="+mn-ea"/>
                <a:cs typeface="Arial"/>
              </a:rPr>
              <a:t>was</a:t>
            </a:r>
            <a:r>
              <a:rPr kumimoji="0" sz="1091" b="0" i="0" u="none" strike="noStrike" kern="0" cap="none" spc="-12" normalizeH="0" baseline="0" noProof="0" dirty="0">
                <a:ln>
                  <a:noFill/>
                </a:ln>
                <a:solidFill>
                  <a:srgbClr val="3F3F3F"/>
                </a:solidFill>
                <a:effectLst/>
                <a:uLnTx/>
                <a:uFillTx/>
                <a:latin typeface="Arial"/>
                <a:ea typeface="+mn-ea"/>
                <a:cs typeface="Arial"/>
              </a:rPr>
              <a:t> </a:t>
            </a:r>
            <a:r>
              <a:rPr kumimoji="0" sz="1091" b="0" i="0" u="none" strike="noStrike" kern="0" cap="none" spc="-49" normalizeH="0" baseline="0" noProof="0" dirty="0">
                <a:ln>
                  <a:noFill/>
                </a:ln>
                <a:solidFill>
                  <a:srgbClr val="3F3F3F"/>
                </a:solidFill>
                <a:effectLst/>
                <a:uLnTx/>
                <a:uFillTx/>
                <a:latin typeface="Arial"/>
                <a:ea typeface="+mn-ea"/>
                <a:cs typeface="Arial"/>
              </a:rPr>
              <a:t>7.8</a:t>
            </a:r>
            <a:r>
              <a:rPr kumimoji="0" sz="1091" b="0" i="0" u="none" strike="noStrike" kern="0" cap="none" spc="-19" normalizeH="0" baseline="0" noProof="0" dirty="0">
                <a:ln>
                  <a:noFill/>
                </a:ln>
                <a:solidFill>
                  <a:srgbClr val="3F3F3F"/>
                </a:solidFill>
                <a:effectLst/>
                <a:uLnTx/>
                <a:uFillTx/>
                <a:latin typeface="Arial"/>
                <a:ea typeface="+mn-ea"/>
                <a:cs typeface="Arial"/>
              </a:rPr>
              <a:t> </a:t>
            </a:r>
            <a:r>
              <a:rPr kumimoji="0" sz="1091" b="0" i="0" u="none" strike="noStrike" kern="0" cap="none" spc="-42" normalizeH="0" baseline="0" noProof="0" dirty="0">
                <a:ln>
                  <a:noFill/>
                </a:ln>
                <a:solidFill>
                  <a:srgbClr val="3F3F3F"/>
                </a:solidFill>
                <a:effectLst/>
                <a:uLnTx/>
                <a:uFillTx/>
                <a:latin typeface="Arial"/>
                <a:ea typeface="+mn-ea"/>
                <a:cs typeface="Arial"/>
              </a:rPr>
              <a:t>months </a:t>
            </a:r>
            <a:r>
              <a:rPr kumimoji="0" sz="1091" b="0" i="0" u="none" strike="noStrike" kern="0" cap="none" spc="-55" normalizeH="0" baseline="0" noProof="0" dirty="0">
                <a:ln>
                  <a:noFill/>
                </a:ln>
                <a:solidFill>
                  <a:srgbClr val="3F3F3F"/>
                </a:solidFill>
                <a:effectLst/>
                <a:uLnTx/>
                <a:uFillTx/>
                <a:latin typeface="Arial"/>
                <a:ea typeface="+mn-ea"/>
                <a:cs typeface="Arial"/>
              </a:rPr>
              <a:t>(range,</a:t>
            </a:r>
            <a:r>
              <a:rPr kumimoji="0" sz="1091" b="0" i="0" u="none" strike="noStrike" kern="0" cap="none" spc="-19" normalizeH="0" baseline="0" noProof="0" dirty="0">
                <a:ln>
                  <a:noFill/>
                </a:ln>
                <a:solidFill>
                  <a:srgbClr val="3F3F3F"/>
                </a:solidFill>
                <a:effectLst/>
                <a:uLnTx/>
                <a:uFillTx/>
                <a:latin typeface="Arial"/>
                <a:ea typeface="+mn-ea"/>
                <a:cs typeface="Arial"/>
              </a:rPr>
              <a:t> </a:t>
            </a:r>
            <a:r>
              <a:rPr kumimoji="0" sz="1091" b="0" i="0" u="none" strike="noStrike" kern="0" cap="none" spc="-49" normalizeH="0" baseline="0" noProof="0" dirty="0">
                <a:ln>
                  <a:noFill/>
                </a:ln>
                <a:solidFill>
                  <a:srgbClr val="3F3F3F"/>
                </a:solidFill>
                <a:effectLst/>
                <a:uLnTx/>
                <a:uFillTx/>
                <a:latin typeface="Arial"/>
                <a:ea typeface="+mn-ea"/>
                <a:cs typeface="Arial"/>
              </a:rPr>
              <a:t>0.3-42.6</a:t>
            </a:r>
            <a:r>
              <a:rPr kumimoji="0" sz="1091" b="0" i="0" u="none" strike="noStrike" kern="0" cap="none" spc="-6" normalizeH="0" baseline="0" noProof="0" dirty="0">
                <a:ln>
                  <a:noFill/>
                </a:ln>
                <a:solidFill>
                  <a:srgbClr val="3F3F3F"/>
                </a:solidFill>
                <a:effectLst/>
                <a:uLnTx/>
                <a:uFillTx/>
                <a:latin typeface="Arial"/>
                <a:ea typeface="+mn-ea"/>
                <a:cs typeface="Arial"/>
              </a:rPr>
              <a:t> </a:t>
            </a:r>
            <a:r>
              <a:rPr kumimoji="0" sz="1091" b="0" i="0" u="none" strike="noStrike" kern="0" cap="none" spc="-49" normalizeH="0" baseline="0" noProof="0" dirty="0">
                <a:ln>
                  <a:noFill/>
                </a:ln>
                <a:solidFill>
                  <a:srgbClr val="3F3F3F"/>
                </a:solidFill>
                <a:effectLst/>
                <a:uLnTx/>
                <a:uFillTx/>
                <a:latin typeface="Arial"/>
                <a:ea typeface="+mn-ea"/>
                <a:cs typeface="Arial"/>
              </a:rPr>
              <a:t>months)</a:t>
            </a:r>
            <a:r>
              <a:rPr kumimoji="0" sz="1091" b="0" i="0" u="none" strike="noStrike" kern="0" cap="none" spc="-36" normalizeH="0" baseline="0" noProof="0" dirty="0">
                <a:ln>
                  <a:noFill/>
                </a:ln>
                <a:solidFill>
                  <a:srgbClr val="3F3F3F"/>
                </a:solidFill>
                <a:effectLst/>
                <a:uLnTx/>
                <a:uFillTx/>
                <a:latin typeface="Arial"/>
                <a:ea typeface="+mn-ea"/>
                <a:cs typeface="Arial"/>
              </a:rPr>
              <a:t> </a:t>
            </a:r>
            <a:r>
              <a:rPr kumimoji="0" sz="1091" b="0" i="0" u="none" strike="noStrike" kern="0" cap="none" spc="-12" normalizeH="0" baseline="0" noProof="0" dirty="0">
                <a:ln>
                  <a:noFill/>
                </a:ln>
                <a:solidFill>
                  <a:srgbClr val="3F3F3F"/>
                </a:solidFill>
                <a:effectLst/>
                <a:uLnTx/>
                <a:uFillTx/>
                <a:latin typeface="Arial"/>
                <a:ea typeface="+mn-ea"/>
                <a:cs typeface="Arial"/>
              </a:rPr>
              <a:t>in</a:t>
            </a:r>
            <a:r>
              <a:rPr kumimoji="0" sz="1091" b="0" i="0" u="none" strike="noStrike" kern="0" cap="none" spc="-24" normalizeH="0" baseline="0" noProof="0" dirty="0">
                <a:ln>
                  <a:noFill/>
                </a:ln>
                <a:solidFill>
                  <a:srgbClr val="3F3F3F"/>
                </a:solidFill>
                <a:effectLst/>
                <a:uLnTx/>
                <a:uFillTx/>
                <a:latin typeface="Arial"/>
                <a:ea typeface="+mn-ea"/>
                <a:cs typeface="Arial"/>
              </a:rPr>
              <a:t> </a:t>
            </a:r>
            <a:r>
              <a:rPr kumimoji="0" sz="1091" b="0" i="0" u="none" strike="noStrike" kern="0" cap="none" spc="-12" normalizeH="0" baseline="0" noProof="0" dirty="0">
                <a:ln>
                  <a:noFill/>
                </a:ln>
                <a:solidFill>
                  <a:srgbClr val="3F3F3F"/>
                </a:solidFill>
                <a:effectLst/>
                <a:uLnTx/>
                <a:uFillTx/>
                <a:latin typeface="Arial"/>
                <a:ea typeface="+mn-ea"/>
                <a:cs typeface="Arial"/>
              </a:rPr>
              <a:t>the</a:t>
            </a:r>
            <a:r>
              <a:rPr kumimoji="0" sz="1091" b="0" i="0" u="none" strike="noStrike" kern="0" cap="none" spc="-19" normalizeH="0" baseline="0" noProof="0" dirty="0">
                <a:ln>
                  <a:noFill/>
                </a:ln>
                <a:solidFill>
                  <a:srgbClr val="3F3F3F"/>
                </a:solidFill>
                <a:effectLst/>
                <a:uLnTx/>
                <a:uFillTx/>
                <a:latin typeface="Arial"/>
                <a:ea typeface="+mn-ea"/>
                <a:cs typeface="Arial"/>
              </a:rPr>
              <a:t> </a:t>
            </a:r>
            <a:r>
              <a:rPr kumimoji="0" sz="1091" b="0" i="0" u="none" strike="noStrike" kern="0" cap="none" spc="-30" normalizeH="0" baseline="0" noProof="0" dirty="0">
                <a:ln>
                  <a:noFill/>
                </a:ln>
                <a:solidFill>
                  <a:srgbClr val="3F3F3F"/>
                </a:solidFill>
                <a:effectLst/>
                <a:uLnTx/>
                <a:uFillTx/>
                <a:latin typeface="Arial"/>
                <a:ea typeface="+mn-ea"/>
                <a:cs typeface="Arial"/>
              </a:rPr>
              <a:t>all-treated </a:t>
            </a:r>
            <a:r>
              <a:rPr kumimoji="0" sz="1091" b="0" i="0" u="none" strike="noStrike" kern="0" cap="none" spc="-36" normalizeH="0" baseline="0" noProof="0" dirty="0">
                <a:ln>
                  <a:noFill/>
                </a:ln>
                <a:solidFill>
                  <a:srgbClr val="3F3F3F"/>
                </a:solidFill>
                <a:effectLst/>
                <a:uLnTx/>
                <a:uFillTx/>
                <a:latin typeface="Arial"/>
                <a:ea typeface="+mn-ea"/>
                <a:cs typeface="Arial"/>
              </a:rPr>
              <a:t>population</a:t>
            </a:r>
            <a:r>
              <a:rPr kumimoji="0" sz="1091" b="0" i="0" u="none" strike="noStrike" kern="0" cap="none" spc="-49" normalizeH="0" baseline="0" noProof="0" dirty="0">
                <a:ln>
                  <a:noFill/>
                </a:ln>
                <a:solidFill>
                  <a:srgbClr val="3F3F3F"/>
                </a:solidFill>
                <a:effectLst/>
                <a:uLnTx/>
                <a:uFillTx/>
                <a:latin typeface="Arial"/>
                <a:ea typeface="+mn-ea"/>
                <a:cs typeface="Arial"/>
              </a:rPr>
              <a:t> </a:t>
            </a:r>
            <a:r>
              <a:rPr kumimoji="0" sz="1091" b="0" i="0" u="none" strike="noStrike" kern="0" cap="none" spc="-55" normalizeH="0" baseline="0" noProof="0" dirty="0">
                <a:ln>
                  <a:noFill/>
                </a:ln>
                <a:solidFill>
                  <a:srgbClr val="3F3F3F"/>
                </a:solidFill>
                <a:effectLst/>
                <a:uLnTx/>
                <a:uFillTx/>
                <a:latin typeface="Arial"/>
                <a:ea typeface="+mn-ea"/>
                <a:cs typeface="Arial"/>
              </a:rPr>
              <a:t>and</a:t>
            </a:r>
            <a:r>
              <a:rPr kumimoji="0" sz="1091" b="0" i="0" u="none" strike="noStrike" kern="0" cap="none" spc="-12" normalizeH="0" baseline="0" noProof="0" dirty="0">
                <a:ln>
                  <a:noFill/>
                </a:ln>
                <a:solidFill>
                  <a:srgbClr val="3F3F3F"/>
                </a:solidFill>
                <a:effectLst/>
                <a:uLnTx/>
                <a:uFillTx/>
                <a:latin typeface="Arial"/>
                <a:ea typeface="+mn-ea"/>
                <a:cs typeface="Arial"/>
              </a:rPr>
              <a:t> </a:t>
            </a:r>
            <a:r>
              <a:rPr kumimoji="0" sz="1091" b="0" i="0" u="none" strike="noStrike" kern="0" cap="none" spc="-55" normalizeH="0" baseline="0" noProof="0" dirty="0">
                <a:ln>
                  <a:noFill/>
                </a:ln>
                <a:solidFill>
                  <a:srgbClr val="3F3F3F"/>
                </a:solidFill>
                <a:effectLst/>
                <a:uLnTx/>
                <a:uFillTx/>
                <a:latin typeface="Arial"/>
                <a:ea typeface="+mn-ea"/>
                <a:cs typeface="Arial"/>
              </a:rPr>
              <a:t>35.0</a:t>
            </a:r>
            <a:r>
              <a:rPr kumimoji="0" sz="1091" b="0" i="0" u="none" strike="noStrike" kern="0" cap="none" spc="-12" normalizeH="0" baseline="0" noProof="0" dirty="0">
                <a:ln>
                  <a:noFill/>
                </a:ln>
                <a:solidFill>
                  <a:srgbClr val="3F3F3F"/>
                </a:solidFill>
                <a:effectLst/>
                <a:uLnTx/>
                <a:uFillTx/>
                <a:latin typeface="Arial"/>
                <a:ea typeface="+mn-ea"/>
                <a:cs typeface="Arial"/>
              </a:rPr>
              <a:t> </a:t>
            </a:r>
            <a:r>
              <a:rPr kumimoji="0" sz="1091" b="0" i="0" u="none" strike="noStrike" kern="0" cap="none" spc="-42" normalizeH="0" baseline="0" noProof="0" dirty="0">
                <a:ln>
                  <a:noFill/>
                </a:ln>
                <a:solidFill>
                  <a:srgbClr val="3F3F3F"/>
                </a:solidFill>
                <a:effectLst/>
                <a:uLnTx/>
                <a:uFillTx/>
                <a:latin typeface="Arial"/>
                <a:ea typeface="+mn-ea"/>
                <a:cs typeface="Arial"/>
              </a:rPr>
              <a:t>months </a:t>
            </a:r>
            <a:r>
              <a:rPr kumimoji="0" sz="1091" b="0" i="0" u="none" strike="noStrike" kern="0" cap="none" spc="-49" normalizeH="0" baseline="0" noProof="0" dirty="0">
                <a:ln>
                  <a:noFill/>
                </a:ln>
                <a:solidFill>
                  <a:srgbClr val="3F3F3F"/>
                </a:solidFill>
                <a:effectLst/>
                <a:uLnTx/>
                <a:uFillTx/>
                <a:latin typeface="Arial"/>
                <a:ea typeface="+mn-ea"/>
                <a:cs typeface="Arial"/>
              </a:rPr>
              <a:t>(range,</a:t>
            </a:r>
            <a:r>
              <a:rPr kumimoji="0" sz="1091" b="0" i="0" u="none" strike="noStrike" kern="0" cap="none" spc="19" normalizeH="0" baseline="0" noProof="0" dirty="0">
                <a:ln>
                  <a:noFill/>
                </a:ln>
                <a:solidFill>
                  <a:srgbClr val="3F3F3F"/>
                </a:solidFill>
                <a:effectLst/>
                <a:uLnTx/>
                <a:uFillTx/>
                <a:latin typeface="Arial"/>
                <a:ea typeface="+mn-ea"/>
                <a:cs typeface="Arial"/>
              </a:rPr>
              <a:t> </a:t>
            </a:r>
            <a:r>
              <a:rPr kumimoji="0" sz="1091" b="0" i="0" u="none" strike="noStrike" kern="0" cap="none" spc="-55" normalizeH="0" baseline="0" noProof="0" dirty="0">
                <a:ln>
                  <a:noFill/>
                </a:ln>
                <a:solidFill>
                  <a:srgbClr val="3F3F3F"/>
                </a:solidFill>
                <a:effectLst/>
                <a:uLnTx/>
                <a:uFillTx/>
                <a:latin typeface="Arial"/>
                <a:ea typeface="+mn-ea"/>
                <a:cs typeface="Arial"/>
              </a:rPr>
              <a:t>4.4-</a:t>
            </a:r>
            <a:r>
              <a:rPr kumimoji="0" sz="1091" b="0" i="0" u="none" strike="noStrike" kern="0" cap="none" spc="-49" normalizeH="0" baseline="0" noProof="0" dirty="0">
                <a:ln>
                  <a:noFill/>
                </a:ln>
                <a:solidFill>
                  <a:srgbClr val="3F3F3F"/>
                </a:solidFill>
                <a:effectLst/>
                <a:uLnTx/>
                <a:uFillTx/>
                <a:latin typeface="Arial"/>
                <a:ea typeface="+mn-ea"/>
                <a:cs typeface="Arial"/>
              </a:rPr>
              <a:t>42.6</a:t>
            </a:r>
            <a:r>
              <a:rPr kumimoji="0" sz="1091" b="0" i="0" u="none" strike="noStrike" kern="0" cap="none" spc="-6" normalizeH="0" baseline="0" noProof="0" dirty="0">
                <a:ln>
                  <a:noFill/>
                </a:ln>
                <a:solidFill>
                  <a:srgbClr val="3F3F3F"/>
                </a:solidFill>
                <a:effectLst/>
                <a:uLnTx/>
                <a:uFillTx/>
                <a:latin typeface="Arial"/>
                <a:ea typeface="+mn-ea"/>
                <a:cs typeface="Arial"/>
              </a:rPr>
              <a:t> </a:t>
            </a:r>
            <a:r>
              <a:rPr kumimoji="0" sz="1091" b="0" i="0" u="none" strike="noStrike" kern="0" cap="none" spc="-49" normalizeH="0" baseline="0" noProof="0" dirty="0">
                <a:ln>
                  <a:noFill/>
                </a:ln>
                <a:solidFill>
                  <a:srgbClr val="3F3F3F"/>
                </a:solidFill>
                <a:effectLst/>
                <a:uLnTx/>
                <a:uFillTx/>
                <a:latin typeface="Arial"/>
                <a:ea typeface="+mn-ea"/>
                <a:cs typeface="Arial"/>
              </a:rPr>
              <a:t>months)</a:t>
            </a:r>
            <a:r>
              <a:rPr kumimoji="0" sz="1091" b="0" i="0" u="none" strike="noStrike" kern="0" cap="none" spc="-36" normalizeH="0" baseline="0" noProof="0" dirty="0">
                <a:ln>
                  <a:noFill/>
                </a:ln>
                <a:solidFill>
                  <a:srgbClr val="3F3F3F"/>
                </a:solidFill>
                <a:effectLst/>
                <a:uLnTx/>
                <a:uFillTx/>
                <a:latin typeface="Arial"/>
                <a:ea typeface="+mn-ea"/>
                <a:cs typeface="Arial"/>
              </a:rPr>
              <a:t> </a:t>
            </a:r>
            <a:r>
              <a:rPr kumimoji="0" sz="1091" b="0" i="0" u="none" strike="noStrike" kern="0" cap="none" spc="-12" normalizeH="0" baseline="0" noProof="0" dirty="0">
                <a:ln>
                  <a:noFill/>
                </a:ln>
                <a:solidFill>
                  <a:srgbClr val="3F3F3F"/>
                </a:solidFill>
                <a:effectLst/>
                <a:uLnTx/>
                <a:uFillTx/>
                <a:latin typeface="Arial"/>
                <a:ea typeface="+mn-ea"/>
                <a:cs typeface="Arial"/>
              </a:rPr>
              <a:t>in</a:t>
            </a:r>
            <a:r>
              <a:rPr kumimoji="0" sz="1091" b="0" i="0" u="none" strike="noStrike" kern="0" cap="none" spc="-24" normalizeH="0" baseline="0" noProof="0" dirty="0">
                <a:ln>
                  <a:noFill/>
                </a:ln>
                <a:solidFill>
                  <a:srgbClr val="3F3F3F"/>
                </a:solidFill>
                <a:effectLst/>
                <a:uLnTx/>
                <a:uFillTx/>
                <a:latin typeface="Arial"/>
                <a:ea typeface="+mn-ea"/>
                <a:cs typeface="Arial"/>
              </a:rPr>
              <a:t> </a:t>
            </a:r>
            <a:r>
              <a:rPr kumimoji="0" sz="1091" b="0" i="0" u="none" strike="noStrike" kern="0" cap="none" spc="-36" normalizeH="0" baseline="0" noProof="0" dirty="0">
                <a:ln>
                  <a:noFill/>
                </a:ln>
                <a:solidFill>
                  <a:srgbClr val="3F3F3F"/>
                </a:solidFill>
                <a:effectLst/>
                <a:uLnTx/>
                <a:uFillTx/>
                <a:latin typeface="Arial"/>
                <a:ea typeface="+mn-ea"/>
                <a:cs typeface="Arial"/>
              </a:rPr>
              <a:t>patients </a:t>
            </a:r>
            <a:r>
              <a:rPr kumimoji="0" sz="1091" b="0" i="0" u="none" strike="noStrike" kern="0" cap="none" spc="0" normalizeH="0" baseline="0" noProof="0" dirty="0">
                <a:ln>
                  <a:noFill/>
                </a:ln>
                <a:solidFill>
                  <a:srgbClr val="3F3F3F"/>
                </a:solidFill>
                <a:effectLst/>
                <a:uLnTx/>
                <a:uFillTx/>
                <a:latin typeface="Arial"/>
                <a:ea typeface="+mn-ea"/>
                <a:cs typeface="Arial"/>
              </a:rPr>
              <a:t>with</a:t>
            </a:r>
            <a:r>
              <a:rPr kumimoji="0" sz="1091" b="0" i="0" u="none" strike="noStrike" kern="0" cap="none" spc="-30" normalizeH="0" baseline="0" noProof="0" dirty="0">
                <a:ln>
                  <a:noFill/>
                </a:ln>
                <a:solidFill>
                  <a:srgbClr val="3F3F3F"/>
                </a:solidFill>
                <a:effectLst/>
                <a:uLnTx/>
                <a:uFillTx/>
                <a:latin typeface="Arial"/>
                <a:ea typeface="+mn-ea"/>
                <a:cs typeface="Arial"/>
              </a:rPr>
              <a:t> </a:t>
            </a:r>
            <a:r>
              <a:rPr kumimoji="0" sz="1091" b="0" i="0" u="none" strike="noStrike" kern="0" cap="none" spc="-85" normalizeH="0" baseline="0" noProof="0" dirty="0">
                <a:ln>
                  <a:noFill/>
                </a:ln>
                <a:solidFill>
                  <a:srgbClr val="3F3F3F"/>
                </a:solidFill>
                <a:effectLst/>
                <a:uLnTx/>
                <a:uFillTx/>
                <a:latin typeface="Arial"/>
                <a:ea typeface="+mn-ea"/>
                <a:cs typeface="Arial"/>
              </a:rPr>
              <a:t>a</a:t>
            </a:r>
            <a:r>
              <a:rPr kumimoji="0" sz="1091" b="0" i="0" u="none" strike="noStrike" kern="0" cap="none" spc="-24" normalizeH="0" baseline="0" noProof="0" dirty="0">
                <a:ln>
                  <a:noFill/>
                </a:ln>
                <a:solidFill>
                  <a:srgbClr val="3F3F3F"/>
                </a:solidFill>
                <a:effectLst/>
                <a:uLnTx/>
                <a:uFillTx/>
                <a:latin typeface="Arial"/>
                <a:ea typeface="+mn-ea"/>
                <a:cs typeface="Arial"/>
              </a:rPr>
              <a:t> </a:t>
            </a:r>
            <a:r>
              <a:rPr kumimoji="0" sz="1091" b="0" i="0" u="none" strike="noStrike" kern="0" cap="none" spc="-30" normalizeH="0" baseline="0" noProof="0" dirty="0">
                <a:ln>
                  <a:noFill/>
                </a:ln>
                <a:solidFill>
                  <a:srgbClr val="3F3F3F"/>
                </a:solidFill>
                <a:effectLst/>
                <a:uLnTx/>
                <a:uFillTx/>
                <a:latin typeface="Arial"/>
                <a:ea typeface="+mn-ea"/>
                <a:cs typeface="Arial"/>
              </a:rPr>
              <a:t>CR.</a:t>
            </a:r>
            <a:endParaRPr kumimoji="0" sz="1091" b="0" i="0" u="none" strike="noStrike" kern="0" cap="none" spc="0" normalizeH="0" baseline="0" noProof="0">
              <a:ln>
                <a:noFill/>
              </a:ln>
              <a:solidFill>
                <a:sysClr val="windowText" lastClr="000000"/>
              </a:solidFill>
              <a:effectLst/>
              <a:uLnTx/>
              <a:uFillTx/>
              <a:latin typeface="Arial"/>
              <a:ea typeface="+mn-ea"/>
              <a:cs typeface="Arial"/>
            </a:endParaRPr>
          </a:p>
          <a:p>
            <a:pPr marL="46183" marR="3668471" lvl="0" indent="-769" algn="l" defTabSz="806867" rtl="0" eaLnBrk="1" fontAlgn="auto" latinLnBrk="0" hangingPunct="1">
              <a:lnSpc>
                <a:spcPct val="100000"/>
              </a:lnSpc>
              <a:spcBef>
                <a:spcPts val="19"/>
              </a:spcBef>
              <a:spcAft>
                <a:spcPts val="0"/>
              </a:spcAft>
              <a:buClrTx/>
              <a:buSzTx/>
              <a:buFontTx/>
              <a:buNone/>
              <a:tabLst/>
              <a:defRPr/>
            </a:pPr>
            <a:r>
              <a:rPr kumimoji="0" sz="1091" b="0" i="0" u="none" strike="noStrike" kern="0" cap="none" spc="-81" normalizeH="0" baseline="23148" noProof="0" dirty="0">
                <a:ln>
                  <a:noFill/>
                </a:ln>
                <a:solidFill>
                  <a:srgbClr val="3F3F3F"/>
                </a:solidFill>
                <a:effectLst/>
                <a:uLnTx/>
                <a:uFillTx/>
                <a:latin typeface="Arial"/>
                <a:ea typeface="+mn-ea"/>
                <a:cs typeface="Arial"/>
              </a:rPr>
              <a:t>a</a:t>
            </a:r>
            <a:r>
              <a:rPr kumimoji="0" sz="1091" b="0" i="0" u="none" strike="noStrike" kern="0" cap="none" spc="-55" normalizeH="0" baseline="0" noProof="0" dirty="0">
                <a:ln>
                  <a:noFill/>
                </a:ln>
                <a:solidFill>
                  <a:srgbClr val="3F3F3F"/>
                </a:solidFill>
                <a:effectLst/>
                <a:uLnTx/>
                <a:uFillTx/>
                <a:latin typeface="Arial"/>
                <a:ea typeface="+mn-ea"/>
                <a:cs typeface="Arial"/>
              </a:rPr>
              <a:t>Event-</a:t>
            </a:r>
            <a:r>
              <a:rPr kumimoji="0" sz="1091" b="0" i="0" u="none" strike="noStrike" kern="0" cap="none" spc="-49" normalizeH="0" baseline="0" noProof="0" dirty="0">
                <a:ln>
                  <a:noFill/>
                </a:ln>
                <a:solidFill>
                  <a:srgbClr val="3F3F3F"/>
                </a:solidFill>
                <a:effectLst/>
                <a:uLnTx/>
                <a:uFillTx/>
                <a:latin typeface="Arial"/>
                <a:ea typeface="+mn-ea"/>
                <a:cs typeface="Arial"/>
              </a:rPr>
              <a:t>free</a:t>
            </a:r>
            <a:r>
              <a:rPr kumimoji="0" sz="1091" b="0" i="0" u="none" strike="noStrike" kern="0" cap="none" spc="-6" normalizeH="0" baseline="0" noProof="0" dirty="0">
                <a:ln>
                  <a:noFill/>
                </a:ln>
                <a:solidFill>
                  <a:srgbClr val="3F3F3F"/>
                </a:solidFill>
                <a:effectLst/>
                <a:uLnTx/>
                <a:uFillTx/>
                <a:latin typeface="Arial"/>
                <a:ea typeface="+mn-ea"/>
                <a:cs typeface="Arial"/>
              </a:rPr>
              <a:t> </a:t>
            </a:r>
            <a:r>
              <a:rPr kumimoji="0" sz="1091" b="0" i="0" u="none" strike="noStrike" kern="0" cap="none" spc="-61" normalizeH="0" baseline="0" noProof="0" dirty="0">
                <a:ln>
                  <a:noFill/>
                </a:ln>
                <a:solidFill>
                  <a:srgbClr val="3F3F3F"/>
                </a:solidFill>
                <a:effectLst/>
                <a:uLnTx/>
                <a:uFillTx/>
                <a:latin typeface="Arial"/>
                <a:ea typeface="+mn-ea"/>
                <a:cs typeface="Arial"/>
              </a:rPr>
              <a:t>is</a:t>
            </a:r>
            <a:r>
              <a:rPr kumimoji="0" sz="1091" b="0" i="0" u="none" strike="noStrike" kern="0" cap="none" spc="-42" normalizeH="0" baseline="0" noProof="0" dirty="0">
                <a:ln>
                  <a:noFill/>
                </a:ln>
                <a:solidFill>
                  <a:srgbClr val="3F3F3F"/>
                </a:solidFill>
                <a:effectLst/>
                <a:uLnTx/>
                <a:uFillTx/>
                <a:latin typeface="Arial"/>
                <a:ea typeface="+mn-ea"/>
                <a:cs typeface="Arial"/>
              </a:rPr>
              <a:t> </a:t>
            </a:r>
            <a:r>
              <a:rPr kumimoji="0" sz="1091" b="0" i="0" u="none" strike="noStrike" kern="0" cap="none" spc="-36" normalizeH="0" baseline="0" noProof="0" dirty="0">
                <a:ln>
                  <a:noFill/>
                </a:ln>
                <a:solidFill>
                  <a:srgbClr val="3F3F3F"/>
                </a:solidFill>
                <a:effectLst/>
                <a:uLnTx/>
                <a:uFillTx/>
                <a:latin typeface="Arial"/>
                <a:ea typeface="+mn-ea"/>
                <a:cs typeface="Arial"/>
              </a:rPr>
              <a:t>defined</a:t>
            </a:r>
            <a:r>
              <a:rPr kumimoji="0" sz="1091" b="0" i="0" u="none" strike="noStrike" kern="0" cap="none" spc="-12" normalizeH="0" baseline="0" noProof="0" dirty="0">
                <a:ln>
                  <a:noFill/>
                </a:ln>
                <a:solidFill>
                  <a:srgbClr val="3F3F3F"/>
                </a:solidFill>
                <a:effectLst/>
                <a:uLnTx/>
                <a:uFillTx/>
                <a:latin typeface="Arial"/>
                <a:ea typeface="+mn-ea"/>
                <a:cs typeface="Arial"/>
              </a:rPr>
              <a:t> </a:t>
            </a:r>
            <a:r>
              <a:rPr kumimoji="0" sz="1091" b="0" i="0" u="none" strike="noStrike" kern="0" cap="none" spc="-109" normalizeH="0" baseline="0" noProof="0" dirty="0">
                <a:ln>
                  <a:noFill/>
                </a:ln>
                <a:solidFill>
                  <a:srgbClr val="3F3F3F"/>
                </a:solidFill>
                <a:effectLst/>
                <a:uLnTx/>
                <a:uFillTx/>
                <a:latin typeface="Arial"/>
                <a:ea typeface="+mn-ea"/>
                <a:cs typeface="Arial"/>
              </a:rPr>
              <a:t>as</a:t>
            </a:r>
            <a:r>
              <a:rPr kumimoji="0" sz="1091" b="0" i="0" u="none" strike="noStrike" kern="0" cap="none" spc="-30" normalizeH="0" baseline="0" noProof="0" dirty="0">
                <a:ln>
                  <a:noFill/>
                </a:ln>
                <a:solidFill>
                  <a:srgbClr val="3F3F3F"/>
                </a:solidFill>
                <a:effectLst/>
                <a:uLnTx/>
                <a:uFillTx/>
                <a:latin typeface="Arial"/>
                <a:ea typeface="+mn-ea"/>
                <a:cs typeface="Arial"/>
              </a:rPr>
              <a:t> </a:t>
            </a:r>
            <a:r>
              <a:rPr kumimoji="0" sz="1091" b="0" i="0" u="none" strike="noStrike" kern="0" cap="none" spc="-36" normalizeH="0" baseline="0" noProof="0" dirty="0">
                <a:ln>
                  <a:noFill/>
                </a:ln>
                <a:solidFill>
                  <a:srgbClr val="3F3F3F"/>
                </a:solidFill>
                <a:effectLst/>
                <a:uLnTx/>
                <a:uFillTx/>
                <a:latin typeface="Arial"/>
                <a:ea typeface="+mn-ea"/>
                <a:cs typeface="Arial"/>
              </a:rPr>
              <a:t>no </a:t>
            </a:r>
            <a:r>
              <a:rPr kumimoji="0" sz="1091" b="0" i="0" u="none" strike="noStrike" kern="0" cap="none" spc="-55" normalizeH="0" baseline="0" noProof="0" dirty="0">
                <a:ln>
                  <a:noFill/>
                </a:ln>
                <a:solidFill>
                  <a:srgbClr val="3F3F3F"/>
                </a:solidFill>
                <a:effectLst/>
                <a:uLnTx/>
                <a:uFillTx/>
                <a:latin typeface="Arial"/>
                <a:ea typeface="+mn-ea"/>
                <a:cs typeface="Arial"/>
              </a:rPr>
              <a:t>progressive</a:t>
            </a:r>
            <a:r>
              <a:rPr kumimoji="0" sz="1091" b="0" i="0" u="none" strike="noStrike" kern="0" cap="none" spc="-30" normalizeH="0" baseline="0" noProof="0" dirty="0">
                <a:ln>
                  <a:noFill/>
                </a:ln>
                <a:solidFill>
                  <a:srgbClr val="3F3F3F"/>
                </a:solidFill>
                <a:effectLst/>
                <a:uLnTx/>
                <a:uFillTx/>
                <a:latin typeface="Arial"/>
                <a:ea typeface="+mn-ea"/>
                <a:cs typeface="Arial"/>
              </a:rPr>
              <a:t> </a:t>
            </a:r>
            <a:r>
              <a:rPr kumimoji="0" sz="1091" b="0" i="0" u="none" strike="noStrike" kern="0" cap="none" spc="-72" normalizeH="0" baseline="0" noProof="0" dirty="0">
                <a:ln>
                  <a:noFill/>
                </a:ln>
                <a:solidFill>
                  <a:srgbClr val="3F3F3F"/>
                </a:solidFill>
                <a:effectLst/>
                <a:uLnTx/>
                <a:uFillTx/>
                <a:latin typeface="Arial"/>
                <a:ea typeface="+mn-ea"/>
                <a:cs typeface="Arial"/>
              </a:rPr>
              <a:t>disease</a:t>
            </a:r>
            <a:r>
              <a:rPr kumimoji="0" sz="1091" b="0" i="0" u="none" strike="noStrike" kern="0" cap="none" spc="-36" normalizeH="0" baseline="0" noProof="0" dirty="0">
                <a:ln>
                  <a:noFill/>
                </a:ln>
                <a:solidFill>
                  <a:srgbClr val="3F3F3F"/>
                </a:solidFill>
                <a:effectLst/>
                <a:uLnTx/>
                <a:uFillTx/>
                <a:latin typeface="Arial"/>
                <a:ea typeface="+mn-ea"/>
                <a:cs typeface="Arial"/>
              </a:rPr>
              <a:t> </a:t>
            </a:r>
            <a:r>
              <a:rPr kumimoji="0" sz="1091" b="0" i="0" u="none" strike="noStrike" kern="0" cap="none" spc="0" normalizeH="0" baseline="0" noProof="0" dirty="0">
                <a:ln>
                  <a:noFill/>
                </a:ln>
                <a:solidFill>
                  <a:srgbClr val="3F3F3F"/>
                </a:solidFill>
                <a:effectLst/>
                <a:uLnTx/>
                <a:uFillTx/>
                <a:latin typeface="Arial"/>
                <a:ea typeface="+mn-ea"/>
                <a:cs typeface="Arial"/>
              </a:rPr>
              <a:t>or</a:t>
            </a:r>
            <a:r>
              <a:rPr kumimoji="0" sz="1091" b="0" i="0" u="none" strike="noStrike" kern="0" cap="none" spc="-30" normalizeH="0" baseline="0" noProof="0" dirty="0">
                <a:ln>
                  <a:noFill/>
                </a:ln>
                <a:solidFill>
                  <a:srgbClr val="3F3F3F"/>
                </a:solidFill>
                <a:effectLst/>
                <a:uLnTx/>
                <a:uFillTx/>
                <a:latin typeface="Arial"/>
                <a:ea typeface="+mn-ea"/>
                <a:cs typeface="Arial"/>
              </a:rPr>
              <a:t> </a:t>
            </a:r>
            <a:r>
              <a:rPr kumimoji="0" sz="1091" b="0" i="0" u="none" strike="noStrike" kern="0" cap="none" spc="-36" normalizeH="0" baseline="0" noProof="0" dirty="0">
                <a:ln>
                  <a:noFill/>
                </a:ln>
                <a:solidFill>
                  <a:srgbClr val="3F3F3F"/>
                </a:solidFill>
                <a:effectLst/>
                <a:uLnTx/>
                <a:uFillTx/>
                <a:latin typeface="Arial"/>
                <a:ea typeface="+mn-ea"/>
                <a:cs typeface="Arial"/>
              </a:rPr>
              <a:t>death</a:t>
            </a:r>
            <a:r>
              <a:rPr kumimoji="0" sz="1091" b="0" i="0" u="none" strike="noStrike" kern="0" cap="none" spc="-30" normalizeH="0" baseline="0" noProof="0" dirty="0">
                <a:ln>
                  <a:noFill/>
                </a:ln>
                <a:solidFill>
                  <a:srgbClr val="3F3F3F"/>
                </a:solidFill>
                <a:effectLst/>
                <a:uLnTx/>
                <a:uFillTx/>
                <a:latin typeface="Arial"/>
                <a:ea typeface="+mn-ea"/>
                <a:cs typeface="Arial"/>
              </a:rPr>
              <a:t> </a:t>
            </a:r>
            <a:r>
              <a:rPr kumimoji="0" sz="1091" b="0" i="0" u="none" strike="noStrike" kern="0" cap="none" spc="-36" normalizeH="0" baseline="0" noProof="0" dirty="0">
                <a:ln>
                  <a:noFill/>
                </a:ln>
                <a:solidFill>
                  <a:srgbClr val="3F3F3F"/>
                </a:solidFill>
                <a:effectLst/>
                <a:uLnTx/>
                <a:uFillTx/>
                <a:latin typeface="Arial"/>
                <a:ea typeface="+mn-ea"/>
                <a:cs typeface="Arial"/>
              </a:rPr>
              <a:t>starting</a:t>
            </a:r>
            <a:r>
              <a:rPr kumimoji="0" sz="1091" b="0" i="0" u="none" strike="noStrike" kern="0" cap="none" spc="-55" normalizeH="0" baseline="0" noProof="0" dirty="0">
                <a:ln>
                  <a:noFill/>
                </a:ln>
                <a:solidFill>
                  <a:srgbClr val="3F3F3F"/>
                </a:solidFill>
                <a:effectLst/>
                <a:uLnTx/>
                <a:uFillTx/>
                <a:latin typeface="Arial"/>
                <a:ea typeface="+mn-ea"/>
                <a:cs typeface="Arial"/>
              </a:rPr>
              <a:t> </a:t>
            </a:r>
            <a:r>
              <a:rPr kumimoji="0" sz="1091" b="0" i="0" u="none" strike="noStrike" kern="0" cap="none" spc="-12" normalizeH="0" baseline="0" noProof="0" dirty="0">
                <a:ln>
                  <a:noFill/>
                </a:ln>
                <a:solidFill>
                  <a:srgbClr val="3F3F3F"/>
                </a:solidFill>
                <a:effectLst/>
                <a:uLnTx/>
                <a:uFillTx/>
                <a:latin typeface="Arial"/>
                <a:ea typeface="+mn-ea"/>
                <a:cs typeface="Arial"/>
              </a:rPr>
              <a:t>from</a:t>
            </a:r>
            <a:r>
              <a:rPr kumimoji="0" sz="1091" b="0" i="0" u="none" strike="noStrike" kern="0" cap="none" spc="-36" normalizeH="0" baseline="0" noProof="0" dirty="0">
                <a:ln>
                  <a:noFill/>
                </a:ln>
                <a:solidFill>
                  <a:srgbClr val="3F3F3F"/>
                </a:solidFill>
                <a:effectLst/>
                <a:uLnTx/>
                <a:uFillTx/>
                <a:latin typeface="Arial"/>
                <a:ea typeface="+mn-ea"/>
                <a:cs typeface="Arial"/>
              </a:rPr>
              <a:t> </a:t>
            </a:r>
            <a:r>
              <a:rPr kumimoji="0" sz="1091" b="0" i="0" u="none" strike="noStrike" kern="0" cap="none" spc="-61" normalizeH="0" baseline="0" noProof="0" dirty="0">
                <a:ln>
                  <a:noFill/>
                </a:ln>
                <a:solidFill>
                  <a:srgbClr val="3F3F3F"/>
                </a:solidFill>
                <a:effectLst/>
                <a:uLnTx/>
                <a:uFillTx/>
                <a:latin typeface="Arial"/>
                <a:ea typeface="+mn-ea"/>
                <a:cs typeface="Arial"/>
              </a:rPr>
              <a:t>day</a:t>
            </a:r>
            <a:r>
              <a:rPr kumimoji="0" sz="1091" b="0" i="0" u="none" strike="noStrike" kern="0" cap="none" spc="-12" normalizeH="0" baseline="0" noProof="0" dirty="0">
                <a:ln>
                  <a:noFill/>
                </a:ln>
                <a:solidFill>
                  <a:srgbClr val="3F3F3F"/>
                </a:solidFill>
                <a:effectLst/>
                <a:uLnTx/>
                <a:uFillTx/>
                <a:latin typeface="Arial"/>
                <a:ea typeface="+mn-ea"/>
                <a:cs typeface="Arial"/>
              </a:rPr>
              <a:t> </a:t>
            </a:r>
            <a:r>
              <a:rPr kumimoji="0" sz="1091" b="0" i="0" u="none" strike="noStrike" kern="0" cap="none" spc="-42" normalizeH="0" baseline="0" noProof="0" dirty="0">
                <a:ln>
                  <a:noFill/>
                </a:ln>
                <a:solidFill>
                  <a:srgbClr val="3F3F3F"/>
                </a:solidFill>
                <a:effectLst/>
                <a:uLnTx/>
                <a:uFillTx/>
                <a:latin typeface="Arial"/>
                <a:ea typeface="+mn-ea"/>
                <a:cs typeface="Arial"/>
              </a:rPr>
              <a:t>1,</a:t>
            </a:r>
            <a:r>
              <a:rPr kumimoji="0" sz="1091" b="0" i="0" u="none" strike="noStrike" kern="0" cap="none" spc="-24" normalizeH="0" baseline="0" noProof="0" dirty="0">
                <a:ln>
                  <a:noFill/>
                </a:ln>
                <a:solidFill>
                  <a:srgbClr val="3F3F3F"/>
                </a:solidFill>
                <a:effectLst/>
                <a:uLnTx/>
                <a:uFillTx/>
                <a:latin typeface="Arial"/>
                <a:ea typeface="+mn-ea"/>
                <a:cs typeface="Arial"/>
              </a:rPr>
              <a:t> </a:t>
            </a:r>
            <a:r>
              <a:rPr kumimoji="0" sz="1091" b="0" i="0" u="none" strike="noStrike" kern="0" cap="none" spc="-61" normalizeH="0" baseline="0" noProof="0" dirty="0">
                <a:ln>
                  <a:noFill/>
                </a:ln>
                <a:solidFill>
                  <a:srgbClr val="3F3F3F"/>
                </a:solidFill>
                <a:effectLst/>
                <a:uLnTx/>
                <a:uFillTx/>
                <a:latin typeface="Arial"/>
                <a:ea typeface="+mn-ea"/>
                <a:cs typeface="Arial"/>
              </a:rPr>
              <a:t>cycle</a:t>
            </a:r>
            <a:r>
              <a:rPr kumimoji="0" sz="1091" b="0" i="0" u="none" strike="noStrike" kern="0" cap="none" spc="-19" normalizeH="0" baseline="0" noProof="0" dirty="0">
                <a:ln>
                  <a:noFill/>
                </a:ln>
                <a:solidFill>
                  <a:srgbClr val="3F3F3F"/>
                </a:solidFill>
                <a:effectLst/>
                <a:uLnTx/>
                <a:uFillTx/>
                <a:latin typeface="Arial"/>
                <a:ea typeface="+mn-ea"/>
                <a:cs typeface="Arial"/>
              </a:rPr>
              <a:t> </a:t>
            </a:r>
            <a:r>
              <a:rPr kumimoji="0" sz="1091" b="0" i="0" u="none" strike="noStrike" kern="0" cap="none" spc="-55" normalizeH="0" baseline="0" noProof="0" dirty="0">
                <a:ln>
                  <a:noFill/>
                </a:ln>
                <a:solidFill>
                  <a:srgbClr val="3F3F3F"/>
                </a:solidFill>
                <a:effectLst/>
                <a:uLnTx/>
                <a:uFillTx/>
                <a:latin typeface="Arial"/>
                <a:ea typeface="+mn-ea"/>
                <a:cs typeface="Arial"/>
              </a:rPr>
              <a:t>1</a:t>
            </a:r>
            <a:r>
              <a:rPr kumimoji="0" sz="1091" b="0" i="0" u="none" strike="noStrike" kern="0" cap="none" spc="-30" normalizeH="0" baseline="0" noProof="0" dirty="0">
                <a:ln>
                  <a:noFill/>
                </a:ln>
                <a:solidFill>
                  <a:srgbClr val="3F3F3F"/>
                </a:solidFill>
                <a:effectLst/>
                <a:uLnTx/>
                <a:uFillTx/>
                <a:latin typeface="Arial"/>
                <a:ea typeface="+mn-ea"/>
                <a:cs typeface="Arial"/>
              </a:rPr>
              <a:t> </a:t>
            </a:r>
            <a:r>
              <a:rPr kumimoji="0" sz="1091" b="0" i="0" u="none" strike="noStrike" kern="0" cap="none" spc="0" normalizeH="0" baseline="0" noProof="0" dirty="0">
                <a:ln>
                  <a:noFill/>
                </a:ln>
                <a:solidFill>
                  <a:srgbClr val="3F3F3F"/>
                </a:solidFill>
                <a:effectLst/>
                <a:uLnTx/>
                <a:uFillTx/>
                <a:latin typeface="Arial"/>
                <a:ea typeface="+mn-ea"/>
                <a:cs typeface="Arial"/>
              </a:rPr>
              <a:t>of</a:t>
            </a:r>
            <a:r>
              <a:rPr kumimoji="0" sz="1091" b="0" i="0" u="none" strike="noStrike" kern="0" cap="none" spc="-24" normalizeH="0" baseline="0" noProof="0" dirty="0">
                <a:ln>
                  <a:noFill/>
                </a:ln>
                <a:solidFill>
                  <a:srgbClr val="3F3F3F"/>
                </a:solidFill>
                <a:effectLst/>
                <a:uLnTx/>
                <a:uFillTx/>
                <a:latin typeface="Arial"/>
                <a:ea typeface="+mn-ea"/>
                <a:cs typeface="Arial"/>
              </a:rPr>
              <a:t> </a:t>
            </a:r>
            <a:r>
              <a:rPr kumimoji="0" sz="1091" b="0" i="0" u="none" strike="noStrike" kern="0" cap="none" spc="-85" normalizeH="0" baseline="0" noProof="0" dirty="0">
                <a:ln>
                  <a:noFill/>
                </a:ln>
                <a:solidFill>
                  <a:srgbClr val="3F3F3F"/>
                </a:solidFill>
                <a:effectLst/>
                <a:uLnTx/>
                <a:uFillTx/>
                <a:latin typeface="Arial"/>
                <a:ea typeface="+mn-ea"/>
                <a:cs typeface="Arial"/>
              </a:rPr>
              <a:t>Lonca</a:t>
            </a:r>
            <a:r>
              <a:rPr kumimoji="0" sz="1091" b="0" i="0" u="none" strike="noStrike" kern="0" cap="none" spc="-36" normalizeH="0" baseline="0" noProof="0" dirty="0">
                <a:ln>
                  <a:noFill/>
                </a:ln>
                <a:solidFill>
                  <a:srgbClr val="3F3F3F"/>
                </a:solidFill>
                <a:effectLst/>
                <a:uLnTx/>
                <a:uFillTx/>
                <a:latin typeface="Arial"/>
                <a:ea typeface="+mn-ea"/>
                <a:cs typeface="Arial"/>
              </a:rPr>
              <a:t> </a:t>
            </a:r>
            <a:r>
              <a:rPr kumimoji="0" sz="1091" b="0" i="0" u="none" strike="noStrike" kern="0" cap="none" spc="-12" normalizeH="0" baseline="0" noProof="0" dirty="0">
                <a:ln>
                  <a:noFill/>
                </a:ln>
                <a:solidFill>
                  <a:srgbClr val="3F3F3F"/>
                </a:solidFill>
                <a:effectLst/>
                <a:uLnTx/>
                <a:uFillTx/>
                <a:latin typeface="Arial"/>
                <a:ea typeface="+mn-ea"/>
                <a:cs typeface="Arial"/>
              </a:rPr>
              <a:t>treatment. </a:t>
            </a:r>
            <a:r>
              <a:rPr kumimoji="0" sz="1091" b="0" i="0" u="none" strike="noStrike" kern="0" cap="none" spc="-146" normalizeH="0" baseline="0" noProof="0" dirty="0">
                <a:ln>
                  <a:noFill/>
                </a:ln>
                <a:solidFill>
                  <a:srgbClr val="3F3F3F"/>
                </a:solidFill>
                <a:effectLst/>
                <a:uLnTx/>
                <a:uFillTx/>
                <a:latin typeface="Arial"/>
                <a:ea typeface="+mn-ea"/>
                <a:cs typeface="Arial"/>
              </a:rPr>
              <a:t>CR,</a:t>
            </a:r>
            <a:r>
              <a:rPr kumimoji="0" sz="1091" b="0" i="0" u="none" strike="noStrike" kern="0" cap="none" spc="-12" normalizeH="0" baseline="0" noProof="0" dirty="0">
                <a:ln>
                  <a:noFill/>
                </a:ln>
                <a:solidFill>
                  <a:srgbClr val="3F3F3F"/>
                </a:solidFill>
                <a:effectLst/>
                <a:uLnTx/>
                <a:uFillTx/>
                <a:latin typeface="Arial"/>
                <a:ea typeface="+mn-ea"/>
                <a:cs typeface="Arial"/>
              </a:rPr>
              <a:t> </a:t>
            </a:r>
            <a:r>
              <a:rPr kumimoji="0" sz="1091" b="0" i="0" u="none" strike="noStrike" kern="0" cap="none" spc="-36" normalizeH="0" baseline="0" noProof="0" dirty="0">
                <a:ln>
                  <a:noFill/>
                </a:ln>
                <a:solidFill>
                  <a:srgbClr val="3F3F3F"/>
                </a:solidFill>
                <a:effectLst/>
                <a:uLnTx/>
                <a:uFillTx/>
                <a:latin typeface="Arial"/>
                <a:ea typeface="+mn-ea"/>
                <a:cs typeface="Arial"/>
              </a:rPr>
              <a:t>complete</a:t>
            </a:r>
            <a:r>
              <a:rPr kumimoji="0" sz="1091" b="0" i="0" u="none" strike="noStrike" kern="0" cap="none" spc="-30" normalizeH="0" baseline="0" noProof="0" dirty="0">
                <a:ln>
                  <a:noFill/>
                </a:ln>
                <a:solidFill>
                  <a:srgbClr val="3F3F3F"/>
                </a:solidFill>
                <a:effectLst/>
                <a:uLnTx/>
                <a:uFillTx/>
                <a:latin typeface="Arial"/>
                <a:ea typeface="+mn-ea"/>
                <a:cs typeface="Arial"/>
              </a:rPr>
              <a:t> </a:t>
            </a:r>
            <a:r>
              <a:rPr kumimoji="0" sz="1091" b="0" i="0" u="none" strike="noStrike" kern="0" cap="none" spc="-55" normalizeH="0" baseline="0" noProof="0" dirty="0">
                <a:ln>
                  <a:noFill/>
                </a:ln>
                <a:solidFill>
                  <a:srgbClr val="3F3F3F"/>
                </a:solidFill>
                <a:effectLst/>
                <a:uLnTx/>
                <a:uFillTx/>
                <a:latin typeface="Arial"/>
                <a:ea typeface="+mn-ea"/>
                <a:cs typeface="Arial"/>
              </a:rPr>
              <a:t>response;</a:t>
            </a:r>
            <a:r>
              <a:rPr kumimoji="0" sz="1091" b="0" i="0" u="none" strike="noStrike" kern="0" cap="none" spc="6" normalizeH="0" baseline="0" noProof="0" dirty="0">
                <a:ln>
                  <a:noFill/>
                </a:ln>
                <a:solidFill>
                  <a:srgbClr val="3F3F3F"/>
                </a:solidFill>
                <a:effectLst/>
                <a:uLnTx/>
                <a:uFillTx/>
                <a:latin typeface="Arial"/>
                <a:ea typeface="+mn-ea"/>
                <a:cs typeface="Arial"/>
              </a:rPr>
              <a:t> </a:t>
            </a:r>
            <a:r>
              <a:rPr kumimoji="0" sz="1091" b="0" i="0" u="none" strike="noStrike" kern="0" cap="none" spc="-79" normalizeH="0" baseline="0" noProof="0" dirty="0">
                <a:ln>
                  <a:noFill/>
                </a:ln>
                <a:solidFill>
                  <a:srgbClr val="3F3F3F"/>
                </a:solidFill>
                <a:effectLst/>
                <a:uLnTx/>
                <a:uFillTx/>
                <a:latin typeface="Arial"/>
                <a:ea typeface="+mn-ea"/>
                <a:cs typeface="Arial"/>
              </a:rPr>
              <a:t>Lonca,</a:t>
            </a:r>
            <a:r>
              <a:rPr kumimoji="0" sz="1091" b="0" i="0" u="none" strike="noStrike" kern="0" cap="none" spc="-24" normalizeH="0" baseline="0" noProof="0" dirty="0">
                <a:ln>
                  <a:noFill/>
                </a:ln>
                <a:solidFill>
                  <a:srgbClr val="3F3F3F"/>
                </a:solidFill>
                <a:effectLst/>
                <a:uLnTx/>
                <a:uFillTx/>
                <a:latin typeface="Arial"/>
                <a:ea typeface="+mn-ea"/>
                <a:cs typeface="Arial"/>
              </a:rPr>
              <a:t> </a:t>
            </a:r>
            <a:r>
              <a:rPr kumimoji="0" sz="1091" b="0" i="0" u="none" strike="noStrike" kern="0" cap="none" spc="-55" normalizeH="0" baseline="0" noProof="0" dirty="0">
                <a:ln>
                  <a:noFill/>
                </a:ln>
                <a:solidFill>
                  <a:srgbClr val="3F3F3F"/>
                </a:solidFill>
                <a:effectLst/>
                <a:uLnTx/>
                <a:uFillTx/>
                <a:latin typeface="Arial"/>
                <a:ea typeface="+mn-ea"/>
                <a:cs typeface="Arial"/>
              </a:rPr>
              <a:t>loncastuximab</a:t>
            </a:r>
            <a:r>
              <a:rPr kumimoji="0" sz="1091" b="0" i="0" u="none" strike="noStrike" kern="0" cap="none" spc="-30" normalizeH="0" baseline="0" noProof="0" dirty="0">
                <a:ln>
                  <a:noFill/>
                </a:ln>
                <a:solidFill>
                  <a:srgbClr val="3F3F3F"/>
                </a:solidFill>
                <a:effectLst/>
                <a:uLnTx/>
                <a:uFillTx/>
                <a:latin typeface="Arial"/>
                <a:ea typeface="+mn-ea"/>
                <a:cs typeface="Arial"/>
              </a:rPr>
              <a:t> </a:t>
            </a:r>
            <a:r>
              <a:rPr kumimoji="0" sz="1091" b="0" i="0" u="none" strike="noStrike" kern="0" cap="none" spc="-36" normalizeH="0" baseline="0" noProof="0" dirty="0">
                <a:ln>
                  <a:noFill/>
                </a:ln>
                <a:solidFill>
                  <a:srgbClr val="3F3F3F"/>
                </a:solidFill>
                <a:effectLst/>
                <a:uLnTx/>
                <a:uFillTx/>
                <a:latin typeface="Arial"/>
                <a:ea typeface="+mn-ea"/>
                <a:cs typeface="Arial"/>
              </a:rPr>
              <a:t>tesirine-</a:t>
            </a:r>
            <a:r>
              <a:rPr kumimoji="0" sz="1091" b="0" i="0" u="none" strike="noStrike" kern="0" cap="none" spc="-30" normalizeH="0" baseline="0" noProof="0" dirty="0">
                <a:ln>
                  <a:noFill/>
                </a:ln>
                <a:solidFill>
                  <a:srgbClr val="3F3F3F"/>
                </a:solidFill>
                <a:effectLst/>
                <a:uLnTx/>
                <a:uFillTx/>
                <a:latin typeface="Arial"/>
                <a:ea typeface="+mn-ea"/>
                <a:cs typeface="Arial"/>
              </a:rPr>
              <a:t>Ipyl;</a:t>
            </a:r>
            <a:r>
              <a:rPr kumimoji="0" sz="1091" b="0" i="0" u="none" strike="noStrike" kern="0" cap="none" spc="-19" normalizeH="0" baseline="0" noProof="0" dirty="0">
                <a:ln>
                  <a:noFill/>
                </a:ln>
                <a:solidFill>
                  <a:srgbClr val="3F3F3F"/>
                </a:solidFill>
                <a:effectLst/>
                <a:uLnTx/>
                <a:uFillTx/>
                <a:latin typeface="Arial"/>
                <a:ea typeface="+mn-ea"/>
                <a:cs typeface="Arial"/>
              </a:rPr>
              <a:t> </a:t>
            </a:r>
            <a:r>
              <a:rPr kumimoji="0" sz="1091" b="0" i="0" u="none" strike="noStrike" kern="0" cap="none" spc="-139" normalizeH="0" baseline="0" noProof="0" dirty="0">
                <a:ln>
                  <a:noFill/>
                </a:ln>
                <a:solidFill>
                  <a:srgbClr val="3F3F3F"/>
                </a:solidFill>
                <a:effectLst/>
                <a:uLnTx/>
                <a:uFillTx/>
                <a:latin typeface="Arial"/>
                <a:ea typeface="+mn-ea"/>
                <a:cs typeface="Arial"/>
              </a:rPr>
              <a:t>ORR,</a:t>
            </a:r>
            <a:r>
              <a:rPr kumimoji="0" sz="1091" b="0" i="0" u="none" strike="noStrike" kern="0" cap="none" spc="-6" normalizeH="0" baseline="0" noProof="0" dirty="0">
                <a:ln>
                  <a:noFill/>
                </a:ln>
                <a:solidFill>
                  <a:srgbClr val="3F3F3F"/>
                </a:solidFill>
                <a:effectLst/>
                <a:uLnTx/>
                <a:uFillTx/>
                <a:latin typeface="Arial"/>
                <a:ea typeface="+mn-ea"/>
                <a:cs typeface="Arial"/>
              </a:rPr>
              <a:t> </a:t>
            </a:r>
            <a:r>
              <a:rPr kumimoji="0" sz="1091" b="0" i="0" u="none" strike="noStrike" kern="0" cap="none" spc="-36" normalizeH="0" baseline="0" noProof="0" dirty="0">
                <a:ln>
                  <a:noFill/>
                </a:ln>
                <a:solidFill>
                  <a:srgbClr val="3F3F3F"/>
                </a:solidFill>
                <a:effectLst/>
                <a:uLnTx/>
                <a:uFillTx/>
                <a:latin typeface="Arial"/>
                <a:ea typeface="+mn-ea"/>
                <a:cs typeface="Arial"/>
              </a:rPr>
              <a:t>overall</a:t>
            </a:r>
            <a:r>
              <a:rPr kumimoji="0" sz="1091" b="0" i="0" u="none" strike="noStrike" kern="0" cap="none" spc="-19" normalizeH="0" baseline="0" noProof="0" dirty="0">
                <a:ln>
                  <a:noFill/>
                </a:ln>
                <a:solidFill>
                  <a:srgbClr val="3F3F3F"/>
                </a:solidFill>
                <a:effectLst/>
                <a:uLnTx/>
                <a:uFillTx/>
                <a:latin typeface="Arial"/>
                <a:ea typeface="+mn-ea"/>
                <a:cs typeface="Arial"/>
              </a:rPr>
              <a:t> </a:t>
            </a:r>
            <a:r>
              <a:rPr kumimoji="0" sz="1091" b="0" i="0" u="none" strike="noStrike" kern="0" cap="none" spc="-61" normalizeH="0" baseline="0" noProof="0" dirty="0">
                <a:ln>
                  <a:noFill/>
                </a:ln>
                <a:solidFill>
                  <a:srgbClr val="3F3F3F"/>
                </a:solidFill>
                <a:effectLst/>
                <a:uLnTx/>
                <a:uFillTx/>
                <a:latin typeface="Arial"/>
                <a:ea typeface="+mn-ea"/>
                <a:cs typeface="Arial"/>
              </a:rPr>
              <a:t>response</a:t>
            </a:r>
            <a:r>
              <a:rPr kumimoji="0" sz="1091" b="0" i="0" u="none" strike="noStrike" kern="0" cap="none" spc="-12" normalizeH="0" baseline="0" noProof="0" dirty="0">
                <a:ln>
                  <a:noFill/>
                </a:ln>
                <a:solidFill>
                  <a:srgbClr val="3F3F3F"/>
                </a:solidFill>
                <a:effectLst/>
                <a:uLnTx/>
                <a:uFillTx/>
                <a:latin typeface="Arial"/>
                <a:ea typeface="+mn-ea"/>
                <a:cs typeface="Arial"/>
              </a:rPr>
              <a:t> rate;</a:t>
            </a:r>
            <a:r>
              <a:rPr kumimoji="0" sz="1091" b="0" i="0" u="none" strike="noStrike" kern="0" cap="none" spc="6" normalizeH="0" baseline="0" noProof="0" dirty="0">
                <a:ln>
                  <a:noFill/>
                </a:ln>
                <a:solidFill>
                  <a:srgbClr val="3F3F3F"/>
                </a:solidFill>
                <a:effectLst/>
                <a:uLnTx/>
                <a:uFillTx/>
                <a:latin typeface="Arial"/>
                <a:ea typeface="+mn-ea"/>
                <a:cs typeface="Arial"/>
              </a:rPr>
              <a:t> </a:t>
            </a:r>
            <a:r>
              <a:rPr kumimoji="0" sz="1091" b="0" i="0" u="none" strike="noStrike" kern="0" cap="none" spc="-36" normalizeH="0" baseline="0" noProof="0" dirty="0">
                <a:ln>
                  <a:noFill/>
                </a:ln>
                <a:solidFill>
                  <a:srgbClr val="3F3F3F"/>
                </a:solidFill>
                <a:effectLst/>
                <a:uLnTx/>
                <a:uFillTx/>
                <a:latin typeface="Arial"/>
                <a:ea typeface="+mn-ea"/>
                <a:cs typeface="Arial"/>
              </a:rPr>
              <a:t>pts,</a:t>
            </a:r>
            <a:r>
              <a:rPr kumimoji="0" sz="1091" b="0" i="0" u="none" strike="noStrike" kern="0" cap="none" spc="-30" normalizeH="0" baseline="0" noProof="0" dirty="0">
                <a:ln>
                  <a:noFill/>
                </a:ln>
                <a:solidFill>
                  <a:srgbClr val="3F3F3F"/>
                </a:solidFill>
                <a:effectLst/>
                <a:uLnTx/>
                <a:uFillTx/>
                <a:latin typeface="Arial"/>
                <a:ea typeface="+mn-ea"/>
                <a:cs typeface="Arial"/>
              </a:rPr>
              <a:t> </a:t>
            </a:r>
            <a:r>
              <a:rPr kumimoji="0" sz="1091" b="0" i="0" u="none" strike="noStrike" kern="0" cap="none" spc="-12" normalizeH="0" baseline="0" noProof="0" dirty="0">
                <a:ln>
                  <a:noFill/>
                </a:ln>
                <a:solidFill>
                  <a:srgbClr val="3F3F3F"/>
                </a:solidFill>
                <a:effectLst/>
                <a:uLnTx/>
                <a:uFillTx/>
                <a:latin typeface="Arial"/>
                <a:ea typeface="+mn-ea"/>
                <a:cs typeface="Arial"/>
              </a:rPr>
              <a:t>patients.</a:t>
            </a:r>
            <a:endParaRPr kumimoji="0" sz="1091" b="0" i="0" u="none" strike="noStrike" kern="0" cap="none" spc="0" normalizeH="0" baseline="0" noProof="0">
              <a:ln>
                <a:noFill/>
              </a:ln>
              <a:solidFill>
                <a:sysClr val="windowText" lastClr="000000"/>
              </a:solidFill>
              <a:effectLst/>
              <a:uLnTx/>
              <a:uFillTx/>
              <a:latin typeface="Arial"/>
              <a:ea typeface="+mn-ea"/>
              <a:cs typeface="Arial"/>
            </a:endParaRPr>
          </a:p>
        </p:txBody>
      </p:sp>
      <p:graphicFrame>
        <p:nvGraphicFramePr>
          <p:cNvPr id="35" name="object 35"/>
          <p:cNvGraphicFramePr>
            <a:graphicFrameLocks noGrp="1"/>
          </p:cNvGraphicFramePr>
          <p:nvPr/>
        </p:nvGraphicFramePr>
        <p:xfrm>
          <a:off x="7687541" y="2825982"/>
          <a:ext cx="4166369" cy="2005522"/>
        </p:xfrm>
        <a:graphic>
          <a:graphicData uri="http://schemas.openxmlformats.org/drawingml/2006/table">
            <a:tbl>
              <a:tblPr firstRow="1" bandRow="1">
                <a:tableStyleId>{2D5ABB26-0587-4C30-8999-92F81FD0307C}</a:tableStyleId>
              </a:tblPr>
              <a:tblGrid>
                <a:gridCol w="3027988">
                  <a:extLst>
                    <a:ext uri="{9D8B030D-6E8A-4147-A177-3AD203B41FA5}">
                      <a16:colId xmlns:a16="http://schemas.microsoft.com/office/drawing/2014/main" val="20000"/>
                    </a:ext>
                  </a:extLst>
                </a:gridCol>
                <a:gridCol w="1138381">
                  <a:extLst>
                    <a:ext uri="{9D8B030D-6E8A-4147-A177-3AD203B41FA5}">
                      <a16:colId xmlns:a16="http://schemas.microsoft.com/office/drawing/2014/main" val="20001"/>
                    </a:ext>
                  </a:extLst>
                </a:gridCol>
              </a:tblGrid>
              <a:tr h="370224">
                <a:tc gridSpan="2">
                  <a:txBody>
                    <a:bodyPr/>
                    <a:lstStyle/>
                    <a:p>
                      <a:pPr marL="202565">
                        <a:lnSpc>
                          <a:spcPct val="100000"/>
                        </a:lnSpc>
                        <a:spcBef>
                          <a:spcPts val="235"/>
                        </a:spcBef>
                      </a:pPr>
                      <a:r>
                        <a:rPr sz="1600" b="1" spc="-55" dirty="0">
                          <a:solidFill>
                            <a:srgbClr val="FFFFFF"/>
                          </a:solidFill>
                          <a:latin typeface="Arial"/>
                          <a:cs typeface="Arial"/>
                        </a:rPr>
                        <a:t>Median</a:t>
                      </a:r>
                      <a:r>
                        <a:rPr sz="1600" b="1" spc="-40" dirty="0">
                          <a:solidFill>
                            <a:srgbClr val="FFFFFF"/>
                          </a:solidFill>
                          <a:latin typeface="Arial"/>
                          <a:cs typeface="Arial"/>
                        </a:rPr>
                        <a:t> </a:t>
                      </a:r>
                      <a:r>
                        <a:rPr sz="1600" b="1" spc="-85" dirty="0">
                          <a:solidFill>
                            <a:srgbClr val="FFFFFF"/>
                          </a:solidFill>
                          <a:latin typeface="Arial"/>
                          <a:cs typeface="Arial"/>
                        </a:rPr>
                        <a:t>(range)</a:t>
                      </a:r>
                      <a:r>
                        <a:rPr sz="1600" b="1" spc="-35" dirty="0">
                          <a:solidFill>
                            <a:srgbClr val="FFFFFF"/>
                          </a:solidFill>
                          <a:latin typeface="Arial"/>
                          <a:cs typeface="Arial"/>
                        </a:rPr>
                        <a:t> </a:t>
                      </a:r>
                      <a:r>
                        <a:rPr sz="1600" b="1" spc="-85" dirty="0">
                          <a:solidFill>
                            <a:srgbClr val="FFFFFF"/>
                          </a:solidFill>
                          <a:latin typeface="Arial"/>
                          <a:cs typeface="Arial"/>
                        </a:rPr>
                        <a:t>number</a:t>
                      </a:r>
                      <a:r>
                        <a:rPr sz="1600" b="1" spc="-20" dirty="0">
                          <a:solidFill>
                            <a:srgbClr val="FFFFFF"/>
                          </a:solidFill>
                          <a:latin typeface="Arial"/>
                          <a:cs typeface="Arial"/>
                        </a:rPr>
                        <a:t> </a:t>
                      </a:r>
                      <a:r>
                        <a:rPr sz="1600" b="1" spc="-65" dirty="0">
                          <a:solidFill>
                            <a:srgbClr val="FFFFFF"/>
                          </a:solidFill>
                          <a:latin typeface="Arial"/>
                          <a:cs typeface="Arial"/>
                        </a:rPr>
                        <a:t>of</a:t>
                      </a:r>
                      <a:r>
                        <a:rPr sz="1600" b="1" spc="-40" dirty="0">
                          <a:solidFill>
                            <a:srgbClr val="FFFFFF"/>
                          </a:solidFill>
                          <a:latin typeface="Arial"/>
                          <a:cs typeface="Arial"/>
                        </a:rPr>
                        <a:t> </a:t>
                      </a:r>
                      <a:r>
                        <a:rPr sz="1600" b="1" spc="-55" dirty="0">
                          <a:solidFill>
                            <a:srgbClr val="FFFFFF"/>
                          </a:solidFill>
                          <a:latin typeface="Arial"/>
                          <a:cs typeface="Arial"/>
                        </a:rPr>
                        <a:t>treatment </a:t>
                      </a:r>
                      <a:r>
                        <a:rPr sz="1600" b="1" spc="-10" dirty="0">
                          <a:solidFill>
                            <a:srgbClr val="FFFFFF"/>
                          </a:solidFill>
                          <a:latin typeface="Arial"/>
                          <a:cs typeface="Arial"/>
                        </a:rPr>
                        <a:t>cycles</a:t>
                      </a:r>
                      <a:endParaRPr sz="1600">
                        <a:latin typeface="Arial"/>
                        <a:cs typeface="Arial"/>
                      </a:endParaRPr>
                    </a:p>
                  </a:txBody>
                  <a:tcPr marL="0" marR="0" marT="36176" marB="0">
                    <a:lnL w="12700">
                      <a:solidFill>
                        <a:srgbClr val="E7E6E6"/>
                      </a:solidFill>
                      <a:prstDash val="solid"/>
                    </a:lnL>
                    <a:lnR w="12700">
                      <a:solidFill>
                        <a:srgbClr val="E7E6E6"/>
                      </a:solidFill>
                      <a:prstDash val="solid"/>
                    </a:lnR>
                    <a:lnT w="12700">
                      <a:solidFill>
                        <a:srgbClr val="E7E6E6"/>
                      </a:solidFill>
                      <a:prstDash val="solid"/>
                    </a:lnT>
                    <a:lnB w="12700">
                      <a:solidFill>
                        <a:srgbClr val="E7E6E6"/>
                      </a:solidFill>
                      <a:prstDash val="solid"/>
                    </a:lnB>
                    <a:solidFill>
                      <a:srgbClr val="023CA6"/>
                    </a:solidFill>
                  </a:tcPr>
                </a:tc>
                <a:tc hMerge="1">
                  <a:txBody>
                    <a:bodyPr/>
                    <a:lstStyle/>
                    <a:p>
                      <a:endParaRPr/>
                    </a:p>
                  </a:txBody>
                  <a:tcPr marL="0" marR="0" marT="0" marB="0"/>
                </a:tc>
                <a:extLst>
                  <a:ext uri="{0D108BD9-81ED-4DB2-BD59-A6C34878D82A}">
                    <a16:rowId xmlns:a16="http://schemas.microsoft.com/office/drawing/2014/main" val="10000"/>
                  </a:ext>
                </a:extLst>
              </a:tr>
              <a:tr h="377151">
                <a:tc>
                  <a:txBody>
                    <a:bodyPr/>
                    <a:lstStyle/>
                    <a:p>
                      <a:pPr marL="74930">
                        <a:lnSpc>
                          <a:spcPct val="100000"/>
                        </a:lnSpc>
                        <a:spcBef>
                          <a:spcPts val="235"/>
                        </a:spcBef>
                      </a:pPr>
                      <a:r>
                        <a:rPr sz="1600" dirty="0">
                          <a:latin typeface="Arial"/>
                          <a:cs typeface="Arial"/>
                        </a:rPr>
                        <a:t>All-</a:t>
                      </a:r>
                      <a:r>
                        <a:rPr sz="1600" spc="-40" dirty="0">
                          <a:latin typeface="Arial"/>
                          <a:cs typeface="Arial"/>
                        </a:rPr>
                        <a:t>treated</a:t>
                      </a:r>
                      <a:r>
                        <a:rPr sz="1600" spc="-50" dirty="0">
                          <a:latin typeface="Arial"/>
                          <a:cs typeface="Arial"/>
                        </a:rPr>
                        <a:t> </a:t>
                      </a:r>
                      <a:r>
                        <a:rPr sz="1600" spc="-10" dirty="0">
                          <a:latin typeface="Arial"/>
                          <a:cs typeface="Arial"/>
                        </a:rPr>
                        <a:t>population</a:t>
                      </a:r>
                      <a:endParaRPr sz="1600">
                        <a:latin typeface="Arial"/>
                        <a:cs typeface="Arial"/>
                      </a:endParaRPr>
                    </a:p>
                  </a:txBody>
                  <a:tcPr marL="0" marR="0" marT="36176" marB="0">
                    <a:lnL w="12700">
                      <a:solidFill>
                        <a:srgbClr val="E7E6E6"/>
                      </a:solidFill>
                      <a:prstDash val="solid"/>
                    </a:lnL>
                    <a:lnR w="12700">
                      <a:solidFill>
                        <a:srgbClr val="E7E6E6"/>
                      </a:solidFill>
                      <a:prstDash val="solid"/>
                    </a:lnR>
                    <a:lnT w="12700">
                      <a:solidFill>
                        <a:srgbClr val="E7E6E6"/>
                      </a:solidFill>
                      <a:prstDash val="solid"/>
                    </a:lnT>
                    <a:solidFill>
                      <a:srgbClr val="E7E6E6"/>
                    </a:solidFill>
                  </a:tcPr>
                </a:tc>
                <a:tc>
                  <a:txBody>
                    <a:bodyPr/>
                    <a:lstStyle/>
                    <a:p>
                      <a:pPr marL="139700">
                        <a:lnSpc>
                          <a:spcPct val="100000"/>
                        </a:lnSpc>
                        <a:spcBef>
                          <a:spcPts val="235"/>
                        </a:spcBef>
                      </a:pPr>
                      <a:r>
                        <a:rPr sz="1600" spc="-50" dirty="0">
                          <a:latin typeface="Arial"/>
                          <a:cs typeface="Arial"/>
                        </a:rPr>
                        <a:t>3.0 (1-</a:t>
                      </a:r>
                      <a:r>
                        <a:rPr sz="1600" spc="-25" dirty="0">
                          <a:latin typeface="Arial"/>
                          <a:cs typeface="Arial"/>
                        </a:rPr>
                        <a:t>26)</a:t>
                      </a:r>
                      <a:endParaRPr sz="1600">
                        <a:latin typeface="Arial"/>
                        <a:cs typeface="Arial"/>
                      </a:endParaRPr>
                    </a:p>
                  </a:txBody>
                  <a:tcPr marL="0" marR="0" marT="36176" marB="0">
                    <a:lnL w="12700">
                      <a:solidFill>
                        <a:srgbClr val="E7E6E6"/>
                      </a:solidFill>
                      <a:prstDash val="solid"/>
                    </a:lnL>
                    <a:lnR w="12700">
                      <a:solidFill>
                        <a:srgbClr val="E7E6E6"/>
                      </a:solidFill>
                      <a:prstDash val="solid"/>
                    </a:lnR>
                    <a:lnT w="12700">
                      <a:solidFill>
                        <a:srgbClr val="E7E6E6"/>
                      </a:solidFill>
                      <a:prstDash val="solid"/>
                    </a:lnT>
                    <a:solidFill>
                      <a:srgbClr val="E7E6E6"/>
                    </a:solidFill>
                  </a:tcPr>
                </a:tc>
                <a:extLst>
                  <a:ext uri="{0D108BD9-81ED-4DB2-BD59-A6C34878D82A}">
                    <a16:rowId xmlns:a16="http://schemas.microsoft.com/office/drawing/2014/main" val="10001"/>
                  </a:ext>
                </a:extLst>
              </a:tr>
              <a:tr h="357139">
                <a:tc>
                  <a:txBody>
                    <a:bodyPr/>
                    <a:lstStyle/>
                    <a:p>
                      <a:pPr marL="74930">
                        <a:lnSpc>
                          <a:spcPct val="100000"/>
                        </a:lnSpc>
                        <a:spcBef>
                          <a:spcPts val="195"/>
                        </a:spcBef>
                      </a:pPr>
                      <a:r>
                        <a:rPr sz="1600" spc="-90" dirty="0">
                          <a:latin typeface="Arial"/>
                          <a:cs typeface="Arial"/>
                        </a:rPr>
                        <a:t>Pts</a:t>
                      </a:r>
                      <a:r>
                        <a:rPr sz="1600" spc="-40" dirty="0">
                          <a:latin typeface="Arial"/>
                          <a:cs typeface="Arial"/>
                        </a:rPr>
                        <a:t> </a:t>
                      </a:r>
                      <a:r>
                        <a:rPr sz="1600" dirty="0">
                          <a:latin typeface="Arial"/>
                          <a:cs typeface="Arial"/>
                        </a:rPr>
                        <a:t>with</a:t>
                      </a:r>
                      <a:r>
                        <a:rPr sz="1600" spc="-35" dirty="0">
                          <a:latin typeface="Arial"/>
                          <a:cs typeface="Arial"/>
                        </a:rPr>
                        <a:t> </a:t>
                      </a:r>
                      <a:r>
                        <a:rPr sz="1600" spc="-100" dirty="0">
                          <a:latin typeface="Arial"/>
                          <a:cs typeface="Arial"/>
                        </a:rPr>
                        <a:t>a</a:t>
                      </a:r>
                      <a:r>
                        <a:rPr sz="1600" spc="-35" dirty="0">
                          <a:latin typeface="Arial"/>
                          <a:cs typeface="Arial"/>
                        </a:rPr>
                        <a:t> </a:t>
                      </a:r>
                      <a:r>
                        <a:rPr sz="1600" spc="-25" dirty="0">
                          <a:latin typeface="Arial"/>
                          <a:cs typeface="Arial"/>
                        </a:rPr>
                        <a:t>CR</a:t>
                      </a:r>
                      <a:endParaRPr sz="1600">
                        <a:latin typeface="Arial"/>
                        <a:cs typeface="Arial"/>
                      </a:endParaRPr>
                    </a:p>
                  </a:txBody>
                  <a:tcPr marL="0" marR="0" marT="30019" marB="0">
                    <a:lnL w="12700">
                      <a:solidFill>
                        <a:srgbClr val="E7E6E6"/>
                      </a:solidFill>
                      <a:prstDash val="solid"/>
                    </a:lnL>
                    <a:lnR w="12700">
                      <a:solidFill>
                        <a:srgbClr val="E7E6E6"/>
                      </a:solidFill>
                      <a:prstDash val="solid"/>
                    </a:lnR>
                  </a:tcPr>
                </a:tc>
                <a:tc>
                  <a:txBody>
                    <a:bodyPr/>
                    <a:lstStyle/>
                    <a:p>
                      <a:pPr marL="139700">
                        <a:lnSpc>
                          <a:spcPct val="100000"/>
                        </a:lnSpc>
                        <a:spcBef>
                          <a:spcPts val="195"/>
                        </a:spcBef>
                      </a:pPr>
                      <a:r>
                        <a:rPr sz="1600" spc="-50" dirty="0">
                          <a:latin typeface="Arial"/>
                          <a:cs typeface="Arial"/>
                        </a:rPr>
                        <a:t>8.0 (1-</a:t>
                      </a:r>
                      <a:r>
                        <a:rPr sz="1600" spc="-25" dirty="0">
                          <a:latin typeface="Arial"/>
                          <a:cs typeface="Arial"/>
                        </a:rPr>
                        <a:t>26)</a:t>
                      </a:r>
                      <a:endParaRPr sz="1600">
                        <a:latin typeface="Arial"/>
                        <a:cs typeface="Arial"/>
                      </a:endParaRPr>
                    </a:p>
                  </a:txBody>
                  <a:tcPr marL="0" marR="0" marT="30019" marB="0">
                    <a:lnL w="12700">
                      <a:solidFill>
                        <a:srgbClr val="E7E6E6"/>
                      </a:solidFill>
                      <a:prstDash val="solid"/>
                    </a:lnL>
                    <a:lnR w="12700">
                      <a:solidFill>
                        <a:srgbClr val="E7E6E6"/>
                      </a:solidFill>
                      <a:prstDash val="solid"/>
                    </a:lnR>
                  </a:tcPr>
                </a:tc>
                <a:extLst>
                  <a:ext uri="{0D108BD9-81ED-4DB2-BD59-A6C34878D82A}">
                    <a16:rowId xmlns:a16="http://schemas.microsoft.com/office/drawing/2014/main" val="10002"/>
                  </a:ext>
                </a:extLst>
              </a:tr>
              <a:tr h="383309">
                <a:tc>
                  <a:txBody>
                    <a:bodyPr/>
                    <a:lstStyle/>
                    <a:p>
                      <a:pPr marL="74930">
                        <a:lnSpc>
                          <a:spcPct val="100000"/>
                        </a:lnSpc>
                        <a:spcBef>
                          <a:spcPts val="275"/>
                        </a:spcBef>
                      </a:pPr>
                      <a:r>
                        <a:rPr sz="1600" spc="-80" dirty="0">
                          <a:latin typeface="Arial"/>
                          <a:cs typeface="Arial"/>
                        </a:rPr>
                        <a:t>Pts</a:t>
                      </a:r>
                      <a:r>
                        <a:rPr sz="1600" spc="-50" dirty="0">
                          <a:latin typeface="Arial"/>
                          <a:cs typeface="Arial"/>
                        </a:rPr>
                        <a:t> </a:t>
                      </a:r>
                      <a:r>
                        <a:rPr sz="1600" dirty="0">
                          <a:latin typeface="Arial"/>
                          <a:cs typeface="Arial"/>
                        </a:rPr>
                        <a:t>with</a:t>
                      </a:r>
                      <a:r>
                        <a:rPr sz="1600" spc="-45" dirty="0">
                          <a:latin typeface="Arial"/>
                          <a:cs typeface="Arial"/>
                        </a:rPr>
                        <a:t> </a:t>
                      </a:r>
                      <a:r>
                        <a:rPr sz="1600" spc="-100" dirty="0">
                          <a:latin typeface="Arial"/>
                          <a:cs typeface="Arial"/>
                        </a:rPr>
                        <a:t>a</a:t>
                      </a:r>
                      <a:r>
                        <a:rPr sz="1600" spc="-45" dirty="0">
                          <a:latin typeface="Arial"/>
                          <a:cs typeface="Arial"/>
                        </a:rPr>
                        <a:t> </a:t>
                      </a:r>
                      <a:r>
                        <a:rPr sz="1600" spc="-175" dirty="0">
                          <a:latin typeface="Arial"/>
                          <a:cs typeface="Arial"/>
                        </a:rPr>
                        <a:t>CR,</a:t>
                      </a:r>
                      <a:r>
                        <a:rPr sz="1600" spc="-35" dirty="0">
                          <a:latin typeface="Arial"/>
                          <a:cs typeface="Arial"/>
                        </a:rPr>
                        <a:t> </a:t>
                      </a:r>
                      <a:r>
                        <a:rPr sz="1600" spc="-40" dirty="0">
                          <a:latin typeface="Arial"/>
                          <a:cs typeface="Arial"/>
                        </a:rPr>
                        <a:t>event-</a:t>
                      </a:r>
                      <a:r>
                        <a:rPr sz="1600" spc="-45" dirty="0">
                          <a:latin typeface="Arial"/>
                          <a:cs typeface="Arial"/>
                        </a:rPr>
                        <a:t>free</a:t>
                      </a:r>
                      <a:r>
                        <a:rPr sz="1600" spc="-15" dirty="0">
                          <a:latin typeface="Arial"/>
                          <a:cs typeface="Arial"/>
                        </a:rPr>
                        <a:t> </a:t>
                      </a:r>
                      <a:r>
                        <a:rPr sz="1600" spc="-60" dirty="0">
                          <a:latin typeface="Arial"/>
                          <a:cs typeface="Arial"/>
                        </a:rPr>
                        <a:t>≥1</a:t>
                      </a:r>
                      <a:r>
                        <a:rPr sz="1600" spc="-40" dirty="0">
                          <a:latin typeface="Arial"/>
                          <a:cs typeface="Arial"/>
                        </a:rPr>
                        <a:t> </a:t>
                      </a:r>
                      <a:r>
                        <a:rPr sz="1600" spc="-20" dirty="0">
                          <a:latin typeface="Arial"/>
                          <a:cs typeface="Arial"/>
                        </a:rPr>
                        <a:t>year</a:t>
                      </a:r>
                      <a:r>
                        <a:rPr sz="1600" spc="-30" baseline="26143" dirty="0">
                          <a:latin typeface="Arial"/>
                          <a:cs typeface="Arial"/>
                        </a:rPr>
                        <a:t>a</a:t>
                      </a:r>
                      <a:endParaRPr sz="1600" baseline="26143">
                        <a:latin typeface="Arial"/>
                        <a:cs typeface="Arial"/>
                      </a:endParaRPr>
                    </a:p>
                  </a:txBody>
                  <a:tcPr marL="0" marR="0" marT="42334" marB="0">
                    <a:lnL w="12700">
                      <a:solidFill>
                        <a:srgbClr val="E7E6E6"/>
                      </a:solidFill>
                      <a:prstDash val="solid"/>
                    </a:lnL>
                    <a:lnR w="12700">
                      <a:solidFill>
                        <a:srgbClr val="E7E6E6"/>
                      </a:solidFill>
                      <a:prstDash val="solid"/>
                    </a:lnR>
                    <a:solidFill>
                      <a:srgbClr val="E7E6E6"/>
                    </a:solidFill>
                  </a:tcPr>
                </a:tc>
                <a:tc>
                  <a:txBody>
                    <a:bodyPr/>
                    <a:lstStyle/>
                    <a:p>
                      <a:pPr marL="97155">
                        <a:lnSpc>
                          <a:spcPct val="100000"/>
                        </a:lnSpc>
                        <a:spcBef>
                          <a:spcPts val="275"/>
                        </a:spcBef>
                      </a:pPr>
                      <a:r>
                        <a:rPr sz="1600" spc="-55" dirty="0">
                          <a:latin typeface="Arial"/>
                          <a:cs typeface="Arial"/>
                        </a:rPr>
                        <a:t>12.5</a:t>
                      </a:r>
                      <a:r>
                        <a:rPr sz="1600" spc="-40" dirty="0">
                          <a:latin typeface="Arial"/>
                          <a:cs typeface="Arial"/>
                        </a:rPr>
                        <a:t> </a:t>
                      </a:r>
                      <a:r>
                        <a:rPr sz="1600" spc="-50" dirty="0">
                          <a:latin typeface="Arial"/>
                          <a:cs typeface="Arial"/>
                        </a:rPr>
                        <a:t>(1-</a:t>
                      </a:r>
                      <a:r>
                        <a:rPr sz="1600" spc="-25" dirty="0">
                          <a:latin typeface="Arial"/>
                          <a:cs typeface="Arial"/>
                        </a:rPr>
                        <a:t>26)</a:t>
                      </a:r>
                      <a:endParaRPr sz="1600">
                        <a:latin typeface="Arial"/>
                        <a:cs typeface="Arial"/>
                      </a:endParaRPr>
                    </a:p>
                  </a:txBody>
                  <a:tcPr marL="0" marR="0" marT="42334" marB="0">
                    <a:lnL w="12700">
                      <a:solidFill>
                        <a:srgbClr val="E7E6E6"/>
                      </a:solidFill>
                      <a:prstDash val="solid"/>
                    </a:lnL>
                    <a:lnR w="12700">
                      <a:solidFill>
                        <a:srgbClr val="E7E6E6"/>
                      </a:solidFill>
                      <a:prstDash val="solid"/>
                    </a:lnR>
                    <a:solidFill>
                      <a:srgbClr val="E7E6E6"/>
                    </a:solidFill>
                  </a:tcPr>
                </a:tc>
                <a:extLst>
                  <a:ext uri="{0D108BD9-81ED-4DB2-BD59-A6C34878D82A}">
                    <a16:rowId xmlns:a16="http://schemas.microsoft.com/office/drawing/2014/main" val="10003"/>
                  </a:ext>
                </a:extLst>
              </a:tr>
              <a:tr h="363297">
                <a:tc>
                  <a:txBody>
                    <a:bodyPr/>
                    <a:lstStyle/>
                    <a:p>
                      <a:pPr marL="74930">
                        <a:lnSpc>
                          <a:spcPct val="100000"/>
                        </a:lnSpc>
                        <a:spcBef>
                          <a:spcPts val="195"/>
                        </a:spcBef>
                      </a:pPr>
                      <a:r>
                        <a:rPr sz="1600" spc="-80" dirty="0">
                          <a:latin typeface="Arial"/>
                          <a:cs typeface="Arial"/>
                        </a:rPr>
                        <a:t>Pts</a:t>
                      </a:r>
                      <a:r>
                        <a:rPr sz="1600" spc="-50" dirty="0">
                          <a:latin typeface="Arial"/>
                          <a:cs typeface="Arial"/>
                        </a:rPr>
                        <a:t> </a:t>
                      </a:r>
                      <a:r>
                        <a:rPr sz="1600" dirty="0">
                          <a:latin typeface="Arial"/>
                          <a:cs typeface="Arial"/>
                        </a:rPr>
                        <a:t>with</a:t>
                      </a:r>
                      <a:r>
                        <a:rPr sz="1600" spc="-45" dirty="0">
                          <a:latin typeface="Arial"/>
                          <a:cs typeface="Arial"/>
                        </a:rPr>
                        <a:t> </a:t>
                      </a:r>
                      <a:r>
                        <a:rPr sz="1600" spc="-100" dirty="0">
                          <a:latin typeface="Arial"/>
                          <a:cs typeface="Arial"/>
                        </a:rPr>
                        <a:t>a</a:t>
                      </a:r>
                      <a:r>
                        <a:rPr sz="1600" spc="-45" dirty="0">
                          <a:latin typeface="Arial"/>
                          <a:cs typeface="Arial"/>
                        </a:rPr>
                        <a:t> </a:t>
                      </a:r>
                      <a:r>
                        <a:rPr sz="1600" spc="-175" dirty="0">
                          <a:latin typeface="Arial"/>
                          <a:cs typeface="Arial"/>
                        </a:rPr>
                        <a:t>CR,</a:t>
                      </a:r>
                      <a:r>
                        <a:rPr sz="1600" spc="-35" dirty="0">
                          <a:latin typeface="Arial"/>
                          <a:cs typeface="Arial"/>
                        </a:rPr>
                        <a:t> </a:t>
                      </a:r>
                      <a:r>
                        <a:rPr sz="1600" spc="-40" dirty="0">
                          <a:latin typeface="Arial"/>
                          <a:cs typeface="Arial"/>
                        </a:rPr>
                        <a:t>event-</a:t>
                      </a:r>
                      <a:r>
                        <a:rPr sz="1600" spc="-45" dirty="0">
                          <a:latin typeface="Arial"/>
                          <a:cs typeface="Arial"/>
                        </a:rPr>
                        <a:t>free</a:t>
                      </a:r>
                      <a:r>
                        <a:rPr sz="1600" spc="-15" dirty="0">
                          <a:latin typeface="Arial"/>
                          <a:cs typeface="Arial"/>
                        </a:rPr>
                        <a:t> </a:t>
                      </a:r>
                      <a:r>
                        <a:rPr sz="1600" spc="-60" dirty="0">
                          <a:latin typeface="Arial"/>
                          <a:cs typeface="Arial"/>
                        </a:rPr>
                        <a:t>≥2</a:t>
                      </a:r>
                      <a:r>
                        <a:rPr sz="1600" spc="-40" dirty="0">
                          <a:latin typeface="Arial"/>
                          <a:cs typeface="Arial"/>
                        </a:rPr>
                        <a:t> </a:t>
                      </a:r>
                      <a:r>
                        <a:rPr sz="1600" spc="-10" dirty="0">
                          <a:latin typeface="Arial"/>
                          <a:cs typeface="Arial"/>
                        </a:rPr>
                        <a:t>years</a:t>
                      </a:r>
                      <a:r>
                        <a:rPr sz="1600" spc="-15" baseline="26143" dirty="0">
                          <a:latin typeface="Arial"/>
                          <a:cs typeface="Arial"/>
                        </a:rPr>
                        <a:t>a</a:t>
                      </a:r>
                      <a:endParaRPr sz="1600" baseline="26143">
                        <a:latin typeface="Arial"/>
                        <a:cs typeface="Arial"/>
                      </a:endParaRPr>
                    </a:p>
                  </a:txBody>
                  <a:tcPr marL="0" marR="0" marT="30019" marB="0">
                    <a:lnL w="12700">
                      <a:solidFill>
                        <a:srgbClr val="E7E6E6"/>
                      </a:solidFill>
                      <a:prstDash val="solid"/>
                    </a:lnL>
                    <a:lnR w="12700">
                      <a:solidFill>
                        <a:srgbClr val="E7E6E6"/>
                      </a:solidFill>
                      <a:prstDash val="solid"/>
                    </a:lnR>
                    <a:lnB w="12700">
                      <a:solidFill>
                        <a:srgbClr val="E7E6E6"/>
                      </a:solidFill>
                      <a:prstDash val="solid"/>
                    </a:lnB>
                  </a:tcPr>
                </a:tc>
                <a:tc>
                  <a:txBody>
                    <a:bodyPr/>
                    <a:lstStyle/>
                    <a:p>
                      <a:pPr marL="97155">
                        <a:lnSpc>
                          <a:spcPct val="100000"/>
                        </a:lnSpc>
                        <a:spcBef>
                          <a:spcPts val="195"/>
                        </a:spcBef>
                      </a:pPr>
                      <a:r>
                        <a:rPr sz="1600" spc="-55" dirty="0">
                          <a:latin typeface="Arial"/>
                          <a:cs typeface="Arial"/>
                        </a:rPr>
                        <a:t>13.0</a:t>
                      </a:r>
                      <a:r>
                        <a:rPr sz="1600" spc="-40" dirty="0">
                          <a:latin typeface="Arial"/>
                          <a:cs typeface="Arial"/>
                        </a:rPr>
                        <a:t> </a:t>
                      </a:r>
                      <a:r>
                        <a:rPr sz="1600" spc="-50" dirty="0">
                          <a:latin typeface="Arial"/>
                          <a:cs typeface="Arial"/>
                        </a:rPr>
                        <a:t>(1-</a:t>
                      </a:r>
                      <a:r>
                        <a:rPr sz="1600" spc="-25" dirty="0">
                          <a:latin typeface="Arial"/>
                          <a:cs typeface="Arial"/>
                        </a:rPr>
                        <a:t>22)</a:t>
                      </a:r>
                      <a:endParaRPr sz="1600">
                        <a:latin typeface="Arial"/>
                        <a:cs typeface="Arial"/>
                      </a:endParaRPr>
                    </a:p>
                  </a:txBody>
                  <a:tcPr marL="0" marR="0" marT="30019" marB="0">
                    <a:lnL w="12700">
                      <a:solidFill>
                        <a:srgbClr val="E7E6E6"/>
                      </a:solidFill>
                      <a:prstDash val="solid"/>
                    </a:lnL>
                    <a:lnR w="12700">
                      <a:solidFill>
                        <a:srgbClr val="E7E6E6"/>
                      </a:solidFill>
                      <a:prstDash val="solid"/>
                    </a:lnR>
                    <a:lnB w="12700">
                      <a:solidFill>
                        <a:srgbClr val="E7E6E6"/>
                      </a:solidFill>
                      <a:prstDash val="solid"/>
                    </a:lnB>
                  </a:tcPr>
                </a:tc>
                <a:extLst>
                  <a:ext uri="{0D108BD9-81ED-4DB2-BD59-A6C34878D82A}">
                    <a16:rowId xmlns:a16="http://schemas.microsoft.com/office/drawing/2014/main" val="10004"/>
                  </a:ext>
                </a:extLst>
              </a:tr>
            </a:tbl>
          </a:graphicData>
        </a:graphic>
      </p:graphicFrame>
      <p:sp>
        <p:nvSpPr>
          <p:cNvPr id="36" name="object 36"/>
          <p:cNvSpPr txBox="1"/>
          <p:nvPr/>
        </p:nvSpPr>
        <p:spPr>
          <a:xfrm>
            <a:off x="5523659" y="2634057"/>
            <a:ext cx="824345" cy="734323"/>
          </a:xfrm>
          <a:prstGeom prst="rect">
            <a:avLst/>
          </a:prstGeom>
        </p:spPr>
        <p:txBody>
          <a:bodyPr vert="horz" wrap="square" lIns="0" tIns="14624" rIns="0" bIns="0" rtlCol="0">
            <a:spAutoFit/>
          </a:bodyPr>
          <a:lstStyle/>
          <a:p>
            <a:pPr marL="15394" marR="6157" lvl="0" indent="55420" algn="just" defTabSz="806867" rtl="0" eaLnBrk="1" fontAlgn="auto" latinLnBrk="0" hangingPunct="1">
              <a:lnSpc>
                <a:spcPct val="101499"/>
              </a:lnSpc>
              <a:spcBef>
                <a:spcPts val="116"/>
              </a:spcBef>
              <a:spcAft>
                <a:spcPts val="0"/>
              </a:spcAft>
              <a:buClrTx/>
              <a:buSzTx/>
              <a:buFontTx/>
              <a:buNone/>
              <a:tabLst/>
              <a:defRPr/>
            </a:pPr>
            <a:r>
              <a:rPr kumimoji="0" sz="1576" b="1" i="0" u="none" strike="noStrike" kern="0" cap="none" spc="-109" normalizeH="0" baseline="0" noProof="0" dirty="0">
                <a:ln>
                  <a:noFill/>
                </a:ln>
                <a:solidFill>
                  <a:sysClr val="windowText" lastClr="000000"/>
                </a:solidFill>
                <a:effectLst/>
                <a:uLnTx/>
                <a:uFillTx/>
                <a:latin typeface="Arial"/>
                <a:ea typeface="+mn-ea"/>
                <a:cs typeface="Arial"/>
              </a:rPr>
              <a:t>Patients</a:t>
            </a:r>
            <a:r>
              <a:rPr kumimoji="0" sz="1576" b="1" i="0" u="none" strike="noStrike" kern="0" cap="none" spc="-79" normalizeH="0" baseline="0" noProof="0" dirty="0">
                <a:ln>
                  <a:noFill/>
                </a:ln>
                <a:solidFill>
                  <a:sysClr val="windowText" lastClr="000000"/>
                </a:solidFill>
                <a:effectLst/>
                <a:uLnTx/>
                <a:uFillTx/>
                <a:latin typeface="Arial"/>
                <a:ea typeface="+mn-ea"/>
                <a:cs typeface="Arial"/>
              </a:rPr>
              <a:t> </a:t>
            </a:r>
            <a:r>
              <a:rPr kumimoji="0" sz="1576" b="1" i="0" u="none" strike="noStrike" kern="0" cap="none" spc="-55" normalizeH="0" baseline="0" noProof="0" dirty="0">
                <a:ln>
                  <a:noFill/>
                </a:ln>
                <a:solidFill>
                  <a:sysClr val="windowText" lastClr="000000"/>
                </a:solidFill>
                <a:effectLst/>
                <a:uLnTx/>
                <a:uFillTx/>
                <a:latin typeface="Arial"/>
                <a:ea typeface="+mn-ea"/>
                <a:cs typeface="Arial"/>
              </a:rPr>
              <a:t>with</a:t>
            </a:r>
            <a:r>
              <a:rPr kumimoji="0" sz="1576" b="1" i="0" u="none" strike="noStrike" kern="0" cap="none" spc="-85" normalizeH="0" baseline="0" noProof="0" dirty="0">
                <a:ln>
                  <a:noFill/>
                </a:ln>
                <a:solidFill>
                  <a:sysClr val="windowText" lastClr="000000"/>
                </a:solidFill>
                <a:effectLst/>
                <a:uLnTx/>
                <a:uFillTx/>
                <a:latin typeface="Arial"/>
                <a:ea typeface="+mn-ea"/>
                <a:cs typeface="Arial"/>
              </a:rPr>
              <a:t> </a:t>
            </a:r>
            <a:r>
              <a:rPr kumimoji="0" sz="1576" b="1" i="0" u="none" strike="noStrike" kern="0" cap="none" spc="-97" normalizeH="0" baseline="0" noProof="0" dirty="0">
                <a:ln>
                  <a:noFill/>
                </a:ln>
                <a:solidFill>
                  <a:sysClr val="windowText" lastClr="000000"/>
                </a:solidFill>
                <a:effectLst/>
                <a:uLnTx/>
                <a:uFillTx/>
                <a:latin typeface="Arial"/>
                <a:ea typeface="+mn-ea"/>
                <a:cs typeface="Arial"/>
              </a:rPr>
              <a:t>a</a:t>
            </a:r>
            <a:r>
              <a:rPr kumimoji="0" sz="1576" b="1" i="0" u="none" strike="noStrike" kern="0" cap="none" spc="-79" normalizeH="0" baseline="0" noProof="0" dirty="0">
                <a:ln>
                  <a:noFill/>
                </a:ln>
                <a:solidFill>
                  <a:sysClr val="windowText" lastClr="000000"/>
                </a:solidFill>
                <a:effectLst/>
                <a:uLnTx/>
                <a:uFillTx/>
                <a:latin typeface="Arial"/>
                <a:ea typeface="+mn-ea"/>
                <a:cs typeface="Arial"/>
              </a:rPr>
              <a:t> </a:t>
            </a:r>
            <a:r>
              <a:rPr kumimoji="0" sz="1576" b="1" i="0" u="none" strike="noStrike" kern="0" cap="none" spc="-278" normalizeH="0" baseline="0" noProof="0" dirty="0">
                <a:ln>
                  <a:noFill/>
                </a:ln>
                <a:solidFill>
                  <a:sysClr val="windowText" lastClr="000000"/>
                </a:solidFill>
                <a:effectLst/>
                <a:uLnTx/>
                <a:uFillTx/>
                <a:latin typeface="Arial"/>
                <a:ea typeface="+mn-ea"/>
                <a:cs typeface="Arial"/>
              </a:rPr>
              <a:t>CR</a:t>
            </a:r>
            <a:r>
              <a:rPr kumimoji="0" sz="1576" b="1" i="0" u="none" strike="noStrike" kern="0" cap="none" spc="-116" normalizeH="0" baseline="0" noProof="0" dirty="0">
                <a:ln>
                  <a:noFill/>
                </a:ln>
                <a:solidFill>
                  <a:sysClr val="windowText" lastClr="000000"/>
                </a:solidFill>
                <a:effectLst/>
                <a:uLnTx/>
                <a:uFillTx/>
                <a:latin typeface="Arial"/>
                <a:ea typeface="+mn-ea"/>
                <a:cs typeface="Arial"/>
              </a:rPr>
              <a:t> </a:t>
            </a:r>
            <a:r>
              <a:rPr kumimoji="0" sz="1576" b="1" i="0" u="none" strike="noStrike" kern="0" cap="none" spc="-79" normalizeH="0" baseline="0" noProof="0" dirty="0">
                <a:ln>
                  <a:noFill/>
                </a:ln>
                <a:solidFill>
                  <a:sysClr val="windowText" lastClr="000000"/>
                </a:solidFill>
                <a:effectLst/>
                <a:uLnTx/>
                <a:uFillTx/>
                <a:latin typeface="Arial"/>
                <a:ea typeface="+mn-ea"/>
                <a:cs typeface="Arial"/>
              </a:rPr>
              <a:t>(n</a:t>
            </a:r>
            <a:r>
              <a:rPr kumimoji="0" sz="1576" b="1" i="0" u="none" strike="noStrike" kern="0" cap="none" spc="-72" normalizeH="0" baseline="0" noProof="0" dirty="0">
                <a:ln>
                  <a:noFill/>
                </a:ln>
                <a:solidFill>
                  <a:sysClr val="windowText" lastClr="000000"/>
                </a:solidFill>
                <a:effectLst/>
                <a:uLnTx/>
                <a:uFillTx/>
                <a:latin typeface="Arial"/>
                <a:ea typeface="+mn-ea"/>
                <a:cs typeface="Arial"/>
              </a:rPr>
              <a:t> </a:t>
            </a:r>
            <a:r>
              <a:rPr kumimoji="0" sz="1576" b="1" i="0" u="none" strike="noStrike" kern="0" cap="none" spc="-133" normalizeH="0" baseline="0" noProof="0" dirty="0">
                <a:ln>
                  <a:noFill/>
                </a:ln>
                <a:solidFill>
                  <a:sysClr val="windowText" lastClr="000000"/>
                </a:solidFill>
                <a:effectLst/>
                <a:uLnTx/>
                <a:uFillTx/>
                <a:latin typeface="Arial"/>
                <a:ea typeface="+mn-ea"/>
                <a:cs typeface="Arial"/>
              </a:rPr>
              <a:t>=</a:t>
            </a:r>
            <a:r>
              <a:rPr kumimoji="0" sz="1576" b="1" i="0" u="none" strike="noStrike" kern="0" cap="none" spc="-72" normalizeH="0" baseline="0" noProof="0" dirty="0">
                <a:ln>
                  <a:noFill/>
                </a:ln>
                <a:solidFill>
                  <a:sysClr val="windowText" lastClr="000000"/>
                </a:solidFill>
                <a:effectLst/>
                <a:uLnTx/>
                <a:uFillTx/>
                <a:latin typeface="Arial"/>
                <a:ea typeface="+mn-ea"/>
                <a:cs typeface="Arial"/>
              </a:rPr>
              <a:t> </a:t>
            </a:r>
            <a:r>
              <a:rPr kumimoji="0" sz="1576" b="1" i="0" u="none" strike="noStrike" kern="0" cap="none" spc="-67" normalizeH="0" baseline="0" noProof="0" dirty="0">
                <a:ln>
                  <a:noFill/>
                </a:ln>
                <a:solidFill>
                  <a:sysClr val="windowText" lastClr="000000"/>
                </a:solidFill>
                <a:effectLst/>
                <a:uLnTx/>
                <a:uFillTx/>
                <a:latin typeface="Arial"/>
                <a:ea typeface="+mn-ea"/>
                <a:cs typeface="Arial"/>
              </a:rPr>
              <a:t>36)</a:t>
            </a:r>
            <a:endParaRPr kumimoji="0" sz="1576"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37" name="object 37"/>
          <p:cNvSpPr txBox="1"/>
          <p:nvPr/>
        </p:nvSpPr>
        <p:spPr>
          <a:xfrm>
            <a:off x="4790285" y="4241184"/>
            <a:ext cx="2506133" cy="445414"/>
          </a:xfrm>
          <a:prstGeom prst="rect">
            <a:avLst/>
          </a:prstGeom>
        </p:spPr>
        <p:txBody>
          <a:bodyPr vert="horz" wrap="square" lIns="0" tIns="16164" rIns="0" bIns="0" rtlCol="0">
            <a:spAutoFit/>
          </a:bodyPr>
          <a:lstStyle/>
          <a:p>
            <a:pPr marL="15394" marR="6157" lvl="0" indent="0" algn="l" defTabSz="806867" rtl="0" eaLnBrk="1" fontAlgn="auto" latinLnBrk="0" hangingPunct="1">
              <a:lnSpc>
                <a:spcPct val="100000"/>
              </a:lnSpc>
              <a:spcBef>
                <a:spcPts val="127"/>
              </a:spcBef>
              <a:spcAft>
                <a:spcPts val="0"/>
              </a:spcAft>
              <a:buClrTx/>
              <a:buSzTx/>
              <a:buFontTx/>
              <a:buNone/>
              <a:tabLst/>
              <a:defRPr/>
            </a:pPr>
            <a:r>
              <a:rPr kumimoji="0" sz="1394" b="0" i="0" u="none" strike="noStrike" kern="0" cap="none" spc="-72" normalizeH="0" baseline="0" noProof="0" dirty="0">
                <a:ln>
                  <a:noFill/>
                </a:ln>
                <a:solidFill>
                  <a:sysClr val="windowText" lastClr="000000"/>
                </a:solidFill>
                <a:effectLst/>
                <a:uLnTx/>
                <a:uFillTx/>
                <a:latin typeface="Arial"/>
                <a:ea typeface="+mn-ea"/>
                <a:cs typeface="Arial"/>
              </a:rPr>
              <a:t>Of </a:t>
            </a:r>
            <a:r>
              <a:rPr kumimoji="0" sz="1394" b="0" i="0" u="none" strike="noStrike" kern="0" cap="none" spc="-24" normalizeH="0" baseline="0" noProof="0" dirty="0">
                <a:ln>
                  <a:noFill/>
                </a:ln>
                <a:solidFill>
                  <a:sysClr val="windowText" lastClr="000000"/>
                </a:solidFill>
                <a:effectLst/>
                <a:uLnTx/>
                <a:uFillTx/>
                <a:latin typeface="Arial"/>
                <a:ea typeface="+mn-ea"/>
                <a:cs typeface="Arial"/>
              </a:rPr>
              <a:t>the</a:t>
            </a:r>
            <a:r>
              <a:rPr kumimoji="0" sz="1394" b="0" i="0" u="none" strike="noStrike" kern="0" cap="none" spc="-61" normalizeH="0" baseline="0" noProof="0" dirty="0">
                <a:ln>
                  <a:noFill/>
                </a:ln>
                <a:solidFill>
                  <a:sysClr val="windowText" lastClr="000000"/>
                </a:solidFill>
                <a:effectLst/>
                <a:uLnTx/>
                <a:uFillTx/>
                <a:latin typeface="Arial"/>
                <a:ea typeface="+mn-ea"/>
                <a:cs typeface="Arial"/>
              </a:rPr>
              <a:t> </a:t>
            </a:r>
            <a:r>
              <a:rPr kumimoji="0" sz="1394" b="0" i="0" u="none" strike="noStrike" kern="0" cap="none" spc="-36" normalizeH="0" baseline="0" noProof="0" dirty="0">
                <a:ln>
                  <a:noFill/>
                </a:ln>
                <a:solidFill>
                  <a:sysClr val="windowText" lastClr="000000"/>
                </a:solidFill>
                <a:effectLst/>
                <a:uLnTx/>
                <a:uFillTx/>
                <a:latin typeface="Arial"/>
                <a:ea typeface="+mn-ea"/>
                <a:cs typeface="Arial"/>
              </a:rPr>
              <a:t>patients </a:t>
            </a:r>
            <a:r>
              <a:rPr kumimoji="0" sz="1394" b="0" i="0" u="none" strike="noStrike" kern="0" cap="none" spc="0" normalizeH="0" baseline="0" noProof="0" dirty="0">
                <a:ln>
                  <a:noFill/>
                </a:ln>
                <a:solidFill>
                  <a:sysClr val="windowText" lastClr="000000"/>
                </a:solidFill>
                <a:effectLst/>
                <a:uLnTx/>
                <a:uFillTx/>
                <a:latin typeface="Arial"/>
                <a:ea typeface="+mn-ea"/>
                <a:cs typeface="Arial"/>
              </a:rPr>
              <a:t>with</a:t>
            </a:r>
            <a:r>
              <a:rPr kumimoji="0" sz="1394" b="0" i="0" u="none" strike="noStrike" kern="0" cap="none" spc="-55" normalizeH="0" baseline="0" noProof="0" dirty="0">
                <a:ln>
                  <a:noFill/>
                </a:ln>
                <a:solidFill>
                  <a:sysClr val="windowText" lastClr="000000"/>
                </a:solidFill>
                <a:effectLst/>
                <a:uLnTx/>
                <a:uFillTx/>
                <a:latin typeface="Arial"/>
                <a:ea typeface="+mn-ea"/>
                <a:cs typeface="Arial"/>
              </a:rPr>
              <a:t> </a:t>
            </a:r>
            <a:r>
              <a:rPr kumimoji="0" sz="1394" b="0" i="0" u="none" strike="noStrike" kern="0" cap="none" spc="-109" normalizeH="0" baseline="0" noProof="0" dirty="0">
                <a:ln>
                  <a:noFill/>
                </a:ln>
                <a:solidFill>
                  <a:sysClr val="windowText" lastClr="000000"/>
                </a:solidFill>
                <a:effectLst/>
                <a:uLnTx/>
                <a:uFillTx/>
                <a:latin typeface="Arial"/>
                <a:ea typeface="+mn-ea"/>
                <a:cs typeface="Arial"/>
              </a:rPr>
              <a:t>a</a:t>
            </a:r>
            <a:r>
              <a:rPr kumimoji="0" sz="1394" b="0" i="0" u="none" strike="noStrike" kern="0" cap="none" spc="-67" normalizeH="0" baseline="0" noProof="0" dirty="0">
                <a:ln>
                  <a:noFill/>
                </a:ln>
                <a:solidFill>
                  <a:sysClr val="windowText" lastClr="000000"/>
                </a:solidFill>
                <a:effectLst/>
                <a:uLnTx/>
                <a:uFillTx/>
                <a:latin typeface="Arial"/>
                <a:ea typeface="+mn-ea"/>
                <a:cs typeface="Arial"/>
              </a:rPr>
              <a:t> </a:t>
            </a:r>
            <a:r>
              <a:rPr kumimoji="0" sz="1394" b="0" i="0" u="none" strike="noStrike" kern="0" cap="none" spc="-194" normalizeH="0" baseline="0" noProof="0" dirty="0">
                <a:ln>
                  <a:noFill/>
                </a:ln>
                <a:solidFill>
                  <a:sysClr val="windowText" lastClr="000000"/>
                </a:solidFill>
                <a:effectLst/>
                <a:uLnTx/>
                <a:uFillTx/>
                <a:latin typeface="Arial"/>
                <a:ea typeface="+mn-ea"/>
                <a:cs typeface="Arial"/>
              </a:rPr>
              <a:t>CR,</a:t>
            </a:r>
            <a:r>
              <a:rPr kumimoji="0" sz="1394" b="0" i="0" u="none" strike="noStrike" kern="0" cap="none" spc="-61" normalizeH="0" baseline="0" noProof="0" dirty="0">
                <a:ln>
                  <a:noFill/>
                </a:ln>
                <a:solidFill>
                  <a:sysClr val="windowText" lastClr="000000"/>
                </a:solidFill>
                <a:effectLst/>
                <a:uLnTx/>
                <a:uFillTx/>
                <a:latin typeface="Arial"/>
                <a:ea typeface="+mn-ea"/>
                <a:cs typeface="Arial"/>
              </a:rPr>
              <a:t> </a:t>
            </a:r>
            <a:r>
              <a:rPr kumimoji="0" sz="1394" b="1" i="0" u="none" strike="noStrike" kern="0" cap="none" spc="-121" normalizeH="0" baseline="0" noProof="0" dirty="0">
                <a:ln>
                  <a:noFill/>
                </a:ln>
                <a:solidFill>
                  <a:srgbClr val="7E7E7E"/>
                </a:solidFill>
                <a:effectLst/>
                <a:uLnTx/>
                <a:uFillTx/>
                <a:latin typeface="Arial"/>
                <a:ea typeface="+mn-ea"/>
                <a:cs typeface="Arial"/>
              </a:rPr>
              <a:t>44%</a:t>
            </a:r>
            <a:r>
              <a:rPr kumimoji="0" sz="1394" b="1" i="0" u="none" strike="noStrike" kern="0" cap="none" spc="-61" normalizeH="0" baseline="0" noProof="0" dirty="0">
                <a:ln>
                  <a:noFill/>
                </a:ln>
                <a:solidFill>
                  <a:srgbClr val="7E7E7E"/>
                </a:solidFill>
                <a:effectLst/>
                <a:uLnTx/>
                <a:uFillTx/>
                <a:latin typeface="Arial"/>
                <a:ea typeface="+mn-ea"/>
                <a:cs typeface="Arial"/>
              </a:rPr>
              <a:t> </a:t>
            </a:r>
            <a:r>
              <a:rPr kumimoji="0" sz="1394" b="1" i="0" u="none" strike="noStrike" kern="0" cap="none" spc="-36" normalizeH="0" baseline="0" noProof="0" dirty="0">
                <a:ln>
                  <a:noFill/>
                </a:ln>
                <a:solidFill>
                  <a:srgbClr val="7E7E7E"/>
                </a:solidFill>
                <a:effectLst/>
                <a:uLnTx/>
                <a:uFillTx/>
                <a:latin typeface="Arial"/>
                <a:ea typeface="+mn-ea"/>
                <a:cs typeface="Arial"/>
              </a:rPr>
              <a:t>(16 </a:t>
            </a:r>
            <a:r>
              <a:rPr kumimoji="0" sz="1394" b="1" i="0" u="none" strike="noStrike" kern="0" cap="none" spc="-72" normalizeH="0" baseline="0" noProof="0" dirty="0">
                <a:ln>
                  <a:noFill/>
                </a:ln>
                <a:solidFill>
                  <a:srgbClr val="7E7E7E"/>
                </a:solidFill>
                <a:effectLst/>
                <a:uLnTx/>
                <a:uFillTx/>
                <a:latin typeface="Arial"/>
                <a:ea typeface="+mn-ea"/>
                <a:cs typeface="Arial"/>
              </a:rPr>
              <a:t>of</a:t>
            </a:r>
            <a:r>
              <a:rPr kumimoji="0" sz="1394" b="1" i="0" u="none" strike="noStrike" kern="0" cap="none" spc="-67" normalizeH="0" baseline="0" noProof="0" dirty="0">
                <a:ln>
                  <a:noFill/>
                </a:ln>
                <a:solidFill>
                  <a:srgbClr val="7E7E7E"/>
                </a:solidFill>
                <a:effectLst/>
                <a:uLnTx/>
                <a:uFillTx/>
                <a:latin typeface="Arial"/>
                <a:ea typeface="+mn-ea"/>
                <a:cs typeface="Arial"/>
              </a:rPr>
              <a:t> </a:t>
            </a:r>
            <a:r>
              <a:rPr kumimoji="0" sz="1394" b="1" i="0" u="none" strike="noStrike" kern="0" cap="none" spc="-55" normalizeH="0" baseline="0" noProof="0" dirty="0">
                <a:ln>
                  <a:noFill/>
                </a:ln>
                <a:solidFill>
                  <a:srgbClr val="7E7E7E"/>
                </a:solidFill>
                <a:effectLst/>
                <a:uLnTx/>
                <a:uFillTx/>
                <a:latin typeface="Arial"/>
                <a:ea typeface="+mn-ea"/>
                <a:cs typeface="Arial"/>
              </a:rPr>
              <a:t>36) </a:t>
            </a:r>
            <a:r>
              <a:rPr kumimoji="0" sz="1394" b="0" i="0" u="none" strike="noStrike" kern="0" cap="none" spc="-49" normalizeH="0" baseline="0" noProof="0" dirty="0">
                <a:ln>
                  <a:noFill/>
                </a:ln>
                <a:solidFill>
                  <a:sysClr val="windowText" lastClr="000000"/>
                </a:solidFill>
                <a:effectLst/>
                <a:uLnTx/>
                <a:uFillTx/>
                <a:latin typeface="Arial"/>
                <a:ea typeface="+mn-ea"/>
                <a:cs typeface="Arial"/>
              </a:rPr>
              <a:t>were event-</a:t>
            </a:r>
            <a:r>
              <a:rPr kumimoji="0" sz="1394" b="0" i="0" u="none" strike="noStrike" kern="0" cap="none" spc="-55" normalizeH="0" baseline="0" noProof="0" dirty="0">
                <a:ln>
                  <a:noFill/>
                </a:ln>
                <a:solidFill>
                  <a:sysClr val="windowText" lastClr="000000"/>
                </a:solidFill>
                <a:effectLst/>
                <a:uLnTx/>
                <a:uFillTx/>
                <a:latin typeface="Arial"/>
                <a:ea typeface="+mn-ea"/>
                <a:cs typeface="Arial"/>
              </a:rPr>
              <a:t>free</a:t>
            </a:r>
            <a:r>
              <a:rPr kumimoji="0" sz="1394" b="0" i="0" u="none" strike="noStrike" kern="0" cap="none" spc="-30" normalizeH="0" baseline="0" noProof="0" dirty="0">
                <a:ln>
                  <a:noFill/>
                </a:ln>
                <a:solidFill>
                  <a:sysClr val="windowText" lastClr="000000"/>
                </a:solidFill>
                <a:effectLst/>
                <a:uLnTx/>
                <a:uFillTx/>
                <a:latin typeface="Arial"/>
                <a:ea typeface="+mn-ea"/>
                <a:cs typeface="Arial"/>
              </a:rPr>
              <a:t> </a:t>
            </a:r>
            <a:r>
              <a:rPr kumimoji="0" sz="1394" b="0" i="0" u="none" strike="noStrike" kern="0" cap="none" spc="-12" normalizeH="0" baseline="0" noProof="0" dirty="0">
                <a:ln>
                  <a:noFill/>
                </a:ln>
                <a:solidFill>
                  <a:sysClr val="windowText" lastClr="000000"/>
                </a:solidFill>
                <a:effectLst/>
                <a:uLnTx/>
                <a:uFillTx/>
                <a:latin typeface="Arial"/>
                <a:ea typeface="+mn-ea"/>
                <a:cs typeface="Arial"/>
              </a:rPr>
              <a:t>for</a:t>
            </a:r>
            <a:r>
              <a:rPr kumimoji="0" sz="1394" b="0" i="0" u="none" strike="noStrike" kern="0" cap="none" spc="-61" normalizeH="0" baseline="0" noProof="0" dirty="0">
                <a:ln>
                  <a:noFill/>
                </a:ln>
                <a:solidFill>
                  <a:sysClr val="windowText" lastClr="000000"/>
                </a:solidFill>
                <a:effectLst/>
                <a:uLnTx/>
                <a:uFillTx/>
                <a:latin typeface="Arial"/>
                <a:ea typeface="+mn-ea"/>
                <a:cs typeface="Arial"/>
              </a:rPr>
              <a:t> </a:t>
            </a:r>
            <a:r>
              <a:rPr kumimoji="0" sz="1394" b="0" i="0" u="none" strike="noStrike" kern="0" cap="none" spc="-72" normalizeH="0" baseline="0" noProof="0" dirty="0">
                <a:ln>
                  <a:noFill/>
                </a:ln>
                <a:solidFill>
                  <a:sysClr val="windowText" lastClr="000000"/>
                </a:solidFill>
                <a:effectLst/>
                <a:uLnTx/>
                <a:uFillTx/>
                <a:latin typeface="Arial"/>
                <a:ea typeface="+mn-ea"/>
                <a:cs typeface="Arial"/>
              </a:rPr>
              <a:t>≥1</a:t>
            </a:r>
            <a:r>
              <a:rPr kumimoji="0" sz="1394" b="0" i="0" u="none" strike="noStrike" kern="0" cap="none" spc="-49" normalizeH="0" baseline="0" noProof="0" dirty="0">
                <a:ln>
                  <a:noFill/>
                </a:ln>
                <a:solidFill>
                  <a:sysClr val="windowText" lastClr="000000"/>
                </a:solidFill>
                <a:effectLst/>
                <a:uLnTx/>
                <a:uFillTx/>
                <a:latin typeface="Arial"/>
                <a:ea typeface="+mn-ea"/>
                <a:cs typeface="Arial"/>
              </a:rPr>
              <a:t> </a:t>
            </a:r>
            <a:r>
              <a:rPr kumimoji="0" sz="1394" b="0" i="0" u="none" strike="noStrike" kern="0" cap="none" spc="-72" normalizeH="0" baseline="0" noProof="0" dirty="0">
                <a:ln>
                  <a:noFill/>
                </a:ln>
                <a:solidFill>
                  <a:sysClr val="windowText" lastClr="000000"/>
                </a:solidFill>
                <a:effectLst/>
                <a:uLnTx/>
                <a:uFillTx/>
                <a:latin typeface="Arial"/>
                <a:ea typeface="+mn-ea"/>
                <a:cs typeface="Arial"/>
              </a:rPr>
              <a:t>year.</a:t>
            </a:r>
            <a:endParaRPr kumimoji="0" sz="1394"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38" name="Rectangle 1">
            <a:extLst>
              <a:ext uri="{FF2B5EF4-FFF2-40B4-BE49-F238E27FC236}">
                <a16:creationId xmlns:a16="http://schemas.microsoft.com/office/drawing/2014/main" id="{CC353F69-8188-3F48-E6BC-D08263CD0757}"/>
              </a:ext>
            </a:extLst>
          </p:cNvPr>
          <p:cNvSpPr>
            <a:spLocks noChangeArrowheads="1"/>
          </p:cNvSpPr>
          <p:nvPr/>
        </p:nvSpPr>
        <p:spPr bwMode="auto">
          <a:xfrm>
            <a:off x="8303836" y="6612720"/>
            <a:ext cx="3732828" cy="2353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0682" tIns="40341" rIns="80682" bIns="40341" numCol="1" anchor="ctr"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06867" rtl="0" eaLnBrk="0" fontAlgn="base" latinLnBrk="0" hangingPunct="0">
              <a:lnSpc>
                <a:spcPct val="100000"/>
              </a:lnSpc>
              <a:spcBef>
                <a:spcPct val="0"/>
              </a:spcBef>
              <a:spcAft>
                <a:spcPct val="0"/>
              </a:spcAft>
              <a:buClrTx/>
              <a:buSzTx/>
              <a:buFontTx/>
              <a:buNone/>
              <a:tabLst/>
              <a:defRPr/>
            </a:pPr>
            <a:r>
              <a:rPr kumimoji="0" lang="en-US" altLang="en-US" sz="1000" b="0" i="0" u="none" strike="noStrike" kern="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Caimi PF, et al. </a:t>
            </a:r>
            <a:r>
              <a:rPr kumimoji="0" lang="en-US" altLang="en-US" sz="1000" b="0" i="0" u="none" strike="noStrike" kern="0" cap="none" spc="0" normalizeH="0" baseline="0" noProof="0" dirty="0" err="1">
                <a:ln>
                  <a:noFill/>
                </a:ln>
                <a:solidFill>
                  <a:srgbClr val="212121"/>
                </a:solidFill>
                <a:effectLst/>
                <a:uLnTx/>
                <a:uFillTx/>
                <a:latin typeface="Arial" panose="020B0604020202020204" pitchFamily="34" charset="0"/>
                <a:ea typeface="+mn-ea"/>
                <a:cs typeface="Arial" panose="020B0604020202020204" pitchFamily="34" charset="0"/>
              </a:rPr>
              <a:t>Haematologica</a:t>
            </a:r>
            <a:r>
              <a:rPr kumimoji="0" lang="en-US" altLang="en-US" sz="1000" b="0" i="0" u="none" strike="noStrike" kern="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 2024 Apr 1;109(4):1184-1193. </a:t>
            </a:r>
            <a:endParaRPr kumimoji="0" lang="en-US" altLang="en-US" sz="1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9" name="TextBox 38">
            <a:extLst>
              <a:ext uri="{FF2B5EF4-FFF2-40B4-BE49-F238E27FC236}">
                <a16:creationId xmlns:a16="http://schemas.microsoft.com/office/drawing/2014/main" id="{5EA81EB0-2060-63E0-20F4-F965CE95493A}"/>
              </a:ext>
            </a:extLst>
          </p:cNvPr>
          <p:cNvSpPr txBox="1"/>
          <p:nvPr/>
        </p:nvSpPr>
        <p:spPr>
          <a:xfrm>
            <a:off x="1027354" y="342898"/>
            <a:ext cx="10268388" cy="107721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a:ea typeface="+mn-ea"/>
                <a:cs typeface="+mn-cs"/>
              </a:rPr>
              <a:t>Overall Response Rate and Long-term Responses Observed </a:t>
            </a:r>
            <a:br>
              <a:rPr kumimoji="0" lang="en-US" sz="3200" b="1" i="0" u="none" strike="noStrike" kern="1200" cap="none" spc="0" normalizeH="0" baseline="0" noProof="0" dirty="0">
                <a:ln>
                  <a:noFill/>
                </a:ln>
                <a:solidFill>
                  <a:srgbClr val="002060"/>
                </a:solidFill>
                <a:effectLst/>
                <a:uLnTx/>
                <a:uFillTx/>
                <a:latin typeface="Calibri"/>
                <a:ea typeface="+mn-ea"/>
                <a:cs typeface="+mn-cs"/>
              </a:rPr>
            </a:br>
            <a:r>
              <a:rPr kumimoji="0" lang="en-US" sz="3200" b="1" i="0" u="none" strike="noStrike" kern="1200" cap="none" spc="0" normalizeH="0" baseline="0" noProof="0" dirty="0">
                <a:ln>
                  <a:noFill/>
                </a:ln>
                <a:solidFill>
                  <a:srgbClr val="002060"/>
                </a:solidFill>
                <a:effectLst/>
                <a:uLnTx/>
                <a:uFillTx/>
                <a:latin typeface="Calibri"/>
                <a:ea typeface="+mn-ea"/>
                <a:cs typeface="+mn-cs"/>
              </a:rPr>
              <a:t>in the All-Treated Population</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940262" y="1645738"/>
            <a:ext cx="10515600" cy="4390842"/>
            <a:chOff x="775716" y="2415008"/>
            <a:chExt cx="8675370" cy="3622445"/>
          </a:xfrm>
        </p:grpSpPr>
        <p:pic>
          <p:nvPicPr>
            <p:cNvPr id="3" name="object 3"/>
            <p:cNvPicPr/>
            <p:nvPr/>
          </p:nvPicPr>
          <p:blipFill>
            <a:blip r:embed="rId2" cstate="print">
              <a:extLst>
                <a:ext uri="{BEBA8EAE-BF5A-486C-A8C5-ECC9F3942E4B}">
                  <a14:imgProps xmlns:a14="http://schemas.microsoft.com/office/drawing/2010/main">
                    <a14:imgLayer r:embed="rId3">
                      <a14:imgEffect>
                        <a14:sharpenSoften amount="40000"/>
                      </a14:imgEffect>
                    </a14:imgLayer>
                  </a14:imgProps>
                </a:ext>
              </a:extLst>
            </a:blip>
            <a:stretch>
              <a:fillRect/>
            </a:stretch>
          </p:blipFill>
          <p:spPr>
            <a:xfrm>
              <a:off x="836911" y="2415008"/>
              <a:ext cx="7975865" cy="3311392"/>
            </a:xfrm>
            <a:prstGeom prst="rect">
              <a:avLst/>
            </a:prstGeom>
          </p:spPr>
        </p:pic>
        <p:sp>
          <p:nvSpPr>
            <p:cNvPr id="4" name="object 4"/>
            <p:cNvSpPr/>
            <p:nvPr/>
          </p:nvSpPr>
          <p:spPr>
            <a:xfrm>
              <a:off x="775716" y="5763767"/>
              <a:ext cx="8675370" cy="273685"/>
            </a:xfrm>
            <a:custGeom>
              <a:avLst/>
              <a:gdLst/>
              <a:ahLst/>
              <a:cxnLst/>
              <a:rect l="l" t="t" r="r" b="b"/>
              <a:pathLst>
                <a:path w="8675370" h="273685">
                  <a:moveTo>
                    <a:pt x="8675370" y="227838"/>
                  </a:moveTo>
                  <a:lnTo>
                    <a:pt x="8675370" y="45720"/>
                  </a:lnTo>
                  <a:lnTo>
                    <a:pt x="8671762" y="27967"/>
                  </a:lnTo>
                  <a:lnTo>
                    <a:pt x="8661939" y="13430"/>
                  </a:lnTo>
                  <a:lnTo>
                    <a:pt x="8647402" y="3607"/>
                  </a:lnTo>
                  <a:lnTo>
                    <a:pt x="8629650" y="0"/>
                  </a:lnTo>
                  <a:lnTo>
                    <a:pt x="44958" y="0"/>
                  </a:lnTo>
                  <a:lnTo>
                    <a:pt x="27324" y="3607"/>
                  </a:lnTo>
                  <a:lnTo>
                    <a:pt x="13049" y="13430"/>
                  </a:lnTo>
                  <a:lnTo>
                    <a:pt x="3488" y="27967"/>
                  </a:lnTo>
                  <a:lnTo>
                    <a:pt x="0" y="45720"/>
                  </a:lnTo>
                  <a:lnTo>
                    <a:pt x="0" y="227838"/>
                  </a:lnTo>
                  <a:lnTo>
                    <a:pt x="3488" y="245590"/>
                  </a:lnTo>
                  <a:lnTo>
                    <a:pt x="13049" y="260127"/>
                  </a:lnTo>
                  <a:lnTo>
                    <a:pt x="27324" y="269950"/>
                  </a:lnTo>
                  <a:lnTo>
                    <a:pt x="44958" y="273558"/>
                  </a:lnTo>
                  <a:lnTo>
                    <a:pt x="8629650" y="273558"/>
                  </a:lnTo>
                  <a:lnTo>
                    <a:pt x="8647402" y="269950"/>
                  </a:lnTo>
                  <a:lnTo>
                    <a:pt x="8661939" y="260127"/>
                  </a:lnTo>
                  <a:lnTo>
                    <a:pt x="8671762" y="245590"/>
                  </a:lnTo>
                  <a:lnTo>
                    <a:pt x="8675370" y="227838"/>
                  </a:lnTo>
                  <a:close/>
                </a:path>
              </a:pathLst>
            </a:custGeom>
            <a:solidFill>
              <a:srgbClr val="ED7D31"/>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5" name="object 5"/>
          <p:cNvSpPr txBox="1"/>
          <p:nvPr/>
        </p:nvSpPr>
        <p:spPr>
          <a:xfrm>
            <a:off x="899007" y="5739324"/>
            <a:ext cx="10745740" cy="699793"/>
          </a:xfrm>
          <a:prstGeom prst="rect">
            <a:avLst/>
          </a:prstGeom>
        </p:spPr>
        <p:txBody>
          <a:bodyPr vert="horz" wrap="square" lIns="0" tIns="17702" rIns="0" bIns="0" rtlCol="0">
            <a:spAutoFit/>
          </a:bodyPr>
          <a:lstStyle/>
          <a:p>
            <a:pPr marL="718916" marR="0" lvl="0" indent="0" algn="l" defTabSz="806867" rtl="0" eaLnBrk="1" fontAlgn="auto" latinLnBrk="0" hangingPunct="1">
              <a:lnSpc>
                <a:spcPct val="100000"/>
              </a:lnSpc>
              <a:spcBef>
                <a:spcPts val="139"/>
              </a:spcBef>
              <a:spcAft>
                <a:spcPts val="0"/>
              </a:spcAft>
              <a:buClrTx/>
              <a:buSzTx/>
              <a:buFontTx/>
              <a:buNone/>
              <a:tabLst/>
              <a:defRPr/>
            </a:pPr>
            <a:r>
              <a:rPr kumimoji="0" sz="1333" b="0" i="0" u="none" strike="noStrike" kern="0" cap="none" spc="-103" normalizeH="0" baseline="0" noProof="0" dirty="0">
                <a:ln>
                  <a:noFill/>
                </a:ln>
                <a:solidFill>
                  <a:srgbClr val="FFFFFF"/>
                </a:solidFill>
                <a:effectLst/>
                <a:uLnTx/>
                <a:uFillTx/>
                <a:latin typeface="Arial"/>
                <a:ea typeface="+mn-ea"/>
                <a:cs typeface="Arial"/>
              </a:rPr>
              <a:t>The</a:t>
            </a:r>
            <a:r>
              <a:rPr kumimoji="0" sz="1333" b="0" i="0" u="none" strike="noStrike" kern="0" cap="none" spc="-36" normalizeH="0" baseline="0" noProof="0" dirty="0">
                <a:ln>
                  <a:noFill/>
                </a:ln>
                <a:solidFill>
                  <a:srgbClr val="FFFFFF"/>
                </a:solidFill>
                <a:effectLst/>
                <a:uLnTx/>
                <a:uFillTx/>
                <a:latin typeface="Arial"/>
                <a:ea typeface="+mn-ea"/>
                <a:cs typeface="Arial"/>
              </a:rPr>
              <a:t> </a:t>
            </a:r>
            <a:r>
              <a:rPr kumimoji="0" sz="1333" b="0" i="0" u="none" strike="noStrike" kern="0" cap="none" spc="-55" normalizeH="0" baseline="0" noProof="0" dirty="0">
                <a:ln>
                  <a:noFill/>
                </a:ln>
                <a:solidFill>
                  <a:srgbClr val="FFFFFF"/>
                </a:solidFill>
                <a:effectLst/>
                <a:uLnTx/>
                <a:uFillTx/>
                <a:latin typeface="Arial"/>
                <a:ea typeface="+mn-ea"/>
                <a:cs typeface="Arial"/>
              </a:rPr>
              <a:t>median </a:t>
            </a:r>
            <a:r>
              <a:rPr kumimoji="0" sz="1333" b="0" i="0" u="none" strike="noStrike" kern="0" cap="none" spc="-61" normalizeH="0" baseline="0" noProof="0" dirty="0">
                <a:ln>
                  <a:noFill/>
                </a:ln>
                <a:solidFill>
                  <a:srgbClr val="FFFFFF"/>
                </a:solidFill>
                <a:effectLst/>
                <a:uLnTx/>
                <a:uFillTx/>
                <a:latin typeface="Arial"/>
                <a:ea typeface="+mn-ea"/>
                <a:cs typeface="Arial"/>
              </a:rPr>
              <a:t>(range)</a:t>
            </a:r>
            <a:r>
              <a:rPr kumimoji="0" sz="1333" b="0" i="0" u="none" strike="noStrike" kern="0" cap="none" spc="-19" normalizeH="0" baseline="0" noProof="0" dirty="0">
                <a:ln>
                  <a:noFill/>
                </a:ln>
                <a:solidFill>
                  <a:srgbClr val="FFFFFF"/>
                </a:solidFill>
                <a:effectLst/>
                <a:uLnTx/>
                <a:uFillTx/>
                <a:latin typeface="Arial"/>
                <a:ea typeface="+mn-ea"/>
                <a:cs typeface="Arial"/>
              </a:rPr>
              <a:t> </a:t>
            </a:r>
            <a:r>
              <a:rPr kumimoji="0" sz="1333" b="0" i="0" u="none" strike="noStrike" kern="0" cap="none" spc="-12" normalizeH="0" baseline="0" noProof="0" dirty="0">
                <a:ln>
                  <a:noFill/>
                </a:ln>
                <a:solidFill>
                  <a:srgbClr val="FFFFFF"/>
                </a:solidFill>
                <a:effectLst/>
                <a:uLnTx/>
                <a:uFillTx/>
                <a:latin typeface="Arial"/>
                <a:ea typeface="+mn-ea"/>
                <a:cs typeface="Arial"/>
              </a:rPr>
              <a:t>time</a:t>
            </a:r>
            <a:r>
              <a:rPr kumimoji="0" sz="1333" b="0" i="0" u="none" strike="noStrike" kern="0" cap="none" spc="-49" normalizeH="0" baseline="0" noProof="0" dirty="0">
                <a:ln>
                  <a:noFill/>
                </a:ln>
                <a:solidFill>
                  <a:srgbClr val="FFFFFF"/>
                </a:solidFill>
                <a:effectLst/>
                <a:uLnTx/>
                <a:uFillTx/>
                <a:latin typeface="Arial"/>
                <a:ea typeface="+mn-ea"/>
                <a:cs typeface="Arial"/>
              </a:rPr>
              <a:t> </a:t>
            </a:r>
            <a:r>
              <a:rPr kumimoji="0" sz="1333" b="0" i="0" u="none" strike="noStrike" kern="0" cap="none" spc="0" normalizeH="0" baseline="0" noProof="0" dirty="0">
                <a:ln>
                  <a:noFill/>
                </a:ln>
                <a:solidFill>
                  <a:srgbClr val="FFFFFF"/>
                </a:solidFill>
                <a:effectLst/>
                <a:uLnTx/>
                <a:uFillTx/>
                <a:latin typeface="Arial"/>
                <a:ea typeface="+mn-ea"/>
                <a:cs typeface="Arial"/>
              </a:rPr>
              <a:t>to</a:t>
            </a:r>
            <a:r>
              <a:rPr kumimoji="0" sz="1333" b="0" i="0" u="none" strike="noStrike" kern="0" cap="none" spc="-36" normalizeH="0" baseline="0" noProof="0" dirty="0">
                <a:ln>
                  <a:noFill/>
                </a:ln>
                <a:solidFill>
                  <a:srgbClr val="FFFFFF"/>
                </a:solidFill>
                <a:effectLst/>
                <a:uLnTx/>
                <a:uFillTx/>
                <a:latin typeface="Arial"/>
                <a:ea typeface="+mn-ea"/>
                <a:cs typeface="Arial"/>
              </a:rPr>
              <a:t> </a:t>
            </a:r>
            <a:r>
              <a:rPr kumimoji="0" sz="1333" b="0" i="0" u="none" strike="noStrike" kern="0" cap="none" spc="-72" normalizeH="0" baseline="0" noProof="0" dirty="0">
                <a:ln>
                  <a:noFill/>
                </a:ln>
                <a:solidFill>
                  <a:srgbClr val="FFFFFF"/>
                </a:solidFill>
                <a:effectLst/>
                <a:uLnTx/>
                <a:uFillTx/>
                <a:latin typeface="Arial"/>
                <a:ea typeface="+mn-ea"/>
                <a:cs typeface="Arial"/>
              </a:rPr>
              <a:t>response</a:t>
            </a:r>
            <a:r>
              <a:rPr kumimoji="0" sz="1333" b="0" i="0" u="none" strike="noStrike" kern="0" cap="none" spc="-61" normalizeH="0" baseline="0" noProof="0" dirty="0">
                <a:ln>
                  <a:noFill/>
                </a:ln>
                <a:solidFill>
                  <a:srgbClr val="FFFFFF"/>
                </a:solidFill>
                <a:effectLst/>
                <a:uLnTx/>
                <a:uFillTx/>
                <a:latin typeface="Arial"/>
                <a:ea typeface="+mn-ea"/>
                <a:cs typeface="Arial"/>
              </a:rPr>
              <a:t> </a:t>
            </a:r>
            <a:r>
              <a:rPr kumimoji="0" sz="1333" b="0" i="0" u="none" strike="noStrike" kern="0" cap="none" spc="-97" normalizeH="0" baseline="0" noProof="0" dirty="0">
                <a:ln>
                  <a:noFill/>
                </a:ln>
                <a:solidFill>
                  <a:srgbClr val="FFFFFF"/>
                </a:solidFill>
                <a:effectLst/>
                <a:uLnTx/>
                <a:uFillTx/>
                <a:latin typeface="Arial"/>
                <a:ea typeface="+mn-ea"/>
                <a:cs typeface="Arial"/>
              </a:rPr>
              <a:t>was</a:t>
            </a:r>
            <a:r>
              <a:rPr kumimoji="0" sz="1333" b="0" i="0" u="none" strike="noStrike" kern="0" cap="none" spc="-49" normalizeH="0" baseline="0" noProof="0" dirty="0">
                <a:ln>
                  <a:noFill/>
                </a:ln>
                <a:solidFill>
                  <a:srgbClr val="FFFFFF"/>
                </a:solidFill>
                <a:effectLst/>
                <a:uLnTx/>
                <a:uFillTx/>
                <a:latin typeface="Arial"/>
                <a:ea typeface="+mn-ea"/>
                <a:cs typeface="Arial"/>
              </a:rPr>
              <a:t> </a:t>
            </a:r>
            <a:r>
              <a:rPr kumimoji="0" sz="1333" b="0" i="0" u="none" strike="noStrike" kern="0" cap="none" spc="-72" normalizeH="0" baseline="0" noProof="0" dirty="0">
                <a:ln>
                  <a:noFill/>
                </a:ln>
                <a:solidFill>
                  <a:srgbClr val="FFFFFF"/>
                </a:solidFill>
                <a:effectLst/>
                <a:uLnTx/>
                <a:uFillTx/>
                <a:latin typeface="Arial"/>
                <a:ea typeface="+mn-ea"/>
                <a:cs typeface="Arial"/>
              </a:rPr>
              <a:t>41</a:t>
            </a:r>
            <a:r>
              <a:rPr kumimoji="0" sz="1333" b="0" i="0" u="none" strike="noStrike" kern="0" cap="none" spc="-36" normalizeH="0" baseline="0" noProof="0" dirty="0">
                <a:ln>
                  <a:noFill/>
                </a:ln>
                <a:solidFill>
                  <a:srgbClr val="FFFFFF"/>
                </a:solidFill>
                <a:effectLst/>
                <a:uLnTx/>
                <a:uFillTx/>
                <a:latin typeface="Arial"/>
                <a:ea typeface="+mn-ea"/>
                <a:cs typeface="Arial"/>
              </a:rPr>
              <a:t> </a:t>
            </a:r>
            <a:r>
              <a:rPr kumimoji="0" sz="1333" b="0" i="0" u="none" strike="noStrike" kern="0" cap="none" spc="-61" normalizeH="0" baseline="0" noProof="0" dirty="0">
                <a:ln>
                  <a:noFill/>
                </a:ln>
                <a:solidFill>
                  <a:srgbClr val="FFFFFF"/>
                </a:solidFill>
                <a:effectLst/>
                <a:uLnTx/>
                <a:uFillTx/>
                <a:latin typeface="Arial"/>
                <a:ea typeface="+mn-ea"/>
                <a:cs typeface="Arial"/>
              </a:rPr>
              <a:t>(35-</a:t>
            </a:r>
            <a:r>
              <a:rPr kumimoji="0" sz="1333" b="0" i="0" u="none" strike="noStrike" kern="0" cap="none" spc="-67" normalizeH="0" baseline="0" noProof="0" dirty="0">
                <a:ln>
                  <a:noFill/>
                </a:ln>
                <a:solidFill>
                  <a:srgbClr val="FFFFFF"/>
                </a:solidFill>
                <a:effectLst/>
                <a:uLnTx/>
                <a:uFillTx/>
                <a:latin typeface="Arial"/>
                <a:ea typeface="+mn-ea"/>
                <a:cs typeface="Arial"/>
              </a:rPr>
              <a:t>247)</a:t>
            </a:r>
            <a:r>
              <a:rPr kumimoji="0" sz="1333" b="0" i="0" u="none" strike="noStrike" kern="0" cap="none" spc="-12" normalizeH="0" baseline="0" noProof="0" dirty="0">
                <a:ln>
                  <a:noFill/>
                </a:ln>
                <a:solidFill>
                  <a:srgbClr val="FFFFFF"/>
                </a:solidFill>
                <a:effectLst/>
                <a:uLnTx/>
                <a:uFillTx/>
                <a:latin typeface="Arial"/>
                <a:ea typeface="+mn-ea"/>
                <a:cs typeface="Arial"/>
              </a:rPr>
              <a:t> </a:t>
            </a:r>
            <a:r>
              <a:rPr kumimoji="0" sz="1333" b="0" i="0" u="none" strike="noStrike" kern="0" cap="none" spc="-97" normalizeH="0" baseline="0" noProof="0" dirty="0">
                <a:ln>
                  <a:noFill/>
                </a:ln>
                <a:solidFill>
                  <a:srgbClr val="FFFFFF"/>
                </a:solidFill>
                <a:effectLst/>
                <a:uLnTx/>
                <a:uFillTx/>
                <a:latin typeface="Arial"/>
                <a:ea typeface="+mn-ea"/>
                <a:cs typeface="Arial"/>
              </a:rPr>
              <a:t>days</a:t>
            </a:r>
            <a:r>
              <a:rPr kumimoji="0" sz="1333" b="0" i="0" u="none" strike="noStrike" kern="0" cap="none" spc="-36" normalizeH="0" baseline="0" noProof="0" dirty="0">
                <a:ln>
                  <a:noFill/>
                </a:ln>
                <a:solidFill>
                  <a:srgbClr val="FFFFFF"/>
                </a:solidFill>
                <a:effectLst/>
                <a:uLnTx/>
                <a:uFillTx/>
                <a:latin typeface="Arial"/>
                <a:ea typeface="+mn-ea"/>
                <a:cs typeface="Arial"/>
              </a:rPr>
              <a:t> </a:t>
            </a:r>
            <a:r>
              <a:rPr kumimoji="0" sz="1333" b="0" i="0" u="none" strike="noStrike" kern="0" cap="none" spc="-24" normalizeH="0" baseline="0" noProof="0" dirty="0">
                <a:ln>
                  <a:noFill/>
                </a:ln>
                <a:solidFill>
                  <a:srgbClr val="FFFFFF"/>
                </a:solidFill>
                <a:effectLst/>
                <a:uLnTx/>
                <a:uFillTx/>
                <a:latin typeface="Arial"/>
                <a:ea typeface="+mn-ea"/>
                <a:cs typeface="Arial"/>
              </a:rPr>
              <a:t>in</a:t>
            </a:r>
            <a:r>
              <a:rPr kumimoji="0" sz="1333" b="0" i="0" u="none" strike="noStrike" kern="0" cap="none" spc="-30" normalizeH="0" baseline="0" noProof="0" dirty="0">
                <a:ln>
                  <a:noFill/>
                </a:ln>
                <a:solidFill>
                  <a:srgbClr val="FFFFFF"/>
                </a:solidFill>
                <a:effectLst/>
                <a:uLnTx/>
                <a:uFillTx/>
                <a:latin typeface="Arial"/>
                <a:ea typeface="+mn-ea"/>
                <a:cs typeface="Arial"/>
              </a:rPr>
              <a:t> </a:t>
            </a:r>
            <a:r>
              <a:rPr kumimoji="0" sz="1333" b="0" i="0" u="none" strike="noStrike" kern="0" cap="none" spc="-12" normalizeH="0" baseline="0" noProof="0" dirty="0">
                <a:ln>
                  <a:noFill/>
                </a:ln>
                <a:solidFill>
                  <a:srgbClr val="FFFFFF"/>
                </a:solidFill>
                <a:effectLst/>
                <a:uLnTx/>
                <a:uFillTx/>
                <a:latin typeface="Arial"/>
                <a:ea typeface="+mn-ea"/>
                <a:cs typeface="Arial"/>
              </a:rPr>
              <a:t>the</a:t>
            </a:r>
            <a:r>
              <a:rPr kumimoji="0" sz="1333" b="0" i="0" u="none" strike="noStrike" kern="0" cap="none" spc="-42" normalizeH="0" baseline="0" noProof="0" dirty="0">
                <a:ln>
                  <a:noFill/>
                </a:ln>
                <a:solidFill>
                  <a:srgbClr val="FFFFFF"/>
                </a:solidFill>
                <a:effectLst/>
                <a:uLnTx/>
                <a:uFillTx/>
                <a:latin typeface="Arial"/>
                <a:ea typeface="+mn-ea"/>
                <a:cs typeface="Arial"/>
              </a:rPr>
              <a:t> </a:t>
            </a:r>
            <a:r>
              <a:rPr kumimoji="0" sz="1333" b="0" i="0" u="none" strike="noStrike" kern="0" cap="none" spc="0" normalizeH="0" baseline="0" noProof="0" dirty="0">
                <a:ln>
                  <a:noFill/>
                </a:ln>
                <a:solidFill>
                  <a:srgbClr val="FFFFFF"/>
                </a:solidFill>
                <a:effectLst/>
                <a:uLnTx/>
                <a:uFillTx/>
                <a:latin typeface="Arial"/>
                <a:ea typeface="+mn-ea"/>
                <a:cs typeface="Arial"/>
              </a:rPr>
              <a:t>all-</a:t>
            </a:r>
            <a:r>
              <a:rPr kumimoji="0" sz="1333" b="0" i="0" u="none" strike="noStrike" kern="0" cap="none" spc="-42" normalizeH="0" baseline="0" noProof="0" dirty="0">
                <a:ln>
                  <a:noFill/>
                </a:ln>
                <a:solidFill>
                  <a:srgbClr val="FFFFFF"/>
                </a:solidFill>
                <a:effectLst/>
                <a:uLnTx/>
                <a:uFillTx/>
                <a:latin typeface="Arial"/>
                <a:ea typeface="+mn-ea"/>
                <a:cs typeface="Arial"/>
              </a:rPr>
              <a:t>treated</a:t>
            </a:r>
            <a:r>
              <a:rPr kumimoji="0" sz="1333" b="0" i="0" u="none" strike="noStrike" kern="0" cap="none" spc="-36" normalizeH="0" baseline="0" noProof="0" dirty="0">
                <a:ln>
                  <a:noFill/>
                </a:ln>
                <a:solidFill>
                  <a:srgbClr val="FFFFFF"/>
                </a:solidFill>
                <a:effectLst/>
                <a:uLnTx/>
                <a:uFillTx/>
                <a:latin typeface="Arial"/>
                <a:ea typeface="+mn-ea"/>
                <a:cs typeface="Arial"/>
              </a:rPr>
              <a:t> population</a:t>
            </a:r>
            <a:r>
              <a:rPr kumimoji="0" sz="1333" b="0" i="0" u="none" strike="noStrike" kern="0" cap="none" spc="-30" normalizeH="0" baseline="0" noProof="0" dirty="0">
                <a:ln>
                  <a:noFill/>
                </a:ln>
                <a:solidFill>
                  <a:srgbClr val="FFFFFF"/>
                </a:solidFill>
                <a:effectLst/>
                <a:uLnTx/>
                <a:uFillTx/>
                <a:latin typeface="Arial"/>
                <a:ea typeface="+mn-ea"/>
                <a:cs typeface="Arial"/>
              </a:rPr>
              <a:t> </a:t>
            </a:r>
            <a:r>
              <a:rPr kumimoji="0" sz="1333" b="0" i="0" u="none" strike="noStrike" kern="0" cap="none" spc="-67" normalizeH="0" baseline="0" noProof="0" dirty="0">
                <a:ln>
                  <a:noFill/>
                </a:ln>
                <a:solidFill>
                  <a:srgbClr val="FFFFFF"/>
                </a:solidFill>
                <a:effectLst/>
                <a:uLnTx/>
                <a:uFillTx/>
                <a:latin typeface="Arial"/>
                <a:ea typeface="+mn-ea"/>
                <a:cs typeface="Arial"/>
              </a:rPr>
              <a:t>and</a:t>
            </a:r>
            <a:r>
              <a:rPr kumimoji="0" sz="1333" b="0" i="0" u="none" strike="noStrike" kern="0" cap="none" spc="-36" normalizeH="0" baseline="0" noProof="0" dirty="0">
                <a:ln>
                  <a:noFill/>
                </a:ln>
                <a:solidFill>
                  <a:srgbClr val="FFFFFF"/>
                </a:solidFill>
                <a:effectLst/>
                <a:uLnTx/>
                <a:uFillTx/>
                <a:latin typeface="Arial"/>
                <a:ea typeface="+mn-ea"/>
                <a:cs typeface="Arial"/>
              </a:rPr>
              <a:t> </a:t>
            </a:r>
            <a:r>
              <a:rPr kumimoji="0" sz="1333" b="0" i="0" u="none" strike="noStrike" kern="0" cap="none" spc="-67" normalizeH="0" baseline="0" noProof="0" dirty="0">
                <a:ln>
                  <a:noFill/>
                </a:ln>
                <a:solidFill>
                  <a:srgbClr val="FFFFFF"/>
                </a:solidFill>
                <a:effectLst/>
                <a:uLnTx/>
                <a:uFillTx/>
                <a:latin typeface="Arial"/>
                <a:ea typeface="+mn-ea"/>
                <a:cs typeface="Arial"/>
              </a:rPr>
              <a:t>42</a:t>
            </a:r>
            <a:r>
              <a:rPr kumimoji="0" sz="1333" b="0" i="0" u="none" strike="noStrike" kern="0" cap="none" spc="-24" normalizeH="0" baseline="0" noProof="0" dirty="0">
                <a:ln>
                  <a:noFill/>
                </a:ln>
                <a:solidFill>
                  <a:srgbClr val="FFFFFF"/>
                </a:solidFill>
                <a:effectLst/>
                <a:uLnTx/>
                <a:uFillTx/>
                <a:latin typeface="Arial"/>
                <a:ea typeface="+mn-ea"/>
                <a:cs typeface="Arial"/>
              </a:rPr>
              <a:t> </a:t>
            </a:r>
            <a:r>
              <a:rPr kumimoji="0" sz="1333" b="0" i="0" u="none" strike="noStrike" kern="0" cap="none" spc="-61" normalizeH="0" baseline="0" noProof="0" dirty="0">
                <a:ln>
                  <a:noFill/>
                </a:ln>
                <a:solidFill>
                  <a:srgbClr val="FFFFFF"/>
                </a:solidFill>
                <a:effectLst/>
                <a:uLnTx/>
                <a:uFillTx/>
                <a:latin typeface="Arial"/>
                <a:ea typeface="+mn-ea"/>
                <a:cs typeface="Arial"/>
              </a:rPr>
              <a:t>(36-</a:t>
            </a:r>
            <a:r>
              <a:rPr kumimoji="0" sz="1333" b="0" i="0" u="none" strike="noStrike" kern="0" cap="none" spc="-67" normalizeH="0" baseline="0" noProof="0" dirty="0">
                <a:ln>
                  <a:noFill/>
                </a:ln>
                <a:solidFill>
                  <a:srgbClr val="FFFFFF"/>
                </a:solidFill>
                <a:effectLst/>
                <a:uLnTx/>
                <a:uFillTx/>
                <a:latin typeface="Arial"/>
                <a:ea typeface="+mn-ea"/>
                <a:cs typeface="Arial"/>
              </a:rPr>
              <a:t>247)</a:t>
            </a:r>
            <a:r>
              <a:rPr kumimoji="0" sz="1333" b="0" i="0" u="none" strike="noStrike" kern="0" cap="none" spc="-12" normalizeH="0" baseline="0" noProof="0" dirty="0">
                <a:ln>
                  <a:noFill/>
                </a:ln>
                <a:solidFill>
                  <a:srgbClr val="FFFFFF"/>
                </a:solidFill>
                <a:effectLst/>
                <a:uLnTx/>
                <a:uFillTx/>
                <a:latin typeface="Arial"/>
                <a:ea typeface="+mn-ea"/>
                <a:cs typeface="Arial"/>
              </a:rPr>
              <a:t> </a:t>
            </a:r>
            <a:r>
              <a:rPr kumimoji="0" sz="1333" b="0" i="0" u="none" strike="noStrike" kern="0" cap="none" spc="-97" normalizeH="0" baseline="0" noProof="0" dirty="0">
                <a:ln>
                  <a:noFill/>
                </a:ln>
                <a:solidFill>
                  <a:srgbClr val="FFFFFF"/>
                </a:solidFill>
                <a:effectLst/>
                <a:uLnTx/>
                <a:uFillTx/>
                <a:latin typeface="Arial"/>
                <a:ea typeface="+mn-ea"/>
                <a:cs typeface="Arial"/>
              </a:rPr>
              <a:t>days</a:t>
            </a:r>
            <a:r>
              <a:rPr kumimoji="0" sz="1333" b="0" i="0" u="none" strike="noStrike" kern="0" cap="none" spc="-36" normalizeH="0" baseline="0" noProof="0" dirty="0">
                <a:ln>
                  <a:noFill/>
                </a:ln>
                <a:solidFill>
                  <a:srgbClr val="FFFFFF"/>
                </a:solidFill>
                <a:effectLst/>
                <a:uLnTx/>
                <a:uFillTx/>
                <a:latin typeface="Arial"/>
                <a:ea typeface="+mn-ea"/>
                <a:cs typeface="Arial"/>
              </a:rPr>
              <a:t> </a:t>
            </a:r>
            <a:r>
              <a:rPr kumimoji="0" sz="1333" b="0" i="0" u="none" strike="noStrike" kern="0" cap="none" spc="0" normalizeH="0" baseline="0" noProof="0" dirty="0">
                <a:ln>
                  <a:noFill/>
                </a:ln>
                <a:solidFill>
                  <a:srgbClr val="FFFFFF"/>
                </a:solidFill>
                <a:effectLst/>
                <a:uLnTx/>
                <a:uFillTx/>
                <a:latin typeface="Arial"/>
                <a:ea typeface="+mn-ea"/>
                <a:cs typeface="Arial"/>
              </a:rPr>
              <a:t>for</a:t>
            </a:r>
            <a:r>
              <a:rPr kumimoji="0" sz="1333" b="0" i="0" u="none" strike="noStrike" kern="0" cap="none" spc="-30" normalizeH="0" baseline="0" noProof="0" dirty="0">
                <a:ln>
                  <a:noFill/>
                </a:ln>
                <a:solidFill>
                  <a:srgbClr val="FFFFFF"/>
                </a:solidFill>
                <a:effectLst/>
                <a:uLnTx/>
                <a:uFillTx/>
                <a:latin typeface="Arial"/>
                <a:ea typeface="+mn-ea"/>
                <a:cs typeface="Arial"/>
              </a:rPr>
              <a:t> </a:t>
            </a:r>
            <a:r>
              <a:rPr kumimoji="0" sz="1333" b="0" i="0" u="none" strike="noStrike" kern="0" cap="none" spc="-42" normalizeH="0" baseline="0" noProof="0" dirty="0">
                <a:ln>
                  <a:noFill/>
                </a:ln>
                <a:solidFill>
                  <a:srgbClr val="FFFFFF"/>
                </a:solidFill>
                <a:effectLst/>
                <a:uLnTx/>
                <a:uFillTx/>
                <a:latin typeface="Arial"/>
                <a:ea typeface="+mn-ea"/>
                <a:cs typeface="Arial"/>
              </a:rPr>
              <a:t>patients</a:t>
            </a:r>
            <a:r>
              <a:rPr kumimoji="0" sz="1333" b="0" i="0" u="none" strike="noStrike" kern="0" cap="none" spc="-36" normalizeH="0" baseline="0" noProof="0" dirty="0">
                <a:ln>
                  <a:noFill/>
                </a:ln>
                <a:solidFill>
                  <a:srgbClr val="FFFFFF"/>
                </a:solidFill>
                <a:effectLst/>
                <a:uLnTx/>
                <a:uFillTx/>
                <a:latin typeface="Arial"/>
                <a:ea typeface="+mn-ea"/>
                <a:cs typeface="Arial"/>
              </a:rPr>
              <a:t> </a:t>
            </a:r>
            <a:r>
              <a:rPr kumimoji="0" sz="1333" b="0" i="0" u="none" strike="noStrike" kern="0" cap="none" spc="0" normalizeH="0" baseline="0" noProof="0" dirty="0">
                <a:ln>
                  <a:noFill/>
                </a:ln>
                <a:solidFill>
                  <a:srgbClr val="FFFFFF"/>
                </a:solidFill>
                <a:effectLst/>
                <a:uLnTx/>
                <a:uFillTx/>
                <a:latin typeface="Arial"/>
                <a:ea typeface="+mn-ea"/>
                <a:cs typeface="Arial"/>
              </a:rPr>
              <a:t>with</a:t>
            </a:r>
            <a:r>
              <a:rPr kumimoji="0" sz="1333" b="0" i="0" u="none" strike="noStrike" kern="0" cap="none" spc="-55" normalizeH="0" baseline="0" noProof="0" dirty="0">
                <a:ln>
                  <a:noFill/>
                </a:ln>
                <a:solidFill>
                  <a:srgbClr val="FFFFFF"/>
                </a:solidFill>
                <a:effectLst/>
                <a:uLnTx/>
                <a:uFillTx/>
                <a:latin typeface="Arial"/>
                <a:ea typeface="+mn-ea"/>
                <a:cs typeface="Arial"/>
              </a:rPr>
              <a:t> </a:t>
            </a:r>
            <a:r>
              <a:rPr kumimoji="0" sz="1333" b="0" i="0" u="none" strike="noStrike" kern="0" cap="none" spc="-103" normalizeH="0" baseline="0" noProof="0" dirty="0">
                <a:ln>
                  <a:noFill/>
                </a:ln>
                <a:solidFill>
                  <a:srgbClr val="FFFFFF"/>
                </a:solidFill>
                <a:effectLst/>
                <a:uLnTx/>
                <a:uFillTx/>
                <a:latin typeface="Arial"/>
                <a:ea typeface="+mn-ea"/>
                <a:cs typeface="Arial"/>
              </a:rPr>
              <a:t>a</a:t>
            </a:r>
            <a:r>
              <a:rPr kumimoji="0" sz="1333" b="0" i="0" u="none" strike="noStrike" kern="0" cap="none" spc="-30" normalizeH="0" baseline="0" noProof="0" dirty="0">
                <a:ln>
                  <a:noFill/>
                </a:ln>
                <a:solidFill>
                  <a:srgbClr val="FFFFFF"/>
                </a:solidFill>
                <a:effectLst/>
                <a:uLnTx/>
                <a:uFillTx/>
                <a:latin typeface="Arial"/>
                <a:ea typeface="+mn-ea"/>
                <a:cs typeface="Arial"/>
              </a:rPr>
              <a:t> CR.</a:t>
            </a:r>
            <a:endParaRPr kumimoji="0" sz="1333" b="0" i="0" u="none" strike="noStrike" kern="0" cap="none" spc="0" normalizeH="0" baseline="0" noProof="0" dirty="0">
              <a:ln>
                <a:noFill/>
              </a:ln>
              <a:solidFill>
                <a:sysClr val="windowText" lastClr="000000"/>
              </a:solidFill>
              <a:effectLst/>
              <a:uLnTx/>
              <a:uFillTx/>
              <a:latin typeface="Arial"/>
              <a:ea typeface="+mn-ea"/>
              <a:cs typeface="Arial"/>
            </a:endParaRPr>
          </a:p>
          <a:p>
            <a:pPr marL="15394" marR="0" lvl="0" indent="0" algn="l" defTabSz="806867" rtl="0" eaLnBrk="1" fontAlgn="auto" latinLnBrk="0" hangingPunct="1">
              <a:lnSpc>
                <a:spcPct val="100000"/>
              </a:lnSpc>
              <a:spcBef>
                <a:spcPts val="1133"/>
              </a:spcBef>
              <a:spcAft>
                <a:spcPts val="0"/>
              </a:spcAft>
              <a:buClrTx/>
              <a:buSzTx/>
              <a:buFontTx/>
              <a:buNone/>
              <a:tabLst/>
              <a:defRPr/>
            </a:pPr>
            <a:r>
              <a:rPr kumimoji="0" sz="1091" b="0" i="0" u="none" strike="noStrike" kern="0" cap="none" spc="-61" normalizeH="0" baseline="0" noProof="0" dirty="0">
                <a:ln>
                  <a:noFill/>
                </a:ln>
                <a:solidFill>
                  <a:srgbClr val="3F3F3F"/>
                </a:solidFill>
                <a:effectLst/>
                <a:uLnTx/>
                <a:uFillTx/>
                <a:latin typeface="Arial"/>
                <a:ea typeface="+mn-ea"/>
                <a:cs typeface="Arial"/>
              </a:rPr>
              <a:t>Data</a:t>
            </a:r>
            <a:r>
              <a:rPr kumimoji="0" sz="1091" b="0" i="0" u="none" strike="noStrike" kern="0" cap="none" spc="-30" normalizeH="0" baseline="0" noProof="0" dirty="0">
                <a:ln>
                  <a:noFill/>
                </a:ln>
                <a:solidFill>
                  <a:srgbClr val="3F3F3F"/>
                </a:solidFill>
                <a:effectLst/>
                <a:uLnTx/>
                <a:uFillTx/>
                <a:latin typeface="Arial"/>
                <a:ea typeface="+mn-ea"/>
                <a:cs typeface="Arial"/>
              </a:rPr>
              <a:t> </a:t>
            </a:r>
            <a:r>
              <a:rPr kumimoji="0" sz="1091" b="0" i="0" u="none" strike="noStrike" kern="0" cap="none" spc="-12" normalizeH="0" baseline="0" noProof="0" dirty="0">
                <a:ln>
                  <a:noFill/>
                </a:ln>
                <a:solidFill>
                  <a:srgbClr val="3F3F3F"/>
                </a:solidFill>
                <a:effectLst/>
                <a:uLnTx/>
                <a:uFillTx/>
                <a:latin typeface="Arial"/>
                <a:ea typeface="+mn-ea"/>
                <a:cs typeface="Arial"/>
              </a:rPr>
              <a:t>cutoff:</a:t>
            </a:r>
            <a:r>
              <a:rPr kumimoji="0" sz="1091" b="0" i="0" u="none" strike="noStrike" kern="0" cap="none" spc="-19" normalizeH="0" baseline="0" noProof="0" dirty="0">
                <a:ln>
                  <a:noFill/>
                </a:ln>
                <a:solidFill>
                  <a:srgbClr val="3F3F3F"/>
                </a:solidFill>
                <a:effectLst/>
                <a:uLnTx/>
                <a:uFillTx/>
                <a:latin typeface="Arial"/>
                <a:ea typeface="+mn-ea"/>
                <a:cs typeface="Arial"/>
              </a:rPr>
              <a:t> </a:t>
            </a:r>
            <a:r>
              <a:rPr kumimoji="0" sz="1091" b="0" i="0" u="none" strike="noStrike" kern="0" cap="none" spc="-61" normalizeH="0" baseline="0" noProof="0" dirty="0">
                <a:ln>
                  <a:noFill/>
                </a:ln>
                <a:solidFill>
                  <a:srgbClr val="3F3F3F"/>
                </a:solidFill>
                <a:effectLst/>
                <a:uLnTx/>
                <a:uFillTx/>
                <a:latin typeface="Arial"/>
                <a:ea typeface="+mn-ea"/>
                <a:cs typeface="Arial"/>
              </a:rPr>
              <a:t>September</a:t>
            </a:r>
            <a:r>
              <a:rPr kumimoji="0" sz="1091" b="0" i="0" u="none" strike="noStrike" kern="0" cap="none" spc="-19" normalizeH="0" baseline="0" noProof="0" dirty="0">
                <a:ln>
                  <a:noFill/>
                </a:ln>
                <a:solidFill>
                  <a:srgbClr val="3F3F3F"/>
                </a:solidFill>
                <a:effectLst/>
                <a:uLnTx/>
                <a:uFillTx/>
                <a:latin typeface="Arial"/>
                <a:ea typeface="+mn-ea"/>
                <a:cs typeface="Arial"/>
              </a:rPr>
              <a:t> </a:t>
            </a:r>
            <a:r>
              <a:rPr kumimoji="0" sz="1091" b="0" i="0" u="none" strike="noStrike" kern="0" cap="none" spc="-49" normalizeH="0" baseline="0" noProof="0" dirty="0">
                <a:ln>
                  <a:noFill/>
                </a:ln>
                <a:solidFill>
                  <a:srgbClr val="3F3F3F"/>
                </a:solidFill>
                <a:effectLst/>
                <a:uLnTx/>
                <a:uFillTx/>
                <a:latin typeface="Arial"/>
                <a:ea typeface="+mn-ea"/>
                <a:cs typeface="Arial"/>
              </a:rPr>
              <a:t>15,</a:t>
            </a:r>
            <a:r>
              <a:rPr kumimoji="0" sz="1091" b="0" i="0" u="none" strike="noStrike" kern="0" cap="none" spc="-12" normalizeH="0" baseline="0" noProof="0" dirty="0">
                <a:ln>
                  <a:noFill/>
                </a:ln>
                <a:solidFill>
                  <a:srgbClr val="3F3F3F"/>
                </a:solidFill>
                <a:effectLst/>
                <a:uLnTx/>
                <a:uFillTx/>
                <a:latin typeface="Arial"/>
                <a:ea typeface="+mn-ea"/>
                <a:cs typeface="Arial"/>
              </a:rPr>
              <a:t> 2022.</a:t>
            </a:r>
            <a:endParaRPr kumimoji="0" sz="1091" b="0" i="0" u="none" strike="noStrike" kern="0" cap="none" spc="0" normalizeH="0" baseline="0" noProof="0" dirty="0">
              <a:ln>
                <a:noFill/>
              </a:ln>
              <a:solidFill>
                <a:sysClr val="windowText" lastClr="000000"/>
              </a:solidFill>
              <a:effectLst/>
              <a:uLnTx/>
              <a:uFillTx/>
              <a:latin typeface="Arial"/>
              <a:ea typeface="+mn-ea"/>
              <a:cs typeface="Arial"/>
            </a:endParaRPr>
          </a:p>
          <a:p>
            <a:pPr marL="15394" marR="0" lvl="0" indent="0" algn="l" defTabSz="806867" rtl="0" eaLnBrk="1" fontAlgn="auto" latinLnBrk="0" hangingPunct="1">
              <a:lnSpc>
                <a:spcPct val="100000"/>
              </a:lnSpc>
              <a:spcBef>
                <a:spcPts val="12"/>
              </a:spcBef>
              <a:spcAft>
                <a:spcPts val="0"/>
              </a:spcAft>
              <a:buClrTx/>
              <a:buSzTx/>
              <a:buFontTx/>
              <a:buNone/>
              <a:tabLst/>
              <a:defRPr/>
            </a:pPr>
            <a:r>
              <a:rPr kumimoji="0" sz="1091" b="0" i="0" u="none" strike="noStrike" kern="0" cap="none" spc="-146" normalizeH="0" baseline="0" noProof="0" dirty="0">
                <a:ln>
                  <a:noFill/>
                </a:ln>
                <a:solidFill>
                  <a:srgbClr val="3F3F3F"/>
                </a:solidFill>
                <a:effectLst/>
                <a:uLnTx/>
                <a:uFillTx/>
                <a:latin typeface="Arial"/>
                <a:ea typeface="+mn-ea"/>
                <a:cs typeface="Arial"/>
              </a:rPr>
              <a:t>CR,</a:t>
            </a:r>
            <a:r>
              <a:rPr kumimoji="0" sz="1091" b="0" i="0" u="none" strike="noStrike" kern="0" cap="none" spc="-24" normalizeH="0" baseline="0" noProof="0" dirty="0">
                <a:ln>
                  <a:noFill/>
                </a:ln>
                <a:solidFill>
                  <a:srgbClr val="3F3F3F"/>
                </a:solidFill>
                <a:effectLst/>
                <a:uLnTx/>
                <a:uFillTx/>
                <a:latin typeface="Arial"/>
                <a:ea typeface="+mn-ea"/>
                <a:cs typeface="Arial"/>
              </a:rPr>
              <a:t> </a:t>
            </a:r>
            <a:r>
              <a:rPr kumimoji="0" sz="1091" b="0" i="0" u="none" strike="noStrike" kern="0" cap="none" spc="-36" normalizeH="0" baseline="0" noProof="0" dirty="0">
                <a:ln>
                  <a:noFill/>
                </a:ln>
                <a:solidFill>
                  <a:srgbClr val="3F3F3F"/>
                </a:solidFill>
                <a:effectLst/>
                <a:uLnTx/>
                <a:uFillTx/>
                <a:latin typeface="Arial"/>
                <a:ea typeface="+mn-ea"/>
                <a:cs typeface="Arial"/>
              </a:rPr>
              <a:t>complete</a:t>
            </a:r>
            <a:r>
              <a:rPr kumimoji="0" sz="1091" b="0" i="0" u="none" strike="noStrike" kern="0" cap="none" spc="-42" normalizeH="0" baseline="0" noProof="0" dirty="0">
                <a:ln>
                  <a:noFill/>
                </a:ln>
                <a:solidFill>
                  <a:srgbClr val="3F3F3F"/>
                </a:solidFill>
                <a:effectLst/>
                <a:uLnTx/>
                <a:uFillTx/>
                <a:latin typeface="Arial"/>
                <a:ea typeface="+mn-ea"/>
                <a:cs typeface="Arial"/>
              </a:rPr>
              <a:t> </a:t>
            </a:r>
            <a:r>
              <a:rPr kumimoji="0" sz="1091" b="0" i="0" u="none" strike="noStrike" kern="0" cap="none" spc="-55" normalizeH="0" baseline="0" noProof="0" dirty="0">
                <a:ln>
                  <a:noFill/>
                </a:ln>
                <a:solidFill>
                  <a:srgbClr val="3F3F3F"/>
                </a:solidFill>
                <a:effectLst/>
                <a:uLnTx/>
                <a:uFillTx/>
                <a:latin typeface="Arial"/>
                <a:ea typeface="+mn-ea"/>
                <a:cs typeface="Arial"/>
              </a:rPr>
              <a:t>response;</a:t>
            </a:r>
            <a:r>
              <a:rPr kumimoji="0" sz="1091" b="0" i="0" u="none" strike="noStrike" kern="0" cap="none" spc="-12" normalizeH="0" baseline="0" noProof="0" dirty="0">
                <a:ln>
                  <a:noFill/>
                </a:ln>
                <a:solidFill>
                  <a:srgbClr val="3F3F3F"/>
                </a:solidFill>
                <a:effectLst/>
                <a:uLnTx/>
                <a:uFillTx/>
                <a:latin typeface="Arial"/>
                <a:ea typeface="+mn-ea"/>
                <a:cs typeface="Arial"/>
              </a:rPr>
              <a:t> </a:t>
            </a:r>
            <a:r>
              <a:rPr kumimoji="0" sz="1091" b="0" i="0" u="none" strike="noStrike" kern="0" cap="none" spc="-121" normalizeH="0" baseline="0" noProof="0" dirty="0">
                <a:ln>
                  <a:noFill/>
                </a:ln>
                <a:solidFill>
                  <a:srgbClr val="3F3F3F"/>
                </a:solidFill>
                <a:effectLst/>
                <a:uLnTx/>
                <a:uFillTx/>
                <a:latin typeface="Arial"/>
                <a:ea typeface="+mn-ea"/>
                <a:cs typeface="Arial"/>
              </a:rPr>
              <a:t>DOR,</a:t>
            </a:r>
            <a:r>
              <a:rPr kumimoji="0" sz="1091" b="0" i="0" u="none" strike="noStrike" kern="0" cap="none" spc="-19" normalizeH="0" baseline="0" noProof="0" dirty="0">
                <a:ln>
                  <a:noFill/>
                </a:ln>
                <a:solidFill>
                  <a:srgbClr val="3F3F3F"/>
                </a:solidFill>
                <a:effectLst/>
                <a:uLnTx/>
                <a:uFillTx/>
                <a:latin typeface="Arial"/>
                <a:ea typeface="+mn-ea"/>
                <a:cs typeface="Arial"/>
              </a:rPr>
              <a:t> </a:t>
            </a:r>
            <a:r>
              <a:rPr kumimoji="0" sz="1091" b="0" i="0" u="none" strike="noStrike" kern="0" cap="none" spc="-30" normalizeH="0" baseline="0" noProof="0" dirty="0">
                <a:ln>
                  <a:noFill/>
                </a:ln>
                <a:solidFill>
                  <a:srgbClr val="3F3F3F"/>
                </a:solidFill>
                <a:effectLst/>
                <a:uLnTx/>
                <a:uFillTx/>
                <a:latin typeface="Arial"/>
                <a:ea typeface="+mn-ea"/>
                <a:cs typeface="Arial"/>
              </a:rPr>
              <a:t>duration</a:t>
            </a:r>
            <a:r>
              <a:rPr kumimoji="0" sz="1091" b="0" i="0" u="none" strike="noStrike" kern="0" cap="none" spc="-42" normalizeH="0" baseline="0" noProof="0" dirty="0">
                <a:ln>
                  <a:noFill/>
                </a:ln>
                <a:solidFill>
                  <a:srgbClr val="3F3F3F"/>
                </a:solidFill>
                <a:effectLst/>
                <a:uLnTx/>
                <a:uFillTx/>
                <a:latin typeface="Arial"/>
                <a:ea typeface="+mn-ea"/>
                <a:cs typeface="Arial"/>
              </a:rPr>
              <a:t> </a:t>
            </a:r>
            <a:r>
              <a:rPr kumimoji="0" sz="1091" b="0" i="0" u="none" strike="noStrike" kern="0" cap="none" spc="0" normalizeH="0" baseline="0" noProof="0" dirty="0">
                <a:ln>
                  <a:noFill/>
                </a:ln>
                <a:solidFill>
                  <a:srgbClr val="3F3F3F"/>
                </a:solidFill>
                <a:effectLst/>
                <a:uLnTx/>
                <a:uFillTx/>
                <a:latin typeface="Arial"/>
                <a:ea typeface="+mn-ea"/>
                <a:cs typeface="Arial"/>
              </a:rPr>
              <a:t>of</a:t>
            </a:r>
            <a:r>
              <a:rPr kumimoji="0" sz="1091" b="0" i="0" u="none" strike="noStrike" kern="0" cap="none" spc="-30" normalizeH="0" baseline="0" noProof="0" dirty="0">
                <a:ln>
                  <a:noFill/>
                </a:ln>
                <a:solidFill>
                  <a:srgbClr val="3F3F3F"/>
                </a:solidFill>
                <a:effectLst/>
                <a:uLnTx/>
                <a:uFillTx/>
                <a:latin typeface="Arial"/>
                <a:ea typeface="+mn-ea"/>
                <a:cs typeface="Arial"/>
              </a:rPr>
              <a:t> </a:t>
            </a:r>
            <a:r>
              <a:rPr kumimoji="0" sz="1091" b="0" i="0" u="none" strike="noStrike" kern="0" cap="none" spc="-12" normalizeH="0" baseline="0" noProof="0" dirty="0">
                <a:ln>
                  <a:noFill/>
                </a:ln>
                <a:solidFill>
                  <a:srgbClr val="3F3F3F"/>
                </a:solidFill>
                <a:effectLst/>
                <a:uLnTx/>
                <a:uFillTx/>
                <a:latin typeface="Arial"/>
                <a:ea typeface="+mn-ea"/>
                <a:cs typeface="Arial"/>
              </a:rPr>
              <a:t>response.</a:t>
            </a:r>
            <a:endParaRPr kumimoji="0" sz="1091" b="0" i="0" u="none" strike="noStrike" kern="0" cap="none" spc="0" normalizeH="0" baseline="0" noProof="0" dirty="0">
              <a:ln>
                <a:noFill/>
              </a:ln>
              <a:solidFill>
                <a:sysClr val="windowText" lastClr="000000"/>
              </a:solidFill>
              <a:effectLst/>
              <a:uLnTx/>
              <a:uFillTx/>
              <a:latin typeface="Arial"/>
              <a:ea typeface="+mn-ea"/>
              <a:cs typeface="Arial"/>
            </a:endParaRPr>
          </a:p>
        </p:txBody>
      </p:sp>
      <p:sp>
        <p:nvSpPr>
          <p:cNvPr id="7" name="Rectangle 1">
            <a:extLst>
              <a:ext uri="{FF2B5EF4-FFF2-40B4-BE49-F238E27FC236}">
                <a16:creationId xmlns:a16="http://schemas.microsoft.com/office/drawing/2014/main" id="{79E98725-17FD-2CF7-75B8-04C1B77B5CE7}"/>
              </a:ext>
            </a:extLst>
          </p:cNvPr>
          <p:cNvSpPr>
            <a:spLocks noChangeArrowheads="1"/>
          </p:cNvSpPr>
          <p:nvPr/>
        </p:nvSpPr>
        <p:spPr bwMode="auto">
          <a:xfrm>
            <a:off x="8303836" y="6612720"/>
            <a:ext cx="3732828" cy="2353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0682" tIns="40341" rIns="80682" bIns="40341" numCol="1" anchor="ctr"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06867" rtl="0" eaLnBrk="0" fontAlgn="base" latinLnBrk="0" hangingPunct="0">
              <a:lnSpc>
                <a:spcPct val="100000"/>
              </a:lnSpc>
              <a:spcBef>
                <a:spcPct val="0"/>
              </a:spcBef>
              <a:spcAft>
                <a:spcPct val="0"/>
              </a:spcAft>
              <a:buClrTx/>
              <a:buSzTx/>
              <a:buFontTx/>
              <a:buNone/>
              <a:tabLst/>
              <a:defRPr/>
            </a:pPr>
            <a:r>
              <a:rPr kumimoji="0" lang="en-US" altLang="en-US" sz="1000" b="0" i="0" u="none" strike="noStrike" kern="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Caimi PF, et al. </a:t>
            </a:r>
            <a:r>
              <a:rPr kumimoji="0" lang="en-US" altLang="en-US" sz="1000" b="0" i="0" u="none" strike="noStrike" kern="0" cap="none" spc="0" normalizeH="0" baseline="0" noProof="0" dirty="0" err="1">
                <a:ln>
                  <a:noFill/>
                </a:ln>
                <a:solidFill>
                  <a:srgbClr val="212121"/>
                </a:solidFill>
                <a:effectLst/>
                <a:uLnTx/>
                <a:uFillTx/>
                <a:latin typeface="Arial" panose="020B0604020202020204" pitchFamily="34" charset="0"/>
                <a:ea typeface="+mn-ea"/>
                <a:cs typeface="Arial" panose="020B0604020202020204" pitchFamily="34" charset="0"/>
              </a:rPr>
              <a:t>Haematologica</a:t>
            </a:r>
            <a:r>
              <a:rPr kumimoji="0" lang="en-US" altLang="en-US" sz="1000" b="0" i="0" u="none" strike="noStrike" kern="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 2024 Apr 1;109(4):1184-1193. </a:t>
            </a:r>
            <a:endParaRPr kumimoji="0" lang="en-US" altLang="en-US" sz="1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 name="TextBox 7">
            <a:extLst>
              <a:ext uri="{FF2B5EF4-FFF2-40B4-BE49-F238E27FC236}">
                <a16:creationId xmlns:a16="http://schemas.microsoft.com/office/drawing/2014/main" id="{E2E5AB54-A543-16C3-C63F-2D16759EA660}"/>
              </a:ext>
            </a:extLst>
          </p:cNvPr>
          <p:cNvSpPr txBox="1"/>
          <p:nvPr/>
        </p:nvSpPr>
        <p:spPr>
          <a:xfrm>
            <a:off x="600075" y="241592"/>
            <a:ext cx="7974171" cy="107721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a:ea typeface="+mn-ea"/>
                <a:cs typeface="+mn-cs"/>
              </a:rPr>
              <a:t>LOTIS-2: Duration of Respon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a:ea typeface="+mn-ea"/>
                <a:cs typeface="+mn-cs"/>
              </a:rPr>
              <a:t>All-Treated Population and Patients With a CR</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object 4"/>
          <p:cNvGraphicFramePr>
            <a:graphicFrameLocks noGrp="1"/>
          </p:cNvGraphicFramePr>
          <p:nvPr/>
        </p:nvGraphicFramePr>
        <p:xfrm>
          <a:off x="908050" y="1592002"/>
          <a:ext cx="4812914" cy="3511360"/>
        </p:xfrm>
        <a:graphic>
          <a:graphicData uri="http://schemas.openxmlformats.org/drawingml/2006/table">
            <a:tbl>
              <a:tblPr firstRow="1" bandRow="1">
                <a:tableStyleId>{2D5ABB26-0587-4C30-8999-92F81FD0307C}</a:tableStyleId>
              </a:tblPr>
              <a:tblGrid>
                <a:gridCol w="2387600">
                  <a:extLst>
                    <a:ext uri="{9D8B030D-6E8A-4147-A177-3AD203B41FA5}">
                      <a16:colId xmlns:a16="http://schemas.microsoft.com/office/drawing/2014/main" val="20000"/>
                    </a:ext>
                  </a:extLst>
                </a:gridCol>
                <a:gridCol w="1284624">
                  <a:extLst>
                    <a:ext uri="{9D8B030D-6E8A-4147-A177-3AD203B41FA5}">
                      <a16:colId xmlns:a16="http://schemas.microsoft.com/office/drawing/2014/main" val="20001"/>
                    </a:ext>
                  </a:extLst>
                </a:gridCol>
                <a:gridCol w="1140690">
                  <a:extLst>
                    <a:ext uri="{9D8B030D-6E8A-4147-A177-3AD203B41FA5}">
                      <a16:colId xmlns:a16="http://schemas.microsoft.com/office/drawing/2014/main" val="20002"/>
                    </a:ext>
                  </a:extLst>
                </a:gridCol>
              </a:tblGrid>
              <a:tr h="913631">
                <a:tc>
                  <a:txBody>
                    <a:bodyPr/>
                    <a:lstStyle/>
                    <a:p>
                      <a:pPr marL="74930">
                        <a:lnSpc>
                          <a:spcPct val="100000"/>
                        </a:lnSpc>
                        <a:spcBef>
                          <a:spcPts val="235"/>
                        </a:spcBef>
                      </a:pPr>
                      <a:r>
                        <a:rPr sz="1800" b="1" spc="-185" dirty="0">
                          <a:solidFill>
                            <a:srgbClr val="FFFFFF"/>
                          </a:solidFill>
                          <a:latin typeface="Arial"/>
                          <a:cs typeface="Arial"/>
                        </a:rPr>
                        <a:t>TEAEs,</a:t>
                      </a:r>
                      <a:r>
                        <a:rPr sz="1800" b="1" spc="-65" dirty="0">
                          <a:solidFill>
                            <a:srgbClr val="FFFFFF"/>
                          </a:solidFill>
                          <a:latin typeface="Arial"/>
                          <a:cs typeface="Arial"/>
                        </a:rPr>
                        <a:t> </a:t>
                      </a:r>
                      <a:r>
                        <a:rPr sz="1800" b="1" spc="-114" dirty="0">
                          <a:solidFill>
                            <a:srgbClr val="FFFFFF"/>
                          </a:solidFill>
                          <a:latin typeface="Arial"/>
                          <a:cs typeface="Arial"/>
                        </a:rPr>
                        <a:t>any</a:t>
                      </a:r>
                      <a:r>
                        <a:rPr sz="1800" b="1" spc="-50" dirty="0">
                          <a:solidFill>
                            <a:srgbClr val="FFFFFF"/>
                          </a:solidFill>
                          <a:latin typeface="Arial"/>
                          <a:cs typeface="Arial"/>
                        </a:rPr>
                        <a:t> </a:t>
                      </a:r>
                      <a:r>
                        <a:rPr sz="1800" b="1" spc="-105" dirty="0">
                          <a:solidFill>
                            <a:srgbClr val="FFFFFF"/>
                          </a:solidFill>
                          <a:latin typeface="Arial"/>
                          <a:cs typeface="Arial"/>
                        </a:rPr>
                        <a:t>grade</a:t>
                      </a:r>
                      <a:r>
                        <a:rPr sz="1800" b="1" spc="-45" dirty="0">
                          <a:solidFill>
                            <a:srgbClr val="FFFFFF"/>
                          </a:solidFill>
                          <a:latin typeface="Arial"/>
                          <a:cs typeface="Arial"/>
                        </a:rPr>
                        <a:t> </a:t>
                      </a:r>
                      <a:r>
                        <a:rPr sz="1800" b="1" spc="-25" dirty="0">
                          <a:solidFill>
                            <a:srgbClr val="FFFFFF"/>
                          </a:solidFill>
                          <a:latin typeface="Arial"/>
                          <a:cs typeface="Arial"/>
                        </a:rPr>
                        <a:t>in</a:t>
                      </a:r>
                      <a:endParaRPr sz="1800">
                        <a:latin typeface="Arial"/>
                        <a:cs typeface="Arial"/>
                      </a:endParaRPr>
                    </a:p>
                    <a:p>
                      <a:pPr marL="74930">
                        <a:lnSpc>
                          <a:spcPct val="100000"/>
                        </a:lnSpc>
                        <a:spcBef>
                          <a:spcPts val="40"/>
                        </a:spcBef>
                      </a:pPr>
                      <a:r>
                        <a:rPr sz="1800" b="1" spc="-110" dirty="0">
                          <a:solidFill>
                            <a:srgbClr val="FFFFFF"/>
                          </a:solidFill>
                          <a:latin typeface="Arial"/>
                          <a:cs typeface="Arial"/>
                        </a:rPr>
                        <a:t>≥30%</a:t>
                      </a:r>
                      <a:r>
                        <a:rPr sz="1800" b="1" spc="-50" dirty="0">
                          <a:solidFill>
                            <a:srgbClr val="FFFFFF"/>
                          </a:solidFill>
                          <a:latin typeface="Arial"/>
                          <a:cs typeface="Arial"/>
                        </a:rPr>
                        <a:t> </a:t>
                      </a:r>
                      <a:r>
                        <a:rPr sz="1800" b="1" spc="-65" dirty="0">
                          <a:solidFill>
                            <a:srgbClr val="FFFFFF"/>
                          </a:solidFill>
                          <a:latin typeface="Arial"/>
                          <a:cs typeface="Arial"/>
                        </a:rPr>
                        <a:t>of</a:t>
                      </a:r>
                      <a:r>
                        <a:rPr sz="1800" b="1" spc="-45" dirty="0">
                          <a:solidFill>
                            <a:srgbClr val="FFFFFF"/>
                          </a:solidFill>
                          <a:latin typeface="Arial"/>
                          <a:cs typeface="Arial"/>
                        </a:rPr>
                        <a:t> </a:t>
                      </a:r>
                      <a:r>
                        <a:rPr sz="1800" b="1" spc="-10" dirty="0">
                          <a:solidFill>
                            <a:srgbClr val="FFFFFF"/>
                          </a:solidFill>
                          <a:latin typeface="Arial"/>
                          <a:cs typeface="Arial"/>
                        </a:rPr>
                        <a:t>patients</a:t>
                      </a:r>
                      <a:endParaRPr sz="1800">
                        <a:latin typeface="Arial"/>
                        <a:cs typeface="Arial"/>
                      </a:endParaRPr>
                    </a:p>
                  </a:txBody>
                  <a:tcPr marL="0" marR="0" marT="36176" marB="0">
                    <a:lnL w="12700">
                      <a:solidFill>
                        <a:srgbClr val="E7E6E6"/>
                      </a:solidFill>
                      <a:prstDash val="solid"/>
                    </a:lnL>
                    <a:lnR w="12700">
                      <a:solidFill>
                        <a:srgbClr val="E7E6E6"/>
                      </a:solidFill>
                      <a:prstDash val="solid"/>
                    </a:lnR>
                    <a:lnT w="12700">
                      <a:solidFill>
                        <a:srgbClr val="E7E6E6"/>
                      </a:solidFill>
                      <a:prstDash val="solid"/>
                    </a:lnT>
                    <a:lnB w="12700">
                      <a:solidFill>
                        <a:srgbClr val="E7E6E6"/>
                      </a:solidFill>
                      <a:prstDash val="solid"/>
                    </a:lnB>
                    <a:solidFill>
                      <a:srgbClr val="023CA6"/>
                    </a:solidFill>
                  </a:tcPr>
                </a:tc>
                <a:tc>
                  <a:txBody>
                    <a:bodyPr/>
                    <a:lstStyle/>
                    <a:p>
                      <a:pPr marL="74930" marR="72390">
                        <a:lnSpc>
                          <a:spcPct val="102400"/>
                        </a:lnSpc>
                        <a:spcBef>
                          <a:spcPts val="195"/>
                        </a:spcBef>
                      </a:pPr>
                      <a:r>
                        <a:rPr sz="1800" b="1" spc="-60" dirty="0">
                          <a:solidFill>
                            <a:srgbClr val="FFFFFF"/>
                          </a:solidFill>
                          <a:latin typeface="Arial"/>
                          <a:cs typeface="Arial"/>
                        </a:rPr>
                        <a:t>All-</a:t>
                      </a:r>
                      <a:r>
                        <a:rPr sz="1800" b="1" spc="-10" dirty="0">
                          <a:solidFill>
                            <a:srgbClr val="FFFFFF"/>
                          </a:solidFill>
                          <a:latin typeface="Arial"/>
                          <a:cs typeface="Arial"/>
                        </a:rPr>
                        <a:t>treated </a:t>
                      </a:r>
                      <a:r>
                        <a:rPr sz="1800" b="1" spc="-75" dirty="0">
                          <a:solidFill>
                            <a:srgbClr val="FFFFFF"/>
                          </a:solidFill>
                          <a:latin typeface="Arial"/>
                          <a:cs typeface="Arial"/>
                        </a:rPr>
                        <a:t>population, </a:t>
                      </a:r>
                      <a:r>
                        <a:rPr sz="1800" b="1" spc="-80" dirty="0">
                          <a:solidFill>
                            <a:srgbClr val="FFFFFF"/>
                          </a:solidFill>
                          <a:latin typeface="Arial"/>
                          <a:cs typeface="Arial"/>
                        </a:rPr>
                        <a:t>N</a:t>
                      </a:r>
                      <a:r>
                        <a:rPr sz="1800" b="1" spc="-60" dirty="0">
                          <a:solidFill>
                            <a:srgbClr val="FFFFFF"/>
                          </a:solidFill>
                          <a:latin typeface="Arial"/>
                          <a:cs typeface="Arial"/>
                        </a:rPr>
                        <a:t> </a:t>
                      </a:r>
                      <a:r>
                        <a:rPr sz="1800" b="1" spc="-120" dirty="0">
                          <a:solidFill>
                            <a:srgbClr val="FFFFFF"/>
                          </a:solidFill>
                          <a:latin typeface="Arial"/>
                          <a:cs typeface="Arial"/>
                        </a:rPr>
                        <a:t>=</a:t>
                      </a:r>
                      <a:r>
                        <a:rPr sz="1800" b="1" spc="-55" dirty="0">
                          <a:solidFill>
                            <a:srgbClr val="FFFFFF"/>
                          </a:solidFill>
                          <a:latin typeface="Arial"/>
                          <a:cs typeface="Arial"/>
                        </a:rPr>
                        <a:t> </a:t>
                      </a:r>
                      <a:r>
                        <a:rPr sz="1800" b="1" spc="-25" dirty="0">
                          <a:solidFill>
                            <a:srgbClr val="FFFFFF"/>
                          </a:solidFill>
                          <a:latin typeface="Arial"/>
                          <a:cs typeface="Arial"/>
                        </a:rPr>
                        <a:t>145</a:t>
                      </a:r>
                      <a:endParaRPr sz="1800">
                        <a:latin typeface="Arial"/>
                        <a:cs typeface="Arial"/>
                      </a:endParaRPr>
                    </a:p>
                  </a:txBody>
                  <a:tcPr marL="0" marR="0" marT="30019" marB="0">
                    <a:lnL w="12700">
                      <a:solidFill>
                        <a:srgbClr val="E7E6E6"/>
                      </a:solidFill>
                      <a:prstDash val="solid"/>
                    </a:lnL>
                    <a:lnR w="12700">
                      <a:solidFill>
                        <a:srgbClr val="E7E6E6"/>
                      </a:solidFill>
                      <a:prstDash val="solid"/>
                    </a:lnR>
                    <a:lnT w="12700">
                      <a:solidFill>
                        <a:srgbClr val="E7E6E6"/>
                      </a:solidFill>
                      <a:prstDash val="solid"/>
                    </a:lnT>
                    <a:lnB w="12700">
                      <a:solidFill>
                        <a:srgbClr val="E7E6E6"/>
                      </a:solidFill>
                      <a:prstDash val="solid"/>
                    </a:lnB>
                    <a:solidFill>
                      <a:srgbClr val="023CA6"/>
                    </a:solidFill>
                  </a:tcPr>
                </a:tc>
                <a:tc>
                  <a:txBody>
                    <a:bodyPr/>
                    <a:lstStyle/>
                    <a:p>
                      <a:pPr marL="74930" marR="69850">
                        <a:lnSpc>
                          <a:spcPct val="102400"/>
                        </a:lnSpc>
                        <a:spcBef>
                          <a:spcPts val="195"/>
                        </a:spcBef>
                      </a:pPr>
                      <a:r>
                        <a:rPr sz="1800" b="1" spc="-10" dirty="0">
                          <a:solidFill>
                            <a:srgbClr val="FFFFFF"/>
                          </a:solidFill>
                          <a:latin typeface="Arial"/>
                          <a:cs typeface="Arial"/>
                        </a:rPr>
                        <a:t>Patients </a:t>
                      </a:r>
                      <a:r>
                        <a:rPr sz="1800" b="1" spc="-30" dirty="0">
                          <a:solidFill>
                            <a:srgbClr val="FFFFFF"/>
                          </a:solidFill>
                          <a:latin typeface="Arial"/>
                          <a:cs typeface="Arial"/>
                        </a:rPr>
                        <a:t>with</a:t>
                      </a:r>
                      <a:r>
                        <a:rPr sz="1800" b="1" spc="-75" dirty="0">
                          <a:solidFill>
                            <a:srgbClr val="FFFFFF"/>
                          </a:solidFill>
                          <a:latin typeface="Arial"/>
                          <a:cs typeface="Arial"/>
                        </a:rPr>
                        <a:t> </a:t>
                      </a:r>
                      <a:r>
                        <a:rPr sz="1800" b="1" spc="-90" dirty="0">
                          <a:solidFill>
                            <a:srgbClr val="FFFFFF"/>
                          </a:solidFill>
                          <a:latin typeface="Arial"/>
                          <a:cs typeface="Arial"/>
                        </a:rPr>
                        <a:t>a</a:t>
                      </a:r>
                      <a:r>
                        <a:rPr sz="1800" b="1" spc="-65" dirty="0">
                          <a:solidFill>
                            <a:srgbClr val="FFFFFF"/>
                          </a:solidFill>
                          <a:latin typeface="Arial"/>
                          <a:cs typeface="Arial"/>
                        </a:rPr>
                        <a:t> </a:t>
                      </a:r>
                      <a:r>
                        <a:rPr sz="1800" b="1" spc="-175" dirty="0">
                          <a:solidFill>
                            <a:srgbClr val="FFFFFF"/>
                          </a:solidFill>
                          <a:latin typeface="Arial"/>
                          <a:cs typeface="Arial"/>
                        </a:rPr>
                        <a:t>CR, </a:t>
                      </a:r>
                      <a:r>
                        <a:rPr sz="1800" b="1" spc="-105" dirty="0">
                          <a:solidFill>
                            <a:srgbClr val="FFFFFF"/>
                          </a:solidFill>
                          <a:latin typeface="Arial"/>
                          <a:cs typeface="Arial"/>
                        </a:rPr>
                        <a:t>n</a:t>
                      </a:r>
                      <a:r>
                        <a:rPr sz="1800" b="1" spc="-60" dirty="0">
                          <a:solidFill>
                            <a:srgbClr val="FFFFFF"/>
                          </a:solidFill>
                          <a:latin typeface="Arial"/>
                          <a:cs typeface="Arial"/>
                        </a:rPr>
                        <a:t> </a:t>
                      </a:r>
                      <a:r>
                        <a:rPr sz="1800" b="1" spc="-120" dirty="0">
                          <a:solidFill>
                            <a:srgbClr val="FFFFFF"/>
                          </a:solidFill>
                          <a:latin typeface="Arial"/>
                          <a:cs typeface="Arial"/>
                        </a:rPr>
                        <a:t>=</a:t>
                      </a:r>
                      <a:r>
                        <a:rPr sz="1800" b="1" spc="-55" dirty="0">
                          <a:solidFill>
                            <a:srgbClr val="FFFFFF"/>
                          </a:solidFill>
                          <a:latin typeface="Arial"/>
                          <a:cs typeface="Arial"/>
                        </a:rPr>
                        <a:t> </a:t>
                      </a:r>
                      <a:r>
                        <a:rPr sz="1800" b="1" spc="-25" dirty="0">
                          <a:solidFill>
                            <a:srgbClr val="FFFFFF"/>
                          </a:solidFill>
                          <a:latin typeface="Arial"/>
                          <a:cs typeface="Arial"/>
                        </a:rPr>
                        <a:t>36</a:t>
                      </a:r>
                      <a:endParaRPr sz="1800">
                        <a:latin typeface="Arial"/>
                        <a:cs typeface="Arial"/>
                      </a:endParaRPr>
                    </a:p>
                  </a:txBody>
                  <a:tcPr marL="0" marR="0" marT="30019" marB="0">
                    <a:lnL w="12700">
                      <a:solidFill>
                        <a:srgbClr val="E7E6E6"/>
                      </a:solidFill>
                      <a:prstDash val="solid"/>
                    </a:lnL>
                    <a:lnR w="12700">
                      <a:solidFill>
                        <a:srgbClr val="E7E6E6"/>
                      </a:solidFill>
                      <a:prstDash val="solid"/>
                    </a:lnR>
                    <a:lnT w="12700">
                      <a:solidFill>
                        <a:srgbClr val="E7E6E6"/>
                      </a:solidFill>
                      <a:prstDash val="solid"/>
                    </a:lnT>
                    <a:lnB w="12700">
                      <a:solidFill>
                        <a:srgbClr val="E7E6E6"/>
                      </a:solidFill>
                      <a:prstDash val="solid"/>
                    </a:lnB>
                    <a:solidFill>
                      <a:srgbClr val="023CA6"/>
                    </a:solidFill>
                  </a:tcPr>
                </a:tc>
                <a:extLst>
                  <a:ext uri="{0D108BD9-81ED-4DB2-BD59-A6C34878D82A}">
                    <a16:rowId xmlns:a16="http://schemas.microsoft.com/office/drawing/2014/main" val="10000"/>
                  </a:ext>
                </a:extLst>
              </a:tr>
              <a:tr h="376382">
                <a:tc>
                  <a:txBody>
                    <a:bodyPr/>
                    <a:lstStyle/>
                    <a:p>
                      <a:pPr marL="74930">
                        <a:lnSpc>
                          <a:spcPct val="100000"/>
                        </a:lnSpc>
                        <a:spcBef>
                          <a:spcPts val="235"/>
                        </a:spcBef>
                      </a:pPr>
                      <a:r>
                        <a:rPr sz="1800" spc="-55" dirty="0">
                          <a:solidFill>
                            <a:srgbClr val="3F3F3F"/>
                          </a:solidFill>
                          <a:latin typeface="Arial"/>
                          <a:cs typeface="Arial"/>
                        </a:rPr>
                        <a:t>Patients</a:t>
                      </a:r>
                      <a:r>
                        <a:rPr sz="1800" spc="-45" dirty="0">
                          <a:solidFill>
                            <a:srgbClr val="3F3F3F"/>
                          </a:solidFill>
                          <a:latin typeface="Arial"/>
                          <a:cs typeface="Arial"/>
                        </a:rPr>
                        <a:t> </a:t>
                      </a:r>
                      <a:r>
                        <a:rPr sz="1800" dirty="0">
                          <a:solidFill>
                            <a:srgbClr val="3F3F3F"/>
                          </a:solidFill>
                          <a:latin typeface="Arial"/>
                          <a:cs typeface="Arial"/>
                        </a:rPr>
                        <a:t>with</a:t>
                      </a:r>
                      <a:r>
                        <a:rPr sz="1800" spc="-30" dirty="0">
                          <a:solidFill>
                            <a:srgbClr val="3F3F3F"/>
                          </a:solidFill>
                          <a:latin typeface="Arial"/>
                          <a:cs typeface="Arial"/>
                        </a:rPr>
                        <a:t> </a:t>
                      </a:r>
                      <a:r>
                        <a:rPr sz="1800" spc="-85" dirty="0">
                          <a:solidFill>
                            <a:srgbClr val="3F3F3F"/>
                          </a:solidFill>
                          <a:latin typeface="Arial"/>
                          <a:cs typeface="Arial"/>
                        </a:rPr>
                        <a:t>any</a:t>
                      </a:r>
                      <a:r>
                        <a:rPr sz="1800" spc="-20" dirty="0">
                          <a:solidFill>
                            <a:srgbClr val="3F3F3F"/>
                          </a:solidFill>
                          <a:latin typeface="Arial"/>
                          <a:cs typeface="Arial"/>
                        </a:rPr>
                        <a:t> TEAE</a:t>
                      </a:r>
                      <a:endParaRPr sz="1800">
                        <a:latin typeface="Arial"/>
                        <a:cs typeface="Arial"/>
                      </a:endParaRPr>
                    </a:p>
                  </a:txBody>
                  <a:tcPr marL="0" marR="0" marT="36176" marB="0">
                    <a:lnL w="12700">
                      <a:solidFill>
                        <a:srgbClr val="E7E6E6"/>
                      </a:solidFill>
                      <a:prstDash val="solid"/>
                    </a:lnL>
                    <a:lnR w="12700">
                      <a:solidFill>
                        <a:srgbClr val="E7E6E6"/>
                      </a:solidFill>
                      <a:prstDash val="solid"/>
                    </a:lnR>
                    <a:lnT w="12700">
                      <a:solidFill>
                        <a:srgbClr val="E7E6E6"/>
                      </a:solidFill>
                      <a:prstDash val="solid"/>
                    </a:lnT>
                    <a:solidFill>
                      <a:srgbClr val="E7E6E6"/>
                    </a:solidFill>
                  </a:tcPr>
                </a:tc>
                <a:tc>
                  <a:txBody>
                    <a:bodyPr/>
                    <a:lstStyle/>
                    <a:p>
                      <a:pPr marL="74930">
                        <a:lnSpc>
                          <a:spcPct val="100000"/>
                        </a:lnSpc>
                        <a:spcBef>
                          <a:spcPts val="235"/>
                        </a:spcBef>
                      </a:pPr>
                      <a:r>
                        <a:rPr sz="1800" spc="-10" dirty="0">
                          <a:solidFill>
                            <a:srgbClr val="3F3F3F"/>
                          </a:solidFill>
                          <a:latin typeface="Arial"/>
                          <a:cs typeface="Arial"/>
                        </a:rPr>
                        <a:t>98.6%</a:t>
                      </a:r>
                      <a:endParaRPr sz="1800">
                        <a:latin typeface="Arial"/>
                        <a:cs typeface="Arial"/>
                      </a:endParaRPr>
                    </a:p>
                  </a:txBody>
                  <a:tcPr marL="0" marR="0" marT="36176" marB="0">
                    <a:lnL w="12700">
                      <a:solidFill>
                        <a:srgbClr val="E7E6E6"/>
                      </a:solidFill>
                      <a:prstDash val="solid"/>
                    </a:lnL>
                    <a:lnR w="12700">
                      <a:solidFill>
                        <a:srgbClr val="E7E6E6"/>
                      </a:solidFill>
                      <a:prstDash val="solid"/>
                    </a:lnR>
                    <a:lnT w="12700">
                      <a:solidFill>
                        <a:srgbClr val="E7E6E6"/>
                      </a:solidFill>
                      <a:prstDash val="solid"/>
                    </a:lnT>
                    <a:solidFill>
                      <a:srgbClr val="E7E6E6"/>
                    </a:solidFill>
                  </a:tcPr>
                </a:tc>
                <a:tc>
                  <a:txBody>
                    <a:bodyPr/>
                    <a:lstStyle/>
                    <a:p>
                      <a:pPr marL="74930">
                        <a:lnSpc>
                          <a:spcPct val="100000"/>
                        </a:lnSpc>
                        <a:spcBef>
                          <a:spcPts val="235"/>
                        </a:spcBef>
                      </a:pPr>
                      <a:r>
                        <a:rPr sz="1800" spc="-20" dirty="0">
                          <a:solidFill>
                            <a:srgbClr val="3F3F3F"/>
                          </a:solidFill>
                          <a:latin typeface="Arial"/>
                          <a:cs typeface="Arial"/>
                        </a:rPr>
                        <a:t>100%</a:t>
                      </a:r>
                      <a:endParaRPr sz="1800">
                        <a:latin typeface="Arial"/>
                        <a:cs typeface="Arial"/>
                      </a:endParaRPr>
                    </a:p>
                  </a:txBody>
                  <a:tcPr marL="0" marR="0" marT="36176" marB="0">
                    <a:lnL w="12700">
                      <a:solidFill>
                        <a:srgbClr val="E7E6E6"/>
                      </a:solidFill>
                      <a:prstDash val="solid"/>
                    </a:lnL>
                    <a:lnR w="12700">
                      <a:solidFill>
                        <a:srgbClr val="E7E6E6"/>
                      </a:solidFill>
                      <a:prstDash val="solid"/>
                    </a:lnR>
                    <a:lnT w="12700">
                      <a:solidFill>
                        <a:srgbClr val="E7E6E6"/>
                      </a:solidFill>
                      <a:prstDash val="solid"/>
                    </a:lnT>
                    <a:solidFill>
                      <a:srgbClr val="E7E6E6"/>
                    </a:solidFill>
                  </a:tcPr>
                </a:tc>
                <a:extLst>
                  <a:ext uri="{0D108BD9-81ED-4DB2-BD59-A6C34878D82A}">
                    <a16:rowId xmlns:a16="http://schemas.microsoft.com/office/drawing/2014/main" val="10001"/>
                  </a:ext>
                </a:extLst>
              </a:tr>
              <a:tr h="357909">
                <a:tc>
                  <a:txBody>
                    <a:bodyPr/>
                    <a:lstStyle/>
                    <a:p>
                      <a:pPr marL="74930">
                        <a:lnSpc>
                          <a:spcPct val="100000"/>
                        </a:lnSpc>
                        <a:spcBef>
                          <a:spcPts val="200"/>
                        </a:spcBef>
                      </a:pPr>
                      <a:r>
                        <a:rPr sz="1800" spc="-70" dirty="0">
                          <a:solidFill>
                            <a:srgbClr val="3F3F3F"/>
                          </a:solidFill>
                          <a:latin typeface="Arial"/>
                          <a:cs typeface="Arial"/>
                        </a:rPr>
                        <a:t>Increased</a:t>
                      </a:r>
                      <a:r>
                        <a:rPr sz="1800" spc="-50" dirty="0">
                          <a:solidFill>
                            <a:srgbClr val="3F3F3F"/>
                          </a:solidFill>
                          <a:latin typeface="Arial"/>
                          <a:cs typeface="Arial"/>
                        </a:rPr>
                        <a:t> </a:t>
                      </a:r>
                      <a:r>
                        <a:rPr sz="1800" spc="-25" dirty="0">
                          <a:solidFill>
                            <a:srgbClr val="3F3F3F"/>
                          </a:solidFill>
                          <a:latin typeface="Arial"/>
                          <a:cs typeface="Arial"/>
                        </a:rPr>
                        <a:t>GGT</a:t>
                      </a:r>
                      <a:endParaRPr sz="1800">
                        <a:latin typeface="Arial"/>
                        <a:cs typeface="Arial"/>
                      </a:endParaRPr>
                    </a:p>
                  </a:txBody>
                  <a:tcPr marL="0" marR="0" marT="30788" marB="0">
                    <a:lnL w="12700">
                      <a:solidFill>
                        <a:srgbClr val="E7E6E6"/>
                      </a:solidFill>
                      <a:prstDash val="solid"/>
                    </a:lnL>
                    <a:lnR w="12700">
                      <a:solidFill>
                        <a:srgbClr val="E7E6E6"/>
                      </a:solidFill>
                      <a:prstDash val="solid"/>
                    </a:lnR>
                  </a:tcPr>
                </a:tc>
                <a:tc>
                  <a:txBody>
                    <a:bodyPr/>
                    <a:lstStyle/>
                    <a:p>
                      <a:pPr marL="74930">
                        <a:lnSpc>
                          <a:spcPct val="100000"/>
                        </a:lnSpc>
                        <a:spcBef>
                          <a:spcPts val="200"/>
                        </a:spcBef>
                      </a:pPr>
                      <a:r>
                        <a:rPr sz="1800" spc="-25" dirty="0">
                          <a:solidFill>
                            <a:srgbClr val="3F3F3F"/>
                          </a:solidFill>
                          <a:latin typeface="Arial"/>
                          <a:cs typeface="Arial"/>
                        </a:rPr>
                        <a:t>42%</a:t>
                      </a:r>
                      <a:endParaRPr sz="1800">
                        <a:latin typeface="Arial"/>
                        <a:cs typeface="Arial"/>
                      </a:endParaRPr>
                    </a:p>
                  </a:txBody>
                  <a:tcPr marL="0" marR="0" marT="30788" marB="0">
                    <a:lnL w="12700">
                      <a:solidFill>
                        <a:srgbClr val="E7E6E6"/>
                      </a:solidFill>
                      <a:prstDash val="solid"/>
                    </a:lnL>
                    <a:lnR w="12700">
                      <a:solidFill>
                        <a:srgbClr val="E7E6E6"/>
                      </a:solidFill>
                      <a:prstDash val="solid"/>
                    </a:lnR>
                  </a:tcPr>
                </a:tc>
                <a:tc>
                  <a:txBody>
                    <a:bodyPr/>
                    <a:lstStyle/>
                    <a:p>
                      <a:pPr marL="74930">
                        <a:lnSpc>
                          <a:spcPct val="100000"/>
                        </a:lnSpc>
                        <a:spcBef>
                          <a:spcPts val="200"/>
                        </a:spcBef>
                      </a:pPr>
                      <a:r>
                        <a:rPr sz="1800" spc="-25" dirty="0">
                          <a:solidFill>
                            <a:srgbClr val="3F3F3F"/>
                          </a:solidFill>
                          <a:latin typeface="Arial"/>
                          <a:cs typeface="Arial"/>
                        </a:rPr>
                        <a:t>50%</a:t>
                      </a:r>
                      <a:endParaRPr sz="1800">
                        <a:latin typeface="Arial"/>
                        <a:cs typeface="Arial"/>
                      </a:endParaRPr>
                    </a:p>
                  </a:txBody>
                  <a:tcPr marL="0" marR="0" marT="30788" marB="0">
                    <a:lnL w="12700">
                      <a:solidFill>
                        <a:srgbClr val="E7E6E6"/>
                      </a:solidFill>
                      <a:prstDash val="solid"/>
                    </a:lnL>
                    <a:lnR w="12700">
                      <a:solidFill>
                        <a:srgbClr val="E7E6E6"/>
                      </a:solidFill>
                      <a:prstDash val="solid"/>
                    </a:lnR>
                  </a:tcPr>
                </a:tc>
                <a:extLst>
                  <a:ext uri="{0D108BD9-81ED-4DB2-BD59-A6C34878D82A}">
                    <a16:rowId xmlns:a16="http://schemas.microsoft.com/office/drawing/2014/main" val="10002"/>
                  </a:ext>
                </a:extLst>
              </a:tr>
              <a:tr h="382540">
                <a:tc>
                  <a:txBody>
                    <a:bodyPr/>
                    <a:lstStyle/>
                    <a:p>
                      <a:pPr marL="74930">
                        <a:lnSpc>
                          <a:spcPct val="100000"/>
                        </a:lnSpc>
                        <a:spcBef>
                          <a:spcPts val="275"/>
                        </a:spcBef>
                      </a:pPr>
                      <a:r>
                        <a:rPr sz="1800" spc="-10" dirty="0">
                          <a:solidFill>
                            <a:srgbClr val="3F3F3F"/>
                          </a:solidFill>
                          <a:latin typeface="Arial"/>
                          <a:cs typeface="Arial"/>
                        </a:rPr>
                        <a:t>Neutropenia</a:t>
                      </a:r>
                      <a:endParaRPr sz="1800">
                        <a:latin typeface="Arial"/>
                        <a:cs typeface="Arial"/>
                      </a:endParaRPr>
                    </a:p>
                  </a:txBody>
                  <a:tcPr marL="0" marR="0" marT="42334" marB="0">
                    <a:lnL w="12700">
                      <a:solidFill>
                        <a:srgbClr val="E7E6E6"/>
                      </a:solidFill>
                      <a:prstDash val="solid"/>
                    </a:lnL>
                    <a:lnR w="12700">
                      <a:solidFill>
                        <a:srgbClr val="E7E6E6"/>
                      </a:solidFill>
                      <a:prstDash val="solid"/>
                    </a:lnR>
                    <a:solidFill>
                      <a:srgbClr val="E7E6E6"/>
                    </a:solidFill>
                  </a:tcPr>
                </a:tc>
                <a:tc>
                  <a:txBody>
                    <a:bodyPr/>
                    <a:lstStyle/>
                    <a:p>
                      <a:pPr marL="74930">
                        <a:lnSpc>
                          <a:spcPct val="100000"/>
                        </a:lnSpc>
                        <a:spcBef>
                          <a:spcPts val="275"/>
                        </a:spcBef>
                      </a:pPr>
                      <a:r>
                        <a:rPr sz="1800" spc="-25" dirty="0">
                          <a:solidFill>
                            <a:srgbClr val="3F3F3F"/>
                          </a:solidFill>
                          <a:latin typeface="Arial"/>
                          <a:cs typeface="Arial"/>
                        </a:rPr>
                        <a:t>40%</a:t>
                      </a:r>
                      <a:endParaRPr sz="1800">
                        <a:latin typeface="Arial"/>
                        <a:cs typeface="Arial"/>
                      </a:endParaRPr>
                    </a:p>
                  </a:txBody>
                  <a:tcPr marL="0" marR="0" marT="42334" marB="0">
                    <a:lnL w="12700">
                      <a:solidFill>
                        <a:srgbClr val="E7E6E6"/>
                      </a:solidFill>
                      <a:prstDash val="solid"/>
                    </a:lnL>
                    <a:lnR w="12700">
                      <a:solidFill>
                        <a:srgbClr val="E7E6E6"/>
                      </a:solidFill>
                      <a:prstDash val="solid"/>
                    </a:lnR>
                    <a:solidFill>
                      <a:srgbClr val="E7E6E6"/>
                    </a:solidFill>
                  </a:tcPr>
                </a:tc>
                <a:tc>
                  <a:txBody>
                    <a:bodyPr/>
                    <a:lstStyle/>
                    <a:p>
                      <a:pPr marL="74930">
                        <a:lnSpc>
                          <a:spcPct val="100000"/>
                        </a:lnSpc>
                        <a:spcBef>
                          <a:spcPts val="275"/>
                        </a:spcBef>
                      </a:pPr>
                      <a:r>
                        <a:rPr sz="1800" spc="-25" dirty="0">
                          <a:solidFill>
                            <a:srgbClr val="3F3F3F"/>
                          </a:solidFill>
                          <a:latin typeface="Arial"/>
                          <a:cs typeface="Arial"/>
                        </a:rPr>
                        <a:t>42%</a:t>
                      </a:r>
                      <a:endParaRPr sz="1800">
                        <a:latin typeface="Arial"/>
                        <a:cs typeface="Arial"/>
                      </a:endParaRPr>
                    </a:p>
                  </a:txBody>
                  <a:tcPr marL="0" marR="0" marT="42334" marB="0">
                    <a:lnL w="12700">
                      <a:solidFill>
                        <a:srgbClr val="E7E6E6"/>
                      </a:solidFill>
                      <a:prstDash val="solid"/>
                    </a:lnL>
                    <a:lnR w="12700">
                      <a:solidFill>
                        <a:srgbClr val="E7E6E6"/>
                      </a:solidFill>
                      <a:prstDash val="solid"/>
                    </a:lnR>
                    <a:solidFill>
                      <a:srgbClr val="E7E6E6"/>
                    </a:solidFill>
                  </a:tcPr>
                </a:tc>
                <a:extLst>
                  <a:ext uri="{0D108BD9-81ED-4DB2-BD59-A6C34878D82A}">
                    <a16:rowId xmlns:a16="http://schemas.microsoft.com/office/drawing/2014/main" val="10003"/>
                  </a:ext>
                </a:extLst>
              </a:tr>
              <a:tr h="357909">
                <a:tc>
                  <a:txBody>
                    <a:bodyPr/>
                    <a:lstStyle/>
                    <a:p>
                      <a:pPr marL="74930">
                        <a:lnSpc>
                          <a:spcPct val="100000"/>
                        </a:lnSpc>
                        <a:spcBef>
                          <a:spcPts val="200"/>
                        </a:spcBef>
                      </a:pPr>
                      <a:r>
                        <a:rPr sz="1800" spc="-10" dirty="0">
                          <a:solidFill>
                            <a:srgbClr val="3F3F3F"/>
                          </a:solidFill>
                          <a:latin typeface="Arial"/>
                          <a:cs typeface="Arial"/>
                        </a:rPr>
                        <a:t>Thrombocytopenia</a:t>
                      </a:r>
                      <a:endParaRPr sz="1800">
                        <a:latin typeface="Arial"/>
                        <a:cs typeface="Arial"/>
                      </a:endParaRPr>
                    </a:p>
                  </a:txBody>
                  <a:tcPr marL="0" marR="0" marT="30788" marB="0">
                    <a:lnL w="12700">
                      <a:solidFill>
                        <a:srgbClr val="E7E6E6"/>
                      </a:solidFill>
                      <a:prstDash val="solid"/>
                    </a:lnL>
                    <a:lnR w="12700">
                      <a:solidFill>
                        <a:srgbClr val="E7E6E6"/>
                      </a:solidFill>
                      <a:prstDash val="solid"/>
                    </a:lnR>
                  </a:tcPr>
                </a:tc>
                <a:tc>
                  <a:txBody>
                    <a:bodyPr/>
                    <a:lstStyle/>
                    <a:p>
                      <a:pPr marL="74930">
                        <a:lnSpc>
                          <a:spcPct val="100000"/>
                        </a:lnSpc>
                        <a:spcBef>
                          <a:spcPts val="200"/>
                        </a:spcBef>
                      </a:pPr>
                      <a:r>
                        <a:rPr sz="1800" spc="-25" dirty="0">
                          <a:solidFill>
                            <a:srgbClr val="3F3F3F"/>
                          </a:solidFill>
                          <a:latin typeface="Arial"/>
                          <a:cs typeface="Arial"/>
                        </a:rPr>
                        <a:t>33%</a:t>
                      </a:r>
                      <a:endParaRPr sz="1800">
                        <a:latin typeface="Arial"/>
                        <a:cs typeface="Arial"/>
                      </a:endParaRPr>
                    </a:p>
                  </a:txBody>
                  <a:tcPr marL="0" marR="0" marT="30788" marB="0">
                    <a:lnL w="12700">
                      <a:solidFill>
                        <a:srgbClr val="E7E6E6"/>
                      </a:solidFill>
                      <a:prstDash val="solid"/>
                    </a:lnL>
                    <a:lnR w="12700">
                      <a:solidFill>
                        <a:srgbClr val="E7E6E6"/>
                      </a:solidFill>
                      <a:prstDash val="solid"/>
                    </a:lnR>
                  </a:tcPr>
                </a:tc>
                <a:tc>
                  <a:txBody>
                    <a:bodyPr/>
                    <a:lstStyle/>
                    <a:p>
                      <a:pPr marL="74930">
                        <a:lnSpc>
                          <a:spcPct val="100000"/>
                        </a:lnSpc>
                        <a:spcBef>
                          <a:spcPts val="200"/>
                        </a:spcBef>
                      </a:pPr>
                      <a:r>
                        <a:rPr sz="1800" spc="-25" dirty="0">
                          <a:solidFill>
                            <a:srgbClr val="3F3F3F"/>
                          </a:solidFill>
                          <a:latin typeface="Arial"/>
                          <a:cs typeface="Arial"/>
                        </a:rPr>
                        <a:t>36%</a:t>
                      </a:r>
                      <a:endParaRPr sz="1800">
                        <a:latin typeface="Arial"/>
                        <a:cs typeface="Arial"/>
                      </a:endParaRPr>
                    </a:p>
                  </a:txBody>
                  <a:tcPr marL="0" marR="0" marT="30788" marB="0">
                    <a:lnL w="12700">
                      <a:solidFill>
                        <a:srgbClr val="E7E6E6"/>
                      </a:solidFill>
                      <a:prstDash val="solid"/>
                    </a:lnL>
                    <a:lnR w="12700">
                      <a:solidFill>
                        <a:srgbClr val="E7E6E6"/>
                      </a:solidFill>
                      <a:prstDash val="solid"/>
                    </a:lnR>
                  </a:tcPr>
                </a:tc>
                <a:extLst>
                  <a:ext uri="{0D108BD9-81ED-4DB2-BD59-A6C34878D82A}">
                    <a16:rowId xmlns:a16="http://schemas.microsoft.com/office/drawing/2014/main" val="10004"/>
                  </a:ext>
                </a:extLst>
              </a:tr>
              <a:tr h="382540">
                <a:tc>
                  <a:txBody>
                    <a:bodyPr/>
                    <a:lstStyle/>
                    <a:p>
                      <a:pPr marL="74930">
                        <a:lnSpc>
                          <a:spcPct val="100000"/>
                        </a:lnSpc>
                        <a:spcBef>
                          <a:spcPts val="275"/>
                        </a:spcBef>
                      </a:pPr>
                      <a:r>
                        <a:rPr sz="1800" spc="-10" dirty="0">
                          <a:solidFill>
                            <a:srgbClr val="3F3F3F"/>
                          </a:solidFill>
                          <a:latin typeface="Arial"/>
                          <a:cs typeface="Arial"/>
                        </a:rPr>
                        <a:t>Anemia</a:t>
                      </a:r>
                      <a:endParaRPr sz="1800">
                        <a:latin typeface="Arial"/>
                        <a:cs typeface="Arial"/>
                      </a:endParaRPr>
                    </a:p>
                  </a:txBody>
                  <a:tcPr marL="0" marR="0" marT="42334" marB="0">
                    <a:lnL w="12700">
                      <a:solidFill>
                        <a:srgbClr val="E7E6E6"/>
                      </a:solidFill>
                      <a:prstDash val="solid"/>
                    </a:lnL>
                    <a:lnR w="12700">
                      <a:solidFill>
                        <a:srgbClr val="E7E6E6"/>
                      </a:solidFill>
                      <a:prstDash val="solid"/>
                    </a:lnR>
                    <a:solidFill>
                      <a:srgbClr val="E7E6E6"/>
                    </a:solidFill>
                  </a:tcPr>
                </a:tc>
                <a:tc>
                  <a:txBody>
                    <a:bodyPr/>
                    <a:lstStyle/>
                    <a:p>
                      <a:pPr marL="74930">
                        <a:lnSpc>
                          <a:spcPct val="100000"/>
                        </a:lnSpc>
                        <a:spcBef>
                          <a:spcPts val="275"/>
                        </a:spcBef>
                      </a:pPr>
                      <a:r>
                        <a:rPr sz="1800" spc="-25" dirty="0">
                          <a:solidFill>
                            <a:srgbClr val="3F3F3F"/>
                          </a:solidFill>
                          <a:latin typeface="Arial"/>
                          <a:cs typeface="Arial"/>
                        </a:rPr>
                        <a:t>26%</a:t>
                      </a:r>
                      <a:endParaRPr sz="1800">
                        <a:latin typeface="Arial"/>
                        <a:cs typeface="Arial"/>
                      </a:endParaRPr>
                    </a:p>
                  </a:txBody>
                  <a:tcPr marL="0" marR="0" marT="42334" marB="0">
                    <a:lnL w="12700">
                      <a:solidFill>
                        <a:srgbClr val="E7E6E6"/>
                      </a:solidFill>
                      <a:prstDash val="solid"/>
                    </a:lnL>
                    <a:lnR w="12700">
                      <a:solidFill>
                        <a:srgbClr val="E7E6E6"/>
                      </a:solidFill>
                      <a:prstDash val="solid"/>
                    </a:lnR>
                    <a:solidFill>
                      <a:srgbClr val="E7E6E6"/>
                    </a:solidFill>
                  </a:tcPr>
                </a:tc>
                <a:tc>
                  <a:txBody>
                    <a:bodyPr/>
                    <a:lstStyle/>
                    <a:p>
                      <a:pPr marL="74930">
                        <a:lnSpc>
                          <a:spcPct val="100000"/>
                        </a:lnSpc>
                        <a:spcBef>
                          <a:spcPts val="275"/>
                        </a:spcBef>
                      </a:pPr>
                      <a:r>
                        <a:rPr sz="1800" spc="-25" dirty="0">
                          <a:solidFill>
                            <a:srgbClr val="3F3F3F"/>
                          </a:solidFill>
                          <a:latin typeface="Arial"/>
                          <a:cs typeface="Arial"/>
                        </a:rPr>
                        <a:t>36%</a:t>
                      </a:r>
                      <a:endParaRPr sz="1800">
                        <a:latin typeface="Arial"/>
                        <a:cs typeface="Arial"/>
                      </a:endParaRPr>
                    </a:p>
                  </a:txBody>
                  <a:tcPr marL="0" marR="0" marT="42334" marB="0">
                    <a:lnL w="12700">
                      <a:solidFill>
                        <a:srgbClr val="E7E6E6"/>
                      </a:solidFill>
                      <a:prstDash val="solid"/>
                    </a:lnL>
                    <a:lnR w="12700">
                      <a:solidFill>
                        <a:srgbClr val="E7E6E6"/>
                      </a:solidFill>
                      <a:prstDash val="solid"/>
                    </a:lnR>
                    <a:solidFill>
                      <a:srgbClr val="E7E6E6"/>
                    </a:solidFill>
                  </a:tcPr>
                </a:tc>
                <a:extLst>
                  <a:ext uri="{0D108BD9-81ED-4DB2-BD59-A6C34878D82A}">
                    <a16:rowId xmlns:a16="http://schemas.microsoft.com/office/drawing/2014/main" val="10005"/>
                  </a:ext>
                </a:extLst>
              </a:tr>
              <a:tr h="357909">
                <a:tc>
                  <a:txBody>
                    <a:bodyPr/>
                    <a:lstStyle/>
                    <a:p>
                      <a:pPr marL="74930">
                        <a:lnSpc>
                          <a:spcPct val="100000"/>
                        </a:lnSpc>
                        <a:spcBef>
                          <a:spcPts val="200"/>
                        </a:spcBef>
                      </a:pPr>
                      <a:r>
                        <a:rPr sz="1800" spc="-55" dirty="0">
                          <a:solidFill>
                            <a:srgbClr val="3F3F3F"/>
                          </a:solidFill>
                          <a:latin typeface="Arial"/>
                          <a:cs typeface="Arial"/>
                        </a:rPr>
                        <a:t>Peripheral</a:t>
                      </a:r>
                      <a:r>
                        <a:rPr sz="1800" spc="-50" dirty="0">
                          <a:solidFill>
                            <a:srgbClr val="3F3F3F"/>
                          </a:solidFill>
                          <a:latin typeface="Arial"/>
                          <a:cs typeface="Arial"/>
                        </a:rPr>
                        <a:t> </a:t>
                      </a:r>
                      <a:r>
                        <a:rPr sz="1800" spc="-10" dirty="0">
                          <a:solidFill>
                            <a:srgbClr val="3F3F3F"/>
                          </a:solidFill>
                          <a:latin typeface="Arial"/>
                          <a:cs typeface="Arial"/>
                        </a:rPr>
                        <a:t>edema</a:t>
                      </a:r>
                      <a:endParaRPr sz="1800">
                        <a:latin typeface="Arial"/>
                        <a:cs typeface="Arial"/>
                      </a:endParaRPr>
                    </a:p>
                  </a:txBody>
                  <a:tcPr marL="0" marR="0" marT="30788" marB="0">
                    <a:lnL w="12700">
                      <a:solidFill>
                        <a:srgbClr val="E7E6E6"/>
                      </a:solidFill>
                      <a:prstDash val="solid"/>
                    </a:lnL>
                    <a:lnR w="12700">
                      <a:solidFill>
                        <a:srgbClr val="E7E6E6"/>
                      </a:solidFill>
                      <a:prstDash val="solid"/>
                    </a:lnR>
                  </a:tcPr>
                </a:tc>
                <a:tc>
                  <a:txBody>
                    <a:bodyPr/>
                    <a:lstStyle/>
                    <a:p>
                      <a:pPr marL="74930">
                        <a:lnSpc>
                          <a:spcPct val="100000"/>
                        </a:lnSpc>
                        <a:spcBef>
                          <a:spcPts val="200"/>
                        </a:spcBef>
                      </a:pPr>
                      <a:r>
                        <a:rPr sz="1800" spc="-25" dirty="0">
                          <a:solidFill>
                            <a:srgbClr val="3F3F3F"/>
                          </a:solidFill>
                          <a:latin typeface="Arial"/>
                          <a:cs typeface="Arial"/>
                        </a:rPr>
                        <a:t>20%</a:t>
                      </a:r>
                      <a:endParaRPr sz="1800">
                        <a:latin typeface="Arial"/>
                        <a:cs typeface="Arial"/>
                      </a:endParaRPr>
                    </a:p>
                  </a:txBody>
                  <a:tcPr marL="0" marR="0" marT="30788" marB="0">
                    <a:lnL w="12700">
                      <a:solidFill>
                        <a:srgbClr val="E7E6E6"/>
                      </a:solidFill>
                      <a:prstDash val="solid"/>
                    </a:lnL>
                    <a:lnR w="12700">
                      <a:solidFill>
                        <a:srgbClr val="E7E6E6"/>
                      </a:solidFill>
                      <a:prstDash val="solid"/>
                    </a:lnR>
                  </a:tcPr>
                </a:tc>
                <a:tc>
                  <a:txBody>
                    <a:bodyPr/>
                    <a:lstStyle/>
                    <a:p>
                      <a:pPr marL="74930">
                        <a:lnSpc>
                          <a:spcPct val="100000"/>
                        </a:lnSpc>
                        <a:spcBef>
                          <a:spcPts val="200"/>
                        </a:spcBef>
                      </a:pPr>
                      <a:r>
                        <a:rPr sz="1800" spc="-25" dirty="0">
                          <a:solidFill>
                            <a:srgbClr val="3F3F3F"/>
                          </a:solidFill>
                          <a:latin typeface="Arial"/>
                          <a:cs typeface="Arial"/>
                        </a:rPr>
                        <a:t>33%</a:t>
                      </a:r>
                      <a:endParaRPr sz="1800">
                        <a:latin typeface="Arial"/>
                        <a:cs typeface="Arial"/>
                      </a:endParaRPr>
                    </a:p>
                  </a:txBody>
                  <a:tcPr marL="0" marR="0" marT="30788" marB="0">
                    <a:lnL w="12700">
                      <a:solidFill>
                        <a:srgbClr val="E7E6E6"/>
                      </a:solidFill>
                      <a:prstDash val="solid"/>
                    </a:lnL>
                    <a:lnR w="12700">
                      <a:solidFill>
                        <a:srgbClr val="E7E6E6"/>
                      </a:solidFill>
                      <a:prstDash val="solid"/>
                    </a:lnR>
                  </a:tcPr>
                </a:tc>
                <a:extLst>
                  <a:ext uri="{0D108BD9-81ED-4DB2-BD59-A6C34878D82A}">
                    <a16:rowId xmlns:a16="http://schemas.microsoft.com/office/drawing/2014/main" val="10006"/>
                  </a:ext>
                </a:extLst>
              </a:tr>
              <a:tr h="382540">
                <a:tc>
                  <a:txBody>
                    <a:bodyPr/>
                    <a:lstStyle/>
                    <a:p>
                      <a:pPr marL="74930">
                        <a:lnSpc>
                          <a:spcPct val="100000"/>
                        </a:lnSpc>
                        <a:spcBef>
                          <a:spcPts val="275"/>
                        </a:spcBef>
                      </a:pPr>
                      <a:r>
                        <a:rPr sz="1800" spc="-10" dirty="0">
                          <a:solidFill>
                            <a:srgbClr val="3F3F3F"/>
                          </a:solidFill>
                          <a:latin typeface="Arial"/>
                          <a:cs typeface="Arial"/>
                        </a:rPr>
                        <a:t>Nausea</a:t>
                      </a:r>
                      <a:endParaRPr sz="1800">
                        <a:latin typeface="Arial"/>
                        <a:cs typeface="Arial"/>
                      </a:endParaRPr>
                    </a:p>
                  </a:txBody>
                  <a:tcPr marL="0" marR="0" marT="42334" marB="0">
                    <a:lnL w="12700">
                      <a:solidFill>
                        <a:srgbClr val="E7E6E6"/>
                      </a:solidFill>
                      <a:prstDash val="solid"/>
                    </a:lnL>
                    <a:lnR w="12700">
                      <a:solidFill>
                        <a:srgbClr val="E7E6E6"/>
                      </a:solidFill>
                      <a:prstDash val="solid"/>
                    </a:lnR>
                    <a:solidFill>
                      <a:srgbClr val="E7E6E6"/>
                    </a:solidFill>
                  </a:tcPr>
                </a:tc>
                <a:tc>
                  <a:txBody>
                    <a:bodyPr/>
                    <a:lstStyle/>
                    <a:p>
                      <a:pPr marL="74930">
                        <a:lnSpc>
                          <a:spcPct val="100000"/>
                        </a:lnSpc>
                        <a:spcBef>
                          <a:spcPts val="275"/>
                        </a:spcBef>
                      </a:pPr>
                      <a:r>
                        <a:rPr sz="1800" spc="-25" dirty="0">
                          <a:solidFill>
                            <a:srgbClr val="3F3F3F"/>
                          </a:solidFill>
                          <a:latin typeface="Arial"/>
                          <a:cs typeface="Arial"/>
                        </a:rPr>
                        <a:t>23%</a:t>
                      </a:r>
                      <a:endParaRPr sz="1800">
                        <a:latin typeface="Arial"/>
                        <a:cs typeface="Arial"/>
                      </a:endParaRPr>
                    </a:p>
                  </a:txBody>
                  <a:tcPr marL="0" marR="0" marT="42334" marB="0">
                    <a:lnL w="12700">
                      <a:solidFill>
                        <a:srgbClr val="E7E6E6"/>
                      </a:solidFill>
                      <a:prstDash val="solid"/>
                    </a:lnL>
                    <a:lnR w="12700">
                      <a:solidFill>
                        <a:srgbClr val="E7E6E6"/>
                      </a:solidFill>
                      <a:prstDash val="solid"/>
                    </a:lnR>
                    <a:solidFill>
                      <a:srgbClr val="E7E6E6"/>
                    </a:solidFill>
                  </a:tcPr>
                </a:tc>
                <a:tc>
                  <a:txBody>
                    <a:bodyPr/>
                    <a:lstStyle/>
                    <a:p>
                      <a:pPr marL="74930">
                        <a:lnSpc>
                          <a:spcPct val="100000"/>
                        </a:lnSpc>
                        <a:spcBef>
                          <a:spcPts val="275"/>
                        </a:spcBef>
                      </a:pPr>
                      <a:r>
                        <a:rPr sz="1800" spc="-25" dirty="0">
                          <a:solidFill>
                            <a:srgbClr val="3F3F3F"/>
                          </a:solidFill>
                          <a:latin typeface="Arial"/>
                          <a:cs typeface="Arial"/>
                        </a:rPr>
                        <a:t>31%</a:t>
                      </a:r>
                      <a:endParaRPr sz="1800">
                        <a:latin typeface="Arial"/>
                        <a:cs typeface="Arial"/>
                      </a:endParaRPr>
                    </a:p>
                  </a:txBody>
                  <a:tcPr marL="0" marR="0" marT="42334" marB="0">
                    <a:lnL w="12700">
                      <a:solidFill>
                        <a:srgbClr val="E7E6E6"/>
                      </a:solidFill>
                      <a:prstDash val="solid"/>
                    </a:lnL>
                    <a:lnR w="12700">
                      <a:solidFill>
                        <a:srgbClr val="E7E6E6"/>
                      </a:solidFill>
                      <a:prstDash val="solid"/>
                    </a:lnR>
                    <a:solidFill>
                      <a:srgbClr val="E7E6E6"/>
                    </a:solidFill>
                  </a:tcPr>
                </a:tc>
                <a:extLst>
                  <a:ext uri="{0D108BD9-81ED-4DB2-BD59-A6C34878D82A}">
                    <a16:rowId xmlns:a16="http://schemas.microsoft.com/office/drawing/2014/main" val="10007"/>
                  </a:ext>
                </a:extLst>
              </a:tr>
            </a:tbl>
          </a:graphicData>
        </a:graphic>
      </p:graphicFrame>
      <p:graphicFrame>
        <p:nvGraphicFramePr>
          <p:cNvPr id="5" name="object 5"/>
          <p:cNvGraphicFramePr>
            <a:graphicFrameLocks noGrp="1"/>
          </p:cNvGraphicFramePr>
          <p:nvPr/>
        </p:nvGraphicFramePr>
        <p:xfrm>
          <a:off x="6339956" y="1585539"/>
          <a:ext cx="4918362" cy="3719791"/>
        </p:xfrm>
        <a:graphic>
          <a:graphicData uri="http://schemas.openxmlformats.org/drawingml/2006/table">
            <a:tbl>
              <a:tblPr firstRow="1" bandRow="1">
                <a:tableStyleId>{2D5ABB26-0587-4C30-8999-92F81FD0307C}</a:tableStyleId>
              </a:tblPr>
              <a:tblGrid>
                <a:gridCol w="2315248">
                  <a:extLst>
                    <a:ext uri="{9D8B030D-6E8A-4147-A177-3AD203B41FA5}">
                      <a16:colId xmlns:a16="http://schemas.microsoft.com/office/drawing/2014/main" val="20000"/>
                    </a:ext>
                  </a:extLst>
                </a:gridCol>
                <a:gridCol w="1303867">
                  <a:extLst>
                    <a:ext uri="{9D8B030D-6E8A-4147-A177-3AD203B41FA5}">
                      <a16:colId xmlns:a16="http://schemas.microsoft.com/office/drawing/2014/main" val="20001"/>
                    </a:ext>
                  </a:extLst>
                </a:gridCol>
                <a:gridCol w="1299247">
                  <a:extLst>
                    <a:ext uri="{9D8B030D-6E8A-4147-A177-3AD203B41FA5}">
                      <a16:colId xmlns:a16="http://schemas.microsoft.com/office/drawing/2014/main" val="20002"/>
                    </a:ext>
                  </a:extLst>
                </a:gridCol>
              </a:tblGrid>
              <a:tr h="913631">
                <a:tc>
                  <a:txBody>
                    <a:bodyPr/>
                    <a:lstStyle/>
                    <a:p>
                      <a:pPr marL="74295">
                        <a:lnSpc>
                          <a:spcPct val="100000"/>
                        </a:lnSpc>
                        <a:spcBef>
                          <a:spcPts val="235"/>
                        </a:spcBef>
                      </a:pPr>
                      <a:r>
                        <a:rPr sz="1800" b="1" spc="-180" dirty="0">
                          <a:solidFill>
                            <a:srgbClr val="FFFFFF"/>
                          </a:solidFill>
                          <a:latin typeface="Arial"/>
                          <a:cs typeface="Arial"/>
                        </a:rPr>
                        <a:t>TEAEs,</a:t>
                      </a:r>
                      <a:r>
                        <a:rPr sz="1800" b="1" spc="-70" dirty="0">
                          <a:solidFill>
                            <a:srgbClr val="FFFFFF"/>
                          </a:solidFill>
                          <a:latin typeface="Arial"/>
                          <a:cs typeface="Arial"/>
                        </a:rPr>
                        <a:t> </a:t>
                      </a:r>
                      <a:r>
                        <a:rPr sz="1800" b="1" spc="-105" dirty="0">
                          <a:solidFill>
                            <a:srgbClr val="FFFFFF"/>
                          </a:solidFill>
                          <a:latin typeface="Arial"/>
                          <a:cs typeface="Arial"/>
                        </a:rPr>
                        <a:t>grade</a:t>
                      </a:r>
                      <a:r>
                        <a:rPr sz="1800" b="1" spc="-70" dirty="0">
                          <a:solidFill>
                            <a:srgbClr val="FFFFFF"/>
                          </a:solidFill>
                          <a:latin typeface="Arial"/>
                          <a:cs typeface="Arial"/>
                        </a:rPr>
                        <a:t> ≥3</a:t>
                      </a:r>
                      <a:r>
                        <a:rPr sz="1800" b="1" spc="-50" dirty="0">
                          <a:solidFill>
                            <a:srgbClr val="FFFFFF"/>
                          </a:solidFill>
                          <a:latin typeface="Arial"/>
                          <a:cs typeface="Arial"/>
                        </a:rPr>
                        <a:t> </a:t>
                      </a:r>
                      <a:r>
                        <a:rPr sz="1800" b="1" spc="-25" dirty="0">
                          <a:solidFill>
                            <a:srgbClr val="FFFFFF"/>
                          </a:solidFill>
                          <a:latin typeface="Arial"/>
                          <a:cs typeface="Arial"/>
                        </a:rPr>
                        <a:t>in</a:t>
                      </a:r>
                      <a:endParaRPr sz="1800">
                        <a:latin typeface="Arial"/>
                        <a:cs typeface="Arial"/>
                      </a:endParaRPr>
                    </a:p>
                    <a:p>
                      <a:pPr marL="74295">
                        <a:lnSpc>
                          <a:spcPct val="100000"/>
                        </a:lnSpc>
                        <a:spcBef>
                          <a:spcPts val="40"/>
                        </a:spcBef>
                      </a:pPr>
                      <a:r>
                        <a:rPr sz="1800" b="1" spc="-114" dirty="0">
                          <a:solidFill>
                            <a:srgbClr val="FFFFFF"/>
                          </a:solidFill>
                          <a:latin typeface="Arial"/>
                          <a:cs typeface="Arial"/>
                        </a:rPr>
                        <a:t>≥10%</a:t>
                      </a:r>
                      <a:r>
                        <a:rPr sz="1800" b="1" spc="-45" dirty="0">
                          <a:solidFill>
                            <a:srgbClr val="FFFFFF"/>
                          </a:solidFill>
                          <a:latin typeface="Arial"/>
                          <a:cs typeface="Arial"/>
                        </a:rPr>
                        <a:t> </a:t>
                      </a:r>
                      <a:r>
                        <a:rPr sz="1800" b="1" spc="-65" dirty="0">
                          <a:solidFill>
                            <a:srgbClr val="FFFFFF"/>
                          </a:solidFill>
                          <a:latin typeface="Arial"/>
                          <a:cs typeface="Arial"/>
                        </a:rPr>
                        <a:t>of</a:t>
                      </a:r>
                      <a:r>
                        <a:rPr sz="1800" b="1" spc="-45" dirty="0">
                          <a:solidFill>
                            <a:srgbClr val="FFFFFF"/>
                          </a:solidFill>
                          <a:latin typeface="Arial"/>
                          <a:cs typeface="Arial"/>
                        </a:rPr>
                        <a:t> </a:t>
                      </a:r>
                      <a:r>
                        <a:rPr sz="1800" b="1" spc="-10" dirty="0">
                          <a:solidFill>
                            <a:srgbClr val="FFFFFF"/>
                          </a:solidFill>
                          <a:latin typeface="Arial"/>
                          <a:cs typeface="Arial"/>
                        </a:rPr>
                        <a:t>patients</a:t>
                      </a:r>
                      <a:endParaRPr sz="1800">
                        <a:latin typeface="Arial"/>
                        <a:cs typeface="Arial"/>
                      </a:endParaRPr>
                    </a:p>
                  </a:txBody>
                  <a:tcPr marL="0" marR="0" marT="36176" marB="0">
                    <a:lnL w="12700">
                      <a:solidFill>
                        <a:srgbClr val="E7E6E6"/>
                      </a:solidFill>
                      <a:prstDash val="solid"/>
                    </a:lnL>
                    <a:lnR w="12700">
                      <a:solidFill>
                        <a:srgbClr val="E7E6E6"/>
                      </a:solidFill>
                      <a:prstDash val="solid"/>
                    </a:lnR>
                    <a:lnT w="12700">
                      <a:solidFill>
                        <a:srgbClr val="E7E6E6"/>
                      </a:solidFill>
                      <a:prstDash val="solid"/>
                    </a:lnT>
                    <a:lnB w="12700">
                      <a:solidFill>
                        <a:srgbClr val="E7E6E6"/>
                      </a:solidFill>
                      <a:prstDash val="solid"/>
                    </a:lnB>
                    <a:solidFill>
                      <a:srgbClr val="023CA6"/>
                    </a:solidFill>
                  </a:tcPr>
                </a:tc>
                <a:tc>
                  <a:txBody>
                    <a:bodyPr/>
                    <a:lstStyle/>
                    <a:p>
                      <a:pPr marL="74930" marR="87630">
                        <a:lnSpc>
                          <a:spcPct val="102400"/>
                        </a:lnSpc>
                        <a:spcBef>
                          <a:spcPts val="195"/>
                        </a:spcBef>
                      </a:pPr>
                      <a:r>
                        <a:rPr sz="1800" b="1" spc="-60" dirty="0">
                          <a:solidFill>
                            <a:srgbClr val="FFFFFF"/>
                          </a:solidFill>
                          <a:latin typeface="Arial"/>
                          <a:cs typeface="Arial"/>
                        </a:rPr>
                        <a:t>All-</a:t>
                      </a:r>
                      <a:r>
                        <a:rPr sz="1800" b="1" spc="-10" dirty="0">
                          <a:solidFill>
                            <a:srgbClr val="FFFFFF"/>
                          </a:solidFill>
                          <a:latin typeface="Arial"/>
                          <a:cs typeface="Arial"/>
                        </a:rPr>
                        <a:t>treated </a:t>
                      </a:r>
                      <a:r>
                        <a:rPr sz="1800" b="1" spc="-75" dirty="0">
                          <a:solidFill>
                            <a:srgbClr val="FFFFFF"/>
                          </a:solidFill>
                          <a:latin typeface="Arial"/>
                          <a:cs typeface="Arial"/>
                        </a:rPr>
                        <a:t>population, </a:t>
                      </a:r>
                      <a:r>
                        <a:rPr sz="1800" b="1" spc="-80" dirty="0">
                          <a:solidFill>
                            <a:srgbClr val="FFFFFF"/>
                          </a:solidFill>
                          <a:latin typeface="Arial"/>
                          <a:cs typeface="Arial"/>
                        </a:rPr>
                        <a:t>N</a:t>
                      </a:r>
                      <a:r>
                        <a:rPr sz="1800" b="1" spc="-60" dirty="0">
                          <a:solidFill>
                            <a:srgbClr val="FFFFFF"/>
                          </a:solidFill>
                          <a:latin typeface="Arial"/>
                          <a:cs typeface="Arial"/>
                        </a:rPr>
                        <a:t> </a:t>
                      </a:r>
                      <a:r>
                        <a:rPr sz="1800" b="1" spc="-120" dirty="0">
                          <a:solidFill>
                            <a:srgbClr val="FFFFFF"/>
                          </a:solidFill>
                          <a:latin typeface="Arial"/>
                          <a:cs typeface="Arial"/>
                        </a:rPr>
                        <a:t>=</a:t>
                      </a:r>
                      <a:r>
                        <a:rPr sz="1800" b="1" spc="-55" dirty="0">
                          <a:solidFill>
                            <a:srgbClr val="FFFFFF"/>
                          </a:solidFill>
                          <a:latin typeface="Arial"/>
                          <a:cs typeface="Arial"/>
                        </a:rPr>
                        <a:t> </a:t>
                      </a:r>
                      <a:r>
                        <a:rPr sz="1800" b="1" spc="-25" dirty="0">
                          <a:solidFill>
                            <a:srgbClr val="FFFFFF"/>
                          </a:solidFill>
                          <a:latin typeface="Arial"/>
                          <a:cs typeface="Arial"/>
                        </a:rPr>
                        <a:t>145</a:t>
                      </a:r>
                      <a:endParaRPr sz="1800">
                        <a:latin typeface="Arial"/>
                        <a:cs typeface="Arial"/>
                      </a:endParaRPr>
                    </a:p>
                  </a:txBody>
                  <a:tcPr marL="0" marR="0" marT="30019" marB="0">
                    <a:lnL w="12700">
                      <a:solidFill>
                        <a:srgbClr val="E7E6E6"/>
                      </a:solidFill>
                      <a:prstDash val="solid"/>
                    </a:lnL>
                    <a:lnR w="12700">
                      <a:solidFill>
                        <a:srgbClr val="E7E6E6"/>
                      </a:solidFill>
                      <a:prstDash val="solid"/>
                    </a:lnR>
                    <a:lnT w="12700">
                      <a:solidFill>
                        <a:srgbClr val="E7E6E6"/>
                      </a:solidFill>
                      <a:prstDash val="solid"/>
                    </a:lnT>
                    <a:lnB w="12700">
                      <a:solidFill>
                        <a:srgbClr val="E7E6E6"/>
                      </a:solidFill>
                      <a:prstDash val="solid"/>
                    </a:lnB>
                    <a:solidFill>
                      <a:srgbClr val="023CA6"/>
                    </a:solidFill>
                  </a:tcPr>
                </a:tc>
                <a:tc>
                  <a:txBody>
                    <a:bodyPr/>
                    <a:lstStyle/>
                    <a:p>
                      <a:pPr marL="74295" marR="201930">
                        <a:lnSpc>
                          <a:spcPct val="102400"/>
                        </a:lnSpc>
                        <a:spcBef>
                          <a:spcPts val="195"/>
                        </a:spcBef>
                      </a:pPr>
                      <a:r>
                        <a:rPr sz="1800" b="1" spc="-10" dirty="0">
                          <a:solidFill>
                            <a:srgbClr val="FFFFFF"/>
                          </a:solidFill>
                          <a:latin typeface="Arial"/>
                          <a:cs typeface="Arial"/>
                        </a:rPr>
                        <a:t>Patients </a:t>
                      </a:r>
                      <a:r>
                        <a:rPr sz="1800" b="1" spc="-30" dirty="0">
                          <a:solidFill>
                            <a:srgbClr val="FFFFFF"/>
                          </a:solidFill>
                          <a:latin typeface="Arial"/>
                          <a:cs typeface="Arial"/>
                        </a:rPr>
                        <a:t>with</a:t>
                      </a:r>
                      <a:r>
                        <a:rPr sz="1800" b="1" spc="-75" dirty="0">
                          <a:solidFill>
                            <a:srgbClr val="FFFFFF"/>
                          </a:solidFill>
                          <a:latin typeface="Arial"/>
                          <a:cs typeface="Arial"/>
                        </a:rPr>
                        <a:t> </a:t>
                      </a:r>
                      <a:r>
                        <a:rPr sz="1800" b="1" spc="-90" dirty="0">
                          <a:solidFill>
                            <a:srgbClr val="FFFFFF"/>
                          </a:solidFill>
                          <a:latin typeface="Arial"/>
                          <a:cs typeface="Arial"/>
                        </a:rPr>
                        <a:t>a</a:t>
                      </a:r>
                      <a:r>
                        <a:rPr sz="1800" b="1" spc="-65" dirty="0">
                          <a:solidFill>
                            <a:srgbClr val="FFFFFF"/>
                          </a:solidFill>
                          <a:latin typeface="Arial"/>
                          <a:cs typeface="Arial"/>
                        </a:rPr>
                        <a:t> </a:t>
                      </a:r>
                      <a:r>
                        <a:rPr sz="1800" b="1" spc="-175" dirty="0">
                          <a:solidFill>
                            <a:srgbClr val="FFFFFF"/>
                          </a:solidFill>
                          <a:latin typeface="Arial"/>
                          <a:cs typeface="Arial"/>
                        </a:rPr>
                        <a:t>CR, </a:t>
                      </a:r>
                      <a:r>
                        <a:rPr sz="1800" b="1" spc="-105" dirty="0">
                          <a:solidFill>
                            <a:srgbClr val="FFFFFF"/>
                          </a:solidFill>
                          <a:latin typeface="Arial"/>
                          <a:cs typeface="Arial"/>
                        </a:rPr>
                        <a:t>n</a:t>
                      </a:r>
                      <a:r>
                        <a:rPr sz="1800" b="1" spc="-60" dirty="0">
                          <a:solidFill>
                            <a:srgbClr val="FFFFFF"/>
                          </a:solidFill>
                          <a:latin typeface="Arial"/>
                          <a:cs typeface="Arial"/>
                        </a:rPr>
                        <a:t> </a:t>
                      </a:r>
                      <a:r>
                        <a:rPr sz="1800" b="1" spc="-120" dirty="0">
                          <a:solidFill>
                            <a:srgbClr val="FFFFFF"/>
                          </a:solidFill>
                          <a:latin typeface="Arial"/>
                          <a:cs typeface="Arial"/>
                        </a:rPr>
                        <a:t>=</a:t>
                      </a:r>
                      <a:r>
                        <a:rPr sz="1800" b="1" spc="-55" dirty="0">
                          <a:solidFill>
                            <a:srgbClr val="FFFFFF"/>
                          </a:solidFill>
                          <a:latin typeface="Arial"/>
                          <a:cs typeface="Arial"/>
                        </a:rPr>
                        <a:t> </a:t>
                      </a:r>
                      <a:r>
                        <a:rPr sz="1800" b="1" spc="-25" dirty="0">
                          <a:solidFill>
                            <a:srgbClr val="FFFFFF"/>
                          </a:solidFill>
                          <a:latin typeface="Arial"/>
                          <a:cs typeface="Arial"/>
                        </a:rPr>
                        <a:t>36</a:t>
                      </a:r>
                      <a:endParaRPr sz="1800">
                        <a:latin typeface="Arial"/>
                        <a:cs typeface="Arial"/>
                      </a:endParaRPr>
                    </a:p>
                  </a:txBody>
                  <a:tcPr marL="0" marR="0" marT="30019" marB="0">
                    <a:lnL w="12700">
                      <a:solidFill>
                        <a:srgbClr val="E7E6E6"/>
                      </a:solidFill>
                      <a:prstDash val="solid"/>
                    </a:lnL>
                    <a:lnR w="12700">
                      <a:solidFill>
                        <a:srgbClr val="E7E6E6"/>
                      </a:solidFill>
                      <a:prstDash val="solid"/>
                    </a:lnR>
                    <a:lnT w="12700">
                      <a:solidFill>
                        <a:srgbClr val="E7E6E6"/>
                      </a:solidFill>
                      <a:prstDash val="solid"/>
                    </a:lnT>
                    <a:lnB w="12700">
                      <a:solidFill>
                        <a:srgbClr val="E7E6E6"/>
                      </a:solidFill>
                      <a:prstDash val="solid"/>
                    </a:lnB>
                    <a:solidFill>
                      <a:srgbClr val="023CA6"/>
                    </a:solidFill>
                  </a:tcPr>
                </a:tc>
                <a:extLst>
                  <a:ext uri="{0D108BD9-81ED-4DB2-BD59-A6C34878D82A}">
                    <a16:rowId xmlns:a16="http://schemas.microsoft.com/office/drawing/2014/main" val="10000"/>
                  </a:ext>
                </a:extLst>
              </a:tr>
              <a:tr h="377151">
                <a:tc>
                  <a:txBody>
                    <a:bodyPr/>
                    <a:lstStyle/>
                    <a:p>
                      <a:pPr marL="74295">
                        <a:lnSpc>
                          <a:spcPct val="100000"/>
                        </a:lnSpc>
                        <a:spcBef>
                          <a:spcPts val="235"/>
                        </a:spcBef>
                      </a:pPr>
                      <a:r>
                        <a:rPr sz="1800" spc="-55" dirty="0">
                          <a:solidFill>
                            <a:srgbClr val="3F3F3F"/>
                          </a:solidFill>
                          <a:latin typeface="Arial"/>
                          <a:cs typeface="Arial"/>
                        </a:rPr>
                        <a:t>Patients</a:t>
                      </a:r>
                      <a:r>
                        <a:rPr sz="1800" spc="-45" dirty="0">
                          <a:solidFill>
                            <a:srgbClr val="3F3F3F"/>
                          </a:solidFill>
                          <a:latin typeface="Arial"/>
                          <a:cs typeface="Arial"/>
                        </a:rPr>
                        <a:t> </a:t>
                      </a:r>
                      <a:r>
                        <a:rPr sz="1800" dirty="0">
                          <a:solidFill>
                            <a:srgbClr val="3F3F3F"/>
                          </a:solidFill>
                          <a:latin typeface="Arial"/>
                          <a:cs typeface="Arial"/>
                        </a:rPr>
                        <a:t>with</a:t>
                      </a:r>
                      <a:r>
                        <a:rPr sz="1800" spc="-30" dirty="0">
                          <a:solidFill>
                            <a:srgbClr val="3F3F3F"/>
                          </a:solidFill>
                          <a:latin typeface="Arial"/>
                          <a:cs typeface="Arial"/>
                        </a:rPr>
                        <a:t> </a:t>
                      </a:r>
                      <a:r>
                        <a:rPr sz="1800" spc="-85" dirty="0">
                          <a:solidFill>
                            <a:srgbClr val="3F3F3F"/>
                          </a:solidFill>
                          <a:latin typeface="Arial"/>
                          <a:cs typeface="Arial"/>
                        </a:rPr>
                        <a:t>any</a:t>
                      </a:r>
                      <a:r>
                        <a:rPr sz="1800" spc="-20" dirty="0">
                          <a:solidFill>
                            <a:srgbClr val="3F3F3F"/>
                          </a:solidFill>
                          <a:latin typeface="Arial"/>
                          <a:cs typeface="Arial"/>
                        </a:rPr>
                        <a:t> TEAE</a:t>
                      </a:r>
                      <a:endParaRPr sz="1800">
                        <a:latin typeface="Arial"/>
                        <a:cs typeface="Arial"/>
                      </a:endParaRPr>
                    </a:p>
                  </a:txBody>
                  <a:tcPr marL="0" marR="0" marT="36176" marB="0">
                    <a:lnL w="12700">
                      <a:solidFill>
                        <a:srgbClr val="E7E6E6"/>
                      </a:solidFill>
                      <a:prstDash val="solid"/>
                    </a:lnL>
                    <a:lnR w="12700">
                      <a:solidFill>
                        <a:srgbClr val="E7E6E6"/>
                      </a:solidFill>
                      <a:prstDash val="solid"/>
                    </a:lnR>
                    <a:lnT w="12700">
                      <a:solidFill>
                        <a:srgbClr val="E7E6E6"/>
                      </a:solidFill>
                      <a:prstDash val="solid"/>
                    </a:lnT>
                    <a:solidFill>
                      <a:srgbClr val="E7E6E6"/>
                    </a:solidFill>
                  </a:tcPr>
                </a:tc>
                <a:tc>
                  <a:txBody>
                    <a:bodyPr/>
                    <a:lstStyle/>
                    <a:p>
                      <a:pPr marL="74930">
                        <a:lnSpc>
                          <a:spcPct val="100000"/>
                        </a:lnSpc>
                        <a:spcBef>
                          <a:spcPts val="235"/>
                        </a:spcBef>
                      </a:pPr>
                      <a:r>
                        <a:rPr sz="1800" spc="-10" dirty="0">
                          <a:solidFill>
                            <a:srgbClr val="3F3F3F"/>
                          </a:solidFill>
                          <a:latin typeface="Arial"/>
                          <a:cs typeface="Arial"/>
                        </a:rPr>
                        <a:t>73.8%</a:t>
                      </a:r>
                      <a:endParaRPr sz="1800">
                        <a:latin typeface="Arial"/>
                        <a:cs typeface="Arial"/>
                      </a:endParaRPr>
                    </a:p>
                  </a:txBody>
                  <a:tcPr marL="0" marR="0" marT="36176" marB="0">
                    <a:lnL w="12700">
                      <a:solidFill>
                        <a:srgbClr val="E7E6E6"/>
                      </a:solidFill>
                      <a:prstDash val="solid"/>
                    </a:lnL>
                    <a:lnR w="12700">
                      <a:solidFill>
                        <a:srgbClr val="E7E6E6"/>
                      </a:solidFill>
                      <a:prstDash val="solid"/>
                    </a:lnR>
                    <a:lnT w="12700">
                      <a:solidFill>
                        <a:srgbClr val="E7E6E6"/>
                      </a:solidFill>
                      <a:prstDash val="solid"/>
                    </a:lnT>
                    <a:solidFill>
                      <a:srgbClr val="E7E6E6"/>
                    </a:solidFill>
                  </a:tcPr>
                </a:tc>
                <a:tc>
                  <a:txBody>
                    <a:bodyPr/>
                    <a:lstStyle/>
                    <a:p>
                      <a:pPr marL="74295">
                        <a:lnSpc>
                          <a:spcPct val="100000"/>
                        </a:lnSpc>
                        <a:spcBef>
                          <a:spcPts val="235"/>
                        </a:spcBef>
                      </a:pPr>
                      <a:r>
                        <a:rPr sz="1800" spc="-25" dirty="0">
                          <a:solidFill>
                            <a:srgbClr val="3F3F3F"/>
                          </a:solidFill>
                          <a:latin typeface="Arial"/>
                          <a:cs typeface="Arial"/>
                        </a:rPr>
                        <a:t>75%</a:t>
                      </a:r>
                      <a:endParaRPr sz="1800">
                        <a:latin typeface="Arial"/>
                        <a:cs typeface="Arial"/>
                      </a:endParaRPr>
                    </a:p>
                  </a:txBody>
                  <a:tcPr marL="0" marR="0" marT="36176" marB="0">
                    <a:lnL w="12700">
                      <a:solidFill>
                        <a:srgbClr val="E7E6E6"/>
                      </a:solidFill>
                      <a:prstDash val="solid"/>
                    </a:lnL>
                    <a:lnR w="12700">
                      <a:solidFill>
                        <a:srgbClr val="E7E6E6"/>
                      </a:solidFill>
                      <a:prstDash val="solid"/>
                    </a:lnR>
                    <a:lnT w="12700">
                      <a:solidFill>
                        <a:srgbClr val="E7E6E6"/>
                      </a:solidFill>
                      <a:prstDash val="solid"/>
                    </a:lnT>
                    <a:solidFill>
                      <a:srgbClr val="E7E6E6"/>
                    </a:solidFill>
                  </a:tcPr>
                </a:tc>
                <a:extLst>
                  <a:ext uri="{0D108BD9-81ED-4DB2-BD59-A6C34878D82A}">
                    <a16:rowId xmlns:a16="http://schemas.microsoft.com/office/drawing/2014/main" val="10001"/>
                  </a:ext>
                </a:extLst>
              </a:tr>
              <a:tr h="357139">
                <a:tc>
                  <a:txBody>
                    <a:bodyPr/>
                    <a:lstStyle/>
                    <a:p>
                      <a:pPr marL="74295">
                        <a:lnSpc>
                          <a:spcPct val="100000"/>
                        </a:lnSpc>
                        <a:spcBef>
                          <a:spcPts val="195"/>
                        </a:spcBef>
                      </a:pPr>
                      <a:r>
                        <a:rPr sz="1800" spc="-10" dirty="0">
                          <a:solidFill>
                            <a:srgbClr val="3F3F3F"/>
                          </a:solidFill>
                          <a:latin typeface="Arial"/>
                          <a:cs typeface="Arial"/>
                        </a:rPr>
                        <a:t>Neutropenia</a:t>
                      </a:r>
                      <a:endParaRPr sz="1800">
                        <a:latin typeface="Arial"/>
                        <a:cs typeface="Arial"/>
                      </a:endParaRPr>
                    </a:p>
                  </a:txBody>
                  <a:tcPr marL="0" marR="0" marT="30019" marB="0">
                    <a:lnL w="12700">
                      <a:solidFill>
                        <a:srgbClr val="E7E6E6"/>
                      </a:solidFill>
                      <a:prstDash val="solid"/>
                    </a:lnL>
                    <a:lnR w="12700">
                      <a:solidFill>
                        <a:srgbClr val="E7E6E6"/>
                      </a:solidFill>
                      <a:prstDash val="solid"/>
                    </a:lnR>
                  </a:tcPr>
                </a:tc>
                <a:tc>
                  <a:txBody>
                    <a:bodyPr/>
                    <a:lstStyle/>
                    <a:p>
                      <a:pPr marL="74930">
                        <a:lnSpc>
                          <a:spcPct val="100000"/>
                        </a:lnSpc>
                        <a:spcBef>
                          <a:spcPts val="195"/>
                        </a:spcBef>
                      </a:pPr>
                      <a:r>
                        <a:rPr sz="1800" spc="-25" dirty="0">
                          <a:solidFill>
                            <a:srgbClr val="3F3F3F"/>
                          </a:solidFill>
                          <a:latin typeface="Arial"/>
                          <a:cs typeface="Arial"/>
                        </a:rPr>
                        <a:t>26%</a:t>
                      </a:r>
                      <a:endParaRPr sz="1800">
                        <a:latin typeface="Arial"/>
                        <a:cs typeface="Arial"/>
                      </a:endParaRPr>
                    </a:p>
                  </a:txBody>
                  <a:tcPr marL="0" marR="0" marT="30019" marB="0">
                    <a:lnL w="12700">
                      <a:solidFill>
                        <a:srgbClr val="E7E6E6"/>
                      </a:solidFill>
                      <a:prstDash val="solid"/>
                    </a:lnL>
                    <a:lnR w="12700">
                      <a:solidFill>
                        <a:srgbClr val="E7E6E6"/>
                      </a:solidFill>
                      <a:prstDash val="solid"/>
                    </a:lnR>
                  </a:tcPr>
                </a:tc>
                <a:tc>
                  <a:txBody>
                    <a:bodyPr/>
                    <a:lstStyle/>
                    <a:p>
                      <a:pPr marL="74295">
                        <a:lnSpc>
                          <a:spcPct val="100000"/>
                        </a:lnSpc>
                        <a:spcBef>
                          <a:spcPts val="195"/>
                        </a:spcBef>
                      </a:pPr>
                      <a:r>
                        <a:rPr sz="1800" spc="-25" dirty="0">
                          <a:solidFill>
                            <a:srgbClr val="3F3F3F"/>
                          </a:solidFill>
                          <a:latin typeface="Arial"/>
                          <a:cs typeface="Arial"/>
                        </a:rPr>
                        <a:t>28%</a:t>
                      </a:r>
                      <a:endParaRPr sz="1800">
                        <a:latin typeface="Arial"/>
                        <a:cs typeface="Arial"/>
                      </a:endParaRPr>
                    </a:p>
                  </a:txBody>
                  <a:tcPr marL="0" marR="0" marT="30019" marB="0">
                    <a:lnL w="12700">
                      <a:solidFill>
                        <a:srgbClr val="E7E6E6"/>
                      </a:solidFill>
                      <a:prstDash val="solid"/>
                    </a:lnL>
                    <a:lnR w="12700">
                      <a:solidFill>
                        <a:srgbClr val="E7E6E6"/>
                      </a:solidFill>
                      <a:prstDash val="solid"/>
                    </a:lnR>
                  </a:tcPr>
                </a:tc>
                <a:extLst>
                  <a:ext uri="{0D108BD9-81ED-4DB2-BD59-A6C34878D82A}">
                    <a16:rowId xmlns:a16="http://schemas.microsoft.com/office/drawing/2014/main" val="10002"/>
                  </a:ext>
                </a:extLst>
              </a:tr>
              <a:tr h="383309">
                <a:tc>
                  <a:txBody>
                    <a:bodyPr/>
                    <a:lstStyle/>
                    <a:p>
                      <a:pPr marL="74295">
                        <a:lnSpc>
                          <a:spcPct val="100000"/>
                        </a:lnSpc>
                        <a:spcBef>
                          <a:spcPts val="275"/>
                        </a:spcBef>
                      </a:pPr>
                      <a:r>
                        <a:rPr sz="1800" spc="-10" dirty="0">
                          <a:solidFill>
                            <a:srgbClr val="3F3F3F"/>
                          </a:solidFill>
                          <a:latin typeface="Arial"/>
                          <a:cs typeface="Arial"/>
                        </a:rPr>
                        <a:t>Thrombocytopenia</a:t>
                      </a:r>
                      <a:endParaRPr sz="1800">
                        <a:latin typeface="Arial"/>
                        <a:cs typeface="Arial"/>
                      </a:endParaRPr>
                    </a:p>
                  </a:txBody>
                  <a:tcPr marL="0" marR="0" marT="42334" marB="0">
                    <a:lnL w="12700">
                      <a:solidFill>
                        <a:srgbClr val="E7E6E6"/>
                      </a:solidFill>
                      <a:prstDash val="solid"/>
                    </a:lnL>
                    <a:lnR w="12700">
                      <a:solidFill>
                        <a:srgbClr val="E7E6E6"/>
                      </a:solidFill>
                      <a:prstDash val="solid"/>
                    </a:lnR>
                    <a:solidFill>
                      <a:srgbClr val="E7E6E6"/>
                    </a:solidFill>
                  </a:tcPr>
                </a:tc>
                <a:tc>
                  <a:txBody>
                    <a:bodyPr/>
                    <a:lstStyle/>
                    <a:p>
                      <a:pPr marL="74930">
                        <a:lnSpc>
                          <a:spcPct val="100000"/>
                        </a:lnSpc>
                        <a:spcBef>
                          <a:spcPts val="275"/>
                        </a:spcBef>
                      </a:pPr>
                      <a:r>
                        <a:rPr sz="1800" spc="-25" dirty="0">
                          <a:solidFill>
                            <a:srgbClr val="3F3F3F"/>
                          </a:solidFill>
                          <a:latin typeface="Arial"/>
                          <a:cs typeface="Arial"/>
                        </a:rPr>
                        <a:t>18%</a:t>
                      </a:r>
                      <a:endParaRPr sz="1800">
                        <a:latin typeface="Arial"/>
                        <a:cs typeface="Arial"/>
                      </a:endParaRPr>
                    </a:p>
                  </a:txBody>
                  <a:tcPr marL="0" marR="0" marT="42334" marB="0">
                    <a:lnL w="12700">
                      <a:solidFill>
                        <a:srgbClr val="E7E6E6"/>
                      </a:solidFill>
                      <a:prstDash val="solid"/>
                    </a:lnL>
                    <a:lnR w="12700">
                      <a:solidFill>
                        <a:srgbClr val="E7E6E6"/>
                      </a:solidFill>
                      <a:prstDash val="solid"/>
                    </a:lnR>
                    <a:solidFill>
                      <a:srgbClr val="E7E6E6"/>
                    </a:solidFill>
                  </a:tcPr>
                </a:tc>
                <a:tc>
                  <a:txBody>
                    <a:bodyPr/>
                    <a:lstStyle/>
                    <a:p>
                      <a:pPr marL="74295">
                        <a:lnSpc>
                          <a:spcPct val="100000"/>
                        </a:lnSpc>
                        <a:spcBef>
                          <a:spcPts val="275"/>
                        </a:spcBef>
                      </a:pPr>
                      <a:r>
                        <a:rPr sz="1800" spc="-25" dirty="0">
                          <a:solidFill>
                            <a:srgbClr val="3F3F3F"/>
                          </a:solidFill>
                          <a:latin typeface="Arial"/>
                          <a:cs typeface="Arial"/>
                        </a:rPr>
                        <a:t>19%</a:t>
                      </a:r>
                      <a:endParaRPr sz="1800">
                        <a:latin typeface="Arial"/>
                        <a:cs typeface="Arial"/>
                      </a:endParaRPr>
                    </a:p>
                  </a:txBody>
                  <a:tcPr marL="0" marR="0" marT="42334" marB="0">
                    <a:lnL w="12700">
                      <a:solidFill>
                        <a:srgbClr val="E7E6E6"/>
                      </a:solidFill>
                      <a:prstDash val="solid"/>
                    </a:lnL>
                    <a:lnR w="12700">
                      <a:solidFill>
                        <a:srgbClr val="E7E6E6"/>
                      </a:solidFill>
                      <a:prstDash val="solid"/>
                    </a:lnR>
                    <a:solidFill>
                      <a:srgbClr val="E7E6E6"/>
                    </a:solidFill>
                  </a:tcPr>
                </a:tc>
                <a:extLst>
                  <a:ext uri="{0D108BD9-81ED-4DB2-BD59-A6C34878D82A}">
                    <a16:rowId xmlns:a16="http://schemas.microsoft.com/office/drawing/2014/main" val="10003"/>
                  </a:ext>
                </a:extLst>
              </a:tr>
              <a:tr h="357139">
                <a:tc>
                  <a:txBody>
                    <a:bodyPr/>
                    <a:lstStyle/>
                    <a:p>
                      <a:pPr marL="74295">
                        <a:lnSpc>
                          <a:spcPct val="100000"/>
                        </a:lnSpc>
                        <a:spcBef>
                          <a:spcPts val="195"/>
                        </a:spcBef>
                      </a:pPr>
                      <a:r>
                        <a:rPr sz="1800" spc="-70" dirty="0">
                          <a:solidFill>
                            <a:srgbClr val="3F3F3F"/>
                          </a:solidFill>
                          <a:latin typeface="Arial"/>
                          <a:cs typeface="Arial"/>
                        </a:rPr>
                        <a:t>Increased</a:t>
                      </a:r>
                      <a:r>
                        <a:rPr sz="1800" spc="-50" dirty="0">
                          <a:solidFill>
                            <a:srgbClr val="3F3F3F"/>
                          </a:solidFill>
                          <a:latin typeface="Arial"/>
                          <a:cs typeface="Arial"/>
                        </a:rPr>
                        <a:t> </a:t>
                      </a:r>
                      <a:r>
                        <a:rPr sz="1800" spc="-25" dirty="0">
                          <a:solidFill>
                            <a:srgbClr val="3F3F3F"/>
                          </a:solidFill>
                          <a:latin typeface="Arial"/>
                          <a:cs typeface="Arial"/>
                        </a:rPr>
                        <a:t>GGT</a:t>
                      </a:r>
                      <a:endParaRPr sz="1800">
                        <a:latin typeface="Arial"/>
                        <a:cs typeface="Arial"/>
                      </a:endParaRPr>
                    </a:p>
                  </a:txBody>
                  <a:tcPr marL="0" marR="0" marT="30019" marB="0">
                    <a:lnL w="12700">
                      <a:solidFill>
                        <a:srgbClr val="E7E6E6"/>
                      </a:solidFill>
                      <a:prstDash val="solid"/>
                    </a:lnL>
                    <a:lnR w="12700">
                      <a:solidFill>
                        <a:srgbClr val="E7E6E6"/>
                      </a:solidFill>
                      <a:prstDash val="solid"/>
                    </a:lnR>
                  </a:tcPr>
                </a:tc>
                <a:tc>
                  <a:txBody>
                    <a:bodyPr/>
                    <a:lstStyle/>
                    <a:p>
                      <a:pPr marL="74930">
                        <a:lnSpc>
                          <a:spcPct val="100000"/>
                        </a:lnSpc>
                        <a:spcBef>
                          <a:spcPts val="195"/>
                        </a:spcBef>
                      </a:pPr>
                      <a:r>
                        <a:rPr sz="1800" spc="-25" dirty="0">
                          <a:solidFill>
                            <a:srgbClr val="3F3F3F"/>
                          </a:solidFill>
                          <a:latin typeface="Arial"/>
                          <a:cs typeface="Arial"/>
                        </a:rPr>
                        <a:t>17%</a:t>
                      </a:r>
                      <a:endParaRPr sz="1800">
                        <a:latin typeface="Arial"/>
                        <a:cs typeface="Arial"/>
                      </a:endParaRPr>
                    </a:p>
                  </a:txBody>
                  <a:tcPr marL="0" marR="0" marT="30019" marB="0">
                    <a:lnL w="12700">
                      <a:solidFill>
                        <a:srgbClr val="E7E6E6"/>
                      </a:solidFill>
                      <a:prstDash val="solid"/>
                    </a:lnL>
                    <a:lnR w="12700">
                      <a:solidFill>
                        <a:srgbClr val="E7E6E6"/>
                      </a:solidFill>
                      <a:prstDash val="solid"/>
                    </a:lnR>
                  </a:tcPr>
                </a:tc>
                <a:tc>
                  <a:txBody>
                    <a:bodyPr/>
                    <a:lstStyle/>
                    <a:p>
                      <a:pPr marL="74295">
                        <a:lnSpc>
                          <a:spcPct val="100000"/>
                        </a:lnSpc>
                        <a:spcBef>
                          <a:spcPts val="195"/>
                        </a:spcBef>
                      </a:pPr>
                      <a:r>
                        <a:rPr sz="1800" spc="-25" dirty="0">
                          <a:solidFill>
                            <a:srgbClr val="3F3F3F"/>
                          </a:solidFill>
                          <a:latin typeface="Arial"/>
                          <a:cs typeface="Arial"/>
                        </a:rPr>
                        <a:t>19%</a:t>
                      </a:r>
                      <a:endParaRPr sz="1800">
                        <a:latin typeface="Arial"/>
                        <a:cs typeface="Arial"/>
                      </a:endParaRPr>
                    </a:p>
                  </a:txBody>
                  <a:tcPr marL="0" marR="0" marT="30019" marB="0">
                    <a:lnL w="12700">
                      <a:solidFill>
                        <a:srgbClr val="E7E6E6"/>
                      </a:solidFill>
                      <a:prstDash val="solid"/>
                    </a:lnL>
                    <a:lnR w="12700">
                      <a:solidFill>
                        <a:srgbClr val="E7E6E6"/>
                      </a:solidFill>
                      <a:prstDash val="solid"/>
                    </a:lnR>
                  </a:tcPr>
                </a:tc>
                <a:extLst>
                  <a:ext uri="{0D108BD9-81ED-4DB2-BD59-A6C34878D82A}">
                    <a16:rowId xmlns:a16="http://schemas.microsoft.com/office/drawing/2014/main" val="10004"/>
                  </a:ext>
                </a:extLst>
              </a:tr>
              <a:tr h="383309">
                <a:tc>
                  <a:txBody>
                    <a:bodyPr/>
                    <a:lstStyle/>
                    <a:p>
                      <a:pPr marL="74295">
                        <a:lnSpc>
                          <a:spcPct val="100000"/>
                        </a:lnSpc>
                        <a:spcBef>
                          <a:spcPts val="275"/>
                        </a:spcBef>
                      </a:pPr>
                      <a:r>
                        <a:rPr sz="1800" spc="-10" dirty="0">
                          <a:solidFill>
                            <a:srgbClr val="3F3F3F"/>
                          </a:solidFill>
                          <a:latin typeface="Arial"/>
                          <a:cs typeface="Arial"/>
                        </a:rPr>
                        <a:t>Anemia</a:t>
                      </a:r>
                      <a:endParaRPr sz="1800">
                        <a:latin typeface="Arial"/>
                        <a:cs typeface="Arial"/>
                      </a:endParaRPr>
                    </a:p>
                  </a:txBody>
                  <a:tcPr marL="0" marR="0" marT="42334" marB="0">
                    <a:lnL w="12700">
                      <a:solidFill>
                        <a:srgbClr val="E7E6E6"/>
                      </a:solidFill>
                      <a:prstDash val="solid"/>
                    </a:lnL>
                    <a:lnR w="12700">
                      <a:solidFill>
                        <a:srgbClr val="E7E6E6"/>
                      </a:solidFill>
                      <a:prstDash val="solid"/>
                    </a:lnR>
                    <a:solidFill>
                      <a:srgbClr val="E7E6E6"/>
                    </a:solidFill>
                  </a:tcPr>
                </a:tc>
                <a:tc>
                  <a:txBody>
                    <a:bodyPr/>
                    <a:lstStyle/>
                    <a:p>
                      <a:pPr marL="74930">
                        <a:lnSpc>
                          <a:spcPct val="100000"/>
                        </a:lnSpc>
                        <a:spcBef>
                          <a:spcPts val="275"/>
                        </a:spcBef>
                      </a:pPr>
                      <a:r>
                        <a:rPr sz="1800" spc="-25" dirty="0">
                          <a:solidFill>
                            <a:srgbClr val="3F3F3F"/>
                          </a:solidFill>
                          <a:latin typeface="Arial"/>
                          <a:cs typeface="Arial"/>
                        </a:rPr>
                        <a:t>10%</a:t>
                      </a:r>
                      <a:endParaRPr sz="1800">
                        <a:latin typeface="Arial"/>
                        <a:cs typeface="Arial"/>
                      </a:endParaRPr>
                    </a:p>
                  </a:txBody>
                  <a:tcPr marL="0" marR="0" marT="42334" marB="0">
                    <a:lnL w="12700">
                      <a:solidFill>
                        <a:srgbClr val="E7E6E6"/>
                      </a:solidFill>
                      <a:prstDash val="solid"/>
                    </a:lnL>
                    <a:lnR w="12700">
                      <a:solidFill>
                        <a:srgbClr val="E7E6E6"/>
                      </a:solidFill>
                      <a:prstDash val="solid"/>
                    </a:lnR>
                    <a:solidFill>
                      <a:srgbClr val="E7E6E6"/>
                    </a:solidFill>
                  </a:tcPr>
                </a:tc>
                <a:tc>
                  <a:txBody>
                    <a:bodyPr/>
                    <a:lstStyle/>
                    <a:p>
                      <a:pPr marL="74295">
                        <a:lnSpc>
                          <a:spcPct val="100000"/>
                        </a:lnSpc>
                        <a:spcBef>
                          <a:spcPts val="275"/>
                        </a:spcBef>
                      </a:pPr>
                      <a:r>
                        <a:rPr sz="1800" spc="-20" dirty="0">
                          <a:solidFill>
                            <a:srgbClr val="3F3F3F"/>
                          </a:solidFill>
                          <a:latin typeface="Arial"/>
                          <a:cs typeface="Arial"/>
                        </a:rPr>
                        <a:t>8.3%</a:t>
                      </a:r>
                      <a:endParaRPr sz="1800">
                        <a:latin typeface="Arial"/>
                        <a:cs typeface="Arial"/>
                      </a:endParaRPr>
                    </a:p>
                  </a:txBody>
                  <a:tcPr marL="0" marR="0" marT="42334" marB="0">
                    <a:lnL w="12700">
                      <a:solidFill>
                        <a:srgbClr val="E7E6E6"/>
                      </a:solidFill>
                      <a:prstDash val="solid"/>
                    </a:lnL>
                    <a:lnR w="12700">
                      <a:solidFill>
                        <a:srgbClr val="E7E6E6"/>
                      </a:solidFill>
                      <a:prstDash val="solid"/>
                    </a:lnR>
                    <a:solidFill>
                      <a:srgbClr val="E7E6E6"/>
                    </a:solidFill>
                  </a:tcPr>
                </a:tc>
                <a:extLst>
                  <a:ext uri="{0D108BD9-81ED-4DB2-BD59-A6C34878D82A}">
                    <a16:rowId xmlns:a16="http://schemas.microsoft.com/office/drawing/2014/main" val="10005"/>
                  </a:ext>
                </a:extLst>
              </a:tr>
              <a:tr h="357139">
                <a:tc>
                  <a:txBody>
                    <a:bodyPr/>
                    <a:lstStyle/>
                    <a:p>
                      <a:pPr marL="74295">
                        <a:lnSpc>
                          <a:spcPct val="100000"/>
                        </a:lnSpc>
                        <a:spcBef>
                          <a:spcPts val="195"/>
                        </a:spcBef>
                      </a:pPr>
                      <a:r>
                        <a:rPr sz="1800" spc="-10" dirty="0">
                          <a:solidFill>
                            <a:srgbClr val="3F3F3F"/>
                          </a:solidFill>
                          <a:latin typeface="Arial"/>
                          <a:cs typeface="Arial"/>
                        </a:rPr>
                        <a:t>Leukopenia</a:t>
                      </a:r>
                      <a:endParaRPr sz="1800">
                        <a:latin typeface="Arial"/>
                        <a:cs typeface="Arial"/>
                      </a:endParaRPr>
                    </a:p>
                  </a:txBody>
                  <a:tcPr marL="0" marR="0" marT="30019" marB="0">
                    <a:lnL w="12700">
                      <a:solidFill>
                        <a:srgbClr val="E7E6E6"/>
                      </a:solidFill>
                      <a:prstDash val="solid"/>
                    </a:lnL>
                    <a:lnR w="12700">
                      <a:solidFill>
                        <a:srgbClr val="E7E6E6"/>
                      </a:solidFill>
                      <a:prstDash val="solid"/>
                    </a:lnR>
                  </a:tcPr>
                </a:tc>
                <a:tc>
                  <a:txBody>
                    <a:bodyPr/>
                    <a:lstStyle/>
                    <a:p>
                      <a:pPr marL="74930">
                        <a:lnSpc>
                          <a:spcPct val="100000"/>
                        </a:lnSpc>
                        <a:spcBef>
                          <a:spcPts val="195"/>
                        </a:spcBef>
                      </a:pPr>
                      <a:r>
                        <a:rPr sz="1800" spc="-25" dirty="0">
                          <a:solidFill>
                            <a:srgbClr val="3F3F3F"/>
                          </a:solidFill>
                          <a:latin typeface="Arial"/>
                          <a:cs typeface="Arial"/>
                        </a:rPr>
                        <a:t>9%</a:t>
                      </a:r>
                      <a:endParaRPr sz="1800">
                        <a:latin typeface="Arial"/>
                        <a:cs typeface="Arial"/>
                      </a:endParaRPr>
                    </a:p>
                  </a:txBody>
                  <a:tcPr marL="0" marR="0" marT="30019" marB="0">
                    <a:lnL w="12700">
                      <a:solidFill>
                        <a:srgbClr val="E7E6E6"/>
                      </a:solidFill>
                      <a:prstDash val="solid"/>
                    </a:lnL>
                    <a:lnR w="12700">
                      <a:solidFill>
                        <a:srgbClr val="E7E6E6"/>
                      </a:solidFill>
                      <a:prstDash val="solid"/>
                    </a:lnR>
                  </a:tcPr>
                </a:tc>
                <a:tc>
                  <a:txBody>
                    <a:bodyPr/>
                    <a:lstStyle/>
                    <a:p>
                      <a:pPr marL="74295">
                        <a:lnSpc>
                          <a:spcPct val="100000"/>
                        </a:lnSpc>
                        <a:spcBef>
                          <a:spcPts val="195"/>
                        </a:spcBef>
                      </a:pPr>
                      <a:r>
                        <a:rPr sz="1800" spc="-25" dirty="0">
                          <a:solidFill>
                            <a:srgbClr val="3F3F3F"/>
                          </a:solidFill>
                          <a:latin typeface="Arial"/>
                          <a:cs typeface="Arial"/>
                        </a:rPr>
                        <a:t>14%</a:t>
                      </a:r>
                      <a:endParaRPr sz="1800">
                        <a:latin typeface="Arial"/>
                        <a:cs typeface="Arial"/>
                      </a:endParaRPr>
                    </a:p>
                  </a:txBody>
                  <a:tcPr marL="0" marR="0" marT="30019" marB="0">
                    <a:lnL w="12700">
                      <a:solidFill>
                        <a:srgbClr val="E7E6E6"/>
                      </a:solidFill>
                      <a:prstDash val="solid"/>
                    </a:lnL>
                    <a:lnR w="12700">
                      <a:solidFill>
                        <a:srgbClr val="E7E6E6"/>
                      </a:solidFill>
                      <a:prstDash val="solid"/>
                    </a:lnR>
                  </a:tcPr>
                </a:tc>
                <a:extLst>
                  <a:ext uri="{0D108BD9-81ED-4DB2-BD59-A6C34878D82A}">
                    <a16:rowId xmlns:a16="http://schemas.microsoft.com/office/drawing/2014/main" val="10006"/>
                  </a:ext>
                </a:extLst>
              </a:tr>
              <a:tr h="383309">
                <a:tc>
                  <a:txBody>
                    <a:bodyPr/>
                    <a:lstStyle/>
                    <a:p>
                      <a:pPr marL="74295">
                        <a:lnSpc>
                          <a:spcPct val="100000"/>
                        </a:lnSpc>
                        <a:spcBef>
                          <a:spcPts val="275"/>
                        </a:spcBef>
                      </a:pPr>
                      <a:r>
                        <a:rPr sz="1800" spc="-10" dirty="0">
                          <a:solidFill>
                            <a:srgbClr val="3F3F3F"/>
                          </a:solidFill>
                          <a:latin typeface="Arial"/>
                          <a:cs typeface="Arial"/>
                        </a:rPr>
                        <a:t>Hypophosphatemia</a:t>
                      </a:r>
                      <a:endParaRPr sz="1800">
                        <a:latin typeface="Arial"/>
                        <a:cs typeface="Arial"/>
                      </a:endParaRPr>
                    </a:p>
                  </a:txBody>
                  <a:tcPr marL="0" marR="0" marT="42334" marB="0">
                    <a:lnL w="12700">
                      <a:solidFill>
                        <a:srgbClr val="E7E6E6"/>
                      </a:solidFill>
                      <a:prstDash val="solid"/>
                    </a:lnL>
                    <a:lnR w="12700">
                      <a:solidFill>
                        <a:srgbClr val="E7E6E6"/>
                      </a:solidFill>
                      <a:prstDash val="solid"/>
                    </a:lnR>
                    <a:solidFill>
                      <a:srgbClr val="E7E6E6"/>
                    </a:solidFill>
                  </a:tcPr>
                </a:tc>
                <a:tc>
                  <a:txBody>
                    <a:bodyPr/>
                    <a:lstStyle/>
                    <a:p>
                      <a:pPr marL="74930">
                        <a:lnSpc>
                          <a:spcPct val="100000"/>
                        </a:lnSpc>
                        <a:spcBef>
                          <a:spcPts val="275"/>
                        </a:spcBef>
                      </a:pPr>
                      <a:r>
                        <a:rPr sz="1800" spc="-25" dirty="0">
                          <a:solidFill>
                            <a:srgbClr val="3F3F3F"/>
                          </a:solidFill>
                          <a:latin typeface="Arial"/>
                          <a:cs typeface="Arial"/>
                        </a:rPr>
                        <a:t>6%</a:t>
                      </a:r>
                      <a:endParaRPr sz="1800">
                        <a:latin typeface="Arial"/>
                        <a:cs typeface="Arial"/>
                      </a:endParaRPr>
                    </a:p>
                  </a:txBody>
                  <a:tcPr marL="0" marR="0" marT="42334" marB="0">
                    <a:lnL w="12700">
                      <a:solidFill>
                        <a:srgbClr val="E7E6E6"/>
                      </a:solidFill>
                      <a:prstDash val="solid"/>
                    </a:lnL>
                    <a:lnR w="12700">
                      <a:solidFill>
                        <a:srgbClr val="E7E6E6"/>
                      </a:solidFill>
                      <a:prstDash val="solid"/>
                    </a:lnR>
                    <a:solidFill>
                      <a:srgbClr val="E7E6E6"/>
                    </a:solidFill>
                  </a:tcPr>
                </a:tc>
                <a:tc>
                  <a:txBody>
                    <a:bodyPr/>
                    <a:lstStyle/>
                    <a:p>
                      <a:pPr marL="74295">
                        <a:lnSpc>
                          <a:spcPct val="100000"/>
                        </a:lnSpc>
                        <a:spcBef>
                          <a:spcPts val="275"/>
                        </a:spcBef>
                      </a:pPr>
                      <a:r>
                        <a:rPr sz="1800" spc="-25" dirty="0">
                          <a:solidFill>
                            <a:srgbClr val="3F3F3F"/>
                          </a:solidFill>
                          <a:latin typeface="Arial"/>
                          <a:cs typeface="Arial"/>
                        </a:rPr>
                        <a:t>11%</a:t>
                      </a:r>
                      <a:endParaRPr sz="1800">
                        <a:latin typeface="Arial"/>
                        <a:cs typeface="Arial"/>
                      </a:endParaRPr>
                    </a:p>
                  </a:txBody>
                  <a:tcPr marL="0" marR="0" marT="42334" marB="0">
                    <a:lnL w="12700">
                      <a:solidFill>
                        <a:srgbClr val="E7E6E6"/>
                      </a:solidFill>
                      <a:prstDash val="solid"/>
                    </a:lnL>
                    <a:lnR w="12700">
                      <a:solidFill>
                        <a:srgbClr val="E7E6E6"/>
                      </a:solidFill>
                      <a:prstDash val="solid"/>
                    </a:lnR>
                    <a:solidFill>
                      <a:srgbClr val="E7E6E6"/>
                    </a:solidFill>
                  </a:tcPr>
                </a:tc>
                <a:extLst>
                  <a:ext uri="{0D108BD9-81ED-4DB2-BD59-A6C34878D82A}">
                    <a16:rowId xmlns:a16="http://schemas.microsoft.com/office/drawing/2014/main" val="10007"/>
                  </a:ext>
                </a:extLst>
              </a:tr>
            </a:tbl>
          </a:graphicData>
        </a:graphic>
      </p:graphicFrame>
      <p:sp>
        <p:nvSpPr>
          <p:cNvPr id="6" name="object 6"/>
          <p:cNvSpPr txBox="1"/>
          <p:nvPr/>
        </p:nvSpPr>
        <p:spPr>
          <a:xfrm>
            <a:off x="899007" y="6167887"/>
            <a:ext cx="5813521" cy="352055"/>
          </a:xfrm>
          <a:prstGeom prst="rect">
            <a:avLst/>
          </a:prstGeom>
        </p:spPr>
        <p:txBody>
          <a:bodyPr vert="horz" wrap="square" lIns="0" tIns="16164" rIns="0" bIns="0" rtlCol="0">
            <a:spAutoFit/>
          </a:bodyPr>
          <a:lstStyle/>
          <a:p>
            <a:pPr marL="15394" marR="0" lvl="0" indent="0" algn="l" defTabSz="806867" rtl="0" eaLnBrk="1" fontAlgn="auto" latinLnBrk="0" hangingPunct="1">
              <a:lnSpc>
                <a:spcPct val="100000"/>
              </a:lnSpc>
              <a:spcBef>
                <a:spcPts val="127"/>
              </a:spcBef>
              <a:spcAft>
                <a:spcPts val="0"/>
              </a:spcAft>
              <a:buClrTx/>
              <a:buSzTx/>
              <a:buFontTx/>
              <a:buNone/>
              <a:tabLst/>
              <a:defRPr/>
            </a:pPr>
            <a:r>
              <a:rPr kumimoji="0" sz="1091" b="0" i="0" u="none" strike="noStrike" kern="0" cap="none" spc="-61" normalizeH="0" baseline="0" noProof="0" dirty="0">
                <a:ln>
                  <a:noFill/>
                </a:ln>
                <a:solidFill>
                  <a:srgbClr val="3F3F3F"/>
                </a:solidFill>
                <a:effectLst/>
                <a:uLnTx/>
                <a:uFillTx/>
                <a:latin typeface="Arial"/>
                <a:ea typeface="+mn-ea"/>
                <a:cs typeface="Arial"/>
              </a:rPr>
              <a:t>Data</a:t>
            </a:r>
            <a:r>
              <a:rPr kumimoji="0" sz="1091" b="0" i="0" u="none" strike="noStrike" kern="0" cap="none" spc="-30" normalizeH="0" baseline="0" noProof="0" dirty="0">
                <a:ln>
                  <a:noFill/>
                </a:ln>
                <a:solidFill>
                  <a:srgbClr val="3F3F3F"/>
                </a:solidFill>
                <a:effectLst/>
                <a:uLnTx/>
                <a:uFillTx/>
                <a:latin typeface="Arial"/>
                <a:ea typeface="+mn-ea"/>
                <a:cs typeface="Arial"/>
              </a:rPr>
              <a:t> </a:t>
            </a:r>
            <a:r>
              <a:rPr kumimoji="0" sz="1091" b="0" i="0" u="none" strike="noStrike" kern="0" cap="none" spc="-12" normalizeH="0" baseline="0" noProof="0" dirty="0">
                <a:ln>
                  <a:noFill/>
                </a:ln>
                <a:solidFill>
                  <a:srgbClr val="3F3F3F"/>
                </a:solidFill>
                <a:effectLst/>
                <a:uLnTx/>
                <a:uFillTx/>
                <a:latin typeface="Arial"/>
                <a:ea typeface="+mn-ea"/>
                <a:cs typeface="Arial"/>
              </a:rPr>
              <a:t>cutoff:</a:t>
            </a:r>
            <a:r>
              <a:rPr kumimoji="0" sz="1091" b="0" i="0" u="none" strike="noStrike" kern="0" cap="none" spc="-19" normalizeH="0" baseline="0" noProof="0" dirty="0">
                <a:ln>
                  <a:noFill/>
                </a:ln>
                <a:solidFill>
                  <a:srgbClr val="3F3F3F"/>
                </a:solidFill>
                <a:effectLst/>
                <a:uLnTx/>
                <a:uFillTx/>
                <a:latin typeface="Arial"/>
                <a:ea typeface="+mn-ea"/>
                <a:cs typeface="Arial"/>
              </a:rPr>
              <a:t> </a:t>
            </a:r>
            <a:r>
              <a:rPr kumimoji="0" sz="1091" b="0" i="0" u="none" strike="noStrike" kern="0" cap="none" spc="-61" normalizeH="0" baseline="0" noProof="0" dirty="0">
                <a:ln>
                  <a:noFill/>
                </a:ln>
                <a:solidFill>
                  <a:srgbClr val="3F3F3F"/>
                </a:solidFill>
                <a:effectLst/>
                <a:uLnTx/>
                <a:uFillTx/>
                <a:latin typeface="Arial"/>
                <a:ea typeface="+mn-ea"/>
                <a:cs typeface="Arial"/>
              </a:rPr>
              <a:t>September</a:t>
            </a:r>
            <a:r>
              <a:rPr kumimoji="0" sz="1091" b="0" i="0" u="none" strike="noStrike" kern="0" cap="none" spc="-19" normalizeH="0" baseline="0" noProof="0" dirty="0">
                <a:ln>
                  <a:noFill/>
                </a:ln>
                <a:solidFill>
                  <a:srgbClr val="3F3F3F"/>
                </a:solidFill>
                <a:effectLst/>
                <a:uLnTx/>
                <a:uFillTx/>
                <a:latin typeface="Arial"/>
                <a:ea typeface="+mn-ea"/>
                <a:cs typeface="Arial"/>
              </a:rPr>
              <a:t> </a:t>
            </a:r>
            <a:r>
              <a:rPr kumimoji="0" sz="1091" b="0" i="0" u="none" strike="noStrike" kern="0" cap="none" spc="-49" normalizeH="0" baseline="0" noProof="0" dirty="0">
                <a:ln>
                  <a:noFill/>
                </a:ln>
                <a:solidFill>
                  <a:srgbClr val="3F3F3F"/>
                </a:solidFill>
                <a:effectLst/>
                <a:uLnTx/>
                <a:uFillTx/>
                <a:latin typeface="Arial"/>
                <a:ea typeface="+mn-ea"/>
                <a:cs typeface="Arial"/>
              </a:rPr>
              <a:t>15,</a:t>
            </a:r>
            <a:r>
              <a:rPr kumimoji="0" sz="1091" b="0" i="0" u="none" strike="noStrike" kern="0" cap="none" spc="-12" normalizeH="0" baseline="0" noProof="0" dirty="0">
                <a:ln>
                  <a:noFill/>
                </a:ln>
                <a:solidFill>
                  <a:srgbClr val="3F3F3F"/>
                </a:solidFill>
                <a:effectLst/>
                <a:uLnTx/>
                <a:uFillTx/>
                <a:latin typeface="Arial"/>
                <a:ea typeface="+mn-ea"/>
                <a:cs typeface="Arial"/>
              </a:rPr>
              <a:t> 2022.</a:t>
            </a:r>
            <a:endParaRPr kumimoji="0" sz="1091" b="0" i="0" u="none" strike="noStrike" kern="0" cap="none" spc="0" normalizeH="0" baseline="0" noProof="0">
              <a:ln>
                <a:noFill/>
              </a:ln>
              <a:solidFill>
                <a:sysClr val="windowText" lastClr="000000"/>
              </a:solidFill>
              <a:effectLst/>
              <a:uLnTx/>
              <a:uFillTx/>
              <a:latin typeface="Arial"/>
              <a:ea typeface="+mn-ea"/>
              <a:cs typeface="Arial"/>
            </a:endParaRPr>
          </a:p>
          <a:p>
            <a:pPr marL="15394" marR="0" lvl="0" indent="0" algn="l" defTabSz="806867" rtl="0" eaLnBrk="1" fontAlgn="auto" latinLnBrk="0" hangingPunct="1">
              <a:lnSpc>
                <a:spcPct val="100000"/>
              </a:lnSpc>
              <a:spcBef>
                <a:spcPts val="6"/>
              </a:spcBef>
              <a:spcAft>
                <a:spcPts val="0"/>
              </a:spcAft>
              <a:buClrTx/>
              <a:buSzTx/>
              <a:buFontTx/>
              <a:buNone/>
              <a:tabLst/>
              <a:defRPr/>
            </a:pPr>
            <a:r>
              <a:rPr kumimoji="0" sz="1091" b="0" i="0" u="none" strike="noStrike" kern="0" cap="none" spc="-146" normalizeH="0" baseline="0" noProof="0" dirty="0">
                <a:ln>
                  <a:noFill/>
                </a:ln>
                <a:solidFill>
                  <a:srgbClr val="3F3F3F"/>
                </a:solidFill>
                <a:effectLst/>
                <a:uLnTx/>
                <a:uFillTx/>
                <a:latin typeface="Arial"/>
                <a:ea typeface="+mn-ea"/>
                <a:cs typeface="Arial"/>
              </a:rPr>
              <a:t>CR,</a:t>
            </a:r>
            <a:r>
              <a:rPr kumimoji="0" sz="1091" b="0" i="0" u="none" strike="noStrike" kern="0" cap="none" spc="12" normalizeH="0" baseline="0" noProof="0" dirty="0">
                <a:ln>
                  <a:noFill/>
                </a:ln>
                <a:solidFill>
                  <a:srgbClr val="3F3F3F"/>
                </a:solidFill>
                <a:effectLst/>
                <a:uLnTx/>
                <a:uFillTx/>
                <a:latin typeface="Arial"/>
                <a:ea typeface="+mn-ea"/>
                <a:cs typeface="Arial"/>
              </a:rPr>
              <a:t> </a:t>
            </a:r>
            <a:r>
              <a:rPr kumimoji="0" sz="1091" b="0" i="0" u="none" strike="noStrike" kern="0" cap="none" spc="-36" normalizeH="0" baseline="0" noProof="0" dirty="0">
                <a:ln>
                  <a:noFill/>
                </a:ln>
                <a:solidFill>
                  <a:srgbClr val="3F3F3F"/>
                </a:solidFill>
                <a:effectLst/>
                <a:uLnTx/>
                <a:uFillTx/>
                <a:latin typeface="Arial"/>
                <a:ea typeface="+mn-ea"/>
                <a:cs typeface="Arial"/>
              </a:rPr>
              <a:t>complete</a:t>
            </a:r>
            <a:r>
              <a:rPr kumimoji="0" sz="1091" b="0" i="0" u="none" strike="noStrike" kern="0" cap="none" spc="-12" normalizeH="0" baseline="0" noProof="0" dirty="0">
                <a:ln>
                  <a:noFill/>
                </a:ln>
                <a:solidFill>
                  <a:srgbClr val="3F3F3F"/>
                </a:solidFill>
                <a:effectLst/>
                <a:uLnTx/>
                <a:uFillTx/>
                <a:latin typeface="Arial"/>
                <a:ea typeface="+mn-ea"/>
                <a:cs typeface="Arial"/>
              </a:rPr>
              <a:t> </a:t>
            </a:r>
            <a:r>
              <a:rPr kumimoji="0" sz="1091" b="0" i="0" u="none" strike="noStrike" kern="0" cap="none" spc="-61" normalizeH="0" baseline="0" noProof="0" dirty="0">
                <a:ln>
                  <a:noFill/>
                </a:ln>
                <a:solidFill>
                  <a:srgbClr val="3F3F3F"/>
                </a:solidFill>
                <a:effectLst/>
                <a:uLnTx/>
                <a:uFillTx/>
                <a:latin typeface="Arial"/>
                <a:ea typeface="+mn-ea"/>
                <a:cs typeface="Arial"/>
              </a:rPr>
              <a:t>response;</a:t>
            </a:r>
            <a:r>
              <a:rPr kumimoji="0" sz="1091" b="0" i="0" u="none" strike="noStrike" kern="0" cap="none" spc="19" normalizeH="0" baseline="0" noProof="0" dirty="0">
                <a:ln>
                  <a:noFill/>
                </a:ln>
                <a:solidFill>
                  <a:srgbClr val="3F3F3F"/>
                </a:solidFill>
                <a:effectLst/>
                <a:uLnTx/>
                <a:uFillTx/>
                <a:latin typeface="Arial"/>
                <a:ea typeface="+mn-ea"/>
                <a:cs typeface="Arial"/>
              </a:rPr>
              <a:t> </a:t>
            </a:r>
            <a:r>
              <a:rPr kumimoji="0" sz="1091" b="0" i="0" u="none" strike="noStrike" kern="0" cap="none" spc="-121" normalizeH="0" baseline="0" noProof="0" dirty="0">
                <a:ln>
                  <a:noFill/>
                </a:ln>
                <a:solidFill>
                  <a:srgbClr val="3F3F3F"/>
                </a:solidFill>
                <a:effectLst/>
                <a:uLnTx/>
                <a:uFillTx/>
                <a:latin typeface="Arial"/>
                <a:ea typeface="+mn-ea"/>
                <a:cs typeface="Arial"/>
              </a:rPr>
              <a:t>GGT,</a:t>
            </a:r>
            <a:r>
              <a:rPr kumimoji="0" sz="1091" b="0" i="0" u="none" strike="noStrike" kern="0" cap="none" spc="30" normalizeH="0" baseline="0" noProof="0" dirty="0">
                <a:ln>
                  <a:noFill/>
                </a:ln>
                <a:solidFill>
                  <a:srgbClr val="3F3F3F"/>
                </a:solidFill>
                <a:effectLst/>
                <a:uLnTx/>
                <a:uFillTx/>
                <a:latin typeface="Arial"/>
                <a:ea typeface="+mn-ea"/>
                <a:cs typeface="Arial"/>
              </a:rPr>
              <a:t> </a:t>
            </a:r>
            <a:r>
              <a:rPr kumimoji="0" sz="1091" b="0" i="0" u="none" strike="noStrike" kern="0" cap="none" spc="-72" normalizeH="0" baseline="0" noProof="0" dirty="0">
                <a:ln>
                  <a:noFill/>
                </a:ln>
                <a:solidFill>
                  <a:srgbClr val="3F3F3F"/>
                </a:solidFill>
                <a:effectLst/>
                <a:uLnTx/>
                <a:uFillTx/>
                <a:latin typeface="Arial"/>
                <a:ea typeface="+mn-ea"/>
                <a:cs typeface="Arial"/>
              </a:rPr>
              <a:t>gamma-</a:t>
            </a:r>
            <a:r>
              <a:rPr kumimoji="0" sz="1091" b="0" i="0" u="none" strike="noStrike" kern="0" cap="none" spc="-42" normalizeH="0" baseline="0" noProof="0" dirty="0">
                <a:ln>
                  <a:noFill/>
                </a:ln>
                <a:solidFill>
                  <a:srgbClr val="3F3F3F"/>
                </a:solidFill>
                <a:effectLst/>
                <a:uLnTx/>
                <a:uFillTx/>
                <a:latin typeface="Arial"/>
                <a:ea typeface="+mn-ea"/>
                <a:cs typeface="Arial"/>
              </a:rPr>
              <a:t>glutamyltransferase;</a:t>
            </a:r>
            <a:r>
              <a:rPr kumimoji="0" sz="1091" b="0" i="0" u="none" strike="noStrike" kern="0" cap="none" spc="0" normalizeH="0" baseline="0" noProof="0" dirty="0">
                <a:ln>
                  <a:noFill/>
                </a:ln>
                <a:solidFill>
                  <a:srgbClr val="3F3F3F"/>
                </a:solidFill>
                <a:effectLst/>
                <a:uLnTx/>
                <a:uFillTx/>
                <a:latin typeface="Arial"/>
                <a:ea typeface="+mn-ea"/>
                <a:cs typeface="Arial"/>
              </a:rPr>
              <a:t> </a:t>
            </a:r>
            <a:r>
              <a:rPr kumimoji="0" sz="1091" b="0" i="0" u="none" strike="noStrike" kern="0" cap="none" spc="-133" normalizeH="0" baseline="0" noProof="0" dirty="0">
                <a:ln>
                  <a:noFill/>
                </a:ln>
                <a:solidFill>
                  <a:srgbClr val="3F3F3F"/>
                </a:solidFill>
                <a:effectLst/>
                <a:uLnTx/>
                <a:uFillTx/>
                <a:latin typeface="Arial"/>
                <a:ea typeface="+mn-ea"/>
                <a:cs typeface="Arial"/>
              </a:rPr>
              <a:t>TEAE,</a:t>
            </a:r>
            <a:r>
              <a:rPr kumimoji="0" sz="1091" b="0" i="0" u="none" strike="noStrike" kern="0" cap="none" spc="12" normalizeH="0" baseline="0" noProof="0" dirty="0">
                <a:ln>
                  <a:noFill/>
                </a:ln>
                <a:solidFill>
                  <a:srgbClr val="3F3F3F"/>
                </a:solidFill>
                <a:effectLst/>
                <a:uLnTx/>
                <a:uFillTx/>
                <a:latin typeface="Arial"/>
                <a:ea typeface="+mn-ea"/>
                <a:cs typeface="Arial"/>
              </a:rPr>
              <a:t> </a:t>
            </a:r>
            <a:r>
              <a:rPr kumimoji="0" sz="1091" b="0" i="0" u="none" strike="noStrike" kern="0" cap="none" spc="-24" normalizeH="0" baseline="0" noProof="0" dirty="0">
                <a:ln>
                  <a:noFill/>
                </a:ln>
                <a:solidFill>
                  <a:srgbClr val="3F3F3F"/>
                </a:solidFill>
                <a:effectLst/>
                <a:uLnTx/>
                <a:uFillTx/>
                <a:latin typeface="Arial"/>
                <a:ea typeface="+mn-ea"/>
                <a:cs typeface="Arial"/>
              </a:rPr>
              <a:t>treatment</a:t>
            </a:r>
            <a:r>
              <a:rPr kumimoji="0" sz="1091" b="0" i="0" u="none" strike="noStrike" kern="0" cap="none" spc="-12" normalizeH="0" baseline="0" noProof="0" dirty="0">
                <a:ln>
                  <a:noFill/>
                </a:ln>
                <a:solidFill>
                  <a:srgbClr val="3F3F3F"/>
                </a:solidFill>
                <a:effectLst/>
                <a:uLnTx/>
                <a:uFillTx/>
                <a:latin typeface="Arial"/>
                <a:ea typeface="+mn-ea"/>
                <a:cs typeface="Arial"/>
              </a:rPr>
              <a:t> </a:t>
            </a:r>
            <a:r>
              <a:rPr kumimoji="0" sz="1091" b="0" i="0" u="none" strike="noStrike" kern="0" cap="none" spc="-49" normalizeH="0" baseline="0" noProof="0" dirty="0">
                <a:ln>
                  <a:noFill/>
                </a:ln>
                <a:solidFill>
                  <a:srgbClr val="3F3F3F"/>
                </a:solidFill>
                <a:effectLst/>
                <a:uLnTx/>
                <a:uFillTx/>
                <a:latin typeface="Arial"/>
                <a:ea typeface="+mn-ea"/>
                <a:cs typeface="Arial"/>
              </a:rPr>
              <a:t>emergent</a:t>
            </a:r>
            <a:r>
              <a:rPr kumimoji="0" sz="1091" b="0" i="0" u="none" strike="noStrike" kern="0" cap="none" spc="6" normalizeH="0" baseline="0" noProof="0" dirty="0">
                <a:ln>
                  <a:noFill/>
                </a:ln>
                <a:solidFill>
                  <a:srgbClr val="3F3F3F"/>
                </a:solidFill>
                <a:effectLst/>
                <a:uLnTx/>
                <a:uFillTx/>
                <a:latin typeface="Arial"/>
                <a:ea typeface="+mn-ea"/>
                <a:cs typeface="Arial"/>
              </a:rPr>
              <a:t> </a:t>
            </a:r>
            <a:r>
              <a:rPr kumimoji="0" sz="1091" b="0" i="0" u="none" strike="noStrike" kern="0" cap="none" spc="-61" normalizeH="0" baseline="0" noProof="0" dirty="0">
                <a:ln>
                  <a:noFill/>
                </a:ln>
                <a:solidFill>
                  <a:srgbClr val="3F3F3F"/>
                </a:solidFill>
                <a:effectLst/>
                <a:uLnTx/>
                <a:uFillTx/>
                <a:latin typeface="Arial"/>
                <a:ea typeface="+mn-ea"/>
                <a:cs typeface="Arial"/>
              </a:rPr>
              <a:t>adverse</a:t>
            </a:r>
            <a:r>
              <a:rPr kumimoji="0" sz="1091" b="0" i="0" u="none" strike="noStrike" kern="0" cap="none" spc="36" normalizeH="0" baseline="0" noProof="0" dirty="0">
                <a:ln>
                  <a:noFill/>
                </a:ln>
                <a:solidFill>
                  <a:srgbClr val="3F3F3F"/>
                </a:solidFill>
                <a:effectLst/>
                <a:uLnTx/>
                <a:uFillTx/>
                <a:latin typeface="Arial"/>
                <a:ea typeface="+mn-ea"/>
                <a:cs typeface="Arial"/>
              </a:rPr>
              <a:t> </a:t>
            </a:r>
            <a:r>
              <a:rPr kumimoji="0" sz="1091" b="0" i="0" u="none" strike="noStrike" kern="0" cap="none" spc="-12" normalizeH="0" baseline="0" noProof="0" dirty="0">
                <a:ln>
                  <a:noFill/>
                </a:ln>
                <a:solidFill>
                  <a:srgbClr val="3F3F3F"/>
                </a:solidFill>
                <a:effectLst/>
                <a:uLnTx/>
                <a:uFillTx/>
                <a:latin typeface="Arial"/>
                <a:ea typeface="+mn-ea"/>
                <a:cs typeface="Arial"/>
              </a:rPr>
              <a:t>events.</a:t>
            </a:r>
            <a:endParaRPr kumimoji="0" sz="1091"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7" name="object 7"/>
          <p:cNvSpPr/>
          <p:nvPr/>
        </p:nvSpPr>
        <p:spPr>
          <a:xfrm>
            <a:off x="914402" y="5369559"/>
            <a:ext cx="10351654" cy="511079"/>
          </a:xfrm>
          <a:custGeom>
            <a:avLst/>
            <a:gdLst/>
            <a:ahLst/>
            <a:cxnLst/>
            <a:rect l="l" t="t" r="r" b="b"/>
            <a:pathLst>
              <a:path w="8540115" h="421639">
                <a:moveTo>
                  <a:pt x="8539734" y="351281"/>
                </a:moveTo>
                <a:lnTo>
                  <a:pt x="8539734" y="70866"/>
                </a:lnTo>
                <a:lnTo>
                  <a:pt x="8534245" y="43398"/>
                </a:lnTo>
                <a:lnTo>
                  <a:pt x="8519255" y="20859"/>
                </a:lnTo>
                <a:lnTo>
                  <a:pt x="8496978" y="5607"/>
                </a:lnTo>
                <a:lnTo>
                  <a:pt x="8469630" y="0"/>
                </a:lnTo>
                <a:lnTo>
                  <a:pt x="70866" y="0"/>
                </a:lnTo>
                <a:lnTo>
                  <a:pt x="43398" y="5607"/>
                </a:lnTo>
                <a:lnTo>
                  <a:pt x="20859" y="20859"/>
                </a:lnTo>
                <a:lnTo>
                  <a:pt x="5607" y="43398"/>
                </a:lnTo>
                <a:lnTo>
                  <a:pt x="0" y="70866"/>
                </a:lnTo>
                <a:lnTo>
                  <a:pt x="0" y="351282"/>
                </a:lnTo>
                <a:lnTo>
                  <a:pt x="5607" y="378630"/>
                </a:lnTo>
                <a:lnTo>
                  <a:pt x="20859" y="400907"/>
                </a:lnTo>
                <a:lnTo>
                  <a:pt x="43398" y="415897"/>
                </a:lnTo>
                <a:lnTo>
                  <a:pt x="70866" y="421386"/>
                </a:lnTo>
                <a:lnTo>
                  <a:pt x="8469630" y="421386"/>
                </a:lnTo>
                <a:lnTo>
                  <a:pt x="8496978" y="415897"/>
                </a:lnTo>
                <a:lnTo>
                  <a:pt x="8519255" y="400907"/>
                </a:lnTo>
                <a:lnTo>
                  <a:pt x="8534245" y="378630"/>
                </a:lnTo>
                <a:lnTo>
                  <a:pt x="8539734" y="351281"/>
                </a:lnTo>
                <a:close/>
              </a:path>
            </a:pathLst>
          </a:custGeom>
          <a:solidFill>
            <a:srgbClr val="ED7D31"/>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 name="object 8"/>
          <p:cNvSpPr txBox="1"/>
          <p:nvPr/>
        </p:nvSpPr>
        <p:spPr>
          <a:xfrm>
            <a:off x="1787545" y="5405890"/>
            <a:ext cx="8604442" cy="384025"/>
          </a:xfrm>
          <a:prstGeom prst="rect">
            <a:avLst/>
          </a:prstGeom>
        </p:spPr>
        <p:txBody>
          <a:bodyPr vert="horz" wrap="square" lIns="0" tIns="20012" rIns="0" bIns="0" rtlCol="0">
            <a:spAutoFit/>
          </a:bodyPr>
          <a:lstStyle/>
          <a:p>
            <a:pPr marL="15394" marR="0" lvl="0" indent="0" algn="l" defTabSz="806867" rtl="0" eaLnBrk="1" fontAlgn="auto" latinLnBrk="0" hangingPunct="1">
              <a:lnSpc>
                <a:spcPct val="100000"/>
              </a:lnSpc>
              <a:spcBef>
                <a:spcPts val="158"/>
              </a:spcBef>
              <a:spcAft>
                <a:spcPts val="0"/>
              </a:spcAft>
              <a:buClrTx/>
              <a:buSzTx/>
              <a:buFontTx/>
              <a:buNone/>
              <a:tabLst/>
              <a:defRPr/>
            </a:pPr>
            <a:r>
              <a:rPr kumimoji="0" sz="2364" b="0" i="0" u="none" strike="noStrike" kern="0" cap="none" spc="-133" normalizeH="0" baseline="0" noProof="0" dirty="0">
                <a:ln>
                  <a:noFill/>
                </a:ln>
                <a:solidFill>
                  <a:srgbClr val="FFFFFF"/>
                </a:solidFill>
                <a:effectLst/>
                <a:uLnTx/>
                <a:uFillTx/>
                <a:latin typeface="Arial"/>
                <a:ea typeface="+mn-ea"/>
                <a:cs typeface="Arial"/>
              </a:rPr>
              <a:t>No</a:t>
            </a:r>
            <a:r>
              <a:rPr kumimoji="0" sz="2364" b="0" i="0" u="none" strike="noStrike" kern="0" cap="none" spc="-91" normalizeH="0" baseline="0" noProof="0" dirty="0">
                <a:ln>
                  <a:noFill/>
                </a:ln>
                <a:solidFill>
                  <a:srgbClr val="FFFFFF"/>
                </a:solidFill>
                <a:effectLst/>
                <a:uLnTx/>
                <a:uFillTx/>
                <a:latin typeface="Arial"/>
                <a:ea typeface="+mn-ea"/>
                <a:cs typeface="Arial"/>
              </a:rPr>
              <a:t> </a:t>
            </a:r>
            <a:r>
              <a:rPr kumimoji="0" sz="2364" b="0" i="0" u="none" strike="noStrike" kern="0" cap="none" spc="-79" normalizeH="0" baseline="0" noProof="0" dirty="0">
                <a:ln>
                  <a:noFill/>
                </a:ln>
                <a:solidFill>
                  <a:srgbClr val="FFFFFF"/>
                </a:solidFill>
                <a:effectLst/>
                <a:uLnTx/>
                <a:uFillTx/>
                <a:latin typeface="Arial"/>
                <a:ea typeface="+mn-ea"/>
                <a:cs typeface="Arial"/>
              </a:rPr>
              <a:t>new </a:t>
            </a:r>
            <a:r>
              <a:rPr kumimoji="0" sz="2364" b="0" i="0" u="none" strike="noStrike" kern="0" cap="none" spc="-91" normalizeH="0" baseline="0" noProof="0" dirty="0">
                <a:ln>
                  <a:noFill/>
                </a:ln>
                <a:solidFill>
                  <a:srgbClr val="FFFFFF"/>
                </a:solidFill>
                <a:effectLst/>
                <a:uLnTx/>
                <a:uFillTx/>
                <a:latin typeface="Arial"/>
                <a:ea typeface="+mn-ea"/>
                <a:cs typeface="Arial"/>
              </a:rPr>
              <a:t>safety</a:t>
            </a:r>
            <a:r>
              <a:rPr kumimoji="0" sz="2364" b="0" i="0" u="none" strike="noStrike" kern="0" cap="none" spc="-79" normalizeH="0" baseline="0" noProof="0" dirty="0">
                <a:ln>
                  <a:noFill/>
                </a:ln>
                <a:solidFill>
                  <a:srgbClr val="FFFFFF"/>
                </a:solidFill>
                <a:effectLst/>
                <a:uLnTx/>
                <a:uFillTx/>
                <a:latin typeface="Arial"/>
                <a:ea typeface="+mn-ea"/>
                <a:cs typeface="Arial"/>
              </a:rPr>
              <a:t> </a:t>
            </a:r>
            <a:r>
              <a:rPr kumimoji="0" sz="2364" b="0" i="0" u="none" strike="noStrike" kern="0" cap="none" spc="-133" normalizeH="0" baseline="0" noProof="0" dirty="0">
                <a:ln>
                  <a:noFill/>
                </a:ln>
                <a:solidFill>
                  <a:srgbClr val="FFFFFF"/>
                </a:solidFill>
                <a:effectLst/>
                <a:uLnTx/>
                <a:uFillTx/>
                <a:latin typeface="Arial"/>
                <a:ea typeface="+mn-ea"/>
                <a:cs typeface="Arial"/>
              </a:rPr>
              <a:t>signals</a:t>
            </a:r>
            <a:r>
              <a:rPr kumimoji="0" sz="2364" b="0" i="0" u="none" strike="noStrike" kern="0" cap="none" spc="-85" normalizeH="0" baseline="0" noProof="0" dirty="0">
                <a:ln>
                  <a:noFill/>
                </a:ln>
                <a:solidFill>
                  <a:srgbClr val="FFFFFF"/>
                </a:solidFill>
                <a:effectLst/>
                <a:uLnTx/>
                <a:uFillTx/>
                <a:latin typeface="Arial"/>
                <a:ea typeface="+mn-ea"/>
                <a:cs typeface="Arial"/>
              </a:rPr>
              <a:t> </a:t>
            </a:r>
            <a:r>
              <a:rPr kumimoji="0" sz="2364" b="0" i="0" u="none" strike="noStrike" kern="0" cap="none" spc="-79" normalizeH="0" baseline="0" noProof="0" dirty="0">
                <a:ln>
                  <a:noFill/>
                </a:ln>
                <a:solidFill>
                  <a:srgbClr val="FFFFFF"/>
                </a:solidFill>
                <a:effectLst/>
                <a:uLnTx/>
                <a:uFillTx/>
                <a:latin typeface="Arial"/>
                <a:ea typeface="+mn-ea"/>
                <a:cs typeface="Arial"/>
              </a:rPr>
              <a:t>were </a:t>
            </a:r>
            <a:r>
              <a:rPr kumimoji="0" sz="2364" b="0" i="0" u="none" strike="noStrike" kern="0" cap="none" spc="-30" normalizeH="0" baseline="0" noProof="0" dirty="0">
                <a:ln>
                  <a:noFill/>
                </a:ln>
                <a:solidFill>
                  <a:srgbClr val="FFFFFF"/>
                </a:solidFill>
                <a:effectLst/>
                <a:uLnTx/>
                <a:uFillTx/>
                <a:latin typeface="Arial"/>
                <a:ea typeface="+mn-ea"/>
                <a:cs typeface="Arial"/>
              </a:rPr>
              <a:t>identified</a:t>
            </a:r>
            <a:r>
              <a:rPr kumimoji="0" sz="2364" b="0" i="0" u="none" strike="noStrike" kern="0" cap="none" spc="-85" normalizeH="0" baseline="0" noProof="0" dirty="0">
                <a:ln>
                  <a:noFill/>
                </a:ln>
                <a:solidFill>
                  <a:srgbClr val="FFFFFF"/>
                </a:solidFill>
                <a:effectLst/>
                <a:uLnTx/>
                <a:uFillTx/>
                <a:latin typeface="Arial"/>
                <a:ea typeface="+mn-ea"/>
                <a:cs typeface="Arial"/>
              </a:rPr>
              <a:t> </a:t>
            </a:r>
            <a:r>
              <a:rPr kumimoji="0" sz="2364" b="0" i="0" u="none" strike="noStrike" kern="0" cap="none" spc="-67" normalizeH="0" baseline="0" noProof="0" dirty="0">
                <a:ln>
                  <a:noFill/>
                </a:ln>
                <a:solidFill>
                  <a:srgbClr val="FFFFFF"/>
                </a:solidFill>
                <a:effectLst/>
                <a:uLnTx/>
                <a:uFillTx/>
                <a:latin typeface="Arial"/>
                <a:ea typeface="+mn-ea"/>
                <a:cs typeface="Arial"/>
              </a:rPr>
              <a:t>during</a:t>
            </a:r>
            <a:r>
              <a:rPr kumimoji="0" sz="2364" b="0" i="0" u="none" strike="noStrike" kern="0" cap="none" spc="-79" normalizeH="0" baseline="0" noProof="0" dirty="0">
                <a:ln>
                  <a:noFill/>
                </a:ln>
                <a:solidFill>
                  <a:srgbClr val="FFFFFF"/>
                </a:solidFill>
                <a:effectLst/>
                <a:uLnTx/>
                <a:uFillTx/>
                <a:latin typeface="Arial"/>
                <a:ea typeface="+mn-ea"/>
                <a:cs typeface="Arial"/>
              </a:rPr>
              <a:t> </a:t>
            </a:r>
            <a:r>
              <a:rPr kumimoji="0" sz="2364" b="0" i="0" u="none" strike="noStrike" kern="0" cap="none" spc="0" normalizeH="0" baseline="0" noProof="0" dirty="0">
                <a:ln>
                  <a:noFill/>
                </a:ln>
                <a:solidFill>
                  <a:srgbClr val="FFFFFF"/>
                </a:solidFill>
                <a:effectLst/>
                <a:uLnTx/>
                <a:uFillTx/>
                <a:latin typeface="Arial"/>
                <a:ea typeface="+mn-ea"/>
                <a:cs typeface="Arial"/>
              </a:rPr>
              <a:t>the</a:t>
            </a:r>
            <a:r>
              <a:rPr kumimoji="0" sz="2364" b="0" i="0" u="none" strike="noStrike" kern="0" cap="none" spc="-79" normalizeH="0" baseline="0" noProof="0" dirty="0">
                <a:ln>
                  <a:noFill/>
                </a:ln>
                <a:solidFill>
                  <a:srgbClr val="FFFFFF"/>
                </a:solidFill>
                <a:effectLst/>
                <a:uLnTx/>
                <a:uFillTx/>
                <a:latin typeface="Arial"/>
                <a:ea typeface="+mn-ea"/>
                <a:cs typeface="Arial"/>
              </a:rPr>
              <a:t> </a:t>
            </a:r>
            <a:r>
              <a:rPr kumimoji="0" sz="2364" b="0" i="0" u="none" strike="noStrike" kern="0" cap="none" spc="-55" normalizeH="0" baseline="0" noProof="0" dirty="0">
                <a:ln>
                  <a:noFill/>
                </a:ln>
                <a:solidFill>
                  <a:srgbClr val="FFFFFF"/>
                </a:solidFill>
                <a:effectLst/>
                <a:uLnTx/>
                <a:uFillTx/>
                <a:latin typeface="Arial"/>
                <a:ea typeface="+mn-ea"/>
                <a:cs typeface="Arial"/>
              </a:rPr>
              <a:t>long-</a:t>
            </a:r>
            <a:r>
              <a:rPr kumimoji="0" sz="2364" b="0" i="0" u="none" strike="noStrike" kern="0" cap="none" spc="-67" normalizeH="0" baseline="0" noProof="0" dirty="0">
                <a:ln>
                  <a:noFill/>
                </a:ln>
                <a:solidFill>
                  <a:srgbClr val="FFFFFF"/>
                </a:solidFill>
                <a:effectLst/>
                <a:uLnTx/>
                <a:uFillTx/>
                <a:latin typeface="Arial"/>
                <a:ea typeface="+mn-ea"/>
                <a:cs typeface="Arial"/>
              </a:rPr>
              <a:t>term</a:t>
            </a:r>
            <a:r>
              <a:rPr kumimoji="0" sz="2364" b="0" i="0" u="none" strike="noStrike" kern="0" cap="none" spc="-79" normalizeH="0" baseline="0" noProof="0" dirty="0">
                <a:ln>
                  <a:noFill/>
                </a:ln>
                <a:solidFill>
                  <a:srgbClr val="FFFFFF"/>
                </a:solidFill>
                <a:effectLst/>
                <a:uLnTx/>
                <a:uFillTx/>
                <a:latin typeface="Arial"/>
                <a:ea typeface="+mn-ea"/>
                <a:cs typeface="Arial"/>
              </a:rPr>
              <a:t> </a:t>
            </a:r>
            <a:r>
              <a:rPr kumimoji="0" sz="2364" b="0" i="0" u="none" strike="noStrike" kern="0" cap="none" spc="-30" normalizeH="0" baseline="0" noProof="0" dirty="0">
                <a:ln>
                  <a:noFill/>
                </a:ln>
                <a:solidFill>
                  <a:srgbClr val="FFFFFF"/>
                </a:solidFill>
                <a:effectLst/>
                <a:uLnTx/>
                <a:uFillTx/>
                <a:latin typeface="Arial"/>
                <a:ea typeface="+mn-ea"/>
                <a:cs typeface="Arial"/>
              </a:rPr>
              <a:t>follow-up.</a:t>
            </a:r>
            <a:endParaRPr kumimoji="0" sz="2364"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9" name="Rectangle 1">
            <a:extLst>
              <a:ext uri="{FF2B5EF4-FFF2-40B4-BE49-F238E27FC236}">
                <a16:creationId xmlns:a16="http://schemas.microsoft.com/office/drawing/2014/main" id="{7A938F99-7A2C-F9D5-553C-09FA600C438B}"/>
              </a:ext>
            </a:extLst>
          </p:cNvPr>
          <p:cNvSpPr>
            <a:spLocks noChangeArrowheads="1"/>
          </p:cNvSpPr>
          <p:nvPr/>
        </p:nvSpPr>
        <p:spPr bwMode="auto">
          <a:xfrm>
            <a:off x="8303836" y="6612720"/>
            <a:ext cx="3732828" cy="2353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0682" tIns="40341" rIns="80682" bIns="40341" numCol="1" anchor="ctr"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06867" rtl="0" eaLnBrk="0" fontAlgn="base" latinLnBrk="0" hangingPunct="0">
              <a:lnSpc>
                <a:spcPct val="100000"/>
              </a:lnSpc>
              <a:spcBef>
                <a:spcPct val="0"/>
              </a:spcBef>
              <a:spcAft>
                <a:spcPct val="0"/>
              </a:spcAft>
              <a:buClrTx/>
              <a:buSzTx/>
              <a:buFontTx/>
              <a:buNone/>
              <a:tabLst/>
              <a:defRPr/>
            </a:pPr>
            <a:r>
              <a:rPr kumimoji="0" lang="en-US" altLang="en-US" sz="1000" b="0" i="0" u="none" strike="noStrike" kern="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Caimi PF, et al. </a:t>
            </a:r>
            <a:r>
              <a:rPr kumimoji="0" lang="en-US" altLang="en-US" sz="1000" b="0" i="0" u="none" strike="noStrike" kern="0" cap="none" spc="0" normalizeH="0" baseline="0" noProof="0" dirty="0" err="1">
                <a:ln>
                  <a:noFill/>
                </a:ln>
                <a:solidFill>
                  <a:srgbClr val="212121"/>
                </a:solidFill>
                <a:effectLst/>
                <a:uLnTx/>
                <a:uFillTx/>
                <a:latin typeface="Arial" panose="020B0604020202020204" pitchFamily="34" charset="0"/>
                <a:ea typeface="+mn-ea"/>
                <a:cs typeface="Arial" panose="020B0604020202020204" pitchFamily="34" charset="0"/>
              </a:rPr>
              <a:t>Haematologica</a:t>
            </a:r>
            <a:r>
              <a:rPr kumimoji="0" lang="en-US" altLang="en-US" sz="1000" b="0" i="0" u="none" strike="noStrike" kern="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 2024 Apr 1;109(4):1184-1193. </a:t>
            </a:r>
            <a:endParaRPr kumimoji="0" lang="en-US" altLang="en-US" sz="1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 name="TextBox 9">
            <a:extLst>
              <a:ext uri="{FF2B5EF4-FFF2-40B4-BE49-F238E27FC236}">
                <a16:creationId xmlns:a16="http://schemas.microsoft.com/office/drawing/2014/main" id="{A528E148-974C-F997-82B7-407FE70C36FB}"/>
              </a:ext>
            </a:extLst>
          </p:cNvPr>
          <p:cNvSpPr txBox="1"/>
          <p:nvPr/>
        </p:nvSpPr>
        <p:spPr>
          <a:xfrm>
            <a:off x="2094972" y="483310"/>
            <a:ext cx="8297015"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a:ea typeface="+mn-ea"/>
                <a:cs typeface="+mn-cs"/>
              </a:rPr>
              <a:t>LOTIS-2: All-Grade and Grade ≥3 Adverse Events</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3C58728-E550-38AC-FD8F-36EBFC5D2433}"/>
              </a:ext>
            </a:extLst>
          </p:cNvPr>
          <p:cNvSpPr txBox="1"/>
          <p:nvPr/>
        </p:nvSpPr>
        <p:spPr>
          <a:xfrm>
            <a:off x="385763" y="271463"/>
            <a:ext cx="11601450"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12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LOTIS-</a:t>
            </a:r>
            <a:r>
              <a:rPr kumimoji="0" lang="en-US" sz="2800" b="1" i="0" u="none" strike="noStrike" kern="1200" cap="none" spc="-8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5:</a:t>
            </a:r>
            <a:r>
              <a:rPr kumimoji="0" lang="en-US" sz="2800" b="1" i="0" u="none" strike="noStrike" kern="1200" cap="none" spc="-125"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 </a:t>
            </a:r>
            <a:r>
              <a:rPr kumimoji="0" lang="en-US" sz="2800" b="1" i="0" u="none" strike="noStrike" kern="1200" cap="none" spc="-75"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Randomized</a:t>
            </a:r>
            <a:r>
              <a:rPr kumimoji="0" lang="en-US" sz="2800" b="1" i="0" u="none" strike="noStrike" kern="1200" cap="none" spc="-13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 </a:t>
            </a:r>
            <a:r>
              <a:rPr kumimoji="0" lang="en-US" sz="2800" b="1" i="0" u="none" strike="noStrike" kern="1200" cap="none" spc="-6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Trial </a:t>
            </a:r>
            <a:r>
              <a:rPr kumimoji="0" lang="en-US" sz="2800" b="1"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of</a:t>
            </a:r>
            <a:r>
              <a:rPr kumimoji="0" lang="en-US" sz="2800" b="1" i="0" u="none" strike="noStrike" kern="1200" cap="none" spc="-12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 </a:t>
            </a:r>
            <a:r>
              <a:rPr kumimoji="0" lang="en-US" sz="2800" b="1" i="0" u="none" strike="noStrike" kern="1200" cap="none" spc="-65" normalizeH="0" baseline="0" noProof="0" dirty="0" err="1">
                <a:ln>
                  <a:noFill/>
                </a:ln>
                <a:solidFill>
                  <a:srgbClr val="002060"/>
                </a:solidFill>
                <a:effectLst/>
                <a:uLnTx/>
                <a:uFillTx/>
                <a:latin typeface="Calibri" panose="020F0502020204030204" pitchFamily="34" charset="0"/>
                <a:ea typeface="+mn-ea"/>
                <a:cs typeface="Calibri" panose="020F0502020204030204" pitchFamily="34" charset="0"/>
              </a:rPr>
              <a:t>Lonca</a:t>
            </a:r>
            <a:r>
              <a:rPr kumimoji="0" lang="en-US" sz="2800" b="1" i="0" u="none" strike="noStrike" kern="1200" cap="none" spc="-65"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T versus IC </a:t>
            </a:r>
            <a:r>
              <a:rPr kumimoji="0" lang="en-US" sz="2800" b="1" i="0" u="none" strike="noStrike" kern="1200" cap="none" spc="-25"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in Patients</a:t>
            </a:r>
            <a:r>
              <a:rPr kumimoji="0" lang="en-US" sz="2800" b="1" i="0" u="none" strike="noStrike" kern="1200" cap="none" spc="-135"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 </a:t>
            </a:r>
            <a:r>
              <a:rPr kumimoji="0" lang="en-US" sz="2800" b="1" i="0" u="none" strike="noStrike" kern="1200" cap="none" spc="-4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With</a:t>
            </a:r>
            <a:r>
              <a:rPr kumimoji="0" lang="en-US" sz="2800" b="1" i="0" u="none" strike="noStrike" kern="1200" cap="none" spc="-135"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 </a:t>
            </a:r>
            <a:r>
              <a:rPr kumimoji="0" lang="en-US" sz="2800" b="1" i="0" u="none" strike="noStrike" kern="1200" cap="none" spc="-25"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R/R </a:t>
            </a:r>
            <a:r>
              <a:rPr kumimoji="0" lang="en-US" sz="2800" b="1" i="0" u="none" strike="noStrike" kern="1200" cap="none" spc="-1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DLBCL/HGBL</a:t>
            </a:r>
            <a:endParaRPr kumimoji="0" lang="en-US" sz="2800" b="0"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CB4FB8E-8BAF-F047-9875-8888529090FC}"/>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19000"/>
                    </a14:imgEffect>
                  </a14:imgLayer>
                </a14:imgProps>
              </a:ext>
            </a:extLst>
          </a:blip>
          <a:stretch>
            <a:fillRect/>
          </a:stretch>
        </p:blipFill>
        <p:spPr>
          <a:xfrm>
            <a:off x="1128712" y="794683"/>
            <a:ext cx="10229851" cy="5831971"/>
          </a:xfrm>
          <a:prstGeom prst="rect">
            <a:avLst/>
          </a:prstGeom>
        </p:spPr>
      </p:pic>
      <p:sp>
        <p:nvSpPr>
          <p:cNvPr id="5" name="TextBox 4">
            <a:extLst>
              <a:ext uri="{FF2B5EF4-FFF2-40B4-BE49-F238E27FC236}">
                <a16:creationId xmlns:a16="http://schemas.microsoft.com/office/drawing/2014/main" id="{BD533647-2261-E230-5765-1964DEE6C731}"/>
              </a:ext>
            </a:extLst>
          </p:cNvPr>
          <p:cNvSpPr txBox="1"/>
          <p:nvPr/>
        </p:nvSpPr>
        <p:spPr>
          <a:xfrm>
            <a:off x="4866674" y="6611779"/>
            <a:ext cx="3419847"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10" normalizeH="0" baseline="0" noProof="0" dirty="0">
                <a:ln>
                  <a:noFill/>
                </a:ln>
                <a:solidFill>
                  <a:prstClr val="black"/>
                </a:solidFill>
                <a:effectLst/>
                <a:uLnTx/>
                <a:uFillTx/>
                <a:latin typeface="Arial"/>
                <a:ea typeface="+mn-ea"/>
                <a:cs typeface="Arial"/>
              </a:rPr>
              <a:t>Carlo-</a:t>
            </a:r>
            <a:r>
              <a:rPr kumimoji="0" lang="en-US" sz="1000" b="0" i="0" u="none" strike="noStrike" kern="1200" cap="none" spc="0" normalizeH="0" baseline="0" noProof="0" dirty="0">
                <a:ln>
                  <a:noFill/>
                </a:ln>
                <a:solidFill>
                  <a:prstClr val="black"/>
                </a:solidFill>
                <a:effectLst/>
                <a:uLnTx/>
                <a:uFillTx/>
                <a:latin typeface="Arial"/>
                <a:ea typeface="+mn-ea"/>
                <a:cs typeface="Arial"/>
              </a:rPr>
              <a:t>Stella C et al, presented at EHA 2025, poster 1957 </a:t>
            </a:r>
            <a:endPar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172163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3" name="object 3"/>
          <p:cNvGrpSpPr/>
          <p:nvPr/>
        </p:nvGrpSpPr>
        <p:grpSpPr>
          <a:xfrm>
            <a:off x="7935468" y="1303019"/>
            <a:ext cx="3723640" cy="4455160"/>
            <a:chOff x="7935468" y="1303019"/>
            <a:chExt cx="3723640" cy="4455160"/>
          </a:xfrm>
        </p:grpSpPr>
        <p:pic>
          <p:nvPicPr>
            <p:cNvPr id="4" name="object 4"/>
            <p:cNvPicPr/>
            <p:nvPr/>
          </p:nvPicPr>
          <p:blipFill>
            <a:blip r:embed="rId2" cstate="print"/>
            <a:stretch>
              <a:fillRect/>
            </a:stretch>
          </p:blipFill>
          <p:spPr>
            <a:xfrm>
              <a:off x="7935468" y="1303019"/>
              <a:ext cx="3723132" cy="4454652"/>
            </a:xfrm>
            <a:prstGeom prst="rect">
              <a:avLst/>
            </a:prstGeom>
          </p:spPr>
        </p:pic>
        <p:pic>
          <p:nvPicPr>
            <p:cNvPr id="5" name="object 5"/>
            <p:cNvPicPr/>
            <p:nvPr/>
          </p:nvPicPr>
          <p:blipFill>
            <a:blip r:embed="rId3" cstate="print"/>
            <a:stretch>
              <a:fillRect/>
            </a:stretch>
          </p:blipFill>
          <p:spPr>
            <a:xfrm>
              <a:off x="8028432" y="1450848"/>
              <a:ext cx="3320796" cy="4191000"/>
            </a:xfrm>
            <a:prstGeom prst="rect">
              <a:avLst/>
            </a:prstGeom>
          </p:spPr>
        </p:pic>
        <p:sp>
          <p:nvSpPr>
            <p:cNvPr id="6" name="object 6"/>
            <p:cNvSpPr/>
            <p:nvPr/>
          </p:nvSpPr>
          <p:spPr>
            <a:xfrm>
              <a:off x="7962519" y="1328801"/>
              <a:ext cx="3620135" cy="4352925"/>
            </a:xfrm>
            <a:custGeom>
              <a:avLst/>
              <a:gdLst/>
              <a:ahLst/>
              <a:cxnLst/>
              <a:rect l="l" t="t" r="r" b="b"/>
              <a:pathLst>
                <a:path w="3620134" h="4352925">
                  <a:moveTo>
                    <a:pt x="3324352" y="0"/>
                  </a:moveTo>
                  <a:lnTo>
                    <a:pt x="295528" y="0"/>
                  </a:lnTo>
                  <a:lnTo>
                    <a:pt x="247597" y="3868"/>
                  </a:lnTo>
                  <a:lnTo>
                    <a:pt x="202127" y="15068"/>
                  </a:lnTo>
                  <a:lnTo>
                    <a:pt x="159725" y="32990"/>
                  </a:lnTo>
                  <a:lnTo>
                    <a:pt x="121002" y="57026"/>
                  </a:lnTo>
                  <a:lnTo>
                    <a:pt x="86566" y="86566"/>
                  </a:lnTo>
                  <a:lnTo>
                    <a:pt x="57026" y="121002"/>
                  </a:lnTo>
                  <a:lnTo>
                    <a:pt x="32990" y="159725"/>
                  </a:lnTo>
                  <a:lnTo>
                    <a:pt x="15068" y="202127"/>
                  </a:lnTo>
                  <a:lnTo>
                    <a:pt x="3868" y="247597"/>
                  </a:lnTo>
                  <a:lnTo>
                    <a:pt x="0" y="295528"/>
                  </a:lnTo>
                  <a:lnTo>
                    <a:pt x="0" y="4057269"/>
                  </a:lnTo>
                  <a:lnTo>
                    <a:pt x="3868" y="4105200"/>
                  </a:lnTo>
                  <a:lnTo>
                    <a:pt x="15068" y="4150672"/>
                  </a:lnTo>
                  <a:lnTo>
                    <a:pt x="32990" y="4193075"/>
                  </a:lnTo>
                  <a:lnTo>
                    <a:pt x="57026" y="4231799"/>
                  </a:lnTo>
                  <a:lnTo>
                    <a:pt x="86566" y="4266237"/>
                  </a:lnTo>
                  <a:lnTo>
                    <a:pt x="121002" y="4295780"/>
                  </a:lnTo>
                  <a:lnTo>
                    <a:pt x="159725" y="4319817"/>
                  </a:lnTo>
                  <a:lnTo>
                    <a:pt x="202127" y="4337741"/>
                  </a:lnTo>
                  <a:lnTo>
                    <a:pt x="247597" y="4348941"/>
                  </a:lnTo>
                  <a:lnTo>
                    <a:pt x="295528" y="4352810"/>
                  </a:lnTo>
                  <a:lnTo>
                    <a:pt x="3324352" y="4352810"/>
                  </a:lnTo>
                  <a:lnTo>
                    <a:pt x="3372283" y="4348941"/>
                  </a:lnTo>
                  <a:lnTo>
                    <a:pt x="3417753" y="4337741"/>
                  </a:lnTo>
                  <a:lnTo>
                    <a:pt x="3460155" y="4319817"/>
                  </a:lnTo>
                  <a:lnTo>
                    <a:pt x="3498878" y="4295780"/>
                  </a:lnTo>
                  <a:lnTo>
                    <a:pt x="3533314" y="4266237"/>
                  </a:lnTo>
                  <a:lnTo>
                    <a:pt x="3562854" y="4231799"/>
                  </a:lnTo>
                  <a:lnTo>
                    <a:pt x="3586890" y="4193075"/>
                  </a:lnTo>
                  <a:lnTo>
                    <a:pt x="3604812" y="4150672"/>
                  </a:lnTo>
                  <a:lnTo>
                    <a:pt x="3616012" y="4105200"/>
                  </a:lnTo>
                  <a:lnTo>
                    <a:pt x="3619880" y="4057269"/>
                  </a:lnTo>
                  <a:lnTo>
                    <a:pt x="3619880" y="295528"/>
                  </a:lnTo>
                  <a:lnTo>
                    <a:pt x="3616012" y="247597"/>
                  </a:lnTo>
                  <a:lnTo>
                    <a:pt x="3604812" y="202127"/>
                  </a:lnTo>
                  <a:lnTo>
                    <a:pt x="3586890" y="159725"/>
                  </a:lnTo>
                  <a:lnTo>
                    <a:pt x="3562854" y="121002"/>
                  </a:lnTo>
                  <a:lnTo>
                    <a:pt x="3533314" y="86566"/>
                  </a:lnTo>
                  <a:lnTo>
                    <a:pt x="3498878" y="57026"/>
                  </a:lnTo>
                  <a:lnTo>
                    <a:pt x="3460155" y="32990"/>
                  </a:lnTo>
                  <a:lnTo>
                    <a:pt x="3417753" y="15068"/>
                  </a:lnTo>
                  <a:lnTo>
                    <a:pt x="3372283" y="3868"/>
                  </a:lnTo>
                  <a:lnTo>
                    <a:pt x="3324352" y="0"/>
                  </a:lnTo>
                  <a:close/>
                </a:path>
              </a:pathLst>
            </a:custGeom>
            <a:solidFill>
              <a:srgbClr val="F1F1F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7" name="object 7"/>
          <p:cNvSpPr txBox="1"/>
          <p:nvPr/>
        </p:nvSpPr>
        <p:spPr>
          <a:xfrm>
            <a:off x="8128761" y="1487837"/>
            <a:ext cx="3027045" cy="3997325"/>
          </a:xfrm>
          <a:prstGeom prst="rect">
            <a:avLst/>
          </a:prstGeom>
        </p:spPr>
        <p:txBody>
          <a:bodyPr vert="horz" wrap="square" lIns="0" tIns="45085" rIns="0" bIns="0" rtlCol="0">
            <a:spAutoFit/>
          </a:bodyPr>
          <a:lstStyle/>
          <a:p>
            <a:pPr marL="262255" marR="0" lvl="0" indent="0" algn="ctr" defTabSz="914400" rtl="0" eaLnBrk="1" fontAlgn="auto" latinLnBrk="0" hangingPunct="1">
              <a:lnSpc>
                <a:spcPct val="100000"/>
              </a:lnSpc>
              <a:spcBef>
                <a:spcPts val="355"/>
              </a:spcBef>
              <a:spcAft>
                <a:spcPts val="0"/>
              </a:spcAft>
              <a:buClrTx/>
              <a:buSzTx/>
              <a:buFontTx/>
              <a:buNone/>
              <a:tabLst/>
              <a:defRPr/>
            </a:pPr>
            <a:r>
              <a:rPr kumimoji="0" sz="1600" b="1" i="0" u="none" strike="noStrike" kern="0" cap="none" spc="0" normalizeH="0" baseline="0" noProof="0" dirty="0">
                <a:ln>
                  <a:noFill/>
                </a:ln>
                <a:solidFill>
                  <a:sysClr val="windowText" lastClr="000000"/>
                </a:solidFill>
                <a:effectLst/>
                <a:uLnTx/>
                <a:uFillTx/>
                <a:latin typeface="Arial"/>
                <a:ea typeface="+mn-ea"/>
                <a:cs typeface="Arial"/>
              </a:rPr>
              <a:t>Study</a:t>
            </a:r>
            <a:r>
              <a:rPr kumimoji="0" sz="1600" b="1" i="0" u="none" strike="noStrike" kern="0" cap="none" spc="-40" normalizeH="0" baseline="0" noProof="0" dirty="0">
                <a:ln>
                  <a:noFill/>
                </a:ln>
                <a:solidFill>
                  <a:sysClr val="windowText" lastClr="000000"/>
                </a:solidFill>
                <a:effectLst/>
                <a:uLnTx/>
                <a:uFillTx/>
                <a:latin typeface="Arial"/>
                <a:ea typeface="+mn-ea"/>
                <a:cs typeface="Arial"/>
              </a:rPr>
              <a:t> </a:t>
            </a:r>
            <a:r>
              <a:rPr kumimoji="0" sz="1600" b="1" i="0" u="none" strike="noStrike" kern="0" cap="none" spc="-10" normalizeH="0" baseline="0" noProof="0" dirty="0">
                <a:ln>
                  <a:noFill/>
                </a:ln>
                <a:solidFill>
                  <a:sysClr val="windowText" lastClr="000000"/>
                </a:solidFill>
                <a:effectLst/>
                <a:uLnTx/>
                <a:uFillTx/>
                <a:latin typeface="Arial"/>
                <a:ea typeface="+mn-ea"/>
                <a:cs typeface="Arial"/>
              </a:rPr>
              <a:t>population</a:t>
            </a:r>
            <a:endParaRPr kumimoji="0" sz="1600" b="0" i="0" u="none" strike="noStrike" kern="0" cap="none" spc="0" normalizeH="0" baseline="0" noProof="0">
              <a:ln>
                <a:noFill/>
              </a:ln>
              <a:solidFill>
                <a:sysClr val="windowText" lastClr="000000"/>
              </a:solidFill>
              <a:effectLst/>
              <a:uLnTx/>
              <a:uFillTx/>
              <a:latin typeface="Arial"/>
              <a:ea typeface="+mn-ea"/>
              <a:cs typeface="Arial"/>
            </a:endParaRPr>
          </a:p>
          <a:p>
            <a:pPr marL="184785" marR="43180" lvl="0" indent="-172720" algn="l" defTabSz="914400" rtl="0" eaLnBrk="1" fontAlgn="auto" latinLnBrk="0" hangingPunct="1">
              <a:lnSpc>
                <a:spcPct val="110000"/>
              </a:lnSpc>
              <a:spcBef>
                <a:spcPts val="55"/>
              </a:spcBef>
              <a:spcAft>
                <a:spcPts val="0"/>
              </a:spcAft>
              <a:buClrTx/>
              <a:buSzTx/>
              <a:buFontTx/>
              <a:buChar char="•"/>
              <a:tabLst>
                <a:tab pos="184785" algn="l"/>
              </a:tabLst>
              <a:defRPr/>
            </a:pPr>
            <a:r>
              <a:rPr kumimoji="0" sz="1200" b="0" i="0" u="none" strike="noStrike" kern="0" cap="none" spc="0" normalizeH="0" baseline="0" noProof="0" dirty="0">
                <a:ln>
                  <a:noFill/>
                </a:ln>
                <a:solidFill>
                  <a:sysClr val="windowText" lastClr="000000"/>
                </a:solidFill>
                <a:effectLst/>
                <a:uLnTx/>
                <a:uFillTx/>
                <a:latin typeface="Arial"/>
                <a:ea typeface="+mn-ea"/>
                <a:cs typeface="Arial"/>
              </a:rPr>
              <a:t>Patients</a:t>
            </a:r>
            <a:r>
              <a:rPr kumimoji="0" sz="1200" b="0" i="0" u="none" strike="noStrike" kern="0" cap="none" spc="-35" normalizeH="0" baseline="0" noProof="0" dirty="0">
                <a:ln>
                  <a:noFill/>
                </a:ln>
                <a:solidFill>
                  <a:sysClr val="windowText" lastClr="000000"/>
                </a:solidFill>
                <a:effectLst/>
                <a:uLnTx/>
                <a:uFillTx/>
                <a:latin typeface="Arial"/>
                <a:ea typeface="+mn-ea"/>
                <a:cs typeface="Arial"/>
              </a:rPr>
              <a:t> </a:t>
            </a:r>
            <a:r>
              <a:rPr kumimoji="0" sz="1200" b="0" i="0" u="none" strike="noStrike" kern="0" cap="none" spc="0" normalizeH="0" baseline="0" noProof="0" dirty="0">
                <a:ln>
                  <a:noFill/>
                </a:ln>
                <a:solidFill>
                  <a:sysClr val="windowText" lastClr="000000"/>
                </a:solidFill>
                <a:effectLst/>
                <a:uLnTx/>
                <a:uFillTx/>
                <a:latin typeface="Arial"/>
                <a:ea typeface="+mn-ea"/>
                <a:cs typeface="Arial"/>
              </a:rPr>
              <a:t>with</a:t>
            </a:r>
            <a:r>
              <a:rPr kumimoji="0" sz="1200" b="0" i="0" u="none" strike="noStrike" kern="0" cap="none" spc="-10" normalizeH="0" baseline="0" noProof="0" dirty="0">
                <a:ln>
                  <a:noFill/>
                </a:ln>
                <a:solidFill>
                  <a:sysClr val="windowText" lastClr="000000"/>
                </a:solidFill>
                <a:effectLst/>
                <a:uLnTx/>
                <a:uFillTx/>
                <a:latin typeface="Arial"/>
                <a:ea typeface="+mn-ea"/>
                <a:cs typeface="Arial"/>
              </a:rPr>
              <a:t> </a:t>
            </a:r>
            <a:r>
              <a:rPr kumimoji="0" sz="1200" b="0" i="0" u="none" strike="noStrike" kern="0" cap="none" spc="0" normalizeH="0" baseline="0" noProof="0" dirty="0">
                <a:ln>
                  <a:noFill/>
                </a:ln>
                <a:solidFill>
                  <a:sysClr val="windowText" lastClr="000000"/>
                </a:solidFill>
                <a:effectLst/>
                <a:uLnTx/>
                <a:uFillTx/>
                <a:latin typeface="Arial"/>
                <a:ea typeface="+mn-ea"/>
                <a:cs typeface="Arial"/>
              </a:rPr>
              <a:t>3L+</a:t>
            </a:r>
            <a:r>
              <a:rPr kumimoji="0" sz="1200" b="0" i="0" u="none" strike="noStrike" kern="0" cap="none" spc="-25" normalizeH="0" baseline="0" noProof="0" dirty="0">
                <a:ln>
                  <a:noFill/>
                </a:ln>
                <a:solidFill>
                  <a:sysClr val="windowText" lastClr="000000"/>
                </a:solidFill>
                <a:effectLst/>
                <a:uLnTx/>
                <a:uFillTx/>
                <a:latin typeface="Arial"/>
                <a:ea typeface="+mn-ea"/>
                <a:cs typeface="Arial"/>
              </a:rPr>
              <a:t> </a:t>
            </a:r>
            <a:r>
              <a:rPr kumimoji="0" sz="1200" b="0" i="0" u="none" strike="noStrike" kern="0" cap="none" spc="0" normalizeH="0" baseline="0" noProof="0" dirty="0">
                <a:ln>
                  <a:noFill/>
                </a:ln>
                <a:solidFill>
                  <a:sysClr val="windowText" lastClr="000000"/>
                </a:solidFill>
                <a:effectLst/>
                <a:uLnTx/>
                <a:uFillTx/>
                <a:latin typeface="Arial"/>
                <a:ea typeface="+mn-ea"/>
                <a:cs typeface="Arial"/>
              </a:rPr>
              <a:t>R/R</a:t>
            </a:r>
            <a:r>
              <a:rPr kumimoji="0" sz="1200" b="0" i="0" u="none" strike="noStrike" kern="0" cap="none" spc="-10" normalizeH="0" baseline="0" noProof="0" dirty="0">
                <a:ln>
                  <a:noFill/>
                </a:ln>
                <a:solidFill>
                  <a:sysClr val="windowText" lastClr="000000"/>
                </a:solidFill>
                <a:effectLst/>
                <a:uLnTx/>
                <a:uFillTx/>
                <a:latin typeface="Arial"/>
                <a:ea typeface="+mn-ea"/>
                <a:cs typeface="Arial"/>
              </a:rPr>
              <a:t> </a:t>
            </a:r>
            <a:r>
              <a:rPr kumimoji="0" sz="1200" b="0" i="0" u="none" strike="noStrike" kern="0" cap="none" spc="0" normalizeH="0" baseline="0" noProof="0" dirty="0">
                <a:ln>
                  <a:noFill/>
                </a:ln>
                <a:solidFill>
                  <a:sysClr val="windowText" lastClr="000000"/>
                </a:solidFill>
                <a:effectLst/>
                <a:uLnTx/>
                <a:uFillTx/>
                <a:latin typeface="Arial"/>
                <a:ea typeface="+mn-ea"/>
                <a:cs typeface="Arial"/>
              </a:rPr>
              <a:t>B-NHL</a:t>
            </a:r>
            <a:r>
              <a:rPr kumimoji="0" sz="1200" b="0" i="0" u="none" strike="noStrike" kern="0" cap="none" spc="-65" normalizeH="0" baseline="0" noProof="0" dirty="0">
                <a:ln>
                  <a:noFill/>
                </a:ln>
                <a:solidFill>
                  <a:sysClr val="windowText" lastClr="000000"/>
                </a:solidFill>
                <a:effectLst/>
                <a:uLnTx/>
                <a:uFillTx/>
                <a:latin typeface="Arial"/>
                <a:ea typeface="+mn-ea"/>
                <a:cs typeface="Arial"/>
              </a:rPr>
              <a:t> </a:t>
            </a:r>
            <a:r>
              <a:rPr kumimoji="0" sz="1200" b="0" i="0" u="none" strike="noStrike" kern="0" cap="none" spc="0" normalizeH="0" baseline="0" noProof="0" dirty="0">
                <a:ln>
                  <a:noFill/>
                </a:ln>
                <a:solidFill>
                  <a:sysClr val="windowText" lastClr="000000"/>
                </a:solidFill>
                <a:effectLst/>
                <a:uLnTx/>
                <a:uFillTx/>
                <a:latin typeface="Arial"/>
                <a:ea typeface="+mn-ea"/>
                <a:cs typeface="Arial"/>
              </a:rPr>
              <a:t>(part</a:t>
            </a:r>
            <a:r>
              <a:rPr kumimoji="0" sz="1200" b="0" i="0" u="none" strike="noStrike" kern="0" cap="none" spc="-25" normalizeH="0" baseline="0" noProof="0" dirty="0">
                <a:ln>
                  <a:noFill/>
                </a:ln>
                <a:solidFill>
                  <a:sysClr val="windowText" lastClr="000000"/>
                </a:solidFill>
                <a:effectLst/>
                <a:uLnTx/>
                <a:uFillTx/>
                <a:latin typeface="Arial"/>
                <a:ea typeface="+mn-ea"/>
                <a:cs typeface="Arial"/>
              </a:rPr>
              <a:t> </a:t>
            </a:r>
            <a:r>
              <a:rPr kumimoji="0" sz="1200" b="0" i="0" u="none" strike="noStrike" kern="0" cap="none" spc="0" normalizeH="0" baseline="0" noProof="0" dirty="0">
                <a:ln>
                  <a:noFill/>
                </a:ln>
                <a:solidFill>
                  <a:sysClr val="windowText" lastClr="000000"/>
                </a:solidFill>
                <a:effectLst/>
                <a:uLnTx/>
                <a:uFillTx/>
                <a:latin typeface="Arial"/>
                <a:ea typeface="+mn-ea"/>
                <a:cs typeface="Arial"/>
              </a:rPr>
              <a:t>1)</a:t>
            </a:r>
            <a:r>
              <a:rPr kumimoji="0" sz="1200" b="0" i="0" u="none" strike="noStrike" kern="0" cap="none" spc="-10" normalizeH="0" baseline="0" noProof="0" dirty="0">
                <a:ln>
                  <a:noFill/>
                </a:ln>
                <a:solidFill>
                  <a:sysClr val="windowText" lastClr="000000"/>
                </a:solidFill>
                <a:effectLst/>
                <a:uLnTx/>
                <a:uFillTx/>
                <a:latin typeface="Arial"/>
                <a:ea typeface="+mn-ea"/>
                <a:cs typeface="Arial"/>
              </a:rPr>
              <a:t> </a:t>
            </a:r>
            <a:r>
              <a:rPr kumimoji="0" sz="1200" b="0" i="0" u="none" strike="noStrike" kern="0" cap="none" spc="-25" normalizeH="0" baseline="0" noProof="0" dirty="0">
                <a:ln>
                  <a:noFill/>
                </a:ln>
                <a:solidFill>
                  <a:sysClr val="windowText" lastClr="000000"/>
                </a:solidFill>
                <a:effectLst/>
                <a:uLnTx/>
                <a:uFillTx/>
                <a:latin typeface="Arial"/>
                <a:ea typeface="+mn-ea"/>
                <a:cs typeface="Arial"/>
              </a:rPr>
              <a:t>and </a:t>
            </a:r>
            <a:r>
              <a:rPr kumimoji="0" sz="1200" b="0" i="0" u="none" strike="noStrike" kern="0" cap="none" spc="0" normalizeH="0" baseline="0" noProof="0" dirty="0">
                <a:ln>
                  <a:noFill/>
                </a:ln>
                <a:solidFill>
                  <a:sysClr val="windowText" lastClr="000000"/>
                </a:solidFill>
                <a:effectLst/>
                <a:uLnTx/>
                <a:uFillTx/>
                <a:latin typeface="Arial"/>
                <a:ea typeface="+mn-ea"/>
                <a:cs typeface="Arial"/>
              </a:rPr>
              <a:t>2L+</a:t>
            </a:r>
            <a:r>
              <a:rPr kumimoji="0" sz="1200" b="0" i="0" u="none" strike="noStrike" kern="0" cap="none" spc="-25" normalizeH="0" baseline="0" noProof="0" dirty="0">
                <a:ln>
                  <a:noFill/>
                </a:ln>
                <a:solidFill>
                  <a:sysClr val="windowText" lastClr="000000"/>
                </a:solidFill>
                <a:effectLst/>
                <a:uLnTx/>
                <a:uFillTx/>
                <a:latin typeface="Arial"/>
                <a:ea typeface="+mn-ea"/>
                <a:cs typeface="Arial"/>
              </a:rPr>
              <a:t> </a:t>
            </a:r>
            <a:r>
              <a:rPr kumimoji="0" sz="1200" b="0" i="0" u="none" strike="noStrike" kern="0" cap="none" spc="0" normalizeH="0" baseline="0" noProof="0" dirty="0">
                <a:ln>
                  <a:noFill/>
                </a:ln>
                <a:solidFill>
                  <a:sysClr val="windowText" lastClr="000000"/>
                </a:solidFill>
                <a:effectLst/>
                <a:uLnTx/>
                <a:uFillTx/>
                <a:latin typeface="Arial"/>
                <a:ea typeface="+mn-ea"/>
                <a:cs typeface="Arial"/>
              </a:rPr>
              <a:t>R/R</a:t>
            </a:r>
            <a:r>
              <a:rPr kumimoji="0" sz="1200" b="0" i="0" u="none" strike="noStrike" kern="0" cap="none" spc="-10" normalizeH="0" baseline="0" noProof="0" dirty="0">
                <a:ln>
                  <a:noFill/>
                </a:ln>
                <a:solidFill>
                  <a:sysClr val="windowText" lastClr="000000"/>
                </a:solidFill>
                <a:effectLst/>
                <a:uLnTx/>
                <a:uFillTx/>
                <a:latin typeface="Arial"/>
                <a:ea typeface="+mn-ea"/>
                <a:cs typeface="Arial"/>
              </a:rPr>
              <a:t> </a:t>
            </a:r>
            <a:r>
              <a:rPr kumimoji="0" sz="1200" b="0" i="0" u="none" strike="noStrike" kern="0" cap="none" spc="0" normalizeH="0" baseline="0" noProof="0" dirty="0">
                <a:ln>
                  <a:noFill/>
                </a:ln>
                <a:solidFill>
                  <a:sysClr val="windowText" lastClr="000000"/>
                </a:solidFill>
                <a:effectLst/>
                <a:uLnTx/>
                <a:uFillTx/>
                <a:latin typeface="Arial"/>
                <a:ea typeface="+mn-ea"/>
                <a:cs typeface="Arial"/>
              </a:rPr>
              <a:t>LBCL</a:t>
            </a:r>
            <a:r>
              <a:rPr kumimoji="0" sz="1200" b="0" i="0" u="none" strike="noStrike" kern="0" cap="none" spc="-75" normalizeH="0" baseline="0" noProof="0" dirty="0">
                <a:ln>
                  <a:noFill/>
                </a:ln>
                <a:solidFill>
                  <a:sysClr val="windowText" lastClr="000000"/>
                </a:solidFill>
                <a:effectLst/>
                <a:uLnTx/>
                <a:uFillTx/>
                <a:latin typeface="Arial"/>
                <a:ea typeface="+mn-ea"/>
                <a:cs typeface="Arial"/>
              </a:rPr>
              <a:t> </a:t>
            </a:r>
            <a:r>
              <a:rPr kumimoji="0" sz="1200" b="0" i="0" u="none" strike="noStrike" kern="0" cap="none" spc="0" normalizeH="0" baseline="0" noProof="0" dirty="0">
                <a:ln>
                  <a:noFill/>
                </a:ln>
                <a:solidFill>
                  <a:sysClr val="windowText" lastClr="000000"/>
                </a:solidFill>
                <a:effectLst/>
                <a:uLnTx/>
                <a:uFillTx/>
                <a:latin typeface="Arial"/>
                <a:ea typeface="+mn-ea"/>
                <a:cs typeface="Arial"/>
              </a:rPr>
              <a:t>(part</a:t>
            </a:r>
            <a:r>
              <a:rPr kumimoji="0" sz="1200" b="0" i="0" u="none" strike="noStrike" kern="0" cap="none" spc="-10" normalizeH="0" baseline="0" noProof="0" dirty="0">
                <a:ln>
                  <a:noFill/>
                </a:ln>
                <a:solidFill>
                  <a:sysClr val="windowText" lastClr="000000"/>
                </a:solidFill>
                <a:effectLst/>
                <a:uLnTx/>
                <a:uFillTx/>
                <a:latin typeface="Arial"/>
                <a:ea typeface="+mn-ea"/>
                <a:cs typeface="Arial"/>
              </a:rPr>
              <a:t> </a:t>
            </a:r>
            <a:r>
              <a:rPr kumimoji="0" sz="1200" b="0" i="0" u="none" strike="noStrike" kern="0" cap="none" spc="-25" normalizeH="0" baseline="0" noProof="0" dirty="0">
                <a:ln>
                  <a:noFill/>
                </a:ln>
                <a:solidFill>
                  <a:sysClr val="windowText" lastClr="000000"/>
                </a:solidFill>
                <a:effectLst/>
                <a:uLnTx/>
                <a:uFillTx/>
                <a:latin typeface="Arial"/>
                <a:ea typeface="+mn-ea"/>
                <a:cs typeface="Arial"/>
              </a:rPr>
              <a:t>2)</a:t>
            </a:r>
            <a:endParaRPr kumimoji="0" sz="1200" b="0" i="0" u="none" strike="noStrike" kern="0" cap="none" spc="0" normalizeH="0" baseline="0" noProof="0">
              <a:ln>
                <a:noFill/>
              </a:ln>
              <a:solidFill>
                <a:sysClr val="windowText" lastClr="000000"/>
              </a:solidFill>
              <a:effectLst/>
              <a:uLnTx/>
              <a:uFillTx/>
              <a:latin typeface="Arial"/>
              <a:ea typeface="+mn-ea"/>
              <a:cs typeface="Arial"/>
            </a:endParaRPr>
          </a:p>
          <a:p>
            <a:pPr marL="186055" marR="0" lvl="0" indent="-173355" algn="l" defTabSz="914400" rtl="0" eaLnBrk="1" fontAlgn="auto" latinLnBrk="0" hangingPunct="1">
              <a:lnSpc>
                <a:spcPct val="100000"/>
              </a:lnSpc>
              <a:spcBef>
                <a:spcPts val="140"/>
              </a:spcBef>
              <a:spcAft>
                <a:spcPts val="0"/>
              </a:spcAft>
              <a:buClrTx/>
              <a:buSzTx/>
              <a:buFontTx/>
              <a:buChar char="•"/>
              <a:tabLst>
                <a:tab pos="186055" algn="l"/>
              </a:tabLst>
              <a:defRPr/>
            </a:pPr>
            <a:r>
              <a:rPr kumimoji="0" sz="1200" b="0" i="0" u="none" strike="noStrike" kern="0" cap="none" spc="0" normalizeH="0" baseline="0" noProof="0" dirty="0">
                <a:ln>
                  <a:noFill/>
                </a:ln>
                <a:solidFill>
                  <a:sysClr val="windowText" lastClr="000000"/>
                </a:solidFill>
                <a:effectLst/>
                <a:uLnTx/>
                <a:uFillTx/>
                <a:latin typeface="Arial"/>
                <a:ea typeface="+mn-ea"/>
                <a:cs typeface="Arial"/>
              </a:rPr>
              <a:t>ECOG</a:t>
            </a:r>
            <a:r>
              <a:rPr kumimoji="0" sz="1200" b="0" i="0" u="none" strike="noStrike" kern="0" cap="none" spc="-15" normalizeH="0" baseline="0" noProof="0" dirty="0">
                <a:ln>
                  <a:noFill/>
                </a:ln>
                <a:solidFill>
                  <a:sysClr val="windowText" lastClr="000000"/>
                </a:solidFill>
                <a:effectLst/>
                <a:uLnTx/>
                <a:uFillTx/>
                <a:latin typeface="Arial"/>
                <a:ea typeface="+mn-ea"/>
                <a:cs typeface="Arial"/>
              </a:rPr>
              <a:t> </a:t>
            </a:r>
            <a:r>
              <a:rPr kumimoji="0" sz="1200" b="0" i="0" u="none" strike="noStrike" kern="0" cap="none" spc="0" normalizeH="0" baseline="0" noProof="0" dirty="0">
                <a:ln>
                  <a:noFill/>
                </a:ln>
                <a:solidFill>
                  <a:sysClr val="windowText" lastClr="000000"/>
                </a:solidFill>
                <a:effectLst/>
                <a:uLnTx/>
                <a:uFillTx/>
                <a:latin typeface="Arial"/>
                <a:ea typeface="+mn-ea"/>
                <a:cs typeface="Arial"/>
              </a:rPr>
              <a:t>PS</a:t>
            </a:r>
            <a:r>
              <a:rPr kumimoji="0" sz="1200" b="0" i="0" u="none" strike="noStrike" kern="0" cap="none" spc="-20" normalizeH="0" baseline="0" noProof="0" dirty="0">
                <a:ln>
                  <a:noFill/>
                </a:ln>
                <a:solidFill>
                  <a:sysClr val="windowText" lastClr="000000"/>
                </a:solidFill>
                <a:effectLst/>
                <a:uLnTx/>
                <a:uFillTx/>
                <a:latin typeface="Arial"/>
                <a:ea typeface="+mn-ea"/>
                <a:cs typeface="Arial"/>
              </a:rPr>
              <a:t> </a:t>
            </a:r>
            <a:r>
              <a:rPr kumimoji="0" sz="1200" b="0" i="0" u="none" strike="noStrike" kern="0" cap="none" spc="0" normalizeH="0" baseline="0" noProof="0" dirty="0">
                <a:ln>
                  <a:noFill/>
                </a:ln>
                <a:solidFill>
                  <a:sysClr val="windowText" lastClr="000000"/>
                </a:solidFill>
                <a:effectLst/>
                <a:uLnTx/>
                <a:uFillTx/>
                <a:latin typeface="Arial"/>
                <a:ea typeface="+mn-ea"/>
                <a:cs typeface="Arial"/>
              </a:rPr>
              <a:t>score</a:t>
            </a:r>
            <a:r>
              <a:rPr kumimoji="0" sz="1200" b="0" i="0" u="none" strike="noStrike" kern="0" cap="none" spc="-20" normalizeH="0" baseline="0" noProof="0" dirty="0">
                <a:ln>
                  <a:noFill/>
                </a:ln>
                <a:solidFill>
                  <a:sysClr val="windowText" lastClr="000000"/>
                </a:solidFill>
                <a:effectLst/>
                <a:uLnTx/>
                <a:uFillTx/>
                <a:latin typeface="Arial"/>
                <a:ea typeface="+mn-ea"/>
                <a:cs typeface="Arial"/>
              </a:rPr>
              <a:t> </a:t>
            </a:r>
            <a:r>
              <a:rPr kumimoji="0" sz="1200" b="0" i="0" u="none" strike="noStrike" kern="0" cap="none" spc="0" normalizeH="0" baseline="0" noProof="0" dirty="0">
                <a:ln>
                  <a:noFill/>
                </a:ln>
                <a:solidFill>
                  <a:sysClr val="windowText" lastClr="000000"/>
                </a:solidFill>
                <a:effectLst/>
                <a:uLnTx/>
                <a:uFillTx/>
                <a:latin typeface="Arial"/>
                <a:ea typeface="+mn-ea"/>
                <a:cs typeface="Arial"/>
              </a:rPr>
              <a:t>of</a:t>
            </a:r>
            <a:r>
              <a:rPr kumimoji="0" sz="1200" b="0" i="0" u="none" strike="noStrike" kern="0" cap="none" spc="-10" normalizeH="0" baseline="0" noProof="0" dirty="0">
                <a:ln>
                  <a:noFill/>
                </a:ln>
                <a:solidFill>
                  <a:sysClr val="windowText" lastClr="000000"/>
                </a:solidFill>
                <a:effectLst/>
                <a:uLnTx/>
                <a:uFillTx/>
                <a:latin typeface="Arial"/>
                <a:ea typeface="+mn-ea"/>
                <a:cs typeface="Arial"/>
              </a:rPr>
              <a:t> </a:t>
            </a:r>
            <a:r>
              <a:rPr kumimoji="0" sz="1200" b="0" i="0" u="none" strike="noStrike" kern="0" cap="none" spc="0" normalizeH="0" baseline="0" noProof="0" dirty="0">
                <a:ln>
                  <a:noFill/>
                </a:ln>
                <a:solidFill>
                  <a:sysClr val="windowText" lastClr="000000"/>
                </a:solidFill>
                <a:effectLst/>
                <a:uLnTx/>
                <a:uFillTx/>
                <a:latin typeface="Arial"/>
                <a:ea typeface="+mn-ea"/>
                <a:cs typeface="Arial"/>
              </a:rPr>
              <a:t>0-</a:t>
            </a:r>
            <a:r>
              <a:rPr kumimoji="0" sz="1200" b="0" i="0" u="none" strike="noStrike" kern="0" cap="none" spc="-50" normalizeH="0" baseline="0" noProof="0" dirty="0">
                <a:ln>
                  <a:noFill/>
                </a:ln>
                <a:solidFill>
                  <a:sysClr val="windowText" lastClr="000000"/>
                </a:solidFill>
                <a:effectLst/>
                <a:uLnTx/>
                <a:uFillTx/>
                <a:latin typeface="Arial"/>
                <a:ea typeface="+mn-ea"/>
                <a:cs typeface="Arial"/>
              </a:rPr>
              <a:t>2</a:t>
            </a:r>
            <a:endParaRPr kumimoji="0" sz="1200" b="0" i="0" u="none" strike="noStrike" kern="0" cap="none" spc="0" normalizeH="0" baseline="0" noProof="0">
              <a:ln>
                <a:noFill/>
              </a:ln>
              <a:solidFill>
                <a:sysClr val="windowText" lastClr="000000"/>
              </a:solidFill>
              <a:effectLst/>
              <a:uLnTx/>
              <a:uFillTx/>
              <a:latin typeface="Arial"/>
              <a:ea typeface="+mn-ea"/>
              <a:cs typeface="Arial"/>
            </a:endParaRPr>
          </a:p>
          <a:p>
            <a:pPr marL="184785" marR="263525" lvl="0" indent="-172720" algn="l" defTabSz="914400" rtl="0" eaLnBrk="1" fontAlgn="auto" latinLnBrk="0" hangingPunct="1">
              <a:lnSpc>
                <a:spcPct val="110000"/>
              </a:lnSpc>
              <a:spcBef>
                <a:spcPts val="0"/>
              </a:spcBef>
              <a:spcAft>
                <a:spcPts val="0"/>
              </a:spcAft>
              <a:buClrTx/>
              <a:buSzTx/>
              <a:buFontTx/>
              <a:buChar char="•"/>
              <a:tabLst>
                <a:tab pos="184785" algn="l"/>
              </a:tabLst>
              <a:defRPr/>
            </a:pPr>
            <a:r>
              <a:rPr kumimoji="0" sz="1200" b="0" i="0" u="none" strike="noStrike" kern="0" cap="none" spc="0" normalizeH="0" baseline="0" noProof="0" dirty="0">
                <a:ln>
                  <a:noFill/>
                </a:ln>
                <a:solidFill>
                  <a:sysClr val="windowText" lastClr="000000"/>
                </a:solidFill>
                <a:effectLst/>
                <a:uLnTx/>
                <a:uFillTx/>
                <a:latin typeface="Arial"/>
                <a:ea typeface="+mn-ea"/>
                <a:cs typeface="Arial"/>
              </a:rPr>
              <a:t>Prior</a:t>
            </a:r>
            <a:r>
              <a:rPr kumimoji="0" sz="1200" b="0" i="0" u="none" strike="noStrike" kern="0" cap="none" spc="-25" normalizeH="0" baseline="0" noProof="0" dirty="0">
                <a:ln>
                  <a:noFill/>
                </a:ln>
                <a:solidFill>
                  <a:sysClr val="windowText" lastClr="000000"/>
                </a:solidFill>
                <a:effectLst/>
                <a:uLnTx/>
                <a:uFillTx/>
                <a:latin typeface="Arial"/>
                <a:ea typeface="+mn-ea"/>
                <a:cs typeface="Arial"/>
              </a:rPr>
              <a:t> </a:t>
            </a:r>
            <a:r>
              <a:rPr kumimoji="0" sz="1200" b="0" i="0" u="none" strike="noStrike" kern="0" cap="none" spc="0" normalizeH="0" baseline="0" noProof="0" dirty="0">
                <a:ln>
                  <a:noFill/>
                </a:ln>
                <a:solidFill>
                  <a:sysClr val="windowText" lastClr="000000"/>
                </a:solidFill>
                <a:effectLst/>
                <a:uLnTx/>
                <a:uFillTx/>
                <a:latin typeface="Arial"/>
                <a:ea typeface="+mn-ea"/>
                <a:cs typeface="Arial"/>
              </a:rPr>
              <a:t>autologous</a:t>
            </a:r>
            <a:r>
              <a:rPr kumimoji="0" sz="1200" b="0" i="0" u="none" strike="noStrike" kern="0" cap="none" spc="-55" normalizeH="0" baseline="0" noProof="0" dirty="0">
                <a:ln>
                  <a:noFill/>
                </a:ln>
                <a:solidFill>
                  <a:sysClr val="windowText" lastClr="000000"/>
                </a:solidFill>
                <a:effectLst/>
                <a:uLnTx/>
                <a:uFillTx/>
                <a:latin typeface="Arial"/>
                <a:ea typeface="+mn-ea"/>
                <a:cs typeface="Arial"/>
              </a:rPr>
              <a:t> </a:t>
            </a:r>
            <a:r>
              <a:rPr kumimoji="0" sz="1200" b="0" i="0" u="none" strike="noStrike" kern="0" cap="none" spc="0" normalizeH="0" baseline="0" noProof="0" dirty="0">
                <a:ln>
                  <a:noFill/>
                </a:ln>
                <a:solidFill>
                  <a:sysClr val="windowText" lastClr="000000"/>
                </a:solidFill>
                <a:effectLst/>
                <a:uLnTx/>
                <a:uFillTx/>
                <a:latin typeface="Arial"/>
                <a:ea typeface="+mn-ea"/>
                <a:cs typeface="Arial"/>
              </a:rPr>
              <a:t>SCT</a:t>
            </a:r>
            <a:r>
              <a:rPr kumimoji="0" sz="1200" b="0" i="0" u="none" strike="noStrike" kern="0" cap="none" spc="-45" normalizeH="0" baseline="0" noProof="0" dirty="0">
                <a:ln>
                  <a:noFill/>
                </a:ln>
                <a:solidFill>
                  <a:sysClr val="windowText" lastClr="000000"/>
                </a:solidFill>
                <a:effectLst/>
                <a:uLnTx/>
                <a:uFillTx/>
                <a:latin typeface="Arial"/>
                <a:ea typeface="+mn-ea"/>
                <a:cs typeface="Arial"/>
              </a:rPr>
              <a:t> </a:t>
            </a:r>
            <a:r>
              <a:rPr kumimoji="0" sz="1200" b="0" i="0" u="none" strike="noStrike" kern="0" cap="none" spc="0" normalizeH="0" baseline="0" noProof="0" dirty="0">
                <a:ln>
                  <a:noFill/>
                </a:ln>
                <a:solidFill>
                  <a:sysClr val="windowText" lastClr="000000"/>
                </a:solidFill>
                <a:effectLst/>
                <a:uLnTx/>
                <a:uFillTx/>
                <a:latin typeface="Arial"/>
                <a:ea typeface="+mn-ea"/>
                <a:cs typeface="Arial"/>
              </a:rPr>
              <a:t>(&gt;100</a:t>
            </a:r>
            <a:r>
              <a:rPr kumimoji="0" sz="1200" b="0" i="0" u="none" strike="noStrike" kern="0" cap="none" spc="-30" normalizeH="0" baseline="0" noProof="0" dirty="0">
                <a:ln>
                  <a:noFill/>
                </a:ln>
                <a:solidFill>
                  <a:sysClr val="windowText" lastClr="000000"/>
                </a:solidFill>
                <a:effectLst/>
                <a:uLnTx/>
                <a:uFillTx/>
                <a:latin typeface="Arial"/>
                <a:ea typeface="+mn-ea"/>
                <a:cs typeface="Arial"/>
              </a:rPr>
              <a:t> </a:t>
            </a:r>
            <a:r>
              <a:rPr kumimoji="0" sz="1200" b="0" i="0" u="none" strike="noStrike" kern="0" cap="none" spc="0" normalizeH="0" baseline="0" noProof="0" dirty="0">
                <a:ln>
                  <a:noFill/>
                </a:ln>
                <a:solidFill>
                  <a:sysClr val="windowText" lastClr="000000"/>
                </a:solidFill>
                <a:effectLst/>
                <a:uLnTx/>
                <a:uFillTx/>
                <a:latin typeface="Arial"/>
                <a:ea typeface="+mn-ea"/>
                <a:cs typeface="Arial"/>
              </a:rPr>
              <a:t>days)</a:t>
            </a:r>
            <a:r>
              <a:rPr kumimoji="0" sz="1200" b="0" i="0" u="none" strike="noStrike" kern="0" cap="none" spc="-20" normalizeH="0" baseline="0" noProof="0" dirty="0">
                <a:ln>
                  <a:noFill/>
                </a:ln>
                <a:solidFill>
                  <a:sysClr val="windowText" lastClr="000000"/>
                </a:solidFill>
                <a:effectLst/>
                <a:uLnTx/>
                <a:uFillTx/>
                <a:latin typeface="Arial"/>
                <a:ea typeface="+mn-ea"/>
                <a:cs typeface="Arial"/>
              </a:rPr>
              <a:t> </a:t>
            </a:r>
            <a:r>
              <a:rPr kumimoji="0" sz="1200" b="0" i="0" u="none" strike="noStrike" kern="0" cap="none" spc="-25" normalizeH="0" baseline="0" noProof="0" dirty="0">
                <a:ln>
                  <a:noFill/>
                </a:ln>
                <a:solidFill>
                  <a:sysClr val="windowText" lastClr="000000"/>
                </a:solidFill>
                <a:effectLst/>
                <a:uLnTx/>
                <a:uFillTx/>
                <a:latin typeface="Arial"/>
                <a:ea typeface="+mn-ea"/>
                <a:cs typeface="Arial"/>
              </a:rPr>
              <a:t>or </a:t>
            </a:r>
            <a:r>
              <a:rPr kumimoji="0" sz="1200" b="0" i="0" u="none" strike="noStrike" kern="0" cap="none" spc="-10" normalizeH="0" baseline="0" noProof="0" dirty="0">
                <a:ln>
                  <a:noFill/>
                </a:ln>
                <a:solidFill>
                  <a:sysClr val="windowText" lastClr="000000"/>
                </a:solidFill>
                <a:effectLst/>
                <a:uLnTx/>
                <a:uFillTx/>
                <a:latin typeface="Arial"/>
                <a:ea typeface="+mn-ea"/>
                <a:cs typeface="Arial"/>
              </a:rPr>
              <a:t>CAR-</a:t>
            </a:r>
            <a:r>
              <a:rPr kumimoji="0" sz="1200" b="0" i="0" u="none" strike="noStrike" kern="0" cap="none" spc="0" normalizeH="0" baseline="0" noProof="0" dirty="0">
                <a:ln>
                  <a:noFill/>
                </a:ln>
                <a:solidFill>
                  <a:sysClr val="windowText" lastClr="000000"/>
                </a:solidFill>
                <a:effectLst/>
                <a:uLnTx/>
                <a:uFillTx/>
                <a:latin typeface="Arial"/>
                <a:ea typeface="+mn-ea"/>
                <a:cs typeface="Arial"/>
              </a:rPr>
              <a:t>T</a:t>
            </a:r>
            <a:r>
              <a:rPr kumimoji="0" sz="1200" b="0" i="0" u="none" strike="noStrike" kern="0" cap="none" spc="-25" normalizeH="0" baseline="0" noProof="0" dirty="0">
                <a:ln>
                  <a:noFill/>
                </a:ln>
                <a:solidFill>
                  <a:sysClr val="windowText" lastClr="000000"/>
                </a:solidFill>
                <a:effectLst/>
                <a:uLnTx/>
                <a:uFillTx/>
                <a:latin typeface="Arial"/>
                <a:ea typeface="+mn-ea"/>
                <a:cs typeface="Arial"/>
              </a:rPr>
              <a:t> </a:t>
            </a:r>
            <a:r>
              <a:rPr kumimoji="0" sz="1200" b="0" i="0" u="none" strike="noStrike" kern="0" cap="none" spc="0" normalizeH="0" baseline="0" noProof="0" dirty="0">
                <a:ln>
                  <a:noFill/>
                </a:ln>
                <a:solidFill>
                  <a:sysClr val="windowText" lastClr="000000"/>
                </a:solidFill>
                <a:effectLst/>
                <a:uLnTx/>
                <a:uFillTx/>
                <a:latin typeface="Arial"/>
                <a:ea typeface="+mn-ea"/>
                <a:cs typeface="Arial"/>
              </a:rPr>
              <a:t>therapy</a:t>
            </a:r>
            <a:r>
              <a:rPr kumimoji="0" sz="1200" b="0" i="0" u="none" strike="noStrike" kern="0" cap="none" spc="-45" normalizeH="0" baseline="0" noProof="0" dirty="0">
                <a:ln>
                  <a:noFill/>
                </a:ln>
                <a:solidFill>
                  <a:sysClr val="windowText" lastClr="000000"/>
                </a:solidFill>
                <a:effectLst/>
                <a:uLnTx/>
                <a:uFillTx/>
                <a:latin typeface="Arial"/>
                <a:ea typeface="+mn-ea"/>
                <a:cs typeface="Arial"/>
              </a:rPr>
              <a:t> </a:t>
            </a:r>
            <a:r>
              <a:rPr kumimoji="0" sz="1200" b="0" i="0" u="none" strike="noStrike" kern="0" cap="none" spc="0" normalizeH="0" baseline="0" noProof="0" dirty="0">
                <a:ln>
                  <a:noFill/>
                </a:ln>
                <a:solidFill>
                  <a:sysClr val="windowText" lastClr="000000"/>
                </a:solidFill>
                <a:effectLst/>
                <a:uLnTx/>
                <a:uFillTx/>
                <a:latin typeface="Arial"/>
                <a:ea typeface="+mn-ea"/>
                <a:cs typeface="Arial"/>
              </a:rPr>
              <a:t>(&gt;100</a:t>
            </a:r>
            <a:r>
              <a:rPr kumimoji="0" sz="1200" b="0" i="0" u="none" strike="noStrike" kern="0" cap="none" spc="-30" normalizeH="0" baseline="0" noProof="0" dirty="0">
                <a:ln>
                  <a:noFill/>
                </a:ln>
                <a:solidFill>
                  <a:sysClr val="windowText" lastClr="000000"/>
                </a:solidFill>
                <a:effectLst/>
                <a:uLnTx/>
                <a:uFillTx/>
                <a:latin typeface="Arial"/>
                <a:ea typeface="+mn-ea"/>
                <a:cs typeface="Arial"/>
              </a:rPr>
              <a:t> </a:t>
            </a:r>
            <a:r>
              <a:rPr kumimoji="0" sz="1200" b="0" i="0" u="none" strike="noStrike" kern="0" cap="none" spc="0" normalizeH="0" baseline="0" noProof="0" dirty="0">
                <a:ln>
                  <a:noFill/>
                </a:ln>
                <a:solidFill>
                  <a:sysClr val="windowText" lastClr="000000"/>
                </a:solidFill>
                <a:effectLst/>
                <a:uLnTx/>
                <a:uFillTx/>
                <a:latin typeface="Arial"/>
                <a:ea typeface="+mn-ea"/>
                <a:cs typeface="Arial"/>
              </a:rPr>
              <a:t>days)</a:t>
            </a:r>
            <a:r>
              <a:rPr kumimoji="0" sz="1200" b="0" i="0" u="none" strike="noStrike" kern="0" cap="none" spc="-10" normalizeH="0" baseline="0" noProof="0" dirty="0">
                <a:ln>
                  <a:noFill/>
                </a:ln>
                <a:solidFill>
                  <a:sysClr val="windowText" lastClr="000000"/>
                </a:solidFill>
                <a:effectLst/>
                <a:uLnTx/>
                <a:uFillTx/>
                <a:latin typeface="Arial"/>
                <a:ea typeface="+mn-ea"/>
                <a:cs typeface="Arial"/>
              </a:rPr>
              <a:t> </a:t>
            </a:r>
            <a:r>
              <a:rPr kumimoji="0" sz="1200" b="0" i="0" u="none" strike="noStrike" kern="0" cap="none" spc="0" normalizeH="0" baseline="0" noProof="0" dirty="0">
                <a:ln>
                  <a:noFill/>
                </a:ln>
                <a:solidFill>
                  <a:sysClr val="windowText" lastClr="000000"/>
                </a:solidFill>
                <a:effectLst/>
                <a:uLnTx/>
                <a:uFillTx/>
                <a:latin typeface="Arial"/>
                <a:ea typeface="+mn-ea"/>
                <a:cs typeface="Arial"/>
              </a:rPr>
              <a:t>is</a:t>
            </a:r>
            <a:r>
              <a:rPr kumimoji="0" sz="1200" b="0" i="0" u="none" strike="noStrike" kern="0" cap="none" spc="-10" normalizeH="0" baseline="0" noProof="0" dirty="0">
                <a:ln>
                  <a:noFill/>
                </a:ln>
                <a:solidFill>
                  <a:sysClr val="windowText" lastClr="000000"/>
                </a:solidFill>
                <a:effectLst/>
                <a:uLnTx/>
                <a:uFillTx/>
                <a:latin typeface="Arial"/>
                <a:ea typeface="+mn-ea"/>
                <a:cs typeface="Arial"/>
              </a:rPr>
              <a:t> allowed</a:t>
            </a:r>
            <a:endParaRPr kumimoji="0" sz="1200" b="0" i="0" u="none" strike="noStrike" kern="0" cap="none" spc="0" normalizeH="0" baseline="0" noProof="0">
              <a:ln>
                <a:noFill/>
              </a:ln>
              <a:solidFill>
                <a:sysClr val="windowText" lastClr="000000"/>
              </a:solidFill>
              <a:effectLst/>
              <a:uLnTx/>
              <a:uFillTx/>
              <a:latin typeface="Arial"/>
              <a:ea typeface="+mn-ea"/>
              <a:cs typeface="Arial"/>
            </a:endParaRPr>
          </a:p>
          <a:p>
            <a:pPr marL="185420" marR="0" lvl="0" indent="-172720" algn="l" defTabSz="914400" rtl="0" eaLnBrk="1" fontAlgn="auto" latinLnBrk="0" hangingPunct="1">
              <a:lnSpc>
                <a:spcPct val="100000"/>
              </a:lnSpc>
              <a:spcBef>
                <a:spcPts val="145"/>
              </a:spcBef>
              <a:spcAft>
                <a:spcPts val="0"/>
              </a:spcAft>
              <a:buClrTx/>
              <a:buSzTx/>
              <a:buFontTx/>
              <a:buChar char="•"/>
              <a:tabLst>
                <a:tab pos="185420" algn="l"/>
              </a:tabLst>
              <a:defRPr/>
            </a:pPr>
            <a:r>
              <a:rPr kumimoji="0" sz="1200" b="0" i="0" u="none" strike="noStrike" kern="0" cap="none" spc="0" normalizeH="0" baseline="0" noProof="0" dirty="0">
                <a:ln>
                  <a:noFill/>
                </a:ln>
                <a:solidFill>
                  <a:sysClr val="windowText" lastClr="000000"/>
                </a:solidFill>
                <a:effectLst/>
                <a:uLnTx/>
                <a:uFillTx/>
                <a:latin typeface="Arial"/>
                <a:ea typeface="+mn-ea"/>
                <a:cs typeface="Arial"/>
              </a:rPr>
              <a:t>Measurable</a:t>
            </a:r>
            <a:r>
              <a:rPr kumimoji="0" sz="1200" b="0" i="0" u="none" strike="noStrike" kern="0" cap="none" spc="-60" normalizeH="0" baseline="0" noProof="0" dirty="0">
                <a:ln>
                  <a:noFill/>
                </a:ln>
                <a:solidFill>
                  <a:sysClr val="windowText" lastClr="000000"/>
                </a:solidFill>
                <a:effectLst/>
                <a:uLnTx/>
                <a:uFillTx/>
                <a:latin typeface="Arial"/>
                <a:ea typeface="+mn-ea"/>
                <a:cs typeface="Arial"/>
              </a:rPr>
              <a:t> </a:t>
            </a:r>
            <a:r>
              <a:rPr kumimoji="0" sz="1200" b="0" i="0" u="none" strike="noStrike" kern="0" cap="none" spc="0" normalizeH="0" baseline="0" noProof="0" dirty="0">
                <a:ln>
                  <a:noFill/>
                </a:ln>
                <a:solidFill>
                  <a:sysClr val="windowText" lastClr="000000"/>
                </a:solidFill>
                <a:effectLst/>
                <a:uLnTx/>
                <a:uFillTx/>
                <a:latin typeface="Arial"/>
                <a:ea typeface="+mn-ea"/>
                <a:cs typeface="Arial"/>
              </a:rPr>
              <a:t>disease</a:t>
            </a:r>
            <a:r>
              <a:rPr kumimoji="0" sz="1200" b="0" i="0" u="none" strike="noStrike" kern="0" cap="none" spc="-50" normalizeH="0" baseline="0" noProof="0" dirty="0">
                <a:ln>
                  <a:noFill/>
                </a:ln>
                <a:solidFill>
                  <a:sysClr val="windowText" lastClr="000000"/>
                </a:solidFill>
                <a:effectLst/>
                <a:uLnTx/>
                <a:uFillTx/>
                <a:latin typeface="Arial"/>
                <a:ea typeface="+mn-ea"/>
                <a:cs typeface="Arial"/>
              </a:rPr>
              <a:t> </a:t>
            </a:r>
            <a:r>
              <a:rPr kumimoji="0" sz="1200" b="0" i="0" u="none" strike="noStrike" kern="0" cap="none" spc="0" normalizeH="0" baseline="0" noProof="0" dirty="0">
                <a:ln>
                  <a:noFill/>
                </a:ln>
                <a:solidFill>
                  <a:sysClr val="windowText" lastClr="000000"/>
                </a:solidFill>
                <a:effectLst/>
                <a:uLnTx/>
                <a:uFillTx/>
                <a:latin typeface="Arial"/>
                <a:ea typeface="+mn-ea"/>
                <a:cs typeface="Arial"/>
              </a:rPr>
              <a:t>(per</a:t>
            </a:r>
            <a:r>
              <a:rPr kumimoji="0" sz="1200" b="0" i="0" u="none" strike="noStrike" kern="0" cap="none" spc="-35" normalizeH="0" baseline="0" noProof="0" dirty="0">
                <a:ln>
                  <a:noFill/>
                </a:ln>
                <a:solidFill>
                  <a:sysClr val="windowText" lastClr="000000"/>
                </a:solidFill>
                <a:effectLst/>
                <a:uLnTx/>
                <a:uFillTx/>
                <a:latin typeface="Arial"/>
                <a:ea typeface="+mn-ea"/>
                <a:cs typeface="Arial"/>
              </a:rPr>
              <a:t> </a:t>
            </a:r>
            <a:r>
              <a:rPr kumimoji="0" sz="1200" b="0" i="0" u="none" strike="noStrike" kern="0" cap="none" spc="0" normalizeH="0" baseline="0" noProof="0" dirty="0">
                <a:ln>
                  <a:noFill/>
                </a:ln>
                <a:solidFill>
                  <a:sysClr val="windowText" lastClr="000000"/>
                </a:solidFill>
                <a:effectLst/>
                <a:uLnTx/>
                <a:uFillTx/>
                <a:latin typeface="Arial"/>
                <a:ea typeface="+mn-ea"/>
                <a:cs typeface="Arial"/>
              </a:rPr>
              <a:t>2014</a:t>
            </a:r>
            <a:r>
              <a:rPr kumimoji="0" sz="1200" b="0" i="0" u="none" strike="noStrike" kern="0" cap="none" spc="-45" normalizeH="0" baseline="0" noProof="0" dirty="0">
                <a:ln>
                  <a:noFill/>
                </a:ln>
                <a:solidFill>
                  <a:sysClr val="windowText" lastClr="000000"/>
                </a:solidFill>
                <a:effectLst/>
                <a:uLnTx/>
                <a:uFillTx/>
                <a:latin typeface="Arial"/>
                <a:ea typeface="+mn-ea"/>
                <a:cs typeface="Arial"/>
              </a:rPr>
              <a:t> </a:t>
            </a:r>
            <a:r>
              <a:rPr kumimoji="0" sz="1200" b="0" i="0" u="none" strike="noStrike" kern="0" cap="none" spc="-10" normalizeH="0" baseline="0" noProof="0" dirty="0">
                <a:ln>
                  <a:noFill/>
                </a:ln>
                <a:solidFill>
                  <a:sysClr val="windowText" lastClr="000000"/>
                </a:solidFill>
                <a:effectLst/>
                <a:uLnTx/>
                <a:uFillTx/>
                <a:latin typeface="Arial"/>
                <a:ea typeface="+mn-ea"/>
                <a:cs typeface="Arial"/>
              </a:rPr>
              <a:t>Lugano</a:t>
            </a:r>
            <a:endParaRPr kumimoji="0" sz="1200" b="0" i="0" u="none" strike="noStrike" kern="0" cap="none" spc="0" normalizeH="0" baseline="0" noProof="0">
              <a:ln>
                <a:noFill/>
              </a:ln>
              <a:solidFill>
                <a:sysClr val="windowText" lastClr="000000"/>
              </a:solidFill>
              <a:effectLst/>
              <a:uLnTx/>
              <a:uFillTx/>
              <a:latin typeface="Arial"/>
              <a:ea typeface="+mn-ea"/>
              <a:cs typeface="Arial"/>
            </a:endParaRPr>
          </a:p>
          <a:p>
            <a:pPr marL="184785" marR="0" lvl="0" indent="0" algn="l" defTabSz="914400" rtl="0" eaLnBrk="1" fontAlgn="auto" latinLnBrk="0" hangingPunct="1">
              <a:lnSpc>
                <a:spcPct val="100000"/>
              </a:lnSpc>
              <a:spcBef>
                <a:spcPts val="145"/>
              </a:spcBef>
              <a:spcAft>
                <a:spcPts val="0"/>
              </a:spcAft>
              <a:buClrTx/>
              <a:buSzTx/>
              <a:buFontTx/>
              <a:buNone/>
              <a:tabLst/>
              <a:defRPr/>
            </a:pPr>
            <a:r>
              <a:rPr kumimoji="0" sz="1200" b="0" i="0" u="none" strike="noStrike" kern="0" cap="none" spc="-10" normalizeH="0" baseline="0" noProof="0" dirty="0">
                <a:ln>
                  <a:noFill/>
                </a:ln>
                <a:solidFill>
                  <a:sysClr val="windowText" lastClr="000000"/>
                </a:solidFill>
                <a:effectLst/>
                <a:uLnTx/>
                <a:uFillTx/>
                <a:latin typeface="Arial"/>
                <a:ea typeface="+mn-ea"/>
                <a:cs typeface="Arial"/>
              </a:rPr>
              <a:t>Classification)</a:t>
            </a:r>
            <a:endParaRPr kumimoji="0" sz="1200" b="0" i="0" u="none" strike="noStrike" kern="0" cap="none" spc="0" normalizeH="0" baseline="0" noProof="0">
              <a:ln>
                <a:noFill/>
              </a:ln>
              <a:solidFill>
                <a:sysClr val="windowText" lastClr="000000"/>
              </a:solidFill>
              <a:effectLst/>
              <a:uLnTx/>
              <a:uFillTx/>
              <a:latin typeface="Arial"/>
              <a:ea typeface="+mn-ea"/>
              <a:cs typeface="Arial"/>
            </a:endParaRPr>
          </a:p>
          <a:p>
            <a:pPr marL="184785" marR="5080" lvl="0" indent="-172720" algn="l" defTabSz="914400" rtl="0" eaLnBrk="1" fontAlgn="auto" latinLnBrk="0" hangingPunct="1">
              <a:lnSpc>
                <a:spcPct val="110000"/>
              </a:lnSpc>
              <a:spcBef>
                <a:spcPts val="0"/>
              </a:spcBef>
              <a:spcAft>
                <a:spcPts val="0"/>
              </a:spcAft>
              <a:buClrTx/>
              <a:buSzTx/>
              <a:buFontTx/>
              <a:buChar char="•"/>
              <a:tabLst>
                <a:tab pos="184785" algn="l"/>
              </a:tabLst>
              <a:defRPr/>
            </a:pPr>
            <a:r>
              <a:rPr kumimoji="0" sz="1200" b="0" i="0" u="none" strike="noStrike" kern="0" cap="none" spc="0" normalizeH="0" baseline="0" noProof="0" dirty="0">
                <a:ln>
                  <a:noFill/>
                </a:ln>
                <a:solidFill>
                  <a:sysClr val="windowText" lastClr="000000"/>
                </a:solidFill>
                <a:effectLst/>
                <a:uLnTx/>
                <a:uFillTx/>
                <a:latin typeface="Arial"/>
                <a:ea typeface="+mn-ea"/>
                <a:cs typeface="Arial"/>
              </a:rPr>
              <a:t>Excludes</a:t>
            </a:r>
            <a:r>
              <a:rPr kumimoji="0" sz="1200" b="0" i="0" u="none" strike="noStrike" kern="0" cap="none" spc="-50" normalizeH="0" baseline="0" noProof="0" dirty="0">
                <a:ln>
                  <a:noFill/>
                </a:ln>
                <a:solidFill>
                  <a:sysClr val="windowText" lastClr="000000"/>
                </a:solidFill>
                <a:effectLst/>
                <a:uLnTx/>
                <a:uFillTx/>
                <a:latin typeface="Arial"/>
                <a:ea typeface="+mn-ea"/>
                <a:cs typeface="Arial"/>
              </a:rPr>
              <a:t> </a:t>
            </a:r>
            <a:r>
              <a:rPr kumimoji="0" sz="1200" b="0" i="0" u="none" strike="noStrike" kern="0" cap="none" spc="0" normalizeH="0" baseline="0" noProof="0" dirty="0">
                <a:ln>
                  <a:noFill/>
                </a:ln>
                <a:solidFill>
                  <a:sysClr val="windowText" lastClr="000000"/>
                </a:solidFill>
                <a:effectLst/>
                <a:uLnTx/>
                <a:uFillTx/>
                <a:latin typeface="Arial"/>
                <a:ea typeface="+mn-ea"/>
                <a:cs typeface="Arial"/>
              </a:rPr>
              <a:t>patients</a:t>
            </a:r>
            <a:r>
              <a:rPr kumimoji="0" sz="1200" b="0" i="0" u="none" strike="noStrike" kern="0" cap="none" spc="-55" normalizeH="0" baseline="0" noProof="0" dirty="0">
                <a:ln>
                  <a:noFill/>
                </a:ln>
                <a:solidFill>
                  <a:sysClr val="windowText" lastClr="000000"/>
                </a:solidFill>
                <a:effectLst/>
                <a:uLnTx/>
                <a:uFillTx/>
                <a:latin typeface="Arial"/>
                <a:ea typeface="+mn-ea"/>
                <a:cs typeface="Arial"/>
              </a:rPr>
              <a:t> </a:t>
            </a:r>
            <a:r>
              <a:rPr kumimoji="0" sz="1200" b="0" i="0" u="none" strike="noStrike" kern="0" cap="none" spc="0" normalizeH="0" baseline="0" noProof="0" dirty="0">
                <a:ln>
                  <a:noFill/>
                </a:ln>
                <a:solidFill>
                  <a:sysClr val="windowText" lastClr="000000"/>
                </a:solidFill>
                <a:effectLst/>
                <a:uLnTx/>
                <a:uFillTx/>
                <a:latin typeface="Arial"/>
                <a:ea typeface="+mn-ea"/>
                <a:cs typeface="Arial"/>
              </a:rPr>
              <a:t>with</a:t>
            </a:r>
            <a:r>
              <a:rPr kumimoji="0" sz="1200" b="0" i="0" u="none" strike="noStrike" kern="0" cap="none" spc="-5" normalizeH="0" baseline="0" noProof="0" dirty="0">
                <a:ln>
                  <a:noFill/>
                </a:ln>
                <a:solidFill>
                  <a:sysClr val="windowText" lastClr="000000"/>
                </a:solidFill>
                <a:effectLst/>
                <a:uLnTx/>
                <a:uFillTx/>
                <a:latin typeface="Arial"/>
                <a:ea typeface="+mn-ea"/>
                <a:cs typeface="Arial"/>
              </a:rPr>
              <a:t> </a:t>
            </a:r>
            <a:r>
              <a:rPr kumimoji="0" sz="1200" b="0" i="0" u="none" strike="noStrike" kern="0" cap="none" spc="0" normalizeH="0" baseline="0" noProof="0" dirty="0">
                <a:ln>
                  <a:noFill/>
                </a:ln>
                <a:solidFill>
                  <a:sysClr val="windowText" lastClr="000000"/>
                </a:solidFill>
                <a:effectLst/>
                <a:uLnTx/>
                <a:uFillTx/>
                <a:latin typeface="Arial"/>
                <a:ea typeface="+mn-ea"/>
                <a:cs typeface="Arial"/>
              </a:rPr>
              <a:t>clinically</a:t>
            </a:r>
            <a:r>
              <a:rPr kumimoji="0" sz="1200" b="0" i="0" u="none" strike="noStrike" kern="0" cap="none" spc="-45" normalizeH="0" baseline="0" noProof="0" dirty="0">
                <a:ln>
                  <a:noFill/>
                </a:ln>
                <a:solidFill>
                  <a:sysClr val="windowText" lastClr="000000"/>
                </a:solidFill>
                <a:effectLst/>
                <a:uLnTx/>
                <a:uFillTx/>
                <a:latin typeface="Arial"/>
                <a:ea typeface="+mn-ea"/>
                <a:cs typeface="Arial"/>
              </a:rPr>
              <a:t> </a:t>
            </a:r>
            <a:r>
              <a:rPr kumimoji="0" sz="1200" b="0" i="0" u="none" strike="noStrike" kern="0" cap="none" spc="-10" normalizeH="0" baseline="0" noProof="0" dirty="0">
                <a:ln>
                  <a:noFill/>
                </a:ln>
                <a:solidFill>
                  <a:sysClr val="windowText" lastClr="000000"/>
                </a:solidFill>
                <a:effectLst/>
                <a:uLnTx/>
                <a:uFillTx/>
                <a:latin typeface="Arial"/>
                <a:ea typeface="+mn-ea"/>
                <a:cs typeface="Arial"/>
              </a:rPr>
              <a:t>significant third-</a:t>
            </a:r>
            <a:r>
              <a:rPr kumimoji="0" sz="1200" b="0" i="0" u="none" strike="noStrike" kern="0" cap="none" spc="0" normalizeH="0" baseline="0" noProof="0" dirty="0">
                <a:ln>
                  <a:noFill/>
                </a:ln>
                <a:solidFill>
                  <a:sysClr val="windowText" lastClr="000000"/>
                </a:solidFill>
                <a:effectLst/>
                <a:uLnTx/>
                <a:uFillTx/>
                <a:latin typeface="Arial"/>
                <a:ea typeface="+mn-ea"/>
                <a:cs typeface="Arial"/>
              </a:rPr>
              <a:t>space</a:t>
            </a:r>
            <a:r>
              <a:rPr kumimoji="0" sz="1200" b="0" i="0" u="none" strike="noStrike" kern="0" cap="none" spc="-20" normalizeH="0" baseline="0" noProof="0" dirty="0">
                <a:ln>
                  <a:noFill/>
                </a:ln>
                <a:solidFill>
                  <a:sysClr val="windowText" lastClr="000000"/>
                </a:solidFill>
                <a:effectLst/>
                <a:uLnTx/>
                <a:uFillTx/>
                <a:latin typeface="Arial"/>
                <a:ea typeface="+mn-ea"/>
                <a:cs typeface="Arial"/>
              </a:rPr>
              <a:t> </a:t>
            </a:r>
            <a:r>
              <a:rPr kumimoji="0" sz="1200" b="0" i="0" u="none" strike="noStrike" kern="0" cap="none" spc="0" normalizeH="0" baseline="0" noProof="0" dirty="0">
                <a:ln>
                  <a:noFill/>
                </a:ln>
                <a:solidFill>
                  <a:sysClr val="windowText" lastClr="000000"/>
                </a:solidFill>
                <a:effectLst/>
                <a:uLnTx/>
                <a:uFillTx/>
                <a:latin typeface="Arial"/>
                <a:ea typeface="+mn-ea"/>
                <a:cs typeface="Arial"/>
              </a:rPr>
              <a:t>fluid</a:t>
            </a:r>
            <a:r>
              <a:rPr kumimoji="0" sz="1200" b="0" i="0" u="none" strike="noStrike" kern="0" cap="none" spc="-20" normalizeH="0" baseline="0" noProof="0" dirty="0">
                <a:ln>
                  <a:noFill/>
                </a:ln>
                <a:solidFill>
                  <a:sysClr val="windowText" lastClr="000000"/>
                </a:solidFill>
                <a:effectLst/>
                <a:uLnTx/>
                <a:uFillTx/>
                <a:latin typeface="Arial"/>
                <a:ea typeface="+mn-ea"/>
                <a:cs typeface="Arial"/>
              </a:rPr>
              <a:t> </a:t>
            </a:r>
            <a:r>
              <a:rPr kumimoji="0" sz="1200" b="0" i="0" u="none" strike="noStrike" kern="0" cap="none" spc="-10" normalizeH="0" baseline="0" noProof="0" dirty="0">
                <a:ln>
                  <a:noFill/>
                </a:ln>
                <a:solidFill>
                  <a:sysClr val="windowText" lastClr="000000"/>
                </a:solidFill>
                <a:effectLst/>
                <a:uLnTx/>
                <a:uFillTx/>
                <a:latin typeface="Arial"/>
                <a:ea typeface="+mn-ea"/>
                <a:cs typeface="Arial"/>
              </a:rPr>
              <a:t>accumulation</a:t>
            </a:r>
            <a:endParaRPr kumimoji="0" sz="1200" b="0" i="0" u="none" strike="noStrike" kern="0" cap="none" spc="0" normalizeH="0" baseline="0" noProof="0">
              <a:ln>
                <a:noFill/>
              </a:ln>
              <a:solidFill>
                <a:sysClr val="windowText" lastClr="000000"/>
              </a:solidFill>
              <a:effectLst/>
              <a:uLnTx/>
              <a:uFillTx/>
              <a:latin typeface="Arial"/>
              <a:ea typeface="+mn-ea"/>
              <a:cs typeface="Arial"/>
            </a:endParaRPr>
          </a:p>
          <a:p>
            <a:pPr marL="0" marR="0" lvl="0" indent="0" algn="l" defTabSz="914400" rtl="0" eaLnBrk="1" fontAlgn="auto" latinLnBrk="0" hangingPunct="1">
              <a:lnSpc>
                <a:spcPct val="100000"/>
              </a:lnSpc>
              <a:spcBef>
                <a:spcPts val="345"/>
              </a:spcBef>
              <a:spcAft>
                <a:spcPts val="0"/>
              </a:spcAft>
              <a:buClrTx/>
              <a:buSzTx/>
              <a:buFont typeface="Arial"/>
              <a:buChar char="•"/>
              <a:tabLst/>
              <a:defRPr/>
            </a:pPr>
            <a:endParaRPr kumimoji="0" sz="1200" b="0" i="0" u="none" strike="noStrike" kern="0" cap="none" spc="0" normalizeH="0" baseline="0" noProof="0">
              <a:ln>
                <a:noFill/>
              </a:ln>
              <a:solidFill>
                <a:sysClr val="windowText" lastClr="000000"/>
              </a:solidFill>
              <a:effectLst/>
              <a:uLnTx/>
              <a:uFillTx/>
              <a:latin typeface="Arial"/>
              <a:ea typeface="+mn-ea"/>
              <a:cs typeface="Arial"/>
            </a:endParaRPr>
          </a:p>
          <a:p>
            <a:pPr marL="262255" marR="0" lvl="0" indent="0" algn="ctr" defTabSz="914400" rtl="0" eaLnBrk="1" fontAlgn="auto" latinLnBrk="0" hangingPunct="1">
              <a:lnSpc>
                <a:spcPct val="100000"/>
              </a:lnSpc>
              <a:spcBef>
                <a:spcPts val="0"/>
              </a:spcBef>
              <a:spcAft>
                <a:spcPts val="0"/>
              </a:spcAft>
              <a:buClrTx/>
              <a:buSzTx/>
              <a:buFontTx/>
              <a:buNone/>
              <a:tabLst/>
              <a:defRPr/>
            </a:pPr>
            <a:r>
              <a:rPr kumimoji="0" sz="1600" b="1" i="0" u="none" strike="noStrike" kern="0" cap="none" spc="-10" normalizeH="0" baseline="0" noProof="0" dirty="0">
                <a:ln>
                  <a:noFill/>
                </a:ln>
                <a:solidFill>
                  <a:sysClr val="windowText" lastClr="000000"/>
                </a:solidFill>
                <a:effectLst/>
                <a:uLnTx/>
                <a:uFillTx/>
                <a:latin typeface="Arial"/>
                <a:ea typeface="+mn-ea"/>
                <a:cs typeface="Arial"/>
              </a:rPr>
              <a:t>Endpoints</a:t>
            </a:r>
            <a:endParaRPr kumimoji="0" sz="1600" b="0" i="0" u="none" strike="noStrike" kern="0" cap="none" spc="0" normalizeH="0" baseline="0" noProof="0">
              <a:ln>
                <a:noFill/>
              </a:ln>
              <a:solidFill>
                <a:sysClr val="windowText" lastClr="000000"/>
              </a:solidFill>
              <a:effectLst/>
              <a:uLnTx/>
              <a:uFillTx/>
              <a:latin typeface="Arial"/>
              <a:ea typeface="+mn-ea"/>
              <a:cs typeface="Arial"/>
            </a:endParaRPr>
          </a:p>
          <a:p>
            <a:pPr marL="186055" marR="0" lvl="0" indent="-173355" algn="l" defTabSz="914400" rtl="0" eaLnBrk="1" fontAlgn="auto" latinLnBrk="0" hangingPunct="1">
              <a:lnSpc>
                <a:spcPct val="100000"/>
              </a:lnSpc>
              <a:spcBef>
                <a:spcPts val="195"/>
              </a:spcBef>
              <a:spcAft>
                <a:spcPts val="0"/>
              </a:spcAft>
              <a:buClrTx/>
              <a:buSzTx/>
              <a:buFont typeface="Arial"/>
              <a:buChar char="•"/>
              <a:tabLst>
                <a:tab pos="186055" algn="l"/>
              </a:tabLst>
              <a:defRPr/>
            </a:pPr>
            <a:r>
              <a:rPr kumimoji="0" sz="1200" b="1" i="0" u="none" strike="noStrike" kern="0" cap="none" spc="0" normalizeH="0" baseline="0" noProof="0" dirty="0">
                <a:ln>
                  <a:noFill/>
                </a:ln>
                <a:solidFill>
                  <a:sysClr val="windowText" lastClr="000000"/>
                </a:solidFill>
                <a:effectLst/>
                <a:uLnTx/>
                <a:uFillTx/>
                <a:latin typeface="Arial"/>
                <a:ea typeface="+mn-ea"/>
                <a:cs typeface="Arial"/>
              </a:rPr>
              <a:t>Primary</a:t>
            </a:r>
            <a:r>
              <a:rPr kumimoji="0" sz="1200" b="0" i="0" u="none" strike="noStrike" kern="0" cap="none" spc="0" normalizeH="0" baseline="0" noProof="0" dirty="0">
                <a:ln>
                  <a:noFill/>
                </a:ln>
                <a:solidFill>
                  <a:sysClr val="windowText" lastClr="000000"/>
                </a:solidFill>
                <a:effectLst/>
                <a:uLnTx/>
                <a:uFillTx/>
                <a:latin typeface="Arial"/>
                <a:ea typeface="+mn-ea"/>
                <a:cs typeface="Arial"/>
              </a:rPr>
              <a:t>:</a:t>
            </a:r>
            <a:r>
              <a:rPr kumimoji="0" sz="1200" b="0" i="0" u="none" strike="noStrike" kern="0" cap="none" spc="-35" normalizeH="0" baseline="0" noProof="0" dirty="0">
                <a:ln>
                  <a:noFill/>
                </a:ln>
                <a:solidFill>
                  <a:sysClr val="windowText" lastClr="000000"/>
                </a:solidFill>
                <a:effectLst/>
                <a:uLnTx/>
                <a:uFillTx/>
                <a:latin typeface="Arial"/>
                <a:ea typeface="+mn-ea"/>
                <a:cs typeface="Arial"/>
              </a:rPr>
              <a:t> </a:t>
            </a:r>
            <a:r>
              <a:rPr kumimoji="0" sz="1200" b="0" i="0" u="none" strike="noStrike" kern="0" cap="none" spc="0" normalizeH="0" baseline="0" noProof="0" dirty="0">
                <a:ln>
                  <a:noFill/>
                </a:ln>
                <a:solidFill>
                  <a:sysClr val="windowText" lastClr="000000"/>
                </a:solidFill>
                <a:effectLst/>
                <a:uLnTx/>
                <a:uFillTx/>
                <a:latin typeface="Arial"/>
                <a:ea typeface="+mn-ea"/>
                <a:cs typeface="Arial"/>
              </a:rPr>
              <a:t>safety</a:t>
            </a:r>
            <a:r>
              <a:rPr kumimoji="0" sz="1200" b="0" i="0" u="none" strike="noStrike" kern="0" cap="none" spc="-45" normalizeH="0" baseline="0" noProof="0" dirty="0">
                <a:ln>
                  <a:noFill/>
                </a:ln>
                <a:solidFill>
                  <a:sysClr val="windowText" lastClr="000000"/>
                </a:solidFill>
                <a:effectLst/>
                <a:uLnTx/>
                <a:uFillTx/>
                <a:latin typeface="Arial"/>
                <a:ea typeface="+mn-ea"/>
                <a:cs typeface="Arial"/>
              </a:rPr>
              <a:t> </a:t>
            </a:r>
            <a:r>
              <a:rPr kumimoji="0" sz="1200" b="0" i="0" u="none" strike="noStrike" kern="0" cap="none" spc="0" normalizeH="0" baseline="0" noProof="0" dirty="0">
                <a:ln>
                  <a:noFill/>
                </a:ln>
                <a:solidFill>
                  <a:sysClr val="windowText" lastClr="000000"/>
                </a:solidFill>
                <a:effectLst/>
                <a:uLnTx/>
                <a:uFillTx/>
                <a:latin typeface="Arial"/>
                <a:ea typeface="+mn-ea"/>
                <a:cs typeface="Arial"/>
              </a:rPr>
              <a:t>and</a:t>
            </a:r>
            <a:r>
              <a:rPr kumimoji="0" sz="1200" b="0" i="0" u="none" strike="noStrike" kern="0" cap="none" spc="-50" normalizeH="0" baseline="0" noProof="0" dirty="0">
                <a:ln>
                  <a:noFill/>
                </a:ln>
                <a:solidFill>
                  <a:sysClr val="windowText" lastClr="000000"/>
                </a:solidFill>
                <a:effectLst/>
                <a:uLnTx/>
                <a:uFillTx/>
                <a:latin typeface="Arial"/>
                <a:ea typeface="+mn-ea"/>
                <a:cs typeface="Arial"/>
              </a:rPr>
              <a:t> </a:t>
            </a:r>
            <a:r>
              <a:rPr kumimoji="0" sz="1200" b="0" i="0" u="none" strike="noStrike" kern="0" cap="none" spc="0" normalizeH="0" baseline="0" noProof="0" dirty="0">
                <a:ln>
                  <a:noFill/>
                </a:ln>
                <a:solidFill>
                  <a:sysClr val="windowText" lastClr="000000"/>
                </a:solidFill>
                <a:effectLst/>
                <a:uLnTx/>
                <a:uFillTx/>
                <a:latin typeface="Arial"/>
                <a:ea typeface="+mn-ea"/>
                <a:cs typeface="Arial"/>
              </a:rPr>
              <a:t>tolerability;</a:t>
            </a:r>
            <a:r>
              <a:rPr kumimoji="0" sz="1200" b="0" i="0" u="none" strike="noStrike" kern="0" cap="none" spc="-40" normalizeH="0" baseline="0" noProof="0" dirty="0">
                <a:ln>
                  <a:noFill/>
                </a:ln>
                <a:solidFill>
                  <a:sysClr val="windowText" lastClr="000000"/>
                </a:solidFill>
                <a:effectLst/>
                <a:uLnTx/>
                <a:uFillTx/>
                <a:latin typeface="Arial"/>
                <a:ea typeface="+mn-ea"/>
                <a:cs typeface="Arial"/>
              </a:rPr>
              <a:t> </a:t>
            </a:r>
            <a:r>
              <a:rPr kumimoji="0" sz="1200" b="0" i="0" u="none" strike="noStrike" kern="0" cap="none" spc="-25" normalizeH="0" baseline="0" noProof="0" dirty="0">
                <a:ln>
                  <a:noFill/>
                </a:ln>
                <a:solidFill>
                  <a:sysClr val="windowText" lastClr="000000"/>
                </a:solidFill>
                <a:effectLst/>
                <a:uLnTx/>
                <a:uFillTx/>
                <a:latin typeface="Arial"/>
                <a:ea typeface="+mn-ea"/>
                <a:cs typeface="Arial"/>
              </a:rPr>
              <a:t>MTD</a:t>
            </a:r>
            <a:endParaRPr kumimoji="0" sz="1200" b="0" i="0" u="none" strike="noStrike" kern="0" cap="none" spc="0" normalizeH="0" baseline="0" noProof="0">
              <a:ln>
                <a:noFill/>
              </a:ln>
              <a:solidFill>
                <a:sysClr val="windowText" lastClr="000000"/>
              </a:solidFill>
              <a:effectLst/>
              <a:uLnTx/>
              <a:uFillTx/>
              <a:latin typeface="Arial"/>
              <a:ea typeface="+mn-ea"/>
              <a:cs typeface="Arial"/>
            </a:endParaRPr>
          </a:p>
          <a:p>
            <a:pPr marL="184785" marR="0" lvl="0" indent="0" algn="l" defTabSz="914400" rtl="0" eaLnBrk="1" fontAlgn="auto" latinLnBrk="0" hangingPunct="1">
              <a:lnSpc>
                <a:spcPct val="100000"/>
              </a:lnSpc>
              <a:spcBef>
                <a:spcPts val="145"/>
              </a:spcBef>
              <a:spcAft>
                <a:spcPts val="0"/>
              </a:spcAft>
              <a:buClrTx/>
              <a:buSzTx/>
              <a:buFontTx/>
              <a:buNone/>
              <a:tabLst/>
              <a:defRPr/>
            </a:pPr>
            <a:r>
              <a:rPr kumimoji="0" sz="1200" b="0" i="0" u="none" strike="noStrike" kern="0" cap="none" spc="0" normalizeH="0" baseline="0" noProof="0" dirty="0">
                <a:ln>
                  <a:noFill/>
                </a:ln>
                <a:solidFill>
                  <a:sysClr val="windowText" lastClr="000000"/>
                </a:solidFill>
                <a:effectLst/>
                <a:uLnTx/>
                <a:uFillTx/>
                <a:latin typeface="Arial"/>
                <a:ea typeface="+mn-ea"/>
                <a:cs typeface="Arial"/>
              </a:rPr>
              <a:t>and/or</a:t>
            </a:r>
            <a:r>
              <a:rPr kumimoji="0" sz="1200" b="0" i="0" u="none" strike="noStrike" kern="0" cap="none" spc="-35" normalizeH="0" baseline="0" noProof="0" dirty="0">
                <a:ln>
                  <a:noFill/>
                </a:ln>
                <a:solidFill>
                  <a:sysClr val="windowText" lastClr="000000"/>
                </a:solidFill>
                <a:effectLst/>
                <a:uLnTx/>
                <a:uFillTx/>
                <a:latin typeface="Arial"/>
                <a:ea typeface="+mn-ea"/>
                <a:cs typeface="Arial"/>
              </a:rPr>
              <a:t> </a:t>
            </a:r>
            <a:r>
              <a:rPr kumimoji="0" sz="1200" b="0" i="0" u="none" strike="noStrike" kern="0" cap="none" spc="-25" normalizeH="0" baseline="0" noProof="0" dirty="0">
                <a:ln>
                  <a:noFill/>
                </a:ln>
                <a:solidFill>
                  <a:sysClr val="windowText" lastClr="000000"/>
                </a:solidFill>
                <a:effectLst/>
                <a:uLnTx/>
                <a:uFillTx/>
                <a:latin typeface="Arial"/>
                <a:ea typeface="+mn-ea"/>
                <a:cs typeface="Arial"/>
              </a:rPr>
              <a:t>RDE</a:t>
            </a:r>
            <a:endParaRPr kumimoji="0" sz="1200" b="0" i="0" u="none" strike="noStrike" kern="0" cap="none" spc="0" normalizeH="0" baseline="0" noProof="0">
              <a:ln>
                <a:noFill/>
              </a:ln>
              <a:solidFill>
                <a:sysClr val="windowText" lastClr="000000"/>
              </a:solidFill>
              <a:effectLst/>
              <a:uLnTx/>
              <a:uFillTx/>
              <a:latin typeface="Arial"/>
              <a:ea typeface="+mn-ea"/>
              <a:cs typeface="Arial"/>
            </a:endParaRPr>
          </a:p>
          <a:p>
            <a:pPr marL="184785" marR="173990" lvl="0" indent="-172720" algn="l" defTabSz="914400" rtl="0" eaLnBrk="1" fontAlgn="auto" latinLnBrk="0" hangingPunct="1">
              <a:lnSpc>
                <a:spcPct val="110000"/>
              </a:lnSpc>
              <a:spcBef>
                <a:spcPts val="5"/>
              </a:spcBef>
              <a:spcAft>
                <a:spcPts val="0"/>
              </a:spcAft>
              <a:buClrTx/>
              <a:buSzTx/>
              <a:buFont typeface="Arial"/>
              <a:buChar char="•"/>
              <a:tabLst>
                <a:tab pos="184785" algn="l"/>
              </a:tabLst>
              <a:defRPr/>
            </a:pPr>
            <a:r>
              <a:rPr kumimoji="0" sz="1200" b="1" i="0" u="none" strike="noStrike" kern="0" cap="none" spc="0" normalizeH="0" baseline="0" noProof="0" dirty="0">
                <a:ln>
                  <a:noFill/>
                </a:ln>
                <a:solidFill>
                  <a:sysClr val="windowText" lastClr="000000"/>
                </a:solidFill>
                <a:effectLst/>
                <a:uLnTx/>
                <a:uFillTx/>
                <a:latin typeface="Arial"/>
                <a:ea typeface="+mn-ea"/>
                <a:cs typeface="Arial"/>
              </a:rPr>
              <a:t>Secondary</a:t>
            </a:r>
            <a:r>
              <a:rPr kumimoji="0" sz="1200" b="0" i="0" u="none" strike="noStrike" kern="0" cap="none" spc="0" normalizeH="0" baseline="0" noProof="0" dirty="0">
                <a:ln>
                  <a:noFill/>
                </a:ln>
                <a:solidFill>
                  <a:sysClr val="windowText" lastClr="000000"/>
                </a:solidFill>
                <a:effectLst/>
                <a:uLnTx/>
                <a:uFillTx/>
                <a:latin typeface="Arial"/>
                <a:ea typeface="+mn-ea"/>
                <a:cs typeface="Arial"/>
              </a:rPr>
              <a:t>:</a:t>
            </a:r>
            <a:r>
              <a:rPr kumimoji="0" sz="1200" b="0" i="0" u="none" strike="noStrike" kern="0" cap="none" spc="-5" normalizeH="0" baseline="0" noProof="0" dirty="0">
                <a:ln>
                  <a:noFill/>
                </a:ln>
                <a:solidFill>
                  <a:sysClr val="windowText" lastClr="000000"/>
                </a:solidFill>
                <a:effectLst/>
                <a:uLnTx/>
                <a:uFillTx/>
                <a:latin typeface="Arial"/>
                <a:ea typeface="+mn-ea"/>
                <a:cs typeface="Arial"/>
              </a:rPr>
              <a:t> </a:t>
            </a:r>
            <a:r>
              <a:rPr kumimoji="0" sz="1200" b="0" i="0" u="none" strike="noStrike" kern="0" cap="none" spc="0" normalizeH="0" baseline="0" noProof="0" dirty="0">
                <a:ln>
                  <a:noFill/>
                </a:ln>
                <a:solidFill>
                  <a:sysClr val="windowText" lastClr="000000"/>
                </a:solidFill>
                <a:effectLst/>
                <a:uLnTx/>
                <a:uFillTx/>
                <a:latin typeface="Arial"/>
                <a:ea typeface="+mn-ea"/>
                <a:cs typeface="Arial"/>
              </a:rPr>
              <a:t>ORR,</a:t>
            </a:r>
            <a:r>
              <a:rPr kumimoji="0" sz="1200" b="0" i="0" u="none" strike="noStrike" kern="0" cap="none" spc="-15" normalizeH="0" baseline="0" noProof="0" dirty="0">
                <a:ln>
                  <a:noFill/>
                </a:ln>
                <a:solidFill>
                  <a:sysClr val="windowText" lastClr="000000"/>
                </a:solidFill>
                <a:effectLst/>
                <a:uLnTx/>
                <a:uFillTx/>
                <a:latin typeface="Arial"/>
                <a:ea typeface="+mn-ea"/>
                <a:cs typeface="Arial"/>
              </a:rPr>
              <a:t> </a:t>
            </a:r>
            <a:r>
              <a:rPr kumimoji="0" sz="1200" b="0" i="0" u="none" strike="noStrike" kern="0" cap="none" spc="0" normalizeH="0" baseline="0" noProof="0" dirty="0">
                <a:ln>
                  <a:noFill/>
                </a:ln>
                <a:solidFill>
                  <a:sysClr val="windowText" lastClr="000000"/>
                </a:solidFill>
                <a:effectLst/>
                <a:uLnTx/>
                <a:uFillTx/>
                <a:latin typeface="Arial"/>
                <a:ea typeface="+mn-ea"/>
                <a:cs typeface="Arial"/>
              </a:rPr>
              <a:t>DOR,</a:t>
            </a:r>
            <a:r>
              <a:rPr kumimoji="0" sz="1200" b="0" i="0" u="none" strike="noStrike" kern="0" cap="none" spc="-10" normalizeH="0" baseline="0" noProof="0" dirty="0">
                <a:ln>
                  <a:noFill/>
                </a:ln>
                <a:solidFill>
                  <a:sysClr val="windowText" lastClr="000000"/>
                </a:solidFill>
                <a:effectLst/>
                <a:uLnTx/>
                <a:uFillTx/>
                <a:latin typeface="Arial"/>
                <a:ea typeface="+mn-ea"/>
                <a:cs typeface="Arial"/>
              </a:rPr>
              <a:t> </a:t>
            </a:r>
            <a:r>
              <a:rPr kumimoji="0" sz="1200" b="0" i="0" u="none" strike="noStrike" kern="0" cap="none" spc="0" normalizeH="0" baseline="0" noProof="0" dirty="0">
                <a:ln>
                  <a:noFill/>
                </a:ln>
                <a:solidFill>
                  <a:sysClr val="windowText" lastClr="000000"/>
                </a:solidFill>
                <a:effectLst/>
                <a:uLnTx/>
                <a:uFillTx/>
                <a:latin typeface="Arial"/>
                <a:ea typeface="+mn-ea"/>
                <a:cs typeface="Arial"/>
              </a:rPr>
              <a:t>CR</a:t>
            </a:r>
            <a:r>
              <a:rPr kumimoji="0" sz="1200" b="0" i="0" u="none" strike="noStrike" kern="0" cap="none" spc="-20" normalizeH="0" baseline="0" noProof="0" dirty="0">
                <a:ln>
                  <a:noFill/>
                </a:ln>
                <a:solidFill>
                  <a:sysClr val="windowText" lastClr="000000"/>
                </a:solidFill>
                <a:effectLst/>
                <a:uLnTx/>
                <a:uFillTx/>
                <a:latin typeface="Arial"/>
                <a:ea typeface="+mn-ea"/>
                <a:cs typeface="Arial"/>
              </a:rPr>
              <a:t> </a:t>
            </a:r>
            <a:r>
              <a:rPr kumimoji="0" sz="1200" b="0" i="0" u="none" strike="noStrike" kern="0" cap="none" spc="0" normalizeH="0" baseline="0" noProof="0" dirty="0">
                <a:ln>
                  <a:noFill/>
                </a:ln>
                <a:solidFill>
                  <a:sysClr val="windowText" lastClr="000000"/>
                </a:solidFill>
                <a:effectLst/>
                <a:uLnTx/>
                <a:uFillTx/>
                <a:latin typeface="Arial"/>
                <a:ea typeface="+mn-ea"/>
                <a:cs typeface="Arial"/>
              </a:rPr>
              <a:t>rate,</a:t>
            </a:r>
            <a:r>
              <a:rPr kumimoji="0" sz="1200" b="0" i="0" u="none" strike="noStrike" kern="0" cap="none" spc="-25" normalizeH="0" baseline="0" noProof="0" dirty="0">
                <a:ln>
                  <a:noFill/>
                </a:ln>
                <a:solidFill>
                  <a:sysClr val="windowText" lastClr="000000"/>
                </a:solidFill>
                <a:effectLst/>
                <a:uLnTx/>
                <a:uFillTx/>
                <a:latin typeface="Arial"/>
                <a:ea typeface="+mn-ea"/>
                <a:cs typeface="Arial"/>
              </a:rPr>
              <a:t> </a:t>
            </a:r>
            <a:r>
              <a:rPr kumimoji="0" sz="1200" b="0" i="0" u="none" strike="noStrike" kern="0" cap="none" spc="-20" normalizeH="0" baseline="0" noProof="0" dirty="0">
                <a:ln>
                  <a:noFill/>
                </a:ln>
                <a:solidFill>
                  <a:sysClr val="windowText" lastClr="000000"/>
                </a:solidFill>
                <a:effectLst/>
                <a:uLnTx/>
                <a:uFillTx/>
                <a:latin typeface="Arial"/>
                <a:ea typeface="+mn-ea"/>
                <a:cs typeface="Arial"/>
              </a:rPr>
              <a:t>PFS, </a:t>
            </a:r>
            <a:r>
              <a:rPr kumimoji="0" sz="1200" b="0" i="0" u="none" strike="noStrike" kern="0" cap="none" spc="0" normalizeH="0" baseline="0" noProof="0" dirty="0">
                <a:ln>
                  <a:noFill/>
                </a:ln>
                <a:solidFill>
                  <a:sysClr val="windowText" lastClr="000000"/>
                </a:solidFill>
                <a:effectLst/>
                <a:uLnTx/>
                <a:uFillTx/>
                <a:latin typeface="Arial"/>
                <a:ea typeface="+mn-ea"/>
                <a:cs typeface="Arial"/>
              </a:rPr>
              <a:t>RFS,</a:t>
            </a:r>
            <a:r>
              <a:rPr kumimoji="0" sz="1200" b="0" i="0" u="none" strike="noStrike" kern="0" cap="none" spc="-15" normalizeH="0" baseline="0" noProof="0" dirty="0">
                <a:ln>
                  <a:noFill/>
                </a:ln>
                <a:solidFill>
                  <a:sysClr val="windowText" lastClr="000000"/>
                </a:solidFill>
                <a:effectLst/>
                <a:uLnTx/>
                <a:uFillTx/>
                <a:latin typeface="Arial"/>
                <a:ea typeface="+mn-ea"/>
                <a:cs typeface="Arial"/>
              </a:rPr>
              <a:t> </a:t>
            </a:r>
            <a:r>
              <a:rPr kumimoji="0" sz="1200" b="0" i="0" u="none" strike="noStrike" kern="0" cap="none" spc="0" normalizeH="0" baseline="0" noProof="0" dirty="0">
                <a:ln>
                  <a:noFill/>
                </a:ln>
                <a:solidFill>
                  <a:sysClr val="windowText" lastClr="000000"/>
                </a:solidFill>
                <a:effectLst/>
                <a:uLnTx/>
                <a:uFillTx/>
                <a:latin typeface="Arial"/>
                <a:ea typeface="+mn-ea"/>
                <a:cs typeface="Arial"/>
              </a:rPr>
              <a:t>and</a:t>
            </a:r>
            <a:r>
              <a:rPr kumimoji="0" sz="1200" b="0" i="0" u="none" strike="noStrike" kern="0" cap="none" spc="-30" normalizeH="0" baseline="0" noProof="0" dirty="0">
                <a:ln>
                  <a:noFill/>
                </a:ln>
                <a:solidFill>
                  <a:sysClr val="windowText" lastClr="000000"/>
                </a:solidFill>
                <a:effectLst/>
                <a:uLnTx/>
                <a:uFillTx/>
                <a:latin typeface="Arial"/>
                <a:ea typeface="+mn-ea"/>
                <a:cs typeface="Arial"/>
              </a:rPr>
              <a:t> </a:t>
            </a:r>
            <a:r>
              <a:rPr kumimoji="0" sz="1200" b="0" i="0" u="none" strike="noStrike" kern="0" cap="none" spc="0" normalizeH="0" baseline="0" noProof="0" dirty="0">
                <a:ln>
                  <a:noFill/>
                </a:ln>
                <a:solidFill>
                  <a:sysClr val="windowText" lastClr="000000"/>
                </a:solidFill>
                <a:effectLst/>
                <a:uLnTx/>
                <a:uFillTx/>
                <a:latin typeface="Arial"/>
                <a:ea typeface="+mn-ea"/>
                <a:cs typeface="Arial"/>
              </a:rPr>
              <a:t>OS;</a:t>
            </a:r>
            <a:r>
              <a:rPr kumimoji="0" sz="1200" b="0" i="0" u="none" strike="noStrike" kern="0" cap="none" spc="-10" normalizeH="0" baseline="0" noProof="0" dirty="0">
                <a:ln>
                  <a:noFill/>
                </a:ln>
                <a:solidFill>
                  <a:sysClr val="windowText" lastClr="000000"/>
                </a:solidFill>
                <a:effectLst/>
                <a:uLnTx/>
                <a:uFillTx/>
                <a:latin typeface="Arial"/>
                <a:ea typeface="+mn-ea"/>
                <a:cs typeface="Arial"/>
              </a:rPr>
              <a:t> </a:t>
            </a:r>
            <a:r>
              <a:rPr kumimoji="0" sz="1200" b="0" i="0" u="none" strike="noStrike" kern="0" cap="none" spc="0" normalizeH="0" baseline="0" noProof="0" dirty="0">
                <a:ln>
                  <a:noFill/>
                </a:ln>
                <a:solidFill>
                  <a:sysClr val="windowText" lastClr="000000"/>
                </a:solidFill>
                <a:effectLst/>
                <a:uLnTx/>
                <a:uFillTx/>
                <a:latin typeface="Arial"/>
                <a:ea typeface="+mn-ea"/>
                <a:cs typeface="Arial"/>
              </a:rPr>
              <a:t>PK</a:t>
            </a:r>
            <a:r>
              <a:rPr kumimoji="0" sz="1200" b="0" i="0" u="none" strike="noStrike" kern="0" cap="none" spc="-20" normalizeH="0" baseline="0" noProof="0" dirty="0">
                <a:ln>
                  <a:noFill/>
                </a:ln>
                <a:solidFill>
                  <a:sysClr val="windowText" lastClr="000000"/>
                </a:solidFill>
                <a:effectLst/>
                <a:uLnTx/>
                <a:uFillTx/>
                <a:latin typeface="Arial"/>
                <a:ea typeface="+mn-ea"/>
                <a:cs typeface="Arial"/>
              </a:rPr>
              <a:t> </a:t>
            </a:r>
            <a:r>
              <a:rPr kumimoji="0" sz="1200" b="0" i="0" u="none" strike="noStrike" kern="0" cap="none" spc="0" normalizeH="0" baseline="0" noProof="0" dirty="0">
                <a:ln>
                  <a:noFill/>
                </a:ln>
                <a:solidFill>
                  <a:sysClr val="windowText" lastClr="000000"/>
                </a:solidFill>
                <a:effectLst/>
                <a:uLnTx/>
                <a:uFillTx/>
                <a:latin typeface="Arial"/>
                <a:ea typeface="+mn-ea"/>
                <a:cs typeface="Arial"/>
              </a:rPr>
              <a:t>and</a:t>
            </a:r>
            <a:r>
              <a:rPr kumimoji="0" sz="1200" b="0" i="0" u="none" strike="noStrike" kern="0" cap="none" spc="-30" normalizeH="0" baseline="0" noProof="0" dirty="0">
                <a:ln>
                  <a:noFill/>
                </a:ln>
                <a:solidFill>
                  <a:sysClr val="windowText" lastClr="000000"/>
                </a:solidFill>
                <a:effectLst/>
                <a:uLnTx/>
                <a:uFillTx/>
                <a:latin typeface="Arial"/>
                <a:ea typeface="+mn-ea"/>
                <a:cs typeface="Arial"/>
              </a:rPr>
              <a:t> </a:t>
            </a:r>
            <a:r>
              <a:rPr kumimoji="0" sz="1200" b="0" i="0" u="none" strike="noStrike" kern="0" cap="none" spc="-10" normalizeH="0" baseline="0" noProof="0" dirty="0">
                <a:ln>
                  <a:noFill/>
                </a:ln>
                <a:solidFill>
                  <a:sysClr val="windowText" lastClr="000000"/>
                </a:solidFill>
                <a:effectLst/>
                <a:uLnTx/>
                <a:uFillTx/>
                <a:latin typeface="Arial"/>
                <a:ea typeface="+mn-ea"/>
                <a:cs typeface="Arial"/>
              </a:rPr>
              <a:t>immunogenicity</a:t>
            </a:r>
            <a:endParaRPr kumimoji="0" sz="1200" b="0" i="0" u="none" strike="noStrike" kern="0" cap="none" spc="0" normalizeH="0" baseline="0" noProof="0">
              <a:ln>
                <a:noFill/>
              </a:ln>
              <a:solidFill>
                <a:sysClr val="windowText" lastClr="000000"/>
              </a:solidFill>
              <a:effectLst/>
              <a:uLnTx/>
              <a:uFillTx/>
              <a:latin typeface="Arial"/>
              <a:ea typeface="+mn-ea"/>
              <a:cs typeface="Arial"/>
            </a:endParaRPr>
          </a:p>
          <a:p>
            <a:pPr marL="184785" marR="19685" lvl="0" indent="-172720" algn="l" defTabSz="914400" rtl="0" eaLnBrk="1" fontAlgn="auto" latinLnBrk="0" hangingPunct="1">
              <a:lnSpc>
                <a:spcPct val="110000"/>
              </a:lnSpc>
              <a:spcBef>
                <a:spcPts val="0"/>
              </a:spcBef>
              <a:spcAft>
                <a:spcPts val="0"/>
              </a:spcAft>
              <a:buClrTx/>
              <a:buSzTx/>
              <a:buFont typeface="Arial"/>
              <a:buChar char="•"/>
              <a:tabLst>
                <a:tab pos="184785" algn="l"/>
              </a:tabLst>
              <a:defRPr/>
            </a:pPr>
            <a:r>
              <a:rPr kumimoji="0" sz="1200" b="1" i="0" u="none" strike="noStrike" kern="0" cap="none" spc="-10" normalizeH="0" baseline="0" noProof="0" dirty="0">
                <a:ln>
                  <a:noFill/>
                </a:ln>
                <a:solidFill>
                  <a:sysClr val="windowText" lastClr="000000"/>
                </a:solidFill>
                <a:effectLst/>
                <a:uLnTx/>
                <a:uFillTx/>
                <a:latin typeface="Arial"/>
                <a:ea typeface="+mn-ea"/>
                <a:cs typeface="Arial"/>
              </a:rPr>
              <a:t>Exploratory</a:t>
            </a:r>
            <a:r>
              <a:rPr kumimoji="0" sz="1200" b="0" i="0" u="none" strike="noStrike" kern="0" cap="none" spc="-10" normalizeH="0" baseline="0" noProof="0" dirty="0">
                <a:ln>
                  <a:noFill/>
                </a:ln>
                <a:solidFill>
                  <a:sysClr val="windowText" lastClr="000000"/>
                </a:solidFill>
                <a:effectLst/>
                <a:uLnTx/>
                <a:uFillTx/>
                <a:latin typeface="Arial"/>
                <a:ea typeface="+mn-ea"/>
                <a:cs typeface="Arial"/>
              </a:rPr>
              <a:t>:</a:t>
            </a:r>
            <a:r>
              <a:rPr kumimoji="0" sz="1200" b="0" i="0" u="none" strike="noStrike" kern="0" cap="none" spc="50" normalizeH="0" baseline="0" noProof="0" dirty="0">
                <a:ln>
                  <a:noFill/>
                </a:ln>
                <a:solidFill>
                  <a:sysClr val="windowText" lastClr="000000"/>
                </a:solidFill>
                <a:effectLst/>
                <a:uLnTx/>
                <a:uFillTx/>
                <a:latin typeface="Arial"/>
                <a:ea typeface="+mn-ea"/>
                <a:cs typeface="Arial"/>
              </a:rPr>
              <a:t> </a:t>
            </a:r>
            <a:r>
              <a:rPr kumimoji="0" sz="1200" b="0" i="0" u="none" strike="noStrike" kern="0" cap="none" spc="0" normalizeH="0" baseline="0" noProof="0" dirty="0">
                <a:ln>
                  <a:noFill/>
                </a:ln>
                <a:solidFill>
                  <a:sysClr val="windowText" lastClr="000000"/>
                </a:solidFill>
                <a:effectLst/>
                <a:uLnTx/>
                <a:uFillTx/>
                <a:latin typeface="Arial"/>
                <a:ea typeface="+mn-ea"/>
                <a:cs typeface="Arial"/>
              </a:rPr>
              <a:t>Glofit</a:t>
            </a:r>
            <a:r>
              <a:rPr kumimoji="0" sz="1200" b="0" i="0" u="none" strike="noStrike" kern="0" cap="none" spc="25" normalizeH="0" baseline="0" noProof="0" dirty="0">
                <a:ln>
                  <a:noFill/>
                </a:ln>
                <a:solidFill>
                  <a:sysClr val="windowText" lastClr="000000"/>
                </a:solidFill>
                <a:effectLst/>
                <a:uLnTx/>
                <a:uFillTx/>
                <a:latin typeface="Arial"/>
                <a:ea typeface="+mn-ea"/>
                <a:cs typeface="Arial"/>
              </a:rPr>
              <a:t> </a:t>
            </a:r>
            <a:r>
              <a:rPr kumimoji="0" sz="1200" b="0" i="0" u="none" strike="noStrike" kern="0" cap="none" spc="-10" normalizeH="0" baseline="0" noProof="0" dirty="0">
                <a:ln>
                  <a:noFill/>
                </a:ln>
                <a:solidFill>
                  <a:sysClr val="windowText" lastClr="000000"/>
                </a:solidFill>
                <a:effectLst/>
                <a:uLnTx/>
                <a:uFillTx/>
                <a:latin typeface="Arial"/>
                <a:ea typeface="+mn-ea"/>
                <a:cs typeface="Arial"/>
              </a:rPr>
              <a:t>concentration</a:t>
            </a:r>
            <a:r>
              <a:rPr kumimoji="0" sz="1200" b="0" i="0" u="none" strike="noStrike" kern="0" cap="none" spc="-15" normalizeH="0" baseline="0" noProof="0" dirty="0">
                <a:ln>
                  <a:noFill/>
                </a:ln>
                <a:solidFill>
                  <a:sysClr val="windowText" lastClr="000000"/>
                </a:solidFill>
                <a:effectLst/>
                <a:uLnTx/>
                <a:uFillTx/>
                <a:latin typeface="Arial"/>
                <a:ea typeface="+mn-ea"/>
                <a:cs typeface="Arial"/>
              </a:rPr>
              <a:t> </a:t>
            </a:r>
            <a:r>
              <a:rPr kumimoji="0" sz="1200" b="0" i="0" u="none" strike="noStrike" kern="0" cap="none" spc="-25" normalizeH="0" baseline="0" noProof="0" dirty="0">
                <a:ln>
                  <a:noFill/>
                </a:ln>
                <a:solidFill>
                  <a:sysClr val="windowText" lastClr="000000"/>
                </a:solidFill>
                <a:effectLst/>
                <a:uLnTx/>
                <a:uFillTx/>
                <a:latin typeface="Arial"/>
                <a:ea typeface="+mn-ea"/>
                <a:cs typeface="Arial"/>
              </a:rPr>
              <a:t>in </a:t>
            </a:r>
            <a:r>
              <a:rPr kumimoji="0" sz="1200" b="0" i="0" u="none" strike="noStrike" kern="0" cap="none" spc="0" normalizeH="0" baseline="0" noProof="0" dirty="0">
                <a:ln>
                  <a:noFill/>
                </a:ln>
                <a:solidFill>
                  <a:sysClr val="windowText" lastClr="000000"/>
                </a:solidFill>
                <a:effectLst/>
                <a:uLnTx/>
                <a:uFillTx/>
                <a:latin typeface="Arial"/>
                <a:ea typeface="+mn-ea"/>
                <a:cs typeface="Arial"/>
              </a:rPr>
              <a:t>circulation;</a:t>
            </a:r>
            <a:r>
              <a:rPr kumimoji="0" sz="1200" b="0" i="0" u="none" strike="noStrike" kern="0" cap="none" spc="-45" normalizeH="0" baseline="0" noProof="0" dirty="0">
                <a:ln>
                  <a:noFill/>
                </a:ln>
                <a:solidFill>
                  <a:sysClr val="windowText" lastClr="000000"/>
                </a:solidFill>
                <a:effectLst/>
                <a:uLnTx/>
                <a:uFillTx/>
                <a:latin typeface="Arial"/>
                <a:ea typeface="+mn-ea"/>
                <a:cs typeface="Arial"/>
              </a:rPr>
              <a:t> </a:t>
            </a:r>
            <a:r>
              <a:rPr kumimoji="0" sz="1200" b="0" i="0" u="none" strike="noStrike" kern="0" cap="none" spc="0" normalizeH="0" baseline="0" noProof="0" dirty="0">
                <a:ln>
                  <a:noFill/>
                </a:ln>
                <a:solidFill>
                  <a:sysClr val="windowText" lastClr="000000"/>
                </a:solidFill>
                <a:effectLst/>
                <a:uLnTx/>
                <a:uFillTx/>
                <a:latin typeface="Arial"/>
                <a:ea typeface="+mn-ea"/>
                <a:cs typeface="Arial"/>
              </a:rPr>
              <a:t>biomarker</a:t>
            </a:r>
            <a:r>
              <a:rPr kumimoji="0" sz="1200" b="0" i="0" u="none" strike="noStrike" kern="0" cap="none" spc="-45" normalizeH="0" baseline="0" noProof="0" dirty="0">
                <a:ln>
                  <a:noFill/>
                </a:ln>
                <a:solidFill>
                  <a:sysClr val="windowText" lastClr="000000"/>
                </a:solidFill>
                <a:effectLst/>
                <a:uLnTx/>
                <a:uFillTx/>
                <a:latin typeface="Arial"/>
                <a:ea typeface="+mn-ea"/>
                <a:cs typeface="Arial"/>
              </a:rPr>
              <a:t> </a:t>
            </a:r>
            <a:r>
              <a:rPr kumimoji="0" sz="1200" b="0" i="0" u="none" strike="noStrike" kern="0" cap="none" spc="0" normalizeH="0" baseline="0" noProof="0" dirty="0">
                <a:ln>
                  <a:noFill/>
                </a:ln>
                <a:solidFill>
                  <a:sysClr val="windowText" lastClr="000000"/>
                </a:solidFill>
                <a:effectLst/>
                <a:uLnTx/>
                <a:uFillTx/>
                <a:latin typeface="Arial"/>
                <a:ea typeface="+mn-ea"/>
                <a:cs typeface="Arial"/>
              </a:rPr>
              <a:t>and</a:t>
            </a:r>
            <a:r>
              <a:rPr kumimoji="0" sz="1200" b="0" i="0" u="none" strike="noStrike" kern="0" cap="none" spc="-25" normalizeH="0" baseline="0" noProof="0" dirty="0">
                <a:ln>
                  <a:noFill/>
                </a:ln>
                <a:solidFill>
                  <a:sysClr val="windowText" lastClr="000000"/>
                </a:solidFill>
                <a:effectLst/>
                <a:uLnTx/>
                <a:uFillTx/>
                <a:latin typeface="Arial"/>
                <a:ea typeface="+mn-ea"/>
                <a:cs typeface="Arial"/>
              </a:rPr>
              <a:t> </a:t>
            </a:r>
            <a:r>
              <a:rPr kumimoji="0" sz="1200" b="0" i="0" u="none" strike="noStrike" kern="0" cap="none" spc="0" normalizeH="0" baseline="0" noProof="0" dirty="0">
                <a:ln>
                  <a:noFill/>
                </a:ln>
                <a:solidFill>
                  <a:sysClr val="windowText" lastClr="000000"/>
                </a:solidFill>
                <a:effectLst/>
                <a:uLnTx/>
                <a:uFillTx/>
                <a:latin typeface="Arial"/>
                <a:ea typeface="+mn-ea"/>
                <a:cs typeface="Arial"/>
              </a:rPr>
              <a:t>PK</a:t>
            </a:r>
            <a:r>
              <a:rPr kumimoji="0" sz="1200" b="0" i="0" u="none" strike="noStrike" kern="0" cap="none" spc="-15" normalizeH="0" baseline="0" noProof="0" dirty="0">
                <a:ln>
                  <a:noFill/>
                </a:ln>
                <a:solidFill>
                  <a:sysClr val="windowText" lastClr="000000"/>
                </a:solidFill>
                <a:effectLst/>
                <a:uLnTx/>
                <a:uFillTx/>
                <a:latin typeface="Arial"/>
                <a:ea typeface="+mn-ea"/>
                <a:cs typeface="Arial"/>
              </a:rPr>
              <a:t> </a:t>
            </a:r>
            <a:r>
              <a:rPr kumimoji="0" sz="1200" b="0" i="0" u="none" strike="noStrike" kern="0" cap="none" spc="-10" normalizeH="0" baseline="0" noProof="0" dirty="0">
                <a:ln>
                  <a:noFill/>
                </a:ln>
                <a:solidFill>
                  <a:sysClr val="windowText" lastClr="000000"/>
                </a:solidFill>
                <a:effectLst/>
                <a:uLnTx/>
                <a:uFillTx/>
                <a:latin typeface="Arial"/>
                <a:ea typeface="+mn-ea"/>
                <a:cs typeface="Arial"/>
              </a:rPr>
              <a:t>correlations </a:t>
            </a:r>
            <a:r>
              <a:rPr kumimoji="0" sz="1200" b="0" i="0" u="none" strike="noStrike" kern="0" cap="none" spc="0" normalizeH="0" baseline="0" noProof="0" dirty="0">
                <a:ln>
                  <a:noFill/>
                </a:ln>
                <a:solidFill>
                  <a:sysClr val="windowText" lastClr="000000"/>
                </a:solidFill>
                <a:effectLst/>
                <a:uLnTx/>
                <a:uFillTx/>
                <a:latin typeface="Arial"/>
                <a:ea typeface="+mn-ea"/>
                <a:cs typeface="Arial"/>
              </a:rPr>
              <a:t>with</a:t>
            </a:r>
            <a:r>
              <a:rPr kumimoji="0" sz="1200" b="0" i="0" u="none" strike="noStrike" kern="0" cap="none" spc="-30" normalizeH="0" baseline="0" noProof="0" dirty="0">
                <a:ln>
                  <a:noFill/>
                </a:ln>
                <a:solidFill>
                  <a:sysClr val="windowText" lastClr="000000"/>
                </a:solidFill>
                <a:effectLst/>
                <a:uLnTx/>
                <a:uFillTx/>
                <a:latin typeface="Arial"/>
                <a:ea typeface="+mn-ea"/>
                <a:cs typeface="Arial"/>
              </a:rPr>
              <a:t> </a:t>
            </a:r>
            <a:r>
              <a:rPr kumimoji="0" sz="1200" b="0" i="0" u="none" strike="noStrike" kern="0" cap="none" spc="0" normalizeH="0" baseline="0" noProof="0" dirty="0">
                <a:ln>
                  <a:noFill/>
                </a:ln>
                <a:solidFill>
                  <a:sysClr val="windowText" lastClr="000000"/>
                </a:solidFill>
                <a:effectLst/>
                <a:uLnTx/>
                <a:uFillTx/>
                <a:latin typeface="Arial"/>
                <a:ea typeface="+mn-ea"/>
                <a:cs typeface="Arial"/>
              </a:rPr>
              <a:t>clinical</a:t>
            </a:r>
            <a:r>
              <a:rPr kumimoji="0" sz="1200" b="0" i="0" u="none" strike="noStrike" kern="0" cap="none" spc="-50" normalizeH="0" baseline="0" noProof="0" dirty="0">
                <a:ln>
                  <a:noFill/>
                </a:ln>
                <a:solidFill>
                  <a:sysClr val="windowText" lastClr="000000"/>
                </a:solidFill>
                <a:effectLst/>
                <a:uLnTx/>
                <a:uFillTx/>
                <a:latin typeface="Arial"/>
                <a:ea typeface="+mn-ea"/>
                <a:cs typeface="Arial"/>
              </a:rPr>
              <a:t> </a:t>
            </a:r>
            <a:r>
              <a:rPr kumimoji="0" sz="1200" b="0" i="0" u="none" strike="noStrike" kern="0" cap="none" spc="-10" normalizeH="0" baseline="0" noProof="0" dirty="0">
                <a:ln>
                  <a:noFill/>
                </a:ln>
                <a:solidFill>
                  <a:sysClr val="windowText" lastClr="000000"/>
                </a:solidFill>
                <a:effectLst/>
                <a:uLnTx/>
                <a:uFillTx/>
                <a:latin typeface="Arial"/>
                <a:ea typeface="+mn-ea"/>
                <a:cs typeface="Arial"/>
              </a:rPr>
              <a:t>outcomes</a:t>
            </a:r>
            <a:endParaRPr kumimoji="0" sz="1200" b="0" i="0" u="none" strike="noStrike" kern="0" cap="none" spc="0" normalizeH="0" baseline="0" noProof="0">
              <a:ln>
                <a:noFill/>
              </a:ln>
              <a:solidFill>
                <a:sysClr val="windowText" lastClr="000000"/>
              </a:solidFill>
              <a:effectLst/>
              <a:uLnTx/>
              <a:uFillTx/>
              <a:latin typeface="Arial"/>
              <a:ea typeface="+mn-ea"/>
              <a:cs typeface="Arial"/>
            </a:endParaRPr>
          </a:p>
        </p:txBody>
      </p:sp>
      <p:grpSp>
        <p:nvGrpSpPr>
          <p:cNvPr id="8" name="object 8"/>
          <p:cNvGrpSpPr/>
          <p:nvPr/>
        </p:nvGrpSpPr>
        <p:grpSpPr>
          <a:xfrm>
            <a:off x="367728" y="1114111"/>
            <a:ext cx="7594727" cy="4533138"/>
            <a:chOff x="367728" y="985519"/>
            <a:chExt cx="7594727" cy="4533138"/>
          </a:xfrm>
        </p:grpSpPr>
        <p:pic>
          <p:nvPicPr>
            <p:cNvPr id="9" name="object 9"/>
            <p:cNvPicPr/>
            <p:nvPr/>
          </p:nvPicPr>
          <p:blipFill>
            <a:blip r:embed="rId4" cstate="print">
              <a:extLst>
                <a:ext uri="{BEBA8EAE-BF5A-486C-A8C5-ECC9F3942E4B}">
                  <a14:imgProps xmlns:a14="http://schemas.microsoft.com/office/drawing/2010/main">
                    <a14:imgLayer r:embed="rId5">
                      <a14:imgEffect>
                        <a14:sharpenSoften amount="40000"/>
                      </a14:imgEffect>
                      <a14:imgEffect>
                        <a14:saturation sat="195000"/>
                      </a14:imgEffect>
                      <a14:imgEffect>
                        <a14:brightnessContrast bright="10000" contrast="4000"/>
                      </a14:imgEffect>
                    </a14:imgLayer>
                  </a14:imgProps>
                </a:ext>
              </a:extLst>
            </a:blip>
            <a:stretch>
              <a:fillRect/>
            </a:stretch>
          </p:blipFill>
          <p:spPr>
            <a:xfrm>
              <a:off x="367728" y="985519"/>
              <a:ext cx="7594727" cy="4352798"/>
            </a:xfrm>
            <a:prstGeom prst="rect">
              <a:avLst/>
            </a:prstGeom>
          </p:spPr>
        </p:pic>
        <p:pic>
          <p:nvPicPr>
            <p:cNvPr id="10" name="object 10"/>
            <p:cNvPicPr/>
            <p:nvPr/>
          </p:nvPicPr>
          <p:blipFill>
            <a:blip r:embed="rId6" cstate="print"/>
            <a:stretch>
              <a:fillRect/>
            </a:stretch>
          </p:blipFill>
          <p:spPr>
            <a:xfrm>
              <a:off x="1141768" y="5273802"/>
              <a:ext cx="76200" cy="235076"/>
            </a:xfrm>
            <a:prstGeom prst="rect">
              <a:avLst/>
            </a:prstGeom>
          </p:spPr>
        </p:pic>
        <p:pic>
          <p:nvPicPr>
            <p:cNvPr id="11" name="object 11"/>
            <p:cNvPicPr/>
            <p:nvPr/>
          </p:nvPicPr>
          <p:blipFill>
            <a:blip r:embed="rId6" cstate="print"/>
            <a:stretch>
              <a:fillRect/>
            </a:stretch>
          </p:blipFill>
          <p:spPr>
            <a:xfrm>
              <a:off x="2578099" y="5273802"/>
              <a:ext cx="76200" cy="235076"/>
            </a:xfrm>
            <a:prstGeom prst="rect">
              <a:avLst/>
            </a:prstGeom>
          </p:spPr>
        </p:pic>
        <p:pic>
          <p:nvPicPr>
            <p:cNvPr id="12" name="object 12"/>
            <p:cNvPicPr/>
            <p:nvPr/>
          </p:nvPicPr>
          <p:blipFill>
            <a:blip r:embed="rId6" cstate="print"/>
            <a:stretch>
              <a:fillRect/>
            </a:stretch>
          </p:blipFill>
          <p:spPr>
            <a:xfrm>
              <a:off x="3371849" y="5273802"/>
              <a:ext cx="76200" cy="235076"/>
            </a:xfrm>
            <a:prstGeom prst="rect">
              <a:avLst/>
            </a:prstGeom>
          </p:spPr>
        </p:pic>
        <p:pic>
          <p:nvPicPr>
            <p:cNvPr id="13" name="object 13"/>
            <p:cNvPicPr/>
            <p:nvPr/>
          </p:nvPicPr>
          <p:blipFill>
            <a:blip r:embed="rId6" cstate="print"/>
            <a:stretch>
              <a:fillRect/>
            </a:stretch>
          </p:blipFill>
          <p:spPr>
            <a:xfrm>
              <a:off x="4673092" y="5283580"/>
              <a:ext cx="76200" cy="235077"/>
            </a:xfrm>
            <a:prstGeom prst="rect">
              <a:avLst/>
            </a:prstGeom>
          </p:spPr>
        </p:pic>
        <p:pic>
          <p:nvPicPr>
            <p:cNvPr id="14" name="object 14"/>
            <p:cNvPicPr/>
            <p:nvPr/>
          </p:nvPicPr>
          <p:blipFill>
            <a:blip r:embed="rId6" cstate="print"/>
            <a:stretch>
              <a:fillRect/>
            </a:stretch>
          </p:blipFill>
          <p:spPr>
            <a:xfrm>
              <a:off x="1467357" y="5273802"/>
              <a:ext cx="76200" cy="235076"/>
            </a:xfrm>
            <a:prstGeom prst="rect">
              <a:avLst/>
            </a:prstGeom>
          </p:spPr>
        </p:pic>
        <p:pic>
          <p:nvPicPr>
            <p:cNvPr id="15" name="object 15"/>
            <p:cNvPicPr/>
            <p:nvPr/>
          </p:nvPicPr>
          <p:blipFill>
            <a:blip r:embed="rId6" cstate="print"/>
            <a:stretch>
              <a:fillRect/>
            </a:stretch>
          </p:blipFill>
          <p:spPr>
            <a:xfrm>
              <a:off x="1800987" y="5273802"/>
              <a:ext cx="76200" cy="235076"/>
            </a:xfrm>
            <a:prstGeom prst="rect">
              <a:avLst/>
            </a:prstGeom>
          </p:spPr>
        </p:pic>
        <p:pic>
          <p:nvPicPr>
            <p:cNvPr id="16" name="object 16"/>
            <p:cNvPicPr/>
            <p:nvPr/>
          </p:nvPicPr>
          <p:blipFill>
            <a:blip r:embed="rId7" cstate="print"/>
            <a:stretch>
              <a:fillRect/>
            </a:stretch>
          </p:blipFill>
          <p:spPr>
            <a:xfrm>
              <a:off x="5521579" y="5277866"/>
              <a:ext cx="76200" cy="234950"/>
            </a:xfrm>
            <a:prstGeom prst="rect">
              <a:avLst/>
            </a:prstGeom>
          </p:spPr>
        </p:pic>
        <p:pic>
          <p:nvPicPr>
            <p:cNvPr id="17" name="object 17"/>
            <p:cNvPicPr/>
            <p:nvPr/>
          </p:nvPicPr>
          <p:blipFill>
            <a:blip r:embed="rId6" cstate="print"/>
            <a:stretch>
              <a:fillRect/>
            </a:stretch>
          </p:blipFill>
          <p:spPr>
            <a:xfrm>
              <a:off x="3886581" y="5283580"/>
              <a:ext cx="76200" cy="235077"/>
            </a:xfrm>
            <a:prstGeom prst="rect">
              <a:avLst/>
            </a:prstGeom>
          </p:spPr>
        </p:pic>
      </p:grpSp>
      <p:sp>
        <p:nvSpPr>
          <p:cNvPr id="18" name="object 18"/>
          <p:cNvSpPr txBox="1"/>
          <p:nvPr/>
        </p:nvSpPr>
        <p:spPr>
          <a:xfrm>
            <a:off x="239369" y="5662537"/>
            <a:ext cx="356870" cy="20827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1" i="0" u="none" strike="noStrike" kern="0" cap="none" spc="-20" normalizeH="0" baseline="0" noProof="0" dirty="0">
                <a:ln>
                  <a:noFill/>
                </a:ln>
                <a:solidFill>
                  <a:sysClr val="windowText" lastClr="000000"/>
                </a:solidFill>
                <a:effectLst/>
                <a:uLnTx/>
                <a:uFillTx/>
                <a:latin typeface="Arial"/>
                <a:ea typeface="+mn-ea"/>
                <a:cs typeface="Arial"/>
              </a:rPr>
              <a:t>Dex:</a:t>
            </a:r>
            <a:endParaRPr kumimoji="0" sz="1200" b="0" i="0" u="none" strike="noStrike" kern="0" cap="none" spc="0" normalizeH="0" baseline="0" noProof="0" dirty="0">
              <a:ln>
                <a:noFill/>
              </a:ln>
              <a:solidFill>
                <a:sysClr val="windowText" lastClr="000000"/>
              </a:solidFill>
              <a:effectLst/>
              <a:uLnTx/>
              <a:uFillTx/>
              <a:latin typeface="Arial"/>
              <a:ea typeface="+mn-ea"/>
              <a:cs typeface="Arial"/>
            </a:endParaRPr>
          </a:p>
        </p:txBody>
      </p:sp>
      <p:sp>
        <p:nvSpPr>
          <p:cNvPr id="20" name="TextBox 19">
            <a:extLst>
              <a:ext uri="{FF2B5EF4-FFF2-40B4-BE49-F238E27FC236}">
                <a16:creationId xmlns:a16="http://schemas.microsoft.com/office/drawing/2014/main" id="{34A11C52-EEAB-4D01-073A-5F7D0062E73C}"/>
              </a:ext>
            </a:extLst>
          </p:cNvPr>
          <p:cNvSpPr txBox="1"/>
          <p:nvPr/>
        </p:nvSpPr>
        <p:spPr>
          <a:xfrm>
            <a:off x="279082" y="232926"/>
            <a:ext cx="1161227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LOTIS-7: </a:t>
            </a:r>
            <a:r>
              <a:rPr kumimoji="0" lang="en-US" sz="3200" b="1" i="0" u="none" strike="noStrike" kern="1200" cap="none" spc="0" normalizeH="0" baseline="0" noProof="0" dirty="0" err="1">
                <a:ln>
                  <a:noFill/>
                </a:ln>
                <a:solidFill>
                  <a:srgbClr val="002060"/>
                </a:solidFill>
                <a:effectLst/>
                <a:uLnTx/>
                <a:uFillTx/>
                <a:latin typeface="Calibri" panose="020F0502020204030204" pitchFamily="34" charset="0"/>
                <a:ea typeface="+mn-ea"/>
                <a:cs typeface="Calibri" panose="020F0502020204030204" pitchFamily="34" charset="0"/>
              </a:rPr>
              <a:t>Lonca</a:t>
            </a: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T plus Glofitamab: Study</a:t>
            </a:r>
            <a:r>
              <a:rPr kumimoji="0" lang="en-US" sz="3200" b="1" i="0" u="none" strike="noStrike" kern="1200" cap="none" spc="-12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 </a:t>
            </a: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Design</a:t>
            </a:r>
            <a:r>
              <a:rPr kumimoji="0" lang="en-US" sz="3200" b="1" i="0" u="none" strike="noStrike" kern="1200" cap="none" spc="-85"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 </a:t>
            </a: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amp;</a:t>
            </a:r>
            <a:r>
              <a:rPr kumimoji="0" lang="en-US" sz="3200" b="1" i="0" u="none" strike="noStrike" kern="1200" cap="none" spc="-8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 </a:t>
            </a:r>
            <a:r>
              <a:rPr kumimoji="0" lang="en-US" sz="3200" b="1" i="0" u="none" strike="noStrike" kern="1200" cap="none" spc="-65"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Patient</a:t>
            </a:r>
            <a:r>
              <a:rPr kumimoji="0" lang="en-US" sz="3200" b="1" i="0" u="none" strike="noStrike" kern="1200" cap="none" spc="-75"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 </a:t>
            </a:r>
            <a:r>
              <a:rPr kumimoji="0" lang="en-US" sz="3200" b="1" i="0" u="none" strike="noStrike" kern="1200" cap="none" spc="-1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Population</a:t>
            </a:r>
            <a:endParaRPr kumimoji="0" lang="en-US" sz="3200" b="1" i="0" u="none" strike="noStrike" kern="1200" cap="none" spc="0" normalizeH="0" baseline="0" noProof="0" dirty="0">
              <a:ln>
                <a:noFill/>
              </a:ln>
              <a:solidFill>
                <a:srgbClr val="002060"/>
              </a:solidFill>
              <a:effectLst/>
              <a:uLnTx/>
              <a:uFillTx/>
              <a:latin typeface="Calibri"/>
              <a:ea typeface="+mn-ea"/>
              <a:cs typeface="+mn-cs"/>
            </a:endParaRPr>
          </a:p>
        </p:txBody>
      </p:sp>
      <p:sp>
        <p:nvSpPr>
          <p:cNvPr id="22" name="TextBox 21">
            <a:extLst>
              <a:ext uri="{FF2B5EF4-FFF2-40B4-BE49-F238E27FC236}">
                <a16:creationId xmlns:a16="http://schemas.microsoft.com/office/drawing/2014/main" id="{5978C2BD-709D-CF94-F73F-005B2E07A6BD}"/>
              </a:ext>
            </a:extLst>
          </p:cNvPr>
          <p:cNvSpPr txBox="1"/>
          <p:nvPr/>
        </p:nvSpPr>
        <p:spPr>
          <a:xfrm>
            <a:off x="3759060" y="6378853"/>
            <a:ext cx="4203395"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000" cap="none" spc="0" normalizeH="0" baseline="0" noProof="0" dirty="0">
                <a:ln>
                  <a:noFill/>
                </a:ln>
                <a:solidFill>
                  <a:prstClr val="black"/>
                </a:solidFill>
                <a:effectLst/>
                <a:uLnTx/>
                <a:uFillTx/>
                <a:latin typeface="Calibri"/>
                <a:ea typeface="+mn-ea"/>
                <a:cs typeface="Arial"/>
              </a:rPr>
              <a:t>Alderuccio JP et al. Oral presentation presented at 18-ICML (17–21 June 2025)</a:t>
            </a:r>
          </a:p>
        </p:txBody>
      </p:sp>
      <p:sp>
        <p:nvSpPr>
          <p:cNvPr id="2" name="TextBox 1">
            <a:extLst>
              <a:ext uri="{FF2B5EF4-FFF2-40B4-BE49-F238E27FC236}">
                <a16:creationId xmlns:a16="http://schemas.microsoft.com/office/drawing/2014/main" id="{AF699FEC-8FB0-DAD1-97A0-EBE43F40A090}"/>
              </a:ext>
            </a:extLst>
          </p:cNvPr>
          <p:cNvSpPr txBox="1"/>
          <p:nvPr/>
        </p:nvSpPr>
        <p:spPr>
          <a:xfrm>
            <a:off x="965201" y="5630927"/>
            <a:ext cx="418704"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1</a:t>
            </a:r>
          </a:p>
        </p:txBody>
      </p:sp>
      <p:sp>
        <p:nvSpPr>
          <p:cNvPr id="19" name="TextBox 18">
            <a:extLst>
              <a:ext uri="{FF2B5EF4-FFF2-40B4-BE49-F238E27FC236}">
                <a16:creationId xmlns:a16="http://schemas.microsoft.com/office/drawing/2014/main" id="{A665BD83-423A-A45D-1460-673FDE9A9487}"/>
              </a:ext>
            </a:extLst>
          </p:cNvPr>
          <p:cNvSpPr txBox="1"/>
          <p:nvPr/>
        </p:nvSpPr>
        <p:spPr>
          <a:xfrm>
            <a:off x="1302356" y="5630927"/>
            <a:ext cx="418704"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2</a:t>
            </a:r>
          </a:p>
        </p:txBody>
      </p:sp>
      <p:sp>
        <p:nvSpPr>
          <p:cNvPr id="21" name="TextBox 20">
            <a:extLst>
              <a:ext uri="{FF2B5EF4-FFF2-40B4-BE49-F238E27FC236}">
                <a16:creationId xmlns:a16="http://schemas.microsoft.com/office/drawing/2014/main" id="{35E8C777-5CA7-CD02-4E4B-6A64B3F0D783}"/>
              </a:ext>
            </a:extLst>
          </p:cNvPr>
          <p:cNvSpPr txBox="1"/>
          <p:nvPr/>
        </p:nvSpPr>
        <p:spPr>
          <a:xfrm>
            <a:off x="1640423" y="5630927"/>
            <a:ext cx="418704"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3</a:t>
            </a:r>
          </a:p>
        </p:txBody>
      </p:sp>
      <p:sp>
        <p:nvSpPr>
          <p:cNvPr id="23" name="TextBox 22">
            <a:extLst>
              <a:ext uri="{FF2B5EF4-FFF2-40B4-BE49-F238E27FC236}">
                <a16:creationId xmlns:a16="http://schemas.microsoft.com/office/drawing/2014/main" id="{6D5B09A9-3D4B-ED68-52A5-610F9CA1B285}"/>
              </a:ext>
            </a:extLst>
          </p:cNvPr>
          <p:cNvSpPr txBox="1"/>
          <p:nvPr/>
        </p:nvSpPr>
        <p:spPr>
          <a:xfrm>
            <a:off x="2395284" y="5630927"/>
            <a:ext cx="418704"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8</a:t>
            </a:r>
          </a:p>
        </p:txBody>
      </p:sp>
      <p:sp>
        <p:nvSpPr>
          <p:cNvPr id="24" name="TextBox 23">
            <a:extLst>
              <a:ext uri="{FF2B5EF4-FFF2-40B4-BE49-F238E27FC236}">
                <a16:creationId xmlns:a16="http://schemas.microsoft.com/office/drawing/2014/main" id="{9F20F06D-8D32-9541-4A89-F969110FFBD5}"/>
              </a:ext>
            </a:extLst>
          </p:cNvPr>
          <p:cNvSpPr txBox="1"/>
          <p:nvPr/>
        </p:nvSpPr>
        <p:spPr>
          <a:xfrm>
            <a:off x="3138838" y="5630927"/>
            <a:ext cx="522900"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15</a:t>
            </a:r>
          </a:p>
        </p:txBody>
      </p:sp>
      <p:sp>
        <p:nvSpPr>
          <p:cNvPr id="25" name="TextBox 24">
            <a:extLst>
              <a:ext uri="{FF2B5EF4-FFF2-40B4-BE49-F238E27FC236}">
                <a16:creationId xmlns:a16="http://schemas.microsoft.com/office/drawing/2014/main" id="{89AB4F15-6E1B-A950-0E71-28A4352AF6AC}"/>
              </a:ext>
            </a:extLst>
          </p:cNvPr>
          <p:cNvSpPr txBox="1"/>
          <p:nvPr/>
        </p:nvSpPr>
        <p:spPr>
          <a:xfrm>
            <a:off x="3713970" y="5630927"/>
            <a:ext cx="418704"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0</a:t>
            </a:r>
          </a:p>
        </p:txBody>
      </p:sp>
      <p:sp>
        <p:nvSpPr>
          <p:cNvPr id="27" name="TextBox 26">
            <a:extLst>
              <a:ext uri="{FF2B5EF4-FFF2-40B4-BE49-F238E27FC236}">
                <a16:creationId xmlns:a16="http://schemas.microsoft.com/office/drawing/2014/main" id="{0A8EB606-9B12-1003-B4CF-4BC96A94CBBC}"/>
              </a:ext>
            </a:extLst>
          </p:cNvPr>
          <p:cNvSpPr txBox="1"/>
          <p:nvPr/>
        </p:nvSpPr>
        <p:spPr>
          <a:xfrm>
            <a:off x="4511954" y="5630927"/>
            <a:ext cx="418704"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1</a:t>
            </a:r>
          </a:p>
        </p:txBody>
      </p:sp>
      <p:sp>
        <p:nvSpPr>
          <p:cNvPr id="28" name="TextBox 27">
            <a:extLst>
              <a:ext uri="{FF2B5EF4-FFF2-40B4-BE49-F238E27FC236}">
                <a16:creationId xmlns:a16="http://schemas.microsoft.com/office/drawing/2014/main" id="{BC404BFF-82D6-FA4E-29A2-516DFEE04136}"/>
              </a:ext>
            </a:extLst>
          </p:cNvPr>
          <p:cNvSpPr txBox="1"/>
          <p:nvPr/>
        </p:nvSpPr>
        <p:spPr>
          <a:xfrm>
            <a:off x="5358019" y="5630927"/>
            <a:ext cx="418704"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2</a:t>
            </a:r>
          </a:p>
        </p:txBody>
      </p:sp>
      <p:sp>
        <p:nvSpPr>
          <p:cNvPr id="29" name="TextBox 28">
            <a:extLst>
              <a:ext uri="{FF2B5EF4-FFF2-40B4-BE49-F238E27FC236}">
                <a16:creationId xmlns:a16="http://schemas.microsoft.com/office/drawing/2014/main" id="{816E2822-EAB1-1A03-E08F-D2C0893C8CA5}"/>
              </a:ext>
            </a:extLst>
          </p:cNvPr>
          <p:cNvSpPr txBox="1"/>
          <p:nvPr/>
        </p:nvSpPr>
        <p:spPr>
          <a:xfrm>
            <a:off x="6096000" y="2914453"/>
            <a:ext cx="654050" cy="123977"/>
          </a:xfrm>
          <a:prstGeom prst="rect">
            <a:avLst/>
          </a:prstGeom>
          <a:solidFill>
            <a:srgbClr val="329ADB"/>
          </a:solidFill>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prstClr val="white"/>
                </a:solidFill>
                <a:effectLst/>
                <a:uLnTx/>
                <a:uFillTx/>
                <a:latin typeface="Calibri"/>
                <a:ea typeface="+mn-ea"/>
                <a:cs typeface="+mn-cs"/>
              </a:rPr>
              <a:t>Cycles ≥3: 75 </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descr="$PPTXTitle"/>
          <p:cNvSpPr txBox="1">
            <a:spLocks noGrp="1"/>
          </p:cNvSpPr>
          <p:nvPr>
            <p:ph type="title"/>
          </p:nvPr>
        </p:nvSpPr>
        <p:spPr>
          <a:xfrm>
            <a:off x="596900" y="129323"/>
            <a:ext cx="11123167" cy="992579"/>
          </a:xfrm>
          <a:prstGeom prst="rect">
            <a:avLst/>
          </a:prstGeom>
        </p:spPr>
        <p:txBody>
          <a:bodyPr vert="horz" wrap="square" lIns="0" tIns="78740" rIns="0" bIns="0" rtlCol="0">
            <a:spAutoFit/>
          </a:bodyPr>
          <a:lstStyle/>
          <a:p>
            <a:pPr marL="12700">
              <a:lnSpc>
                <a:spcPct val="100000"/>
              </a:lnSpc>
              <a:spcBef>
                <a:spcPts val="620"/>
              </a:spcBef>
            </a:pPr>
            <a:r>
              <a:rPr lang="en-US" sz="3200" spc="-65" dirty="0">
                <a:solidFill>
                  <a:srgbClr val="002060"/>
                </a:solidFill>
                <a:latin typeface="+mn-lt"/>
              </a:rPr>
              <a:t>LOTIS-7: </a:t>
            </a:r>
            <a:r>
              <a:rPr sz="3200" spc="-65" dirty="0">
                <a:solidFill>
                  <a:srgbClr val="002060"/>
                </a:solidFill>
                <a:latin typeface="+mn-lt"/>
              </a:rPr>
              <a:t>PATIENT</a:t>
            </a:r>
            <a:r>
              <a:rPr sz="3200" spc="-114" dirty="0">
                <a:solidFill>
                  <a:srgbClr val="002060"/>
                </a:solidFill>
                <a:latin typeface="+mn-lt"/>
              </a:rPr>
              <a:t> </a:t>
            </a:r>
            <a:r>
              <a:rPr sz="3200" dirty="0">
                <a:solidFill>
                  <a:srgbClr val="002060"/>
                </a:solidFill>
                <a:latin typeface="+mn-lt"/>
              </a:rPr>
              <a:t>BASELINE</a:t>
            </a:r>
            <a:r>
              <a:rPr sz="3200" spc="-100" dirty="0">
                <a:solidFill>
                  <a:srgbClr val="002060"/>
                </a:solidFill>
                <a:latin typeface="+mn-lt"/>
              </a:rPr>
              <a:t> </a:t>
            </a:r>
            <a:r>
              <a:rPr sz="3200" spc="-10" dirty="0">
                <a:solidFill>
                  <a:srgbClr val="002060"/>
                </a:solidFill>
                <a:latin typeface="+mn-lt"/>
              </a:rPr>
              <a:t>CHARACTERISTICS</a:t>
            </a:r>
          </a:p>
          <a:p>
            <a:pPr marL="12700">
              <a:lnSpc>
                <a:spcPct val="100000"/>
              </a:lnSpc>
              <a:spcBef>
                <a:spcPts val="380"/>
              </a:spcBef>
            </a:pPr>
            <a:r>
              <a:rPr sz="2400" spc="-25" dirty="0">
                <a:solidFill>
                  <a:srgbClr val="002060"/>
                </a:solidFill>
                <a:latin typeface="+mn-lt"/>
              </a:rPr>
              <a:t>TREATED</a:t>
            </a:r>
            <a:r>
              <a:rPr sz="2400" spc="-60" dirty="0">
                <a:solidFill>
                  <a:srgbClr val="002060"/>
                </a:solidFill>
                <a:latin typeface="+mn-lt"/>
              </a:rPr>
              <a:t> </a:t>
            </a:r>
            <a:r>
              <a:rPr sz="2400" spc="-20" dirty="0">
                <a:solidFill>
                  <a:srgbClr val="002060"/>
                </a:solidFill>
                <a:latin typeface="+mn-lt"/>
              </a:rPr>
              <a:t>POPULATION</a:t>
            </a:r>
            <a:r>
              <a:rPr sz="2400" spc="-80" dirty="0">
                <a:solidFill>
                  <a:srgbClr val="002060"/>
                </a:solidFill>
                <a:latin typeface="+mn-lt"/>
              </a:rPr>
              <a:t> </a:t>
            </a:r>
            <a:r>
              <a:rPr sz="2400" spc="-10" dirty="0">
                <a:solidFill>
                  <a:srgbClr val="002060"/>
                </a:solidFill>
                <a:latin typeface="+mn-lt"/>
              </a:rPr>
              <a:t>(N=41)</a:t>
            </a:r>
            <a:endParaRPr sz="2400" dirty="0">
              <a:solidFill>
                <a:srgbClr val="002060"/>
              </a:solidFill>
              <a:latin typeface="+mn-lt"/>
            </a:endParaRPr>
          </a:p>
        </p:txBody>
      </p:sp>
      <p:graphicFrame>
        <p:nvGraphicFramePr>
          <p:cNvPr id="3" name="object 3"/>
          <p:cNvGraphicFramePr>
            <a:graphicFrameLocks noGrp="1"/>
          </p:cNvGraphicFramePr>
          <p:nvPr/>
        </p:nvGraphicFramePr>
        <p:xfrm>
          <a:off x="596900" y="1570227"/>
          <a:ext cx="5480049" cy="4263390"/>
        </p:xfrm>
        <a:graphic>
          <a:graphicData uri="http://schemas.openxmlformats.org/drawingml/2006/table">
            <a:tbl>
              <a:tblPr firstRow="1" bandRow="1">
                <a:tableStyleId>{2D5ABB26-0587-4C30-8999-92F81FD0307C}</a:tableStyleId>
              </a:tblPr>
              <a:tblGrid>
                <a:gridCol w="2333625">
                  <a:extLst>
                    <a:ext uri="{9D8B030D-6E8A-4147-A177-3AD203B41FA5}">
                      <a16:colId xmlns:a16="http://schemas.microsoft.com/office/drawing/2014/main" val="20000"/>
                    </a:ext>
                  </a:extLst>
                </a:gridCol>
                <a:gridCol w="1113154">
                  <a:extLst>
                    <a:ext uri="{9D8B030D-6E8A-4147-A177-3AD203B41FA5}">
                      <a16:colId xmlns:a16="http://schemas.microsoft.com/office/drawing/2014/main" val="20001"/>
                    </a:ext>
                  </a:extLst>
                </a:gridCol>
                <a:gridCol w="1168400">
                  <a:extLst>
                    <a:ext uri="{9D8B030D-6E8A-4147-A177-3AD203B41FA5}">
                      <a16:colId xmlns:a16="http://schemas.microsoft.com/office/drawing/2014/main" val="20002"/>
                    </a:ext>
                  </a:extLst>
                </a:gridCol>
                <a:gridCol w="864870">
                  <a:extLst>
                    <a:ext uri="{9D8B030D-6E8A-4147-A177-3AD203B41FA5}">
                      <a16:colId xmlns:a16="http://schemas.microsoft.com/office/drawing/2014/main" val="20003"/>
                    </a:ext>
                  </a:extLst>
                </a:gridCol>
              </a:tblGrid>
              <a:tr h="592455">
                <a:tc>
                  <a:txBody>
                    <a:bodyPr/>
                    <a:lstStyle/>
                    <a:p>
                      <a:pPr>
                        <a:lnSpc>
                          <a:spcPct val="100000"/>
                        </a:lnSpc>
                      </a:pPr>
                      <a:endParaRPr sz="1000">
                        <a:latin typeface="Times New Roman"/>
                        <a:cs typeface="Times New Roman"/>
                      </a:endParaRPr>
                    </a:p>
                  </a:txBody>
                  <a:tcPr marL="0" marR="0" marT="0" marB="0">
                    <a:lnL w="12700">
                      <a:solidFill>
                        <a:srgbClr val="009FD5"/>
                      </a:solidFill>
                      <a:prstDash val="solid"/>
                    </a:lnL>
                    <a:lnT w="12700">
                      <a:solidFill>
                        <a:srgbClr val="009FD5"/>
                      </a:solidFill>
                      <a:prstDash val="solid"/>
                    </a:lnT>
                    <a:lnB w="28575">
                      <a:solidFill>
                        <a:srgbClr val="F4680D"/>
                      </a:solidFill>
                      <a:prstDash val="solid"/>
                    </a:lnB>
                    <a:solidFill>
                      <a:srgbClr val="183D8E"/>
                    </a:solidFill>
                  </a:tcPr>
                </a:tc>
                <a:tc>
                  <a:txBody>
                    <a:bodyPr/>
                    <a:lstStyle/>
                    <a:p>
                      <a:pPr marL="50800" marR="83820" algn="ctr">
                        <a:lnSpc>
                          <a:spcPct val="93200"/>
                        </a:lnSpc>
                        <a:spcBef>
                          <a:spcPts val="450"/>
                        </a:spcBef>
                      </a:pPr>
                      <a:r>
                        <a:rPr sz="1100" b="1" dirty="0">
                          <a:solidFill>
                            <a:srgbClr val="FFFFFF"/>
                          </a:solidFill>
                          <a:latin typeface="Arial"/>
                          <a:cs typeface="Arial"/>
                        </a:rPr>
                        <a:t>Glofit</a:t>
                      </a:r>
                      <a:r>
                        <a:rPr sz="1100" b="1" spc="-45" dirty="0">
                          <a:solidFill>
                            <a:srgbClr val="FFFFFF"/>
                          </a:solidFill>
                          <a:latin typeface="Arial"/>
                          <a:cs typeface="Arial"/>
                        </a:rPr>
                        <a:t> </a:t>
                      </a:r>
                      <a:r>
                        <a:rPr sz="1100" b="1" dirty="0">
                          <a:solidFill>
                            <a:srgbClr val="FFFFFF"/>
                          </a:solidFill>
                          <a:latin typeface="Arial"/>
                          <a:cs typeface="Arial"/>
                        </a:rPr>
                        <a:t>+ </a:t>
                      </a:r>
                      <a:r>
                        <a:rPr sz="1100" b="1" spc="-10" dirty="0">
                          <a:solidFill>
                            <a:srgbClr val="FFFFFF"/>
                          </a:solidFill>
                          <a:latin typeface="Arial"/>
                          <a:cs typeface="Arial"/>
                        </a:rPr>
                        <a:t>Lonca, </a:t>
                      </a:r>
                      <a:r>
                        <a:rPr sz="1100" b="1" dirty="0">
                          <a:solidFill>
                            <a:srgbClr val="FFFFFF"/>
                          </a:solidFill>
                          <a:latin typeface="Arial"/>
                          <a:cs typeface="Arial"/>
                        </a:rPr>
                        <a:t>120</a:t>
                      </a:r>
                      <a:r>
                        <a:rPr sz="1100" b="1" spc="-30" dirty="0">
                          <a:solidFill>
                            <a:srgbClr val="FFFFFF"/>
                          </a:solidFill>
                          <a:latin typeface="Arial"/>
                          <a:cs typeface="Arial"/>
                        </a:rPr>
                        <a:t> </a:t>
                      </a:r>
                      <a:r>
                        <a:rPr sz="1100" b="1" spc="-10" dirty="0">
                          <a:solidFill>
                            <a:srgbClr val="FFFFFF"/>
                          </a:solidFill>
                          <a:latin typeface="Arial"/>
                          <a:cs typeface="Arial"/>
                        </a:rPr>
                        <a:t>μg/kg</a:t>
                      </a:r>
                      <a:r>
                        <a:rPr sz="1050" spc="-15" baseline="27777" dirty="0">
                          <a:solidFill>
                            <a:srgbClr val="FFFFFF"/>
                          </a:solidFill>
                          <a:latin typeface="Arial"/>
                          <a:cs typeface="Arial"/>
                        </a:rPr>
                        <a:t>a</a:t>
                      </a:r>
                      <a:r>
                        <a:rPr sz="1050" spc="750" baseline="27777" dirty="0">
                          <a:solidFill>
                            <a:srgbClr val="FFFFFF"/>
                          </a:solidFill>
                          <a:latin typeface="Arial"/>
                          <a:cs typeface="Arial"/>
                        </a:rPr>
                        <a:t> </a:t>
                      </a:r>
                      <a:r>
                        <a:rPr sz="1100" b="1" spc="-10" dirty="0">
                          <a:solidFill>
                            <a:srgbClr val="FFFFFF"/>
                          </a:solidFill>
                          <a:latin typeface="Arial"/>
                          <a:cs typeface="Arial"/>
                        </a:rPr>
                        <a:t>(n=20)</a:t>
                      </a:r>
                      <a:endParaRPr sz="1100">
                        <a:latin typeface="Arial"/>
                        <a:cs typeface="Arial"/>
                      </a:endParaRPr>
                    </a:p>
                  </a:txBody>
                  <a:tcPr marL="0" marR="0" marT="57150" marB="0">
                    <a:lnT w="12700">
                      <a:solidFill>
                        <a:srgbClr val="009FD5"/>
                      </a:solidFill>
                      <a:prstDash val="solid"/>
                    </a:lnT>
                    <a:lnB w="28575">
                      <a:solidFill>
                        <a:srgbClr val="F4680D"/>
                      </a:solidFill>
                      <a:prstDash val="solid"/>
                    </a:lnB>
                    <a:solidFill>
                      <a:srgbClr val="183D8E"/>
                    </a:solidFill>
                  </a:tcPr>
                </a:tc>
                <a:tc>
                  <a:txBody>
                    <a:bodyPr/>
                    <a:lstStyle/>
                    <a:p>
                      <a:pPr marL="91440" marR="98425" algn="ctr">
                        <a:lnSpc>
                          <a:spcPct val="93200"/>
                        </a:lnSpc>
                        <a:spcBef>
                          <a:spcPts val="450"/>
                        </a:spcBef>
                      </a:pPr>
                      <a:r>
                        <a:rPr sz="1100" b="1" dirty="0">
                          <a:solidFill>
                            <a:srgbClr val="FFFFFF"/>
                          </a:solidFill>
                          <a:latin typeface="Arial"/>
                          <a:cs typeface="Arial"/>
                        </a:rPr>
                        <a:t>Glofit</a:t>
                      </a:r>
                      <a:r>
                        <a:rPr sz="1100" b="1" spc="-45" dirty="0">
                          <a:solidFill>
                            <a:srgbClr val="FFFFFF"/>
                          </a:solidFill>
                          <a:latin typeface="Arial"/>
                          <a:cs typeface="Arial"/>
                        </a:rPr>
                        <a:t> </a:t>
                      </a:r>
                      <a:r>
                        <a:rPr sz="1100" b="1" dirty="0">
                          <a:solidFill>
                            <a:srgbClr val="FFFFFF"/>
                          </a:solidFill>
                          <a:latin typeface="Arial"/>
                          <a:cs typeface="Arial"/>
                        </a:rPr>
                        <a:t>+ </a:t>
                      </a:r>
                      <a:r>
                        <a:rPr sz="1100" b="1" spc="-10" dirty="0">
                          <a:solidFill>
                            <a:srgbClr val="FFFFFF"/>
                          </a:solidFill>
                          <a:latin typeface="Arial"/>
                          <a:cs typeface="Arial"/>
                        </a:rPr>
                        <a:t>Lonca, </a:t>
                      </a:r>
                      <a:r>
                        <a:rPr sz="1100" b="1" dirty="0">
                          <a:solidFill>
                            <a:srgbClr val="FFFFFF"/>
                          </a:solidFill>
                          <a:latin typeface="Arial"/>
                          <a:cs typeface="Arial"/>
                        </a:rPr>
                        <a:t>150</a:t>
                      </a:r>
                      <a:r>
                        <a:rPr sz="1100" b="1" spc="-30" dirty="0">
                          <a:solidFill>
                            <a:srgbClr val="FFFFFF"/>
                          </a:solidFill>
                          <a:latin typeface="Arial"/>
                          <a:cs typeface="Arial"/>
                        </a:rPr>
                        <a:t> </a:t>
                      </a:r>
                      <a:r>
                        <a:rPr sz="1100" b="1" spc="-10" dirty="0">
                          <a:solidFill>
                            <a:srgbClr val="FFFFFF"/>
                          </a:solidFill>
                          <a:latin typeface="Arial"/>
                          <a:cs typeface="Arial"/>
                        </a:rPr>
                        <a:t>μg/kg</a:t>
                      </a:r>
                      <a:r>
                        <a:rPr sz="1050" spc="-15" baseline="27777" dirty="0">
                          <a:solidFill>
                            <a:srgbClr val="FFFFFF"/>
                          </a:solidFill>
                          <a:latin typeface="Arial"/>
                          <a:cs typeface="Arial"/>
                        </a:rPr>
                        <a:t>a</a:t>
                      </a:r>
                      <a:r>
                        <a:rPr sz="1050" spc="750" baseline="27777" dirty="0">
                          <a:solidFill>
                            <a:srgbClr val="FFFFFF"/>
                          </a:solidFill>
                          <a:latin typeface="Arial"/>
                          <a:cs typeface="Arial"/>
                        </a:rPr>
                        <a:t> </a:t>
                      </a:r>
                      <a:r>
                        <a:rPr sz="1100" b="1" spc="-10" dirty="0">
                          <a:solidFill>
                            <a:srgbClr val="FFFFFF"/>
                          </a:solidFill>
                          <a:latin typeface="Arial"/>
                          <a:cs typeface="Arial"/>
                        </a:rPr>
                        <a:t>(n=21)</a:t>
                      </a:r>
                      <a:endParaRPr sz="1100">
                        <a:latin typeface="Arial"/>
                        <a:cs typeface="Arial"/>
                      </a:endParaRPr>
                    </a:p>
                  </a:txBody>
                  <a:tcPr marL="0" marR="0" marT="57150" marB="0">
                    <a:lnT w="12700">
                      <a:solidFill>
                        <a:srgbClr val="009FD5"/>
                      </a:solidFill>
                      <a:prstDash val="solid"/>
                    </a:lnT>
                    <a:lnB w="28575">
                      <a:solidFill>
                        <a:srgbClr val="F4680D"/>
                      </a:solidFill>
                      <a:prstDash val="solid"/>
                    </a:lnB>
                    <a:solidFill>
                      <a:srgbClr val="183D8E"/>
                    </a:solidFill>
                  </a:tcPr>
                </a:tc>
                <a:tc>
                  <a:txBody>
                    <a:bodyPr/>
                    <a:lstStyle/>
                    <a:p>
                      <a:pPr marL="158115" marR="156210" algn="ctr">
                        <a:lnSpc>
                          <a:spcPct val="93200"/>
                        </a:lnSpc>
                        <a:spcBef>
                          <a:spcPts val="450"/>
                        </a:spcBef>
                      </a:pPr>
                      <a:r>
                        <a:rPr sz="1100" b="1" dirty="0">
                          <a:solidFill>
                            <a:srgbClr val="FFFFFF"/>
                          </a:solidFill>
                          <a:latin typeface="Arial"/>
                          <a:cs typeface="Arial"/>
                        </a:rPr>
                        <a:t>All</a:t>
                      </a:r>
                      <a:r>
                        <a:rPr sz="1100" b="1" spc="-25" dirty="0">
                          <a:solidFill>
                            <a:srgbClr val="FFFFFF"/>
                          </a:solidFill>
                          <a:latin typeface="Arial"/>
                          <a:cs typeface="Arial"/>
                        </a:rPr>
                        <a:t> </a:t>
                      </a:r>
                      <a:r>
                        <a:rPr sz="1100" b="1" spc="-20" dirty="0">
                          <a:solidFill>
                            <a:srgbClr val="FFFFFF"/>
                          </a:solidFill>
                          <a:latin typeface="Arial"/>
                          <a:cs typeface="Arial"/>
                        </a:rPr>
                        <a:t>dose </a:t>
                      </a:r>
                      <a:r>
                        <a:rPr sz="1100" b="1" spc="-10" dirty="0">
                          <a:solidFill>
                            <a:srgbClr val="FFFFFF"/>
                          </a:solidFill>
                          <a:latin typeface="Arial"/>
                          <a:cs typeface="Arial"/>
                        </a:rPr>
                        <a:t>levels (N=41)</a:t>
                      </a:r>
                      <a:endParaRPr sz="1100">
                        <a:latin typeface="Arial"/>
                        <a:cs typeface="Arial"/>
                      </a:endParaRPr>
                    </a:p>
                  </a:txBody>
                  <a:tcPr marL="0" marR="0" marT="57150" marB="0">
                    <a:lnR w="12700">
                      <a:solidFill>
                        <a:srgbClr val="009FD5"/>
                      </a:solidFill>
                      <a:prstDash val="solid"/>
                    </a:lnR>
                    <a:lnT w="12700">
                      <a:solidFill>
                        <a:srgbClr val="009FD5"/>
                      </a:solidFill>
                      <a:prstDash val="solid"/>
                    </a:lnT>
                    <a:lnB w="28575">
                      <a:solidFill>
                        <a:srgbClr val="F4680D"/>
                      </a:solidFill>
                      <a:prstDash val="solid"/>
                    </a:lnB>
                    <a:solidFill>
                      <a:srgbClr val="183D8E"/>
                    </a:solidFill>
                  </a:tcPr>
                </a:tc>
                <a:extLst>
                  <a:ext uri="{0D108BD9-81ED-4DB2-BD59-A6C34878D82A}">
                    <a16:rowId xmlns:a16="http://schemas.microsoft.com/office/drawing/2014/main" val="10000"/>
                  </a:ext>
                </a:extLst>
              </a:tr>
              <a:tr h="185420">
                <a:tc>
                  <a:txBody>
                    <a:bodyPr/>
                    <a:lstStyle/>
                    <a:p>
                      <a:pPr marL="57150">
                        <a:lnSpc>
                          <a:spcPct val="100000"/>
                        </a:lnSpc>
                        <a:spcBef>
                          <a:spcPts val="20"/>
                        </a:spcBef>
                      </a:pPr>
                      <a:r>
                        <a:rPr sz="1100" b="1" dirty="0">
                          <a:latin typeface="Arial"/>
                          <a:cs typeface="Arial"/>
                        </a:rPr>
                        <a:t>Age,</a:t>
                      </a:r>
                      <a:r>
                        <a:rPr sz="1100" b="1" spc="10" dirty="0">
                          <a:latin typeface="Arial"/>
                          <a:cs typeface="Arial"/>
                        </a:rPr>
                        <a:t> </a:t>
                      </a:r>
                      <a:r>
                        <a:rPr sz="1100" b="1" dirty="0">
                          <a:latin typeface="Arial"/>
                          <a:cs typeface="Arial"/>
                        </a:rPr>
                        <a:t>median</a:t>
                      </a:r>
                      <a:r>
                        <a:rPr sz="1100" b="1" spc="-35" dirty="0">
                          <a:latin typeface="Arial"/>
                          <a:cs typeface="Arial"/>
                        </a:rPr>
                        <a:t> </a:t>
                      </a:r>
                      <a:r>
                        <a:rPr sz="1100" b="1" dirty="0">
                          <a:latin typeface="Arial"/>
                          <a:cs typeface="Arial"/>
                        </a:rPr>
                        <a:t>(range),</a:t>
                      </a:r>
                      <a:r>
                        <a:rPr sz="1100" b="1" spc="-50" dirty="0">
                          <a:latin typeface="Arial"/>
                          <a:cs typeface="Arial"/>
                        </a:rPr>
                        <a:t> y</a:t>
                      </a:r>
                      <a:endParaRPr sz="1100">
                        <a:latin typeface="Arial"/>
                        <a:cs typeface="Arial"/>
                      </a:endParaRPr>
                    </a:p>
                  </a:txBody>
                  <a:tcPr marL="0" marR="0" marT="2540" marB="0">
                    <a:lnL w="12700">
                      <a:solidFill>
                        <a:srgbClr val="F4680D"/>
                      </a:solidFill>
                      <a:prstDash val="solid"/>
                    </a:lnL>
                    <a:lnT w="28575">
                      <a:solidFill>
                        <a:srgbClr val="F4680D"/>
                      </a:solidFill>
                      <a:prstDash val="solid"/>
                    </a:lnT>
                    <a:lnB w="38100">
                      <a:solidFill>
                        <a:srgbClr val="F4680D"/>
                      </a:solidFill>
                      <a:prstDash val="solid"/>
                    </a:lnB>
                  </a:tcPr>
                </a:tc>
                <a:tc>
                  <a:txBody>
                    <a:bodyPr/>
                    <a:lstStyle/>
                    <a:p>
                      <a:pPr marR="31750" algn="ctr">
                        <a:lnSpc>
                          <a:spcPct val="100000"/>
                        </a:lnSpc>
                        <a:spcBef>
                          <a:spcPts val="20"/>
                        </a:spcBef>
                      </a:pPr>
                      <a:r>
                        <a:rPr sz="1100" dirty="0">
                          <a:latin typeface="Arial"/>
                          <a:cs typeface="Arial"/>
                        </a:rPr>
                        <a:t>70</a:t>
                      </a:r>
                      <a:r>
                        <a:rPr sz="1100" spc="20" dirty="0">
                          <a:latin typeface="Arial"/>
                          <a:cs typeface="Arial"/>
                        </a:rPr>
                        <a:t> </a:t>
                      </a:r>
                      <a:r>
                        <a:rPr sz="1100" spc="-10" dirty="0">
                          <a:latin typeface="Arial"/>
                          <a:cs typeface="Arial"/>
                        </a:rPr>
                        <a:t>(50-</a:t>
                      </a:r>
                      <a:r>
                        <a:rPr sz="1100" spc="-25" dirty="0">
                          <a:latin typeface="Arial"/>
                          <a:cs typeface="Arial"/>
                        </a:rPr>
                        <a:t>82)</a:t>
                      </a:r>
                      <a:endParaRPr sz="1100">
                        <a:latin typeface="Arial"/>
                        <a:cs typeface="Arial"/>
                      </a:endParaRPr>
                    </a:p>
                  </a:txBody>
                  <a:tcPr marL="0" marR="0" marT="2540" marB="0">
                    <a:lnT w="28575">
                      <a:solidFill>
                        <a:srgbClr val="F4680D"/>
                      </a:solidFill>
                      <a:prstDash val="solid"/>
                    </a:lnT>
                    <a:lnB w="38100">
                      <a:solidFill>
                        <a:srgbClr val="F4680D"/>
                      </a:solidFill>
                      <a:prstDash val="solid"/>
                    </a:lnB>
                  </a:tcPr>
                </a:tc>
                <a:tc>
                  <a:txBody>
                    <a:bodyPr/>
                    <a:lstStyle/>
                    <a:p>
                      <a:pPr marR="8255" algn="ctr">
                        <a:lnSpc>
                          <a:spcPct val="100000"/>
                        </a:lnSpc>
                        <a:spcBef>
                          <a:spcPts val="20"/>
                        </a:spcBef>
                      </a:pPr>
                      <a:r>
                        <a:rPr sz="1100" dirty="0">
                          <a:latin typeface="Arial"/>
                          <a:cs typeface="Arial"/>
                        </a:rPr>
                        <a:t>74</a:t>
                      </a:r>
                      <a:r>
                        <a:rPr sz="1100" spc="20" dirty="0">
                          <a:latin typeface="Arial"/>
                          <a:cs typeface="Arial"/>
                        </a:rPr>
                        <a:t> </a:t>
                      </a:r>
                      <a:r>
                        <a:rPr sz="1100" spc="-10" dirty="0">
                          <a:latin typeface="Arial"/>
                          <a:cs typeface="Arial"/>
                        </a:rPr>
                        <a:t>(26-</a:t>
                      </a:r>
                      <a:r>
                        <a:rPr sz="1100" spc="-25" dirty="0">
                          <a:latin typeface="Arial"/>
                          <a:cs typeface="Arial"/>
                        </a:rPr>
                        <a:t>85)</a:t>
                      </a:r>
                      <a:endParaRPr sz="1100">
                        <a:latin typeface="Arial"/>
                        <a:cs typeface="Arial"/>
                      </a:endParaRPr>
                    </a:p>
                  </a:txBody>
                  <a:tcPr marL="0" marR="0" marT="2540" marB="0">
                    <a:lnT w="28575">
                      <a:solidFill>
                        <a:srgbClr val="F4680D"/>
                      </a:solidFill>
                      <a:prstDash val="solid"/>
                    </a:lnT>
                    <a:lnB w="38100">
                      <a:solidFill>
                        <a:srgbClr val="F4680D"/>
                      </a:solidFill>
                      <a:prstDash val="solid"/>
                    </a:lnB>
                  </a:tcPr>
                </a:tc>
                <a:tc>
                  <a:txBody>
                    <a:bodyPr/>
                    <a:lstStyle/>
                    <a:p>
                      <a:pPr algn="ctr">
                        <a:lnSpc>
                          <a:spcPct val="100000"/>
                        </a:lnSpc>
                        <a:spcBef>
                          <a:spcPts val="20"/>
                        </a:spcBef>
                      </a:pPr>
                      <a:r>
                        <a:rPr sz="1100" dirty="0">
                          <a:latin typeface="Arial"/>
                          <a:cs typeface="Arial"/>
                        </a:rPr>
                        <a:t>71</a:t>
                      </a:r>
                      <a:r>
                        <a:rPr sz="1100" spc="20" dirty="0">
                          <a:latin typeface="Arial"/>
                          <a:cs typeface="Arial"/>
                        </a:rPr>
                        <a:t> </a:t>
                      </a:r>
                      <a:r>
                        <a:rPr sz="1100" spc="-10" dirty="0">
                          <a:latin typeface="Arial"/>
                          <a:cs typeface="Arial"/>
                        </a:rPr>
                        <a:t>(26-</a:t>
                      </a:r>
                      <a:r>
                        <a:rPr sz="1100" spc="-25" dirty="0">
                          <a:latin typeface="Arial"/>
                          <a:cs typeface="Arial"/>
                        </a:rPr>
                        <a:t>85)</a:t>
                      </a:r>
                      <a:endParaRPr sz="1100">
                        <a:latin typeface="Arial"/>
                        <a:cs typeface="Arial"/>
                      </a:endParaRPr>
                    </a:p>
                  </a:txBody>
                  <a:tcPr marL="0" marR="0" marT="2540" marB="0">
                    <a:lnR w="28575">
                      <a:solidFill>
                        <a:srgbClr val="F4680D"/>
                      </a:solidFill>
                      <a:prstDash val="solid"/>
                    </a:lnR>
                    <a:lnT w="28575">
                      <a:solidFill>
                        <a:srgbClr val="F4680D"/>
                      </a:solidFill>
                      <a:prstDash val="solid"/>
                    </a:lnT>
                    <a:lnB w="38100">
                      <a:solidFill>
                        <a:srgbClr val="F4680D"/>
                      </a:solidFill>
                      <a:prstDash val="solid"/>
                    </a:lnB>
                  </a:tcPr>
                </a:tc>
                <a:extLst>
                  <a:ext uri="{0D108BD9-81ED-4DB2-BD59-A6C34878D82A}">
                    <a16:rowId xmlns:a16="http://schemas.microsoft.com/office/drawing/2014/main" val="10001"/>
                  </a:ext>
                </a:extLst>
              </a:tr>
              <a:tr h="205740">
                <a:tc>
                  <a:txBody>
                    <a:bodyPr/>
                    <a:lstStyle/>
                    <a:p>
                      <a:pPr marL="57150">
                        <a:lnSpc>
                          <a:spcPct val="100000"/>
                        </a:lnSpc>
                        <a:spcBef>
                          <a:spcPts val="110"/>
                        </a:spcBef>
                      </a:pPr>
                      <a:r>
                        <a:rPr sz="1100" b="1" dirty="0">
                          <a:latin typeface="Arial"/>
                          <a:cs typeface="Arial"/>
                        </a:rPr>
                        <a:t>Male</a:t>
                      </a:r>
                      <a:r>
                        <a:rPr sz="1100" b="1" spc="-40" dirty="0">
                          <a:latin typeface="Arial"/>
                          <a:cs typeface="Arial"/>
                        </a:rPr>
                        <a:t> </a:t>
                      </a:r>
                      <a:r>
                        <a:rPr sz="1100" b="1" dirty="0">
                          <a:latin typeface="Arial"/>
                          <a:cs typeface="Arial"/>
                        </a:rPr>
                        <a:t>sex,</a:t>
                      </a:r>
                      <a:r>
                        <a:rPr sz="1100" b="1" spc="-25" dirty="0">
                          <a:latin typeface="Arial"/>
                          <a:cs typeface="Arial"/>
                        </a:rPr>
                        <a:t> </a:t>
                      </a:r>
                      <a:r>
                        <a:rPr sz="1100" b="1" dirty="0">
                          <a:latin typeface="Arial"/>
                          <a:cs typeface="Arial"/>
                        </a:rPr>
                        <a:t>n</a:t>
                      </a:r>
                      <a:r>
                        <a:rPr sz="1100" b="1" spc="-20" dirty="0">
                          <a:latin typeface="Arial"/>
                          <a:cs typeface="Arial"/>
                        </a:rPr>
                        <a:t> </a:t>
                      </a:r>
                      <a:r>
                        <a:rPr sz="1100" b="1" spc="-25" dirty="0">
                          <a:latin typeface="Arial"/>
                          <a:cs typeface="Arial"/>
                        </a:rPr>
                        <a:t>(%)</a:t>
                      </a:r>
                      <a:endParaRPr sz="1100">
                        <a:latin typeface="Arial"/>
                        <a:cs typeface="Arial"/>
                      </a:endParaRPr>
                    </a:p>
                  </a:txBody>
                  <a:tcPr marL="0" marR="0" marT="13970" marB="0">
                    <a:lnL w="12700">
                      <a:solidFill>
                        <a:srgbClr val="009FD5"/>
                      </a:solidFill>
                      <a:prstDash val="solid"/>
                    </a:lnL>
                    <a:lnT w="38100">
                      <a:solidFill>
                        <a:srgbClr val="F4680D"/>
                      </a:solidFill>
                      <a:prstDash val="solid"/>
                    </a:lnT>
                    <a:lnB w="12700">
                      <a:solidFill>
                        <a:srgbClr val="009FD5"/>
                      </a:solidFill>
                      <a:prstDash val="solid"/>
                    </a:lnB>
                    <a:solidFill>
                      <a:srgbClr val="EBEBEB"/>
                    </a:solidFill>
                  </a:tcPr>
                </a:tc>
                <a:tc>
                  <a:txBody>
                    <a:bodyPr/>
                    <a:lstStyle/>
                    <a:p>
                      <a:pPr marR="31115" algn="ctr">
                        <a:lnSpc>
                          <a:spcPct val="100000"/>
                        </a:lnSpc>
                        <a:spcBef>
                          <a:spcPts val="110"/>
                        </a:spcBef>
                      </a:pPr>
                      <a:r>
                        <a:rPr sz="1100" dirty="0">
                          <a:latin typeface="Arial"/>
                          <a:cs typeface="Arial"/>
                        </a:rPr>
                        <a:t>11</a:t>
                      </a:r>
                      <a:r>
                        <a:rPr sz="1100" spc="-15" dirty="0">
                          <a:latin typeface="Arial"/>
                          <a:cs typeface="Arial"/>
                        </a:rPr>
                        <a:t> </a:t>
                      </a:r>
                      <a:r>
                        <a:rPr sz="1100" spc="-10" dirty="0">
                          <a:latin typeface="Arial"/>
                          <a:cs typeface="Arial"/>
                        </a:rPr>
                        <a:t>(55.0)</a:t>
                      </a:r>
                      <a:endParaRPr sz="1100">
                        <a:latin typeface="Arial"/>
                        <a:cs typeface="Arial"/>
                      </a:endParaRPr>
                    </a:p>
                  </a:txBody>
                  <a:tcPr marL="0" marR="0" marT="13970" marB="0">
                    <a:lnT w="38100">
                      <a:solidFill>
                        <a:srgbClr val="F4680D"/>
                      </a:solidFill>
                      <a:prstDash val="solid"/>
                    </a:lnT>
                    <a:lnB w="12700">
                      <a:solidFill>
                        <a:srgbClr val="009FD5"/>
                      </a:solidFill>
                      <a:prstDash val="solid"/>
                    </a:lnB>
                    <a:solidFill>
                      <a:srgbClr val="EBEBEB"/>
                    </a:solidFill>
                  </a:tcPr>
                </a:tc>
                <a:tc>
                  <a:txBody>
                    <a:bodyPr/>
                    <a:lstStyle/>
                    <a:p>
                      <a:pPr marR="8255" algn="ctr">
                        <a:lnSpc>
                          <a:spcPct val="100000"/>
                        </a:lnSpc>
                        <a:spcBef>
                          <a:spcPts val="110"/>
                        </a:spcBef>
                      </a:pPr>
                      <a:r>
                        <a:rPr sz="1100" dirty="0">
                          <a:latin typeface="Arial"/>
                          <a:cs typeface="Arial"/>
                        </a:rPr>
                        <a:t>12</a:t>
                      </a:r>
                      <a:r>
                        <a:rPr sz="1100" spc="-15" dirty="0">
                          <a:latin typeface="Arial"/>
                          <a:cs typeface="Arial"/>
                        </a:rPr>
                        <a:t> </a:t>
                      </a:r>
                      <a:r>
                        <a:rPr sz="1100" spc="-10" dirty="0">
                          <a:latin typeface="Arial"/>
                          <a:cs typeface="Arial"/>
                        </a:rPr>
                        <a:t>(57.1)</a:t>
                      </a:r>
                      <a:endParaRPr sz="1100">
                        <a:latin typeface="Arial"/>
                        <a:cs typeface="Arial"/>
                      </a:endParaRPr>
                    </a:p>
                  </a:txBody>
                  <a:tcPr marL="0" marR="0" marT="13970" marB="0">
                    <a:lnT w="38100">
                      <a:solidFill>
                        <a:srgbClr val="F4680D"/>
                      </a:solidFill>
                      <a:prstDash val="solid"/>
                    </a:lnT>
                    <a:lnB w="12700">
                      <a:solidFill>
                        <a:srgbClr val="009FD5"/>
                      </a:solidFill>
                      <a:prstDash val="solid"/>
                    </a:lnB>
                    <a:solidFill>
                      <a:srgbClr val="EBEBEB"/>
                    </a:solidFill>
                  </a:tcPr>
                </a:tc>
                <a:tc>
                  <a:txBody>
                    <a:bodyPr/>
                    <a:lstStyle/>
                    <a:p>
                      <a:pPr algn="ctr">
                        <a:lnSpc>
                          <a:spcPct val="100000"/>
                        </a:lnSpc>
                        <a:spcBef>
                          <a:spcPts val="110"/>
                        </a:spcBef>
                      </a:pPr>
                      <a:r>
                        <a:rPr sz="1100" dirty="0">
                          <a:latin typeface="Arial"/>
                          <a:cs typeface="Arial"/>
                        </a:rPr>
                        <a:t>23</a:t>
                      </a:r>
                      <a:r>
                        <a:rPr sz="1100" spc="-15" dirty="0">
                          <a:latin typeface="Arial"/>
                          <a:cs typeface="Arial"/>
                        </a:rPr>
                        <a:t> </a:t>
                      </a:r>
                      <a:r>
                        <a:rPr sz="1100" spc="-10" dirty="0">
                          <a:latin typeface="Arial"/>
                          <a:cs typeface="Arial"/>
                        </a:rPr>
                        <a:t>(56.1)</a:t>
                      </a:r>
                      <a:endParaRPr sz="1100">
                        <a:latin typeface="Arial"/>
                        <a:cs typeface="Arial"/>
                      </a:endParaRPr>
                    </a:p>
                  </a:txBody>
                  <a:tcPr marL="0" marR="0" marT="13970" marB="0">
                    <a:lnR w="12700">
                      <a:solidFill>
                        <a:srgbClr val="009FD5"/>
                      </a:solidFill>
                      <a:prstDash val="solid"/>
                    </a:lnR>
                    <a:lnT w="38100">
                      <a:solidFill>
                        <a:srgbClr val="F4680D"/>
                      </a:solidFill>
                      <a:prstDash val="solid"/>
                    </a:lnT>
                    <a:lnB w="12700">
                      <a:solidFill>
                        <a:srgbClr val="009FD5"/>
                      </a:solidFill>
                      <a:prstDash val="solid"/>
                    </a:lnB>
                    <a:solidFill>
                      <a:srgbClr val="EBEBEB"/>
                    </a:solidFill>
                  </a:tcPr>
                </a:tc>
                <a:extLst>
                  <a:ext uri="{0D108BD9-81ED-4DB2-BD59-A6C34878D82A}">
                    <a16:rowId xmlns:a16="http://schemas.microsoft.com/office/drawing/2014/main" val="10002"/>
                  </a:ext>
                </a:extLst>
              </a:tr>
              <a:tr h="788035">
                <a:tc>
                  <a:txBody>
                    <a:bodyPr/>
                    <a:lstStyle/>
                    <a:p>
                      <a:pPr marL="213995" marR="803275" indent="-157480">
                        <a:lnSpc>
                          <a:spcPts val="1240"/>
                        </a:lnSpc>
                        <a:spcBef>
                          <a:spcPts val="630"/>
                        </a:spcBef>
                      </a:pPr>
                      <a:r>
                        <a:rPr sz="1100" b="1" dirty="0">
                          <a:latin typeface="Arial"/>
                          <a:cs typeface="Arial"/>
                        </a:rPr>
                        <a:t>ECOG</a:t>
                      </a:r>
                      <a:r>
                        <a:rPr sz="1100" b="1" spc="-30" dirty="0">
                          <a:latin typeface="Arial"/>
                          <a:cs typeface="Arial"/>
                        </a:rPr>
                        <a:t> </a:t>
                      </a:r>
                      <a:r>
                        <a:rPr sz="1100" b="1" dirty="0">
                          <a:latin typeface="Arial"/>
                          <a:cs typeface="Arial"/>
                        </a:rPr>
                        <a:t>PS</a:t>
                      </a:r>
                      <a:r>
                        <a:rPr sz="1100" b="1" spc="-15" dirty="0">
                          <a:latin typeface="Arial"/>
                          <a:cs typeface="Arial"/>
                        </a:rPr>
                        <a:t> </a:t>
                      </a:r>
                      <a:r>
                        <a:rPr sz="1100" b="1" dirty="0">
                          <a:latin typeface="Arial"/>
                          <a:cs typeface="Arial"/>
                        </a:rPr>
                        <a:t>score,</a:t>
                      </a:r>
                      <a:r>
                        <a:rPr sz="1100" b="1" spc="-40" dirty="0">
                          <a:latin typeface="Arial"/>
                          <a:cs typeface="Arial"/>
                        </a:rPr>
                        <a:t> </a:t>
                      </a:r>
                      <a:r>
                        <a:rPr sz="1100" b="1" dirty="0">
                          <a:latin typeface="Arial"/>
                          <a:cs typeface="Arial"/>
                        </a:rPr>
                        <a:t>n</a:t>
                      </a:r>
                      <a:r>
                        <a:rPr sz="1100" b="1" spc="-10" dirty="0">
                          <a:latin typeface="Arial"/>
                          <a:cs typeface="Arial"/>
                        </a:rPr>
                        <a:t> </a:t>
                      </a:r>
                      <a:r>
                        <a:rPr sz="1100" b="1" spc="-25" dirty="0">
                          <a:latin typeface="Arial"/>
                          <a:cs typeface="Arial"/>
                        </a:rPr>
                        <a:t>(%) </a:t>
                      </a:r>
                      <a:r>
                        <a:rPr sz="1100" b="1" spc="-50" dirty="0">
                          <a:latin typeface="Arial"/>
                          <a:cs typeface="Arial"/>
                        </a:rPr>
                        <a:t>0</a:t>
                      </a:r>
                      <a:endParaRPr sz="1100">
                        <a:latin typeface="Arial"/>
                        <a:cs typeface="Arial"/>
                      </a:endParaRPr>
                    </a:p>
                    <a:p>
                      <a:pPr marL="213995">
                        <a:lnSpc>
                          <a:spcPts val="1145"/>
                        </a:lnSpc>
                      </a:pPr>
                      <a:r>
                        <a:rPr sz="1100" b="1" spc="-50" dirty="0">
                          <a:latin typeface="Arial"/>
                          <a:cs typeface="Arial"/>
                        </a:rPr>
                        <a:t>1</a:t>
                      </a:r>
                      <a:endParaRPr sz="1100">
                        <a:latin typeface="Arial"/>
                        <a:cs typeface="Arial"/>
                      </a:endParaRPr>
                    </a:p>
                    <a:p>
                      <a:pPr marL="213995">
                        <a:lnSpc>
                          <a:spcPts val="1270"/>
                        </a:lnSpc>
                      </a:pPr>
                      <a:r>
                        <a:rPr sz="1100" b="1" spc="-50" dirty="0">
                          <a:latin typeface="Arial"/>
                          <a:cs typeface="Arial"/>
                        </a:rPr>
                        <a:t>2</a:t>
                      </a:r>
                      <a:endParaRPr sz="1100">
                        <a:latin typeface="Arial"/>
                        <a:cs typeface="Arial"/>
                      </a:endParaRPr>
                    </a:p>
                  </a:txBody>
                  <a:tcPr marL="0" marR="0" marT="80010" marB="0">
                    <a:lnL w="12700">
                      <a:solidFill>
                        <a:srgbClr val="009FD5"/>
                      </a:solidFill>
                      <a:prstDash val="solid"/>
                    </a:lnL>
                    <a:lnT w="12700">
                      <a:solidFill>
                        <a:srgbClr val="009FD5"/>
                      </a:solidFill>
                      <a:prstDash val="solid"/>
                    </a:lnT>
                    <a:lnB w="28575">
                      <a:solidFill>
                        <a:srgbClr val="F4680D"/>
                      </a:solidFill>
                      <a:prstDash val="solid"/>
                    </a:lnB>
                    <a:solidFill>
                      <a:srgbClr val="FFFFFF"/>
                    </a:solidFill>
                  </a:tcPr>
                </a:tc>
                <a:tc>
                  <a:txBody>
                    <a:bodyPr/>
                    <a:lstStyle/>
                    <a:p>
                      <a:pPr>
                        <a:lnSpc>
                          <a:spcPct val="100000"/>
                        </a:lnSpc>
                        <a:spcBef>
                          <a:spcPts val="490"/>
                        </a:spcBef>
                      </a:pPr>
                      <a:endParaRPr sz="1100">
                        <a:latin typeface="Times New Roman"/>
                        <a:cs typeface="Times New Roman"/>
                      </a:endParaRPr>
                    </a:p>
                    <a:p>
                      <a:pPr marL="294640">
                        <a:lnSpc>
                          <a:spcPts val="1270"/>
                        </a:lnSpc>
                        <a:spcBef>
                          <a:spcPts val="5"/>
                        </a:spcBef>
                      </a:pPr>
                      <a:r>
                        <a:rPr sz="1100" dirty="0">
                          <a:latin typeface="Arial"/>
                          <a:cs typeface="Arial"/>
                        </a:rPr>
                        <a:t>9</a:t>
                      </a:r>
                      <a:r>
                        <a:rPr sz="1100" spc="-10" dirty="0">
                          <a:latin typeface="Arial"/>
                          <a:cs typeface="Arial"/>
                        </a:rPr>
                        <a:t> (45.0)</a:t>
                      </a:r>
                      <a:endParaRPr sz="1100">
                        <a:latin typeface="Arial"/>
                        <a:cs typeface="Arial"/>
                      </a:endParaRPr>
                    </a:p>
                    <a:p>
                      <a:pPr marL="256540">
                        <a:lnSpc>
                          <a:spcPts val="1225"/>
                        </a:lnSpc>
                      </a:pPr>
                      <a:r>
                        <a:rPr sz="1100" dirty="0">
                          <a:latin typeface="Arial"/>
                          <a:cs typeface="Arial"/>
                        </a:rPr>
                        <a:t>10</a:t>
                      </a:r>
                      <a:r>
                        <a:rPr sz="1100" spc="-15" dirty="0">
                          <a:latin typeface="Arial"/>
                          <a:cs typeface="Arial"/>
                        </a:rPr>
                        <a:t> </a:t>
                      </a:r>
                      <a:r>
                        <a:rPr sz="1100" spc="-10" dirty="0">
                          <a:latin typeface="Arial"/>
                          <a:cs typeface="Arial"/>
                        </a:rPr>
                        <a:t>(50.0)</a:t>
                      </a:r>
                      <a:endParaRPr sz="1100">
                        <a:latin typeface="Arial"/>
                        <a:cs typeface="Arial"/>
                      </a:endParaRPr>
                    </a:p>
                    <a:p>
                      <a:pPr marL="334010">
                        <a:lnSpc>
                          <a:spcPts val="1270"/>
                        </a:lnSpc>
                      </a:pPr>
                      <a:r>
                        <a:rPr sz="1100" dirty="0">
                          <a:latin typeface="Arial"/>
                          <a:cs typeface="Arial"/>
                        </a:rPr>
                        <a:t>1</a:t>
                      </a:r>
                      <a:r>
                        <a:rPr sz="1100" spc="-10" dirty="0">
                          <a:latin typeface="Arial"/>
                          <a:cs typeface="Arial"/>
                        </a:rPr>
                        <a:t> (5.0)</a:t>
                      </a:r>
                      <a:endParaRPr sz="1100">
                        <a:latin typeface="Arial"/>
                        <a:cs typeface="Arial"/>
                      </a:endParaRPr>
                    </a:p>
                  </a:txBody>
                  <a:tcPr marL="0" marR="0" marT="62230" marB="0">
                    <a:lnT w="12700">
                      <a:solidFill>
                        <a:srgbClr val="009FD5"/>
                      </a:solidFill>
                      <a:prstDash val="solid"/>
                    </a:lnT>
                    <a:lnB w="28575">
                      <a:solidFill>
                        <a:srgbClr val="F4680D"/>
                      </a:solidFill>
                      <a:prstDash val="solid"/>
                    </a:lnB>
                    <a:solidFill>
                      <a:srgbClr val="FFFFFF"/>
                    </a:solidFill>
                  </a:tcPr>
                </a:tc>
                <a:tc>
                  <a:txBody>
                    <a:bodyPr/>
                    <a:lstStyle/>
                    <a:p>
                      <a:pPr>
                        <a:lnSpc>
                          <a:spcPct val="100000"/>
                        </a:lnSpc>
                        <a:spcBef>
                          <a:spcPts val="490"/>
                        </a:spcBef>
                      </a:pPr>
                      <a:endParaRPr sz="1100">
                        <a:latin typeface="Times New Roman"/>
                        <a:cs typeface="Times New Roman"/>
                      </a:endParaRPr>
                    </a:p>
                    <a:p>
                      <a:pPr marR="8255" algn="ctr">
                        <a:lnSpc>
                          <a:spcPts val="1270"/>
                        </a:lnSpc>
                        <a:spcBef>
                          <a:spcPts val="5"/>
                        </a:spcBef>
                      </a:pPr>
                      <a:r>
                        <a:rPr sz="1100" dirty="0">
                          <a:latin typeface="Arial"/>
                          <a:cs typeface="Arial"/>
                        </a:rPr>
                        <a:t>14</a:t>
                      </a:r>
                      <a:r>
                        <a:rPr sz="1100" spc="-15" dirty="0">
                          <a:latin typeface="Arial"/>
                          <a:cs typeface="Arial"/>
                        </a:rPr>
                        <a:t> </a:t>
                      </a:r>
                      <a:r>
                        <a:rPr sz="1100" spc="-10" dirty="0">
                          <a:latin typeface="Arial"/>
                          <a:cs typeface="Arial"/>
                        </a:rPr>
                        <a:t>(66.7)</a:t>
                      </a:r>
                      <a:endParaRPr sz="1100">
                        <a:latin typeface="Arial"/>
                        <a:cs typeface="Arial"/>
                      </a:endParaRPr>
                    </a:p>
                    <a:p>
                      <a:pPr marR="6350" algn="ctr">
                        <a:lnSpc>
                          <a:spcPts val="1225"/>
                        </a:lnSpc>
                      </a:pPr>
                      <a:r>
                        <a:rPr sz="1100" dirty="0">
                          <a:latin typeface="Arial"/>
                          <a:cs typeface="Arial"/>
                        </a:rPr>
                        <a:t>7</a:t>
                      </a:r>
                      <a:r>
                        <a:rPr sz="1100" spc="-10" dirty="0">
                          <a:latin typeface="Arial"/>
                          <a:cs typeface="Arial"/>
                        </a:rPr>
                        <a:t> (33.3)</a:t>
                      </a:r>
                      <a:endParaRPr sz="1100">
                        <a:latin typeface="Arial"/>
                        <a:cs typeface="Arial"/>
                      </a:endParaRPr>
                    </a:p>
                    <a:p>
                      <a:pPr marR="5715" algn="ctr">
                        <a:lnSpc>
                          <a:spcPts val="1270"/>
                        </a:lnSpc>
                      </a:pPr>
                      <a:r>
                        <a:rPr sz="1100" spc="-50" dirty="0">
                          <a:latin typeface="Arial"/>
                          <a:cs typeface="Arial"/>
                        </a:rPr>
                        <a:t>0</a:t>
                      </a:r>
                      <a:endParaRPr sz="1100">
                        <a:latin typeface="Arial"/>
                        <a:cs typeface="Arial"/>
                      </a:endParaRPr>
                    </a:p>
                  </a:txBody>
                  <a:tcPr marL="0" marR="0" marT="62230" marB="0">
                    <a:lnT w="12700">
                      <a:solidFill>
                        <a:srgbClr val="009FD5"/>
                      </a:solidFill>
                      <a:prstDash val="solid"/>
                    </a:lnT>
                    <a:lnB w="28575">
                      <a:solidFill>
                        <a:srgbClr val="F4680D"/>
                      </a:solidFill>
                      <a:prstDash val="solid"/>
                    </a:lnB>
                    <a:solidFill>
                      <a:srgbClr val="FFFFFF"/>
                    </a:solidFill>
                  </a:tcPr>
                </a:tc>
                <a:tc>
                  <a:txBody>
                    <a:bodyPr/>
                    <a:lstStyle/>
                    <a:p>
                      <a:pPr>
                        <a:lnSpc>
                          <a:spcPct val="100000"/>
                        </a:lnSpc>
                        <a:spcBef>
                          <a:spcPts val="490"/>
                        </a:spcBef>
                      </a:pPr>
                      <a:endParaRPr sz="1100">
                        <a:latin typeface="Times New Roman"/>
                        <a:cs typeface="Times New Roman"/>
                      </a:endParaRPr>
                    </a:p>
                    <a:p>
                      <a:pPr marL="149225">
                        <a:lnSpc>
                          <a:spcPts val="1270"/>
                        </a:lnSpc>
                        <a:spcBef>
                          <a:spcPts val="5"/>
                        </a:spcBef>
                      </a:pPr>
                      <a:r>
                        <a:rPr sz="1100" dirty="0">
                          <a:latin typeface="Arial"/>
                          <a:cs typeface="Arial"/>
                        </a:rPr>
                        <a:t>23</a:t>
                      </a:r>
                      <a:r>
                        <a:rPr sz="1100" spc="-15" dirty="0">
                          <a:latin typeface="Arial"/>
                          <a:cs typeface="Arial"/>
                        </a:rPr>
                        <a:t> </a:t>
                      </a:r>
                      <a:r>
                        <a:rPr sz="1100" spc="-10" dirty="0">
                          <a:latin typeface="Arial"/>
                          <a:cs typeface="Arial"/>
                        </a:rPr>
                        <a:t>(56.1)</a:t>
                      </a:r>
                      <a:endParaRPr sz="1100">
                        <a:latin typeface="Arial"/>
                        <a:cs typeface="Arial"/>
                      </a:endParaRPr>
                    </a:p>
                    <a:p>
                      <a:pPr marL="149225">
                        <a:lnSpc>
                          <a:spcPts val="1225"/>
                        </a:lnSpc>
                      </a:pPr>
                      <a:r>
                        <a:rPr sz="1100" dirty="0">
                          <a:latin typeface="Arial"/>
                          <a:cs typeface="Arial"/>
                        </a:rPr>
                        <a:t>17</a:t>
                      </a:r>
                      <a:r>
                        <a:rPr sz="1100" spc="-15" dirty="0">
                          <a:latin typeface="Arial"/>
                          <a:cs typeface="Arial"/>
                        </a:rPr>
                        <a:t> </a:t>
                      </a:r>
                      <a:r>
                        <a:rPr sz="1100" spc="-10" dirty="0">
                          <a:latin typeface="Arial"/>
                          <a:cs typeface="Arial"/>
                        </a:rPr>
                        <a:t>(41.5)</a:t>
                      </a:r>
                      <a:endParaRPr sz="1100">
                        <a:latin typeface="Arial"/>
                        <a:cs typeface="Arial"/>
                      </a:endParaRPr>
                    </a:p>
                    <a:p>
                      <a:pPr marL="226695">
                        <a:lnSpc>
                          <a:spcPts val="1270"/>
                        </a:lnSpc>
                      </a:pPr>
                      <a:r>
                        <a:rPr sz="1100" dirty="0">
                          <a:latin typeface="Arial"/>
                          <a:cs typeface="Arial"/>
                        </a:rPr>
                        <a:t>1</a:t>
                      </a:r>
                      <a:r>
                        <a:rPr sz="1100" spc="-10" dirty="0">
                          <a:latin typeface="Arial"/>
                          <a:cs typeface="Arial"/>
                        </a:rPr>
                        <a:t> (2.4)</a:t>
                      </a:r>
                      <a:endParaRPr sz="1100">
                        <a:latin typeface="Arial"/>
                        <a:cs typeface="Arial"/>
                      </a:endParaRPr>
                    </a:p>
                  </a:txBody>
                  <a:tcPr marL="0" marR="0" marT="62230" marB="0">
                    <a:lnR w="12700">
                      <a:solidFill>
                        <a:srgbClr val="009FD5"/>
                      </a:solidFill>
                      <a:prstDash val="solid"/>
                    </a:lnR>
                    <a:lnT w="12700">
                      <a:solidFill>
                        <a:srgbClr val="009FD5"/>
                      </a:solidFill>
                      <a:prstDash val="solid"/>
                    </a:lnT>
                    <a:lnB w="28575">
                      <a:solidFill>
                        <a:srgbClr val="F4680D"/>
                      </a:solidFill>
                      <a:prstDash val="solid"/>
                    </a:lnB>
                    <a:solidFill>
                      <a:srgbClr val="FFFFFF"/>
                    </a:solidFill>
                  </a:tcPr>
                </a:tc>
                <a:extLst>
                  <a:ext uri="{0D108BD9-81ED-4DB2-BD59-A6C34878D82A}">
                    <a16:rowId xmlns:a16="http://schemas.microsoft.com/office/drawing/2014/main" val="10003"/>
                  </a:ext>
                </a:extLst>
              </a:tr>
              <a:tr h="612140">
                <a:tc>
                  <a:txBody>
                    <a:bodyPr/>
                    <a:lstStyle/>
                    <a:p>
                      <a:pPr marL="212725" marR="206375" indent="-155575">
                        <a:lnSpc>
                          <a:spcPts val="1240"/>
                        </a:lnSpc>
                        <a:spcBef>
                          <a:spcPts val="575"/>
                        </a:spcBef>
                      </a:pPr>
                      <a:r>
                        <a:rPr sz="1100" b="1" dirty="0">
                          <a:latin typeface="Arial"/>
                          <a:cs typeface="Arial"/>
                        </a:rPr>
                        <a:t>Ann</a:t>
                      </a:r>
                      <a:r>
                        <a:rPr sz="1100" b="1" spc="-10" dirty="0">
                          <a:latin typeface="Arial"/>
                          <a:cs typeface="Arial"/>
                        </a:rPr>
                        <a:t> </a:t>
                      </a:r>
                      <a:r>
                        <a:rPr sz="1100" b="1" dirty="0">
                          <a:latin typeface="Arial"/>
                          <a:cs typeface="Arial"/>
                        </a:rPr>
                        <a:t>Arbor</a:t>
                      </a:r>
                      <a:r>
                        <a:rPr sz="1100" b="1" spc="-15" dirty="0">
                          <a:latin typeface="Arial"/>
                          <a:cs typeface="Arial"/>
                        </a:rPr>
                        <a:t> </a:t>
                      </a:r>
                      <a:r>
                        <a:rPr sz="1100" b="1" dirty="0">
                          <a:latin typeface="Arial"/>
                          <a:cs typeface="Arial"/>
                        </a:rPr>
                        <a:t>disease</a:t>
                      </a:r>
                      <a:r>
                        <a:rPr sz="1100" b="1" spc="-45" dirty="0">
                          <a:latin typeface="Arial"/>
                          <a:cs typeface="Arial"/>
                        </a:rPr>
                        <a:t> </a:t>
                      </a:r>
                      <a:r>
                        <a:rPr sz="1100" b="1" dirty="0">
                          <a:latin typeface="Arial"/>
                          <a:cs typeface="Arial"/>
                        </a:rPr>
                        <a:t>stage,</a:t>
                      </a:r>
                      <a:r>
                        <a:rPr sz="1100" b="1" spc="-60" dirty="0">
                          <a:latin typeface="Arial"/>
                          <a:cs typeface="Arial"/>
                        </a:rPr>
                        <a:t> </a:t>
                      </a:r>
                      <a:r>
                        <a:rPr sz="1100" b="1" dirty="0">
                          <a:latin typeface="Arial"/>
                          <a:cs typeface="Arial"/>
                        </a:rPr>
                        <a:t>n</a:t>
                      </a:r>
                      <a:r>
                        <a:rPr sz="1100" b="1" spc="-50" dirty="0">
                          <a:latin typeface="Arial"/>
                          <a:cs typeface="Arial"/>
                        </a:rPr>
                        <a:t> </a:t>
                      </a:r>
                      <a:r>
                        <a:rPr sz="1100" b="1" spc="-25" dirty="0">
                          <a:latin typeface="Arial"/>
                          <a:cs typeface="Arial"/>
                        </a:rPr>
                        <a:t>(%) </a:t>
                      </a:r>
                      <a:r>
                        <a:rPr sz="1100" b="1" dirty="0">
                          <a:latin typeface="Arial"/>
                          <a:cs typeface="Arial"/>
                        </a:rPr>
                        <a:t>Stage</a:t>
                      </a:r>
                      <a:r>
                        <a:rPr sz="1100" b="1" spc="-25" dirty="0">
                          <a:latin typeface="Arial"/>
                          <a:cs typeface="Arial"/>
                        </a:rPr>
                        <a:t> </a:t>
                      </a:r>
                      <a:r>
                        <a:rPr sz="1100" b="1" spc="-20" dirty="0">
                          <a:latin typeface="Arial"/>
                          <a:cs typeface="Arial"/>
                        </a:rPr>
                        <a:t>I/II</a:t>
                      </a:r>
                      <a:endParaRPr sz="1100">
                        <a:latin typeface="Arial"/>
                        <a:cs typeface="Arial"/>
                      </a:endParaRPr>
                    </a:p>
                    <a:p>
                      <a:pPr marL="212725">
                        <a:lnSpc>
                          <a:spcPts val="1190"/>
                        </a:lnSpc>
                      </a:pPr>
                      <a:r>
                        <a:rPr sz="1100" b="1" dirty="0">
                          <a:latin typeface="Arial"/>
                          <a:cs typeface="Arial"/>
                        </a:rPr>
                        <a:t>Stage</a:t>
                      </a:r>
                      <a:r>
                        <a:rPr sz="1100" b="1" spc="-25" dirty="0">
                          <a:latin typeface="Arial"/>
                          <a:cs typeface="Arial"/>
                        </a:rPr>
                        <a:t> </a:t>
                      </a:r>
                      <a:r>
                        <a:rPr sz="1100" b="1" spc="-10" dirty="0">
                          <a:latin typeface="Arial"/>
                          <a:cs typeface="Arial"/>
                        </a:rPr>
                        <a:t>III/IV</a:t>
                      </a:r>
                      <a:endParaRPr sz="1100">
                        <a:latin typeface="Arial"/>
                        <a:cs typeface="Arial"/>
                      </a:endParaRPr>
                    </a:p>
                  </a:txBody>
                  <a:tcPr marL="0" marR="0" marT="73025" marB="0">
                    <a:lnL w="12700">
                      <a:solidFill>
                        <a:srgbClr val="F4680D"/>
                      </a:solidFill>
                      <a:prstDash val="solid"/>
                    </a:lnL>
                    <a:lnT w="28575">
                      <a:solidFill>
                        <a:srgbClr val="F4680D"/>
                      </a:solidFill>
                      <a:prstDash val="solid"/>
                    </a:lnT>
                    <a:lnB w="28575">
                      <a:solidFill>
                        <a:srgbClr val="F4680D"/>
                      </a:solidFill>
                      <a:prstDash val="solid"/>
                    </a:lnB>
                    <a:solidFill>
                      <a:srgbClr val="EBEBEB"/>
                    </a:solidFill>
                  </a:tcPr>
                </a:tc>
                <a:tc>
                  <a:txBody>
                    <a:bodyPr/>
                    <a:lstStyle/>
                    <a:p>
                      <a:pPr>
                        <a:lnSpc>
                          <a:spcPct val="100000"/>
                        </a:lnSpc>
                        <a:spcBef>
                          <a:spcPts val="440"/>
                        </a:spcBef>
                      </a:pPr>
                      <a:endParaRPr sz="1100">
                        <a:latin typeface="Times New Roman"/>
                        <a:cs typeface="Times New Roman"/>
                      </a:endParaRPr>
                    </a:p>
                    <a:p>
                      <a:pPr marL="294640">
                        <a:lnSpc>
                          <a:spcPts val="1270"/>
                        </a:lnSpc>
                      </a:pPr>
                      <a:r>
                        <a:rPr sz="1100" dirty="0">
                          <a:latin typeface="Arial"/>
                          <a:cs typeface="Arial"/>
                        </a:rPr>
                        <a:t>3</a:t>
                      </a:r>
                      <a:r>
                        <a:rPr sz="1100" spc="-10" dirty="0">
                          <a:latin typeface="Arial"/>
                          <a:cs typeface="Arial"/>
                        </a:rPr>
                        <a:t> (15.0)</a:t>
                      </a:r>
                      <a:endParaRPr sz="1100">
                        <a:latin typeface="Arial"/>
                        <a:cs typeface="Arial"/>
                      </a:endParaRPr>
                    </a:p>
                    <a:p>
                      <a:pPr marL="256540">
                        <a:lnSpc>
                          <a:spcPts val="1270"/>
                        </a:lnSpc>
                      </a:pPr>
                      <a:r>
                        <a:rPr sz="1100" dirty="0">
                          <a:latin typeface="Arial"/>
                          <a:cs typeface="Arial"/>
                        </a:rPr>
                        <a:t>17</a:t>
                      </a:r>
                      <a:r>
                        <a:rPr sz="1100" spc="-15" dirty="0">
                          <a:latin typeface="Arial"/>
                          <a:cs typeface="Arial"/>
                        </a:rPr>
                        <a:t> </a:t>
                      </a:r>
                      <a:r>
                        <a:rPr sz="1100" spc="-10" dirty="0">
                          <a:latin typeface="Arial"/>
                          <a:cs typeface="Arial"/>
                        </a:rPr>
                        <a:t>(85.0)</a:t>
                      </a:r>
                      <a:endParaRPr sz="1100">
                        <a:latin typeface="Arial"/>
                        <a:cs typeface="Arial"/>
                      </a:endParaRPr>
                    </a:p>
                  </a:txBody>
                  <a:tcPr marL="0" marR="0" marT="55880" marB="0">
                    <a:lnT w="28575">
                      <a:solidFill>
                        <a:srgbClr val="F4680D"/>
                      </a:solidFill>
                      <a:prstDash val="solid"/>
                    </a:lnT>
                    <a:lnB w="28575">
                      <a:solidFill>
                        <a:srgbClr val="F4680D"/>
                      </a:solidFill>
                      <a:prstDash val="solid"/>
                    </a:lnB>
                    <a:solidFill>
                      <a:srgbClr val="EBEBEB"/>
                    </a:solidFill>
                  </a:tcPr>
                </a:tc>
                <a:tc>
                  <a:txBody>
                    <a:bodyPr/>
                    <a:lstStyle/>
                    <a:p>
                      <a:pPr>
                        <a:lnSpc>
                          <a:spcPct val="100000"/>
                        </a:lnSpc>
                        <a:spcBef>
                          <a:spcPts val="440"/>
                        </a:spcBef>
                      </a:pPr>
                      <a:endParaRPr sz="1100">
                        <a:latin typeface="Times New Roman"/>
                        <a:cs typeface="Times New Roman"/>
                      </a:endParaRPr>
                    </a:p>
                    <a:p>
                      <a:pPr marL="335280">
                        <a:lnSpc>
                          <a:spcPts val="1270"/>
                        </a:lnSpc>
                      </a:pPr>
                      <a:r>
                        <a:rPr sz="1100" dirty="0">
                          <a:latin typeface="Arial"/>
                          <a:cs typeface="Arial"/>
                        </a:rPr>
                        <a:t>3</a:t>
                      </a:r>
                      <a:r>
                        <a:rPr sz="1100" spc="-10" dirty="0">
                          <a:latin typeface="Arial"/>
                          <a:cs typeface="Arial"/>
                        </a:rPr>
                        <a:t> (14.3)</a:t>
                      </a:r>
                      <a:endParaRPr sz="1100">
                        <a:latin typeface="Arial"/>
                        <a:cs typeface="Arial"/>
                      </a:endParaRPr>
                    </a:p>
                    <a:p>
                      <a:pPr marL="295910">
                        <a:lnSpc>
                          <a:spcPts val="1270"/>
                        </a:lnSpc>
                      </a:pPr>
                      <a:r>
                        <a:rPr sz="1100" dirty="0">
                          <a:latin typeface="Arial"/>
                          <a:cs typeface="Arial"/>
                        </a:rPr>
                        <a:t>18</a:t>
                      </a:r>
                      <a:r>
                        <a:rPr sz="1100" spc="-15" dirty="0">
                          <a:latin typeface="Arial"/>
                          <a:cs typeface="Arial"/>
                        </a:rPr>
                        <a:t> </a:t>
                      </a:r>
                      <a:r>
                        <a:rPr sz="1100" spc="-10" dirty="0">
                          <a:latin typeface="Arial"/>
                          <a:cs typeface="Arial"/>
                        </a:rPr>
                        <a:t>(85.7)</a:t>
                      </a:r>
                      <a:endParaRPr sz="1100">
                        <a:latin typeface="Arial"/>
                        <a:cs typeface="Arial"/>
                      </a:endParaRPr>
                    </a:p>
                  </a:txBody>
                  <a:tcPr marL="0" marR="0" marT="55880" marB="0">
                    <a:lnT w="28575">
                      <a:solidFill>
                        <a:srgbClr val="F4680D"/>
                      </a:solidFill>
                      <a:prstDash val="solid"/>
                    </a:lnT>
                    <a:lnB w="28575">
                      <a:solidFill>
                        <a:srgbClr val="F4680D"/>
                      </a:solidFill>
                      <a:prstDash val="solid"/>
                    </a:lnB>
                    <a:solidFill>
                      <a:srgbClr val="EBEBEB"/>
                    </a:solidFill>
                  </a:tcPr>
                </a:tc>
                <a:tc>
                  <a:txBody>
                    <a:bodyPr/>
                    <a:lstStyle/>
                    <a:p>
                      <a:pPr>
                        <a:lnSpc>
                          <a:spcPct val="100000"/>
                        </a:lnSpc>
                        <a:spcBef>
                          <a:spcPts val="440"/>
                        </a:spcBef>
                      </a:pPr>
                      <a:endParaRPr sz="1100">
                        <a:latin typeface="Times New Roman"/>
                        <a:cs typeface="Times New Roman"/>
                      </a:endParaRPr>
                    </a:p>
                    <a:p>
                      <a:pPr marL="188595">
                        <a:lnSpc>
                          <a:spcPts val="1270"/>
                        </a:lnSpc>
                      </a:pPr>
                      <a:r>
                        <a:rPr sz="1100" dirty="0">
                          <a:latin typeface="Arial"/>
                          <a:cs typeface="Arial"/>
                        </a:rPr>
                        <a:t>6</a:t>
                      </a:r>
                      <a:r>
                        <a:rPr sz="1100" spc="-10" dirty="0">
                          <a:latin typeface="Arial"/>
                          <a:cs typeface="Arial"/>
                        </a:rPr>
                        <a:t> (14.6)</a:t>
                      </a:r>
                      <a:endParaRPr sz="1100">
                        <a:latin typeface="Arial"/>
                        <a:cs typeface="Arial"/>
                      </a:endParaRPr>
                    </a:p>
                    <a:p>
                      <a:pPr marL="149225">
                        <a:lnSpc>
                          <a:spcPts val="1270"/>
                        </a:lnSpc>
                      </a:pPr>
                      <a:r>
                        <a:rPr sz="1100" dirty="0">
                          <a:latin typeface="Arial"/>
                          <a:cs typeface="Arial"/>
                        </a:rPr>
                        <a:t>35</a:t>
                      </a:r>
                      <a:r>
                        <a:rPr sz="1100" spc="-15" dirty="0">
                          <a:latin typeface="Arial"/>
                          <a:cs typeface="Arial"/>
                        </a:rPr>
                        <a:t> </a:t>
                      </a:r>
                      <a:r>
                        <a:rPr sz="1100" spc="-10" dirty="0">
                          <a:latin typeface="Arial"/>
                          <a:cs typeface="Arial"/>
                        </a:rPr>
                        <a:t>(85.4)</a:t>
                      </a:r>
                      <a:endParaRPr sz="1100">
                        <a:latin typeface="Arial"/>
                        <a:cs typeface="Arial"/>
                      </a:endParaRPr>
                    </a:p>
                  </a:txBody>
                  <a:tcPr marL="0" marR="0" marT="55880" marB="0">
                    <a:lnR w="28575">
                      <a:solidFill>
                        <a:srgbClr val="F4680D"/>
                      </a:solidFill>
                      <a:prstDash val="solid"/>
                    </a:lnR>
                    <a:lnT w="28575">
                      <a:solidFill>
                        <a:srgbClr val="F4680D"/>
                      </a:solidFill>
                      <a:prstDash val="solid"/>
                    </a:lnT>
                    <a:lnB w="28575">
                      <a:solidFill>
                        <a:srgbClr val="F4680D"/>
                      </a:solidFill>
                      <a:prstDash val="solid"/>
                    </a:lnB>
                    <a:solidFill>
                      <a:srgbClr val="EBEBEB"/>
                    </a:solidFill>
                  </a:tcPr>
                </a:tc>
                <a:extLst>
                  <a:ext uri="{0D108BD9-81ED-4DB2-BD59-A6C34878D82A}">
                    <a16:rowId xmlns:a16="http://schemas.microsoft.com/office/drawing/2014/main" val="10004"/>
                  </a:ext>
                </a:extLst>
              </a:tr>
              <a:tr h="596265">
                <a:tc>
                  <a:txBody>
                    <a:bodyPr/>
                    <a:lstStyle/>
                    <a:p>
                      <a:pPr marL="173355" marR="1270635" indent="-116205">
                        <a:lnSpc>
                          <a:spcPts val="1240"/>
                        </a:lnSpc>
                        <a:spcBef>
                          <a:spcPts val="515"/>
                        </a:spcBef>
                      </a:pPr>
                      <a:r>
                        <a:rPr sz="1100" b="1" dirty="0">
                          <a:latin typeface="Arial"/>
                          <a:cs typeface="Arial"/>
                        </a:rPr>
                        <a:t>IPI</a:t>
                      </a:r>
                      <a:r>
                        <a:rPr sz="1100" b="1" spc="-35" dirty="0">
                          <a:latin typeface="Arial"/>
                          <a:cs typeface="Arial"/>
                        </a:rPr>
                        <a:t> </a:t>
                      </a:r>
                      <a:r>
                        <a:rPr sz="1100" b="1" dirty="0">
                          <a:latin typeface="Arial"/>
                          <a:cs typeface="Arial"/>
                        </a:rPr>
                        <a:t>score,</a:t>
                      </a:r>
                      <a:r>
                        <a:rPr sz="1100" b="1" spc="-20" dirty="0">
                          <a:latin typeface="Arial"/>
                          <a:cs typeface="Arial"/>
                        </a:rPr>
                        <a:t> </a:t>
                      </a:r>
                      <a:r>
                        <a:rPr sz="1100" b="1" dirty="0">
                          <a:latin typeface="Arial"/>
                          <a:cs typeface="Arial"/>
                        </a:rPr>
                        <a:t>n</a:t>
                      </a:r>
                      <a:r>
                        <a:rPr sz="1100" b="1" spc="-15" dirty="0">
                          <a:latin typeface="Arial"/>
                          <a:cs typeface="Arial"/>
                        </a:rPr>
                        <a:t> </a:t>
                      </a:r>
                      <a:r>
                        <a:rPr sz="1100" b="1" spc="-25" dirty="0">
                          <a:latin typeface="Arial"/>
                          <a:cs typeface="Arial"/>
                        </a:rPr>
                        <a:t>(%) </a:t>
                      </a:r>
                      <a:r>
                        <a:rPr sz="1100" b="1" spc="-10" dirty="0">
                          <a:latin typeface="Arial"/>
                          <a:cs typeface="Arial"/>
                        </a:rPr>
                        <a:t>0-</a:t>
                      </a:r>
                      <a:r>
                        <a:rPr sz="1100" b="1" spc="-50" dirty="0">
                          <a:latin typeface="Arial"/>
                          <a:cs typeface="Arial"/>
                        </a:rPr>
                        <a:t>2</a:t>
                      </a:r>
                      <a:endParaRPr sz="1100">
                        <a:latin typeface="Arial"/>
                        <a:cs typeface="Arial"/>
                      </a:endParaRPr>
                    </a:p>
                    <a:p>
                      <a:pPr marL="173355">
                        <a:lnSpc>
                          <a:spcPts val="1190"/>
                        </a:lnSpc>
                      </a:pPr>
                      <a:r>
                        <a:rPr sz="1100" b="1" spc="-10" dirty="0">
                          <a:latin typeface="Arial"/>
                          <a:cs typeface="Arial"/>
                        </a:rPr>
                        <a:t>3-</a:t>
                      </a:r>
                      <a:r>
                        <a:rPr sz="1100" b="1" spc="-50" dirty="0">
                          <a:latin typeface="Arial"/>
                          <a:cs typeface="Arial"/>
                        </a:rPr>
                        <a:t>5</a:t>
                      </a:r>
                      <a:endParaRPr sz="1100">
                        <a:latin typeface="Arial"/>
                        <a:cs typeface="Arial"/>
                      </a:endParaRPr>
                    </a:p>
                  </a:txBody>
                  <a:tcPr marL="0" marR="0" marT="65405" marB="0">
                    <a:lnL w="12700">
                      <a:solidFill>
                        <a:srgbClr val="009FD5"/>
                      </a:solidFill>
                      <a:prstDash val="solid"/>
                    </a:lnL>
                    <a:lnT w="28575">
                      <a:solidFill>
                        <a:srgbClr val="F4680D"/>
                      </a:solidFill>
                      <a:prstDash val="solid"/>
                    </a:lnT>
                    <a:lnB w="12700">
                      <a:solidFill>
                        <a:srgbClr val="009FD5"/>
                      </a:solidFill>
                      <a:prstDash val="solid"/>
                    </a:lnB>
                    <a:solidFill>
                      <a:srgbClr val="FFFFFF"/>
                    </a:solidFill>
                  </a:tcPr>
                </a:tc>
                <a:tc>
                  <a:txBody>
                    <a:bodyPr/>
                    <a:lstStyle/>
                    <a:p>
                      <a:pPr>
                        <a:lnSpc>
                          <a:spcPct val="100000"/>
                        </a:lnSpc>
                        <a:spcBef>
                          <a:spcPts val="375"/>
                        </a:spcBef>
                      </a:pPr>
                      <a:endParaRPr sz="1100">
                        <a:latin typeface="Times New Roman"/>
                        <a:cs typeface="Times New Roman"/>
                      </a:endParaRPr>
                    </a:p>
                    <a:p>
                      <a:pPr marL="294640">
                        <a:lnSpc>
                          <a:spcPts val="1270"/>
                        </a:lnSpc>
                      </a:pPr>
                      <a:r>
                        <a:rPr sz="1100" dirty="0">
                          <a:latin typeface="Arial"/>
                          <a:cs typeface="Arial"/>
                        </a:rPr>
                        <a:t>9</a:t>
                      </a:r>
                      <a:r>
                        <a:rPr sz="1100" spc="-10" dirty="0">
                          <a:latin typeface="Arial"/>
                          <a:cs typeface="Arial"/>
                        </a:rPr>
                        <a:t> (45.0)</a:t>
                      </a:r>
                      <a:endParaRPr sz="1100">
                        <a:latin typeface="Arial"/>
                        <a:cs typeface="Arial"/>
                      </a:endParaRPr>
                    </a:p>
                    <a:p>
                      <a:pPr marL="256540">
                        <a:lnSpc>
                          <a:spcPts val="1270"/>
                        </a:lnSpc>
                      </a:pPr>
                      <a:r>
                        <a:rPr sz="1100" dirty="0">
                          <a:latin typeface="Arial"/>
                          <a:cs typeface="Arial"/>
                        </a:rPr>
                        <a:t>11</a:t>
                      </a:r>
                      <a:r>
                        <a:rPr sz="1100" spc="-15" dirty="0">
                          <a:latin typeface="Arial"/>
                          <a:cs typeface="Arial"/>
                        </a:rPr>
                        <a:t> </a:t>
                      </a:r>
                      <a:r>
                        <a:rPr sz="1100" spc="-10" dirty="0">
                          <a:latin typeface="Arial"/>
                          <a:cs typeface="Arial"/>
                        </a:rPr>
                        <a:t>(55.0)</a:t>
                      </a:r>
                      <a:endParaRPr sz="1100">
                        <a:latin typeface="Arial"/>
                        <a:cs typeface="Arial"/>
                      </a:endParaRPr>
                    </a:p>
                  </a:txBody>
                  <a:tcPr marL="0" marR="0" marT="47625" marB="0">
                    <a:lnT w="28575">
                      <a:solidFill>
                        <a:srgbClr val="F4680D"/>
                      </a:solidFill>
                      <a:prstDash val="solid"/>
                    </a:lnT>
                    <a:lnB w="12700">
                      <a:solidFill>
                        <a:srgbClr val="009FD5"/>
                      </a:solidFill>
                      <a:prstDash val="solid"/>
                    </a:lnB>
                    <a:solidFill>
                      <a:srgbClr val="FFFFFF"/>
                    </a:solidFill>
                  </a:tcPr>
                </a:tc>
                <a:tc>
                  <a:txBody>
                    <a:bodyPr/>
                    <a:lstStyle/>
                    <a:p>
                      <a:pPr>
                        <a:lnSpc>
                          <a:spcPct val="100000"/>
                        </a:lnSpc>
                        <a:spcBef>
                          <a:spcPts val="375"/>
                        </a:spcBef>
                      </a:pPr>
                      <a:endParaRPr sz="1100">
                        <a:latin typeface="Times New Roman"/>
                        <a:cs typeface="Times New Roman"/>
                      </a:endParaRPr>
                    </a:p>
                    <a:p>
                      <a:pPr marL="295910">
                        <a:lnSpc>
                          <a:spcPts val="1270"/>
                        </a:lnSpc>
                      </a:pPr>
                      <a:r>
                        <a:rPr sz="1100" dirty="0">
                          <a:latin typeface="Arial"/>
                          <a:cs typeface="Arial"/>
                        </a:rPr>
                        <a:t>10</a:t>
                      </a:r>
                      <a:r>
                        <a:rPr sz="1100" spc="-15" dirty="0">
                          <a:latin typeface="Arial"/>
                          <a:cs typeface="Arial"/>
                        </a:rPr>
                        <a:t> </a:t>
                      </a:r>
                      <a:r>
                        <a:rPr sz="1100" spc="-10" dirty="0">
                          <a:latin typeface="Arial"/>
                          <a:cs typeface="Arial"/>
                        </a:rPr>
                        <a:t>(46.7)</a:t>
                      </a:r>
                      <a:endParaRPr sz="1100">
                        <a:latin typeface="Arial"/>
                        <a:cs typeface="Arial"/>
                      </a:endParaRPr>
                    </a:p>
                    <a:p>
                      <a:pPr marL="295910">
                        <a:lnSpc>
                          <a:spcPts val="1270"/>
                        </a:lnSpc>
                      </a:pPr>
                      <a:r>
                        <a:rPr sz="1100" dirty="0">
                          <a:latin typeface="Arial"/>
                          <a:cs typeface="Arial"/>
                        </a:rPr>
                        <a:t>11</a:t>
                      </a:r>
                      <a:r>
                        <a:rPr sz="1100" spc="-15" dirty="0">
                          <a:latin typeface="Arial"/>
                          <a:cs typeface="Arial"/>
                        </a:rPr>
                        <a:t> </a:t>
                      </a:r>
                      <a:r>
                        <a:rPr sz="1100" spc="-10" dirty="0">
                          <a:latin typeface="Arial"/>
                          <a:cs typeface="Arial"/>
                        </a:rPr>
                        <a:t>(52.4)</a:t>
                      </a:r>
                      <a:endParaRPr sz="1100">
                        <a:latin typeface="Arial"/>
                        <a:cs typeface="Arial"/>
                      </a:endParaRPr>
                    </a:p>
                  </a:txBody>
                  <a:tcPr marL="0" marR="0" marT="47625" marB="0">
                    <a:lnT w="28575">
                      <a:solidFill>
                        <a:srgbClr val="F4680D"/>
                      </a:solidFill>
                      <a:prstDash val="solid"/>
                    </a:lnT>
                    <a:lnB w="12700">
                      <a:solidFill>
                        <a:srgbClr val="009FD5"/>
                      </a:solidFill>
                      <a:prstDash val="solid"/>
                    </a:lnB>
                    <a:solidFill>
                      <a:srgbClr val="FFFFFF"/>
                    </a:solidFill>
                  </a:tcPr>
                </a:tc>
                <a:tc>
                  <a:txBody>
                    <a:bodyPr/>
                    <a:lstStyle/>
                    <a:p>
                      <a:pPr>
                        <a:lnSpc>
                          <a:spcPct val="100000"/>
                        </a:lnSpc>
                        <a:spcBef>
                          <a:spcPts val="375"/>
                        </a:spcBef>
                      </a:pPr>
                      <a:endParaRPr sz="1100">
                        <a:latin typeface="Times New Roman"/>
                        <a:cs typeface="Times New Roman"/>
                      </a:endParaRPr>
                    </a:p>
                    <a:p>
                      <a:pPr marL="149225">
                        <a:lnSpc>
                          <a:spcPts val="1270"/>
                        </a:lnSpc>
                      </a:pPr>
                      <a:r>
                        <a:rPr sz="1100" dirty="0">
                          <a:latin typeface="Arial"/>
                          <a:cs typeface="Arial"/>
                        </a:rPr>
                        <a:t>19</a:t>
                      </a:r>
                      <a:r>
                        <a:rPr sz="1100" spc="-15" dirty="0">
                          <a:latin typeface="Arial"/>
                          <a:cs typeface="Arial"/>
                        </a:rPr>
                        <a:t> </a:t>
                      </a:r>
                      <a:r>
                        <a:rPr sz="1100" spc="-10" dirty="0">
                          <a:latin typeface="Arial"/>
                          <a:cs typeface="Arial"/>
                        </a:rPr>
                        <a:t>(46.3)</a:t>
                      </a:r>
                      <a:endParaRPr sz="1100">
                        <a:latin typeface="Arial"/>
                        <a:cs typeface="Arial"/>
                      </a:endParaRPr>
                    </a:p>
                    <a:p>
                      <a:pPr marL="149225">
                        <a:lnSpc>
                          <a:spcPts val="1270"/>
                        </a:lnSpc>
                      </a:pPr>
                      <a:r>
                        <a:rPr sz="1100" dirty="0">
                          <a:latin typeface="Arial"/>
                          <a:cs typeface="Arial"/>
                        </a:rPr>
                        <a:t>22</a:t>
                      </a:r>
                      <a:r>
                        <a:rPr sz="1100" spc="-15" dirty="0">
                          <a:latin typeface="Arial"/>
                          <a:cs typeface="Arial"/>
                        </a:rPr>
                        <a:t> </a:t>
                      </a:r>
                      <a:r>
                        <a:rPr sz="1100" spc="-10" dirty="0">
                          <a:latin typeface="Arial"/>
                          <a:cs typeface="Arial"/>
                        </a:rPr>
                        <a:t>(53.7)</a:t>
                      </a:r>
                      <a:endParaRPr sz="1100">
                        <a:latin typeface="Arial"/>
                        <a:cs typeface="Arial"/>
                      </a:endParaRPr>
                    </a:p>
                  </a:txBody>
                  <a:tcPr marL="0" marR="0" marT="47625" marB="0">
                    <a:lnR w="12700">
                      <a:solidFill>
                        <a:srgbClr val="009FD5"/>
                      </a:solidFill>
                      <a:prstDash val="solid"/>
                    </a:lnR>
                    <a:lnT w="28575">
                      <a:solidFill>
                        <a:srgbClr val="F4680D"/>
                      </a:solidFill>
                      <a:prstDash val="solid"/>
                    </a:lnT>
                    <a:lnB w="12700">
                      <a:solidFill>
                        <a:srgbClr val="009FD5"/>
                      </a:solidFill>
                      <a:prstDash val="solid"/>
                    </a:lnB>
                    <a:solidFill>
                      <a:srgbClr val="FFFFFF"/>
                    </a:solidFill>
                  </a:tcPr>
                </a:tc>
                <a:extLst>
                  <a:ext uri="{0D108BD9-81ED-4DB2-BD59-A6C34878D82A}">
                    <a16:rowId xmlns:a16="http://schemas.microsoft.com/office/drawing/2014/main" val="10005"/>
                  </a:ext>
                </a:extLst>
              </a:tr>
              <a:tr h="196850">
                <a:tc>
                  <a:txBody>
                    <a:bodyPr/>
                    <a:lstStyle/>
                    <a:p>
                      <a:pPr marL="57150">
                        <a:lnSpc>
                          <a:spcPct val="100000"/>
                        </a:lnSpc>
                        <a:spcBef>
                          <a:spcPts val="40"/>
                        </a:spcBef>
                      </a:pPr>
                      <a:r>
                        <a:rPr sz="1100" b="1" dirty="0">
                          <a:latin typeface="Arial"/>
                          <a:cs typeface="Arial"/>
                        </a:rPr>
                        <a:t>Bulky</a:t>
                      </a:r>
                      <a:r>
                        <a:rPr sz="1100" b="1" spc="-30" dirty="0">
                          <a:latin typeface="Arial"/>
                          <a:cs typeface="Arial"/>
                        </a:rPr>
                        <a:t> </a:t>
                      </a:r>
                      <a:r>
                        <a:rPr sz="1100" b="1" dirty="0">
                          <a:latin typeface="Arial"/>
                          <a:cs typeface="Arial"/>
                        </a:rPr>
                        <a:t>disease,</a:t>
                      </a:r>
                      <a:r>
                        <a:rPr sz="1100" b="1" spc="-45" dirty="0">
                          <a:latin typeface="Arial"/>
                          <a:cs typeface="Arial"/>
                        </a:rPr>
                        <a:t> </a:t>
                      </a:r>
                      <a:r>
                        <a:rPr sz="1100" b="1" dirty="0">
                          <a:latin typeface="Arial"/>
                          <a:cs typeface="Arial"/>
                        </a:rPr>
                        <a:t>n</a:t>
                      </a:r>
                      <a:r>
                        <a:rPr sz="1100" b="1" spc="-15" dirty="0">
                          <a:latin typeface="Arial"/>
                          <a:cs typeface="Arial"/>
                        </a:rPr>
                        <a:t> </a:t>
                      </a:r>
                      <a:r>
                        <a:rPr sz="1100" b="1" spc="-25" dirty="0">
                          <a:latin typeface="Arial"/>
                          <a:cs typeface="Arial"/>
                        </a:rPr>
                        <a:t>(%)</a:t>
                      </a:r>
                      <a:endParaRPr sz="1100">
                        <a:latin typeface="Arial"/>
                        <a:cs typeface="Arial"/>
                      </a:endParaRPr>
                    </a:p>
                  </a:txBody>
                  <a:tcPr marL="0" marR="0" marT="5080" marB="0">
                    <a:lnL w="12700">
                      <a:solidFill>
                        <a:srgbClr val="009FD5"/>
                      </a:solidFill>
                      <a:prstDash val="solid"/>
                    </a:lnL>
                    <a:lnT w="12700">
                      <a:solidFill>
                        <a:srgbClr val="009FD5"/>
                      </a:solidFill>
                      <a:prstDash val="solid"/>
                    </a:lnT>
                    <a:lnB w="12700">
                      <a:solidFill>
                        <a:srgbClr val="009FD5"/>
                      </a:solidFill>
                      <a:prstDash val="solid"/>
                    </a:lnB>
                    <a:solidFill>
                      <a:srgbClr val="EBEBEB"/>
                    </a:solidFill>
                  </a:tcPr>
                </a:tc>
                <a:tc>
                  <a:txBody>
                    <a:bodyPr/>
                    <a:lstStyle/>
                    <a:p>
                      <a:pPr marR="32384" algn="ctr">
                        <a:lnSpc>
                          <a:spcPct val="100000"/>
                        </a:lnSpc>
                        <a:spcBef>
                          <a:spcPts val="40"/>
                        </a:spcBef>
                      </a:pPr>
                      <a:r>
                        <a:rPr sz="1100" dirty="0">
                          <a:latin typeface="Arial"/>
                          <a:cs typeface="Arial"/>
                        </a:rPr>
                        <a:t>2</a:t>
                      </a:r>
                      <a:r>
                        <a:rPr sz="1100" spc="-10" dirty="0">
                          <a:latin typeface="Arial"/>
                          <a:cs typeface="Arial"/>
                        </a:rPr>
                        <a:t> (10.0)</a:t>
                      </a:r>
                      <a:endParaRPr sz="1100">
                        <a:latin typeface="Arial"/>
                        <a:cs typeface="Arial"/>
                      </a:endParaRPr>
                    </a:p>
                  </a:txBody>
                  <a:tcPr marL="0" marR="0" marT="5080" marB="0">
                    <a:lnT w="12700">
                      <a:solidFill>
                        <a:srgbClr val="009FD5"/>
                      </a:solidFill>
                      <a:prstDash val="solid"/>
                    </a:lnT>
                    <a:lnB w="12700">
                      <a:solidFill>
                        <a:srgbClr val="009FD5"/>
                      </a:solidFill>
                      <a:prstDash val="solid"/>
                    </a:lnB>
                    <a:solidFill>
                      <a:srgbClr val="EBEBEB"/>
                    </a:solidFill>
                  </a:tcPr>
                </a:tc>
                <a:tc>
                  <a:txBody>
                    <a:bodyPr/>
                    <a:lstStyle/>
                    <a:p>
                      <a:pPr marR="8255" algn="ctr">
                        <a:lnSpc>
                          <a:spcPct val="100000"/>
                        </a:lnSpc>
                        <a:spcBef>
                          <a:spcPts val="40"/>
                        </a:spcBef>
                      </a:pPr>
                      <a:r>
                        <a:rPr sz="1100" dirty="0">
                          <a:latin typeface="Arial"/>
                          <a:cs typeface="Arial"/>
                        </a:rPr>
                        <a:t>2</a:t>
                      </a:r>
                      <a:r>
                        <a:rPr sz="1100" spc="-10" dirty="0">
                          <a:latin typeface="Arial"/>
                          <a:cs typeface="Arial"/>
                        </a:rPr>
                        <a:t> (9.5)</a:t>
                      </a:r>
                      <a:endParaRPr sz="1100">
                        <a:latin typeface="Arial"/>
                        <a:cs typeface="Arial"/>
                      </a:endParaRPr>
                    </a:p>
                  </a:txBody>
                  <a:tcPr marL="0" marR="0" marT="5080" marB="0">
                    <a:lnT w="12700">
                      <a:solidFill>
                        <a:srgbClr val="009FD5"/>
                      </a:solidFill>
                      <a:prstDash val="solid"/>
                    </a:lnT>
                    <a:lnB w="12700">
                      <a:solidFill>
                        <a:srgbClr val="009FD5"/>
                      </a:solidFill>
                      <a:prstDash val="solid"/>
                    </a:lnB>
                    <a:solidFill>
                      <a:srgbClr val="EBEBEB"/>
                    </a:solidFill>
                  </a:tcPr>
                </a:tc>
                <a:tc>
                  <a:txBody>
                    <a:bodyPr/>
                    <a:lstStyle/>
                    <a:p>
                      <a:pPr algn="ctr">
                        <a:lnSpc>
                          <a:spcPct val="100000"/>
                        </a:lnSpc>
                        <a:spcBef>
                          <a:spcPts val="40"/>
                        </a:spcBef>
                      </a:pPr>
                      <a:r>
                        <a:rPr sz="1100" dirty="0">
                          <a:latin typeface="Arial"/>
                          <a:cs typeface="Arial"/>
                        </a:rPr>
                        <a:t>4</a:t>
                      </a:r>
                      <a:r>
                        <a:rPr sz="1100" spc="-10" dirty="0">
                          <a:latin typeface="Arial"/>
                          <a:cs typeface="Arial"/>
                        </a:rPr>
                        <a:t> (9.8)</a:t>
                      </a:r>
                      <a:endParaRPr sz="1100">
                        <a:latin typeface="Arial"/>
                        <a:cs typeface="Arial"/>
                      </a:endParaRPr>
                    </a:p>
                  </a:txBody>
                  <a:tcPr marL="0" marR="0" marT="5080" marB="0">
                    <a:lnR w="12700">
                      <a:solidFill>
                        <a:srgbClr val="009FD5"/>
                      </a:solidFill>
                      <a:prstDash val="solid"/>
                    </a:lnR>
                    <a:lnT w="12700">
                      <a:solidFill>
                        <a:srgbClr val="009FD5"/>
                      </a:solidFill>
                      <a:prstDash val="solid"/>
                    </a:lnT>
                    <a:lnB w="12700">
                      <a:solidFill>
                        <a:srgbClr val="009FD5"/>
                      </a:solidFill>
                      <a:prstDash val="solid"/>
                    </a:lnB>
                    <a:solidFill>
                      <a:srgbClr val="EBEBEB"/>
                    </a:solidFill>
                  </a:tcPr>
                </a:tc>
                <a:extLst>
                  <a:ext uri="{0D108BD9-81ED-4DB2-BD59-A6C34878D82A}">
                    <a16:rowId xmlns:a16="http://schemas.microsoft.com/office/drawing/2014/main" val="10006"/>
                  </a:ext>
                </a:extLst>
              </a:tr>
              <a:tr h="194945">
                <a:tc>
                  <a:txBody>
                    <a:bodyPr/>
                    <a:lstStyle/>
                    <a:p>
                      <a:pPr marL="57150">
                        <a:lnSpc>
                          <a:spcPct val="100000"/>
                        </a:lnSpc>
                        <a:spcBef>
                          <a:spcPts val="40"/>
                        </a:spcBef>
                      </a:pPr>
                      <a:r>
                        <a:rPr sz="1100" b="1" dirty="0">
                          <a:latin typeface="Arial"/>
                          <a:cs typeface="Arial"/>
                        </a:rPr>
                        <a:t>LDH</a:t>
                      </a:r>
                      <a:r>
                        <a:rPr sz="1100" b="1" spc="-10" dirty="0">
                          <a:latin typeface="Arial"/>
                          <a:cs typeface="Arial"/>
                        </a:rPr>
                        <a:t> </a:t>
                      </a:r>
                      <a:r>
                        <a:rPr sz="1100" b="1" dirty="0">
                          <a:latin typeface="Arial"/>
                          <a:cs typeface="Arial"/>
                        </a:rPr>
                        <a:t>levels</a:t>
                      </a:r>
                      <a:r>
                        <a:rPr sz="1100" b="1" spc="-40" dirty="0">
                          <a:latin typeface="Arial"/>
                          <a:cs typeface="Arial"/>
                        </a:rPr>
                        <a:t> </a:t>
                      </a:r>
                      <a:r>
                        <a:rPr sz="1100" b="1" dirty="0">
                          <a:latin typeface="Arial"/>
                          <a:cs typeface="Arial"/>
                        </a:rPr>
                        <a:t>high,</a:t>
                      </a:r>
                      <a:r>
                        <a:rPr sz="1100" b="1" spc="-45" dirty="0">
                          <a:latin typeface="Arial"/>
                          <a:cs typeface="Arial"/>
                        </a:rPr>
                        <a:t> </a:t>
                      </a:r>
                      <a:r>
                        <a:rPr sz="1100" b="1" dirty="0">
                          <a:latin typeface="Arial"/>
                          <a:cs typeface="Arial"/>
                        </a:rPr>
                        <a:t>n</a:t>
                      </a:r>
                      <a:r>
                        <a:rPr sz="1100" b="1" spc="-20" dirty="0">
                          <a:latin typeface="Arial"/>
                          <a:cs typeface="Arial"/>
                        </a:rPr>
                        <a:t> </a:t>
                      </a:r>
                      <a:r>
                        <a:rPr sz="1100" b="1" spc="-25" dirty="0">
                          <a:latin typeface="Arial"/>
                          <a:cs typeface="Arial"/>
                        </a:rPr>
                        <a:t>(%)</a:t>
                      </a:r>
                      <a:endParaRPr sz="1100">
                        <a:latin typeface="Arial"/>
                        <a:cs typeface="Arial"/>
                      </a:endParaRPr>
                    </a:p>
                  </a:txBody>
                  <a:tcPr marL="0" marR="0" marT="5080" marB="0">
                    <a:lnL w="12700">
                      <a:solidFill>
                        <a:srgbClr val="009FD5"/>
                      </a:solidFill>
                      <a:prstDash val="solid"/>
                    </a:lnL>
                    <a:lnT w="12700">
                      <a:solidFill>
                        <a:srgbClr val="009FD5"/>
                      </a:solidFill>
                      <a:prstDash val="solid"/>
                    </a:lnT>
                    <a:lnB w="28575">
                      <a:solidFill>
                        <a:srgbClr val="F4680D"/>
                      </a:solidFill>
                      <a:prstDash val="solid"/>
                    </a:lnB>
                    <a:solidFill>
                      <a:srgbClr val="FFFFFF"/>
                    </a:solidFill>
                  </a:tcPr>
                </a:tc>
                <a:tc>
                  <a:txBody>
                    <a:bodyPr/>
                    <a:lstStyle/>
                    <a:p>
                      <a:pPr marR="31115" algn="ctr">
                        <a:lnSpc>
                          <a:spcPct val="100000"/>
                        </a:lnSpc>
                        <a:spcBef>
                          <a:spcPts val="40"/>
                        </a:spcBef>
                      </a:pPr>
                      <a:r>
                        <a:rPr sz="1100" dirty="0">
                          <a:latin typeface="Arial"/>
                          <a:cs typeface="Arial"/>
                        </a:rPr>
                        <a:t>11</a:t>
                      </a:r>
                      <a:r>
                        <a:rPr sz="1100" spc="-15" dirty="0">
                          <a:latin typeface="Arial"/>
                          <a:cs typeface="Arial"/>
                        </a:rPr>
                        <a:t> </a:t>
                      </a:r>
                      <a:r>
                        <a:rPr sz="1100" spc="-10" dirty="0">
                          <a:latin typeface="Arial"/>
                          <a:cs typeface="Arial"/>
                        </a:rPr>
                        <a:t>(55.0)</a:t>
                      </a:r>
                      <a:endParaRPr sz="1100">
                        <a:latin typeface="Arial"/>
                        <a:cs typeface="Arial"/>
                      </a:endParaRPr>
                    </a:p>
                  </a:txBody>
                  <a:tcPr marL="0" marR="0" marT="5080" marB="0">
                    <a:lnT w="12700">
                      <a:solidFill>
                        <a:srgbClr val="009FD5"/>
                      </a:solidFill>
                      <a:prstDash val="solid"/>
                    </a:lnT>
                    <a:lnB w="28575">
                      <a:solidFill>
                        <a:srgbClr val="F4680D"/>
                      </a:solidFill>
                      <a:prstDash val="solid"/>
                    </a:lnB>
                    <a:solidFill>
                      <a:srgbClr val="FFFFFF"/>
                    </a:solidFill>
                  </a:tcPr>
                </a:tc>
                <a:tc>
                  <a:txBody>
                    <a:bodyPr/>
                    <a:lstStyle/>
                    <a:p>
                      <a:pPr marR="8255" algn="ctr">
                        <a:lnSpc>
                          <a:spcPct val="100000"/>
                        </a:lnSpc>
                        <a:spcBef>
                          <a:spcPts val="40"/>
                        </a:spcBef>
                      </a:pPr>
                      <a:r>
                        <a:rPr sz="1100" dirty="0">
                          <a:latin typeface="Arial"/>
                          <a:cs typeface="Arial"/>
                        </a:rPr>
                        <a:t>10</a:t>
                      </a:r>
                      <a:r>
                        <a:rPr sz="1100" spc="-15" dirty="0">
                          <a:latin typeface="Arial"/>
                          <a:cs typeface="Arial"/>
                        </a:rPr>
                        <a:t> </a:t>
                      </a:r>
                      <a:r>
                        <a:rPr sz="1100" spc="-10" dirty="0">
                          <a:latin typeface="Arial"/>
                          <a:cs typeface="Arial"/>
                        </a:rPr>
                        <a:t>(47.6)</a:t>
                      </a:r>
                      <a:endParaRPr sz="1100">
                        <a:latin typeface="Arial"/>
                        <a:cs typeface="Arial"/>
                      </a:endParaRPr>
                    </a:p>
                  </a:txBody>
                  <a:tcPr marL="0" marR="0" marT="5080" marB="0">
                    <a:lnT w="12700">
                      <a:solidFill>
                        <a:srgbClr val="009FD5"/>
                      </a:solidFill>
                      <a:prstDash val="solid"/>
                    </a:lnT>
                    <a:lnB w="28575">
                      <a:solidFill>
                        <a:srgbClr val="F4680D"/>
                      </a:solidFill>
                      <a:prstDash val="solid"/>
                    </a:lnB>
                    <a:solidFill>
                      <a:srgbClr val="FFFFFF"/>
                    </a:solidFill>
                  </a:tcPr>
                </a:tc>
                <a:tc>
                  <a:txBody>
                    <a:bodyPr/>
                    <a:lstStyle/>
                    <a:p>
                      <a:pPr algn="ctr">
                        <a:lnSpc>
                          <a:spcPct val="100000"/>
                        </a:lnSpc>
                        <a:spcBef>
                          <a:spcPts val="40"/>
                        </a:spcBef>
                      </a:pPr>
                      <a:r>
                        <a:rPr sz="1100" dirty="0">
                          <a:latin typeface="Arial"/>
                          <a:cs typeface="Arial"/>
                        </a:rPr>
                        <a:t>21</a:t>
                      </a:r>
                      <a:r>
                        <a:rPr sz="1100" spc="-15" dirty="0">
                          <a:latin typeface="Arial"/>
                          <a:cs typeface="Arial"/>
                        </a:rPr>
                        <a:t> </a:t>
                      </a:r>
                      <a:r>
                        <a:rPr sz="1100" spc="-10" dirty="0">
                          <a:latin typeface="Arial"/>
                          <a:cs typeface="Arial"/>
                        </a:rPr>
                        <a:t>(51.2)</a:t>
                      </a:r>
                      <a:endParaRPr sz="1100">
                        <a:latin typeface="Arial"/>
                        <a:cs typeface="Arial"/>
                      </a:endParaRPr>
                    </a:p>
                  </a:txBody>
                  <a:tcPr marL="0" marR="0" marT="5080" marB="0">
                    <a:lnR w="12700">
                      <a:solidFill>
                        <a:srgbClr val="009FD5"/>
                      </a:solidFill>
                      <a:prstDash val="solid"/>
                    </a:lnR>
                    <a:lnT w="12700">
                      <a:solidFill>
                        <a:srgbClr val="009FD5"/>
                      </a:solidFill>
                      <a:prstDash val="solid"/>
                    </a:lnT>
                    <a:lnB w="28575">
                      <a:solidFill>
                        <a:srgbClr val="F4680D"/>
                      </a:solidFill>
                      <a:prstDash val="solid"/>
                    </a:lnB>
                    <a:solidFill>
                      <a:srgbClr val="FFFFFF"/>
                    </a:solidFill>
                  </a:tcPr>
                </a:tc>
                <a:extLst>
                  <a:ext uri="{0D108BD9-81ED-4DB2-BD59-A6C34878D82A}">
                    <a16:rowId xmlns:a16="http://schemas.microsoft.com/office/drawing/2014/main" val="10007"/>
                  </a:ext>
                </a:extLst>
              </a:tr>
              <a:tr h="891540">
                <a:tc>
                  <a:txBody>
                    <a:bodyPr/>
                    <a:lstStyle/>
                    <a:p>
                      <a:pPr marL="173355" marR="819150" indent="-116205">
                        <a:lnSpc>
                          <a:spcPct val="93200"/>
                        </a:lnSpc>
                        <a:spcBef>
                          <a:spcPts val="420"/>
                        </a:spcBef>
                      </a:pPr>
                      <a:r>
                        <a:rPr sz="1100" b="1" dirty="0">
                          <a:latin typeface="Arial"/>
                          <a:cs typeface="Arial"/>
                        </a:rPr>
                        <a:t>LBCL</a:t>
                      </a:r>
                      <a:r>
                        <a:rPr sz="1100" b="1" spc="-30" dirty="0">
                          <a:latin typeface="Arial"/>
                          <a:cs typeface="Arial"/>
                        </a:rPr>
                        <a:t> </a:t>
                      </a:r>
                      <a:r>
                        <a:rPr sz="1100" b="1" dirty="0">
                          <a:latin typeface="Arial"/>
                          <a:cs typeface="Arial"/>
                        </a:rPr>
                        <a:t>histology,</a:t>
                      </a:r>
                      <a:r>
                        <a:rPr sz="1100" b="1" spc="-50" dirty="0">
                          <a:latin typeface="Arial"/>
                          <a:cs typeface="Arial"/>
                        </a:rPr>
                        <a:t> </a:t>
                      </a:r>
                      <a:r>
                        <a:rPr sz="1100" b="1" dirty="0">
                          <a:latin typeface="Arial"/>
                          <a:cs typeface="Arial"/>
                        </a:rPr>
                        <a:t>n</a:t>
                      </a:r>
                      <a:r>
                        <a:rPr sz="1100" b="1" spc="-45" dirty="0">
                          <a:latin typeface="Arial"/>
                          <a:cs typeface="Arial"/>
                        </a:rPr>
                        <a:t> </a:t>
                      </a:r>
                      <a:r>
                        <a:rPr sz="1100" b="1" spc="-25" dirty="0">
                          <a:latin typeface="Arial"/>
                          <a:cs typeface="Arial"/>
                        </a:rPr>
                        <a:t>(%) </a:t>
                      </a:r>
                      <a:r>
                        <a:rPr sz="1100" b="1" dirty="0">
                          <a:latin typeface="Arial"/>
                          <a:cs typeface="Arial"/>
                        </a:rPr>
                        <a:t>de</a:t>
                      </a:r>
                      <a:r>
                        <a:rPr sz="1100" b="1" spc="-35" dirty="0">
                          <a:latin typeface="Arial"/>
                          <a:cs typeface="Arial"/>
                        </a:rPr>
                        <a:t> </a:t>
                      </a:r>
                      <a:r>
                        <a:rPr sz="1100" b="1" dirty="0">
                          <a:latin typeface="Arial"/>
                          <a:cs typeface="Arial"/>
                        </a:rPr>
                        <a:t>novo</a:t>
                      </a:r>
                      <a:r>
                        <a:rPr sz="1100" b="1" spc="-20" dirty="0">
                          <a:latin typeface="Arial"/>
                          <a:cs typeface="Arial"/>
                        </a:rPr>
                        <a:t> </a:t>
                      </a:r>
                      <a:r>
                        <a:rPr sz="1100" b="1" spc="-10" dirty="0">
                          <a:latin typeface="Arial"/>
                          <a:cs typeface="Arial"/>
                        </a:rPr>
                        <a:t>DLBCL HGBCL</a:t>
                      </a:r>
                      <a:endParaRPr sz="1100">
                        <a:latin typeface="Arial"/>
                        <a:cs typeface="Arial"/>
                      </a:endParaRPr>
                    </a:p>
                    <a:p>
                      <a:pPr marL="173355">
                        <a:lnSpc>
                          <a:spcPts val="1180"/>
                        </a:lnSpc>
                      </a:pPr>
                      <a:r>
                        <a:rPr sz="1100" b="1" spc="-20" dirty="0">
                          <a:latin typeface="Arial"/>
                          <a:cs typeface="Arial"/>
                        </a:rPr>
                        <a:t>trFL</a:t>
                      </a:r>
                      <a:endParaRPr sz="1100">
                        <a:latin typeface="Arial"/>
                        <a:cs typeface="Arial"/>
                      </a:endParaRPr>
                    </a:p>
                    <a:p>
                      <a:pPr marL="173355">
                        <a:lnSpc>
                          <a:spcPts val="1280"/>
                        </a:lnSpc>
                      </a:pPr>
                      <a:r>
                        <a:rPr sz="1100" b="1" dirty="0">
                          <a:latin typeface="Arial"/>
                          <a:cs typeface="Arial"/>
                        </a:rPr>
                        <a:t>FL</a:t>
                      </a:r>
                      <a:r>
                        <a:rPr sz="1100" b="1" spc="-25" dirty="0">
                          <a:latin typeface="Arial"/>
                          <a:cs typeface="Arial"/>
                        </a:rPr>
                        <a:t> </a:t>
                      </a:r>
                      <a:r>
                        <a:rPr sz="1100" b="1" dirty="0">
                          <a:latin typeface="Arial"/>
                          <a:cs typeface="Arial"/>
                        </a:rPr>
                        <a:t>grade</a:t>
                      </a:r>
                      <a:r>
                        <a:rPr sz="1100" b="1" spc="-20" dirty="0">
                          <a:latin typeface="Arial"/>
                          <a:cs typeface="Arial"/>
                        </a:rPr>
                        <a:t> </a:t>
                      </a:r>
                      <a:r>
                        <a:rPr sz="1100" b="1" spc="-25" dirty="0">
                          <a:latin typeface="Arial"/>
                          <a:cs typeface="Arial"/>
                        </a:rPr>
                        <a:t>3b</a:t>
                      </a:r>
                      <a:endParaRPr sz="1100">
                        <a:latin typeface="Arial"/>
                        <a:cs typeface="Arial"/>
                      </a:endParaRPr>
                    </a:p>
                  </a:txBody>
                  <a:tcPr marL="0" marR="0" marT="53340" marB="0">
                    <a:lnL w="12700">
                      <a:solidFill>
                        <a:srgbClr val="F4680D"/>
                      </a:solidFill>
                      <a:prstDash val="solid"/>
                    </a:lnL>
                    <a:lnT w="28575">
                      <a:solidFill>
                        <a:srgbClr val="F4680D"/>
                      </a:solidFill>
                      <a:prstDash val="solid"/>
                    </a:lnT>
                    <a:lnB w="28575">
                      <a:solidFill>
                        <a:srgbClr val="F4680D"/>
                      </a:solidFill>
                      <a:prstDash val="solid"/>
                    </a:lnB>
                    <a:solidFill>
                      <a:srgbClr val="EBEBEB"/>
                    </a:solidFill>
                  </a:tcPr>
                </a:tc>
                <a:tc>
                  <a:txBody>
                    <a:bodyPr/>
                    <a:lstStyle/>
                    <a:p>
                      <a:pPr>
                        <a:lnSpc>
                          <a:spcPct val="100000"/>
                        </a:lnSpc>
                        <a:spcBef>
                          <a:spcPts val="300"/>
                        </a:spcBef>
                      </a:pPr>
                      <a:endParaRPr sz="1100">
                        <a:latin typeface="Times New Roman"/>
                        <a:cs typeface="Times New Roman"/>
                      </a:endParaRPr>
                    </a:p>
                    <a:p>
                      <a:pPr marL="256540">
                        <a:lnSpc>
                          <a:spcPts val="1270"/>
                        </a:lnSpc>
                      </a:pPr>
                      <a:r>
                        <a:rPr sz="1100" dirty="0">
                          <a:latin typeface="Arial"/>
                          <a:cs typeface="Arial"/>
                        </a:rPr>
                        <a:t>13</a:t>
                      </a:r>
                      <a:r>
                        <a:rPr sz="1100" spc="-15" dirty="0">
                          <a:latin typeface="Arial"/>
                          <a:cs typeface="Arial"/>
                        </a:rPr>
                        <a:t> </a:t>
                      </a:r>
                      <a:r>
                        <a:rPr sz="1100" spc="-10" dirty="0">
                          <a:latin typeface="Arial"/>
                          <a:cs typeface="Arial"/>
                        </a:rPr>
                        <a:t>(65.0)</a:t>
                      </a:r>
                      <a:endParaRPr sz="1100">
                        <a:latin typeface="Arial"/>
                        <a:cs typeface="Arial"/>
                      </a:endParaRPr>
                    </a:p>
                    <a:p>
                      <a:pPr marL="294640">
                        <a:lnSpc>
                          <a:spcPts val="1225"/>
                        </a:lnSpc>
                      </a:pPr>
                      <a:r>
                        <a:rPr sz="1100" dirty="0">
                          <a:latin typeface="Arial"/>
                          <a:cs typeface="Arial"/>
                        </a:rPr>
                        <a:t>4</a:t>
                      </a:r>
                      <a:r>
                        <a:rPr sz="1100" spc="-10" dirty="0">
                          <a:latin typeface="Arial"/>
                          <a:cs typeface="Arial"/>
                        </a:rPr>
                        <a:t> (20.0)</a:t>
                      </a:r>
                      <a:endParaRPr sz="1100">
                        <a:latin typeface="Arial"/>
                        <a:cs typeface="Arial"/>
                      </a:endParaRPr>
                    </a:p>
                    <a:p>
                      <a:pPr marL="294640">
                        <a:lnSpc>
                          <a:spcPts val="1230"/>
                        </a:lnSpc>
                      </a:pPr>
                      <a:r>
                        <a:rPr sz="1100" dirty="0">
                          <a:latin typeface="Arial"/>
                          <a:cs typeface="Arial"/>
                        </a:rPr>
                        <a:t>2</a:t>
                      </a:r>
                      <a:r>
                        <a:rPr sz="1100" spc="-10" dirty="0">
                          <a:latin typeface="Arial"/>
                          <a:cs typeface="Arial"/>
                        </a:rPr>
                        <a:t> (10.0)</a:t>
                      </a:r>
                      <a:endParaRPr sz="1100">
                        <a:latin typeface="Arial"/>
                        <a:cs typeface="Arial"/>
                      </a:endParaRPr>
                    </a:p>
                    <a:p>
                      <a:pPr marL="334010">
                        <a:lnSpc>
                          <a:spcPts val="1280"/>
                        </a:lnSpc>
                      </a:pPr>
                      <a:r>
                        <a:rPr sz="1100" dirty="0">
                          <a:latin typeface="Arial"/>
                          <a:cs typeface="Arial"/>
                        </a:rPr>
                        <a:t>1</a:t>
                      </a:r>
                      <a:r>
                        <a:rPr sz="1100" spc="-10" dirty="0">
                          <a:latin typeface="Arial"/>
                          <a:cs typeface="Arial"/>
                        </a:rPr>
                        <a:t> (5.0)</a:t>
                      </a:r>
                      <a:endParaRPr sz="1100">
                        <a:latin typeface="Arial"/>
                        <a:cs typeface="Arial"/>
                      </a:endParaRPr>
                    </a:p>
                  </a:txBody>
                  <a:tcPr marL="0" marR="0" marT="38100" marB="0">
                    <a:lnT w="28575">
                      <a:solidFill>
                        <a:srgbClr val="F4680D"/>
                      </a:solidFill>
                      <a:prstDash val="solid"/>
                    </a:lnT>
                    <a:lnB w="28575">
                      <a:solidFill>
                        <a:srgbClr val="F4680D"/>
                      </a:solidFill>
                      <a:prstDash val="solid"/>
                    </a:lnB>
                    <a:solidFill>
                      <a:srgbClr val="EBEBEB"/>
                    </a:solidFill>
                  </a:tcPr>
                </a:tc>
                <a:tc>
                  <a:txBody>
                    <a:bodyPr/>
                    <a:lstStyle/>
                    <a:p>
                      <a:pPr>
                        <a:lnSpc>
                          <a:spcPct val="100000"/>
                        </a:lnSpc>
                        <a:spcBef>
                          <a:spcPts val="300"/>
                        </a:spcBef>
                      </a:pPr>
                      <a:endParaRPr sz="1100">
                        <a:latin typeface="Times New Roman"/>
                        <a:cs typeface="Times New Roman"/>
                      </a:endParaRPr>
                    </a:p>
                    <a:p>
                      <a:pPr marR="8255" algn="ctr">
                        <a:lnSpc>
                          <a:spcPts val="1270"/>
                        </a:lnSpc>
                      </a:pPr>
                      <a:r>
                        <a:rPr sz="1100" dirty="0">
                          <a:latin typeface="Arial"/>
                          <a:cs typeface="Arial"/>
                        </a:rPr>
                        <a:t>17</a:t>
                      </a:r>
                      <a:r>
                        <a:rPr sz="1100" spc="-15" dirty="0">
                          <a:latin typeface="Arial"/>
                          <a:cs typeface="Arial"/>
                        </a:rPr>
                        <a:t> </a:t>
                      </a:r>
                      <a:r>
                        <a:rPr sz="1100" spc="-10" dirty="0">
                          <a:latin typeface="Arial"/>
                          <a:cs typeface="Arial"/>
                        </a:rPr>
                        <a:t>(81.0)</a:t>
                      </a:r>
                      <a:endParaRPr sz="1100">
                        <a:latin typeface="Arial"/>
                        <a:cs typeface="Arial"/>
                      </a:endParaRPr>
                    </a:p>
                    <a:p>
                      <a:pPr marR="8255" algn="ctr">
                        <a:lnSpc>
                          <a:spcPts val="1225"/>
                        </a:lnSpc>
                      </a:pPr>
                      <a:r>
                        <a:rPr sz="1100" dirty="0">
                          <a:latin typeface="Arial"/>
                          <a:cs typeface="Arial"/>
                        </a:rPr>
                        <a:t>2</a:t>
                      </a:r>
                      <a:r>
                        <a:rPr sz="1100" spc="-10" dirty="0">
                          <a:latin typeface="Arial"/>
                          <a:cs typeface="Arial"/>
                        </a:rPr>
                        <a:t> (9.5)</a:t>
                      </a:r>
                      <a:endParaRPr sz="1100">
                        <a:latin typeface="Arial"/>
                        <a:cs typeface="Arial"/>
                      </a:endParaRPr>
                    </a:p>
                    <a:p>
                      <a:pPr marR="8255" algn="ctr">
                        <a:lnSpc>
                          <a:spcPts val="1230"/>
                        </a:lnSpc>
                      </a:pPr>
                      <a:r>
                        <a:rPr sz="1100" dirty="0">
                          <a:latin typeface="Arial"/>
                          <a:cs typeface="Arial"/>
                        </a:rPr>
                        <a:t>2</a:t>
                      </a:r>
                      <a:r>
                        <a:rPr sz="1100" spc="-10" dirty="0">
                          <a:latin typeface="Arial"/>
                          <a:cs typeface="Arial"/>
                        </a:rPr>
                        <a:t> (9.5)</a:t>
                      </a:r>
                      <a:endParaRPr sz="1100">
                        <a:latin typeface="Arial"/>
                        <a:cs typeface="Arial"/>
                      </a:endParaRPr>
                    </a:p>
                    <a:p>
                      <a:pPr marR="5715" algn="ctr">
                        <a:lnSpc>
                          <a:spcPts val="1280"/>
                        </a:lnSpc>
                      </a:pPr>
                      <a:r>
                        <a:rPr sz="1100" spc="-50" dirty="0">
                          <a:latin typeface="Arial"/>
                          <a:cs typeface="Arial"/>
                        </a:rPr>
                        <a:t>0</a:t>
                      </a:r>
                      <a:endParaRPr sz="1100">
                        <a:latin typeface="Arial"/>
                        <a:cs typeface="Arial"/>
                      </a:endParaRPr>
                    </a:p>
                  </a:txBody>
                  <a:tcPr marL="0" marR="0" marT="38100" marB="0">
                    <a:lnT w="28575">
                      <a:solidFill>
                        <a:srgbClr val="F4680D"/>
                      </a:solidFill>
                      <a:prstDash val="solid"/>
                    </a:lnT>
                    <a:lnB w="28575">
                      <a:solidFill>
                        <a:srgbClr val="F4680D"/>
                      </a:solidFill>
                      <a:prstDash val="solid"/>
                    </a:lnB>
                    <a:solidFill>
                      <a:srgbClr val="EBEBEB"/>
                    </a:solidFill>
                  </a:tcPr>
                </a:tc>
                <a:tc>
                  <a:txBody>
                    <a:bodyPr/>
                    <a:lstStyle/>
                    <a:p>
                      <a:pPr>
                        <a:lnSpc>
                          <a:spcPct val="100000"/>
                        </a:lnSpc>
                        <a:spcBef>
                          <a:spcPts val="300"/>
                        </a:spcBef>
                      </a:pPr>
                      <a:endParaRPr sz="1100">
                        <a:latin typeface="Times New Roman"/>
                        <a:cs typeface="Times New Roman"/>
                      </a:endParaRPr>
                    </a:p>
                    <a:p>
                      <a:pPr marL="149225">
                        <a:lnSpc>
                          <a:spcPts val="1270"/>
                        </a:lnSpc>
                      </a:pPr>
                      <a:r>
                        <a:rPr sz="1100" dirty="0">
                          <a:latin typeface="Arial"/>
                          <a:cs typeface="Arial"/>
                        </a:rPr>
                        <a:t>30</a:t>
                      </a:r>
                      <a:r>
                        <a:rPr sz="1100" spc="-15" dirty="0">
                          <a:latin typeface="Arial"/>
                          <a:cs typeface="Arial"/>
                        </a:rPr>
                        <a:t> </a:t>
                      </a:r>
                      <a:r>
                        <a:rPr sz="1100" spc="-10" dirty="0">
                          <a:latin typeface="Arial"/>
                          <a:cs typeface="Arial"/>
                        </a:rPr>
                        <a:t>(73.2)</a:t>
                      </a:r>
                      <a:endParaRPr sz="1100">
                        <a:latin typeface="Arial"/>
                        <a:cs typeface="Arial"/>
                      </a:endParaRPr>
                    </a:p>
                    <a:p>
                      <a:pPr marL="188595">
                        <a:lnSpc>
                          <a:spcPts val="1225"/>
                        </a:lnSpc>
                      </a:pPr>
                      <a:r>
                        <a:rPr sz="1100" dirty="0">
                          <a:latin typeface="Arial"/>
                          <a:cs typeface="Arial"/>
                        </a:rPr>
                        <a:t>6</a:t>
                      </a:r>
                      <a:r>
                        <a:rPr sz="1100" spc="-10" dirty="0">
                          <a:latin typeface="Arial"/>
                          <a:cs typeface="Arial"/>
                        </a:rPr>
                        <a:t> (14.6)</a:t>
                      </a:r>
                      <a:endParaRPr sz="1100">
                        <a:latin typeface="Arial"/>
                        <a:cs typeface="Arial"/>
                      </a:endParaRPr>
                    </a:p>
                    <a:p>
                      <a:pPr marL="226695">
                        <a:lnSpc>
                          <a:spcPts val="1230"/>
                        </a:lnSpc>
                      </a:pPr>
                      <a:r>
                        <a:rPr sz="1100" dirty="0">
                          <a:latin typeface="Arial"/>
                          <a:cs typeface="Arial"/>
                        </a:rPr>
                        <a:t>4</a:t>
                      </a:r>
                      <a:r>
                        <a:rPr sz="1100" spc="-10" dirty="0">
                          <a:latin typeface="Arial"/>
                          <a:cs typeface="Arial"/>
                        </a:rPr>
                        <a:t> (9.8)</a:t>
                      </a:r>
                      <a:endParaRPr sz="1100">
                        <a:latin typeface="Arial"/>
                        <a:cs typeface="Arial"/>
                      </a:endParaRPr>
                    </a:p>
                    <a:p>
                      <a:pPr marL="226695">
                        <a:lnSpc>
                          <a:spcPts val="1280"/>
                        </a:lnSpc>
                      </a:pPr>
                      <a:r>
                        <a:rPr sz="1100" dirty="0">
                          <a:latin typeface="Arial"/>
                          <a:cs typeface="Arial"/>
                        </a:rPr>
                        <a:t>1</a:t>
                      </a:r>
                      <a:r>
                        <a:rPr sz="1100" spc="-10" dirty="0">
                          <a:latin typeface="Arial"/>
                          <a:cs typeface="Arial"/>
                        </a:rPr>
                        <a:t> (2.4)</a:t>
                      </a:r>
                      <a:endParaRPr sz="1100">
                        <a:latin typeface="Arial"/>
                        <a:cs typeface="Arial"/>
                      </a:endParaRPr>
                    </a:p>
                  </a:txBody>
                  <a:tcPr marL="0" marR="0" marT="38100" marB="0">
                    <a:lnR w="28575">
                      <a:solidFill>
                        <a:srgbClr val="F4680D"/>
                      </a:solidFill>
                      <a:prstDash val="solid"/>
                    </a:lnR>
                    <a:lnT w="28575">
                      <a:solidFill>
                        <a:srgbClr val="F4680D"/>
                      </a:solidFill>
                      <a:prstDash val="solid"/>
                    </a:lnT>
                    <a:lnB w="28575">
                      <a:solidFill>
                        <a:srgbClr val="F4680D"/>
                      </a:solidFill>
                      <a:prstDash val="solid"/>
                    </a:lnB>
                    <a:solidFill>
                      <a:srgbClr val="EBEBEB"/>
                    </a:solidFill>
                  </a:tcPr>
                </a:tc>
                <a:extLst>
                  <a:ext uri="{0D108BD9-81ED-4DB2-BD59-A6C34878D82A}">
                    <a16:rowId xmlns:a16="http://schemas.microsoft.com/office/drawing/2014/main" val="10008"/>
                  </a:ext>
                </a:extLst>
              </a:tr>
            </a:tbl>
          </a:graphicData>
        </a:graphic>
      </p:graphicFrame>
      <p:graphicFrame>
        <p:nvGraphicFramePr>
          <p:cNvPr id="4" name="object 4"/>
          <p:cNvGraphicFramePr>
            <a:graphicFrameLocks noGrp="1"/>
          </p:cNvGraphicFramePr>
          <p:nvPr/>
        </p:nvGraphicFramePr>
        <p:xfrm>
          <a:off x="6263513" y="1576577"/>
          <a:ext cx="5456554" cy="3382010"/>
        </p:xfrm>
        <a:graphic>
          <a:graphicData uri="http://schemas.openxmlformats.org/drawingml/2006/table">
            <a:tbl>
              <a:tblPr firstRow="1" bandRow="1">
                <a:tableStyleId>{2D5ABB26-0587-4C30-8999-92F81FD0307C}</a:tableStyleId>
              </a:tblPr>
              <a:tblGrid>
                <a:gridCol w="2365375">
                  <a:extLst>
                    <a:ext uri="{9D8B030D-6E8A-4147-A177-3AD203B41FA5}">
                      <a16:colId xmlns:a16="http://schemas.microsoft.com/office/drawing/2014/main" val="20000"/>
                    </a:ext>
                  </a:extLst>
                </a:gridCol>
                <a:gridCol w="997585">
                  <a:extLst>
                    <a:ext uri="{9D8B030D-6E8A-4147-A177-3AD203B41FA5}">
                      <a16:colId xmlns:a16="http://schemas.microsoft.com/office/drawing/2014/main" val="20001"/>
                    </a:ext>
                  </a:extLst>
                </a:gridCol>
                <a:gridCol w="1205230">
                  <a:extLst>
                    <a:ext uri="{9D8B030D-6E8A-4147-A177-3AD203B41FA5}">
                      <a16:colId xmlns:a16="http://schemas.microsoft.com/office/drawing/2014/main" val="20002"/>
                    </a:ext>
                  </a:extLst>
                </a:gridCol>
                <a:gridCol w="888364">
                  <a:extLst>
                    <a:ext uri="{9D8B030D-6E8A-4147-A177-3AD203B41FA5}">
                      <a16:colId xmlns:a16="http://schemas.microsoft.com/office/drawing/2014/main" val="20003"/>
                    </a:ext>
                  </a:extLst>
                </a:gridCol>
              </a:tblGrid>
              <a:tr h="614045">
                <a:tc gridSpan="2">
                  <a:txBody>
                    <a:bodyPr/>
                    <a:lstStyle/>
                    <a:p>
                      <a:pPr marL="2306320" marR="78105" algn="ctr">
                        <a:lnSpc>
                          <a:spcPct val="93200"/>
                        </a:lnSpc>
                        <a:spcBef>
                          <a:spcPts val="540"/>
                        </a:spcBef>
                      </a:pPr>
                      <a:r>
                        <a:rPr sz="1100" b="1" dirty="0">
                          <a:solidFill>
                            <a:srgbClr val="FFFFFF"/>
                          </a:solidFill>
                          <a:latin typeface="Arial"/>
                          <a:cs typeface="Arial"/>
                        </a:rPr>
                        <a:t>Glofit</a:t>
                      </a:r>
                      <a:r>
                        <a:rPr sz="1100" b="1" spc="-45" dirty="0">
                          <a:solidFill>
                            <a:srgbClr val="FFFFFF"/>
                          </a:solidFill>
                          <a:latin typeface="Arial"/>
                          <a:cs typeface="Arial"/>
                        </a:rPr>
                        <a:t> </a:t>
                      </a:r>
                      <a:r>
                        <a:rPr sz="1100" b="1" dirty="0">
                          <a:solidFill>
                            <a:srgbClr val="FFFFFF"/>
                          </a:solidFill>
                          <a:latin typeface="Arial"/>
                          <a:cs typeface="Arial"/>
                        </a:rPr>
                        <a:t>+ </a:t>
                      </a:r>
                      <a:r>
                        <a:rPr sz="1100" b="1" spc="-10" dirty="0">
                          <a:solidFill>
                            <a:srgbClr val="FFFFFF"/>
                          </a:solidFill>
                          <a:latin typeface="Arial"/>
                          <a:cs typeface="Arial"/>
                        </a:rPr>
                        <a:t>Lonca, </a:t>
                      </a:r>
                      <a:r>
                        <a:rPr sz="1100" b="1" dirty="0">
                          <a:solidFill>
                            <a:srgbClr val="FFFFFF"/>
                          </a:solidFill>
                          <a:latin typeface="Arial"/>
                          <a:cs typeface="Arial"/>
                        </a:rPr>
                        <a:t>120</a:t>
                      </a:r>
                      <a:r>
                        <a:rPr sz="1100" b="1" spc="-30" dirty="0">
                          <a:solidFill>
                            <a:srgbClr val="FFFFFF"/>
                          </a:solidFill>
                          <a:latin typeface="Arial"/>
                          <a:cs typeface="Arial"/>
                        </a:rPr>
                        <a:t> </a:t>
                      </a:r>
                      <a:r>
                        <a:rPr sz="1100" b="1" spc="-10" dirty="0">
                          <a:solidFill>
                            <a:srgbClr val="FFFFFF"/>
                          </a:solidFill>
                          <a:latin typeface="Arial"/>
                          <a:cs typeface="Arial"/>
                        </a:rPr>
                        <a:t>μg/kg</a:t>
                      </a:r>
                      <a:r>
                        <a:rPr sz="1050" spc="-15" baseline="27777" dirty="0">
                          <a:solidFill>
                            <a:srgbClr val="FFFFFF"/>
                          </a:solidFill>
                          <a:latin typeface="Arial"/>
                          <a:cs typeface="Arial"/>
                        </a:rPr>
                        <a:t>a</a:t>
                      </a:r>
                      <a:r>
                        <a:rPr sz="1050" spc="750" baseline="27777" dirty="0">
                          <a:solidFill>
                            <a:srgbClr val="FFFFFF"/>
                          </a:solidFill>
                          <a:latin typeface="Arial"/>
                          <a:cs typeface="Arial"/>
                        </a:rPr>
                        <a:t> </a:t>
                      </a:r>
                      <a:r>
                        <a:rPr sz="1100" b="1" spc="-10" dirty="0">
                          <a:solidFill>
                            <a:srgbClr val="FFFFFF"/>
                          </a:solidFill>
                          <a:latin typeface="Arial"/>
                          <a:cs typeface="Arial"/>
                        </a:rPr>
                        <a:t>(n=20)</a:t>
                      </a:r>
                      <a:endParaRPr sz="1100">
                        <a:latin typeface="Arial"/>
                        <a:cs typeface="Arial"/>
                      </a:endParaRPr>
                    </a:p>
                  </a:txBody>
                  <a:tcPr marL="0" marR="0" marT="68580" marB="0">
                    <a:lnL w="12700">
                      <a:solidFill>
                        <a:srgbClr val="009FD5"/>
                      </a:solidFill>
                      <a:prstDash val="solid"/>
                    </a:lnL>
                    <a:lnT w="12700">
                      <a:solidFill>
                        <a:srgbClr val="009FD5"/>
                      </a:solidFill>
                      <a:prstDash val="solid"/>
                    </a:lnT>
                    <a:lnB w="12700">
                      <a:solidFill>
                        <a:srgbClr val="009FD5"/>
                      </a:solidFill>
                      <a:prstDash val="solid"/>
                    </a:lnB>
                    <a:solidFill>
                      <a:srgbClr val="183D8E"/>
                    </a:solidFill>
                  </a:tcPr>
                </a:tc>
                <a:tc hMerge="1">
                  <a:txBody>
                    <a:bodyPr/>
                    <a:lstStyle/>
                    <a:p>
                      <a:endParaRPr/>
                    </a:p>
                  </a:txBody>
                  <a:tcPr marL="0" marR="0" marT="0" marB="0"/>
                </a:tc>
                <a:tc>
                  <a:txBody>
                    <a:bodyPr/>
                    <a:lstStyle/>
                    <a:p>
                      <a:pPr marL="85725" marR="140970" algn="ctr">
                        <a:lnSpc>
                          <a:spcPct val="93200"/>
                        </a:lnSpc>
                        <a:spcBef>
                          <a:spcPts val="540"/>
                        </a:spcBef>
                      </a:pPr>
                      <a:r>
                        <a:rPr sz="1100" b="1" dirty="0">
                          <a:solidFill>
                            <a:srgbClr val="FFFFFF"/>
                          </a:solidFill>
                          <a:latin typeface="Arial"/>
                          <a:cs typeface="Arial"/>
                        </a:rPr>
                        <a:t>Glofit</a:t>
                      </a:r>
                      <a:r>
                        <a:rPr sz="1100" b="1" spc="-45" dirty="0">
                          <a:solidFill>
                            <a:srgbClr val="FFFFFF"/>
                          </a:solidFill>
                          <a:latin typeface="Arial"/>
                          <a:cs typeface="Arial"/>
                        </a:rPr>
                        <a:t> </a:t>
                      </a:r>
                      <a:r>
                        <a:rPr sz="1100" b="1" dirty="0">
                          <a:solidFill>
                            <a:srgbClr val="FFFFFF"/>
                          </a:solidFill>
                          <a:latin typeface="Arial"/>
                          <a:cs typeface="Arial"/>
                        </a:rPr>
                        <a:t>+ </a:t>
                      </a:r>
                      <a:r>
                        <a:rPr sz="1100" b="1" spc="-10" dirty="0">
                          <a:solidFill>
                            <a:srgbClr val="FFFFFF"/>
                          </a:solidFill>
                          <a:latin typeface="Arial"/>
                          <a:cs typeface="Arial"/>
                        </a:rPr>
                        <a:t>Lonca, </a:t>
                      </a:r>
                      <a:r>
                        <a:rPr sz="1100" b="1" dirty="0">
                          <a:solidFill>
                            <a:srgbClr val="FFFFFF"/>
                          </a:solidFill>
                          <a:latin typeface="Arial"/>
                          <a:cs typeface="Arial"/>
                        </a:rPr>
                        <a:t>150</a:t>
                      </a:r>
                      <a:r>
                        <a:rPr sz="1100" b="1" spc="-30" dirty="0">
                          <a:solidFill>
                            <a:srgbClr val="FFFFFF"/>
                          </a:solidFill>
                          <a:latin typeface="Arial"/>
                          <a:cs typeface="Arial"/>
                        </a:rPr>
                        <a:t> </a:t>
                      </a:r>
                      <a:r>
                        <a:rPr sz="1100" b="1" spc="-10" dirty="0">
                          <a:solidFill>
                            <a:srgbClr val="FFFFFF"/>
                          </a:solidFill>
                          <a:latin typeface="Arial"/>
                          <a:cs typeface="Arial"/>
                        </a:rPr>
                        <a:t>μg/kg</a:t>
                      </a:r>
                      <a:r>
                        <a:rPr sz="1050" spc="-15" baseline="27777" dirty="0">
                          <a:solidFill>
                            <a:srgbClr val="FFFFFF"/>
                          </a:solidFill>
                          <a:latin typeface="Arial"/>
                          <a:cs typeface="Arial"/>
                        </a:rPr>
                        <a:t>a</a:t>
                      </a:r>
                      <a:r>
                        <a:rPr sz="1050" spc="750" baseline="27777" dirty="0">
                          <a:solidFill>
                            <a:srgbClr val="FFFFFF"/>
                          </a:solidFill>
                          <a:latin typeface="Arial"/>
                          <a:cs typeface="Arial"/>
                        </a:rPr>
                        <a:t> </a:t>
                      </a:r>
                      <a:r>
                        <a:rPr sz="1100" b="1" spc="-10" dirty="0">
                          <a:solidFill>
                            <a:srgbClr val="FFFFFF"/>
                          </a:solidFill>
                          <a:latin typeface="Arial"/>
                          <a:cs typeface="Arial"/>
                        </a:rPr>
                        <a:t>(n=21)</a:t>
                      </a:r>
                      <a:endParaRPr sz="1100">
                        <a:latin typeface="Arial"/>
                        <a:cs typeface="Arial"/>
                      </a:endParaRPr>
                    </a:p>
                  </a:txBody>
                  <a:tcPr marL="0" marR="0" marT="68580" marB="0">
                    <a:lnT w="12700">
                      <a:solidFill>
                        <a:srgbClr val="009FD5"/>
                      </a:solidFill>
                      <a:prstDash val="solid"/>
                    </a:lnT>
                    <a:lnB w="12700">
                      <a:solidFill>
                        <a:srgbClr val="009FD5"/>
                      </a:solidFill>
                      <a:prstDash val="solid"/>
                    </a:lnB>
                    <a:solidFill>
                      <a:srgbClr val="183D8E"/>
                    </a:solidFill>
                  </a:tcPr>
                </a:tc>
                <a:tc>
                  <a:txBody>
                    <a:bodyPr/>
                    <a:lstStyle/>
                    <a:p>
                      <a:pPr marL="158115" marR="179705" algn="ctr">
                        <a:lnSpc>
                          <a:spcPct val="93200"/>
                        </a:lnSpc>
                        <a:spcBef>
                          <a:spcPts val="540"/>
                        </a:spcBef>
                      </a:pPr>
                      <a:r>
                        <a:rPr sz="1100" b="1" dirty="0">
                          <a:solidFill>
                            <a:srgbClr val="FFFFFF"/>
                          </a:solidFill>
                          <a:latin typeface="Arial"/>
                          <a:cs typeface="Arial"/>
                        </a:rPr>
                        <a:t>All</a:t>
                      </a:r>
                      <a:r>
                        <a:rPr sz="1100" b="1" spc="-25" dirty="0">
                          <a:solidFill>
                            <a:srgbClr val="FFFFFF"/>
                          </a:solidFill>
                          <a:latin typeface="Arial"/>
                          <a:cs typeface="Arial"/>
                        </a:rPr>
                        <a:t> </a:t>
                      </a:r>
                      <a:r>
                        <a:rPr sz="1100" b="1" spc="-20" dirty="0">
                          <a:solidFill>
                            <a:srgbClr val="FFFFFF"/>
                          </a:solidFill>
                          <a:latin typeface="Arial"/>
                          <a:cs typeface="Arial"/>
                        </a:rPr>
                        <a:t>dose </a:t>
                      </a:r>
                      <a:r>
                        <a:rPr sz="1100" b="1" spc="-10" dirty="0">
                          <a:solidFill>
                            <a:srgbClr val="FFFFFF"/>
                          </a:solidFill>
                          <a:latin typeface="Arial"/>
                          <a:cs typeface="Arial"/>
                        </a:rPr>
                        <a:t>levels (N=41)</a:t>
                      </a:r>
                      <a:endParaRPr sz="1100">
                        <a:latin typeface="Arial"/>
                        <a:cs typeface="Arial"/>
                      </a:endParaRPr>
                    </a:p>
                  </a:txBody>
                  <a:tcPr marL="0" marR="0" marT="68580" marB="0">
                    <a:lnR w="12700">
                      <a:solidFill>
                        <a:srgbClr val="009FD5"/>
                      </a:solidFill>
                      <a:prstDash val="solid"/>
                    </a:lnR>
                    <a:lnT w="12700">
                      <a:solidFill>
                        <a:srgbClr val="009FD5"/>
                      </a:solidFill>
                      <a:prstDash val="solid"/>
                    </a:lnT>
                    <a:lnB w="12700">
                      <a:solidFill>
                        <a:srgbClr val="009FD5"/>
                      </a:solidFill>
                      <a:prstDash val="solid"/>
                    </a:lnB>
                    <a:solidFill>
                      <a:srgbClr val="183D8E"/>
                    </a:solidFill>
                  </a:tcPr>
                </a:tc>
                <a:extLst>
                  <a:ext uri="{0D108BD9-81ED-4DB2-BD59-A6C34878D82A}">
                    <a16:rowId xmlns:a16="http://schemas.microsoft.com/office/drawing/2014/main" val="10000"/>
                  </a:ext>
                </a:extLst>
              </a:tr>
              <a:tr h="552450">
                <a:tc>
                  <a:txBody>
                    <a:bodyPr/>
                    <a:lstStyle/>
                    <a:p>
                      <a:pPr marL="173355" marR="831850" indent="-116205">
                        <a:lnSpc>
                          <a:spcPts val="1240"/>
                        </a:lnSpc>
                        <a:spcBef>
                          <a:spcPts val="315"/>
                        </a:spcBef>
                      </a:pPr>
                      <a:r>
                        <a:rPr sz="1100" b="1" dirty="0">
                          <a:latin typeface="Arial"/>
                          <a:cs typeface="Arial"/>
                        </a:rPr>
                        <a:t>DLBCL</a:t>
                      </a:r>
                      <a:r>
                        <a:rPr sz="1100" b="1" spc="-35" dirty="0">
                          <a:latin typeface="Arial"/>
                          <a:cs typeface="Arial"/>
                        </a:rPr>
                        <a:t> </a:t>
                      </a:r>
                      <a:r>
                        <a:rPr sz="1100" b="1" dirty="0">
                          <a:latin typeface="Arial"/>
                          <a:cs typeface="Arial"/>
                        </a:rPr>
                        <a:t>subtype,</a:t>
                      </a:r>
                      <a:r>
                        <a:rPr sz="1100" b="1" spc="-20" dirty="0">
                          <a:latin typeface="Arial"/>
                          <a:cs typeface="Arial"/>
                        </a:rPr>
                        <a:t> </a:t>
                      </a:r>
                      <a:r>
                        <a:rPr sz="1100" b="1" dirty="0">
                          <a:latin typeface="Arial"/>
                          <a:cs typeface="Arial"/>
                        </a:rPr>
                        <a:t>n</a:t>
                      </a:r>
                      <a:r>
                        <a:rPr sz="1100" b="1" spc="-50" dirty="0">
                          <a:latin typeface="Arial"/>
                          <a:cs typeface="Arial"/>
                        </a:rPr>
                        <a:t> </a:t>
                      </a:r>
                      <a:r>
                        <a:rPr sz="1100" b="1" spc="-25" dirty="0">
                          <a:latin typeface="Arial"/>
                          <a:cs typeface="Arial"/>
                        </a:rPr>
                        <a:t>(%) GCB</a:t>
                      </a:r>
                      <a:endParaRPr sz="1100">
                        <a:latin typeface="Arial"/>
                        <a:cs typeface="Arial"/>
                      </a:endParaRPr>
                    </a:p>
                    <a:p>
                      <a:pPr marL="173355">
                        <a:lnSpc>
                          <a:spcPts val="1195"/>
                        </a:lnSpc>
                      </a:pPr>
                      <a:r>
                        <a:rPr sz="1100" b="1" spc="-10" dirty="0">
                          <a:latin typeface="Arial"/>
                          <a:cs typeface="Arial"/>
                        </a:rPr>
                        <a:t>non-</a:t>
                      </a:r>
                      <a:r>
                        <a:rPr sz="1100" b="1" spc="-25" dirty="0">
                          <a:latin typeface="Arial"/>
                          <a:cs typeface="Arial"/>
                        </a:rPr>
                        <a:t>GCB</a:t>
                      </a:r>
                      <a:endParaRPr sz="1100">
                        <a:latin typeface="Arial"/>
                        <a:cs typeface="Arial"/>
                      </a:endParaRPr>
                    </a:p>
                  </a:txBody>
                  <a:tcPr marL="0" marR="0" marT="40005" marB="0">
                    <a:lnL w="12700">
                      <a:solidFill>
                        <a:srgbClr val="009FD5"/>
                      </a:solidFill>
                      <a:prstDash val="solid"/>
                    </a:lnL>
                    <a:lnT w="12700">
                      <a:solidFill>
                        <a:srgbClr val="009FD5"/>
                      </a:solidFill>
                      <a:prstDash val="solid"/>
                    </a:lnT>
                    <a:lnB w="12700">
                      <a:solidFill>
                        <a:srgbClr val="009FD5"/>
                      </a:solidFill>
                      <a:prstDash val="solid"/>
                    </a:lnB>
                    <a:solidFill>
                      <a:srgbClr val="FFFFFF"/>
                    </a:solidFill>
                  </a:tcPr>
                </a:tc>
                <a:tc>
                  <a:txBody>
                    <a:bodyPr/>
                    <a:lstStyle/>
                    <a:p>
                      <a:pPr marL="146685">
                        <a:lnSpc>
                          <a:spcPts val="1280"/>
                        </a:lnSpc>
                        <a:spcBef>
                          <a:spcPts val="819"/>
                        </a:spcBef>
                      </a:pPr>
                      <a:r>
                        <a:rPr sz="1100" dirty="0">
                          <a:latin typeface="Arial"/>
                          <a:cs typeface="Arial"/>
                        </a:rPr>
                        <a:t>10</a:t>
                      </a:r>
                      <a:r>
                        <a:rPr sz="1100" spc="-15" dirty="0">
                          <a:latin typeface="Arial"/>
                          <a:cs typeface="Arial"/>
                        </a:rPr>
                        <a:t> </a:t>
                      </a:r>
                      <a:r>
                        <a:rPr sz="1100" spc="-10" dirty="0">
                          <a:latin typeface="Arial"/>
                          <a:cs typeface="Arial"/>
                        </a:rPr>
                        <a:t>(50.0)</a:t>
                      </a:r>
                      <a:endParaRPr sz="1100">
                        <a:latin typeface="Arial"/>
                        <a:cs typeface="Arial"/>
                      </a:endParaRPr>
                    </a:p>
                    <a:p>
                      <a:pPr marL="184785">
                        <a:lnSpc>
                          <a:spcPts val="1280"/>
                        </a:lnSpc>
                      </a:pPr>
                      <a:r>
                        <a:rPr sz="1100" dirty="0">
                          <a:latin typeface="Arial"/>
                          <a:cs typeface="Arial"/>
                        </a:rPr>
                        <a:t>5</a:t>
                      </a:r>
                      <a:r>
                        <a:rPr sz="1100" spc="-10" dirty="0">
                          <a:latin typeface="Arial"/>
                          <a:cs typeface="Arial"/>
                        </a:rPr>
                        <a:t> (25.0)</a:t>
                      </a:r>
                      <a:endParaRPr sz="1100">
                        <a:latin typeface="Arial"/>
                        <a:cs typeface="Arial"/>
                      </a:endParaRPr>
                    </a:p>
                  </a:txBody>
                  <a:tcPr marL="0" marR="0" marT="104139" marB="0">
                    <a:lnT w="12700">
                      <a:solidFill>
                        <a:srgbClr val="009FD5"/>
                      </a:solidFill>
                      <a:prstDash val="solid"/>
                    </a:lnT>
                    <a:lnB w="12700">
                      <a:solidFill>
                        <a:srgbClr val="009FD5"/>
                      </a:solidFill>
                      <a:prstDash val="solid"/>
                    </a:lnB>
                    <a:solidFill>
                      <a:srgbClr val="FFFFFF"/>
                    </a:solidFill>
                  </a:tcPr>
                </a:tc>
                <a:tc>
                  <a:txBody>
                    <a:bodyPr/>
                    <a:lstStyle/>
                    <a:p>
                      <a:pPr marL="291465">
                        <a:lnSpc>
                          <a:spcPts val="1280"/>
                        </a:lnSpc>
                        <a:spcBef>
                          <a:spcPts val="819"/>
                        </a:spcBef>
                      </a:pPr>
                      <a:r>
                        <a:rPr sz="1100" dirty="0">
                          <a:latin typeface="Arial"/>
                          <a:cs typeface="Arial"/>
                        </a:rPr>
                        <a:t>11</a:t>
                      </a:r>
                      <a:r>
                        <a:rPr sz="1100" spc="-15" dirty="0">
                          <a:latin typeface="Arial"/>
                          <a:cs typeface="Arial"/>
                        </a:rPr>
                        <a:t> </a:t>
                      </a:r>
                      <a:r>
                        <a:rPr sz="1100" spc="-10" dirty="0">
                          <a:latin typeface="Arial"/>
                          <a:cs typeface="Arial"/>
                        </a:rPr>
                        <a:t>(52.4)</a:t>
                      </a:r>
                      <a:endParaRPr sz="1100">
                        <a:latin typeface="Arial"/>
                        <a:cs typeface="Arial"/>
                      </a:endParaRPr>
                    </a:p>
                    <a:p>
                      <a:pPr marL="329565">
                        <a:lnSpc>
                          <a:spcPts val="1280"/>
                        </a:lnSpc>
                      </a:pPr>
                      <a:r>
                        <a:rPr sz="1100" dirty="0">
                          <a:latin typeface="Arial"/>
                          <a:cs typeface="Arial"/>
                        </a:rPr>
                        <a:t>8</a:t>
                      </a:r>
                      <a:r>
                        <a:rPr sz="1100" spc="-10" dirty="0">
                          <a:latin typeface="Arial"/>
                          <a:cs typeface="Arial"/>
                        </a:rPr>
                        <a:t> (38.1)</a:t>
                      </a:r>
                      <a:endParaRPr sz="1100">
                        <a:latin typeface="Arial"/>
                        <a:cs typeface="Arial"/>
                      </a:endParaRPr>
                    </a:p>
                  </a:txBody>
                  <a:tcPr marL="0" marR="0" marT="104139" marB="0">
                    <a:lnT w="12700">
                      <a:solidFill>
                        <a:srgbClr val="009FD5"/>
                      </a:solidFill>
                      <a:prstDash val="solid"/>
                    </a:lnT>
                    <a:lnB w="12700">
                      <a:solidFill>
                        <a:srgbClr val="009FD5"/>
                      </a:solidFill>
                      <a:prstDash val="solid"/>
                    </a:lnB>
                    <a:solidFill>
                      <a:srgbClr val="FFFFFF"/>
                    </a:solidFill>
                  </a:tcPr>
                </a:tc>
                <a:tc>
                  <a:txBody>
                    <a:bodyPr/>
                    <a:lstStyle/>
                    <a:p>
                      <a:pPr marL="148590">
                        <a:lnSpc>
                          <a:spcPts val="1280"/>
                        </a:lnSpc>
                        <a:spcBef>
                          <a:spcPts val="819"/>
                        </a:spcBef>
                      </a:pPr>
                      <a:r>
                        <a:rPr sz="1100" dirty="0">
                          <a:latin typeface="Arial"/>
                          <a:cs typeface="Arial"/>
                        </a:rPr>
                        <a:t>21</a:t>
                      </a:r>
                      <a:r>
                        <a:rPr sz="1100" spc="-15" dirty="0">
                          <a:latin typeface="Arial"/>
                          <a:cs typeface="Arial"/>
                        </a:rPr>
                        <a:t> </a:t>
                      </a:r>
                      <a:r>
                        <a:rPr sz="1100" spc="-10" dirty="0">
                          <a:latin typeface="Arial"/>
                          <a:cs typeface="Arial"/>
                        </a:rPr>
                        <a:t>(51.2)</a:t>
                      </a:r>
                      <a:endParaRPr sz="1100">
                        <a:latin typeface="Arial"/>
                        <a:cs typeface="Arial"/>
                      </a:endParaRPr>
                    </a:p>
                    <a:p>
                      <a:pPr marL="148590">
                        <a:lnSpc>
                          <a:spcPts val="1280"/>
                        </a:lnSpc>
                      </a:pPr>
                      <a:r>
                        <a:rPr sz="1100" dirty="0">
                          <a:latin typeface="Arial"/>
                          <a:cs typeface="Arial"/>
                        </a:rPr>
                        <a:t>13</a:t>
                      </a:r>
                      <a:r>
                        <a:rPr sz="1100" spc="-15" dirty="0">
                          <a:latin typeface="Arial"/>
                          <a:cs typeface="Arial"/>
                        </a:rPr>
                        <a:t> </a:t>
                      </a:r>
                      <a:r>
                        <a:rPr sz="1100" spc="-10" dirty="0">
                          <a:latin typeface="Arial"/>
                          <a:cs typeface="Arial"/>
                        </a:rPr>
                        <a:t>(31.7)</a:t>
                      </a:r>
                      <a:endParaRPr sz="1100">
                        <a:latin typeface="Arial"/>
                        <a:cs typeface="Arial"/>
                      </a:endParaRPr>
                    </a:p>
                  </a:txBody>
                  <a:tcPr marL="0" marR="0" marT="104139" marB="0">
                    <a:lnR w="12700">
                      <a:solidFill>
                        <a:srgbClr val="009FD5"/>
                      </a:solidFill>
                      <a:prstDash val="solid"/>
                    </a:lnR>
                    <a:lnT w="12700">
                      <a:solidFill>
                        <a:srgbClr val="009FD5"/>
                      </a:solidFill>
                      <a:prstDash val="solid"/>
                    </a:lnT>
                    <a:lnB w="12700">
                      <a:solidFill>
                        <a:srgbClr val="009FD5"/>
                      </a:solidFill>
                      <a:prstDash val="solid"/>
                    </a:lnB>
                    <a:solidFill>
                      <a:srgbClr val="FFFFFF"/>
                    </a:solidFill>
                  </a:tcPr>
                </a:tc>
                <a:extLst>
                  <a:ext uri="{0D108BD9-81ED-4DB2-BD59-A6C34878D82A}">
                    <a16:rowId xmlns:a16="http://schemas.microsoft.com/office/drawing/2014/main" val="10001"/>
                  </a:ext>
                </a:extLst>
              </a:tr>
              <a:tr h="360680">
                <a:tc>
                  <a:txBody>
                    <a:bodyPr/>
                    <a:lstStyle/>
                    <a:p>
                      <a:pPr marL="57785">
                        <a:lnSpc>
                          <a:spcPct val="100000"/>
                        </a:lnSpc>
                        <a:spcBef>
                          <a:spcPts val="675"/>
                        </a:spcBef>
                      </a:pPr>
                      <a:r>
                        <a:rPr sz="1100" b="1" dirty="0">
                          <a:latin typeface="Arial"/>
                          <a:cs typeface="Arial"/>
                        </a:rPr>
                        <a:t>Double</a:t>
                      </a:r>
                      <a:r>
                        <a:rPr sz="1100" b="1" spc="-20" dirty="0">
                          <a:latin typeface="Arial"/>
                          <a:cs typeface="Arial"/>
                        </a:rPr>
                        <a:t> </a:t>
                      </a:r>
                      <a:r>
                        <a:rPr sz="1100" b="1" dirty="0">
                          <a:latin typeface="Arial"/>
                          <a:cs typeface="Arial"/>
                        </a:rPr>
                        <a:t>or</a:t>
                      </a:r>
                      <a:r>
                        <a:rPr sz="1100" b="1" spc="-20" dirty="0">
                          <a:latin typeface="Arial"/>
                          <a:cs typeface="Arial"/>
                        </a:rPr>
                        <a:t> </a:t>
                      </a:r>
                      <a:r>
                        <a:rPr sz="1100" b="1" dirty="0">
                          <a:latin typeface="Arial"/>
                          <a:cs typeface="Arial"/>
                        </a:rPr>
                        <a:t>triple</a:t>
                      </a:r>
                      <a:r>
                        <a:rPr sz="1100" b="1" spc="-55" dirty="0">
                          <a:latin typeface="Arial"/>
                          <a:cs typeface="Arial"/>
                        </a:rPr>
                        <a:t> </a:t>
                      </a:r>
                      <a:r>
                        <a:rPr sz="1100" b="1" dirty="0">
                          <a:latin typeface="Arial"/>
                          <a:cs typeface="Arial"/>
                        </a:rPr>
                        <a:t>hit,</a:t>
                      </a:r>
                      <a:r>
                        <a:rPr sz="1100" b="1" spc="-50" dirty="0">
                          <a:latin typeface="Arial"/>
                          <a:cs typeface="Arial"/>
                        </a:rPr>
                        <a:t> </a:t>
                      </a:r>
                      <a:r>
                        <a:rPr sz="1100" b="1" dirty="0">
                          <a:latin typeface="Arial"/>
                          <a:cs typeface="Arial"/>
                        </a:rPr>
                        <a:t>n</a:t>
                      </a:r>
                      <a:r>
                        <a:rPr sz="1100" b="1" spc="-10" dirty="0">
                          <a:latin typeface="Arial"/>
                          <a:cs typeface="Arial"/>
                        </a:rPr>
                        <a:t> </a:t>
                      </a:r>
                      <a:r>
                        <a:rPr sz="1100" b="1" spc="-25" dirty="0">
                          <a:latin typeface="Arial"/>
                          <a:cs typeface="Arial"/>
                        </a:rPr>
                        <a:t>(%)</a:t>
                      </a:r>
                      <a:endParaRPr sz="1100">
                        <a:latin typeface="Arial"/>
                        <a:cs typeface="Arial"/>
                      </a:endParaRPr>
                    </a:p>
                  </a:txBody>
                  <a:tcPr marL="0" marR="0" marT="85725" marB="0">
                    <a:lnL w="12700">
                      <a:solidFill>
                        <a:srgbClr val="009FD5"/>
                      </a:solidFill>
                      <a:prstDash val="solid"/>
                    </a:lnL>
                    <a:lnT w="12700">
                      <a:solidFill>
                        <a:srgbClr val="009FD5"/>
                      </a:solidFill>
                      <a:prstDash val="solid"/>
                    </a:lnT>
                    <a:lnB w="28575">
                      <a:solidFill>
                        <a:srgbClr val="F4680D"/>
                      </a:solidFill>
                      <a:prstDash val="solid"/>
                    </a:lnB>
                    <a:solidFill>
                      <a:srgbClr val="EBEBEB"/>
                    </a:solidFill>
                  </a:tcPr>
                </a:tc>
                <a:tc>
                  <a:txBody>
                    <a:bodyPr/>
                    <a:lstStyle/>
                    <a:p>
                      <a:pPr marL="184785">
                        <a:lnSpc>
                          <a:spcPct val="100000"/>
                        </a:lnSpc>
                        <a:spcBef>
                          <a:spcPts val="675"/>
                        </a:spcBef>
                      </a:pPr>
                      <a:r>
                        <a:rPr sz="1100" dirty="0">
                          <a:latin typeface="Arial"/>
                          <a:cs typeface="Arial"/>
                        </a:rPr>
                        <a:t>3</a:t>
                      </a:r>
                      <a:r>
                        <a:rPr sz="1100" spc="-10" dirty="0">
                          <a:latin typeface="Arial"/>
                          <a:cs typeface="Arial"/>
                        </a:rPr>
                        <a:t> (15.0)</a:t>
                      </a:r>
                      <a:endParaRPr sz="1100">
                        <a:latin typeface="Arial"/>
                        <a:cs typeface="Arial"/>
                      </a:endParaRPr>
                    </a:p>
                  </a:txBody>
                  <a:tcPr marL="0" marR="0" marT="85725" marB="0">
                    <a:lnT w="12700">
                      <a:solidFill>
                        <a:srgbClr val="009FD5"/>
                      </a:solidFill>
                      <a:prstDash val="solid"/>
                    </a:lnT>
                    <a:lnB w="28575">
                      <a:solidFill>
                        <a:srgbClr val="F4680D"/>
                      </a:solidFill>
                      <a:prstDash val="solid"/>
                    </a:lnB>
                    <a:solidFill>
                      <a:srgbClr val="EBEBEB"/>
                    </a:solidFill>
                  </a:tcPr>
                </a:tc>
                <a:tc>
                  <a:txBody>
                    <a:bodyPr/>
                    <a:lstStyle/>
                    <a:p>
                      <a:pPr marR="384810" algn="r">
                        <a:lnSpc>
                          <a:spcPct val="100000"/>
                        </a:lnSpc>
                        <a:spcBef>
                          <a:spcPts val="675"/>
                        </a:spcBef>
                      </a:pPr>
                      <a:r>
                        <a:rPr sz="1100" dirty="0">
                          <a:latin typeface="Arial"/>
                          <a:cs typeface="Arial"/>
                        </a:rPr>
                        <a:t>5</a:t>
                      </a:r>
                      <a:r>
                        <a:rPr sz="1100" spc="-10" dirty="0">
                          <a:latin typeface="Arial"/>
                          <a:cs typeface="Arial"/>
                        </a:rPr>
                        <a:t> (23.8)</a:t>
                      </a:r>
                      <a:endParaRPr sz="1100">
                        <a:latin typeface="Arial"/>
                        <a:cs typeface="Arial"/>
                      </a:endParaRPr>
                    </a:p>
                  </a:txBody>
                  <a:tcPr marL="0" marR="0" marT="85725" marB="0">
                    <a:lnT w="12700">
                      <a:solidFill>
                        <a:srgbClr val="009FD5"/>
                      </a:solidFill>
                      <a:prstDash val="solid"/>
                    </a:lnT>
                    <a:lnB w="28575">
                      <a:solidFill>
                        <a:srgbClr val="F4680D"/>
                      </a:solidFill>
                      <a:prstDash val="solid"/>
                    </a:lnB>
                    <a:solidFill>
                      <a:srgbClr val="EBEBEB"/>
                    </a:solidFill>
                  </a:tcPr>
                </a:tc>
                <a:tc>
                  <a:txBody>
                    <a:bodyPr/>
                    <a:lstStyle/>
                    <a:p>
                      <a:pPr marR="20955" algn="ctr">
                        <a:lnSpc>
                          <a:spcPct val="100000"/>
                        </a:lnSpc>
                        <a:spcBef>
                          <a:spcPts val="675"/>
                        </a:spcBef>
                      </a:pPr>
                      <a:r>
                        <a:rPr sz="1100" dirty="0">
                          <a:latin typeface="Arial"/>
                          <a:cs typeface="Arial"/>
                        </a:rPr>
                        <a:t>8</a:t>
                      </a:r>
                      <a:r>
                        <a:rPr sz="1100" spc="-10" dirty="0">
                          <a:latin typeface="Arial"/>
                          <a:cs typeface="Arial"/>
                        </a:rPr>
                        <a:t> (19.5)</a:t>
                      </a:r>
                      <a:endParaRPr sz="1100">
                        <a:latin typeface="Arial"/>
                        <a:cs typeface="Arial"/>
                      </a:endParaRPr>
                    </a:p>
                  </a:txBody>
                  <a:tcPr marL="0" marR="0" marT="85725" marB="0">
                    <a:lnR w="12700">
                      <a:solidFill>
                        <a:srgbClr val="009FD5"/>
                      </a:solidFill>
                      <a:prstDash val="solid"/>
                    </a:lnR>
                    <a:lnT w="12700">
                      <a:solidFill>
                        <a:srgbClr val="009FD5"/>
                      </a:solidFill>
                      <a:prstDash val="solid"/>
                    </a:lnT>
                    <a:lnB w="28575">
                      <a:solidFill>
                        <a:srgbClr val="F4680D"/>
                      </a:solidFill>
                      <a:prstDash val="solid"/>
                    </a:lnB>
                    <a:solidFill>
                      <a:srgbClr val="EBEBEB"/>
                    </a:solidFill>
                  </a:tcPr>
                </a:tc>
                <a:extLst>
                  <a:ext uri="{0D108BD9-81ED-4DB2-BD59-A6C34878D82A}">
                    <a16:rowId xmlns:a16="http://schemas.microsoft.com/office/drawing/2014/main" val="10002"/>
                  </a:ext>
                </a:extLst>
              </a:tr>
              <a:tr h="736600">
                <a:tc>
                  <a:txBody>
                    <a:bodyPr/>
                    <a:lstStyle/>
                    <a:p>
                      <a:pPr marL="173355" marR="926465" indent="-116205">
                        <a:lnSpc>
                          <a:spcPts val="1240"/>
                        </a:lnSpc>
                        <a:spcBef>
                          <a:spcPts val="420"/>
                        </a:spcBef>
                      </a:pPr>
                      <a:r>
                        <a:rPr sz="1100" b="1" dirty="0">
                          <a:latin typeface="Arial"/>
                          <a:cs typeface="Arial"/>
                        </a:rPr>
                        <a:t>Number</a:t>
                      </a:r>
                      <a:r>
                        <a:rPr sz="1100" b="1" spc="-20" dirty="0">
                          <a:latin typeface="Arial"/>
                          <a:cs typeface="Arial"/>
                        </a:rPr>
                        <a:t> </a:t>
                      </a:r>
                      <a:r>
                        <a:rPr sz="1100" b="1" dirty="0">
                          <a:latin typeface="Arial"/>
                          <a:cs typeface="Arial"/>
                        </a:rPr>
                        <a:t>of</a:t>
                      </a:r>
                      <a:r>
                        <a:rPr sz="1100" b="1" spc="-35" dirty="0">
                          <a:latin typeface="Arial"/>
                          <a:cs typeface="Arial"/>
                        </a:rPr>
                        <a:t> </a:t>
                      </a:r>
                      <a:r>
                        <a:rPr sz="1100" b="1" dirty="0">
                          <a:latin typeface="Arial"/>
                          <a:cs typeface="Arial"/>
                        </a:rPr>
                        <a:t>prior</a:t>
                      </a:r>
                      <a:r>
                        <a:rPr sz="1100" b="1" spc="-30" dirty="0">
                          <a:latin typeface="Arial"/>
                          <a:cs typeface="Arial"/>
                        </a:rPr>
                        <a:t> </a:t>
                      </a:r>
                      <a:r>
                        <a:rPr sz="1100" b="1" spc="-25" dirty="0">
                          <a:latin typeface="Arial"/>
                          <a:cs typeface="Arial"/>
                        </a:rPr>
                        <a:t>LOT </a:t>
                      </a:r>
                      <a:r>
                        <a:rPr sz="1100" b="1" dirty="0">
                          <a:latin typeface="Arial"/>
                          <a:cs typeface="Arial"/>
                        </a:rPr>
                        <a:t>Median</a:t>
                      </a:r>
                      <a:r>
                        <a:rPr sz="1100" b="1" spc="-25" dirty="0">
                          <a:latin typeface="Arial"/>
                          <a:cs typeface="Arial"/>
                        </a:rPr>
                        <a:t> </a:t>
                      </a:r>
                      <a:r>
                        <a:rPr sz="1100" b="1" spc="-10" dirty="0">
                          <a:latin typeface="Arial"/>
                          <a:cs typeface="Arial"/>
                        </a:rPr>
                        <a:t>(range)</a:t>
                      </a:r>
                      <a:endParaRPr sz="1100">
                        <a:latin typeface="Arial"/>
                        <a:cs typeface="Arial"/>
                      </a:endParaRPr>
                    </a:p>
                    <a:p>
                      <a:pPr marL="173355">
                        <a:lnSpc>
                          <a:spcPts val="1145"/>
                        </a:lnSpc>
                      </a:pPr>
                      <a:r>
                        <a:rPr sz="1100" b="1" dirty="0">
                          <a:latin typeface="Arial"/>
                          <a:cs typeface="Arial"/>
                        </a:rPr>
                        <a:t>1,</a:t>
                      </a:r>
                      <a:r>
                        <a:rPr sz="1100" b="1" spc="-20" dirty="0">
                          <a:latin typeface="Arial"/>
                          <a:cs typeface="Arial"/>
                        </a:rPr>
                        <a:t> </a:t>
                      </a:r>
                      <a:r>
                        <a:rPr sz="1100" b="1" dirty="0">
                          <a:latin typeface="Arial"/>
                          <a:cs typeface="Arial"/>
                        </a:rPr>
                        <a:t>n</a:t>
                      </a:r>
                      <a:r>
                        <a:rPr sz="1100" b="1" spc="-15" dirty="0">
                          <a:latin typeface="Arial"/>
                          <a:cs typeface="Arial"/>
                        </a:rPr>
                        <a:t> </a:t>
                      </a:r>
                      <a:r>
                        <a:rPr sz="1100" b="1" spc="-25" dirty="0">
                          <a:latin typeface="Arial"/>
                          <a:cs typeface="Arial"/>
                        </a:rPr>
                        <a:t>(%)</a:t>
                      </a:r>
                      <a:endParaRPr sz="1100">
                        <a:latin typeface="Arial"/>
                        <a:cs typeface="Arial"/>
                      </a:endParaRPr>
                    </a:p>
                    <a:p>
                      <a:pPr marL="173355">
                        <a:lnSpc>
                          <a:spcPts val="1275"/>
                        </a:lnSpc>
                      </a:pPr>
                      <a:r>
                        <a:rPr sz="1100" b="1" dirty="0">
                          <a:latin typeface="Arial"/>
                          <a:cs typeface="Arial"/>
                        </a:rPr>
                        <a:t>≥2,</a:t>
                      </a:r>
                      <a:r>
                        <a:rPr sz="1100" b="1" spc="-35" dirty="0">
                          <a:latin typeface="Arial"/>
                          <a:cs typeface="Arial"/>
                        </a:rPr>
                        <a:t> </a:t>
                      </a:r>
                      <a:r>
                        <a:rPr sz="1100" b="1" dirty="0">
                          <a:latin typeface="Arial"/>
                          <a:cs typeface="Arial"/>
                        </a:rPr>
                        <a:t>n</a:t>
                      </a:r>
                      <a:r>
                        <a:rPr sz="1100" b="1" spc="-15" dirty="0">
                          <a:latin typeface="Arial"/>
                          <a:cs typeface="Arial"/>
                        </a:rPr>
                        <a:t> </a:t>
                      </a:r>
                      <a:r>
                        <a:rPr sz="1100" b="1" spc="-25" dirty="0">
                          <a:latin typeface="Arial"/>
                          <a:cs typeface="Arial"/>
                        </a:rPr>
                        <a:t>(%)</a:t>
                      </a:r>
                      <a:endParaRPr sz="1100">
                        <a:latin typeface="Arial"/>
                        <a:cs typeface="Arial"/>
                      </a:endParaRPr>
                    </a:p>
                  </a:txBody>
                  <a:tcPr marL="0" marR="0" marT="53340" marB="0">
                    <a:lnL w="12700">
                      <a:solidFill>
                        <a:srgbClr val="F4680D"/>
                      </a:solidFill>
                      <a:prstDash val="solid"/>
                    </a:lnL>
                    <a:lnT w="28575">
                      <a:solidFill>
                        <a:srgbClr val="F4680D"/>
                      </a:solidFill>
                      <a:prstDash val="solid"/>
                    </a:lnT>
                    <a:lnB w="12700">
                      <a:solidFill>
                        <a:srgbClr val="009FD5"/>
                      </a:solidFill>
                      <a:prstDash val="solid"/>
                    </a:lnB>
                    <a:solidFill>
                      <a:srgbClr val="FFFFFF"/>
                    </a:solidFill>
                  </a:tcPr>
                </a:tc>
                <a:tc>
                  <a:txBody>
                    <a:bodyPr/>
                    <a:lstStyle/>
                    <a:p>
                      <a:pPr>
                        <a:lnSpc>
                          <a:spcPct val="100000"/>
                        </a:lnSpc>
                        <a:spcBef>
                          <a:spcPts val="280"/>
                        </a:spcBef>
                      </a:pPr>
                      <a:endParaRPr sz="1100">
                        <a:latin typeface="Times New Roman"/>
                        <a:cs typeface="Times New Roman"/>
                      </a:endParaRPr>
                    </a:p>
                    <a:p>
                      <a:pPr marL="219710">
                        <a:lnSpc>
                          <a:spcPts val="1270"/>
                        </a:lnSpc>
                        <a:spcBef>
                          <a:spcPts val="5"/>
                        </a:spcBef>
                      </a:pPr>
                      <a:r>
                        <a:rPr sz="1100" dirty="0">
                          <a:latin typeface="Arial"/>
                          <a:cs typeface="Arial"/>
                        </a:rPr>
                        <a:t>2</a:t>
                      </a:r>
                      <a:r>
                        <a:rPr sz="1100" spc="-5" dirty="0">
                          <a:latin typeface="Arial"/>
                          <a:cs typeface="Arial"/>
                        </a:rPr>
                        <a:t> </a:t>
                      </a:r>
                      <a:r>
                        <a:rPr sz="1100" dirty="0">
                          <a:latin typeface="Arial"/>
                          <a:cs typeface="Arial"/>
                        </a:rPr>
                        <a:t>(1-</a:t>
                      </a:r>
                      <a:r>
                        <a:rPr sz="1100" spc="-35" dirty="0">
                          <a:latin typeface="Arial"/>
                          <a:cs typeface="Arial"/>
                        </a:rPr>
                        <a:t>4)</a:t>
                      </a:r>
                      <a:endParaRPr sz="1100">
                        <a:latin typeface="Arial"/>
                        <a:cs typeface="Arial"/>
                      </a:endParaRPr>
                    </a:p>
                    <a:p>
                      <a:pPr marL="146685">
                        <a:lnSpc>
                          <a:spcPts val="1225"/>
                        </a:lnSpc>
                      </a:pPr>
                      <a:r>
                        <a:rPr sz="1100" dirty="0">
                          <a:latin typeface="Arial"/>
                          <a:cs typeface="Arial"/>
                        </a:rPr>
                        <a:t>10</a:t>
                      </a:r>
                      <a:r>
                        <a:rPr sz="1100" spc="-15" dirty="0">
                          <a:latin typeface="Arial"/>
                          <a:cs typeface="Arial"/>
                        </a:rPr>
                        <a:t> </a:t>
                      </a:r>
                      <a:r>
                        <a:rPr sz="1100" spc="-10" dirty="0">
                          <a:latin typeface="Arial"/>
                          <a:cs typeface="Arial"/>
                        </a:rPr>
                        <a:t>(50.0)</a:t>
                      </a:r>
                      <a:endParaRPr sz="1100">
                        <a:latin typeface="Arial"/>
                        <a:cs typeface="Arial"/>
                      </a:endParaRPr>
                    </a:p>
                    <a:p>
                      <a:pPr marL="146685">
                        <a:lnSpc>
                          <a:spcPts val="1275"/>
                        </a:lnSpc>
                      </a:pPr>
                      <a:r>
                        <a:rPr sz="1100" dirty="0">
                          <a:latin typeface="Arial"/>
                          <a:cs typeface="Arial"/>
                        </a:rPr>
                        <a:t>10</a:t>
                      </a:r>
                      <a:r>
                        <a:rPr sz="1100" spc="-15" dirty="0">
                          <a:latin typeface="Arial"/>
                          <a:cs typeface="Arial"/>
                        </a:rPr>
                        <a:t> </a:t>
                      </a:r>
                      <a:r>
                        <a:rPr sz="1100" spc="-10" dirty="0">
                          <a:latin typeface="Arial"/>
                          <a:cs typeface="Arial"/>
                        </a:rPr>
                        <a:t>(50.0)</a:t>
                      </a:r>
                      <a:endParaRPr sz="1100">
                        <a:latin typeface="Arial"/>
                        <a:cs typeface="Arial"/>
                      </a:endParaRPr>
                    </a:p>
                  </a:txBody>
                  <a:tcPr marL="0" marR="0" marT="35560" marB="0">
                    <a:lnT w="28575">
                      <a:solidFill>
                        <a:srgbClr val="F4680D"/>
                      </a:solidFill>
                      <a:prstDash val="solid"/>
                    </a:lnT>
                    <a:lnB w="12700">
                      <a:solidFill>
                        <a:srgbClr val="009FD5"/>
                      </a:solidFill>
                      <a:prstDash val="solid"/>
                    </a:lnB>
                    <a:solidFill>
                      <a:srgbClr val="FFFFFF"/>
                    </a:solidFill>
                  </a:tcPr>
                </a:tc>
                <a:tc>
                  <a:txBody>
                    <a:bodyPr/>
                    <a:lstStyle/>
                    <a:p>
                      <a:pPr>
                        <a:lnSpc>
                          <a:spcPct val="100000"/>
                        </a:lnSpc>
                        <a:spcBef>
                          <a:spcPts val="280"/>
                        </a:spcBef>
                      </a:pPr>
                      <a:endParaRPr sz="1100">
                        <a:latin typeface="Times New Roman"/>
                        <a:cs typeface="Times New Roman"/>
                      </a:endParaRPr>
                    </a:p>
                    <a:p>
                      <a:pPr marL="365125">
                        <a:lnSpc>
                          <a:spcPts val="1270"/>
                        </a:lnSpc>
                        <a:spcBef>
                          <a:spcPts val="5"/>
                        </a:spcBef>
                      </a:pPr>
                      <a:r>
                        <a:rPr sz="1100" dirty="0">
                          <a:latin typeface="Arial"/>
                          <a:cs typeface="Arial"/>
                        </a:rPr>
                        <a:t>2</a:t>
                      </a:r>
                      <a:r>
                        <a:rPr sz="1100" spc="-10" dirty="0">
                          <a:latin typeface="Arial"/>
                          <a:cs typeface="Arial"/>
                        </a:rPr>
                        <a:t> </a:t>
                      </a:r>
                      <a:r>
                        <a:rPr sz="1100" dirty="0">
                          <a:latin typeface="Arial"/>
                          <a:cs typeface="Arial"/>
                        </a:rPr>
                        <a:t>(1-</a:t>
                      </a:r>
                      <a:r>
                        <a:rPr sz="1100" spc="-25" dirty="0">
                          <a:latin typeface="Arial"/>
                          <a:cs typeface="Arial"/>
                        </a:rPr>
                        <a:t>5)</a:t>
                      </a:r>
                      <a:endParaRPr sz="1100">
                        <a:latin typeface="Arial"/>
                        <a:cs typeface="Arial"/>
                      </a:endParaRPr>
                    </a:p>
                    <a:p>
                      <a:pPr marL="291465">
                        <a:lnSpc>
                          <a:spcPts val="1225"/>
                        </a:lnSpc>
                      </a:pPr>
                      <a:r>
                        <a:rPr sz="1100" dirty="0">
                          <a:latin typeface="Arial"/>
                          <a:cs typeface="Arial"/>
                        </a:rPr>
                        <a:t>10</a:t>
                      </a:r>
                      <a:r>
                        <a:rPr sz="1100" spc="-15" dirty="0">
                          <a:latin typeface="Arial"/>
                          <a:cs typeface="Arial"/>
                        </a:rPr>
                        <a:t> </a:t>
                      </a:r>
                      <a:r>
                        <a:rPr sz="1100" spc="-10" dirty="0">
                          <a:latin typeface="Arial"/>
                          <a:cs typeface="Arial"/>
                        </a:rPr>
                        <a:t>(47.6)</a:t>
                      </a:r>
                      <a:endParaRPr sz="1100">
                        <a:latin typeface="Arial"/>
                        <a:cs typeface="Arial"/>
                      </a:endParaRPr>
                    </a:p>
                    <a:p>
                      <a:pPr marL="291465">
                        <a:lnSpc>
                          <a:spcPts val="1275"/>
                        </a:lnSpc>
                      </a:pPr>
                      <a:r>
                        <a:rPr sz="1100" dirty="0">
                          <a:latin typeface="Arial"/>
                          <a:cs typeface="Arial"/>
                        </a:rPr>
                        <a:t>11</a:t>
                      </a:r>
                      <a:r>
                        <a:rPr sz="1100" spc="-15" dirty="0">
                          <a:latin typeface="Arial"/>
                          <a:cs typeface="Arial"/>
                        </a:rPr>
                        <a:t> </a:t>
                      </a:r>
                      <a:r>
                        <a:rPr sz="1100" spc="-10" dirty="0">
                          <a:latin typeface="Arial"/>
                          <a:cs typeface="Arial"/>
                        </a:rPr>
                        <a:t>(52.4)</a:t>
                      </a:r>
                      <a:endParaRPr sz="1100">
                        <a:latin typeface="Arial"/>
                        <a:cs typeface="Arial"/>
                      </a:endParaRPr>
                    </a:p>
                  </a:txBody>
                  <a:tcPr marL="0" marR="0" marT="35560" marB="0">
                    <a:lnT w="28575">
                      <a:solidFill>
                        <a:srgbClr val="F4680D"/>
                      </a:solidFill>
                      <a:prstDash val="solid"/>
                    </a:lnT>
                    <a:lnB w="12700">
                      <a:solidFill>
                        <a:srgbClr val="009FD5"/>
                      </a:solidFill>
                      <a:prstDash val="solid"/>
                    </a:lnB>
                    <a:solidFill>
                      <a:srgbClr val="FFFFFF"/>
                    </a:solidFill>
                  </a:tcPr>
                </a:tc>
                <a:tc>
                  <a:txBody>
                    <a:bodyPr/>
                    <a:lstStyle/>
                    <a:p>
                      <a:pPr>
                        <a:lnSpc>
                          <a:spcPct val="100000"/>
                        </a:lnSpc>
                        <a:spcBef>
                          <a:spcPts val="280"/>
                        </a:spcBef>
                      </a:pPr>
                      <a:endParaRPr sz="1100">
                        <a:latin typeface="Times New Roman"/>
                        <a:cs typeface="Times New Roman"/>
                      </a:endParaRPr>
                    </a:p>
                    <a:p>
                      <a:pPr marL="223520">
                        <a:lnSpc>
                          <a:spcPts val="1270"/>
                        </a:lnSpc>
                        <a:spcBef>
                          <a:spcPts val="5"/>
                        </a:spcBef>
                      </a:pPr>
                      <a:r>
                        <a:rPr sz="1100" dirty="0">
                          <a:latin typeface="Arial"/>
                          <a:cs typeface="Arial"/>
                        </a:rPr>
                        <a:t>2</a:t>
                      </a:r>
                      <a:r>
                        <a:rPr sz="1100" spc="-10" dirty="0">
                          <a:latin typeface="Arial"/>
                          <a:cs typeface="Arial"/>
                        </a:rPr>
                        <a:t> </a:t>
                      </a:r>
                      <a:r>
                        <a:rPr sz="1100" dirty="0">
                          <a:latin typeface="Arial"/>
                          <a:cs typeface="Arial"/>
                        </a:rPr>
                        <a:t>(1-</a:t>
                      </a:r>
                      <a:r>
                        <a:rPr sz="1100" spc="-25" dirty="0">
                          <a:latin typeface="Arial"/>
                          <a:cs typeface="Arial"/>
                        </a:rPr>
                        <a:t>5)</a:t>
                      </a:r>
                      <a:endParaRPr sz="1100">
                        <a:latin typeface="Arial"/>
                        <a:cs typeface="Arial"/>
                      </a:endParaRPr>
                    </a:p>
                    <a:p>
                      <a:pPr marL="148590">
                        <a:lnSpc>
                          <a:spcPts val="1225"/>
                        </a:lnSpc>
                      </a:pPr>
                      <a:r>
                        <a:rPr sz="1100" dirty="0">
                          <a:latin typeface="Arial"/>
                          <a:cs typeface="Arial"/>
                        </a:rPr>
                        <a:t>20</a:t>
                      </a:r>
                      <a:r>
                        <a:rPr sz="1100" spc="-15" dirty="0">
                          <a:latin typeface="Arial"/>
                          <a:cs typeface="Arial"/>
                        </a:rPr>
                        <a:t> </a:t>
                      </a:r>
                      <a:r>
                        <a:rPr sz="1100" spc="-10" dirty="0">
                          <a:latin typeface="Arial"/>
                          <a:cs typeface="Arial"/>
                        </a:rPr>
                        <a:t>(48.8)</a:t>
                      </a:r>
                      <a:endParaRPr sz="1100">
                        <a:latin typeface="Arial"/>
                        <a:cs typeface="Arial"/>
                      </a:endParaRPr>
                    </a:p>
                    <a:p>
                      <a:pPr marL="148590">
                        <a:lnSpc>
                          <a:spcPts val="1275"/>
                        </a:lnSpc>
                      </a:pPr>
                      <a:r>
                        <a:rPr sz="1100" dirty="0">
                          <a:latin typeface="Arial"/>
                          <a:cs typeface="Arial"/>
                        </a:rPr>
                        <a:t>21</a:t>
                      </a:r>
                      <a:r>
                        <a:rPr sz="1100" spc="-15" dirty="0">
                          <a:latin typeface="Arial"/>
                          <a:cs typeface="Arial"/>
                        </a:rPr>
                        <a:t> </a:t>
                      </a:r>
                      <a:r>
                        <a:rPr sz="1100" spc="-10" dirty="0">
                          <a:latin typeface="Arial"/>
                          <a:cs typeface="Arial"/>
                        </a:rPr>
                        <a:t>(51.2)</a:t>
                      </a:r>
                      <a:endParaRPr sz="1100">
                        <a:latin typeface="Arial"/>
                        <a:cs typeface="Arial"/>
                      </a:endParaRPr>
                    </a:p>
                  </a:txBody>
                  <a:tcPr marL="0" marR="0" marT="35560" marB="0">
                    <a:lnR w="38100">
                      <a:solidFill>
                        <a:srgbClr val="F4680D"/>
                      </a:solidFill>
                      <a:prstDash val="solid"/>
                    </a:lnR>
                    <a:lnT w="28575">
                      <a:solidFill>
                        <a:srgbClr val="F4680D"/>
                      </a:solidFill>
                      <a:prstDash val="solid"/>
                    </a:lnT>
                    <a:lnB w="12700">
                      <a:solidFill>
                        <a:srgbClr val="009FD5"/>
                      </a:solidFill>
                      <a:prstDash val="solid"/>
                    </a:lnB>
                    <a:solidFill>
                      <a:srgbClr val="FFFFFF"/>
                    </a:solidFill>
                  </a:tcPr>
                </a:tc>
                <a:extLst>
                  <a:ext uri="{0D108BD9-81ED-4DB2-BD59-A6C34878D82A}">
                    <a16:rowId xmlns:a16="http://schemas.microsoft.com/office/drawing/2014/main" val="10003"/>
                  </a:ext>
                </a:extLst>
              </a:tr>
              <a:tr h="577215">
                <a:tc>
                  <a:txBody>
                    <a:bodyPr/>
                    <a:lstStyle/>
                    <a:p>
                      <a:pPr marL="173355" marR="139065" indent="-116205">
                        <a:lnSpc>
                          <a:spcPct val="93200"/>
                        </a:lnSpc>
                        <a:spcBef>
                          <a:spcPts val="380"/>
                        </a:spcBef>
                      </a:pPr>
                      <a:r>
                        <a:rPr sz="1100" b="1" spc="-10" dirty="0">
                          <a:latin typeface="Arial"/>
                          <a:cs typeface="Arial"/>
                        </a:rPr>
                        <a:t>Refractory</a:t>
                      </a:r>
                      <a:r>
                        <a:rPr sz="1100" b="1" spc="-25" dirty="0">
                          <a:latin typeface="Arial"/>
                          <a:cs typeface="Arial"/>
                        </a:rPr>
                        <a:t> </a:t>
                      </a:r>
                      <a:r>
                        <a:rPr sz="1100" b="1" dirty="0">
                          <a:latin typeface="Arial"/>
                          <a:cs typeface="Arial"/>
                        </a:rPr>
                        <a:t>status,</a:t>
                      </a:r>
                      <a:r>
                        <a:rPr sz="1100" b="1" spc="-10" dirty="0">
                          <a:latin typeface="Arial"/>
                          <a:cs typeface="Arial"/>
                        </a:rPr>
                        <a:t> </a:t>
                      </a:r>
                      <a:r>
                        <a:rPr sz="1100" b="1" dirty="0">
                          <a:latin typeface="Arial"/>
                          <a:cs typeface="Arial"/>
                        </a:rPr>
                        <a:t>n</a:t>
                      </a:r>
                      <a:r>
                        <a:rPr sz="1100" b="1" spc="5" dirty="0">
                          <a:latin typeface="Arial"/>
                          <a:cs typeface="Arial"/>
                        </a:rPr>
                        <a:t> </a:t>
                      </a:r>
                      <a:r>
                        <a:rPr sz="1100" b="1" spc="-25" dirty="0">
                          <a:latin typeface="Arial"/>
                          <a:cs typeface="Arial"/>
                        </a:rPr>
                        <a:t>(%) </a:t>
                      </a:r>
                      <a:r>
                        <a:rPr sz="1100" b="1" spc="-10" dirty="0">
                          <a:latin typeface="Arial"/>
                          <a:cs typeface="Arial"/>
                        </a:rPr>
                        <a:t>Refractory</a:t>
                      </a:r>
                      <a:r>
                        <a:rPr sz="1100" b="1" spc="-25" dirty="0">
                          <a:latin typeface="Arial"/>
                          <a:cs typeface="Arial"/>
                        </a:rPr>
                        <a:t> </a:t>
                      </a:r>
                      <a:r>
                        <a:rPr sz="1100" b="1" dirty="0">
                          <a:latin typeface="Arial"/>
                          <a:cs typeface="Arial"/>
                        </a:rPr>
                        <a:t>to</a:t>
                      </a:r>
                      <a:r>
                        <a:rPr sz="1100" b="1" spc="5" dirty="0">
                          <a:latin typeface="Arial"/>
                          <a:cs typeface="Arial"/>
                        </a:rPr>
                        <a:t> </a:t>
                      </a:r>
                      <a:r>
                        <a:rPr sz="1100" b="1" dirty="0">
                          <a:latin typeface="Arial"/>
                          <a:cs typeface="Arial"/>
                        </a:rPr>
                        <a:t>primary</a:t>
                      </a:r>
                      <a:r>
                        <a:rPr sz="1100" b="1" spc="-30" dirty="0">
                          <a:latin typeface="Arial"/>
                          <a:cs typeface="Arial"/>
                        </a:rPr>
                        <a:t> </a:t>
                      </a:r>
                      <a:r>
                        <a:rPr sz="1100" b="1" spc="-10" dirty="0">
                          <a:latin typeface="Arial"/>
                          <a:cs typeface="Arial"/>
                        </a:rPr>
                        <a:t>therapy Refractory</a:t>
                      </a:r>
                      <a:r>
                        <a:rPr sz="1100" b="1" spc="-25" dirty="0">
                          <a:latin typeface="Arial"/>
                          <a:cs typeface="Arial"/>
                        </a:rPr>
                        <a:t> </a:t>
                      </a:r>
                      <a:r>
                        <a:rPr sz="1100" b="1" dirty="0">
                          <a:latin typeface="Arial"/>
                          <a:cs typeface="Arial"/>
                        </a:rPr>
                        <a:t>to last</a:t>
                      </a:r>
                      <a:r>
                        <a:rPr sz="1100" b="1" spc="-15" dirty="0">
                          <a:latin typeface="Arial"/>
                          <a:cs typeface="Arial"/>
                        </a:rPr>
                        <a:t> </a:t>
                      </a:r>
                      <a:r>
                        <a:rPr sz="1100" b="1" dirty="0">
                          <a:latin typeface="Arial"/>
                          <a:cs typeface="Arial"/>
                        </a:rPr>
                        <a:t>prior</a:t>
                      </a:r>
                      <a:r>
                        <a:rPr sz="1100" b="1" spc="-20" dirty="0">
                          <a:latin typeface="Arial"/>
                          <a:cs typeface="Arial"/>
                        </a:rPr>
                        <a:t> </a:t>
                      </a:r>
                      <a:r>
                        <a:rPr sz="1100" b="1" spc="-10" dirty="0">
                          <a:latin typeface="Arial"/>
                          <a:cs typeface="Arial"/>
                        </a:rPr>
                        <a:t>therapy</a:t>
                      </a:r>
                      <a:endParaRPr sz="1100">
                        <a:latin typeface="Arial"/>
                        <a:cs typeface="Arial"/>
                      </a:endParaRPr>
                    </a:p>
                  </a:txBody>
                  <a:tcPr marL="0" marR="0" marT="48260" marB="0">
                    <a:lnL w="12700">
                      <a:solidFill>
                        <a:srgbClr val="F4680D"/>
                      </a:solidFill>
                      <a:prstDash val="solid"/>
                    </a:lnL>
                    <a:lnT w="12700">
                      <a:solidFill>
                        <a:srgbClr val="009FD5"/>
                      </a:solidFill>
                      <a:prstDash val="solid"/>
                    </a:lnT>
                    <a:lnB w="28575">
                      <a:solidFill>
                        <a:srgbClr val="F4680D"/>
                      </a:solidFill>
                      <a:prstDash val="solid"/>
                    </a:lnB>
                    <a:solidFill>
                      <a:srgbClr val="EBEBEB"/>
                    </a:solidFill>
                  </a:tcPr>
                </a:tc>
                <a:tc>
                  <a:txBody>
                    <a:bodyPr/>
                    <a:lstStyle/>
                    <a:p>
                      <a:pPr>
                        <a:lnSpc>
                          <a:spcPct val="100000"/>
                        </a:lnSpc>
                        <a:spcBef>
                          <a:spcPts val="265"/>
                        </a:spcBef>
                      </a:pPr>
                      <a:endParaRPr sz="1100">
                        <a:latin typeface="Times New Roman"/>
                        <a:cs typeface="Times New Roman"/>
                      </a:endParaRPr>
                    </a:p>
                    <a:p>
                      <a:pPr marL="184785">
                        <a:lnSpc>
                          <a:spcPts val="1270"/>
                        </a:lnSpc>
                      </a:pPr>
                      <a:r>
                        <a:rPr sz="1100" dirty="0">
                          <a:latin typeface="Arial"/>
                          <a:cs typeface="Arial"/>
                        </a:rPr>
                        <a:t>8</a:t>
                      </a:r>
                      <a:r>
                        <a:rPr sz="1100" spc="-10" dirty="0">
                          <a:latin typeface="Arial"/>
                          <a:cs typeface="Arial"/>
                        </a:rPr>
                        <a:t> (40.0)</a:t>
                      </a:r>
                      <a:endParaRPr sz="1100">
                        <a:latin typeface="Arial"/>
                        <a:cs typeface="Arial"/>
                      </a:endParaRPr>
                    </a:p>
                    <a:p>
                      <a:pPr marL="184785">
                        <a:lnSpc>
                          <a:spcPts val="1270"/>
                        </a:lnSpc>
                      </a:pPr>
                      <a:r>
                        <a:rPr sz="1100" dirty="0">
                          <a:latin typeface="Arial"/>
                          <a:cs typeface="Arial"/>
                        </a:rPr>
                        <a:t>7</a:t>
                      </a:r>
                      <a:r>
                        <a:rPr sz="1100" spc="-10" dirty="0">
                          <a:latin typeface="Arial"/>
                          <a:cs typeface="Arial"/>
                        </a:rPr>
                        <a:t> (35.0)</a:t>
                      </a:r>
                      <a:endParaRPr sz="1100">
                        <a:latin typeface="Arial"/>
                        <a:cs typeface="Arial"/>
                      </a:endParaRPr>
                    </a:p>
                  </a:txBody>
                  <a:tcPr marL="0" marR="0" marT="33655" marB="0">
                    <a:lnT w="12700">
                      <a:solidFill>
                        <a:srgbClr val="009FD5"/>
                      </a:solidFill>
                      <a:prstDash val="solid"/>
                    </a:lnT>
                    <a:lnB w="28575">
                      <a:solidFill>
                        <a:srgbClr val="F4680D"/>
                      </a:solidFill>
                      <a:prstDash val="solid"/>
                    </a:lnB>
                    <a:solidFill>
                      <a:srgbClr val="EBEBEB"/>
                    </a:solidFill>
                  </a:tcPr>
                </a:tc>
                <a:tc>
                  <a:txBody>
                    <a:bodyPr/>
                    <a:lstStyle/>
                    <a:p>
                      <a:pPr>
                        <a:lnSpc>
                          <a:spcPct val="100000"/>
                        </a:lnSpc>
                        <a:spcBef>
                          <a:spcPts val="265"/>
                        </a:spcBef>
                      </a:pPr>
                      <a:endParaRPr sz="1100">
                        <a:latin typeface="Times New Roman"/>
                        <a:cs typeface="Times New Roman"/>
                      </a:endParaRPr>
                    </a:p>
                    <a:p>
                      <a:pPr marL="291465">
                        <a:lnSpc>
                          <a:spcPts val="1270"/>
                        </a:lnSpc>
                      </a:pPr>
                      <a:r>
                        <a:rPr sz="1100" dirty="0">
                          <a:latin typeface="Arial"/>
                          <a:cs typeface="Arial"/>
                        </a:rPr>
                        <a:t>13</a:t>
                      </a:r>
                      <a:r>
                        <a:rPr sz="1100" spc="-15" dirty="0">
                          <a:latin typeface="Arial"/>
                          <a:cs typeface="Arial"/>
                        </a:rPr>
                        <a:t> </a:t>
                      </a:r>
                      <a:r>
                        <a:rPr sz="1100" spc="-10" dirty="0">
                          <a:latin typeface="Arial"/>
                          <a:cs typeface="Arial"/>
                        </a:rPr>
                        <a:t>(61.9)</a:t>
                      </a:r>
                      <a:endParaRPr sz="1100">
                        <a:latin typeface="Arial"/>
                        <a:cs typeface="Arial"/>
                      </a:endParaRPr>
                    </a:p>
                    <a:p>
                      <a:pPr marL="291465">
                        <a:lnSpc>
                          <a:spcPts val="1270"/>
                        </a:lnSpc>
                      </a:pPr>
                      <a:r>
                        <a:rPr sz="1100" dirty="0">
                          <a:latin typeface="Arial"/>
                          <a:cs typeface="Arial"/>
                        </a:rPr>
                        <a:t>13</a:t>
                      </a:r>
                      <a:r>
                        <a:rPr sz="1100" spc="-15" dirty="0">
                          <a:latin typeface="Arial"/>
                          <a:cs typeface="Arial"/>
                        </a:rPr>
                        <a:t> </a:t>
                      </a:r>
                      <a:r>
                        <a:rPr sz="1100" spc="-10" dirty="0">
                          <a:latin typeface="Arial"/>
                          <a:cs typeface="Arial"/>
                        </a:rPr>
                        <a:t>(61.9)</a:t>
                      </a:r>
                      <a:endParaRPr sz="1100">
                        <a:latin typeface="Arial"/>
                        <a:cs typeface="Arial"/>
                      </a:endParaRPr>
                    </a:p>
                  </a:txBody>
                  <a:tcPr marL="0" marR="0" marT="33655" marB="0">
                    <a:lnT w="12700">
                      <a:solidFill>
                        <a:srgbClr val="009FD5"/>
                      </a:solidFill>
                      <a:prstDash val="solid"/>
                    </a:lnT>
                    <a:lnB w="28575">
                      <a:solidFill>
                        <a:srgbClr val="F4680D"/>
                      </a:solidFill>
                      <a:prstDash val="solid"/>
                    </a:lnB>
                    <a:solidFill>
                      <a:srgbClr val="EBEBEB"/>
                    </a:solidFill>
                  </a:tcPr>
                </a:tc>
                <a:tc>
                  <a:txBody>
                    <a:bodyPr/>
                    <a:lstStyle/>
                    <a:p>
                      <a:pPr>
                        <a:lnSpc>
                          <a:spcPct val="100000"/>
                        </a:lnSpc>
                        <a:spcBef>
                          <a:spcPts val="265"/>
                        </a:spcBef>
                      </a:pPr>
                      <a:endParaRPr sz="1100">
                        <a:latin typeface="Times New Roman"/>
                        <a:cs typeface="Times New Roman"/>
                      </a:endParaRPr>
                    </a:p>
                    <a:p>
                      <a:pPr marL="148590">
                        <a:lnSpc>
                          <a:spcPts val="1270"/>
                        </a:lnSpc>
                      </a:pPr>
                      <a:r>
                        <a:rPr sz="1100" dirty="0">
                          <a:latin typeface="Arial"/>
                          <a:cs typeface="Arial"/>
                        </a:rPr>
                        <a:t>21</a:t>
                      </a:r>
                      <a:r>
                        <a:rPr sz="1100" spc="-15" dirty="0">
                          <a:latin typeface="Arial"/>
                          <a:cs typeface="Arial"/>
                        </a:rPr>
                        <a:t> </a:t>
                      </a:r>
                      <a:r>
                        <a:rPr sz="1100" spc="-10" dirty="0">
                          <a:latin typeface="Arial"/>
                          <a:cs typeface="Arial"/>
                        </a:rPr>
                        <a:t>(51.2)</a:t>
                      </a:r>
                      <a:endParaRPr sz="1100">
                        <a:latin typeface="Arial"/>
                        <a:cs typeface="Arial"/>
                      </a:endParaRPr>
                    </a:p>
                    <a:p>
                      <a:pPr marL="148590">
                        <a:lnSpc>
                          <a:spcPts val="1270"/>
                        </a:lnSpc>
                      </a:pPr>
                      <a:r>
                        <a:rPr sz="1100" dirty="0">
                          <a:latin typeface="Arial"/>
                          <a:cs typeface="Arial"/>
                        </a:rPr>
                        <a:t>20</a:t>
                      </a:r>
                      <a:r>
                        <a:rPr sz="1100" spc="-15" dirty="0">
                          <a:latin typeface="Arial"/>
                          <a:cs typeface="Arial"/>
                        </a:rPr>
                        <a:t> </a:t>
                      </a:r>
                      <a:r>
                        <a:rPr sz="1100" spc="-10" dirty="0">
                          <a:latin typeface="Arial"/>
                          <a:cs typeface="Arial"/>
                        </a:rPr>
                        <a:t>(48.8)</a:t>
                      </a:r>
                      <a:endParaRPr sz="1100">
                        <a:latin typeface="Arial"/>
                        <a:cs typeface="Arial"/>
                      </a:endParaRPr>
                    </a:p>
                  </a:txBody>
                  <a:tcPr marL="0" marR="0" marT="33655" marB="0">
                    <a:lnR w="38100">
                      <a:solidFill>
                        <a:srgbClr val="F4680D"/>
                      </a:solidFill>
                      <a:prstDash val="solid"/>
                    </a:lnR>
                    <a:lnT w="12700">
                      <a:solidFill>
                        <a:srgbClr val="009FD5"/>
                      </a:solidFill>
                      <a:prstDash val="solid"/>
                    </a:lnT>
                    <a:lnB w="28575">
                      <a:solidFill>
                        <a:srgbClr val="F4680D"/>
                      </a:solidFill>
                      <a:prstDash val="solid"/>
                    </a:lnB>
                    <a:solidFill>
                      <a:srgbClr val="EBEBEB"/>
                    </a:solidFill>
                  </a:tcPr>
                </a:tc>
                <a:extLst>
                  <a:ext uri="{0D108BD9-81ED-4DB2-BD59-A6C34878D82A}">
                    <a16:rowId xmlns:a16="http://schemas.microsoft.com/office/drawing/2014/main" val="10004"/>
                  </a:ext>
                </a:extLst>
              </a:tr>
              <a:tr h="309245">
                <a:tc>
                  <a:txBody>
                    <a:bodyPr/>
                    <a:lstStyle/>
                    <a:p>
                      <a:pPr marL="57785">
                        <a:lnSpc>
                          <a:spcPct val="100000"/>
                        </a:lnSpc>
                        <a:spcBef>
                          <a:spcPts val="465"/>
                        </a:spcBef>
                      </a:pPr>
                      <a:r>
                        <a:rPr sz="1100" b="1" dirty="0">
                          <a:latin typeface="Arial"/>
                          <a:cs typeface="Arial"/>
                        </a:rPr>
                        <a:t>Prior</a:t>
                      </a:r>
                      <a:r>
                        <a:rPr sz="1100" b="1" spc="-30" dirty="0">
                          <a:latin typeface="Arial"/>
                          <a:cs typeface="Arial"/>
                        </a:rPr>
                        <a:t> </a:t>
                      </a:r>
                      <a:r>
                        <a:rPr sz="1100" b="1" dirty="0">
                          <a:latin typeface="Arial"/>
                          <a:cs typeface="Arial"/>
                        </a:rPr>
                        <a:t>stem</a:t>
                      </a:r>
                      <a:r>
                        <a:rPr sz="1100" b="1" spc="-40" dirty="0">
                          <a:latin typeface="Arial"/>
                          <a:cs typeface="Arial"/>
                        </a:rPr>
                        <a:t> </a:t>
                      </a:r>
                      <a:r>
                        <a:rPr sz="1100" b="1" dirty="0">
                          <a:latin typeface="Arial"/>
                          <a:cs typeface="Arial"/>
                        </a:rPr>
                        <a:t>cell</a:t>
                      </a:r>
                      <a:r>
                        <a:rPr sz="1100" b="1" spc="-30" dirty="0">
                          <a:latin typeface="Arial"/>
                          <a:cs typeface="Arial"/>
                        </a:rPr>
                        <a:t> </a:t>
                      </a:r>
                      <a:r>
                        <a:rPr sz="1100" b="1" dirty="0">
                          <a:latin typeface="Arial"/>
                          <a:cs typeface="Arial"/>
                        </a:rPr>
                        <a:t>transplant,</a:t>
                      </a:r>
                      <a:r>
                        <a:rPr sz="1100" b="1" spc="-45" dirty="0">
                          <a:latin typeface="Arial"/>
                          <a:cs typeface="Arial"/>
                        </a:rPr>
                        <a:t> </a:t>
                      </a:r>
                      <a:r>
                        <a:rPr sz="1100" b="1" dirty="0">
                          <a:latin typeface="Arial"/>
                          <a:cs typeface="Arial"/>
                        </a:rPr>
                        <a:t>n</a:t>
                      </a:r>
                      <a:r>
                        <a:rPr sz="1100" b="1" spc="-20" dirty="0">
                          <a:latin typeface="Arial"/>
                          <a:cs typeface="Arial"/>
                        </a:rPr>
                        <a:t> </a:t>
                      </a:r>
                      <a:r>
                        <a:rPr sz="1100" b="1" spc="-25" dirty="0">
                          <a:latin typeface="Arial"/>
                          <a:cs typeface="Arial"/>
                        </a:rPr>
                        <a:t>(%)</a:t>
                      </a:r>
                      <a:endParaRPr sz="1100">
                        <a:latin typeface="Arial"/>
                        <a:cs typeface="Arial"/>
                      </a:endParaRPr>
                    </a:p>
                  </a:txBody>
                  <a:tcPr marL="0" marR="0" marT="59055" marB="0">
                    <a:lnL w="12700">
                      <a:solidFill>
                        <a:srgbClr val="009FD5"/>
                      </a:solidFill>
                      <a:prstDash val="solid"/>
                    </a:lnL>
                    <a:lnT w="28575">
                      <a:solidFill>
                        <a:srgbClr val="F4680D"/>
                      </a:solidFill>
                      <a:prstDash val="solid"/>
                    </a:lnT>
                    <a:lnB w="12700">
                      <a:solidFill>
                        <a:srgbClr val="009FD5"/>
                      </a:solidFill>
                      <a:prstDash val="solid"/>
                    </a:lnB>
                    <a:solidFill>
                      <a:srgbClr val="FFFFFF"/>
                    </a:solidFill>
                  </a:tcPr>
                </a:tc>
                <a:tc>
                  <a:txBody>
                    <a:bodyPr/>
                    <a:lstStyle/>
                    <a:p>
                      <a:pPr marL="184785">
                        <a:lnSpc>
                          <a:spcPct val="100000"/>
                        </a:lnSpc>
                        <a:spcBef>
                          <a:spcPts val="465"/>
                        </a:spcBef>
                      </a:pPr>
                      <a:r>
                        <a:rPr sz="1100" dirty="0">
                          <a:latin typeface="Arial"/>
                          <a:cs typeface="Arial"/>
                        </a:rPr>
                        <a:t>3</a:t>
                      </a:r>
                      <a:r>
                        <a:rPr sz="1100" spc="-10" dirty="0">
                          <a:latin typeface="Arial"/>
                          <a:cs typeface="Arial"/>
                        </a:rPr>
                        <a:t> (15.0)</a:t>
                      </a:r>
                      <a:endParaRPr sz="1100">
                        <a:latin typeface="Arial"/>
                        <a:cs typeface="Arial"/>
                      </a:endParaRPr>
                    </a:p>
                  </a:txBody>
                  <a:tcPr marL="0" marR="0" marT="59055" marB="0">
                    <a:lnT w="28575">
                      <a:solidFill>
                        <a:srgbClr val="F4680D"/>
                      </a:solidFill>
                      <a:prstDash val="solid"/>
                    </a:lnT>
                    <a:lnB w="12700">
                      <a:solidFill>
                        <a:srgbClr val="009FD5"/>
                      </a:solidFill>
                      <a:prstDash val="solid"/>
                    </a:lnB>
                    <a:solidFill>
                      <a:srgbClr val="FFFFFF"/>
                    </a:solidFill>
                  </a:tcPr>
                </a:tc>
                <a:tc>
                  <a:txBody>
                    <a:bodyPr/>
                    <a:lstStyle/>
                    <a:p>
                      <a:pPr marR="423545" algn="r">
                        <a:lnSpc>
                          <a:spcPct val="100000"/>
                        </a:lnSpc>
                        <a:spcBef>
                          <a:spcPts val="465"/>
                        </a:spcBef>
                      </a:pPr>
                      <a:r>
                        <a:rPr sz="1100" dirty="0">
                          <a:latin typeface="Arial"/>
                          <a:cs typeface="Arial"/>
                        </a:rPr>
                        <a:t>1</a:t>
                      </a:r>
                      <a:r>
                        <a:rPr sz="1100" spc="-10" dirty="0">
                          <a:latin typeface="Arial"/>
                          <a:cs typeface="Arial"/>
                        </a:rPr>
                        <a:t> (4.8)</a:t>
                      </a:r>
                      <a:endParaRPr sz="1100">
                        <a:latin typeface="Arial"/>
                        <a:cs typeface="Arial"/>
                      </a:endParaRPr>
                    </a:p>
                  </a:txBody>
                  <a:tcPr marL="0" marR="0" marT="59055" marB="0">
                    <a:lnT w="28575">
                      <a:solidFill>
                        <a:srgbClr val="F4680D"/>
                      </a:solidFill>
                      <a:prstDash val="solid"/>
                    </a:lnT>
                    <a:lnB w="12700">
                      <a:solidFill>
                        <a:srgbClr val="009FD5"/>
                      </a:solidFill>
                      <a:prstDash val="solid"/>
                    </a:lnB>
                    <a:solidFill>
                      <a:srgbClr val="FFFFFF"/>
                    </a:solidFill>
                  </a:tcPr>
                </a:tc>
                <a:tc>
                  <a:txBody>
                    <a:bodyPr/>
                    <a:lstStyle/>
                    <a:p>
                      <a:pPr marR="22860" algn="ctr">
                        <a:lnSpc>
                          <a:spcPct val="100000"/>
                        </a:lnSpc>
                        <a:spcBef>
                          <a:spcPts val="465"/>
                        </a:spcBef>
                      </a:pPr>
                      <a:r>
                        <a:rPr sz="1100" dirty="0">
                          <a:latin typeface="Arial"/>
                          <a:cs typeface="Arial"/>
                        </a:rPr>
                        <a:t>4</a:t>
                      </a:r>
                      <a:r>
                        <a:rPr sz="1100" spc="-10" dirty="0">
                          <a:latin typeface="Arial"/>
                          <a:cs typeface="Arial"/>
                        </a:rPr>
                        <a:t> (9.8)</a:t>
                      </a:r>
                      <a:endParaRPr sz="1100">
                        <a:latin typeface="Arial"/>
                        <a:cs typeface="Arial"/>
                      </a:endParaRPr>
                    </a:p>
                  </a:txBody>
                  <a:tcPr marL="0" marR="0" marT="59055" marB="0">
                    <a:lnR w="12700">
                      <a:solidFill>
                        <a:srgbClr val="009FD5"/>
                      </a:solidFill>
                      <a:prstDash val="solid"/>
                    </a:lnR>
                    <a:lnT w="28575">
                      <a:solidFill>
                        <a:srgbClr val="F4680D"/>
                      </a:solidFill>
                      <a:prstDash val="solid"/>
                    </a:lnT>
                    <a:lnB w="12700">
                      <a:solidFill>
                        <a:srgbClr val="009FD5"/>
                      </a:solidFill>
                      <a:prstDash val="solid"/>
                    </a:lnB>
                    <a:solidFill>
                      <a:srgbClr val="FFFFFF"/>
                    </a:solidFill>
                  </a:tcPr>
                </a:tc>
                <a:extLst>
                  <a:ext uri="{0D108BD9-81ED-4DB2-BD59-A6C34878D82A}">
                    <a16:rowId xmlns:a16="http://schemas.microsoft.com/office/drawing/2014/main" val="10005"/>
                  </a:ext>
                </a:extLst>
              </a:tr>
              <a:tr h="231775">
                <a:tc>
                  <a:txBody>
                    <a:bodyPr/>
                    <a:lstStyle/>
                    <a:p>
                      <a:pPr marL="57785">
                        <a:lnSpc>
                          <a:spcPct val="100000"/>
                        </a:lnSpc>
                        <a:spcBef>
                          <a:spcPts val="180"/>
                        </a:spcBef>
                      </a:pPr>
                      <a:r>
                        <a:rPr sz="1100" b="1" dirty="0">
                          <a:latin typeface="Arial"/>
                          <a:cs typeface="Arial"/>
                        </a:rPr>
                        <a:t>Prior</a:t>
                      </a:r>
                      <a:r>
                        <a:rPr sz="1100" b="1" spc="-25" dirty="0">
                          <a:latin typeface="Arial"/>
                          <a:cs typeface="Arial"/>
                        </a:rPr>
                        <a:t> </a:t>
                      </a:r>
                      <a:r>
                        <a:rPr sz="1100" b="1" spc="-30" dirty="0">
                          <a:latin typeface="Arial"/>
                          <a:cs typeface="Arial"/>
                        </a:rPr>
                        <a:t>CAR-</a:t>
                      </a:r>
                      <a:r>
                        <a:rPr sz="1100" b="1" dirty="0">
                          <a:latin typeface="Arial"/>
                          <a:cs typeface="Arial"/>
                        </a:rPr>
                        <a:t>T</a:t>
                      </a:r>
                      <a:r>
                        <a:rPr sz="1100" b="1" spc="30" dirty="0">
                          <a:latin typeface="Arial"/>
                          <a:cs typeface="Arial"/>
                        </a:rPr>
                        <a:t> </a:t>
                      </a:r>
                      <a:r>
                        <a:rPr sz="1100" b="1" dirty="0">
                          <a:latin typeface="Arial"/>
                          <a:cs typeface="Arial"/>
                        </a:rPr>
                        <a:t>therapy,</a:t>
                      </a:r>
                      <a:r>
                        <a:rPr sz="1100" b="1" spc="-10" dirty="0">
                          <a:latin typeface="Arial"/>
                          <a:cs typeface="Arial"/>
                        </a:rPr>
                        <a:t> </a:t>
                      </a:r>
                      <a:r>
                        <a:rPr sz="1100" b="1" dirty="0">
                          <a:latin typeface="Arial"/>
                          <a:cs typeface="Arial"/>
                        </a:rPr>
                        <a:t>n</a:t>
                      </a:r>
                      <a:r>
                        <a:rPr sz="1100" b="1" spc="-10" dirty="0">
                          <a:latin typeface="Arial"/>
                          <a:cs typeface="Arial"/>
                        </a:rPr>
                        <a:t> </a:t>
                      </a:r>
                      <a:r>
                        <a:rPr sz="1100" b="1" spc="-25" dirty="0">
                          <a:latin typeface="Arial"/>
                          <a:cs typeface="Arial"/>
                        </a:rPr>
                        <a:t>(%)</a:t>
                      </a:r>
                      <a:endParaRPr sz="1100">
                        <a:latin typeface="Arial"/>
                        <a:cs typeface="Arial"/>
                      </a:endParaRPr>
                    </a:p>
                  </a:txBody>
                  <a:tcPr marL="0" marR="0" marT="22860" marB="0">
                    <a:lnL w="12700">
                      <a:solidFill>
                        <a:srgbClr val="009FD5"/>
                      </a:solidFill>
                      <a:prstDash val="solid"/>
                    </a:lnL>
                    <a:lnT w="12700">
                      <a:solidFill>
                        <a:srgbClr val="009FD5"/>
                      </a:solidFill>
                      <a:prstDash val="solid"/>
                    </a:lnT>
                    <a:lnB w="12700">
                      <a:solidFill>
                        <a:srgbClr val="009FD5"/>
                      </a:solidFill>
                      <a:prstDash val="solid"/>
                    </a:lnB>
                    <a:solidFill>
                      <a:srgbClr val="EBEBEB"/>
                    </a:solidFill>
                  </a:tcPr>
                </a:tc>
                <a:tc>
                  <a:txBody>
                    <a:bodyPr/>
                    <a:lstStyle/>
                    <a:p>
                      <a:pPr marL="184785">
                        <a:lnSpc>
                          <a:spcPct val="100000"/>
                        </a:lnSpc>
                        <a:spcBef>
                          <a:spcPts val="180"/>
                        </a:spcBef>
                      </a:pPr>
                      <a:r>
                        <a:rPr sz="1100" dirty="0">
                          <a:latin typeface="Arial"/>
                          <a:cs typeface="Arial"/>
                        </a:rPr>
                        <a:t>4</a:t>
                      </a:r>
                      <a:r>
                        <a:rPr sz="1100" spc="-10" dirty="0">
                          <a:latin typeface="Arial"/>
                          <a:cs typeface="Arial"/>
                        </a:rPr>
                        <a:t> (20.0)</a:t>
                      </a:r>
                      <a:endParaRPr sz="1100">
                        <a:latin typeface="Arial"/>
                        <a:cs typeface="Arial"/>
                      </a:endParaRPr>
                    </a:p>
                  </a:txBody>
                  <a:tcPr marL="0" marR="0" marT="22860" marB="0">
                    <a:lnT w="12700">
                      <a:solidFill>
                        <a:srgbClr val="009FD5"/>
                      </a:solidFill>
                      <a:prstDash val="solid"/>
                    </a:lnT>
                    <a:lnB w="12700">
                      <a:solidFill>
                        <a:srgbClr val="009FD5"/>
                      </a:solidFill>
                      <a:prstDash val="solid"/>
                    </a:lnB>
                    <a:solidFill>
                      <a:srgbClr val="EBEBEB"/>
                    </a:solidFill>
                  </a:tcPr>
                </a:tc>
                <a:tc>
                  <a:txBody>
                    <a:bodyPr/>
                    <a:lstStyle/>
                    <a:p>
                      <a:pPr marR="384810" algn="r">
                        <a:lnSpc>
                          <a:spcPct val="100000"/>
                        </a:lnSpc>
                        <a:spcBef>
                          <a:spcPts val="180"/>
                        </a:spcBef>
                      </a:pPr>
                      <a:r>
                        <a:rPr sz="1100" dirty="0">
                          <a:latin typeface="Arial"/>
                          <a:cs typeface="Arial"/>
                        </a:rPr>
                        <a:t>4</a:t>
                      </a:r>
                      <a:r>
                        <a:rPr sz="1100" spc="-10" dirty="0">
                          <a:latin typeface="Arial"/>
                          <a:cs typeface="Arial"/>
                        </a:rPr>
                        <a:t> (19.0)</a:t>
                      </a:r>
                      <a:endParaRPr sz="1100">
                        <a:latin typeface="Arial"/>
                        <a:cs typeface="Arial"/>
                      </a:endParaRPr>
                    </a:p>
                  </a:txBody>
                  <a:tcPr marL="0" marR="0" marT="22860" marB="0">
                    <a:lnT w="12700">
                      <a:solidFill>
                        <a:srgbClr val="009FD5"/>
                      </a:solidFill>
                      <a:prstDash val="solid"/>
                    </a:lnT>
                    <a:lnB w="12700">
                      <a:solidFill>
                        <a:srgbClr val="009FD5"/>
                      </a:solidFill>
                      <a:prstDash val="solid"/>
                    </a:lnB>
                    <a:solidFill>
                      <a:srgbClr val="EBEBEB"/>
                    </a:solidFill>
                  </a:tcPr>
                </a:tc>
                <a:tc>
                  <a:txBody>
                    <a:bodyPr/>
                    <a:lstStyle/>
                    <a:p>
                      <a:pPr marR="20320" algn="ctr">
                        <a:lnSpc>
                          <a:spcPct val="100000"/>
                        </a:lnSpc>
                        <a:spcBef>
                          <a:spcPts val="180"/>
                        </a:spcBef>
                      </a:pPr>
                      <a:r>
                        <a:rPr sz="1100" dirty="0">
                          <a:latin typeface="Arial"/>
                          <a:cs typeface="Arial"/>
                        </a:rPr>
                        <a:t>8</a:t>
                      </a:r>
                      <a:r>
                        <a:rPr sz="1100" spc="-10" dirty="0">
                          <a:latin typeface="Arial"/>
                          <a:cs typeface="Arial"/>
                        </a:rPr>
                        <a:t> (19.5)</a:t>
                      </a:r>
                      <a:endParaRPr sz="1100">
                        <a:latin typeface="Arial"/>
                        <a:cs typeface="Arial"/>
                      </a:endParaRPr>
                    </a:p>
                  </a:txBody>
                  <a:tcPr marL="0" marR="0" marT="22860" marB="0">
                    <a:lnR w="12700">
                      <a:solidFill>
                        <a:srgbClr val="009FD5"/>
                      </a:solidFill>
                      <a:prstDash val="solid"/>
                    </a:lnR>
                    <a:lnT w="12700">
                      <a:solidFill>
                        <a:srgbClr val="009FD5"/>
                      </a:solidFill>
                      <a:prstDash val="solid"/>
                    </a:lnT>
                    <a:lnB w="12700">
                      <a:solidFill>
                        <a:srgbClr val="009FD5"/>
                      </a:solidFill>
                      <a:prstDash val="solid"/>
                    </a:lnB>
                    <a:solidFill>
                      <a:srgbClr val="EBEBEB"/>
                    </a:solidFill>
                  </a:tcPr>
                </a:tc>
                <a:extLst>
                  <a:ext uri="{0D108BD9-81ED-4DB2-BD59-A6C34878D82A}">
                    <a16:rowId xmlns:a16="http://schemas.microsoft.com/office/drawing/2014/main" val="10006"/>
                  </a:ext>
                </a:extLst>
              </a:tr>
            </a:tbl>
          </a:graphicData>
        </a:graphic>
      </p:graphicFrame>
      <p:sp>
        <p:nvSpPr>
          <p:cNvPr id="5" name="object 5"/>
          <p:cNvSpPr txBox="1"/>
          <p:nvPr/>
        </p:nvSpPr>
        <p:spPr>
          <a:xfrm>
            <a:off x="596900" y="5853647"/>
            <a:ext cx="9203055" cy="477520"/>
          </a:xfrm>
          <a:prstGeom prst="rect">
            <a:avLst/>
          </a:prstGeom>
        </p:spPr>
        <p:txBody>
          <a:bodyPr vert="horz" wrap="square" lIns="0" tIns="12700" rIns="0" bIns="0" rtlCol="0">
            <a:spAutoFit/>
          </a:bodyPr>
          <a:lstStyle/>
          <a:p>
            <a:pPr marL="38100" marR="0" lvl="0" indent="0" algn="l" defTabSz="914400" rtl="0" eaLnBrk="1" fontAlgn="auto" latinLnBrk="0" hangingPunct="1">
              <a:lnSpc>
                <a:spcPts val="910"/>
              </a:lnSpc>
              <a:spcBef>
                <a:spcPts val="100"/>
              </a:spcBef>
              <a:spcAft>
                <a:spcPts val="0"/>
              </a:spcAft>
              <a:buClrTx/>
              <a:buSzTx/>
              <a:buFontTx/>
              <a:buNone/>
              <a:tabLst/>
              <a:defRPr/>
            </a:pPr>
            <a:r>
              <a:rPr kumimoji="0" sz="800" b="0" i="0" u="none" strike="noStrike" kern="0" cap="none" spc="0" normalizeH="0" baseline="0" noProof="0" dirty="0">
                <a:ln>
                  <a:noFill/>
                </a:ln>
                <a:solidFill>
                  <a:srgbClr val="7E7E7E"/>
                </a:solidFill>
                <a:effectLst/>
                <a:uLnTx/>
                <a:uFillTx/>
                <a:latin typeface="Arial"/>
                <a:ea typeface="+mn-ea"/>
                <a:cs typeface="Arial"/>
              </a:rPr>
              <a:t>Data</a:t>
            </a:r>
            <a:r>
              <a:rPr kumimoji="0" sz="800" b="0" i="0" u="none" strike="noStrike" kern="0" cap="none" spc="-25"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cutoff:</a:t>
            </a:r>
            <a:r>
              <a:rPr kumimoji="0" sz="800" b="0" i="0" u="none" strike="noStrike" kern="0" cap="none" spc="-25"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April</a:t>
            </a:r>
            <a:r>
              <a:rPr kumimoji="0" sz="800" b="0" i="0" u="none" strike="noStrike" kern="0" cap="none" spc="-15"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14,</a:t>
            </a:r>
            <a:r>
              <a:rPr kumimoji="0" sz="800" b="0" i="0" u="none" strike="noStrike" kern="0" cap="none" spc="-20" normalizeH="0" baseline="0" noProof="0" dirty="0">
                <a:ln>
                  <a:noFill/>
                </a:ln>
                <a:solidFill>
                  <a:srgbClr val="7E7E7E"/>
                </a:solidFill>
                <a:effectLst/>
                <a:uLnTx/>
                <a:uFillTx/>
                <a:latin typeface="Arial"/>
                <a:ea typeface="+mn-ea"/>
                <a:cs typeface="Arial"/>
              </a:rPr>
              <a:t> </a:t>
            </a:r>
            <a:r>
              <a:rPr kumimoji="0" sz="800" b="0" i="0" u="none" strike="noStrike" kern="0" cap="none" spc="-10" normalizeH="0" baseline="0" noProof="0" dirty="0">
                <a:ln>
                  <a:noFill/>
                </a:ln>
                <a:solidFill>
                  <a:srgbClr val="7E7E7E"/>
                </a:solidFill>
                <a:effectLst/>
                <a:uLnTx/>
                <a:uFillTx/>
                <a:latin typeface="Arial"/>
                <a:ea typeface="+mn-ea"/>
                <a:cs typeface="Arial"/>
              </a:rPr>
              <a:t>2025.</a:t>
            </a:r>
            <a:endParaRPr kumimoji="0" sz="800" b="0" i="0" u="none" strike="noStrike" kern="0" cap="none" spc="0" normalizeH="0" baseline="0" noProof="0" dirty="0">
              <a:ln>
                <a:noFill/>
              </a:ln>
              <a:solidFill>
                <a:sysClr val="windowText" lastClr="000000"/>
              </a:solidFill>
              <a:effectLst/>
              <a:uLnTx/>
              <a:uFillTx/>
              <a:latin typeface="Arial"/>
              <a:ea typeface="+mn-ea"/>
              <a:cs typeface="Arial"/>
            </a:endParaRPr>
          </a:p>
          <a:p>
            <a:pPr marL="38100" marR="30480" lvl="0" indent="0" algn="l" defTabSz="914400" rtl="0" eaLnBrk="1" fontAlgn="auto" latinLnBrk="0" hangingPunct="1">
              <a:lnSpc>
                <a:spcPts val="860"/>
              </a:lnSpc>
              <a:spcBef>
                <a:spcPts val="65"/>
              </a:spcBef>
              <a:spcAft>
                <a:spcPts val="0"/>
              </a:spcAft>
              <a:buClrTx/>
              <a:buSzTx/>
              <a:buFontTx/>
              <a:buNone/>
              <a:tabLst/>
              <a:defRPr/>
            </a:pPr>
            <a:r>
              <a:rPr kumimoji="0" sz="800" b="0" i="0" u="none" strike="noStrike" kern="0" cap="none" spc="-10" normalizeH="0" baseline="0" noProof="0" dirty="0">
                <a:ln>
                  <a:noFill/>
                </a:ln>
                <a:solidFill>
                  <a:srgbClr val="7E7E7E"/>
                </a:solidFill>
                <a:effectLst/>
                <a:uLnTx/>
                <a:uFillTx/>
                <a:latin typeface="Arial"/>
                <a:ea typeface="+mn-ea"/>
                <a:cs typeface="Arial"/>
              </a:rPr>
              <a:t>CAR-</a:t>
            </a:r>
            <a:r>
              <a:rPr kumimoji="0" sz="800" b="0" i="0" u="none" strike="noStrike" kern="0" cap="none" spc="0" normalizeH="0" baseline="0" noProof="0" dirty="0">
                <a:ln>
                  <a:noFill/>
                </a:ln>
                <a:solidFill>
                  <a:srgbClr val="7E7E7E"/>
                </a:solidFill>
                <a:effectLst/>
                <a:uLnTx/>
                <a:uFillTx/>
                <a:latin typeface="Arial"/>
                <a:ea typeface="+mn-ea"/>
                <a:cs typeface="Arial"/>
              </a:rPr>
              <a:t>T,</a:t>
            </a:r>
            <a:r>
              <a:rPr kumimoji="0" sz="800" b="0" i="0" u="none" strike="noStrike" kern="0" cap="none" spc="-30"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chimeric</a:t>
            </a:r>
            <a:r>
              <a:rPr kumimoji="0" sz="800" b="0" i="0" u="none" strike="noStrike" kern="0" cap="none" spc="-55"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antigen</a:t>
            </a:r>
            <a:r>
              <a:rPr kumimoji="0" sz="800" b="0" i="0" u="none" strike="noStrike" kern="0" cap="none" spc="5"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receptor</a:t>
            </a:r>
            <a:r>
              <a:rPr kumimoji="0" sz="800" b="0" i="0" u="none" strike="noStrike" kern="0" cap="none" spc="-20"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T</a:t>
            </a:r>
            <a:r>
              <a:rPr kumimoji="0" sz="800" b="0" i="0" u="none" strike="noStrike" kern="0" cap="none" spc="-15"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cell;</a:t>
            </a:r>
            <a:r>
              <a:rPr kumimoji="0" sz="800" b="0" i="0" u="none" strike="noStrike" kern="0" cap="none" spc="-35"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DLBCL,</a:t>
            </a:r>
            <a:r>
              <a:rPr kumimoji="0" sz="800" b="0" i="0" u="none" strike="noStrike" kern="0" cap="none" spc="-15"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diffuse</a:t>
            </a:r>
            <a:r>
              <a:rPr kumimoji="0" sz="800" b="0" i="0" u="none" strike="noStrike" kern="0" cap="none" spc="-20"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large</a:t>
            </a:r>
            <a:r>
              <a:rPr kumimoji="0" sz="800" b="0" i="0" u="none" strike="noStrike" kern="0" cap="none" spc="-15"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B-cell</a:t>
            </a:r>
            <a:r>
              <a:rPr kumimoji="0" sz="800" b="0" i="0" u="none" strike="noStrike" kern="0" cap="none" spc="-35"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lymphoma;</a:t>
            </a:r>
            <a:r>
              <a:rPr kumimoji="0" sz="800" b="0" i="0" u="none" strike="noStrike" kern="0" cap="none" spc="-35"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ECOG</a:t>
            </a:r>
            <a:r>
              <a:rPr kumimoji="0" sz="800" b="0" i="0" u="none" strike="noStrike" kern="0" cap="none" spc="-20"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PS,</a:t>
            </a:r>
            <a:r>
              <a:rPr kumimoji="0" sz="800" b="0" i="0" u="none" strike="noStrike" kern="0" cap="none" spc="-25"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Eastern</a:t>
            </a:r>
            <a:r>
              <a:rPr kumimoji="0" sz="800" b="0" i="0" u="none" strike="noStrike" kern="0" cap="none" spc="-20"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Cooperative Oncology</a:t>
            </a:r>
            <a:r>
              <a:rPr kumimoji="0" sz="800" b="0" i="0" u="none" strike="noStrike" kern="0" cap="none" spc="-10"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Group</a:t>
            </a:r>
            <a:r>
              <a:rPr kumimoji="0" sz="800" b="0" i="0" u="none" strike="noStrike" kern="0" cap="none" spc="-10"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Performance</a:t>
            </a:r>
            <a:r>
              <a:rPr kumimoji="0" sz="800" b="0" i="0" u="none" strike="noStrike" kern="0" cap="none" spc="-30"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Status;</a:t>
            </a:r>
            <a:r>
              <a:rPr kumimoji="0" sz="800" b="0" i="0" u="none" strike="noStrike" kern="0" cap="none" spc="-15"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FL,</a:t>
            </a:r>
            <a:r>
              <a:rPr kumimoji="0" sz="800" b="0" i="0" u="none" strike="noStrike" kern="0" cap="none" spc="-25"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follicular</a:t>
            </a:r>
            <a:r>
              <a:rPr kumimoji="0" sz="800" b="0" i="0" u="none" strike="noStrike" kern="0" cap="none" spc="-35"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lymphoma;</a:t>
            </a:r>
            <a:r>
              <a:rPr kumimoji="0" sz="800" b="0" i="0" u="none" strike="noStrike" kern="0" cap="none" spc="-35"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HGBCL,</a:t>
            </a:r>
            <a:r>
              <a:rPr kumimoji="0" sz="800" b="0" i="0" u="none" strike="noStrike" kern="0" cap="none" spc="-25" normalizeH="0" baseline="0" noProof="0" dirty="0">
                <a:ln>
                  <a:noFill/>
                </a:ln>
                <a:solidFill>
                  <a:srgbClr val="7E7E7E"/>
                </a:solidFill>
                <a:effectLst/>
                <a:uLnTx/>
                <a:uFillTx/>
                <a:latin typeface="Arial"/>
                <a:ea typeface="+mn-ea"/>
                <a:cs typeface="Arial"/>
              </a:rPr>
              <a:t> </a:t>
            </a:r>
            <a:r>
              <a:rPr kumimoji="0" sz="800" b="0" i="0" u="none" strike="noStrike" kern="0" cap="none" spc="-10" normalizeH="0" baseline="0" noProof="0" dirty="0">
                <a:ln>
                  <a:noFill/>
                </a:ln>
                <a:solidFill>
                  <a:srgbClr val="7E7E7E"/>
                </a:solidFill>
                <a:effectLst/>
                <a:uLnTx/>
                <a:uFillTx/>
                <a:latin typeface="Arial"/>
                <a:ea typeface="+mn-ea"/>
                <a:cs typeface="Arial"/>
              </a:rPr>
              <a:t>high-</a:t>
            </a:r>
            <a:r>
              <a:rPr kumimoji="0" sz="800" b="0" i="0" u="none" strike="noStrike" kern="0" cap="none" spc="0" normalizeH="0" baseline="0" noProof="0" dirty="0">
                <a:ln>
                  <a:noFill/>
                </a:ln>
                <a:solidFill>
                  <a:srgbClr val="7E7E7E"/>
                </a:solidFill>
                <a:effectLst/>
                <a:uLnTx/>
                <a:uFillTx/>
                <a:latin typeface="Arial"/>
                <a:ea typeface="+mn-ea"/>
                <a:cs typeface="Arial"/>
              </a:rPr>
              <a:t>grade</a:t>
            </a:r>
            <a:r>
              <a:rPr kumimoji="0" sz="800" b="0" i="0" u="none" strike="noStrike" kern="0" cap="none" spc="15" normalizeH="0" baseline="0" noProof="0" dirty="0">
                <a:ln>
                  <a:noFill/>
                </a:ln>
                <a:solidFill>
                  <a:srgbClr val="7E7E7E"/>
                </a:solidFill>
                <a:effectLst/>
                <a:uLnTx/>
                <a:uFillTx/>
                <a:latin typeface="Arial"/>
                <a:ea typeface="+mn-ea"/>
                <a:cs typeface="Arial"/>
              </a:rPr>
              <a:t> </a:t>
            </a:r>
            <a:r>
              <a:rPr kumimoji="0" sz="800" b="0" i="0" u="none" strike="noStrike" kern="0" cap="none" spc="-10" normalizeH="0" baseline="0" noProof="0" dirty="0">
                <a:ln>
                  <a:noFill/>
                </a:ln>
                <a:solidFill>
                  <a:srgbClr val="7E7E7E"/>
                </a:solidFill>
                <a:effectLst/>
                <a:uLnTx/>
                <a:uFillTx/>
                <a:latin typeface="Arial"/>
                <a:ea typeface="+mn-ea"/>
                <a:cs typeface="Arial"/>
              </a:rPr>
              <a:t>B-</a:t>
            </a:r>
            <a:r>
              <a:rPr kumimoji="0" sz="800" b="0" i="0" u="none" strike="noStrike" kern="0" cap="none" spc="-20" normalizeH="0" baseline="0" noProof="0" dirty="0">
                <a:ln>
                  <a:noFill/>
                </a:ln>
                <a:solidFill>
                  <a:srgbClr val="7E7E7E"/>
                </a:solidFill>
                <a:effectLst/>
                <a:uLnTx/>
                <a:uFillTx/>
                <a:latin typeface="Arial"/>
                <a:ea typeface="+mn-ea"/>
                <a:cs typeface="Arial"/>
              </a:rPr>
              <a:t>cell </a:t>
            </a:r>
            <a:r>
              <a:rPr kumimoji="0" sz="800" b="0" i="0" u="none" strike="noStrike" kern="0" cap="none" spc="0" normalizeH="0" baseline="0" noProof="0" dirty="0">
                <a:ln>
                  <a:noFill/>
                </a:ln>
                <a:solidFill>
                  <a:srgbClr val="7E7E7E"/>
                </a:solidFill>
                <a:effectLst/>
                <a:uLnTx/>
                <a:uFillTx/>
                <a:latin typeface="Arial"/>
                <a:ea typeface="+mn-ea"/>
                <a:cs typeface="Arial"/>
              </a:rPr>
              <a:t>lymphoma;</a:t>
            </a:r>
            <a:r>
              <a:rPr kumimoji="0" sz="800" b="0" i="0" u="none" strike="noStrike" kern="0" cap="none" spc="-35"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IPI,</a:t>
            </a:r>
            <a:r>
              <a:rPr kumimoji="0" sz="800" b="0" i="0" u="none" strike="noStrike" kern="0" cap="none" spc="-25" normalizeH="0" baseline="0" noProof="0" dirty="0">
                <a:ln>
                  <a:noFill/>
                </a:ln>
                <a:solidFill>
                  <a:srgbClr val="7E7E7E"/>
                </a:solidFill>
                <a:effectLst/>
                <a:uLnTx/>
                <a:uFillTx/>
                <a:latin typeface="Arial"/>
                <a:ea typeface="+mn-ea"/>
                <a:cs typeface="Arial"/>
              </a:rPr>
              <a:t> </a:t>
            </a:r>
            <a:r>
              <a:rPr kumimoji="0" sz="800" b="0" i="0" u="none" strike="noStrike" kern="0" cap="none" spc="-10" normalizeH="0" baseline="0" noProof="0" dirty="0">
                <a:ln>
                  <a:noFill/>
                </a:ln>
                <a:solidFill>
                  <a:srgbClr val="7E7E7E"/>
                </a:solidFill>
                <a:effectLst/>
                <a:uLnTx/>
                <a:uFillTx/>
                <a:latin typeface="Arial"/>
                <a:ea typeface="+mn-ea"/>
                <a:cs typeface="Arial"/>
              </a:rPr>
              <a:t>International</a:t>
            </a:r>
            <a:r>
              <a:rPr kumimoji="0" sz="800" b="0" i="0" u="none" strike="noStrike" kern="0" cap="none" spc="-5"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Prognostic</a:t>
            </a:r>
            <a:r>
              <a:rPr kumimoji="0" sz="800" b="0" i="0" u="none" strike="noStrike" kern="0" cap="none" spc="-10"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Index;</a:t>
            </a:r>
            <a:r>
              <a:rPr kumimoji="0" sz="800" b="0" i="0" u="none" strike="noStrike" kern="0" cap="none" spc="5"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LBCL,</a:t>
            </a:r>
            <a:r>
              <a:rPr kumimoji="0" sz="800" b="0" i="0" u="none" strike="noStrike" kern="0" cap="none" spc="-15"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large</a:t>
            </a:r>
            <a:r>
              <a:rPr kumimoji="0" sz="800" b="0" i="0" u="none" strike="noStrike" kern="0" cap="none" spc="-10"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B-cell</a:t>
            </a:r>
            <a:r>
              <a:rPr kumimoji="0" sz="800" b="0" i="0" u="none" strike="noStrike" kern="0" cap="none" spc="-40"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lymphoma;</a:t>
            </a:r>
            <a:r>
              <a:rPr kumimoji="0" sz="800" b="0" i="0" u="none" strike="noStrike" kern="0" cap="none" spc="-30"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LDH,</a:t>
            </a:r>
            <a:r>
              <a:rPr kumimoji="0" sz="800" b="0" i="0" u="none" strike="noStrike" kern="0" cap="none" spc="-15"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lactate</a:t>
            </a:r>
            <a:r>
              <a:rPr kumimoji="0" sz="800" b="0" i="0" u="none" strike="noStrike" kern="0" cap="none" spc="-30" normalizeH="0" baseline="0" noProof="0" dirty="0">
                <a:ln>
                  <a:noFill/>
                </a:ln>
                <a:solidFill>
                  <a:srgbClr val="7E7E7E"/>
                </a:solidFill>
                <a:effectLst/>
                <a:uLnTx/>
                <a:uFillTx/>
                <a:latin typeface="Arial"/>
                <a:ea typeface="+mn-ea"/>
                <a:cs typeface="Arial"/>
              </a:rPr>
              <a:t> </a:t>
            </a:r>
            <a:r>
              <a:rPr kumimoji="0" sz="800" b="0" i="0" u="none" strike="noStrike" kern="0" cap="none" spc="-10" normalizeH="0" baseline="0" noProof="0" dirty="0">
                <a:ln>
                  <a:noFill/>
                </a:ln>
                <a:solidFill>
                  <a:srgbClr val="7E7E7E"/>
                </a:solidFill>
                <a:effectLst/>
                <a:uLnTx/>
                <a:uFillTx/>
                <a:latin typeface="Arial"/>
                <a:ea typeface="+mn-ea"/>
                <a:cs typeface="Arial"/>
              </a:rPr>
              <a:t>dehydrogenase;</a:t>
            </a:r>
            <a:r>
              <a:rPr kumimoji="0" sz="800" b="0" i="0" u="none" strike="noStrike" kern="0" cap="none" spc="45"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Lonca,</a:t>
            </a:r>
            <a:r>
              <a:rPr kumimoji="0" sz="800" b="0" i="0" u="none" strike="noStrike" kern="0" cap="none" spc="-5"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loncastuximab</a:t>
            </a:r>
            <a:r>
              <a:rPr kumimoji="0" sz="800" b="0" i="0" u="none" strike="noStrike" kern="0" cap="none" spc="-15"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tesirine;</a:t>
            </a:r>
            <a:r>
              <a:rPr kumimoji="0" sz="800" b="0" i="0" u="none" strike="noStrike" kern="0" cap="none" spc="-20"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LOT,</a:t>
            </a:r>
            <a:r>
              <a:rPr kumimoji="0" sz="800" b="0" i="0" u="none" strike="noStrike" kern="0" cap="none" spc="-15"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lines</a:t>
            </a:r>
            <a:r>
              <a:rPr kumimoji="0" sz="800" b="0" i="0" u="none" strike="noStrike" kern="0" cap="none" spc="-25"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of</a:t>
            </a:r>
            <a:r>
              <a:rPr kumimoji="0" sz="800" b="0" i="0" u="none" strike="noStrike" kern="0" cap="none" spc="-15"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therapy;</a:t>
            </a:r>
            <a:r>
              <a:rPr kumimoji="0" sz="800" b="0" i="0" u="none" strike="noStrike" kern="0" cap="none" spc="10"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trFL,</a:t>
            </a:r>
            <a:r>
              <a:rPr kumimoji="0" sz="800" b="0" i="0" u="none" strike="noStrike" kern="0" cap="none" spc="-25"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transformed</a:t>
            </a:r>
            <a:r>
              <a:rPr kumimoji="0" sz="800" b="0" i="0" u="none" strike="noStrike" kern="0" cap="none" spc="-25"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follicular</a:t>
            </a:r>
            <a:r>
              <a:rPr kumimoji="0" sz="800" b="0" i="0" u="none" strike="noStrike" kern="0" cap="none" spc="-45" normalizeH="0" baseline="0" noProof="0" dirty="0">
                <a:ln>
                  <a:noFill/>
                </a:ln>
                <a:solidFill>
                  <a:srgbClr val="7E7E7E"/>
                </a:solidFill>
                <a:effectLst/>
                <a:uLnTx/>
                <a:uFillTx/>
                <a:latin typeface="Arial"/>
                <a:ea typeface="+mn-ea"/>
                <a:cs typeface="Arial"/>
              </a:rPr>
              <a:t> </a:t>
            </a:r>
            <a:r>
              <a:rPr kumimoji="0" sz="800" b="0" i="0" u="none" strike="noStrike" kern="0" cap="none" spc="-10" normalizeH="0" baseline="0" noProof="0" dirty="0">
                <a:ln>
                  <a:noFill/>
                </a:ln>
                <a:solidFill>
                  <a:srgbClr val="7E7E7E"/>
                </a:solidFill>
                <a:effectLst/>
                <a:uLnTx/>
                <a:uFillTx/>
                <a:latin typeface="Arial"/>
                <a:ea typeface="+mn-ea"/>
                <a:cs typeface="Arial"/>
              </a:rPr>
              <a:t>lymphoma. </a:t>
            </a:r>
            <a:r>
              <a:rPr kumimoji="0" sz="750" b="0" i="0" u="none" strike="noStrike" kern="0" cap="none" spc="0" normalizeH="0" baseline="27777" noProof="0" dirty="0">
                <a:ln>
                  <a:noFill/>
                </a:ln>
                <a:solidFill>
                  <a:srgbClr val="7E7E7E"/>
                </a:solidFill>
                <a:effectLst/>
                <a:uLnTx/>
                <a:uFillTx/>
                <a:latin typeface="Arial"/>
                <a:ea typeface="+mn-ea"/>
                <a:cs typeface="Arial"/>
              </a:rPr>
              <a:t>a</a:t>
            </a:r>
            <a:r>
              <a:rPr kumimoji="0" sz="800" b="0" i="0" u="none" strike="noStrike" kern="0" cap="none" spc="0" normalizeH="0" baseline="0" noProof="0" dirty="0">
                <a:ln>
                  <a:noFill/>
                </a:ln>
                <a:solidFill>
                  <a:srgbClr val="7E7E7E"/>
                </a:solidFill>
                <a:effectLst/>
                <a:uLnTx/>
                <a:uFillTx/>
                <a:latin typeface="Arial"/>
                <a:ea typeface="+mn-ea"/>
                <a:cs typeface="Arial"/>
              </a:rPr>
              <a:t>When</a:t>
            </a:r>
            <a:r>
              <a:rPr kumimoji="0" sz="800" b="0" i="0" u="none" strike="noStrike" kern="0" cap="none" spc="-30"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the</a:t>
            </a:r>
            <a:r>
              <a:rPr kumimoji="0" sz="800" b="0" i="0" u="none" strike="noStrike" kern="0" cap="none" spc="-20"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starting</a:t>
            </a:r>
            <a:r>
              <a:rPr kumimoji="0" sz="800" b="0" i="0" u="none" strike="noStrike" kern="0" cap="none" spc="-15"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dose</a:t>
            </a:r>
            <a:r>
              <a:rPr kumimoji="0" sz="800" b="0" i="0" u="none" strike="noStrike" kern="0" cap="none" spc="-15"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of</a:t>
            </a:r>
            <a:r>
              <a:rPr kumimoji="0" sz="800" b="0" i="0" u="none" strike="noStrike" kern="0" cap="none" spc="-10"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Lonca</a:t>
            </a:r>
            <a:r>
              <a:rPr kumimoji="0" sz="800" b="0" i="0" u="none" strike="noStrike" kern="0" cap="none" spc="-10"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is</a:t>
            </a:r>
            <a:r>
              <a:rPr kumimoji="0" sz="800" b="0" i="0" u="none" strike="noStrike" kern="0" cap="none" spc="-20"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120 μg/kg</a:t>
            </a:r>
            <a:r>
              <a:rPr kumimoji="0" sz="800" b="0" i="0" u="none" strike="noStrike" kern="0" cap="none" spc="-15"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or</a:t>
            </a:r>
            <a:r>
              <a:rPr kumimoji="0" sz="800" b="0" i="0" u="none" strike="noStrike" kern="0" cap="none" spc="-15"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150</a:t>
            </a:r>
            <a:r>
              <a:rPr kumimoji="0" sz="800" b="0" i="0" u="none" strike="noStrike" kern="0" cap="none" spc="-10"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μg/kg,</a:t>
            </a:r>
            <a:r>
              <a:rPr kumimoji="0" sz="800" b="0" i="0" u="none" strike="noStrike" kern="0" cap="none" spc="-20"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the</a:t>
            </a:r>
            <a:r>
              <a:rPr kumimoji="0" sz="800" b="0" i="0" u="none" strike="noStrike" kern="0" cap="none" spc="-5"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dose</a:t>
            </a:r>
            <a:r>
              <a:rPr kumimoji="0" sz="800" b="0" i="0" u="none" strike="noStrike" kern="0" cap="none" spc="-15"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will</a:t>
            </a:r>
            <a:r>
              <a:rPr kumimoji="0" sz="800" b="0" i="0" u="none" strike="noStrike" kern="0" cap="none" spc="-15"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be</a:t>
            </a:r>
            <a:r>
              <a:rPr kumimoji="0" sz="800" b="0" i="0" u="none" strike="noStrike" kern="0" cap="none" spc="-5"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reduced</a:t>
            </a:r>
            <a:r>
              <a:rPr kumimoji="0" sz="800" b="0" i="0" u="none" strike="noStrike" kern="0" cap="none" spc="-5"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to</a:t>
            </a:r>
            <a:r>
              <a:rPr kumimoji="0" sz="800" b="0" i="0" u="none" strike="noStrike" kern="0" cap="none" spc="-15"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75</a:t>
            </a:r>
            <a:r>
              <a:rPr kumimoji="0" sz="800" b="0" i="0" u="none" strike="noStrike" kern="0" cap="none" spc="-5"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μg/kg</a:t>
            </a:r>
            <a:r>
              <a:rPr kumimoji="0" sz="800" b="0" i="0" u="none" strike="noStrike" kern="0" cap="none" spc="-30"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for</a:t>
            </a:r>
            <a:r>
              <a:rPr kumimoji="0" sz="800" b="0" i="0" u="none" strike="noStrike" kern="0" cap="none" spc="-15" normalizeH="0" baseline="0" noProof="0" dirty="0">
                <a:ln>
                  <a:noFill/>
                </a:ln>
                <a:solidFill>
                  <a:srgbClr val="7E7E7E"/>
                </a:solidFill>
                <a:effectLst/>
                <a:uLnTx/>
                <a:uFillTx/>
                <a:latin typeface="Arial"/>
                <a:ea typeface="+mn-ea"/>
                <a:cs typeface="Arial"/>
              </a:rPr>
              <a:t> </a:t>
            </a:r>
            <a:r>
              <a:rPr kumimoji="0" sz="800" b="0" i="0" u="none" strike="noStrike" kern="0" cap="none" spc="0" normalizeH="0" baseline="0" noProof="0" dirty="0">
                <a:ln>
                  <a:noFill/>
                </a:ln>
                <a:solidFill>
                  <a:srgbClr val="7E7E7E"/>
                </a:solidFill>
                <a:effectLst/>
                <a:uLnTx/>
                <a:uFillTx/>
                <a:latin typeface="Arial"/>
                <a:ea typeface="+mn-ea"/>
                <a:cs typeface="Arial"/>
              </a:rPr>
              <a:t>Cycles</a:t>
            </a:r>
            <a:r>
              <a:rPr kumimoji="0" sz="800" b="0" i="0" u="none" strike="noStrike" kern="0" cap="none" spc="-20" normalizeH="0" baseline="0" noProof="0" dirty="0">
                <a:ln>
                  <a:noFill/>
                </a:ln>
                <a:solidFill>
                  <a:srgbClr val="7E7E7E"/>
                </a:solidFill>
                <a:effectLst/>
                <a:uLnTx/>
                <a:uFillTx/>
                <a:latin typeface="Arial"/>
                <a:ea typeface="+mn-ea"/>
                <a:cs typeface="Arial"/>
              </a:rPr>
              <a:t> </a:t>
            </a:r>
            <a:r>
              <a:rPr kumimoji="0" sz="800" b="0" i="0" u="none" strike="noStrike" kern="0" cap="none" spc="-25" normalizeH="0" baseline="0" noProof="0" dirty="0">
                <a:ln>
                  <a:noFill/>
                </a:ln>
                <a:solidFill>
                  <a:srgbClr val="7E7E7E"/>
                </a:solidFill>
                <a:effectLst/>
                <a:uLnTx/>
                <a:uFillTx/>
                <a:latin typeface="Arial"/>
                <a:ea typeface="+mn-ea"/>
                <a:cs typeface="Arial"/>
              </a:rPr>
              <a:t>≥3.</a:t>
            </a:r>
            <a:endParaRPr kumimoji="0" sz="800" b="0" i="0" u="none" strike="noStrike" kern="0" cap="none" spc="0" normalizeH="0" baseline="0" noProof="0" dirty="0">
              <a:ln>
                <a:noFill/>
              </a:ln>
              <a:solidFill>
                <a:sysClr val="windowText" lastClr="000000"/>
              </a:solidFill>
              <a:effectLst/>
              <a:uLnTx/>
              <a:uFillTx/>
              <a:latin typeface="Arial"/>
              <a:ea typeface="+mn-ea"/>
              <a:cs typeface="Arial"/>
            </a:endParaRPr>
          </a:p>
        </p:txBody>
      </p:sp>
      <p:sp>
        <p:nvSpPr>
          <p:cNvPr id="6" name="TextBox 5">
            <a:extLst>
              <a:ext uri="{FF2B5EF4-FFF2-40B4-BE49-F238E27FC236}">
                <a16:creationId xmlns:a16="http://schemas.microsoft.com/office/drawing/2014/main" id="{D4F35321-5A4A-6F11-1D03-A18121B11533}"/>
              </a:ext>
            </a:extLst>
          </p:cNvPr>
          <p:cNvSpPr txBox="1"/>
          <p:nvPr/>
        </p:nvSpPr>
        <p:spPr>
          <a:xfrm>
            <a:off x="4055686" y="6482456"/>
            <a:ext cx="4616970"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a:ea typeface="+mn-ea"/>
                <a:cs typeface="Arial"/>
              </a:rPr>
              <a:t>Alderuccio JP et al. Oral presentation presented at 18-ICML (17–21 June 2025)</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descr="$PPTXTitle"/>
          <p:cNvSpPr txBox="1">
            <a:spLocks noGrp="1"/>
          </p:cNvSpPr>
          <p:nvPr>
            <p:ph type="title"/>
          </p:nvPr>
        </p:nvSpPr>
        <p:spPr>
          <a:xfrm>
            <a:off x="549960" y="220202"/>
            <a:ext cx="11371179" cy="704680"/>
          </a:xfrm>
          <a:prstGeom prst="rect">
            <a:avLst/>
          </a:prstGeom>
        </p:spPr>
        <p:txBody>
          <a:bodyPr vert="horz" wrap="square" lIns="0" tIns="12065" rIns="0" bIns="0" rtlCol="0">
            <a:spAutoFit/>
          </a:bodyPr>
          <a:lstStyle/>
          <a:p>
            <a:pPr marL="12700">
              <a:lnSpc>
                <a:spcPts val="3265"/>
              </a:lnSpc>
              <a:spcBef>
                <a:spcPts val="95"/>
              </a:spcBef>
            </a:pPr>
            <a:r>
              <a:rPr lang="en-US" sz="3200" dirty="0">
                <a:solidFill>
                  <a:srgbClr val="002060"/>
                </a:solidFill>
                <a:latin typeface="Calibri" panose="020F0502020204030204" pitchFamily="34" charset="0"/>
                <a:cs typeface="Calibri" panose="020F0502020204030204" pitchFamily="34" charset="0"/>
              </a:rPr>
              <a:t>LOTIS-7 </a:t>
            </a:r>
            <a:r>
              <a:rPr sz="3200" dirty="0">
                <a:solidFill>
                  <a:srgbClr val="002060"/>
                </a:solidFill>
                <a:latin typeface="Calibri" panose="020F0502020204030204" pitchFamily="34" charset="0"/>
                <a:cs typeface="Calibri" panose="020F0502020204030204" pitchFamily="34" charset="0"/>
              </a:rPr>
              <a:t>SAFETY</a:t>
            </a:r>
            <a:r>
              <a:rPr sz="3200" spc="-150" dirty="0">
                <a:solidFill>
                  <a:srgbClr val="002060"/>
                </a:solidFill>
                <a:latin typeface="Calibri" panose="020F0502020204030204" pitchFamily="34" charset="0"/>
                <a:cs typeface="Calibri" panose="020F0502020204030204" pitchFamily="34" charset="0"/>
              </a:rPr>
              <a:t> </a:t>
            </a:r>
            <a:r>
              <a:rPr sz="3200" spc="-40" dirty="0">
                <a:solidFill>
                  <a:srgbClr val="002060"/>
                </a:solidFill>
                <a:latin typeface="Calibri" panose="020F0502020204030204" pitchFamily="34" charset="0"/>
                <a:cs typeface="Calibri" panose="020F0502020204030204" pitchFamily="34" charset="0"/>
              </a:rPr>
              <a:t>SUMMARY:</a:t>
            </a:r>
            <a:r>
              <a:rPr sz="3200" spc="-75" dirty="0">
                <a:solidFill>
                  <a:srgbClr val="002060"/>
                </a:solidFill>
                <a:latin typeface="Calibri" panose="020F0502020204030204" pitchFamily="34" charset="0"/>
                <a:cs typeface="Calibri" panose="020F0502020204030204" pitchFamily="34" charset="0"/>
              </a:rPr>
              <a:t> </a:t>
            </a:r>
            <a:r>
              <a:rPr sz="3200" dirty="0">
                <a:solidFill>
                  <a:srgbClr val="002060"/>
                </a:solidFill>
                <a:latin typeface="Calibri" panose="020F0502020204030204" pitchFamily="34" charset="0"/>
                <a:cs typeface="Calibri" panose="020F0502020204030204" pitchFamily="34" charset="0"/>
              </a:rPr>
              <a:t>CRS/ICANS</a:t>
            </a:r>
            <a:r>
              <a:rPr sz="3200" spc="-100" dirty="0">
                <a:solidFill>
                  <a:srgbClr val="002060"/>
                </a:solidFill>
                <a:latin typeface="Calibri" panose="020F0502020204030204" pitchFamily="34" charset="0"/>
                <a:cs typeface="Calibri" panose="020F0502020204030204" pitchFamily="34" charset="0"/>
              </a:rPr>
              <a:t> </a:t>
            </a:r>
            <a:r>
              <a:rPr sz="3200" dirty="0">
                <a:solidFill>
                  <a:srgbClr val="002060"/>
                </a:solidFill>
                <a:latin typeface="Calibri" panose="020F0502020204030204" pitchFamily="34" charset="0"/>
                <a:cs typeface="Calibri" panose="020F0502020204030204" pitchFamily="34" charset="0"/>
              </a:rPr>
              <a:t>PROFILE</a:t>
            </a:r>
            <a:r>
              <a:rPr sz="3200" spc="-110" dirty="0">
                <a:solidFill>
                  <a:srgbClr val="002060"/>
                </a:solidFill>
                <a:latin typeface="Calibri" panose="020F0502020204030204" pitchFamily="34" charset="0"/>
                <a:cs typeface="Calibri" panose="020F0502020204030204" pitchFamily="34" charset="0"/>
              </a:rPr>
              <a:t> </a:t>
            </a:r>
            <a:r>
              <a:rPr sz="3200" dirty="0">
                <a:solidFill>
                  <a:srgbClr val="002060"/>
                </a:solidFill>
                <a:latin typeface="Calibri" panose="020F0502020204030204" pitchFamily="34" charset="0"/>
                <a:cs typeface="Calibri" panose="020F0502020204030204" pitchFamily="34" charset="0"/>
              </a:rPr>
              <a:t>&amp;</a:t>
            </a:r>
            <a:r>
              <a:rPr sz="3200" spc="-125" dirty="0">
                <a:solidFill>
                  <a:srgbClr val="002060"/>
                </a:solidFill>
                <a:latin typeface="Calibri" panose="020F0502020204030204" pitchFamily="34" charset="0"/>
                <a:cs typeface="Calibri" panose="020F0502020204030204" pitchFamily="34" charset="0"/>
              </a:rPr>
              <a:t> </a:t>
            </a:r>
            <a:r>
              <a:rPr sz="3200" spc="-10" dirty="0">
                <a:solidFill>
                  <a:srgbClr val="002060"/>
                </a:solidFill>
                <a:latin typeface="Calibri" panose="020F0502020204030204" pitchFamily="34" charset="0"/>
                <a:cs typeface="Calibri" panose="020F0502020204030204" pitchFamily="34" charset="0"/>
              </a:rPr>
              <a:t>MANAGEMENT</a:t>
            </a:r>
          </a:p>
          <a:p>
            <a:pPr marL="12700">
              <a:lnSpc>
                <a:spcPts val="2065"/>
              </a:lnSpc>
            </a:pPr>
            <a:r>
              <a:rPr sz="2000" spc="-10" dirty="0">
                <a:solidFill>
                  <a:srgbClr val="002060"/>
                </a:solidFill>
                <a:latin typeface="Calibri" panose="020F0502020204030204" pitchFamily="34" charset="0"/>
                <a:cs typeface="Calibri" panose="020F0502020204030204" pitchFamily="34" charset="0"/>
              </a:rPr>
              <a:t>TREATED</a:t>
            </a:r>
            <a:r>
              <a:rPr sz="2000" spc="-95" dirty="0">
                <a:solidFill>
                  <a:srgbClr val="002060"/>
                </a:solidFill>
                <a:latin typeface="Calibri" panose="020F0502020204030204" pitchFamily="34" charset="0"/>
                <a:cs typeface="Calibri" panose="020F0502020204030204" pitchFamily="34" charset="0"/>
              </a:rPr>
              <a:t> </a:t>
            </a:r>
            <a:r>
              <a:rPr sz="2000" spc="-10" dirty="0">
                <a:solidFill>
                  <a:srgbClr val="002060"/>
                </a:solidFill>
                <a:latin typeface="Calibri" panose="020F0502020204030204" pitchFamily="34" charset="0"/>
                <a:cs typeface="Calibri" panose="020F0502020204030204" pitchFamily="34" charset="0"/>
              </a:rPr>
              <a:t>POPULATION</a:t>
            </a:r>
            <a:r>
              <a:rPr sz="2000" spc="-105" dirty="0">
                <a:solidFill>
                  <a:srgbClr val="002060"/>
                </a:solidFill>
                <a:latin typeface="Calibri" panose="020F0502020204030204" pitchFamily="34" charset="0"/>
                <a:cs typeface="Calibri" panose="020F0502020204030204" pitchFamily="34" charset="0"/>
              </a:rPr>
              <a:t> </a:t>
            </a:r>
            <a:r>
              <a:rPr sz="2000" spc="-10" dirty="0">
                <a:solidFill>
                  <a:srgbClr val="002060"/>
                </a:solidFill>
                <a:latin typeface="Calibri" panose="020F0502020204030204" pitchFamily="34" charset="0"/>
                <a:cs typeface="Calibri" panose="020F0502020204030204" pitchFamily="34" charset="0"/>
              </a:rPr>
              <a:t>(N=41)</a:t>
            </a:r>
            <a:endParaRPr sz="2000" dirty="0">
              <a:solidFill>
                <a:srgbClr val="002060"/>
              </a:solidFill>
              <a:latin typeface="Calibri" panose="020F0502020204030204" pitchFamily="34" charset="0"/>
              <a:cs typeface="Calibri" panose="020F0502020204030204" pitchFamily="34" charset="0"/>
            </a:endParaRPr>
          </a:p>
        </p:txBody>
      </p:sp>
      <p:sp>
        <p:nvSpPr>
          <p:cNvPr id="3" name="object 3"/>
          <p:cNvSpPr txBox="1"/>
          <p:nvPr/>
        </p:nvSpPr>
        <p:spPr>
          <a:xfrm>
            <a:off x="616000" y="6274748"/>
            <a:ext cx="9869170" cy="392430"/>
          </a:xfrm>
          <a:prstGeom prst="rect">
            <a:avLst/>
          </a:prstGeom>
        </p:spPr>
        <p:txBody>
          <a:bodyPr vert="horz" wrap="square" lIns="0" tIns="13335" rIns="0" bIns="0" rtlCol="0">
            <a:spAutoFit/>
          </a:bodyPr>
          <a:lstStyle/>
          <a:p>
            <a:pPr marL="38100" marR="0" lvl="0" indent="0" algn="l" defTabSz="914400" rtl="0" eaLnBrk="1" fontAlgn="auto" latinLnBrk="0" hangingPunct="1">
              <a:lnSpc>
                <a:spcPct val="100000"/>
              </a:lnSpc>
              <a:spcBef>
                <a:spcPts val="105"/>
              </a:spcBef>
              <a:spcAft>
                <a:spcPts val="0"/>
              </a:spcAft>
              <a:buClrTx/>
              <a:buSzTx/>
              <a:buFontTx/>
              <a:buNone/>
              <a:tabLst/>
              <a:defRPr/>
            </a:pPr>
            <a:r>
              <a:rPr kumimoji="0" sz="750" b="1" i="0" u="none" strike="noStrike" kern="0" cap="none" spc="0" normalizeH="0" baseline="27777" noProof="0" dirty="0">
                <a:ln>
                  <a:noFill/>
                </a:ln>
                <a:solidFill>
                  <a:prstClr val="black"/>
                </a:solidFill>
                <a:effectLst/>
                <a:uLnTx/>
                <a:uFillTx/>
                <a:latin typeface="Arial"/>
                <a:ea typeface="+mn-ea"/>
                <a:cs typeface="Arial"/>
              </a:rPr>
              <a:t>a</a:t>
            </a:r>
            <a:r>
              <a:rPr kumimoji="0" sz="800" b="0" i="0" u="none" strike="noStrike" kern="0" cap="none" spc="0" normalizeH="0" baseline="0" noProof="0" dirty="0">
                <a:ln>
                  <a:noFill/>
                </a:ln>
                <a:solidFill>
                  <a:prstClr val="black"/>
                </a:solidFill>
                <a:effectLst/>
                <a:uLnTx/>
                <a:uFillTx/>
                <a:latin typeface="Arial"/>
                <a:ea typeface="+mn-ea"/>
                <a:cs typeface="Arial"/>
              </a:rPr>
              <a:t>Number</a:t>
            </a:r>
            <a:r>
              <a:rPr kumimoji="0" sz="800" b="0" i="0" u="none" strike="noStrike" kern="0" cap="none" spc="-25"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of</a:t>
            </a:r>
            <a:r>
              <a:rPr kumimoji="0" sz="800" b="0" i="0" u="none" strike="noStrike" kern="0" cap="none" spc="-25"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patients</a:t>
            </a:r>
            <a:r>
              <a:rPr kumimoji="0" sz="800" b="0" i="0" u="none" strike="noStrike" kern="0" cap="none" spc="-20"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who experienced</a:t>
            </a:r>
            <a:r>
              <a:rPr kumimoji="0" sz="800" b="0" i="0" u="none" strike="noStrike" kern="0" cap="none" spc="5"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at</a:t>
            </a:r>
            <a:r>
              <a:rPr kumimoji="0" sz="800" b="0" i="0" u="none" strike="noStrike" kern="0" cap="none" spc="-20"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least</a:t>
            </a:r>
            <a:r>
              <a:rPr kumimoji="0" sz="800" b="0" i="0" u="none" strike="noStrike" kern="0" cap="none" spc="-20"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1</a:t>
            </a:r>
            <a:r>
              <a:rPr kumimoji="0" sz="800" b="0" i="0" u="none" strike="noStrike" kern="0" cap="none" spc="-25"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event</a:t>
            </a:r>
            <a:r>
              <a:rPr kumimoji="0" sz="800" b="0" i="0" u="none" strike="noStrike" kern="0" cap="none" spc="-5"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per</a:t>
            </a:r>
            <a:r>
              <a:rPr kumimoji="0" sz="800" b="0" i="0" u="none" strike="noStrike" kern="0" cap="none" spc="-15"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ASTCT</a:t>
            </a:r>
            <a:r>
              <a:rPr kumimoji="0" sz="800" b="0" i="0" u="none" strike="noStrike" kern="0" cap="none" spc="-35"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Consensus</a:t>
            </a:r>
            <a:r>
              <a:rPr kumimoji="0" sz="800" b="0" i="0" u="none" strike="noStrike" kern="0" cap="none" spc="-20"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Grading</a:t>
            </a:r>
            <a:r>
              <a:rPr kumimoji="0" sz="800" b="0" i="0" u="none" strike="noStrike" kern="0" cap="none" spc="-15"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for</a:t>
            </a:r>
            <a:r>
              <a:rPr kumimoji="0" sz="800" b="0" i="0" u="none" strike="noStrike" kern="0" cap="none" spc="-25"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Cytokine</a:t>
            </a:r>
            <a:r>
              <a:rPr kumimoji="0" sz="800" b="0" i="0" u="none" strike="noStrike" kern="0" cap="none" spc="-25"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Release</a:t>
            </a:r>
            <a:r>
              <a:rPr kumimoji="0" sz="800" b="0" i="0" u="none" strike="noStrike" kern="0" cap="none" spc="-20"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Syndrome</a:t>
            </a:r>
            <a:r>
              <a:rPr kumimoji="0" sz="800" b="0" i="0" u="none" strike="noStrike" kern="0" cap="none" spc="-20"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and</a:t>
            </a:r>
            <a:r>
              <a:rPr kumimoji="0" sz="800" b="0" i="0" u="none" strike="noStrike" kern="0" cap="none" spc="-20"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Neurologic Toxicity</a:t>
            </a:r>
            <a:r>
              <a:rPr kumimoji="0" sz="800" b="0" i="0" u="none" strike="noStrike" kern="0" cap="none" spc="-30"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Associated</a:t>
            </a:r>
            <a:r>
              <a:rPr kumimoji="0" sz="800" b="0" i="0" u="none" strike="noStrike" kern="0" cap="none" spc="-40"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with</a:t>
            </a:r>
            <a:r>
              <a:rPr kumimoji="0" sz="800" b="0" i="0" u="none" strike="noStrike" kern="0" cap="none" spc="-15"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Immune</a:t>
            </a:r>
            <a:r>
              <a:rPr kumimoji="0" sz="800" b="0" i="0" u="none" strike="noStrike" kern="0" cap="none" spc="-45"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Effector</a:t>
            </a:r>
            <a:r>
              <a:rPr kumimoji="0" sz="800" b="0" i="0" u="none" strike="noStrike" kern="0" cap="none" spc="-40"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Cells;</a:t>
            </a:r>
            <a:r>
              <a:rPr kumimoji="0" sz="800" b="0" i="0" u="none" strike="noStrike" kern="0" cap="none" spc="-35"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worst</a:t>
            </a:r>
            <a:r>
              <a:rPr kumimoji="0" sz="800" b="0" i="0" u="none" strike="noStrike" kern="0" cap="none" spc="-10"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grade</a:t>
            </a:r>
            <a:r>
              <a:rPr kumimoji="0" sz="800" b="0" i="0" u="none" strike="noStrike" kern="0" cap="none" spc="-15"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reported</a:t>
            </a:r>
            <a:r>
              <a:rPr kumimoji="0" sz="800" b="0" i="0" u="none" strike="noStrike" kern="0" cap="none" spc="-5"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if</a:t>
            </a:r>
            <a:r>
              <a:rPr kumimoji="0" sz="800" b="0" i="0" u="none" strike="noStrike" kern="0" cap="none" spc="-25" normalizeH="0" baseline="0" noProof="0" dirty="0">
                <a:ln>
                  <a:noFill/>
                </a:ln>
                <a:solidFill>
                  <a:prstClr val="black"/>
                </a:solidFill>
                <a:effectLst/>
                <a:uLnTx/>
                <a:uFillTx/>
                <a:latin typeface="Arial"/>
                <a:ea typeface="+mn-ea"/>
                <a:cs typeface="Arial"/>
              </a:rPr>
              <a:t> </a:t>
            </a:r>
            <a:r>
              <a:rPr kumimoji="0" sz="800" b="0" i="0" u="none" strike="noStrike" kern="0" cap="none" spc="-10" normalizeH="0" baseline="0" noProof="0" dirty="0">
                <a:ln>
                  <a:noFill/>
                </a:ln>
                <a:solidFill>
                  <a:prstClr val="black"/>
                </a:solidFill>
                <a:effectLst/>
                <a:uLnTx/>
                <a:uFillTx/>
                <a:latin typeface="Arial"/>
                <a:ea typeface="+mn-ea"/>
                <a:cs typeface="Arial"/>
              </a:rPr>
              <a:t>applicable</a:t>
            </a:r>
            <a:endParaRPr kumimoji="0" sz="800" b="0" i="0" u="none" strike="noStrike" kern="0" cap="none" spc="0" normalizeH="0" baseline="0" noProof="0" dirty="0">
              <a:ln>
                <a:noFill/>
              </a:ln>
              <a:solidFill>
                <a:prstClr val="black"/>
              </a:solidFill>
              <a:effectLst/>
              <a:uLnTx/>
              <a:uFillTx/>
              <a:latin typeface="Arial"/>
              <a:ea typeface="+mn-ea"/>
              <a:cs typeface="Arial"/>
            </a:endParaRPr>
          </a:p>
          <a:p>
            <a:pPr marL="38100" marR="0" lvl="0" indent="0" algn="l" defTabSz="914400" rtl="0" eaLnBrk="1" fontAlgn="auto" latinLnBrk="0" hangingPunct="1">
              <a:lnSpc>
                <a:spcPct val="100000"/>
              </a:lnSpc>
              <a:spcBef>
                <a:spcPts val="0"/>
              </a:spcBef>
              <a:spcAft>
                <a:spcPts val="0"/>
              </a:spcAft>
              <a:buClrTx/>
              <a:buSzTx/>
              <a:buFontTx/>
              <a:buNone/>
              <a:tabLst/>
              <a:defRPr/>
            </a:pPr>
            <a:r>
              <a:rPr kumimoji="0" sz="750" b="0" i="0" u="none" strike="noStrike" kern="0" cap="none" spc="0" normalizeH="0" baseline="27777" noProof="0" dirty="0">
                <a:ln>
                  <a:noFill/>
                </a:ln>
                <a:solidFill>
                  <a:prstClr val="black"/>
                </a:solidFill>
                <a:effectLst/>
                <a:uLnTx/>
                <a:uFillTx/>
                <a:latin typeface="Arial"/>
                <a:ea typeface="+mn-ea"/>
                <a:cs typeface="Arial"/>
              </a:rPr>
              <a:t>b</a:t>
            </a:r>
            <a:r>
              <a:rPr kumimoji="0" sz="800" b="0" i="0" u="none" strike="noStrike" kern="0" cap="none" spc="0" normalizeH="0" baseline="0" noProof="0" dirty="0">
                <a:ln>
                  <a:noFill/>
                </a:ln>
                <a:solidFill>
                  <a:prstClr val="black"/>
                </a:solidFill>
                <a:effectLst/>
                <a:uLnTx/>
                <a:uFillTx/>
                <a:latin typeface="Arial"/>
                <a:ea typeface="+mn-ea"/>
                <a:cs typeface="Arial"/>
              </a:rPr>
              <a:t>When</a:t>
            </a:r>
            <a:r>
              <a:rPr kumimoji="0" sz="800" b="0" i="0" u="none" strike="noStrike" kern="0" cap="none" spc="-30"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the</a:t>
            </a:r>
            <a:r>
              <a:rPr kumimoji="0" sz="800" b="0" i="0" u="none" strike="noStrike" kern="0" cap="none" spc="-15"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starting</a:t>
            </a:r>
            <a:r>
              <a:rPr kumimoji="0" sz="800" b="0" i="0" u="none" strike="noStrike" kern="0" cap="none" spc="-15"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dose</a:t>
            </a:r>
            <a:r>
              <a:rPr kumimoji="0" sz="800" b="0" i="0" u="none" strike="noStrike" kern="0" cap="none" spc="-15"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of</a:t>
            </a:r>
            <a:r>
              <a:rPr kumimoji="0" sz="800" b="0" i="0" u="none" strike="noStrike" kern="0" cap="none" spc="-10"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Lonca</a:t>
            </a:r>
            <a:r>
              <a:rPr kumimoji="0" sz="800" b="0" i="0" u="none" strike="noStrike" kern="0" cap="none" spc="-10"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is</a:t>
            </a:r>
            <a:r>
              <a:rPr kumimoji="0" sz="800" b="0" i="0" u="none" strike="noStrike" kern="0" cap="none" spc="-15"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120</a:t>
            </a:r>
            <a:r>
              <a:rPr kumimoji="0" sz="800" b="0" i="0" u="none" strike="noStrike" kern="0" cap="none" spc="5"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μg/kg</a:t>
            </a:r>
            <a:r>
              <a:rPr kumimoji="0" sz="800" b="0" i="0" u="none" strike="noStrike" kern="0" cap="none" spc="-15"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or</a:t>
            </a:r>
            <a:r>
              <a:rPr kumimoji="0" sz="800" b="0" i="0" u="none" strike="noStrike" kern="0" cap="none" spc="-15"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150 μg/kg,</a:t>
            </a:r>
            <a:r>
              <a:rPr kumimoji="0" sz="800" b="0" i="0" u="none" strike="noStrike" kern="0" cap="none" spc="-25"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the</a:t>
            </a:r>
            <a:r>
              <a:rPr kumimoji="0" sz="800" b="0" i="0" u="none" strike="noStrike" kern="0" cap="none" spc="-5"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dose</a:t>
            </a:r>
            <a:r>
              <a:rPr kumimoji="0" sz="800" b="0" i="0" u="none" strike="noStrike" kern="0" cap="none" spc="-15"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will</a:t>
            </a:r>
            <a:r>
              <a:rPr kumimoji="0" sz="800" b="0" i="0" u="none" strike="noStrike" kern="0" cap="none" spc="-10"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be</a:t>
            </a:r>
            <a:r>
              <a:rPr kumimoji="0" sz="800" b="0" i="0" u="none" strike="noStrike" kern="0" cap="none" spc="-10"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reduced</a:t>
            </a:r>
            <a:r>
              <a:rPr kumimoji="0" sz="800" b="0" i="0" u="none" strike="noStrike" kern="0" cap="none" spc="-5"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to</a:t>
            </a:r>
            <a:r>
              <a:rPr kumimoji="0" sz="800" b="0" i="0" u="none" strike="noStrike" kern="0" cap="none" spc="-15"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75</a:t>
            </a:r>
            <a:r>
              <a:rPr kumimoji="0" sz="800" b="0" i="0" u="none" strike="noStrike" kern="0" cap="none" spc="5"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μg/kg</a:t>
            </a:r>
            <a:r>
              <a:rPr kumimoji="0" sz="800" b="0" i="0" u="none" strike="noStrike" kern="0" cap="none" spc="-25"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for</a:t>
            </a:r>
            <a:r>
              <a:rPr kumimoji="0" sz="800" b="0" i="0" u="none" strike="noStrike" kern="0" cap="none" spc="-15"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Cycles</a:t>
            </a:r>
            <a:r>
              <a:rPr kumimoji="0" sz="800" b="0" i="0" u="none" strike="noStrike" kern="0" cap="none" spc="-20" normalizeH="0" baseline="0" noProof="0" dirty="0">
                <a:ln>
                  <a:noFill/>
                </a:ln>
                <a:solidFill>
                  <a:prstClr val="black"/>
                </a:solidFill>
                <a:effectLst/>
                <a:uLnTx/>
                <a:uFillTx/>
                <a:latin typeface="Arial"/>
                <a:ea typeface="+mn-ea"/>
                <a:cs typeface="Arial"/>
              </a:rPr>
              <a:t> </a:t>
            </a:r>
            <a:r>
              <a:rPr kumimoji="0" sz="800" b="0" i="0" u="none" strike="noStrike" kern="0" cap="none" spc="-25" normalizeH="0" baseline="0" noProof="0" dirty="0">
                <a:ln>
                  <a:noFill/>
                </a:ln>
                <a:solidFill>
                  <a:prstClr val="black"/>
                </a:solidFill>
                <a:effectLst/>
                <a:uLnTx/>
                <a:uFillTx/>
                <a:latin typeface="Arial"/>
                <a:ea typeface="+mn-ea"/>
                <a:cs typeface="Arial"/>
              </a:rPr>
              <a:t>≥3.</a:t>
            </a:r>
            <a:endParaRPr kumimoji="0" sz="800" b="0" i="0" u="none" strike="noStrike" kern="0" cap="none" spc="0" normalizeH="0" baseline="0" noProof="0" dirty="0">
              <a:ln>
                <a:noFill/>
              </a:ln>
              <a:solidFill>
                <a:prstClr val="black"/>
              </a:solidFill>
              <a:effectLst/>
              <a:uLnTx/>
              <a:uFillTx/>
              <a:latin typeface="Arial"/>
              <a:ea typeface="+mn-ea"/>
              <a:cs typeface="Arial"/>
            </a:endParaRPr>
          </a:p>
          <a:p>
            <a:pPr marL="38100" marR="0" lvl="0" indent="0" algn="l" defTabSz="914400" rtl="0" eaLnBrk="1" fontAlgn="auto" latinLnBrk="0" hangingPunct="1">
              <a:lnSpc>
                <a:spcPct val="100000"/>
              </a:lnSpc>
              <a:spcBef>
                <a:spcPts val="0"/>
              </a:spcBef>
              <a:spcAft>
                <a:spcPts val="0"/>
              </a:spcAft>
              <a:buClrTx/>
              <a:buSzTx/>
              <a:buFontTx/>
              <a:buNone/>
              <a:tabLst/>
              <a:defRPr/>
            </a:pPr>
            <a:r>
              <a:rPr kumimoji="0" sz="800" b="0" i="0" u="none" strike="noStrike" kern="0" cap="none" spc="0" normalizeH="0" baseline="0" noProof="0" dirty="0">
                <a:ln>
                  <a:noFill/>
                </a:ln>
                <a:solidFill>
                  <a:prstClr val="black"/>
                </a:solidFill>
                <a:effectLst/>
                <a:uLnTx/>
                <a:uFillTx/>
                <a:latin typeface="Arial"/>
                <a:ea typeface="+mn-ea"/>
                <a:cs typeface="Arial"/>
              </a:rPr>
              <a:t>Data</a:t>
            </a:r>
            <a:r>
              <a:rPr kumimoji="0" sz="800" b="0" i="0" u="none" strike="noStrike" kern="0" cap="none" spc="-25"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Cutoff</a:t>
            </a:r>
            <a:r>
              <a:rPr kumimoji="0" sz="800" b="0" i="0" u="none" strike="noStrike" kern="0" cap="none" spc="-15"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14</a:t>
            </a:r>
            <a:r>
              <a:rPr kumimoji="0" sz="800" b="0" i="0" u="none" strike="noStrike" kern="0" cap="none" spc="-10"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Apr</a:t>
            </a:r>
            <a:r>
              <a:rPr kumimoji="0" sz="800" b="0" i="0" u="none" strike="noStrike" kern="0" cap="none" spc="-20"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2025.</a:t>
            </a:r>
            <a:r>
              <a:rPr kumimoji="0" sz="800" b="0" i="0" u="none" strike="noStrike" kern="0" cap="none" spc="-5"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Data</a:t>
            </a:r>
            <a:r>
              <a:rPr kumimoji="0" sz="800" b="0" i="0" u="none" strike="noStrike" kern="0" cap="none" spc="-10"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extracted</a:t>
            </a:r>
            <a:r>
              <a:rPr kumimoji="0" sz="800" b="0" i="0" u="none" strike="noStrike" kern="0" cap="none" spc="5"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from</a:t>
            </a:r>
            <a:r>
              <a:rPr kumimoji="0" sz="800" b="0" i="0" u="none" strike="noStrike" kern="0" cap="none" spc="-25"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live</a:t>
            </a:r>
            <a:r>
              <a:rPr kumimoji="0" sz="800" b="0" i="0" u="none" strike="noStrike" kern="0" cap="none" spc="-25"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clinical</a:t>
            </a:r>
            <a:r>
              <a:rPr kumimoji="0" sz="800" b="0" i="0" u="none" strike="noStrike" kern="0" cap="none" spc="-45"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database.</a:t>
            </a:r>
            <a:r>
              <a:rPr kumimoji="0" sz="800" b="0" i="0" u="none" strike="noStrike" kern="0" cap="none" spc="215"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Data</a:t>
            </a:r>
            <a:r>
              <a:rPr kumimoji="0" sz="800" b="0" i="0" u="none" strike="noStrike" kern="0" cap="none" spc="-20"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is</a:t>
            </a:r>
            <a:r>
              <a:rPr kumimoji="0" sz="800" b="0" i="0" u="none" strike="noStrike" kern="0" cap="none" spc="-20"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subject</a:t>
            </a:r>
            <a:r>
              <a:rPr kumimoji="0" sz="800" b="0" i="0" u="none" strike="noStrike" kern="0" cap="none" spc="-25" normalizeH="0" baseline="0" noProof="0" dirty="0">
                <a:ln>
                  <a:noFill/>
                </a:ln>
                <a:solidFill>
                  <a:prstClr val="black"/>
                </a:solidFill>
                <a:effectLst/>
                <a:uLnTx/>
                <a:uFillTx/>
                <a:latin typeface="Arial"/>
                <a:ea typeface="+mn-ea"/>
                <a:cs typeface="Arial"/>
              </a:rPr>
              <a:t> </a:t>
            </a:r>
            <a:r>
              <a:rPr kumimoji="0" sz="800" b="0" i="0" u="none" strike="noStrike" kern="0" cap="none" spc="0" normalizeH="0" baseline="0" noProof="0" dirty="0">
                <a:ln>
                  <a:noFill/>
                </a:ln>
                <a:solidFill>
                  <a:prstClr val="black"/>
                </a:solidFill>
                <a:effectLst/>
                <a:uLnTx/>
                <a:uFillTx/>
                <a:latin typeface="Arial"/>
                <a:ea typeface="+mn-ea"/>
                <a:cs typeface="Arial"/>
              </a:rPr>
              <a:t>to</a:t>
            </a:r>
            <a:r>
              <a:rPr kumimoji="0" sz="800" b="0" i="0" u="none" strike="noStrike" kern="0" cap="none" spc="-20" normalizeH="0" baseline="0" noProof="0" dirty="0">
                <a:ln>
                  <a:noFill/>
                </a:ln>
                <a:solidFill>
                  <a:prstClr val="black"/>
                </a:solidFill>
                <a:effectLst/>
                <a:uLnTx/>
                <a:uFillTx/>
                <a:latin typeface="Arial"/>
                <a:ea typeface="+mn-ea"/>
                <a:cs typeface="Arial"/>
              </a:rPr>
              <a:t> </a:t>
            </a:r>
            <a:r>
              <a:rPr kumimoji="0" sz="800" b="0" i="0" u="none" strike="noStrike" kern="0" cap="none" spc="-10" normalizeH="0" baseline="0" noProof="0" dirty="0">
                <a:ln>
                  <a:noFill/>
                </a:ln>
                <a:solidFill>
                  <a:prstClr val="black"/>
                </a:solidFill>
                <a:effectLst/>
                <a:uLnTx/>
                <a:uFillTx/>
                <a:latin typeface="Arial"/>
                <a:ea typeface="+mn-ea"/>
                <a:cs typeface="Arial"/>
              </a:rPr>
              <a:t>change.</a:t>
            </a:r>
            <a:endParaRPr kumimoji="0" sz="800" b="0" i="0" u="none" strike="noStrike" kern="0" cap="none" spc="0" normalizeH="0" baseline="0" noProof="0" dirty="0">
              <a:ln>
                <a:noFill/>
              </a:ln>
              <a:solidFill>
                <a:prstClr val="black"/>
              </a:solidFill>
              <a:effectLst/>
              <a:uLnTx/>
              <a:uFillTx/>
              <a:latin typeface="Arial"/>
              <a:ea typeface="+mn-ea"/>
              <a:cs typeface="Arial"/>
            </a:endParaRPr>
          </a:p>
        </p:txBody>
      </p:sp>
      <p:graphicFrame>
        <p:nvGraphicFramePr>
          <p:cNvPr id="4" name="object 4"/>
          <p:cNvGraphicFramePr>
            <a:graphicFrameLocks noGrp="1"/>
          </p:cNvGraphicFramePr>
          <p:nvPr/>
        </p:nvGraphicFramePr>
        <p:xfrm>
          <a:off x="556133" y="1314069"/>
          <a:ext cx="6142988" cy="4838700"/>
        </p:xfrm>
        <a:graphic>
          <a:graphicData uri="http://schemas.openxmlformats.org/drawingml/2006/table">
            <a:tbl>
              <a:tblPr firstRow="1" bandRow="1">
                <a:tableStyleId>{2D5ABB26-0587-4C30-8999-92F81FD0307C}</a:tableStyleId>
              </a:tblPr>
              <a:tblGrid>
                <a:gridCol w="2487295">
                  <a:extLst>
                    <a:ext uri="{9D8B030D-6E8A-4147-A177-3AD203B41FA5}">
                      <a16:colId xmlns:a16="http://schemas.microsoft.com/office/drawing/2014/main" val="20000"/>
                    </a:ext>
                  </a:extLst>
                </a:gridCol>
                <a:gridCol w="1218565">
                  <a:extLst>
                    <a:ext uri="{9D8B030D-6E8A-4147-A177-3AD203B41FA5}">
                      <a16:colId xmlns:a16="http://schemas.microsoft.com/office/drawing/2014/main" val="20001"/>
                    </a:ext>
                  </a:extLst>
                </a:gridCol>
                <a:gridCol w="1218564">
                  <a:extLst>
                    <a:ext uri="{9D8B030D-6E8A-4147-A177-3AD203B41FA5}">
                      <a16:colId xmlns:a16="http://schemas.microsoft.com/office/drawing/2014/main" val="20002"/>
                    </a:ext>
                  </a:extLst>
                </a:gridCol>
                <a:gridCol w="1218564">
                  <a:extLst>
                    <a:ext uri="{9D8B030D-6E8A-4147-A177-3AD203B41FA5}">
                      <a16:colId xmlns:a16="http://schemas.microsoft.com/office/drawing/2014/main" val="20003"/>
                    </a:ext>
                  </a:extLst>
                </a:gridCol>
              </a:tblGrid>
              <a:tr h="584200">
                <a:tc>
                  <a:txBody>
                    <a:bodyPr/>
                    <a:lstStyle/>
                    <a:p>
                      <a:pPr>
                        <a:lnSpc>
                          <a:spcPct val="100000"/>
                        </a:lnSpc>
                      </a:pPr>
                      <a:endParaRPr sz="1200">
                        <a:latin typeface="Times New Roman"/>
                        <a:cs typeface="Times New Roman"/>
                      </a:endParaRPr>
                    </a:p>
                  </a:txBody>
                  <a:tcPr marL="0" marR="0" marT="0" marB="0">
                    <a:lnL w="12700">
                      <a:solidFill>
                        <a:srgbClr val="009FD5"/>
                      </a:solidFill>
                      <a:prstDash val="solid"/>
                    </a:lnL>
                    <a:lnR w="12700">
                      <a:solidFill>
                        <a:srgbClr val="009FD5"/>
                      </a:solidFill>
                      <a:prstDash val="solid"/>
                    </a:lnR>
                    <a:lnT w="12700">
                      <a:solidFill>
                        <a:srgbClr val="009FD5"/>
                      </a:solidFill>
                      <a:prstDash val="solid"/>
                    </a:lnT>
                    <a:lnB w="12700">
                      <a:solidFill>
                        <a:srgbClr val="009FD5"/>
                      </a:solidFill>
                      <a:prstDash val="solid"/>
                    </a:lnB>
                    <a:solidFill>
                      <a:srgbClr val="183D8E"/>
                    </a:solidFill>
                  </a:tcPr>
                </a:tc>
                <a:tc>
                  <a:txBody>
                    <a:bodyPr/>
                    <a:lstStyle/>
                    <a:p>
                      <a:pPr marL="404495" marR="161925" indent="-234950">
                        <a:lnSpc>
                          <a:spcPts val="1660"/>
                        </a:lnSpc>
                        <a:spcBef>
                          <a:spcPts val="525"/>
                        </a:spcBef>
                      </a:pPr>
                      <a:r>
                        <a:rPr sz="1400" b="1" dirty="0">
                          <a:solidFill>
                            <a:srgbClr val="FFFFFF"/>
                          </a:solidFill>
                          <a:latin typeface="Arial"/>
                          <a:cs typeface="Arial"/>
                        </a:rPr>
                        <a:t>120</a:t>
                      </a:r>
                      <a:r>
                        <a:rPr sz="1400" b="1" spc="-30" dirty="0">
                          <a:solidFill>
                            <a:srgbClr val="FFFFFF"/>
                          </a:solidFill>
                          <a:latin typeface="Arial"/>
                          <a:cs typeface="Arial"/>
                        </a:rPr>
                        <a:t> </a:t>
                      </a:r>
                      <a:r>
                        <a:rPr sz="1400" b="1" spc="-10" dirty="0">
                          <a:solidFill>
                            <a:srgbClr val="FFFFFF"/>
                          </a:solidFill>
                          <a:latin typeface="Arial"/>
                          <a:cs typeface="Arial"/>
                        </a:rPr>
                        <a:t>µg/kg</a:t>
                      </a:r>
                      <a:r>
                        <a:rPr sz="1350" spc="-15" baseline="21604" dirty="0">
                          <a:solidFill>
                            <a:srgbClr val="FFFFFF"/>
                          </a:solidFill>
                          <a:latin typeface="Arial"/>
                          <a:cs typeface="Arial"/>
                        </a:rPr>
                        <a:t>b </a:t>
                      </a:r>
                      <a:r>
                        <a:rPr sz="1400" b="1" spc="-20" dirty="0">
                          <a:solidFill>
                            <a:srgbClr val="FFFFFF"/>
                          </a:solidFill>
                          <a:latin typeface="Arial"/>
                          <a:cs typeface="Arial"/>
                        </a:rPr>
                        <a:t>n=20</a:t>
                      </a:r>
                      <a:endParaRPr sz="1400">
                        <a:latin typeface="Arial"/>
                        <a:cs typeface="Arial"/>
                      </a:endParaRPr>
                    </a:p>
                  </a:txBody>
                  <a:tcPr marL="0" marR="0" marT="66675" marB="0">
                    <a:lnL w="12700">
                      <a:solidFill>
                        <a:srgbClr val="009FD5"/>
                      </a:solidFill>
                      <a:prstDash val="solid"/>
                    </a:lnL>
                    <a:lnR w="12700">
                      <a:solidFill>
                        <a:srgbClr val="009FD5"/>
                      </a:solidFill>
                      <a:prstDash val="solid"/>
                    </a:lnR>
                    <a:lnT w="12700">
                      <a:solidFill>
                        <a:srgbClr val="009FD5"/>
                      </a:solidFill>
                      <a:prstDash val="solid"/>
                    </a:lnT>
                    <a:lnB w="12700">
                      <a:solidFill>
                        <a:srgbClr val="009FD5"/>
                      </a:solidFill>
                      <a:prstDash val="solid"/>
                    </a:lnB>
                    <a:solidFill>
                      <a:srgbClr val="183D8E"/>
                    </a:solidFill>
                  </a:tcPr>
                </a:tc>
                <a:tc>
                  <a:txBody>
                    <a:bodyPr/>
                    <a:lstStyle/>
                    <a:p>
                      <a:pPr marL="405130" marR="161290" indent="-234950">
                        <a:lnSpc>
                          <a:spcPts val="1660"/>
                        </a:lnSpc>
                        <a:spcBef>
                          <a:spcPts val="525"/>
                        </a:spcBef>
                      </a:pPr>
                      <a:r>
                        <a:rPr sz="1400" b="1" dirty="0">
                          <a:solidFill>
                            <a:srgbClr val="FFFFFF"/>
                          </a:solidFill>
                          <a:latin typeface="Arial"/>
                          <a:cs typeface="Arial"/>
                        </a:rPr>
                        <a:t>150</a:t>
                      </a:r>
                      <a:r>
                        <a:rPr sz="1400" b="1" spc="-30" dirty="0">
                          <a:solidFill>
                            <a:srgbClr val="FFFFFF"/>
                          </a:solidFill>
                          <a:latin typeface="Arial"/>
                          <a:cs typeface="Arial"/>
                        </a:rPr>
                        <a:t> </a:t>
                      </a:r>
                      <a:r>
                        <a:rPr sz="1400" b="1" spc="-10" dirty="0">
                          <a:solidFill>
                            <a:srgbClr val="FFFFFF"/>
                          </a:solidFill>
                          <a:latin typeface="Arial"/>
                          <a:cs typeface="Arial"/>
                        </a:rPr>
                        <a:t>µg/kg</a:t>
                      </a:r>
                      <a:r>
                        <a:rPr sz="1350" spc="-15" baseline="21604" dirty="0">
                          <a:solidFill>
                            <a:srgbClr val="FFFFFF"/>
                          </a:solidFill>
                          <a:latin typeface="Arial"/>
                          <a:cs typeface="Arial"/>
                        </a:rPr>
                        <a:t>b </a:t>
                      </a:r>
                      <a:r>
                        <a:rPr sz="1400" b="1" spc="-20" dirty="0">
                          <a:solidFill>
                            <a:srgbClr val="FFFFFF"/>
                          </a:solidFill>
                          <a:latin typeface="Arial"/>
                          <a:cs typeface="Arial"/>
                        </a:rPr>
                        <a:t>n=21</a:t>
                      </a:r>
                      <a:endParaRPr sz="1400">
                        <a:latin typeface="Arial"/>
                        <a:cs typeface="Arial"/>
                      </a:endParaRPr>
                    </a:p>
                  </a:txBody>
                  <a:tcPr marL="0" marR="0" marT="66675" marB="0">
                    <a:lnL w="12700">
                      <a:solidFill>
                        <a:srgbClr val="009FD5"/>
                      </a:solidFill>
                      <a:prstDash val="solid"/>
                    </a:lnL>
                    <a:lnR w="12700">
                      <a:solidFill>
                        <a:srgbClr val="009FD5"/>
                      </a:solidFill>
                      <a:prstDash val="solid"/>
                    </a:lnR>
                    <a:lnT w="12700">
                      <a:solidFill>
                        <a:srgbClr val="009FD5"/>
                      </a:solidFill>
                      <a:prstDash val="solid"/>
                    </a:lnT>
                    <a:lnB w="12700">
                      <a:solidFill>
                        <a:srgbClr val="009FD5"/>
                      </a:solidFill>
                      <a:prstDash val="solid"/>
                    </a:lnB>
                    <a:solidFill>
                      <a:srgbClr val="183D8E"/>
                    </a:solidFill>
                  </a:tcPr>
                </a:tc>
                <a:tc>
                  <a:txBody>
                    <a:bodyPr/>
                    <a:lstStyle/>
                    <a:p>
                      <a:pPr marL="356235" marR="346075" indent="141605">
                        <a:lnSpc>
                          <a:spcPts val="1660"/>
                        </a:lnSpc>
                        <a:spcBef>
                          <a:spcPts val="525"/>
                        </a:spcBef>
                      </a:pPr>
                      <a:r>
                        <a:rPr sz="1400" b="1" spc="-25" dirty="0">
                          <a:solidFill>
                            <a:srgbClr val="FFFFFF"/>
                          </a:solidFill>
                          <a:latin typeface="Arial"/>
                          <a:cs typeface="Arial"/>
                        </a:rPr>
                        <a:t>All</a:t>
                      </a:r>
                      <a:r>
                        <a:rPr sz="1400" b="1" spc="500" dirty="0">
                          <a:solidFill>
                            <a:srgbClr val="FFFFFF"/>
                          </a:solidFill>
                          <a:latin typeface="Arial"/>
                          <a:cs typeface="Arial"/>
                        </a:rPr>
                        <a:t> </a:t>
                      </a:r>
                      <a:r>
                        <a:rPr sz="1400" b="1" dirty="0">
                          <a:solidFill>
                            <a:srgbClr val="FFFFFF"/>
                          </a:solidFill>
                          <a:latin typeface="Arial"/>
                          <a:cs typeface="Arial"/>
                        </a:rPr>
                        <a:t>n</a:t>
                      </a:r>
                      <a:r>
                        <a:rPr sz="1400" b="1" spc="-10" dirty="0">
                          <a:solidFill>
                            <a:srgbClr val="FFFFFF"/>
                          </a:solidFill>
                          <a:latin typeface="Arial"/>
                          <a:cs typeface="Arial"/>
                        </a:rPr>
                        <a:t> </a:t>
                      </a:r>
                      <a:r>
                        <a:rPr sz="1400" b="1" dirty="0">
                          <a:solidFill>
                            <a:srgbClr val="FFFFFF"/>
                          </a:solidFill>
                          <a:latin typeface="Arial"/>
                          <a:cs typeface="Arial"/>
                        </a:rPr>
                        <a:t>=</a:t>
                      </a:r>
                      <a:r>
                        <a:rPr sz="1400" b="1" spc="-10" dirty="0">
                          <a:solidFill>
                            <a:srgbClr val="FFFFFF"/>
                          </a:solidFill>
                          <a:latin typeface="Arial"/>
                          <a:cs typeface="Arial"/>
                        </a:rPr>
                        <a:t> </a:t>
                      </a:r>
                      <a:r>
                        <a:rPr sz="1400" b="1" spc="-25" dirty="0">
                          <a:solidFill>
                            <a:srgbClr val="FFFFFF"/>
                          </a:solidFill>
                          <a:latin typeface="Arial"/>
                          <a:cs typeface="Arial"/>
                        </a:rPr>
                        <a:t>41</a:t>
                      </a:r>
                      <a:endParaRPr sz="1400">
                        <a:latin typeface="Arial"/>
                        <a:cs typeface="Arial"/>
                      </a:endParaRPr>
                    </a:p>
                  </a:txBody>
                  <a:tcPr marL="0" marR="0" marT="66675" marB="0">
                    <a:lnL w="12700">
                      <a:solidFill>
                        <a:srgbClr val="009FD5"/>
                      </a:solidFill>
                      <a:prstDash val="solid"/>
                    </a:lnL>
                    <a:lnR w="12700">
                      <a:solidFill>
                        <a:srgbClr val="009FD5"/>
                      </a:solidFill>
                      <a:prstDash val="solid"/>
                    </a:lnR>
                    <a:lnT w="12700">
                      <a:solidFill>
                        <a:srgbClr val="009FD5"/>
                      </a:solidFill>
                      <a:prstDash val="solid"/>
                    </a:lnT>
                    <a:lnB w="12700">
                      <a:solidFill>
                        <a:srgbClr val="009FD5"/>
                      </a:solidFill>
                      <a:prstDash val="solid"/>
                    </a:lnB>
                    <a:solidFill>
                      <a:srgbClr val="183D8E"/>
                    </a:solidFill>
                  </a:tcPr>
                </a:tc>
                <a:extLst>
                  <a:ext uri="{0D108BD9-81ED-4DB2-BD59-A6C34878D82A}">
                    <a16:rowId xmlns:a16="http://schemas.microsoft.com/office/drawing/2014/main" val="10000"/>
                  </a:ext>
                </a:extLst>
              </a:tr>
              <a:tr h="361950">
                <a:tc gridSpan="4">
                  <a:txBody>
                    <a:bodyPr/>
                    <a:lstStyle/>
                    <a:p>
                      <a:pPr marL="56515">
                        <a:lnSpc>
                          <a:spcPct val="100000"/>
                        </a:lnSpc>
                        <a:spcBef>
                          <a:spcPts val="575"/>
                        </a:spcBef>
                      </a:pPr>
                      <a:r>
                        <a:rPr sz="1400" b="1" dirty="0">
                          <a:latin typeface="Arial"/>
                          <a:cs typeface="Arial"/>
                        </a:rPr>
                        <a:t>Cytokine</a:t>
                      </a:r>
                      <a:r>
                        <a:rPr sz="1400" b="1" spc="-45" dirty="0">
                          <a:latin typeface="Arial"/>
                          <a:cs typeface="Arial"/>
                        </a:rPr>
                        <a:t> </a:t>
                      </a:r>
                      <a:r>
                        <a:rPr sz="1400" b="1" dirty="0">
                          <a:latin typeface="Arial"/>
                          <a:cs typeface="Arial"/>
                        </a:rPr>
                        <a:t>Release</a:t>
                      </a:r>
                      <a:r>
                        <a:rPr sz="1400" b="1" spc="-75" dirty="0">
                          <a:latin typeface="Arial"/>
                          <a:cs typeface="Arial"/>
                        </a:rPr>
                        <a:t> </a:t>
                      </a:r>
                      <a:r>
                        <a:rPr sz="1400" b="1" spc="-10" dirty="0">
                          <a:latin typeface="Arial"/>
                          <a:cs typeface="Arial"/>
                        </a:rPr>
                        <a:t>Syndrome</a:t>
                      </a:r>
                      <a:r>
                        <a:rPr sz="1350" spc="-15" baseline="21604" dirty="0">
                          <a:latin typeface="Arial"/>
                          <a:cs typeface="Arial"/>
                        </a:rPr>
                        <a:t>a</a:t>
                      </a:r>
                      <a:endParaRPr sz="1350" baseline="21604">
                        <a:latin typeface="Arial"/>
                        <a:cs typeface="Arial"/>
                      </a:endParaRPr>
                    </a:p>
                  </a:txBody>
                  <a:tcPr marL="0" marR="0" marT="73025" marB="0">
                    <a:lnL w="12700">
                      <a:solidFill>
                        <a:srgbClr val="009FD5"/>
                      </a:solidFill>
                      <a:prstDash val="solid"/>
                    </a:lnL>
                    <a:lnR w="12700">
                      <a:solidFill>
                        <a:srgbClr val="009FD5"/>
                      </a:solidFill>
                      <a:prstDash val="solid"/>
                    </a:lnR>
                    <a:lnT w="12700">
                      <a:solidFill>
                        <a:srgbClr val="009FD5"/>
                      </a:solidFill>
                      <a:prstDash val="solid"/>
                    </a:lnT>
                    <a:lnB w="12700">
                      <a:solidFill>
                        <a:srgbClr val="009FD5"/>
                      </a:solidFill>
                      <a:prstDash val="solid"/>
                    </a:lnB>
                    <a:solidFill>
                      <a:srgbClr val="EBEBEB"/>
                    </a:solidFill>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1"/>
                  </a:ext>
                </a:extLst>
              </a:tr>
              <a:tr h="389255">
                <a:tc>
                  <a:txBody>
                    <a:bodyPr/>
                    <a:lstStyle/>
                    <a:p>
                      <a:pPr marL="243840">
                        <a:lnSpc>
                          <a:spcPct val="100000"/>
                        </a:lnSpc>
                        <a:spcBef>
                          <a:spcPts val="680"/>
                        </a:spcBef>
                      </a:pPr>
                      <a:r>
                        <a:rPr sz="1400" dirty="0">
                          <a:latin typeface="Arial"/>
                          <a:cs typeface="Arial"/>
                        </a:rPr>
                        <a:t>Any</a:t>
                      </a:r>
                      <a:r>
                        <a:rPr sz="1400" spc="-20" dirty="0">
                          <a:latin typeface="Arial"/>
                          <a:cs typeface="Arial"/>
                        </a:rPr>
                        <a:t> </a:t>
                      </a:r>
                      <a:r>
                        <a:rPr sz="1400" spc="-10" dirty="0">
                          <a:latin typeface="Arial"/>
                          <a:cs typeface="Arial"/>
                        </a:rPr>
                        <a:t>grade</a:t>
                      </a:r>
                      <a:endParaRPr sz="1400">
                        <a:latin typeface="Arial"/>
                        <a:cs typeface="Arial"/>
                      </a:endParaRPr>
                    </a:p>
                  </a:txBody>
                  <a:tcPr marL="0" marR="0" marT="86360" marB="0">
                    <a:lnL w="12700">
                      <a:solidFill>
                        <a:srgbClr val="009FD5"/>
                      </a:solidFill>
                      <a:prstDash val="solid"/>
                    </a:lnL>
                    <a:lnR w="12700">
                      <a:solidFill>
                        <a:srgbClr val="009FD5"/>
                      </a:solidFill>
                      <a:prstDash val="solid"/>
                    </a:lnR>
                    <a:lnT w="12700">
                      <a:solidFill>
                        <a:srgbClr val="009FD5"/>
                      </a:solidFill>
                      <a:prstDash val="solid"/>
                    </a:lnT>
                    <a:lnB w="12700">
                      <a:solidFill>
                        <a:srgbClr val="009FD5"/>
                      </a:solidFill>
                      <a:prstDash val="solid"/>
                    </a:lnB>
                    <a:solidFill>
                      <a:srgbClr val="FFFFFF"/>
                    </a:solidFill>
                  </a:tcPr>
                </a:tc>
                <a:tc>
                  <a:txBody>
                    <a:bodyPr/>
                    <a:lstStyle/>
                    <a:p>
                      <a:pPr marL="1270" algn="ctr">
                        <a:lnSpc>
                          <a:spcPct val="100000"/>
                        </a:lnSpc>
                        <a:spcBef>
                          <a:spcPts val="500"/>
                        </a:spcBef>
                      </a:pPr>
                      <a:r>
                        <a:rPr sz="1400" spc="-30" dirty="0">
                          <a:latin typeface="Arial"/>
                          <a:cs typeface="Arial"/>
                        </a:rPr>
                        <a:t>11</a:t>
                      </a:r>
                      <a:r>
                        <a:rPr sz="1400" spc="-60" dirty="0">
                          <a:latin typeface="Arial"/>
                          <a:cs typeface="Arial"/>
                        </a:rPr>
                        <a:t> </a:t>
                      </a:r>
                      <a:r>
                        <a:rPr sz="1400" spc="-20" dirty="0">
                          <a:latin typeface="Arial"/>
                          <a:cs typeface="Arial"/>
                        </a:rPr>
                        <a:t>(55%)</a:t>
                      </a:r>
                      <a:endParaRPr sz="1400">
                        <a:latin typeface="Arial"/>
                        <a:cs typeface="Arial"/>
                      </a:endParaRPr>
                    </a:p>
                  </a:txBody>
                  <a:tcPr marL="0" marR="0" marT="63500" marB="0">
                    <a:lnL w="12700">
                      <a:solidFill>
                        <a:srgbClr val="009FD5"/>
                      </a:solidFill>
                      <a:prstDash val="solid"/>
                    </a:lnL>
                    <a:lnR w="12700">
                      <a:solidFill>
                        <a:srgbClr val="009FD5"/>
                      </a:solidFill>
                      <a:prstDash val="solid"/>
                    </a:lnR>
                    <a:lnT w="12700">
                      <a:solidFill>
                        <a:srgbClr val="009FD5"/>
                      </a:solidFill>
                      <a:prstDash val="solid"/>
                    </a:lnT>
                    <a:lnB w="12700">
                      <a:solidFill>
                        <a:srgbClr val="009FD5"/>
                      </a:solidFill>
                      <a:prstDash val="solid"/>
                    </a:lnB>
                    <a:solidFill>
                      <a:srgbClr val="FFFFFF"/>
                    </a:solidFill>
                  </a:tcPr>
                </a:tc>
                <a:tc>
                  <a:txBody>
                    <a:bodyPr/>
                    <a:lstStyle/>
                    <a:p>
                      <a:pPr marL="1905" algn="ctr">
                        <a:lnSpc>
                          <a:spcPct val="100000"/>
                        </a:lnSpc>
                        <a:spcBef>
                          <a:spcPts val="500"/>
                        </a:spcBef>
                      </a:pPr>
                      <a:r>
                        <a:rPr sz="1400" dirty="0">
                          <a:latin typeface="Arial"/>
                          <a:cs typeface="Arial"/>
                        </a:rPr>
                        <a:t>5</a:t>
                      </a:r>
                      <a:r>
                        <a:rPr sz="1400" spc="-10" dirty="0">
                          <a:latin typeface="Arial"/>
                          <a:cs typeface="Arial"/>
                        </a:rPr>
                        <a:t> (23.8%)</a:t>
                      </a:r>
                      <a:endParaRPr sz="1400">
                        <a:latin typeface="Arial"/>
                        <a:cs typeface="Arial"/>
                      </a:endParaRPr>
                    </a:p>
                  </a:txBody>
                  <a:tcPr marL="0" marR="0" marT="63500" marB="0">
                    <a:lnL w="12700">
                      <a:solidFill>
                        <a:srgbClr val="009FD5"/>
                      </a:solidFill>
                      <a:prstDash val="solid"/>
                    </a:lnL>
                    <a:lnR w="12700">
                      <a:solidFill>
                        <a:srgbClr val="009FD5"/>
                      </a:solidFill>
                      <a:prstDash val="solid"/>
                    </a:lnR>
                    <a:lnT w="12700">
                      <a:solidFill>
                        <a:srgbClr val="009FD5"/>
                      </a:solidFill>
                      <a:prstDash val="solid"/>
                    </a:lnT>
                    <a:lnB w="12700">
                      <a:solidFill>
                        <a:srgbClr val="009FD5"/>
                      </a:solidFill>
                      <a:prstDash val="solid"/>
                    </a:lnB>
                    <a:solidFill>
                      <a:srgbClr val="FFFFFF"/>
                    </a:solidFill>
                  </a:tcPr>
                </a:tc>
                <a:tc>
                  <a:txBody>
                    <a:bodyPr/>
                    <a:lstStyle/>
                    <a:p>
                      <a:pPr marL="1905" algn="ctr">
                        <a:lnSpc>
                          <a:spcPct val="100000"/>
                        </a:lnSpc>
                        <a:spcBef>
                          <a:spcPts val="500"/>
                        </a:spcBef>
                      </a:pPr>
                      <a:r>
                        <a:rPr sz="1400" dirty="0">
                          <a:latin typeface="Arial"/>
                          <a:cs typeface="Arial"/>
                        </a:rPr>
                        <a:t>16</a:t>
                      </a:r>
                      <a:r>
                        <a:rPr sz="1400" spc="-30" dirty="0">
                          <a:latin typeface="Arial"/>
                          <a:cs typeface="Arial"/>
                        </a:rPr>
                        <a:t> </a:t>
                      </a:r>
                      <a:r>
                        <a:rPr sz="1400" spc="-10" dirty="0">
                          <a:latin typeface="Arial"/>
                          <a:cs typeface="Arial"/>
                        </a:rPr>
                        <a:t>(39.0%)</a:t>
                      </a:r>
                      <a:endParaRPr sz="1400">
                        <a:latin typeface="Arial"/>
                        <a:cs typeface="Arial"/>
                      </a:endParaRPr>
                    </a:p>
                  </a:txBody>
                  <a:tcPr marL="0" marR="0" marT="63500" marB="0">
                    <a:lnL w="12700">
                      <a:solidFill>
                        <a:srgbClr val="009FD5"/>
                      </a:solidFill>
                      <a:prstDash val="solid"/>
                    </a:lnL>
                    <a:lnR w="12700">
                      <a:solidFill>
                        <a:srgbClr val="009FD5"/>
                      </a:solidFill>
                      <a:prstDash val="solid"/>
                    </a:lnR>
                    <a:lnT w="12700">
                      <a:solidFill>
                        <a:srgbClr val="009FD5"/>
                      </a:solidFill>
                      <a:prstDash val="solid"/>
                    </a:lnT>
                    <a:lnB w="12700">
                      <a:solidFill>
                        <a:srgbClr val="009FD5"/>
                      </a:solidFill>
                      <a:prstDash val="solid"/>
                    </a:lnB>
                    <a:solidFill>
                      <a:srgbClr val="FFFFFF"/>
                    </a:solidFill>
                  </a:tcPr>
                </a:tc>
                <a:extLst>
                  <a:ext uri="{0D108BD9-81ED-4DB2-BD59-A6C34878D82A}">
                    <a16:rowId xmlns:a16="http://schemas.microsoft.com/office/drawing/2014/main" val="10002"/>
                  </a:ext>
                </a:extLst>
              </a:tr>
              <a:tr h="389255">
                <a:tc>
                  <a:txBody>
                    <a:bodyPr/>
                    <a:lstStyle/>
                    <a:p>
                      <a:pPr marL="252729">
                        <a:lnSpc>
                          <a:spcPct val="100000"/>
                        </a:lnSpc>
                        <a:spcBef>
                          <a:spcPts val="680"/>
                        </a:spcBef>
                      </a:pPr>
                      <a:r>
                        <a:rPr sz="1400" dirty="0">
                          <a:latin typeface="Arial"/>
                          <a:cs typeface="Arial"/>
                        </a:rPr>
                        <a:t>Grade</a:t>
                      </a:r>
                      <a:r>
                        <a:rPr sz="1400" spc="-50" dirty="0">
                          <a:latin typeface="Arial"/>
                          <a:cs typeface="Arial"/>
                        </a:rPr>
                        <a:t> 1</a:t>
                      </a:r>
                      <a:endParaRPr sz="1400">
                        <a:latin typeface="Arial"/>
                        <a:cs typeface="Arial"/>
                      </a:endParaRPr>
                    </a:p>
                  </a:txBody>
                  <a:tcPr marL="0" marR="0" marT="86360" marB="0">
                    <a:lnL w="12700">
                      <a:solidFill>
                        <a:srgbClr val="009FD5"/>
                      </a:solidFill>
                      <a:prstDash val="solid"/>
                    </a:lnL>
                    <a:lnR w="12700">
                      <a:solidFill>
                        <a:srgbClr val="009FD5"/>
                      </a:solidFill>
                      <a:prstDash val="solid"/>
                    </a:lnR>
                    <a:lnT w="12700">
                      <a:solidFill>
                        <a:srgbClr val="009FD5"/>
                      </a:solidFill>
                      <a:prstDash val="solid"/>
                    </a:lnT>
                    <a:lnB w="12700">
                      <a:solidFill>
                        <a:srgbClr val="009FD5"/>
                      </a:solidFill>
                      <a:prstDash val="solid"/>
                    </a:lnB>
                    <a:solidFill>
                      <a:srgbClr val="FFFFFF"/>
                    </a:solidFill>
                  </a:tcPr>
                </a:tc>
                <a:tc>
                  <a:txBody>
                    <a:bodyPr/>
                    <a:lstStyle/>
                    <a:p>
                      <a:pPr marL="1905" algn="ctr">
                        <a:lnSpc>
                          <a:spcPct val="100000"/>
                        </a:lnSpc>
                        <a:spcBef>
                          <a:spcPts val="505"/>
                        </a:spcBef>
                      </a:pPr>
                      <a:r>
                        <a:rPr sz="1400" dirty="0">
                          <a:latin typeface="Arial"/>
                          <a:cs typeface="Arial"/>
                        </a:rPr>
                        <a:t>7</a:t>
                      </a:r>
                      <a:r>
                        <a:rPr sz="1400" spc="-5" dirty="0">
                          <a:latin typeface="Arial"/>
                          <a:cs typeface="Arial"/>
                        </a:rPr>
                        <a:t> </a:t>
                      </a:r>
                      <a:r>
                        <a:rPr sz="1400" spc="-20" dirty="0">
                          <a:latin typeface="Arial"/>
                          <a:cs typeface="Arial"/>
                        </a:rPr>
                        <a:t>(35%)</a:t>
                      </a:r>
                      <a:endParaRPr sz="1400">
                        <a:latin typeface="Arial"/>
                        <a:cs typeface="Arial"/>
                      </a:endParaRPr>
                    </a:p>
                  </a:txBody>
                  <a:tcPr marL="0" marR="0" marT="64135" marB="0">
                    <a:lnL w="12700">
                      <a:solidFill>
                        <a:srgbClr val="009FD5"/>
                      </a:solidFill>
                      <a:prstDash val="solid"/>
                    </a:lnL>
                    <a:lnR w="12700">
                      <a:solidFill>
                        <a:srgbClr val="009FD5"/>
                      </a:solidFill>
                      <a:prstDash val="solid"/>
                    </a:lnR>
                    <a:lnT w="12700">
                      <a:solidFill>
                        <a:srgbClr val="009FD5"/>
                      </a:solidFill>
                      <a:prstDash val="solid"/>
                    </a:lnT>
                    <a:lnB w="12700">
                      <a:solidFill>
                        <a:srgbClr val="009FD5"/>
                      </a:solidFill>
                      <a:prstDash val="solid"/>
                    </a:lnB>
                    <a:solidFill>
                      <a:srgbClr val="FFFFFF"/>
                    </a:solidFill>
                  </a:tcPr>
                </a:tc>
                <a:tc>
                  <a:txBody>
                    <a:bodyPr/>
                    <a:lstStyle/>
                    <a:p>
                      <a:pPr marL="1905" algn="ctr">
                        <a:lnSpc>
                          <a:spcPct val="100000"/>
                        </a:lnSpc>
                        <a:spcBef>
                          <a:spcPts val="505"/>
                        </a:spcBef>
                      </a:pPr>
                      <a:r>
                        <a:rPr sz="1400" dirty="0">
                          <a:latin typeface="Arial"/>
                          <a:cs typeface="Arial"/>
                        </a:rPr>
                        <a:t>5</a:t>
                      </a:r>
                      <a:r>
                        <a:rPr sz="1400" spc="-10" dirty="0">
                          <a:latin typeface="Arial"/>
                          <a:cs typeface="Arial"/>
                        </a:rPr>
                        <a:t> (23.8%)</a:t>
                      </a:r>
                      <a:endParaRPr sz="1400">
                        <a:latin typeface="Arial"/>
                        <a:cs typeface="Arial"/>
                      </a:endParaRPr>
                    </a:p>
                  </a:txBody>
                  <a:tcPr marL="0" marR="0" marT="64135" marB="0">
                    <a:lnL w="12700">
                      <a:solidFill>
                        <a:srgbClr val="009FD5"/>
                      </a:solidFill>
                      <a:prstDash val="solid"/>
                    </a:lnL>
                    <a:lnR w="12700">
                      <a:solidFill>
                        <a:srgbClr val="009FD5"/>
                      </a:solidFill>
                      <a:prstDash val="solid"/>
                    </a:lnR>
                    <a:lnT w="12700">
                      <a:solidFill>
                        <a:srgbClr val="009FD5"/>
                      </a:solidFill>
                      <a:prstDash val="solid"/>
                    </a:lnT>
                    <a:lnB w="12700">
                      <a:solidFill>
                        <a:srgbClr val="009FD5"/>
                      </a:solidFill>
                      <a:prstDash val="solid"/>
                    </a:lnB>
                    <a:solidFill>
                      <a:srgbClr val="FFFFFF"/>
                    </a:solidFill>
                  </a:tcPr>
                </a:tc>
                <a:tc>
                  <a:txBody>
                    <a:bodyPr/>
                    <a:lstStyle/>
                    <a:p>
                      <a:pPr marL="48895" algn="ctr">
                        <a:lnSpc>
                          <a:spcPct val="100000"/>
                        </a:lnSpc>
                        <a:spcBef>
                          <a:spcPts val="505"/>
                        </a:spcBef>
                      </a:pPr>
                      <a:r>
                        <a:rPr sz="1400" dirty="0">
                          <a:latin typeface="Arial"/>
                          <a:cs typeface="Arial"/>
                        </a:rPr>
                        <a:t>12</a:t>
                      </a:r>
                      <a:r>
                        <a:rPr sz="1400" spc="-15" dirty="0">
                          <a:latin typeface="Arial"/>
                          <a:cs typeface="Arial"/>
                        </a:rPr>
                        <a:t> </a:t>
                      </a:r>
                      <a:r>
                        <a:rPr sz="1400" spc="-10" dirty="0">
                          <a:latin typeface="Arial"/>
                          <a:cs typeface="Arial"/>
                        </a:rPr>
                        <a:t>(29.3%)</a:t>
                      </a:r>
                      <a:endParaRPr sz="1400">
                        <a:latin typeface="Arial"/>
                        <a:cs typeface="Arial"/>
                      </a:endParaRPr>
                    </a:p>
                  </a:txBody>
                  <a:tcPr marL="0" marR="0" marT="64135" marB="0">
                    <a:lnL w="12700">
                      <a:solidFill>
                        <a:srgbClr val="009FD5"/>
                      </a:solidFill>
                      <a:prstDash val="solid"/>
                    </a:lnL>
                    <a:lnR w="12700">
                      <a:solidFill>
                        <a:srgbClr val="009FD5"/>
                      </a:solidFill>
                      <a:prstDash val="solid"/>
                    </a:lnR>
                    <a:lnT w="12700">
                      <a:solidFill>
                        <a:srgbClr val="009FD5"/>
                      </a:solidFill>
                      <a:prstDash val="solid"/>
                    </a:lnT>
                    <a:lnB w="12700">
                      <a:solidFill>
                        <a:srgbClr val="009FD5"/>
                      </a:solidFill>
                      <a:prstDash val="solid"/>
                    </a:lnB>
                    <a:solidFill>
                      <a:srgbClr val="FFFFFF"/>
                    </a:solidFill>
                  </a:tcPr>
                </a:tc>
                <a:extLst>
                  <a:ext uri="{0D108BD9-81ED-4DB2-BD59-A6C34878D82A}">
                    <a16:rowId xmlns:a16="http://schemas.microsoft.com/office/drawing/2014/main" val="10003"/>
                  </a:ext>
                </a:extLst>
              </a:tr>
              <a:tr h="389255">
                <a:tc>
                  <a:txBody>
                    <a:bodyPr/>
                    <a:lstStyle/>
                    <a:p>
                      <a:pPr marL="252729">
                        <a:lnSpc>
                          <a:spcPct val="100000"/>
                        </a:lnSpc>
                        <a:spcBef>
                          <a:spcPts val="685"/>
                        </a:spcBef>
                      </a:pPr>
                      <a:r>
                        <a:rPr sz="1400" dirty="0">
                          <a:latin typeface="Arial"/>
                          <a:cs typeface="Arial"/>
                        </a:rPr>
                        <a:t>Grade</a:t>
                      </a:r>
                      <a:r>
                        <a:rPr sz="1400" spc="-50" dirty="0">
                          <a:latin typeface="Arial"/>
                          <a:cs typeface="Arial"/>
                        </a:rPr>
                        <a:t> 2</a:t>
                      </a:r>
                      <a:endParaRPr sz="1400">
                        <a:latin typeface="Arial"/>
                        <a:cs typeface="Arial"/>
                      </a:endParaRPr>
                    </a:p>
                  </a:txBody>
                  <a:tcPr marL="0" marR="0" marT="86995" marB="0">
                    <a:lnL w="12700">
                      <a:solidFill>
                        <a:srgbClr val="009FD5"/>
                      </a:solidFill>
                      <a:prstDash val="solid"/>
                    </a:lnL>
                    <a:lnR w="12700">
                      <a:solidFill>
                        <a:srgbClr val="009FD5"/>
                      </a:solidFill>
                      <a:prstDash val="solid"/>
                    </a:lnR>
                    <a:lnT w="12700">
                      <a:solidFill>
                        <a:srgbClr val="009FD5"/>
                      </a:solidFill>
                      <a:prstDash val="solid"/>
                    </a:lnT>
                    <a:lnB w="12700">
                      <a:solidFill>
                        <a:srgbClr val="009FD5"/>
                      </a:solidFill>
                      <a:prstDash val="solid"/>
                    </a:lnB>
                    <a:solidFill>
                      <a:srgbClr val="FFFFFF"/>
                    </a:solidFill>
                  </a:tcPr>
                </a:tc>
                <a:tc>
                  <a:txBody>
                    <a:bodyPr/>
                    <a:lstStyle/>
                    <a:p>
                      <a:pPr marL="1905" algn="ctr">
                        <a:lnSpc>
                          <a:spcPct val="100000"/>
                        </a:lnSpc>
                        <a:spcBef>
                          <a:spcPts val="505"/>
                        </a:spcBef>
                      </a:pPr>
                      <a:r>
                        <a:rPr sz="1400" dirty="0">
                          <a:latin typeface="Arial"/>
                          <a:cs typeface="Arial"/>
                        </a:rPr>
                        <a:t>3</a:t>
                      </a:r>
                      <a:r>
                        <a:rPr sz="1400" spc="-5" dirty="0">
                          <a:latin typeface="Arial"/>
                          <a:cs typeface="Arial"/>
                        </a:rPr>
                        <a:t> </a:t>
                      </a:r>
                      <a:r>
                        <a:rPr sz="1400" spc="-20" dirty="0">
                          <a:latin typeface="Arial"/>
                          <a:cs typeface="Arial"/>
                        </a:rPr>
                        <a:t>(15%)</a:t>
                      </a:r>
                      <a:endParaRPr sz="1400">
                        <a:latin typeface="Arial"/>
                        <a:cs typeface="Arial"/>
                      </a:endParaRPr>
                    </a:p>
                  </a:txBody>
                  <a:tcPr marL="0" marR="0" marT="64135" marB="0">
                    <a:lnL w="12700">
                      <a:solidFill>
                        <a:srgbClr val="009FD5"/>
                      </a:solidFill>
                      <a:prstDash val="solid"/>
                    </a:lnL>
                    <a:lnR w="12700">
                      <a:solidFill>
                        <a:srgbClr val="009FD5"/>
                      </a:solidFill>
                      <a:prstDash val="solid"/>
                    </a:lnR>
                    <a:lnT w="12700">
                      <a:solidFill>
                        <a:srgbClr val="009FD5"/>
                      </a:solidFill>
                      <a:prstDash val="solid"/>
                    </a:lnT>
                    <a:lnB w="12700">
                      <a:solidFill>
                        <a:srgbClr val="009FD5"/>
                      </a:solidFill>
                      <a:prstDash val="solid"/>
                    </a:lnB>
                    <a:solidFill>
                      <a:srgbClr val="FFFFFF"/>
                    </a:solidFill>
                  </a:tcPr>
                </a:tc>
                <a:tc>
                  <a:txBody>
                    <a:bodyPr/>
                    <a:lstStyle/>
                    <a:p>
                      <a:pPr marL="50800" algn="ctr">
                        <a:lnSpc>
                          <a:spcPct val="100000"/>
                        </a:lnSpc>
                        <a:spcBef>
                          <a:spcPts val="505"/>
                        </a:spcBef>
                      </a:pPr>
                      <a:r>
                        <a:rPr sz="1400" spc="-50" dirty="0">
                          <a:latin typeface="Arial"/>
                          <a:cs typeface="Arial"/>
                        </a:rPr>
                        <a:t>0</a:t>
                      </a:r>
                      <a:endParaRPr sz="1400">
                        <a:latin typeface="Arial"/>
                        <a:cs typeface="Arial"/>
                      </a:endParaRPr>
                    </a:p>
                  </a:txBody>
                  <a:tcPr marL="0" marR="0" marT="64135" marB="0">
                    <a:lnL w="12700">
                      <a:solidFill>
                        <a:srgbClr val="009FD5"/>
                      </a:solidFill>
                      <a:prstDash val="solid"/>
                    </a:lnL>
                    <a:lnR w="12700">
                      <a:solidFill>
                        <a:srgbClr val="009FD5"/>
                      </a:solidFill>
                      <a:prstDash val="solid"/>
                    </a:lnR>
                    <a:lnT w="12700">
                      <a:solidFill>
                        <a:srgbClr val="009FD5"/>
                      </a:solidFill>
                      <a:prstDash val="solid"/>
                    </a:lnT>
                    <a:lnB w="12700">
                      <a:solidFill>
                        <a:srgbClr val="009FD5"/>
                      </a:solidFill>
                      <a:prstDash val="solid"/>
                    </a:lnB>
                    <a:solidFill>
                      <a:srgbClr val="FFFFFF"/>
                    </a:solidFill>
                  </a:tcPr>
                </a:tc>
                <a:tc>
                  <a:txBody>
                    <a:bodyPr/>
                    <a:lstStyle/>
                    <a:p>
                      <a:pPr marL="635" algn="ctr">
                        <a:lnSpc>
                          <a:spcPct val="100000"/>
                        </a:lnSpc>
                        <a:spcBef>
                          <a:spcPts val="505"/>
                        </a:spcBef>
                      </a:pPr>
                      <a:r>
                        <a:rPr sz="1400" dirty="0">
                          <a:latin typeface="Arial"/>
                          <a:cs typeface="Arial"/>
                        </a:rPr>
                        <a:t>3</a:t>
                      </a:r>
                      <a:r>
                        <a:rPr sz="1400" spc="-10" dirty="0">
                          <a:latin typeface="Arial"/>
                          <a:cs typeface="Arial"/>
                        </a:rPr>
                        <a:t> (7.3%)</a:t>
                      </a:r>
                      <a:endParaRPr sz="1400">
                        <a:latin typeface="Arial"/>
                        <a:cs typeface="Arial"/>
                      </a:endParaRPr>
                    </a:p>
                  </a:txBody>
                  <a:tcPr marL="0" marR="0" marT="64135" marB="0">
                    <a:lnL w="12700">
                      <a:solidFill>
                        <a:srgbClr val="009FD5"/>
                      </a:solidFill>
                      <a:prstDash val="solid"/>
                    </a:lnL>
                    <a:lnR w="12700">
                      <a:solidFill>
                        <a:srgbClr val="009FD5"/>
                      </a:solidFill>
                      <a:prstDash val="solid"/>
                    </a:lnR>
                    <a:lnT w="12700">
                      <a:solidFill>
                        <a:srgbClr val="009FD5"/>
                      </a:solidFill>
                      <a:prstDash val="solid"/>
                    </a:lnT>
                    <a:lnB w="12700">
                      <a:solidFill>
                        <a:srgbClr val="009FD5"/>
                      </a:solidFill>
                      <a:prstDash val="solid"/>
                    </a:lnB>
                    <a:solidFill>
                      <a:srgbClr val="FFFFFF"/>
                    </a:solidFill>
                  </a:tcPr>
                </a:tc>
                <a:extLst>
                  <a:ext uri="{0D108BD9-81ED-4DB2-BD59-A6C34878D82A}">
                    <a16:rowId xmlns:a16="http://schemas.microsoft.com/office/drawing/2014/main" val="10004"/>
                  </a:ext>
                </a:extLst>
              </a:tr>
              <a:tr h="389255">
                <a:tc>
                  <a:txBody>
                    <a:bodyPr/>
                    <a:lstStyle/>
                    <a:p>
                      <a:pPr marL="252729">
                        <a:lnSpc>
                          <a:spcPct val="100000"/>
                        </a:lnSpc>
                        <a:spcBef>
                          <a:spcPts val="685"/>
                        </a:spcBef>
                      </a:pPr>
                      <a:r>
                        <a:rPr sz="1400" dirty="0">
                          <a:latin typeface="Arial"/>
                          <a:cs typeface="Arial"/>
                        </a:rPr>
                        <a:t>Grade</a:t>
                      </a:r>
                      <a:r>
                        <a:rPr sz="1400" spc="-50" dirty="0">
                          <a:latin typeface="Arial"/>
                          <a:cs typeface="Arial"/>
                        </a:rPr>
                        <a:t> 3</a:t>
                      </a:r>
                      <a:endParaRPr sz="1400">
                        <a:latin typeface="Arial"/>
                        <a:cs typeface="Arial"/>
                      </a:endParaRPr>
                    </a:p>
                  </a:txBody>
                  <a:tcPr marL="0" marR="0" marT="86995" marB="0">
                    <a:lnL w="12700">
                      <a:solidFill>
                        <a:srgbClr val="009FD5"/>
                      </a:solidFill>
                      <a:prstDash val="solid"/>
                    </a:lnL>
                    <a:lnR w="12700">
                      <a:solidFill>
                        <a:srgbClr val="009FD5"/>
                      </a:solidFill>
                      <a:prstDash val="solid"/>
                    </a:lnR>
                    <a:lnT w="12700">
                      <a:solidFill>
                        <a:srgbClr val="009FD5"/>
                      </a:solidFill>
                      <a:prstDash val="solid"/>
                    </a:lnT>
                    <a:lnB w="12700">
                      <a:solidFill>
                        <a:srgbClr val="009FD5"/>
                      </a:solidFill>
                      <a:prstDash val="solid"/>
                    </a:lnB>
                    <a:solidFill>
                      <a:srgbClr val="FFFFFF"/>
                    </a:solidFill>
                  </a:tcPr>
                </a:tc>
                <a:tc>
                  <a:txBody>
                    <a:bodyPr/>
                    <a:lstStyle/>
                    <a:p>
                      <a:pPr algn="ctr">
                        <a:lnSpc>
                          <a:spcPct val="100000"/>
                        </a:lnSpc>
                        <a:spcBef>
                          <a:spcPts val="505"/>
                        </a:spcBef>
                      </a:pPr>
                      <a:r>
                        <a:rPr sz="1400" dirty="0">
                          <a:latin typeface="Arial"/>
                          <a:cs typeface="Arial"/>
                        </a:rPr>
                        <a:t>1</a:t>
                      </a:r>
                      <a:r>
                        <a:rPr sz="1400" spc="-5" dirty="0">
                          <a:latin typeface="Arial"/>
                          <a:cs typeface="Arial"/>
                        </a:rPr>
                        <a:t> </a:t>
                      </a:r>
                      <a:r>
                        <a:rPr sz="1400" spc="-20" dirty="0">
                          <a:latin typeface="Arial"/>
                          <a:cs typeface="Arial"/>
                        </a:rPr>
                        <a:t>(5%)</a:t>
                      </a:r>
                      <a:endParaRPr sz="1400">
                        <a:latin typeface="Arial"/>
                        <a:cs typeface="Arial"/>
                      </a:endParaRPr>
                    </a:p>
                  </a:txBody>
                  <a:tcPr marL="0" marR="0" marT="64135" marB="0">
                    <a:lnL w="12700">
                      <a:solidFill>
                        <a:srgbClr val="009FD5"/>
                      </a:solidFill>
                      <a:prstDash val="solid"/>
                    </a:lnL>
                    <a:lnR w="12700">
                      <a:solidFill>
                        <a:srgbClr val="009FD5"/>
                      </a:solidFill>
                      <a:prstDash val="solid"/>
                    </a:lnR>
                    <a:lnT w="12700">
                      <a:solidFill>
                        <a:srgbClr val="009FD5"/>
                      </a:solidFill>
                      <a:prstDash val="solid"/>
                    </a:lnT>
                    <a:lnB w="12700">
                      <a:solidFill>
                        <a:srgbClr val="009FD5"/>
                      </a:solidFill>
                      <a:prstDash val="solid"/>
                    </a:lnB>
                    <a:solidFill>
                      <a:srgbClr val="FFFFFF"/>
                    </a:solidFill>
                  </a:tcPr>
                </a:tc>
                <a:tc>
                  <a:txBody>
                    <a:bodyPr/>
                    <a:lstStyle/>
                    <a:p>
                      <a:pPr marL="50800" algn="ctr">
                        <a:lnSpc>
                          <a:spcPct val="100000"/>
                        </a:lnSpc>
                        <a:spcBef>
                          <a:spcPts val="505"/>
                        </a:spcBef>
                      </a:pPr>
                      <a:r>
                        <a:rPr sz="1400" spc="-50" dirty="0">
                          <a:latin typeface="Arial"/>
                          <a:cs typeface="Arial"/>
                        </a:rPr>
                        <a:t>0</a:t>
                      </a:r>
                      <a:endParaRPr sz="1400">
                        <a:latin typeface="Arial"/>
                        <a:cs typeface="Arial"/>
                      </a:endParaRPr>
                    </a:p>
                  </a:txBody>
                  <a:tcPr marL="0" marR="0" marT="64135" marB="0">
                    <a:lnL w="12700">
                      <a:solidFill>
                        <a:srgbClr val="009FD5"/>
                      </a:solidFill>
                      <a:prstDash val="solid"/>
                    </a:lnL>
                    <a:lnR w="12700">
                      <a:solidFill>
                        <a:srgbClr val="009FD5"/>
                      </a:solidFill>
                      <a:prstDash val="solid"/>
                    </a:lnR>
                    <a:lnT w="12700">
                      <a:solidFill>
                        <a:srgbClr val="009FD5"/>
                      </a:solidFill>
                      <a:prstDash val="solid"/>
                    </a:lnT>
                    <a:lnB w="12700">
                      <a:solidFill>
                        <a:srgbClr val="009FD5"/>
                      </a:solidFill>
                      <a:prstDash val="solid"/>
                    </a:lnB>
                    <a:solidFill>
                      <a:srgbClr val="FFFFFF"/>
                    </a:solidFill>
                  </a:tcPr>
                </a:tc>
                <a:tc>
                  <a:txBody>
                    <a:bodyPr/>
                    <a:lstStyle/>
                    <a:p>
                      <a:pPr marL="635" algn="ctr">
                        <a:lnSpc>
                          <a:spcPct val="100000"/>
                        </a:lnSpc>
                        <a:spcBef>
                          <a:spcPts val="505"/>
                        </a:spcBef>
                      </a:pPr>
                      <a:r>
                        <a:rPr sz="1400" dirty="0">
                          <a:latin typeface="Arial"/>
                          <a:cs typeface="Arial"/>
                        </a:rPr>
                        <a:t>1</a:t>
                      </a:r>
                      <a:r>
                        <a:rPr sz="1400" spc="-10" dirty="0">
                          <a:latin typeface="Arial"/>
                          <a:cs typeface="Arial"/>
                        </a:rPr>
                        <a:t> (2.4%)</a:t>
                      </a:r>
                      <a:endParaRPr sz="1400">
                        <a:latin typeface="Arial"/>
                        <a:cs typeface="Arial"/>
                      </a:endParaRPr>
                    </a:p>
                  </a:txBody>
                  <a:tcPr marL="0" marR="0" marT="64135" marB="0">
                    <a:lnL w="12700">
                      <a:solidFill>
                        <a:srgbClr val="009FD5"/>
                      </a:solidFill>
                      <a:prstDash val="solid"/>
                    </a:lnL>
                    <a:lnR w="12700">
                      <a:solidFill>
                        <a:srgbClr val="009FD5"/>
                      </a:solidFill>
                      <a:prstDash val="solid"/>
                    </a:lnR>
                    <a:lnT w="12700">
                      <a:solidFill>
                        <a:srgbClr val="009FD5"/>
                      </a:solidFill>
                      <a:prstDash val="solid"/>
                    </a:lnT>
                    <a:lnB w="12700">
                      <a:solidFill>
                        <a:srgbClr val="009FD5"/>
                      </a:solidFill>
                      <a:prstDash val="solid"/>
                    </a:lnB>
                    <a:solidFill>
                      <a:srgbClr val="FFFFFF"/>
                    </a:solidFill>
                  </a:tcPr>
                </a:tc>
                <a:extLst>
                  <a:ext uri="{0D108BD9-81ED-4DB2-BD59-A6C34878D82A}">
                    <a16:rowId xmlns:a16="http://schemas.microsoft.com/office/drawing/2014/main" val="10005"/>
                  </a:ext>
                </a:extLst>
              </a:tr>
              <a:tr h="389255">
                <a:tc>
                  <a:txBody>
                    <a:bodyPr/>
                    <a:lstStyle/>
                    <a:p>
                      <a:pPr marL="252729">
                        <a:lnSpc>
                          <a:spcPct val="100000"/>
                        </a:lnSpc>
                        <a:spcBef>
                          <a:spcPts val="685"/>
                        </a:spcBef>
                      </a:pPr>
                      <a:r>
                        <a:rPr sz="1400" dirty="0">
                          <a:latin typeface="Arial"/>
                          <a:cs typeface="Arial"/>
                        </a:rPr>
                        <a:t>Grade</a:t>
                      </a:r>
                      <a:r>
                        <a:rPr sz="1400" spc="-45" dirty="0">
                          <a:latin typeface="Arial"/>
                          <a:cs typeface="Arial"/>
                        </a:rPr>
                        <a:t> </a:t>
                      </a:r>
                      <a:r>
                        <a:rPr sz="1400" spc="-25" dirty="0">
                          <a:latin typeface="Arial"/>
                          <a:cs typeface="Arial"/>
                        </a:rPr>
                        <a:t>4/5</a:t>
                      </a:r>
                      <a:endParaRPr sz="1400">
                        <a:latin typeface="Arial"/>
                        <a:cs typeface="Arial"/>
                      </a:endParaRPr>
                    </a:p>
                  </a:txBody>
                  <a:tcPr marL="0" marR="0" marT="86995" marB="0">
                    <a:lnL w="12700">
                      <a:solidFill>
                        <a:srgbClr val="009FD5"/>
                      </a:solidFill>
                      <a:prstDash val="solid"/>
                    </a:lnL>
                    <a:lnR w="12700">
                      <a:solidFill>
                        <a:srgbClr val="009FD5"/>
                      </a:solidFill>
                      <a:prstDash val="solid"/>
                    </a:lnR>
                    <a:lnT w="12700">
                      <a:solidFill>
                        <a:srgbClr val="009FD5"/>
                      </a:solidFill>
                      <a:prstDash val="solid"/>
                    </a:lnT>
                    <a:lnB w="12700">
                      <a:solidFill>
                        <a:srgbClr val="009FD5"/>
                      </a:solidFill>
                      <a:prstDash val="solid"/>
                    </a:lnB>
                    <a:solidFill>
                      <a:srgbClr val="FFFFFF"/>
                    </a:solidFill>
                  </a:tcPr>
                </a:tc>
                <a:tc>
                  <a:txBody>
                    <a:bodyPr/>
                    <a:lstStyle/>
                    <a:p>
                      <a:pPr marL="1905" algn="ctr">
                        <a:lnSpc>
                          <a:spcPct val="100000"/>
                        </a:lnSpc>
                        <a:spcBef>
                          <a:spcPts val="505"/>
                        </a:spcBef>
                      </a:pPr>
                      <a:r>
                        <a:rPr sz="1400" spc="-50" dirty="0">
                          <a:latin typeface="Arial"/>
                          <a:cs typeface="Arial"/>
                        </a:rPr>
                        <a:t>0</a:t>
                      </a:r>
                      <a:endParaRPr sz="1400">
                        <a:latin typeface="Arial"/>
                        <a:cs typeface="Arial"/>
                      </a:endParaRPr>
                    </a:p>
                  </a:txBody>
                  <a:tcPr marL="0" marR="0" marT="64135" marB="0">
                    <a:lnL w="12700">
                      <a:solidFill>
                        <a:srgbClr val="009FD5"/>
                      </a:solidFill>
                      <a:prstDash val="solid"/>
                    </a:lnL>
                    <a:lnR w="12700">
                      <a:solidFill>
                        <a:srgbClr val="009FD5"/>
                      </a:solidFill>
                      <a:prstDash val="solid"/>
                    </a:lnR>
                    <a:lnT w="12700">
                      <a:solidFill>
                        <a:srgbClr val="009FD5"/>
                      </a:solidFill>
                      <a:prstDash val="solid"/>
                    </a:lnT>
                    <a:lnB w="12700">
                      <a:solidFill>
                        <a:srgbClr val="009FD5"/>
                      </a:solidFill>
                      <a:prstDash val="solid"/>
                    </a:lnB>
                    <a:solidFill>
                      <a:srgbClr val="FFFFFF"/>
                    </a:solidFill>
                  </a:tcPr>
                </a:tc>
                <a:tc>
                  <a:txBody>
                    <a:bodyPr/>
                    <a:lstStyle/>
                    <a:p>
                      <a:pPr marL="1905" algn="ctr">
                        <a:lnSpc>
                          <a:spcPct val="100000"/>
                        </a:lnSpc>
                        <a:spcBef>
                          <a:spcPts val="505"/>
                        </a:spcBef>
                      </a:pPr>
                      <a:r>
                        <a:rPr sz="1400" spc="-50" dirty="0">
                          <a:latin typeface="Arial"/>
                          <a:cs typeface="Arial"/>
                        </a:rPr>
                        <a:t>0</a:t>
                      </a:r>
                      <a:endParaRPr sz="1400">
                        <a:latin typeface="Arial"/>
                        <a:cs typeface="Arial"/>
                      </a:endParaRPr>
                    </a:p>
                  </a:txBody>
                  <a:tcPr marL="0" marR="0" marT="64135" marB="0">
                    <a:lnL w="12700">
                      <a:solidFill>
                        <a:srgbClr val="009FD5"/>
                      </a:solidFill>
                      <a:prstDash val="solid"/>
                    </a:lnL>
                    <a:lnR w="12700">
                      <a:solidFill>
                        <a:srgbClr val="009FD5"/>
                      </a:solidFill>
                      <a:prstDash val="solid"/>
                    </a:lnR>
                    <a:lnT w="12700">
                      <a:solidFill>
                        <a:srgbClr val="009FD5"/>
                      </a:solidFill>
                      <a:prstDash val="solid"/>
                    </a:lnT>
                    <a:lnB w="12700">
                      <a:solidFill>
                        <a:srgbClr val="009FD5"/>
                      </a:solidFill>
                      <a:prstDash val="solid"/>
                    </a:lnB>
                    <a:solidFill>
                      <a:srgbClr val="FFFFFF"/>
                    </a:solidFill>
                  </a:tcPr>
                </a:tc>
                <a:tc>
                  <a:txBody>
                    <a:bodyPr/>
                    <a:lstStyle/>
                    <a:p>
                      <a:pPr marL="1905" algn="ctr">
                        <a:lnSpc>
                          <a:spcPct val="100000"/>
                        </a:lnSpc>
                        <a:spcBef>
                          <a:spcPts val="505"/>
                        </a:spcBef>
                      </a:pPr>
                      <a:r>
                        <a:rPr sz="1400" spc="-50" dirty="0">
                          <a:latin typeface="Arial"/>
                          <a:cs typeface="Arial"/>
                        </a:rPr>
                        <a:t>0</a:t>
                      </a:r>
                      <a:endParaRPr sz="1400">
                        <a:latin typeface="Arial"/>
                        <a:cs typeface="Arial"/>
                      </a:endParaRPr>
                    </a:p>
                  </a:txBody>
                  <a:tcPr marL="0" marR="0" marT="64135" marB="0">
                    <a:lnL w="12700">
                      <a:solidFill>
                        <a:srgbClr val="009FD5"/>
                      </a:solidFill>
                      <a:prstDash val="solid"/>
                    </a:lnL>
                    <a:lnR w="12700">
                      <a:solidFill>
                        <a:srgbClr val="009FD5"/>
                      </a:solidFill>
                      <a:prstDash val="solid"/>
                    </a:lnR>
                    <a:lnT w="12700">
                      <a:solidFill>
                        <a:srgbClr val="009FD5"/>
                      </a:solidFill>
                      <a:prstDash val="solid"/>
                    </a:lnT>
                    <a:lnB w="12700">
                      <a:solidFill>
                        <a:srgbClr val="009FD5"/>
                      </a:solidFill>
                      <a:prstDash val="solid"/>
                    </a:lnB>
                    <a:solidFill>
                      <a:srgbClr val="FFFFFF"/>
                    </a:solidFill>
                  </a:tcPr>
                </a:tc>
                <a:extLst>
                  <a:ext uri="{0D108BD9-81ED-4DB2-BD59-A6C34878D82A}">
                    <a16:rowId xmlns:a16="http://schemas.microsoft.com/office/drawing/2014/main" val="10006"/>
                  </a:ext>
                </a:extLst>
              </a:tr>
              <a:tr h="389255">
                <a:tc gridSpan="4">
                  <a:txBody>
                    <a:bodyPr/>
                    <a:lstStyle/>
                    <a:p>
                      <a:pPr marL="56515">
                        <a:lnSpc>
                          <a:spcPct val="100000"/>
                        </a:lnSpc>
                        <a:spcBef>
                          <a:spcPts val="685"/>
                        </a:spcBef>
                      </a:pPr>
                      <a:r>
                        <a:rPr sz="1400" b="1" spc="-10" dirty="0">
                          <a:latin typeface="Arial"/>
                          <a:cs typeface="Arial"/>
                        </a:rPr>
                        <a:t>ICANS</a:t>
                      </a:r>
                      <a:r>
                        <a:rPr sz="1350" spc="-15" baseline="21604" dirty="0">
                          <a:latin typeface="Arial"/>
                          <a:cs typeface="Arial"/>
                        </a:rPr>
                        <a:t>a</a:t>
                      </a:r>
                      <a:endParaRPr sz="1350" baseline="21604">
                        <a:latin typeface="Arial"/>
                        <a:cs typeface="Arial"/>
                      </a:endParaRPr>
                    </a:p>
                  </a:txBody>
                  <a:tcPr marL="0" marR="0" marT="86995" marB="0">
                    <a:lnL w="12700">
                      <a:solidFill>
                        <a:srgbClr val="009FD5"/>
                      </a:solidFill>
                      <a:prstDash val="solid"/>
                    </a:lnL>
                    <a:lnR w="12700">
                      <a:solidFill>
                        <a:srgbClr val="009FD5"/>
                      </a:solidFill>
                      <a:prstDash val="solid"/>
                    </a:lnR>
                    <a:lnT w="12700">
                      <a:solidFill>
                        <a:srgbClr val="009FD5"/>
                      </a:solidFill>
                      <a:prstDash val="solid"/>
                    </a:lnT>
                    <a:lnB w="12700">
                      <a:solidFill>
                        <a:srgbClr val="009FD5"/>
                      </a:solidFill>
                      <a:prstDash val="solid"/>
                    </a:lnB>
                    <a:solidFill>
                      <a:srgbClr val="EBEBEB"/>
                    </a:solidFill>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7"/>
                  </a:ext>
                </a:extLst>
              </a:tr>
              <a:tr h="389255">
                <a:tc>
                  <a:txBody>
                    <a:bodyPr/>
                    <a:lstStyle/>
                    <a:p>
                      <a:pPr marL="243840">
                        <a:lnSpc>
                          <a:spcPct val="100000"/>
                        </a:lnSpc>
                        <a:spcBef>
                          <a:spcPts val="685"/>
                        </a:spcBef>
                      </a:pPr>
                      <a:r>
                        <a:rPr sz="1400" dirty="0">
                          <a:latin typeface="Arial"/>
                          <a:cs typeface="Arial"/>
                        </a:rPr>
                        <a:t>Any</a:t>
                      </a:r>
                      <a:r>
                        <a:rPr sz="1400" spc="-15" dirty="0">
                          <a:latin typeface="Arial"/>
                          <a:cs typeface="Arial"/>
                        </a:rPr>
                        <a:t> </a:t>
                      </a:r>
                      <a:r>
                        <a:rPr sz="1400" spc="-10" dirty="0">
                          <a:latin typeface="Arial"/>
                          <a:cs typeface="Arial"/>
                        </a:rPr>
                        <a:t>grade</a:t>
                      </a:r>
                      <a:endParaRPr sz="1400">
                        <a:latin typeface="Arial"/>
                        <a:cs typeface="Arial"/>
                      </a:endParaRPr>
                    </a:p>
                  </a:txBody>
                  <a:tcPr marL="0" marR="0" marT="86995" marB="0">
                    <a:lnL w="12700">
                      <a:solidFill>
                        <a:srgbClr val="009FD5"/>
                      </a:solidFill>
                      <a:prstDash val="solid"/>
                    </a:lnL>
                    <a:lnR w="12700">
                      <a:solidFill>
                        <a:srgbClr val="009FD5"/>
                      </a:solidFill>
                      <a:prstDash val="solid"/>
                    </a:lnR>
                    <a:lnT w="12700">
                      <a:solidFill>
                        <a:srgbClr val="009FD5"/>
                      </a:solidFill>
                      <a:prstDash val="solid"/>
                    </a:lnT>
                    <a:lnB w="12700">
                      <a:solidFill>
                        <a:srgbClr val="009FD5"/>
                      </a:solidFill>
                      <a:prstDash val="solid"/>
                    </a:lnB>
                    <a:solidFill>
                      <a:srgbClr val="FFFFFF"/>
                    </a:solidFill>
                  </a:tcPr>
                </a:tc>
                <a:tc>
                  <a:txBody>
                    <a:bodyPr/>
                    <a:lstStyle/>
                    <a:p>
                      <a:pPr marL="1905" algn="ctr">
                        <a:lnSpc>
                          <a:spcPct val="100000"/>
                        </a:lnSpc>
                        <a:spcBef>
                          <a:spcPts val="505"/>
                        </a:spcBef>
                      </a:pPr>
                      <a:r>
                        <a:rPr sz="1400" dirty="0">
                          <a:latin typeface="Arial"/>
                          <a:cs typeface="Arial"/>
                        </a:rPr>
                        <a:t>2</a:t>
                      </a:r>
                      <a:r>
                        <a:rPr sz="1400" spc="-5" dirty="0">
                          <a:latin typeface="Arial"/>
                          <a:cs typeface="Arial"/>
                        </a:rPr>
                        <a:t> </a:t>
                      </a:r>
                      <a:r>
                        <a:rPr sz="1400" spc="-20" dirty="0">
                          <a:latin typeface="Arial"/>
                          <a:cs typeface="Arial"/>
                        </a:rPr>
                        <a:t>(10%)</a:t>
                      </a:r>
                      <a:endParaRPr sz="1400">
                        <a:latin typeface="Arial"/>
                        <a:cs typeface="Arial"/>
                      </a:endParaRPr>
                    </a:p>
                  </a:txBody>
                  <a:tcPr marL="0" marR="0" marT="64135" marB="0">
                    <a:lnL w="12700">
                      <a:solidFill>
                        <a:srgbClr val="009FD5"/>
                      </a:solidFill>
                      <a:prstDash val="solid"/>
                    </a:lnL>
                    <a:lnR w="12700">
                      <a:solidFill>
                        <a:srgbClr val="009FD5"/>
                      </a:solidFill>
                      <a:prstDash val="solid"/>
                    </a:lnR>
                    <a:lnT w="12700">
                      <a:solidFill>
                        <a:srgbClr val="009FD5"/>
                      </a:solidFill>
                      <a:prstDash val="solid"/>
                    </a:lnT>
                    <a:lnB w="12700">
                      <a:solidFill>
                        <a:srgbClr val="009FD5"/>
                      </a:solidFill>
                      <a:prstDash val="solid"/>
                    </a:lnB>
                    <a:solidFill>
                      <a:srgbClr val="FFFFFF"/>
                    </a:solidFill>
                  </a:tcPr>
                </a:tc>
                <a:tc>
                  <a:txBody>
                    <a:bodyPr/>
                    <a:lstStyle/>
                    <a:p>
                      <a:pPr marL="635" algn="ctr">
                        <a:lnSpc>
                          <a:spcPct val="100000"/>
                        </a:lnSpc>
                        <a:spcBef>
                          <a:spcPts val="505"/>
                        </a:spcBef>
                      </a:pPr>
                      <a:r>
                        <a:rPr sz="1400" dirty="0">
                          <a:latin typeface="Arial"/>
                          <a:cs typeface="Arial"/>
                        </a:rPr>
                        <a:t>1</a:t>
                      </a:r>
                      <a:r>
                        <a:rPr sz="1400" spc="-10" dirty="0">
                          <a:latin typeface="Arial"/>
                          <a:cs typeface="Arial"/>
                        </a:rPr>
                        <a:t> (4.8%)</a:t>
                      </a:r>
                      <a:endParaRPr sz="1400">
                        <a:latin typeface="Arial"/>
                        <a:cs typeface="Arial"/>
                      </a:endParaRPr>
                    </a:p>
                  </a:txBody>
                  <a:tcPr marL="0" marR="0" marT="64135" marB="0">
                    <a:lnL w="12700">
                      <a:solidFill>
                        <a:srgbClr val="009FD5"/>
                      </a:solidFill>
                      <a:prstDash val="solid"/>
                    </a:lnL>
                    <a:lnR w="12700">
                      <a:solidFill>
                        <a:srgbClr val="009FD5"/>
                      </a:solidFill>
                      <a:prstDash val="solid"/>
                    </a:lnR>
                    <a:lnT w="12700">
                      <a:solidFill>
                        <a:srgbClr val="009FD5"/>
                      </a:solidFill>
                      <a:prstDash val="solid"/>
                    </a:lnT>
                    <a:lnB w="12700">
                      <a:solidFill>
                        <a:srgbClr val="009FD5"/>
                      </a:solidFill>
                      <a:prstDash val="solid"/>
                    </a:lnB>
                    <a:solidFill>
                      <a:srgbClr val="FFFFFF"/>
                    </a:solidFill>
                  </a:tcPr>
                </a:tc>
                <a:tc>
                  <a:txBody>
                    <a:bodyPr/>
                    <a:lstStyle/>
                    <a:p>
                      <a:pPr marL="635" algn="ctr">
                        <a:lnSpc>
                          <a:spcPct val="100000"/>
                        </a:lnSpc>
                        <a:spcBef>
                          <a:spcPts val="505"/>
                        </a:spcBef>
                      </a:pPr>
                      <a:r>
                        <a:rPr sz="1400" dirty="0">
                          <a:latin typeface="Arial"/>
                          <a:cs typeface="Arial"/>
                        </a:rPr>
                        <a:t>3</a:t>
                      </a:r>
                      <a:r>
                        <a:rPr sz="1400" spc="-10" dirty="0">
                          <a:latin typeface="Arial"/>
                          <a:cs typeface="Arial"/>
                        </a:rPr>
                        <a:t> (7.3%)</a:t>
                      </a:r>
                      <a:endParaRPr sz="1400">
                        <a:latin typeface="Arial"/>
                        <a:cs typeface="Arial"/>
                      </a:endParaRPr>
                    </a:p>
                  </a:txBody>
                  <a:tcPr marL="0" marR="0" marT="64135" marB="0">
                    <a:lnL w="12700">
                      <a:solidFill>
                        <a:srgbClr val="009FD5"/>
                      </a:solidFill>
                      <a:prstDash val="solid"/>
                    </a:lnL>
                    <a:lnR w="12700">
                      <a:solidFill>
                        <a:srgbClr val="009FD5"/>
                      </a:solidFill>
                      <a:prstDash val="solid"/>
                    </a:lnR>
                    <a:lnT w="12700">
                      <a:solidFill>
                        <a:srgbClr val="009FD5"/>
                      </a:solidFill>
                      <a:prstDash val="solid"/>
                    </a:lnT>
                    <a:lnB w="12700">
                      <a:solidFill>
                        <a:srgbClr val="009FD5"/>
                      </a:solidFill>
                      <a:prstDash val="solid"/>
                    </a:lnB>
                    <a:solidFill>
                      <a:srgbClr val="FFFFFF"/>
                    </a:solidFill>
                  </a:tcPr>
                </a:tc>
                <a:extLst>
                  <a:ext uri="{0D108BD9-81ED-4DB2-BD59-A6C34878D82A}">
                    <a16:rowId xmlns:a16="http://schemas.microsoft.com/office/drawing/2014/main" val="10008"/>
                  </a:ext>
                </a:extLst>
              </a:tr>
              <a:tr h="389255">
                <a:tc>
                  <a:txBody>
                    <a:bodyPr/>
                    <a:lstStyle/>
                    <a:p>
                      <a:pPr marL="252729">
                        <a:lnSpc>
                          <a:spcPct val="100000"/>
                        </a:lnSpc>
                        <a:spcBef>
                          <a:spcPts val="685"/>
                        </a:spcBef>
                      </a:pPr>
                      <a:r>
                        <a:rPr sz="1400" dirty="0">
                          <a:latin typeface="Arial"/>
                          <a:cs typeface="Arial"/>
                        </a:rPr>
                        <a:t>Grade</a:t>
                      </a:r>
                      <a:r>
                        <a:rPr sz="1400" spc="-50" dirty="0">
                          <a:latin typeface="Arial"/>
                          <a:cs typeface="Arial"/>
                        </a:rPr>
                        <a:t> 1</a:t>
                      </a:r>
                      <a:endParaRPr sz="1400">
                        <a:latin typeface="Arial"/>
                        <a:cs typeface="Arial"/>
                      </a:endParaRPr>
                    </a:p>
                  </a:txBody>
                  <a:tcPr marL="0" marR="0" marT="86995" marB="0">
                    <a:lnL w="12700">
                      <a:solidFill>
                        <a:srgbClr val="009FD5"/>
                      </a:solidFill>
                      <a:prstDash val="solid"/>
                    </a:lnL>
                    <a:lnR w="12700">
                      <a:solidFill>
                        <a:srgbClr val="009FD5"/>
                      </a:solidFill>
                      <a:prstDash val="solid"/>
                    </a:lnR>
                    <a:lnT w="12700">
                      <a:solidFill>
                        <a:srgbClr val="009FD5"/>
                      </a:solidFill>
                      <a:prstDash val="solid"/>
                    </a:lnT>
                    <a:lnB w="12700">
                      <a:solidFill>
                        <a:srgbClr val="009FD5"/>
                      </a:solidFill>
                      <a:prstDash val="solid"/>
                    </a:lnB>
                    <a:solidFill>
                      <a:srgbClr val="FFFFFF"/>
                    </a:solidFill>
                  </a:tcPr>
                </a:tc>
                <a:tc>
                  <a:txBody>
                    <a:bodyPr/>
                    <a:lstStyle/>
                    <a:p>
                      <a:pPr algn="ctr">
                        <a:lnSpc>
                          <a:spcPct val="100000"/>
                        </a:lnSpc>
                        <a:spcBef>
                          <a:spcPts val="505"/>
                        </a:spcBef>
                      </a:pPr>
                      <a:r>
                        <a:rPr sz="1400" dirty="0">
                          <a:latin typeface="Arial"/>
                          <a:cs typeface="Arial"/>
                        </a:rPr>
                        <a:t>1</a:t>
                      </a:r>
                      <a:r>
                        <a:rPr sz="1400" spc="-5" dirty="0">
                          <a:latin typeface="Arial"/>
                          <a:cs typeface="Arial"/>
                        </a:rPr>
                        <a:t> </a:t>
                      </a:r>
                      <a:r>
                        <a:rPr sz="1400" spc="-20" dirty="0">
                          <a:latin typeface="Arial"/>
                          <a:cs typeface="Arial"/>
                        </a:rPr>
                        <a:t>(5%)</a:t>
                      </a:r>
                      <a:endParaRPr sz="1400">
                        <a:latin typeface="Arial"/>
                        <a:cs typeface="Arial"/>
                      </a:endParaRPr>
                    </a:p>
                  </a:txBody>
                  <a:tcPr marL="0" marR="0" marT="64135" marB="0">
                    <a:lnL w="12700">
                      <a:solidFill>
                        <a:srgbClr val="009FD5"/>
                      </a:solidFill>
                      <a:prstDash val="solid"/>
                    </a:lnL>
                    <a:lnR w="12700">
                      <a:solidFill>
                        <a:srgbClr val="009FD5"/>
                      </a:solidFill>
                      <a:prstDash val="solid"/>
                    </a:lnR>
                    <a:lnT w="12700">
                      <a:solidFill>
                        <a:srgbClr val="009FD5"/>
                      </a:solidFill>
                      <a:prstDash val="solid"/>
                    </a:lnT>
                    <a:lnB w="12700">
                      <a:solidFill>
                        <a:srgbClr val="009FD5"/>
                      </a:solidFill>
                      <a:prstDash val="solid"/>
                    </a:lnB>
                    <a:solidFill>
                      <a:srgbClr val="FFFFFF"/>
                    </a:solidFill>
                  </a:tcPr>
                </a:tc>
                <a:tc>
                  <a:txBody>
                    <a:bodyPr/>
                    <a:lstStyle/>
                    <a:p>
                      <a:pPr marL="50800" algn="ctr">
                        <a:lnSpc>
                          <a:spcPct val="100000"/>
                        </a:lnSpc>
                        <a:spcBef>
                          <a:spcPts val="505"/>
                        </a:spcBef>
                      </a:pPr>
                      <a:r>
                        <a:rPr sz="1400" spc="-50" dirty="0">
                          <a:latin typeface="Arial"/>
                          <a:cs typeface="Arial"/>
                        </a:rPr>
                        <a:t>0</a:t>
                      </a:r>
                      <a:endParaRPr sz="1400">
                        <a:latin typeface="Arial"/>
                        <a:cs typeface="Arial"/>
                      </a:endParaRPr>
                    </a:p>
                  </a:txBody>
                  <a:tcPr marL="0" marR="0" marT="64135" marB="0">
                    <a:lnL w="12700">
                      <a:solidFill>
                        <a:srgbClr val="009FD5"/>
                      </a:solidFill>
                      <a:prstDash val="solid"/>
                    </a:lnL>
                    <a:lnR w="12700">
                      <a:solidFill>
                        <a:srgbClr val="009FD5"/>
                      </a:solidFill>
                      <a:prstDash val="solid"/>
                    </a:lnR>
                    <a:lnT w="12700">
                      <a:solidFill>
                        <a:srgbClr val="009FD5"/>
                      </a:solidFill>
                      <a:prstDash val="solid"/>
                    </a:lnT>
                    <a:lnB w="12700">
                      <a:solidFill>
                        <a:srgbClr val="009FD5"/>
                      </a:solidFill>
                      <a:prstDash val="solid"/>
                    </a:lnB>
                    <a:solidFill>
                      <a:srgbClr val="FFFFFF"/>
                    </a:solidFill>
                  </a:tcPr>
                </a:tc>
                <a:tc>
                  <a:txBody>
                    <a:bodyPr/>
                    <a:lstStyle/>
                    <a:p>
                      <a:pPr marL="635" algn="ctr">
                        <a:lnSpc>
                          <a:spcPct val="100000"/>
                        </a:lnSpc>
                        <a:spcBef>
                          <a:spcPts val="505"/>
                        </a:spcBef>
                      </a:pPr>
                      <a:r>
                        <a:rPr sz="1400" dirty="0">
                          <a:latin typeface="Arial"/>
                          <a:cs typeface="Arial"/>
                        </a:rPr>
                        <a:t>1</a:t>
                      </a:r>
                      <a:r>
                        <a:rPr sz="1400" spc="-10" dirty="0">
                          <a:latin typeface="Arial"/>
                          <a:cs typeface="Arial"/>
                        </a:rPr>
                        <a:t> (2.4%)</a:t>
                      </a:r>
                      <a:endParaRPr sz="1400">
                        <a:latin typeface="Arial"/>
                        <a:cs typeface="Arial"/>
                      </a:endParaRPr>
                    </a:p>
                  </a:txBody>
                  <a:tcPr marL="0" marR="0" marT="64135" marB="0">
                    <a:lnL w="12700">
                      <a:solidFill>
                        <a:srgbClr val="009FD5"/>
                      </a:solidFill>
                      <a:prstDash val="solid"/>
                    </a:lnL>
                    <a:lnR w="12700">
                      <a:solidFill>
                        <a:srgbClr val="009FD5"/>
                      </a:solidFill>
                      <a:prstDash val="solid"/>
                    </a:lnR>
                    <a:lnT w="12700">
                      <a:solidFill>
                        <a:srgbClr val="009FD5"/>
                      </a:solidFill>
                      <a:prstDash val="solid"/>
                    </a:lnT>
                    <a:lnB w="12700">
                      <a:solidFill>
                        <a:srgbClr val="009FD5"/>
                      </a:solidFill>
                      <a:prstDash val="solid"/>
                    </a:lnB>
                    <a:solidFill>
                      <a:srgbClr val="FFFFFF"/>
                    </a:solidFill>
                  </a:tcPr>
                </a:tc>
                <a:extLst>
                  <a:ext uri="{0D108BD9-81ED-4DB2-BD59-A6C34878D82A}">
                    <a16:rowId xmlns:a16="http://schemas.microsoft.com/office/drawing/2014/main" val="10009"/>
                  </a:ext>
                </a:extLst>
              </a:tr>
              <a:tr h="389255">
                <a:tc>
                  <a:txBody>
                    <a:bodyPr/>
                    <a:lstStyle/>
                    <a:p>
                      <a:pPr marL="252729">
                        <a:lnSpc>
                          <a:spcPct val="100000"/>
                        </a:lnSpc>
                        <a:spcBef>
                          <a:spcPts val="685"/>
                        </a:spcBef>
                      </a:pPr>
                      <a:r>
                        <a:rPr sz="1400" dirty="0">
                          <a:latin typeface="Arial"/>
                          <a:cs typeface="Arial"/>
                        </a:rPr>
                        <a:t>Grade</a:t>
                      </a:r>
                      <a:r>
                        <a:rPr sz="1400" spc="-45" dirty="0">
                          <a:latin typeface="Arial"/>
                          <a:cs typeface="Arial"/>
                        </a:rPr>
                        <a:t> </a:t>
                      </a:r>
                      <a:r>
                        <a:rPr sz="1400" spc="-50" dirty="0">
                          <a:latin typeface="Arial"/>
                          <a:cs typeface="Arial"/>
                        </a:rPr>
                        <a:t>2</a:t>
                      </a:r>
                      <a:endParaRPr sz="1400">
                        <a:latin typeface="Arial"/>
                        <a:cs typeface="Arial"/>
                      </a:endParaRPr>
                    </a:p>
                  </a:txBody>
                  <a:tcPr marL="0" marR="0" marT="86995" marB="0">
                    <a:lnL w="12700">
                      <a:solidFill>
                        <a:srgbClr val="009FD5"/>
                      </a:solidFill>
                      <a:prstDash val="solid"/>
                    </a:lnL>
                    <a:lnR w="12700">
                      <a:solidFill>
                        <a:srgbClr val="009FD5"/>
                      </a:solidFill>
                      <a:prstDash val="solid"/>
                    </a:lnR>
                    <a:lnT w="12700">
                      <a:solidFill>
                        <a:srgbClr val="009FD5"/>
                      </a:solidFill>
                      <a:prstDash val="solid"/>
                    </a:lnT>
                    <a:lnB w="12700">
                      <a:solidFill>
                        <a:srgbClr val="009FD5"/>
                      </a:solidFill>
                      <a:prstDash val="solid"/>
                    </a:lnB>
                    <a:solidFill>
                      <a:srgbClr val="FFFFFF"/>
                    </a:solidFill>
                  </a:tcPr>
                </a:tc>
                <a:tc>
                  <a:txBody>
                    <a:bodyPr/>
                    <a:lstStyle/>
                    <a:p>
                      <a:pPr algn="ctr">
                        <a:lnSpc>
                          <a:spcPct val="100000"/>
                        </a:lnSpc>
                        <a:spcBef>
                          <a:spcPts val="505"/>
                        </a:spcBef>
                      </a:pPr>
                      <a:r>
                        <a:rPr sz="1400" dirty="0">
                          <a:latin typeface="Arial"/>
                          <a:cs typeface="Arial"/>
                        </a:rPr>
                        <a:t>1</a:t>
                      </a:r>
                      <a:r>
                        <a:rPr sz="1400" spc="-5" dirty="0">
                          <a:latin typeface="Arial"/>
                          <a:cs typeface="Arial"/>
                        </a:rPr>
                        <a:t> </a:t>
                      </a:r>
                      <a:r>
                        <a:rPr sz="1400" spc="-20" dirty="0">
                          <a:latin typeface="Arial"/>
                          <a:cs typeface="Arial"/>
                        </a:rPr>
                        <a:t>(5%)</a:t>
                      </a:r>
                      <a:endParaRPr sz="1400">
                        <a:latin typeface="Arial"/>
                        <a:cs typeface="Arial"/>
                      </a:endParaRPr>
                    </a:p>
                  </a:txBody>
                  <a:tcPr marL="0" marR="0" marT="64135" marB="0">
                    <a:lnL w="12700">
                      <a:solidFill>
                        <a:srgbClr val="009FD5"/>
                      </a:solidFill>
                      <a:prstDash val="solid"/>
                    </a:lnL>
                    <a:lnR w="12700">
                      <a:solidFill>
                        <a:srgbClr val="009FD5"/>
                      </a:solidFill>
                      <a:prstDash val="solid"/>
                    </a:lnR>
                    <a:lnT w="12700">
                      <a:solidFill>
                        <a:srgbClr val="009FD5"/>
                      </a:solidFill>
                      <a:prstDash val="solid"/>
                    </a:lnT>
                    <a:lnB w="12700">
                      <a:solidFill>
                        <a:srgbClr val="009FD5"/>
                      </a:solidFill>
                      <a:prstDash val="solid"/>
                    </a:lnB>
                    <a:solidFill>
                      <a:srgbClr val="FFFFFF"/>
                    </a:solidFill>
                  </a:tcPr>
                </a:tc>
                <a:tc>
                  <a:txBody>
                    <a:bodyPr/>
                    <a:lstStyle/>
                    <a:p>
                      <a:pPr marL="635" algn="ctr">
                        <a:lnSpc>
                          <a:spcPct val="100000"/>
                        </a:lnSpc>
                        <a:spcBef>
                          <a:spcPts val="505"/>
                        </a:spcBef>
                      </a:pPr>
                      <a:r>
                        <a:rPr sz="1400" dirty="0">
                          <a:latin typeface="Arial"/>
                          <a:cs typeface="Arial"/>
                        </a:rPr>
                        <a:t>1</a:t>
                      </a:r>
                      <a:r>
                        <a:rPr sz="1400" spc="-10" dirty="0">
                          <a:latin typeface="Arial"/>
                          <a:cs typeface="Arial"/>
                        </a:rPr>
                        <a:t> (4.8%)</a:t>
                      </a:r>
                      <a:endParaRPr sz="1400">
                        <a:latin typeface="Arial"/>
                        <a:cs typeface="Arial"/>
                      </a:endParaRPr>
                    </a:p>
                  </a:txBody>
                  <a:tcPr marL="0" marR="0" marT="64135" marB="0">
                    <a:lnL w="12700">
                      <a:solidFill>
                        <a:srgbClr val="009FD5"/>
                      </a:solidFill>
                      <a:prstDash val="solid"/>
                    </a:lnL>
                    <a:lnR w="12700">
                      <a:solidFill>
                        <a:srgbClr val="009FD5"/>
                      </a:solidFill>
                      <a:prstDash val="solid"/>
                    </a:lnR>
                    <a:lnT w="12700">
                      <a:solidFill>
                        <a:srgbClr val="009FD5"/>
                      </a:solidFill>
                      <a:prstDash val="solid"/>
                    </a:lnT>
                    <a:lnB w="12700">
                      <a:solidFill>
                        <a:srgbClr val="009FD5"/>
                      </a:solidFill>
                      <a:prstDash val="solid"/>
                    </a:lnB>
                    <a:solidFill>
                      <a:srgbClr val="FFFFFF"/>
                    </a:solidFill>
                  </a:tcPr>
                </a:tc>
                <a:tc>
                  <a:txBody>
                    <a:bodyPr/>
                    <a:lstStyle/>
                    <a:p>
                      <a:pPr marL="635" algn="ctr">
                        <a:lnSpc>
                          <a:spcPct val="100000"/>
                        </a:lnSpc>
                        <a:spcBef>
                          <a:spcPts val="505"/>
                        </a:spcBef>
                      </a:pPr>
                      <a:r>
                        <a:rPr sz="1400" dirty="0">
                          <a:latin typeface="Arial"/>
                          <a:cs typeface="Arial"/>
                        </a:rPr>
                        <a:t>2</a:t>
                      </a:r>
                      <a:r>
                        <a:rPr sz="1400" spc="-10" dirty="0">
                          <a:latin typeface="Arial"/>
                          <a:cs typeface="Arial"/>
                        </a:rPr>
                        <a:t> (4.9%)</a:t>
                      </a:r>
                      <a:endParaRPr sz="1400">
                        <a:latin typeface="Arial"/>
                        <a:cs typeface="Arial"/>
                      </a:endParaRPr>
                    </a:p>
                  </a:txBody>
                  <a:tcPr marL="0" marR="0" marT="64135" marB="0">
                    <a:lnL w="12700">
                      <a:solidFill>
                        <a:srgbClr val="009FD5"/>
                      </a:solidFill>
                      <a:prstDash val="solid"/>
                    </a:lnL>
                    <a:lnR w="12700">
                      <a:solidFill>
                        <a:srgbClr val="009FD5"/>
                      </a:solidFill>
                      <a:prstDash val="solid"/>
                    </a:lnR>
                    <a:lnT w="12700">
                      <a:solidFill>
                        <a:srgbClr val="009FD5"/>
                      </a:solidFill>
                      <a:prstDash val="solid"/>
                    </a:lnT>
                    <a:lnB w="12700">
                      <a:solidFill>
                        <a:srgbClr val="009FD5"/>
                      </a:solidFill>
                      <a:prstDash val="solid"/>
                    </a:lnB>
                    <a:solidFill>
                      <a:srgbClr val="FFFFFF"/>
                    </a:solidFill>
                  </a:tcPr>
                </a:tc>
                <a:extLst>
                  <a:ext uri="{0D108BD9-81ED-4DB2-BD59-A6C34878D82A}">
                    <a16:rowId xmlns:a16="http://schemas.microsoft.com/office/drawing/2014/main" val="10010"/>
                  </a:ext>
                </a:extLst>
              </a:tr>
              <a:tr h="389255">
                <a:tc>
                  <a:txBody>
                    <a:bodyPr/>
                    <a:lstStyle/>
                    <a:p>
                      <a:pPr marL="252729">
                        <a:lnSpc>
                          <a:spcPct val="100000"/>
                        </a:lnSpc>
                        <a:spcBef>
                          <a:spcPts val="690"/>
                        </a:spcBef>
                      </a:pPr>
                      <a:r>
                        <a:rPr sz="1400" dirty="0">
                          <a:latin typeface="Arial"/>
                          <a:cs typeface="Arial"/>
                        </a:rPr>
                        <a:t>Grade</a:t>
                      </a:r>
                      <a:r>
                        <a:rPr sz="1400" spc="-40" dirty="0">
                          <a:latin typeface="Arial"/>
                          <a:cs typeface="Arial"/>
                        </a:rPr>
                        <a:t> </a:t>
                      </a:r>
                      <a:r>
                        <a:rPr sz="1400" u="sng" dirty="0">
                          <a:uFill>
                            <a:solidFill>
                              <a:srgbClr val="000000"/>
                            </a:solidFill>
                          </a:uFill>
                          <a:latin typeface="Arial"/>
                          <a:cs typeface="Arial"/>
                        </a:rPr>
                        <a:t>&gt;</a:t>
                      </a:r>
                      <a:r>
                        <a:rPr sz="1400" spc="-20" dirty="0">
                          <a:latin typeface="Arial"/>
                          <a:cs typeface="Arial"/>
                        </a:rPr>
                        <a:t> </a:t>
                      </a:r>
                      <a:r>
                        <a:rPr sz="1400" spc="-50" dirty="0">
                          <a:latin typeface="Arial"/>
                          <a:cs typeface="Arial"/>
                        </a:rPr>
                        <a:t>3</a:t>
                      </a:r>
                      <a:endParaRPr sz="1400">
                        <a:latin typeface="Arial"/>
                        <a:cs typeface="Arial"/>
                      </a:endParaRPr>
                    </a:p>
                  </a:txBody>
                  <a:tcPr marL="0" marR="0" marT="87630" marB="0">
                    <a:lnL w="12700">
                      <a:solidFill>
                        <a:srgbClr val="009FD5"/>
                      </a:solidFill>
                      <a:prstDash val="solid"/>
                    </a:lnL>
                    <a:lnR w="12700">
                      <a:solidFill>
                        <a:srgbClr val="009FD5"/>
                      </a:solidFill>
                      <a:prstDash val="solid"/>
                    </a:lnR>
                    <a:lnT w="12700">
                      <a:solidFill>
                        <a:srgbClr val="009FD5"/>
                      </a:solidFill>
                      <a:prstDash val="solid"/>
                    </a:lnT>
                    <a:lnB w="12700">
                      <a:solidFill>
                        <a:srgbClr val="009FD5"/>
                      </a:solidFill>
                      <a:prstDash val="solid"/>
                    </a:lnB>
                    <a:solidFill>
                      <a:srgbClr val="FFFFFF"/>
                    </a:solidFill>
                  </a:tcPr>
                </a:tc>
                <a:tc>
                  <a:txBody>
                    <a:bodyPr/>
                    <a:lstStyle/>
                    <a:p>
                      <a:pPr marL="1905" algn="ctr">
                        <a:lnSpc>
                          <a:spcPct val="100000"/>
                        </a:lnSpc>
                        <a:spcBef>
                          <a:spcPts val="509"/>
                        </a:spcBef>
                      </a:pPr>
                      <a:r>
                        <a:rPr sz="1400" spc="-50" dirty="0">
                          <a:latin typeface="Arial"/>
                          <a:cs typeface="Arial"/>
                        </a:rPr>
                        <a:t>0</a:t>
                      </a:r>
                      <a:endParaRPr sz="1400">
                        <a:latin typeface="Arial"/>
                        <a:cs typeface="Arial"/>
                      </a:endParaRPr>
                    </a:p>
                  </a:txBody>
                  <a:tcPr marL="0" marR="0" marT="64769" marB="0">
                    <a:lnL w="12700">
                      <a:solidFill>
                        <a:srgbClr val="009FD5"/>
                      </a:solidFill>
                      <a:prstDash val="solid"/>
                    </a:lnL>
                    <a:lnR w="12700">
                      <a:solidFill>
                        <a:srgbClr val="009FD5"/>
                      </a:solidFill>
                      <a:prstDash val="solid"/>
                    </a:lnR>
                    <a:lnT w="12700">
                      <a:solidFill>
                        <a:srgbClr val="009FD5"/>
                      </a:solidFill>
                      <a:prstDash val="solid"/>
                    </a:lnT>
                    <a:lnB w="12700">
                      <a:solidFill>
                        <a:srgbClr val="009FD5"/>
                      </a:solidFill>
                      <a:prstDash val="solid"/>
                    </a:lnB>
                    <a:solidFill>
                      <a:srgbClr val="FFFFFF"/>
                    </a:solidFill>
                  </a:tcPr>
                </a:tc>
                <a:tc>
                  <a:txBody>
                    <a:bodyPr/>
                    <a:lstStyle/>
                    <a:p>
                      <a:pPr marL="1905" algn="ctr">
                        <a:lnSpc>
                          <a:spcPct val="100000"/>
                        </a:lnSpc>
                        <a:spcBef>
                          <a:spcPts val="509"/>
                        </a:spcBef>
                      </a:pPr>
                      <a:r>
                        <a:rPr sz="1400" spc="-50" dirty="0">
                          <a:latin typeface="Arial"/>
                          <a:cs typeface="Arial"/>
                        </a:rPr>
                        <a:t>0</a:t>
                      </a:r>
                      <a:endParaRPr sz="1400">
                        <a:latin typeface="Arial"/>
                        <a:cs typeface="Arial"/>
                      </a:endParaRPr>
                    </a:p>
                  </a:txBody>
                  <a:tcPr marL="0" marR="0" marT="64769" marB="0">
                    <a:lnL w="12700">
                      <a:solidFill>
                        <a:srgbClr val="009FD5"/>
                      </a:solidFill>
                      <a:prstDash val="solid"/>
                    </a:lnL>
                    <a:lnR w="12700">
                      <a:solidFill>
                        <a:srgbClr val="009FD5"/>
                      </a:solidFill>
                      <a:prstDash val="solid"/>
                    </a:lnR>
                    <a:lnT w="12700">
                      <a:solidFill>
                        <a:srgbClr val="009FD5"/>
                      </a:solidFill>
                      <a:prstDash val="solid"/>
                    </a:lnT>
                    <a:lnB w="12700">
                      <a:solidFill>
                        <a:srgbClr val="009FD5"/>
                      </a:solidFill>
                      <a:prstDash val="solid"/>
                    </a:lnB>
                    <a:solidFill>
                      <a:srgbClr val="FFFFFF"/>
                    </a:solidFill>
                  </a:tcPr>
                </a:tc>
                <a:tc>
                  <a:txBody>
                    <a:bodyPr/>
                    <a:lstStyle/>
                    <a:p>
                      <a:pPr marL="1905" algn="ctr">
                        <a:lnSpc>
                          <a:spcPct val="100000"/>
                        </a:lnSpc>
                        <a:spcBef>
                          <a:spcPts val="509"/>
                        </a:spcBef>
                      </a:pPr>
                      <a:r>
                        <a:rPr sz="1400" spc="-50" dirty="0">
                          <a:latin typeface="Arial"/>
                          <a:cs typeface="Arial"/>
                        </a:rPr>
                        <a:t>0</a:t>
                      </a:r>
                      <a:endParaRPr sz="1400">
                        <a:latin typeface="Arial"/>
                        <a:cs typeface="Arial"/>
                      </a:endParaRPr>
                    </a:p>
                  </a:txBody>
                  <a:tcPr marL="0" marR="0" marT="64769" marB="0">
                    <a:lnL w="12700">
                      <a:solidFill>
                        <a:srgbClr val="009FD5"/>
                      </a:solidFill>
                      <a:prstDash val="solid"/>
                    </a:lnL>
                    <a:lnR w="12700">
                      <a:solidFill>
                        <a:srgbClr val="009FD5"/>
                      </a:solidFill>
                      <a:prstDash val="solid"/>
                    </a:lnR>
                    <a:lnT w="12700">
                      <a:solidFill>
                        <a:srgbClr val="009FD5"/>
                      </a:solidFill>
                      <a:prstDash val="solid"/>
                    </a:lnT>
                    <a:lnB w="12700">
                      <a:solidFill>
                        <a:srgbClr val="009FD5"/>
                      </a:solidFill>
                      <a:prstDash val="solid"/>
                    </a:lnB>
                    <a:solidFill>
                      <a:srgbClr val="FFFFFF"/>
                    </a:solidFill>
                  </a:tcPr>
                </a:tc>
                <a:extLst>
                  <a:ext uri="{0D108BD9-81ED-4DB2-BD59-A6C34878D82A}">
                    <a16:rowId xmlns:a16="http://schemas.microsoft.com/office/drawing/2014/main" val="10011"/>
                  </a:ext>
                </a:extLst>
              </a:tr>
            </a:tbl>
          </a:graphicData>
        </a:graphic>
      </p:graphicFrame>
      <p:sp>
        <p:nvSpPr>
          <p:cNvPr id="5" name="object 5"/>
          <p:cNvSpPr txBox="1"/>
          <p:nvPr/>
        </p:nvSpPr>
        <p:spPr>
          <a:xfrm>
            <a:off x="7573771" y="2379345"/>
            <a:ext cx="4121785" cy="1600835"/>
          </a:xfrm>
          <a:prstGeom prst="rect">
            <a:avLst/>
          </a:prstGeom>
          <a:solidFill>
            <a:srgbClr val="183D8E"/>
          </a:solidFill>
        </p:spPr>
        <p:txBody>
          <a:bodyPr vert="horz" wrap="square" lIns="0" tIns="36194" rIns="0" bIns="0" rtlCol="0">
            <a:spAutoFit/>
          </a:bodyPr>
          <a:lstStyle/>
          <a:p>
            <a:pPr marL="379095" marR="219710" lvl="0" indent="-287020" algn="l" defTabSz="914400" rtl="0" eaLnBrk="1" fontAlgn="auto" latinLnBrk="0" hangingPunct="1">
              <a:lnSpc>
                <a:spcPct val="100000"/>
              </a:lnSpc>
              <a:spcBef>
                <a:spcPts val="284"/>
              </a:spcBef>
              <a:spcAft>
                <a:spcPts val="0"/>
              </a:spcAft>
              <a:buClrTx/>
              <a:buSzTx/>
              <a:buFontTx/>
              <a:buChar char="•"/>
              <a:tabLst>
                <a:tab pos="379095" algn="l"/>
              </a:tabLst>
              <a:defRPr/>
            </a:pPr>
            <a:r>
              <a:rPr kumimoji="0" sz="1400" b="0" i="0" u="none" strike="noStrike" kern="0" cap="none" spc="-45" normalizeH="0" baseline="0" noProof="0" dirty="0">
                <a:ln>
                  <a:noFill/>
                </a:ln>
                <a:solidFill>
                  <a:srgbClr val="FFFFFF"/>
                </a:solidFill>
                <a:effectLst/>
                <a:uLnTx/>
                <a:uFillTx/>
                <a:latin typeface="Arial"/>
                <a:ea typeface="+mn-ea"/>
                <a:cs typeface="Arial"/>
              </a:rPr>
              <a:t>Grade</a:t>
            </a:r>
            <a:r>
              <a:rPr kumimoji="0" sz="1400" b="0" i="0" u="none" strike="noStrike" kern="0" cap="none" spc="-65" normalizeH="0" baseline="0" noProof="0" dirty="0">
                <a:ln>
                  <a:noFill/>
                </a:ln>
                <a:solidFill>
                  <a:srgbClr val="FFFFFF"/>
                </a:solidFill>
                <a:effectLst/>
                <a:uLnTx/>
                <a:uFillTx/>
                <a:latin typeface="Arial"/>
                <a:ea typeface="+mn-ea"/>
                <a:cs typeface="Arial"/>
              </a:rPr>
              <a:t> </a:t>
            </a:r>
            <a:r>
              <a:rPr kumimoji="0" sz="1400" b="0" i="0" u="none" strike="noStrike" kern="0" cap="none" spc="-20" normalizeH="0" baseline="0" noProof="0" dirty="0">
                <a:ln>
                  <a:noFill/>
                </a:ln>
                <a:solidFill>
                  <a:srgbClr val="FFFFFF"/>
                </a:solidFill>
                <a:effectLst/>
                <a:uLnTx/>
                <a:uFillTx/>
                <a:latin typeface="Arial"/>
                <a:ea typeface="+mn-ea"/>
                <a:cs typeface="Arial"/>
              </a:rPr>
              <a:t>1</a:t>
            </a:r>
            <a:r>
              <a:rPr kumimoji="0" sz="1400" b="0" i="0" u="none" strike="noStrike" kern="0" cap="none" spc="-70" normalizeH="0" baseline="0" noProof="0" dirty="0">
                <a:ln>
                  <a:noFill/>
                </a:ln>
                <a:solidFill>
                  <a:srgbClr val="FFFFFF"/>
                </a:solidFill>
                <a:effectLst/>
                <a:uLnTx/>
                <a:uFillTx/>
                <a:latin typeface="Arial"/>
                <a:ea typeface="+mn-ea"/>
                <a:cs typeface="Arial"/>
              </a:rPr>
              <a:t> </a:t>
            </a:r>
            <a:r>
              <a:rPr kumimoji="0" sz="1400" b="0" i="0" u="none" strike="noStrike" kern="0" cap="none" spc="-10" normalizeH="0" baseline="0" noProof="0" dirty="0">
                <a:ln>
                  <a:noFill/>
                </a:ln>
                <a:solidFill>
                  <a:srgbClr val="FFFFFF"/>
                </a:solidFill>
                <a:effectLst/>
                <a:uLnTx/>
                <a:uFillTx/>
                <a:latin typeface="Arial"/>
                <a:ea typeface="+mn-ea"/>
                <a:cs typeface="Arial"/>
              </a:rPr>
              <a:t>and</a:t>
            </a:r>
            <a:r>
              <a:rPr kumimoji="0" sz="1400" b="0" i="0" u="none" strike="noStrike" kern="0" cap="none" spc="-60" normalizeH="0" baseline="0" noProof="0" dirty="0">
                <a:ln>
                  <a:noFill/>
                </a:ln>
                <a:solidFill>
                  <a:srgbClr val="FFFFFF"/>
                </a:solidFill>
                <a:effectLst/>
                <a:uLnTx/>
                <a:uFillTx/>
                <a:latin typeface="Arial"/>
                <a:ea typeface="+mn-ea"/>
                <a:cs typeface="Arial"/>
              </a:rPr>
              <a:t> </a:t>
            </a:r>
            <a:r>
              <a:rPr kumimoji="0" sz="1400" b="0" i="0" u="none" strike="noStrike" kern="0" cap="none" spc="0" normalizeH="0" baseline="0" noProof="0" dirty="0">
                <a:ln>
                  <a:noFill/>
                </a:ln>
                <a:solidFill>
                  <a:srgbClr val="FFFFFF"/>
                </a:solidFill>
                <a:effectLst/>
                <a:uLnTx/>
                <a:uFillTx/>
                <a:latin typeface="Arial"/>
                <a:ea typeface="+mn-ea"/>
                <a:cs typeface="Arial"/>
              </a:rPr>
              <a:t>2</a:t>
            </a:r>
            <a:r>
              <a:rPr kumimoji="0" sz="1400" b="0" i="0" u="none" strike="noStrike" kern="0" cap="none" spc="-60" normalizeH="0" baseline="0" noProof="0" dirty="0">
                <a:ln>
                  <a:noFill/>
                </a:ln>
                <a:solidFill>
                  <a:srgbClr val="FFFFFF"/>
                </a:solidFill>
                <a:effectLst/>
                <a:uLnTx/>
                <a:uFillTx/>
                <a:latin typeface="Arial"/>
                <a:ea typeface="+mn-ea"/>
                <a:cs typeface="Arial"/>
              </a:rPr>
              <a:t> </a:t>
            </a:r>
            <a:r>
              <a:rPr kumimoji="0" sz="1400" b="0" i="0" u="none" strike="noStrike" kern="0" cap="none" spc="-125" normalizeH="0" baseline="0" noProof="0" dirty="0">
                <a:ln>
                  <a:noFill/>
                </a:ln>
                <a:solidFill>
                  <a:srgbClr val="FFFFFF"/>
                </a:solidFill>
                <a:effectLst/>
                <a:uLnTx/>
                <a:uFillTx/>
                <a:latin typeface="Arial"/>
                <a:ea typeface="+mn-ea"/>
                <a:cs typeface="Arial"/>
              </a:rPr>
              <a:t>CRS</a:t>
            </a:r>
            <a:r>
              <a:rPr kumimoji="0" sz="1400" b="0" i="0" u="none" strike="noStrike" kern="0" cap="none" spc="-80" normalizeH="0" baseline="0" noProof="0" dirty="0">
                <a:ln>
                  <a:noFill/>
                </a:ln>
                <a:solidFill>
                  <a:srgbClr val="FFFFFF"/>
                </a:solidFill>
                <a:effectLst/>
                <a:uLnTx/>
                <a:uFillTx/>
                <a:latin typeface="Arial"/>
                <a:ea typeface="+mn-ea"/>
                <a:cs typeface="Arial"/>
              </a:rPr>
              <a:t> </a:t>
            </a:r>
            <a:r>
              <a:rPr kumimoji="0" sz="1400" b="0" i="0" u="none" strike="noStrike" kern="0" cap="none" spc="-25" normalizeH="0" baseline="0" noProof="0" dirty="0">
                <a:ln>
                  <a:noFill/>
                </a:ln>
                <a:solidFill>
                  <a:srgbClr val="FFFFFF"/>
                </a:solidFill>
                <a:effectLst/>
                <a:uLnTx/>
                <a:uFillTx/>
                <a:latin typeface="Arial"/>
                <a:ea typeface="+mn-ea"/>
                <a:cs typeface="Arial"/>
              </a:rPr>
              <a:t>cases</a:t>
            </a:r>
            <a:r>
              <a:rPr kumimoji="0" sz="1400" b="0" i="0" u="none" strike="noStrike" kern="0" cap="none" spc="-55" normalizeH="0" baseline="0" noProof="0" dirty="0">
                <a:ln>
                  <a:noFill/>
                </a:ln>
                <a:solidFill>
                  <a:srgbClr val="FFFFFF"/>
                </a:solidFill>
                <a:effectLst/>
                <a:uLnTx/>
                <a:uFillTx/>
                <a:latin typeface="Arial"/>
                <a:ea typeface="+mn-ea"/>
                <a:cs typeface="Arial"/>
              </a:rPr>
              <a:t> </a:t>
            </a:r>
            <a:r>
              <a:rPr kumimoji="0" sz="1400" b="0" i="0" u="none" strike="noStrike" kern="0" cap="none" spc="-35" normalizeH="0" baseline="0" noProof="0" dirty="0">
                <a:ln>
                  <a:noFill/>
                </a:ln>
                <a:solidFill>
                  <a:srgbClr val="FFFFFF"/>
                </a:solidFill>
                <a:effectLst/>
                <a:uLnTx/>
                <a:uFillTx/>
                <a:latin typeface="Arial"/>
                <a:ea typeface="+mn-ea"/>
                <a:cs typeface="Arial"/>
              </a:rPr>
              <a:t>managed</a:t>
            </a:r>
            <a:r>
              <a:rPr kumimoji="0" sz="1400" b="0" i="0" u="none" strike="noStrike" kern="0" cap="none" spc="-75" normalizeH="0" baseline="0" noProof="0" dirty="0">
                <a:ln>
                  <a:noFill/>
                </a:ln>
                <a:solidFill>
                  <a:srgbClr val="FFFFFF"/>
                </a:solidFill>
                <a:effectLst/>
                <a:uLnTx/>
                <a:uFillTx/>
                <a:latin typeface="Arial"/>
                <a:ea typeface="+mn-ea"/>
                <a:cs typeface="Arial"/>
              </a:rPr>
              <a:t> </a:t>
            </a:r>
            <a:r>
              <a:rPr kumimoji="0" sz="1400" b="0" i="0" u="none" strike="noStrike" kern="0" cap="none" spc="-20" normalizeH="0" baseline="0" noProof="0" dirty="0">
                <a:ln>
                  <a:noFill/>
                </a:ln>
                <a:solidFill>
                  <a:srgbClr val="FFFFFF"/>
                </a:solidFill>
                <a:effectLst/>
                <a:uLnTx/>
                <a:uFillTx/>
                <a:latin typeface="Arial"/>
                <a:ea typeface="+mn-ea"/>
                <a:cs typeface="Arial"/>
              </a:rPr>
              <a:t>with </a:t>
            </a:r>
            <a:r>
              <a:rPr kumimoji="0" sz="1400" b="0" i="0" u="none" strike="noStrike" kern="0" cap="none" spc="0" normalizeH="0" baseline="0" noProof="0" dirty="0">
                <a:ln>
                  <a:noFill/>
                </a:ln>
                <a:solidFill>
                  <a:srgbClr val="FFFFFF"/>
                </a:solidFill>
                <a:effectLst/>
                <a:uLnTx/>
                <a:uFillTx/>
                <a:latin typeface="Arial"/>
                <a:ea typeface="+mn-ea"/>
                <a:cs typeface="Arial"/>
              </a:rPr>
              <a:t>tocilizumab,</a:t>
            </a:r>
            <a:r>
              <a:rPr kumimoji="0" sz="1400" b="0" i="0" u="none" strike="noStrike" kern="0" cap="none" spc="10" normalizeH="0" baseline="0" noProof="0" dirty="0">
                <a:ln>
                  <a:noFill/>
                </a:ln>
                <a:solidFill>
                  <a:srgbClr val="FFFFFF"/>
                </a:solidFill>
                <a:effectLst/>
                <a:uLnTx/>
                <a:uFillTx/>
                <a:latin typeface="Arial"/>
                <a:ea typeface="+mn-ea"/>
                <a:cs typeface="Arial"/>
              </a:rPr>
              <a:t> </a:t>
            </a:r>
            <a:r>
              <a:rPr kumimoji="0" sz="1400" b="0" i="0" u="none" strike="noStrike" kern="0" cap="none" spc="0" normalizeH="0" baseline="0" noProof="0" dirty="0">
                <a:ln>
                  <a:noFill/>
                </a:ln>
                <a:solidFill>
                  <a:srgbClr val="FFFFFF"/>
                </a:solidFill>
                <a:effectLst/>
                <a:uLnTx/>
                <a:uFillTx/>
                <a:latin typeface="Arial"/>
                <a:ea typeface="+mn-ea"/>
                <a:cs typeface="Arial"/>
              </a:rPr>
              <a:t>corticosteroids,</a:t>
            </a:r>
            <a:r>
              <a:rPr kumimoji="0" sz="1400" b="0" i="0" u="none" strike="noStrike" kern="0" cap="none" spc="-25" normalizeH="0" baseline="0" noProof="0" dirty="0">
                <a:ln>
                  <a:noFill/>
                </a:ln>
                <a:solidFill>
                  <a:srgbClr val="FFFFFF"/>
                </a:solidFill>
                <a:effectLst/>
                <a:uLnTx/>
                <a:uFillTx/>
                <a:latin typeface="Arial"/>
                <a:ea typeface="+mn-ea"/>
                <a:cs typeface="Arial"/>
              </a:rPr>
              <a:t> </a:t>
            </a:r>
            <a:r>
              <a:rPr kumimoji="0" sz="1400" b="0" i="0" u="none" strike="noStrike" kern="0" cap="none" spc="-10" normalizeH="0" baseline="0" noProof="0" dirty="0">
                <a:ln>
                  <a:noFill/>
                </a:ln>
                <a:solidFill>
                  <a:srgbClr val="FFFFFF"/>
                </a:solidFill>
                <a:effectLst/>
                <a:uLnTx/>
                <a:uFillTx/>
                <a:latin typeface="Arial"/>
                <a:ea typeface="+mn-ea"/>
                <a:cs typeface="Arial"/>
              </a:rPr>
              <a:t>acetaminophen, and/or</a:t>
            </a:r>
            <a:r>
              <a:rPr kumimoji="0" sz="1400" b="0" i="0" u="none" strike="noStrike" kern="0" cap="none" spc="-20" normalizeH="0" baseline="0" noProof="0" dirty="0">
                <a:ln>
                  <a:noFill/>
                </a:ln>
                <a:solidFill>
                  <a:srgbClr val="FFFFFF"/>
                </a:solidFill>
                <a:effectLst/>
                <a:uLnTx/>
                <a:uFillTx/>
                <a:latin typeface="Arial"/>
                <a:ea typeface="+mn-ea"/>
                <a:cs typeface="Arial"/>
              </a:rPr>
              <a:t> </a:t>
            </a:r>
            <a:r>
              <a:rPr kumimoji="0" sz="1400" b="0" i="0" u="none" strike="noStrike" kern="0" cap="none" spc="0" normalizeH="0" baseline="0" noProof="0" dirty="0">
                <a:ln>
                  <a:noFill/>
                </a:ln>
                <a:solidFill>
                  <a:srgbClr val="FFFFFF"/>
                </a:solidFill>
                <a:effectLst/>
                <a:uLnTx/>
                <a:uFillTx/>
                <a:latin typeface="Arial"/>
                <a:ea typeface="+mn-ea"/>
                <a:cs typeface="Arial"/>
              </a:rPr>
              <a:t>fluid</a:t>
            </a:r>
            <a:r>
              <a:rPr kumimoji="0" sz="1400" b="0" i="0" u="none" strike="noStrike" kern="0" cap="none" spc="10" normalizeH="0" baseline="0" noProof="0" dirty="0">
                <a:ln>
                  <a:noFill/>
                </a:ln>
                <a:solidFill>
                  <a:srgbClr val="FFFFFF"/>
                </a:solidFill>
                <a:effectLst/>
                <a:uLnTx/>
                <a:uFillTx/>
                <a:latin typeface="Arial"/>
                <a:ea typeface="+mn-ea"/>
                <a:cs typeface="Arial"/>
              </a:rPr>
              <a:t> </a:t>
            </a:r>
            <a:r>
              <a:rPr kumimoji="0" sz="1400" b="0" i="0" u="none" strike="noStrike" kern="0" cap="none" spc="0" normalizeH="0" baseline="0" noProof="0" dirty="0">
                <a:ln>
                  <a:noFill/>
                </a:ln>
                <a:solidFill>
                  <a:srgbClr val="FFFFFF"/>
                </a:solidFill>
                <a:effectLst/>
                <a:uLnTx/>
                <a:uFillTx/>
                <a:latin typeface="Arial"/>
                <a:ea typeface="+mn-ea"/>
                <a:cs typeface="Arial"/>
              </a:rPr>
              <a:t>bolus,</a:t>
            </a:r>
            <a:r>
              <a:rPr kumimoji="0" sz="1400" b="0" i="0" u="none" strike="noStrike" kern="0" cap="none" spc="-5" normalizeH="0" baseline="0" noProof="0" dirty="0">
                <a:ln>
                  <a:noFill/>
                </a:ln>
                <a:solidFill>
                  <a:srgbClr val="FFFFFF"/>
                </a:solidFill>
                <a:effectLst/>
                <a:uLnTx/>
                <a:uFillTx/>
                <a:latin typeface="Arial"/>
                <a:ea typeface="+mn-ea"/>
                <a:cs typeface="Arial"/>
              </a:rPr>
              <a:t> </a:t>
            </a:r>
            <a:r>
              <a:rPr kumimoji="0" sz="1400" b="0" i="0" u="none" strike="noStrike" kern="0" cap="none" spc="0" normalizeH="0" baseline="0" noProof="0" dirty="0">
                <a:ln>
                  <a:noFill/>
                </a:ln>
                <a:solidFill>
                  <a:srgbClr val="FFFFFF"/>
                </a:solidFill>
                <a:effectLst/>
                <a:uLnTx/>
                <a:uFillTx/>
                <a:latin typeface="Arial"/>
                <a:ea typeface="+mn-ea"/>
                <a:cs typeface="Arial"/>
              </a:rPr>
              <a:t>without</a:t>
            </a:r>
            <a:r>
              <a:rPr kumimoji="0" sz="1400" b="0" i="0" u="none" strike="noStrike" kern="0" cap="none" spc="-15" normalizeH="0" baseline="0" noProof="0" dirty="0">
                <a:ln>
                  <a:noFill/>
                </a:ln>
                <a:solidFill>
                  <a:srgbClr val="FFFFFF"/>
                </a:solidFill>
                <a:effectLst/>
                <a:uLnTx/>
                <a:uFillTx/>
                <a:latin typeface="Arial"/>
                <a:ea typeface="+mn-ea"/>
                <a:cs typeface="Arial"/>
              </a:rPr>
              <a:t> </a:t>
            </a:r>
            <a:r>
              <a:rPr kumimoji="0" sz="1400" b="0" i="0" u="none" strike="noStrike" kern="0" cap="none" spc="-50" normalizeH="0" baseline="0" noProof="0" dirty="0">
                <a:ln>
                  <a:noFill/>
                </a:ln>
                <a:solidFill>
                  <a:srgbClr val="FFFFFF"/>
                </a:solidFill>
                <a:effectLst/>
                <a:uLnTx/>
                <a:uFillTx/>
                <a:latin typeface="Arial"/>
                <a:ea typeface="+mn-ea"/>
                <a:cs typeface="Arial"/>
              </a:rPr>
              <a:t>ICU</a:t>
            </a:r>
            <a:r>
              <a:rPr kumimoji="0" sz="1400" b="0" i="0" u="none" strike="noStrike" kern="0" cap="none" spc="-10" normalizeH="0" baseline="0" noProof="0" dirty="0">
                <a:ln>
                  <a:noFill/>
                </a:ln>
                <a:solidFill>
                  <a:srgbClr val="FFFFFF"/>
                </a:solidFill>
                <a:effectLst/>
                <a:uLnTx/>
                <a:uFillTx/>
                <a:latin typeface="Arial"/>
                <a:ea typeface="+mn-ea"/>
                <a:cs typeface="Arial"/>
              </a:rPr>
              <a:t> </a:t>
            </a:r>
            <a:r>
              <a:rPr kumimoji="0" sz="1400" b="0" i="0" u="none" strike="noStrike" kern="0" cap="none" spc="0" normalizeH="0" baseline="0" noProof="0" dirty="0">
                <a:ln>
                  <a:noFill/>
                </a:ln>
                <a:solidFill>
                  <a:srgbClr val="FFFFFF"/>
                </a:solidFill>
                <a:effectLst/>
                <a:uLnTx/>
                <a:uFillTx/>
                <a:latin typeface="Arial"/>
                <a:ea typeface="+mn-ea"/>
                <a:cs typeface="Arial"/>
              </a:rPr>
              <a:t>admittance</a:t>
            </a:r>
            <a:r>
              <a:rPr kumimoji="0" sz="1400" b="0" i="0" u="none" strike="noStrike" kern="0" cap="none" spc="-25" normalizeH="0" baseline="0" noProof="0" dirty="0">
                <a:ln>
                  <a:noFill/>
                </a:ln>
                <a:solidFill>
                  <a:srgbClr val="FFFFFF"/>
                </a:solidFill>
                <a:effectLst/>
                <a:uLnTx/>
                <a:uFillTx/>
                <a:latin typeface="Arial"/>
                <a:ea typeface="+mn-ea"/>
                <a:cs typeface="Arial"/>
              </a:rPr>
              <a:t> or </a:t>
            </a:r>
            <a:r>
              <a:rPr kumimoji="0" sz="1400" b="0" i="0" u="none" strike="noStrike" kern="0" cap="none" spc="-20" normalizeH="0" baseline="0" noProof="0" dirty="0">
                <a:ln>
                  <a:noFill/>
                </a:ln>
                <a:solidFill>
                  <a:srgbClr val="FFFFFF"/>
                </a:solidFill>
                <a:effectLst/>
                <a:uLnTx/>
                <a:uFillTx/>
                <a:latin typeface="Arial"/>
                <a:ea typeface="+mn-ea"/>
                <a:cs typeface="Arial"/>
              </a:rPr>
              <a:t>pressor</a:t>
            </a:r>
            <a:r>
              <a:rPr kumimoji="0" sz="1400" b="0" i="0" u="none" strike="noStrike" kern="0" cap="none" spc="-60" normalizeH="0" baseline="0" noProof="0" dirty="0">
                <a:ln>
                  <a:noFill/>
                </a:ln>
                <a:solidFill>
                  <a:srgbClr val="FFFFFF"/>
                </a:solidFill>
                <a:effectLst/>
                <a:uLnTx/>
                <a:uFillTx/>
                <a:latin typeface="Arial"/>
                <a:ea typeface="+mn-ea"/>
                <a:cs typeface="Arial"/>
              </a:rPr>
              <a:t> </a:t>
            </a:r>
            <a:r>
              <a:rPr kumimoji="0" sz="1400" b="0" i="0" u="none" strike="noStrike" kern="0" cap="none" spc="-10" normalizeH="0" baseline="0" noProof="0" dirty="0">
                <a:ln>
                  <a:noFill/>
                </a:ln>
                <a:solidFill>
                  <a:srgbClr val="FFFFFF"/>
                </a:solidFill>
                <a:effectLst/>
                <a:uLnTx/>
                <a:uFillTx/>
                <a:latin typeface="Arial"/>
                <a:ea typeface="+mn-ea"/>
                <a:cs typeface="Arial"/>
              </a:rPr>
              <a:t>support</a:t>
            </a:r>
            <a:endParaRPr kumimoji="0" sz="1400" b="0" i="0" u="none" strike="noStrike" kern="0" cap="none" spc="0" normalizeH="0" baseline="0" noProof="0">
              <a:ln>
                <a:noFill/>
              </a:ln>
              <a:solidFill>
                <a:sysClr val="windowText" lastClr="000000"/>
              </a:solidFill>
              <a:effectLst/>
              <a:uLnTx/>
              <a:uFillTx/>
              <a:latin typeface="Arial"/>
              <a:ea typeface="+mn-ea"/>
              <a:cs typeface="Arial"/>
            </a:endParaRPr>
          </a:p>
          <a:p>
            <a:pPr marL="379095" marR="233679" lvl="0" indent="-287020" algn="l" defTabSz="914400" rtl="0" eaLnBrk="1" fontAlgn="auto" latinLnBrk="0" hangingPunct="1">
              <a:lnSpc>
                <a:spcPct val="100000"/>
              </a:lnSpc>
              <a:spcBef>
                <a:spcPts val="0"/>
              </a:spcBef>
              <a:spcAft>
                <a:spcPts val="0"/>
              </a:spcAft>
              <a:buClrTx/>
              <a:buSzTx/>
              <a:buFontTx/>
              <a:buChar char="•"/>
              <a:tabLst>
                <a:tab pos="379095" algn="l"/>
              </a:tabLst>
              <a:defRPr/>
            </a:pPr>
            <a:r>
              <a:rPr kumimoji="0" sz="1400" b="0" i="0" u="none" strike="noStrike" kern="0" cap="none" spc="-40" normalizeH="0" baseline="0" noProof="0" dirty="0">
                <a:ln>
                  <a:noFill/>
                </a:ln>
                <a:solidFill>
                  <a:srgbClr val="FFFFFF"/>
                </a:solidFill>
                <a:effectLst/>
                <a:uLnTx/>
                <a:uFillTx/>
                <a:latin typeface="Arial"/>
                <a:ea typeface="+mn-ea"/>
                <a:cs typeface="Arial"/>
              </a:rPr>
              <a:t>Grade</a:t>
            </a:r>
            <a:r>
              <a:rPr kumimoji="0" sz="1400" b="0" i="0" u="none" strike="noStrike" kern="0" cap="none" spc="-55" normalizeH="0" baseline="0" noProof="0" dirty="0">
                <a:ln>
                  <a:noFill/>
                </a:ln>
                <a:solidFill>
                  <a:srgbClr val="FFFFFF"/>
                </a:solidFill>
                <a:effectLst/>
                <a:uLnTx/>
                <a:uFillTx/>
                <a:latin typeface="Arial"/>
                <a:ea typeface="+mn-ea"/>
                <a:cs typeface="Arial"/>
              </a:rPr>
              <a:t> </a:t>
            </a:r>
            <a:r>
              <a:rPr kumimoji="0" sz="1400" b="0" i="0" u="none" strike="noStrike" kern="0" cap="none" spc="-20" normalizeH="0" baseline="0" noProof="0" dirty="0">
                <a:ln>
                  <a:noFill/>
                </a:ln>
                <a:solidFill>
                  <a:srgbClr val="FFFFFF"/>
                </a:solidFill>
                <a:effectLst/>
                <a:uLnTx/>
                <a:uFillTx/>
                <a:latin typeface="Arial"/>
                <a:ea typeface="+mn-ea"/>
                <a:cs typeface="Arial"/>
              </a:rPr>
              <a:t>3</a:t>
            </a:r>
            <a:r>
              <a:rPr kumimoji="0" sz="1400" b="0" i="0" u="none" strike="noStrike" kern="0" cap="none" spc="-60" normalizeH="0" baseline="0" noProof="0" dirty="0">
                <a:ln>
                  <a:noFill/>
                </a:ln>
                <a:solidFill>
                  <a:srgbClr val="FFFFFF"/>
                </a:solidFill>
                <a:effectLst/>
                <a:uLnTx/>
                <a:uFillTx/>
                <a:latin typeface="Arial"/>
                <a:ea typeface="+mn-ea"/>
                <a:cs typeface="Arial"/>
              </a:rPr>
              <a:t> </a:t>
            </a:r>
            <a:r>
              <a:rPr kumimoji="0" sz="1400" b="0" i="0" u="none" strike="noStrike" kern="0" cap="none" spc="-125" normalizeH="0" baseline="0" noProof="0" dirty="0">
                <a:ln>
                  <a:noFill/>
                </a:ln>
                <a:solidFill>
                  <a:srgbClr val="FFFFFF"/>
                </a:solidFill>
                <a:effectLst/>
                <a:uLnTx/>
                <a:uFillTx/>
                <a:latin typeface="Arial"/>
                <a:ea typeface="+mn-ea"/>
                <a:cs typeface="Arial"/>
              </a:rPr>
              <a:t>CRS</a:t>
            </a:r>
            <a:r>
              <a:rPr kumimoji="0" sz="1400" b="0" i="0" u="none" strike="noStrike" kern="0" cap="none" spc="-60" normalizeH="0" baseline="0" noProof="0" dirty="0">
                <a:ln>
                  <a:noFill/>
                </a:ln>
                <a:solidFill>
                  <a:srgbClr val="FFFFFF"/>
                </a:solidFill>
                <a:effectLst/>
                <a:uLnTx/>
                <a:uFillTx/>
                <a:latin typeface="Arial"/>
                <a:ea typeface="+mn-ea"/>
                <a:cs typeface="Arial"/>
              </a:rPr>
              <a:t> </a:t>
            </a:r>
            <a:r>
              <a:rPr kumimoji="0" sz="1400" b="0" i="0" u="none" strike="noStrike" kern="0" cap="none" spc="-25" normalizeH="0" baseline="0" noProof="0" dirty="0">
                <a:ln>
                  <a:noFill/>
                </a:ln>
                <a:solidFill>
                  <a:srgbClr val="FFFFFF"/>
                </a:solidFill>
                <a:effectLst/>
                <a:uLnTx/>
                <a:uFillTx/>
                <a:latin typeface="Arial"/>
                <a:ea typeface="+mn-ea"/>
                <a:cs typeface="Arial"/>
              </a:rPr>
              <a:t>case</a:t>
            </a:r>
            <a:r>
              <a:rPr kumimoji="0" sz="1400" b="0" i="0" u="none" strike="noStrike" kern="0" cap="none" spc="-55" normalizeH="0" baseline="0" noProof="0" dirty="0">
                <a:ln>
                  <a:noFill/>
                </a:ln>
                <a:solidFill>
                  <a:srgbClr val="FFFFFF"/>
                </a:solidFill>
                <a:effectLst/>
                <a:uLnTx/>
                <a:uFillTx/>
                <a:latin typeface="Arial"/>
                <a:ea typeface="+mn-ea"/>
                <a:cs typeface="Arial"/>
              </a:rPr>
              <a:t> </a:t>
            </a:r>
            <a:r>
              <a:rPr kumimoji="0" sz="1400" b="0" i="0" u="none" strike="noStrike" kern="0" cap="none" spc="-35" normalizeH="0" baseline="0" noProof="0" dirty="0">
                <a:ln>
                  <a:noFill/>
                </a:ln>
                <a:solidFill>
                  <a:srgbClr val="FFFFFF"/>
                </a:solidFill>
                <a:effectLst/>
                <a:uLnTx/>
                <a:uFillTx/>
                <a:latin typeface="Arial"/>
                <a:ea typeface="+mn-ea"/>
                <a:cs typeface="Arial"/>
              </a:rPr>
              <a:t>managed</a:t>
            </a:r>
            <a:r>
              <a:rPr kumimoji="0" sz="1400" b="0" i="0" u="none" strike="noStrike" kern="0" cap="none" spc="-60" normalizeH="0" baseline="0" noProof="0" dirty="0">
                <a:ln>
                  <a:noFill/>
                </a:ln>
                <a:solidFill>
                  <a:srgbClr val="FFFFFF"/>
                </a:solidFill>
                <a:effectLst/>
                <a:uLnTx/>
                <a:uFillTx/>
                <a:latin typeface="Arial"/>
                <a:ea typeface="+mn-ea"/>
                <a:cs typeface="Arial"/>
              </a:rPr>
              <a:t> </a:t>
            </a:r>
            <a:r>
              <a:rPr kumimoji="0" sz="1400" b="0" i="0" u="none" strike="noStrike" kern="0" cap="none" spc="0" normalizeH="0" baseline="0" noProof="0" dirty="0">
                <a:ln>
                  <a:noFill/>
                </a:ln>
                <a:solidFill>
                  <a:srgbClr val="FFFFFF"/>
                </a:solidFill>
                <a:effectLst/>
                <a:uLnTx/>
                <a:uFillTx/>
                <a:latin typeface="Arial"/>
                <a:ea typeface="+mn-ea"/>
                <a:cs typeface="Arial"/>
              </a:rPr>
              <a:t>with</a:t>
            </a:r>
            <a:r>
              <a:rPr kumimoji="0" sz="1400" b="0" i="0" u="none" strike="noStrike" kern="0" cap="none" spc="-45" normalizeH="0" baseline="0" noProof="0" dirty="0">
                <a:ln>
                  <a:noFill/>
                </a:ln>
                <a:solidFill>
                  <a:srgbClr val="FFFFFF"/>
                </a:solidFill>
                <a:effectLst/>
                <a:uLnTx/>
                <a:uFillTx/>
                <a:latin typeface="Arial"/>
                <a:ea typeface="+mn-ea"/>
                <a:cs typeface="Arial"/>
              </a:rPr>
              <a:t> </a:t>
            </a:r>
            <a:r>
              <a:rPr kumimoji="0" sz="1400" b="0" i="0" u="none" strike="noStrike" kern="0" cap="none" spc="-10" normalizeH="0" baseline="0" noProof="0" dirty="0">
                <a:ln>
                  <a:noFill/>
                </a:ln>
                <a:solidFill>
                  <a:srgbClr val="FFFFFF"/>
                </a:solidFill>
                <a:effectLst/>
                <a:uLnTx/>
                <a:uFillTx/>
                <a:latin typeface="Arial"/>
                <a:ea typeface="+mn-ea"/>
                <a:cs typeface="Arial"/>
              </a:rPr>
              <a:t>tocilizumab, acetaminophen,</a:t>
            </a:r>
            <a:r>
              <a:rPr kumimoji="0" sz="1400" b="0" i="0" u="none" strike="noStrike" kern="0" cap="none" spc="15" normalizeH="0" baseline="0" noProof="0" dirty="0">
                <a:ln>
                  <a:noFill/>
                </a:ln>
                <a:solidFill>
                  <a:srgbClr val="FFFFFF"/>
                </a:solidFill>
                <a:effectLst/>
                <a:uLnTx/>
                <a:uFillTx/>
                <a:latin typeface="Arial"/>
                <a:ea typeface="+mn-ea"/>
                <a:cs typeface="Arial"/>
              </a:rPr>
              <a:t> </a:t>
            </a:r>
            <a:r>
              <a:rPr kumimoji="0" sz="1400" b="0" i="0" u="none" strike="noStrike" kern="0" cap="none" spc="-10" normalizeH="0" baseline="0" noProof="0" dirty="0">
                <a:ln>
                  <a:noFill/>
                </a:ln>
                <a:solidFill>
                  <a:srgbClr val="FFFFFF"/>
                </a:solidFill>
                <a:effectLst/>
                <a:uLnTx/>
                <a:uFillTx/>
                <a:latin typeface="Arial"/>
                <a:ea typeface="+mn-ea"/>
                <a:cs typeface="Arial"/>
              </a:rPr>
              <a:t>dexamethasone, </a:t>
            </a:r>
            <a:r>
              <a:rPr kumimoji="0" sz="1400" b="0" i="0" u="none" strike="noStrike" kern="0" cap="none" spc="0" normalizeH="0" baseline="0" noProof="0" dirty="0">
                <a:ln>
                  <a:noFill/>
                </a:ln>
                <a:solidFill>
                  <a:srgbClr val="FFFFFF"/>
                </a:solidFill>
                <a:effectLst/>
                <a:uLnTx/>
                <a:uFillTx/>
                <a:latin typeface="Arial"/>
                <a:ea typeface="+mn-ea"/>
                <a:cs typeface="Arial"/>
              </a:rPr>
              <a:t>norepinephrine.</a:t>
            </a:r>
            <a:r>
              <a:rPr kumimoji="0" sz="1400" b="0" i="0" u="none" strike="noStrike" kern="0" cap="none" spc="85" normalizeH="0" baseline="0" noProof="0" dirty="0">
                <a:ln>
                  <a:noFill/>
                </a:ln>
                <a:solidFill>
                  <a:srgbClr val="FFFFFF"/>
                </a:solidFill>
                <a:effectLst/>
                <a:uLnTx/>
                <a:uFillTx/>
                <a:latin typeface="Arial"/>
                <a:ea typeface="+mn-ea"/>
                <a:cs typeface="Arial"/>
              </a:rPr>
              <a:t> </a:t>
            </a:r>
            <a:r>
              <a:rPr kumimoji="0" sz="1400" b="0" i="0" u="none" strike="noStrike" kern="0" cap="none" spc="-50" normalizeH="0" baseline="0" noProof="0" dirty="0">
                <a:ln>
                  <a:noFill/>
                </a:ln>
                <a:solidFill>
                  <a:srgbClr val="FFFFFF"/>
                </a:solidFill>
                <a:effectLst/>
                <a:uLnTx/>
                <a:uFillTx/>
                <a:latin typeface="Arial"/>
                <a:ea typeface="+mn-ea"/>
                <a:cs typeface="Arial"/>
              </a:rPr>
              <a:t>ICU</a:t>
            </a:r>
            <a:r>
              <a:rPr kumimoji="0" sz="1400" b="0" i="0" u="none" strike="noStrike" kern="0" cap="none" spc="-90" normalizeH="0" baseline="0" noProof="0" dirty="0">
                <a:ln>
                  <a:noFill/>
                </a:ln>
                <a:solidFill>
                  <a:srgbClr val="FFFFFF"/>
                </a:solidFill>
                <a:effectLst/>
                <a:uLnTx/>
                <a:uFillTx/>
                <a:latin typeface="Arial"/>
                <a:ea typeface="+mn-ea"/>
                <a:cs typeface="Arial"/>
              </a:rPr>
              <a:t> </a:t>
            </a:r>
            <a:r>
              <a:rPr kumimoji="0" sz="1400" b="0" i="0" u="none" strike="noStrike" kern="0" cap="none" spc="-10" normalizeH="0" baseline="0" noProof="0" dirty="0">
                <a:ln>
                  <a:noFill/>
                </a:ln>
                <a:solidFill>
                  <a:srgbClr val="FFFFFF"/>
                </a:solidFill>
                <a:effectLst/>
                <a:uLnTx/>
                <a:uFillTx/>
                <a:latin typeface="Arial"/>
                <a:ea typeface="+mn-ea"/>
                <a:cs typeface="Arial"/>
              </a:rPr>
              <a:t>admittance</a:t>
            </a:r>
            <a:endParaRPr kumimoji="0" sz="14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6" name="object 6"/>
          <p:cNvSpPr txBox="1"/>
          <p:nvPr/>
        </p:nvSpPr>
        <p:spPr>
          <a:xfrm>
            <a:off x="7573771" y="4507128"/>
            <a:ext cx="4121785" cy="1600835"/>
          </a:xfrm>
          <a:prstGeom prst="rect">
            <a:avLst/>
          </a:prstGeom>
          <a:solidFill>
            <a:srgbClr val="183D8E"/>
          </a:solidFill>
        </p:spPr>
        <p:txBody>
          <a:bodyPr vert="horz" wrap="square" lIns="0" tIns="36195" rIns="0" bIns="0" rtlCol="0">
            <a:spAutoFit/>
          </a:bodyPr>
          <a:lstStyle/>
          <a:p>
            <a:pPr marL="378460" marR="0" lvl="0" indent="-286385" algn="l" defTabSz="914400" rtl="0" eaLnBrk="1" fontAlgn="auto" latinLnBrk="0" hangingPunct="1">
              <a:lnSpc>
                <a:spcPct val="100000"/>
              </a:lnSpc>
              <a:spcBef>
                <a:spcPts val="285"/>
              </a:spcBef>
              <a:spcAft>
                <a:spcPts val="0"/>
              </a:spcAft>
              <a:buClrTx/>
              <a:buSzTx/>
              <a:buFontTx/>
              <a:buChar char="•"/>
              <a:tabLst>
                <a:tab pos="378460" algn="l"/>
              </a:tabLst>
              <a:defRPr/>
            </a:pPr>
            <a:r>
              <a:rPr kumimoji="0" sz="1400" b="0" i="0" u="none" strike="noStrike" kern="0" cap="none" spc="-10" normalizeH="0" baseline="0" noProof="0" dirty="0">
                <a:ln>
                  <a:noFill/>
                </a:ln>
                <a:solidFill>
                  <a:srgbClr val="FFFFFF"/>
                </a:solidFill>
                <a:effectLst/>
                <a:uLnTx/>
                <a:uFillTx/>
                <a:latin typeface="Arial"/>
                <a:ea typeface="+mn-ea"/>
                <a:cs typeface="Arial"/>
              </a:rPr>
              <a:t>All</a:t>
            </a:r>
            <a:r>
              <a:rPr kumimoji="0" sz="1400" b="0" i="0" u="none" strike="noStrike" kern="0" cap="none" spc="-70" normalizeH="0" baseline="0" noProof="0" dirty="0">
                <a:ln>
                  <a:noFill/>
                </a:ln>
                <a:solidFill>
                  <a:srgbClr val="FFFFFF"/>
                </a:solidFill>
                <a:effectLst/>
                <a:uLnTx/>
                <a:uFillTx/>
                <a:latin typeface="Arial"/>
                <a:ea typeface="+mn-ea"/>
                <a:cs typeface="Arial"/>
              </a:rPr>
              <a:t> </a:t>
            </a:r>
            <a:r>
              <a:rPr kumimoji="0" sz="1400" b="0" i="0" u="none" strike="noStrike" kern="0" cap="none" spc="0" normalizeH="0" baseline="0" noProof="0" dirty="0">
                <a:ln>
                  <a:noFill/>
                </a:ln>
                <a:solidFill>
                  <a:srgbClr val="FFFFFF"/>
                </a:solidFill>
                <a:effectLst/>
                <a:uLnTx/>
                <a:uFillTx/>
                <a:latin typeface="Arial"/>
                <a:ea typeface="+mn-ea"/>
                <a:cs typeface="Arial"/>
              </a:rPr>
              <a:t>patients</a:t>
            </a:r>
            <a:r>
              <a:rPr kumimoji="0" sz="1400" b="0" i="0" u="none" strike="noStrike" kern="0" cap="none" spc="-60" normalizeH="0" baseline="0" noProof="0" dirty="0">
                <a:ln>
                  <a:noFill/>
                </a:ln>
                <a:solidFill>
                  <a:srgbClr val="FFFFFF"/>
                </a:solidFill>
                <a:effectLst/>
                <a:uLnTx/>
                <a:uFillTx/>
                <a:latin typeface="Arial"/>
                <a:ea typeface="+mn-ea"/>
                <a:cs typeface="Arial"/>
              </a:rPr>
              <a:t> </a:t>
            </a:r>
            <a:r>
              <a:rPr kumimoji="0" sz="1400" b="0" i="0" u="none" strike="noStrike" kern="0" cap="none" spc="0" normalizeH="0" baseline="0" noProof="0" dirty="0">
                <a:ln>
                  <a:noFill/>
                </a:ln>
                <a:solidFill>
                  <a:srgbClr val="FFFFFF"/>
                </a:solidFill>
                <a:effectLst/>
                <a:uLnTx/>
                <a:uFillTx/>
                <a:latin typeface="Arial"/>
                <a:ea typeface="+mn-ea"/>
                <a:cs typeface="Arial"/>
              </a:rPr>
              <a:t>with</a:t>
            </a:r>
            <a:r>
              <a:rPr kumimoji="0" sz="1400" b="0" i="0" u="none" strike="noStrike" kern="0" cap="none" spc="-55" normalizeH="0" baseline="0" noProof="0" dirty="0">
                <a:ln>
                  <a:noFill/>
                </a:ln>
                <a:solidFill>
                  <a:srgbClr val="FFFFFF"/>
                </a:solidFill>
                <a:effectLst/>
                <a:uLnTx/>
                <a:uFillTx/>
                <a:latin typeface="Arial"/>
                <a:ea typeface="+mn-ea"/>
                <a:cs typeface="Arial"/>
              </a:rPr>
              <a:t> </a:t>
            </a:r>
            <a:r>
              <a:rPr kumimoji="0" sz="1400" b="0" i="0" u="none" strike="noStrike" kern="0" cap="none" spc="-80" normalizeH="0" baseline="0" noProof="0" dirty="0">
                <a:ln>
                  <a:noFill/>
                </a:ln>
                <a:solidFill>
                  <a:srgbClr val="FFFFFF"/>
                </a:solidFill>
                <a:effectLst/>
                <a:uLnTx/>
                <a:uFillTx/>
                <a:latin typeface="Arial"/>
                <a:ea typeface="+mn-ea"/>
                <a:cs typeface="Arial"/>
              </a:rPr>
              <a:t>ICANS</a:t>
            </a:r>
            <a:r>
              <a:rPr kumimoji="0" sz="1400" b="0" i="0" u="none" strike="noStrike" kern="0" cap="none" spc="-75" normalizeH="0" baseline="0" noProof="0" dirty="0">
                <a:ln>
                  <a:noFill/>
                </a:ln>
                <a:solidFill>
                  <a:srgbClr val="FFFFFF"/>
                </a:solidFill>
                <a:effectLst/>
                <a:uLnTx/>
                <a:uFillTx/>
                <a:latin typeface="Arial"/>
                <a:ea typeface="+mn-ea"/>
                <a:cs typeface="Arial"/>
              </a:rPr>
              <a:t> </a:t>
            </a:r>
            <a:r>
              <a:rPr kumimoji="0" sz="1400" b="0" i="0" u="none" strike="noStrike" kern="0" cap="none" spc="-10" normalizeH="0" baseline="0" noProof="0" dirty="0">
                <a:ln>
                  <a:noFill/>
                </a:ln>
                <a:solidFill>
                  <a:srgbClr val="FFFFFF"/>
                </a:solidFill>
                <a:effectLst/>
                <a:uLnTx/>
                <a:uFillTx/>
                <a:latin typeface="Arial"/>
                <a:ea typeface="+mn-ea"/>
                <a:cs typeface="Arial"/>
              </a:rPr>
              <a:t>had</a:t>
            </a:r>
            <a:r>
              <a:rPr kumimoji="0" sz="1400" b="0" i="0" u="none" strike="noStrike" kern="0" cap="none" spc="-45" normalizeH="0" baseline="0" noProof="0" dirty="0">
                <a:ln>
                  <a:noFill/>
                </a:ln>
                <a:solidFill>
                  <a:srgbClr val="FFFFFF"/>
                </a:solidFill>
                <a:effectLst/>
                <a:uLnTx/>
                <a:uFillTx/>
                <a:latin typeface="Arial"/>
                <a:ea typeface="+mn-ea"/>
                <a:cs typeface="Arial"/>
              </a:rPr>
              <a:t> </a:t>
            </a:r>
            <a:r>
              <a:rPr kumimoji="0" sz="1400" b="0" i="0" u="none" strike="noStrike" kern="0" cap="none" spc="-10" normalizeH="0" baseline="0" noProof="0" dirty="0">
                <a:ln>
                  <a:noFill/>
                </a:ln>
                <a:solidFill>
                  <a:srgbClr val="FFFFFF"/>
                </a:solidFill>
                <a:effectLst/>
                <a:uLnTx/>
                <a:uFillTx/>
                <a:latin typeface="Arial"/>
                <a:ea typeface="+mn-ea"/>
                <a:cs typeface="Arial"/>
              </a:rPr>
              <a:t>complete</a:t>
            </a:r>
            <a:endParaRPr kumimoji="0" sz="1400" b="0" i="0" u="none" strike="noStrike" kern="0" cap="none" spc="0" normalizeH="0" baseline="0" noProof="0">
              <a:ln>
                <a:noFill/>
              </a:ln>
              <a:solidFill>
                <a:sysClr val="windowText" lastClr="000000"/>
              </a:solidFill>
              <a:effectLst/>
              <a:uLnTx/>
              <a:uFillTx/>
              <a:latin typeface="Arial"/>
              <a:ea typeface="+mn-ea"/>
              <a:cs typeface="Arial"/>
            </a:endParaRPr>
          </a:p>
          <a:p>
            <a:pPr marL="379095" marR="0" lvl="0" indent="0" algn="l" defTabSz="914400" rtl="0" eaLnBrk="1" fontAlgn="auto" latinLnBrk="0" hangingPunct="1">
              <a:lnSpc>
                <a:spcPct val="100000"/>
              </a:lnSpc>
              <a:spcBef>
                <a:spcPts val="0"/>
              </a:spcBef>
              <a:spcAft>
                <a:spcPts val="0"/>
              </a:spcAft>
              <a:buClrTx/>
              <a:buSzTx/>
              <a:buFontTx/>
              <a:buNone/>
              <a:tabLst/>
              <a:defRPr/>
            </a:pPr>
            <a:r>
              <a:rPr kumimoji="0" sz="1400" b="0" i="0" u="none" strike="noStrike" kern="0" cap="none" spc="0" normalizeH="0" baseline="0" noProof="0" dirty="0">
                <a:ln>
                  <a:noFill/>
                </a:ln>
                <a:solidFill>
                  <a:srgbClr val="FFFFFF"/>
                </a:solidFill>
                <a:effectLst/>
                <a:uLnTx/>
                <a:uFillTx/>
                <a:latin typeface="Arial"/>
                <a:ea typeface="+mn-ea"/>
                <a:cs typeface="Arial"/>
              </a:rPr>
              <a:t>resolution</a:t>
            </a:r>
            <a:r>
              <a:rPr kumimoji="0" sz="1400" b="0" i="0" u="none" strike="noStrike" kern="0" cap="none" spc="-55" normalizeH="0" baseline="0" noProof="0" dirty="0">
                <a:ln>
                  <a:noFill/>
                </a:ln>
                <a:solidFill>
                  <a:srgbClr val="FFFFFF"/>
                </a:solidFill>
                <a:effectLst/>
                <a:uLnTx/>
                <a:uFillTx/>
                <a:latin typeface="Arial"/>
                <a:ea typeface="+mn-ea"/>
                <a:cs typeface="Arial"/>
              </a:rPr>
              <a:t> </a:t>
            </a:r>
            <a:r>
              <a:rPr kumimoji="0" sz="1400" b="0" i="0" u="none" strike="noStrike" kern="0" cap="none" spc="0" normalizeH="0" baseline="0" noProof="0" dirty="0">
                <a:ln>
                  <a:noFill/>
                </a:ln>
                <a:solidFill>
                  <a:srgbClr val="FFFFFF"/>
                </a:solidFill>
                <a:effectLst/>
                <a:uLnTx/>
                <a:uFillTx/>
                <a:latin typeface="Arial"/>
                <a:ea typeface="+mn-ea"/>
                <a:cs typeface="Arial"/>
              </a:rPr>
              <a:t>of</a:t>
            </a:r>
            <a:r>
              <a:rPr kumimoji="0" sz="1400" b="0" i="0" u="none" strike="noStrike" kern="0" cap="none" spc="-45" normalizeH="0" baseline="0" noProof="0" dirty="0">
                <a:ln>
                  <a:noFill/>
                </a:ln>
                <a:solidFill>
                  <a:srgbClr val="FFFFFF"/>
                </a:solidFill>
                <a:effectLst/>
                <a:uLnTx/>
                <a:uFillTx/>
                <a:latin typeface="Arial"/>
                <a:ea typeface="+mn-ea"/>
                <a:cs typeface="Arial"/>
              </a:rPr>
              <a:t> </a:t>
            </a:r>
            <a:r>
              <a:rPr kumimoji="0" sz="1400" b="0" i="0" u="none" strike="noStrike" kern="0" cap="none" spc="-10" normalizeH="0" baseline="0" noProof="0" dirty="0">
                <a:ln>
                  <a:noFill/>
                </a:ln>
                <a:solidFill>
                  <a:srgbClr val="FFFFFF"/>
                </a:solidFill>
                <a:effectLst/>
                <a:uLnTx/>
                <a:uFillTx/>
                <a:latin typeface="Arial"/>
                <a:ea typeface="+mn-ea"/>
                <a:cs typeface="Arial"/>
              </a:rPr>
              <a:t>symptoms</a:t>
            </a:r>
            <a:endParaRPr kumimoji="0" sz="1400" b="0" i="0" u="none" strike="noStrike" kern="0" cap="none" spc="0" normalizeH="0" baseline="0" noProof="0">
              <a:ln>
                <a:noFill/>
              </a:ln>
              <a:solidFill>
                <a:sysClr val="windowText" lastClr="000000"/>
              </a:solidFill>
              <a:effectLst/>
              <a:uLnTx/>
              <a:uFillTx/>
              <a:latin typeface="Arial"/>
              <a:ea typeface="+mn-ea"/>
              <a:cs typeface="Arial"/>
            </a:endParaRPr>
          </a:p>
          <a:p>
            <a:pPr marL="836294" marR="447675" lvl="1" indent="-287020" algn="l" defTabSz="914400" rtl="0" eaLnBrk="1" fontAlgn="auto" latinLnBrk="0" hangingPunct="1">
              <a:lnSpc>
                <a:spcPct val="100000"/>
              </a:lnSpc>
              <a:spcBef>
                <a:spcPts val="0"/>
              </a:spcBef>
              <a:spcAft>
                <a:spcPts val="0"/>
              </a:spcAft>
              <a:buClrTx/>
              <a:buSzTx/>
              <a:buFontTx/>
              <a:buChar char="•"/>
              <a:tabLst>
                <a:tab pos="836294" algn="l"/>
              </a:tabLst>
              <a:defRPr/>
            </a:pPr>
            <a:r>
              <a:rPr kumimoji="0" sz="1400" b="0" i="0" u="none" strike="noStrike" kern="0" cap="none" spc="-80" normalizeH="0" baseline="0" noProof="0" dirty="0">
                <a:ln>
                  <a:noFill/>
                </a:ln>
                <a:solidFill>
                  <a:srgbClr val="FFFFFF"/>
                </a:solidFill>
                <a:effectLst/>
                <a:uLnTx/>
                <a:uFillTx/>
                <a:latin typeface="Arial"/>
                <a:ea typeface="+mn-ea"/>
                <a:cs typeface="Arial"/>
              </a:rPr>
              <a:t>Two</a:t>
            </a:r>
            <a:r>
              <a:rPr kumimoji="0" sz="1400" b="0" i="0" u="none" strike="noStrike" kern="0" cap="none" spc="-55" normalizeH="0" baseline="0" noProof="0" dirty="0">
                <a:ln>
                  <a:noFill/>
                </a:ln>
                <a:solidFill>
                  <a:srgbClr val="FFFFFF"/>
                </a:solidFill>
                <a:effectLst/>
                <a:uLnTx/>
                <a:uFillTx/>
                <a:latin typeface="Arial"/>
                <a:ea typeface="+mn-ea"/>
                <a:cs typeface="Arial"/>
              </a:rPr>
              <a:t> </a:t>
            </a:r>
            <a:r>
              <a:rPr kumimoji="0" sz="1400" b="0" i="0" u="none" strike="noStrike" kern="0" cap="none" spc="0" normalizeH="0" baseline="0" noProof="0" dirty="0">
                <a:ln>
                  <a:noFill/>
                </a:ln>
                <a:solidFill>
                  <a:srgbClr val="FFFFFF"/>
                </a:solidFill>
                <a:effectLst/>
                <a:uLnTx/>
                <a:uFillTx/>
                <a:latin typeface="Arial"/>
                <a:ea typeface="+mn-ea"/>
                <a:cs typeface="Arial"/>
              </a:rPr>
              <a:t>patients</a:t>
            </a:r>
            <a:r>
              <a:rPr kumimoji="0" sz="1400" b="0" i="0" u="none" strike="noStrike" kern="0" cap="none" spc="-85" normalizeH="0" baseline="0" noProof="0" dirty="0">
                <a:ln>
                  <a:noFill/>
                </a:ln>
                <a:solidFill>
                  <a:srgbClr val="FFFFFF"/>
                </a:solidFill>
                <a:effectLst/>
                <a:uLnTx/>
                <a:uFillTx/>
                <a:latin typeface="Arial"/>
                <a:ea typeface="+mn-ea"/>
                <a:cs typeface="Arial"/>
              </a:rPr>
              <a:t> </a:t>
            </a:r>
            <a:r>
              <a:rPr kumimoji="0" sz="1400" b="0" i="0" u="none" strike="noStrike" kern="0" cap="none" spc="-10" normalizeH="0" baseline="0" noProof="0" dirty="0">
                <a:ln>
                  <a:noFill/>
                </a:ln>
                <a:solidFill>
                  <a:srgbClr val="FFFFFF"/>
                </a:solidFill>
                <a:effectLst/>
                <a:uLnTx/>
                <a:uFillTx/>
                <a:latin typeface="Arial"/>
                <a:ea typeface="+mn-ea"/>
                <a:cs typeface="Arial"/>
              </a:rPr>
              <a:t>resumed</a:t>
            </a:r>
            <a:r>
              <a:rPr kumimoji="0" sz="1400" b="0" i="0" u="none" strike="noStrike" kern="0" cap="none" spc="-40" normalizeH="0" baseline="0" noProof="0" dirty="0">
                <a:ln>
                  <a:noFill/>
                </a:ln>
                <a:solidFill>
                  <a:srgbClr val="FFFFFF"/>
                </a:solidFill>
                <a:effectLst/>
                <a:uLnTx/>
                <a:uFillTx/>
                <a:latin typeface="Arial"/>
                <a:ea typeface="+mn-ea"/>
                <a:cs typeface="Arial"/>
              </a:rPr>
              <a:t> </a:t>
            </a:r>
            <a:r>
              <a:rPr kumimoji="0" sz="1400" b="0" i="0" u="none" strike="noStrike" kern="0" cap="none" spc="0" normalizeH="0" baseline="0" noProof="0" dirty="0">
                <a:ln>
                  <a:noFill/>
                </a:ln>
                <a:solidFill>
                  <a:srgbClr val="FFFFFF"/>
                </a:solidFill>
                <a:effectLst/>
                <a:uLnTx/>
                <a:uFillTx/>
                <a:latin typeface="Arial"/>
                <a:ea typeface="+mn-ea"/>
                <a:cs typeface="Arial"/>
              </a:rPr>
              <a:t>treatment</a:t>
            </a:r>
            <a:r>
              <a:rPr kumimoji="0" sz="1400" b="0" i="0" u="none" strike="noStrike" kern="0" cap="none" spc="-100" normalizeH="0" baseline="0" noProof="0" dirty="0">
                <a:ln>
                  <a:noFill/>
                </a:ln>
                <a:solidFill>
                  <a:srgbClr val="FFFFFF"/>
                </a:solidFill>
                <a:effectLst/>
                <a:uLnTx/>
                <a:uFillTx/>
                <a:latin typeface="Arial"/>
                <a:ea typeface="+mn-ea"/>
                <a:cs typeface="Arial"/>
              </a:rPr>
              <a:t> </a:t>
            </a:r>
            <a:r>
              <a:rPr kumimoji="0" sz="1400" b="0" i="0" u="none" strike="noStrike" kern="0" cap="none" spc="-25" normalizeH="0" baseline="0" noProof="0" dirty="0">
                <a:ln>
                  <a:noFill/>
                </a:ln>
                <a:solidFill>
                  <a:srgbClr val="FFFFFF"/>
                </a:solidFill>
                <a:effectLst/>
                <a:uLnTx/>
                <a:uFillTx/>
                <a:latin typeface="Arial"/>
                <a:ea typeface="+mn-ea"/>
                <a:cs typeface="Arial"/>
              </a:rPr>
              <a:t>and </a:t>
            </a:r>
            <a:r>
              <a:rPr kumimoji="0" sz="1400" b="0" i="0" u="none" strike="noStrike" kern="0" cap="none" spc="0" normalizeH="0" baseline="0" noProof="0" dirty="0">
                <a:ln>
                  <a:noFill/>
                </a:ln>
                <a:solidFill>
                  <a:srgbClr val="FFFFFF"/>
                </a:solidFill>
                <a:effectLst/>
                <a:uLnTx/>
                <a:uFillTx/>
                <a:latin typeface="Arial"/>
                <a:ea typeface="+mn-ea"/>
                <a:cs typeface="Arial"/>
              </a:rPr>
              <a:t>ultimately</a:t>
            </a:r>
            <a:r>
              <a:rPr kumimoji="0" sz="1400" b="0" i="0" u="none" strike="noStrike" kern="0" cap="none" spc="-25" normalizeH="0" baseline="0" noProof="0" dirty="0">
                <a:ln>
                  <a:noFill/>
                </a:ln>
                <a:solidFill>
                  <a:srgbClr val="FFFFFF"/>
                </a:solidFill>
                <a:effectLst/>
                <a:uLnTx/>
                <a:uFillTx/>
                <a:latin typeface="Arial"/>
                <a:ea typeface="+mn-ea"/>
                <a:cs typeface="Arial"/>
              </a:rPr>
              <a:t> </a:t>
            </a:r>
            <a:r>
              <a:rPr kumimoji="0" sz="1400" b="0" i="0" u="none" strike="noStrike" kern="0" cap="none" spc="-20" normalizeH="0" baseline="0" noProof="0" dirty="0">
                <a:ln>
                  <a:noFill/>
                </a:ln>
                <a:solidFill>
                  <a:srgbClr val="FFFFFF"/>
                </a:solidFill>
                <a:effectLst/>
                <a:uLnTx/>
                <a:uFillTx/>
                <a:latin typeface="Arial"/>
                <a:ea typeface="+mn-ea"/>
                <a:cs typeface="Arial"/>
              </a:rPr>
              <a:t>achieved</a:t>
            </a:r>
            <a:r>
              <a:rPr kumimoji="0" sz="1400" b="0" i="0" u="none" strike="noStrike" kern="0" cap="none" spc="-35" normalizeH="0" baseline="0" noProof="0" dirty="0">
                <a:ln>
                  <a:noFill/>
                </a:ln>
                <a:solidFill>
                  <a:srgbClr val="FFFFFF"/>
                </a:solidFill>
                <a:effectLst/>
                <a:uLnTx/>
                <a:uFillTx/>
                <a:latin typeface="Arial"/>
                <a:ea typeface="+mn-ea"/>
                <a:cs typeface="Arial"/>
              </a:rPr>
              <a:t> </a:t>
            </a:r>
            <a:r>
              <a:rPr kumimoji="0" sz="1400" b="0" i="0" u="none" strike="noStrike" kern="0" cap="none" spc="-40" normalizeH="0" baseline="0" noProof="0" dirty="0">
                <a:ln>
                  <a:noFill/>
                </a:ln>
                <a:solidFill>
                  <a:srgbClr val="FFFFFF"/>
                </a:solidFill>
                <a:effectLst/>
                <a:uLnTx/>
                <a:uFillTx/>
                <a:latin typeface="Arial"/>
                <a:ea typeface="+mn-ea"/>
                <a:cs typeface="Arial"/>
              </a:rPr>
              <a:t>a</a:t>
            </a:r>
            <a:r>
              <a:rPr kumimoji="0" sz="1400" b="0" i="0" u="none" strike="noStrike" kern="0" cap="none" spc="0" normalizeH="0" baseline="0" noProof="0" dirty="0">
                <a:ln>
                  <a:noFill/>
                </a:ln>
                <a:solidFill>
                  <a:srgbClr val="FFFFFF"/>
                </a:solidFill>
                <a:effectLst/>
                <a:uLnTx/>
                <a:uFillTx/>
                <a:latin typeface="Arial"/>
                <a:ea typeface="+mn-ea"/>
                <a:cs typeface="Arial"/>
              </a:rPr>
              <a:t> </a:t>
            </a:r>
            <a:r>
              <a:rPr kumimoji="0" sz="1400" b="0" i="0" u="none" strike="noStrike" kern="0" cap="none" spc="-25" normalizeH="0" baseline="0" noProof="0" dirty="0">
                <a:ln>
                  <a:noFill/>
                </a:ln>
                <a:solidFill>
                  <a:srgbClr val="FFFFFF"/>
                </a:solidFill>
                <a:effectLst/>
                <a:uLnTx/>
                <a:uFillTx/>
                <a:latin typeface="Arial"/>
                <a:ea typeface="+mn-ea"/>
                <a:cs typeface="Arial"/>
              </a:rPr>
              <a:t>CR</a:t>
            </a:r>
            <a:endParaRPr kumimoji="0" sz="1400" b="0" i="0" u="none" strike="noStrike" kern="0" cap="none" spc="0" normalizeH="0" baseline="0" noProof="0">
              <a:ln>
                <a:noFill/>
              </a:ln>
              <a:solidFill>
                <a:sysClr val="windowText" lastClr="000000"/>
              </a:solidFill>
              <a:effectLst/>
              <a:uLnTx/>
              <a:uFillTx/>
              <a:latin typeface="Arial"/>
              <a:ea typeface="+mn-ea"/>
              <a:cs typeface="Arial"/>
            </a:endParaRPr>
          </a:p>
          <a:p>
            <a:pPr marL="836294" marR="609600" lvl="1" indent="-287020" algn="l" defTabSz="914400" rtl="0" eaLnBrk="1" fontAlgn="auto" latinLnBrk="0" hangingPunct="1">
              <a:lnSpc>
                <a:spcPct val="100000"/>
              </a:lnSpc>
              <a:spcBef>
                <a:spcPts val="0"/>
              </a:spcBef>
              <a:spcAft>
                <a:spcPts val="0"/>
              </a:spcAft>
              <a:buClrTx/>
              <a:buSzTx/>
              <a:buFontTx/>
              <a:buChar char="•"/>
              <a:tabLst>
                <a:tab pos="836294" algn="l"/>
              </a:tabLst>
              <a:defRPr/>
            </a:pPr>
            <a:r>
              <a:rPr kumimoji="0" sz="1400" b="0" i="0" u="none" strike="noStrike" kern="0" cap="none" spc="-45" normalizeH="0" baseline="0" noProof="0" dirty="0">
                <a:ln>
                  <a:noFill/>
                </a:ln>
                <a:solidFill>
                  <a:srgbClr val="FFFFFF"/>
                </a:solidFill>
                <a:effectLst/>
                <a:uLnTx/>
                <a:uFillTx/>
                <a:latin typeface="Arial"/>
                <a:ea typeface="+mn-ea"/>
                <a:cs typeface="Arial"/>
              </a:rPr>
              <a:t>One</a:t>
            </a:r>
            <a:r>
              <a:rPr kumimoji="0" sz="1400" b="0" i="0" u="none" strike="noStrike" kern="0" cap="none" spc="-60" normalizeH="0" baseline="0" noProof="0" dirty="0">
                <a:ln>
                  <a:noFill/>
                </a:ln>
                <a:solidFill>
                  <a:srgbClr val="FFFFFF"/>
                </a:solidFill>
                <a:effectLst/>
                <a:uLnTx/>
                <a:uFillTx/>
                <a:latin typeface="Arial"/>
                <a:ea typeface="+mn-ea"/>
                <a:cs typeface="Arial"/>
              </a:rPr>
              <a:t> </a:t>
            </a:r>
            <a:r>
              <a:rPr kumimoji="0" sz="1400" b="0" i="0" u="none" strike="noStrike" kern="0" cap="none" spc="0" normalizeH="0" baseline="0" noProof="0" dirty="0">
                <a:ln>
                  <a:noFill/>
                </a:ln>
                <a:solidFill>
                  <a:srgbClr val="FFFFFF"/>
                </a:solidFill>
                <a:effectLst/>
                <a:uLnTx/>
                <a:uFillTx/>
                <a:latin typeface="Arial"/>
                <a:ea typeface="+mn-ea"/>
                <a:cs typeface="Arial"/>
              </a:rPr>
              <a:t>patient</a:t>
            </a:r>
            <a:r>
              <a:rPr kumimoji="0" sz="1400" b="0" i="0" u="none" strike="noStrike" kern="0" cap="none" spc="-45" normalizeH="0" baseline="0" noProof="0" dirty="0">
                <a:ln>
                  <a:noFill/>
                </a:ln>
                <a:solidFill>
                  <a:srgbClr val="FFFFFF"/>
                </a:solidFill>
                <a:effectLst/>
                <a:uLnTx/>
                <a:uFillTx/>
                <a:latin typeface="Arial"/>
                <a:ea typeface="+mn-ea"/>
                <a:cs typeface="Arial"/>
              </a:rPr>
              <a:t> </a:t>
            </a:r>
            <a:r>
              <a:rPr kumimoji="0" sz="1400" b="0" i="0" u="none" strike="noStrike" kern="0" cap="none" spc="0" normalizeH="0" baseline="0" noProof="0" dirty="0">
                <a:ln>
                  <a:noFill/>
                </a:ln>
                <a:solidFill>
                  <a:srgbClr val="FFFFFF"/>
                </a:solidFill>
                <a:effectLst/>
                <a:uLnTx/>
                <a:uFillTx/>
                <a:latin typeface="Arial"/>
                <a:ea typeface="+mn-ea"/>
                <a:cs typeface="Arial"/>
              </a:rPr>
              <a:t>elected</a:t>
            </a:r>
            <a:r>
              <a:rPr kumimoji="0" sz="1400" b="0" i="0" u="none" strike="noStrike" kern="0" cap="none" spc="-75" normalizeH="0" baseline="0" noProof="0" dirty="0">
                <a:ln>
                  <a:noFill/>
                </a:ln>
                <a:solidFill>
                  <a:srgbClr val="FFFFFF"/>
                </a:solidFill>
                <a:effectLst/>
                <a:uLnTx/>
                <a:uFillTx/>
                <a:latin typeface="Arial"/>
                <a:ea typeface="+mn-ea"/>
                <a:cs typeface="Arial"/>
              </a:rPr>
              <a:t> </a:t>
            </a:r>
            <a:r>
              <a:rPr kumimoji="0" sz="1400" b="0" i="0" u="none" strike="noStrike" kern="0" cap="none" spc="0" normalizeH="0" baseline="0" noProof="0" dirty="0">
                <a:ln>
                  <a:noFill/>
                </a:ln>
                <a:solidFill>
                  <a:srgbClr val="FFFFFF"/>
                </a:solidFill>
                <a:effectLst/>
                <a:uLnTx/>
                <a:uFillTx/>
                <a:latin typeface="Arial"/>
                <a:ea typeface="+mn-ea"/>
                <a:cs typeface="Arial"/>
              </a:rPr>
              <a:t>to</a:t>
            </a:r>
            <a:r>
              <a:rPr kumimoji="0" sz="1400" b="0" i="0" u="none" strike="noStrike" kern="0" cap="none" spc="-30" normalizeH="0" baseline="0" noProof="0" dirty="0">
                <a:ln>
                  <a:noFill/>
                </a:ln>
                <a:solidFill>
                  <a:srgbClr val="FFFFFF"/>
                </a:solidFill>
                <a:effectLst/>
                <a:uLnTx/>
                <a:uFillTx/>
                <a:latin typeface="Arial"/>
                <a:ea typeface="+mn-ea"/>
                <a:cs typeface="Arial"/>
              </a:rPr>
              <a:t> </a:t>
            </a:r>
            <a:r>
              <a:rPr kumimoji="0" sz="1400" b="0" i="0" u="none" strike="noStrike" kern="0" cap="none" spc="-10" normalizeH="0" baseline="0" noProof="0" dirty="0">
                <a:ln>
                  <a:noFill/>
                </a:ln>
                <a:solidFill>
                  <a:srgbClr val="FFFFFF"/>
                </a:solidFill>
                <a:effectLst/>
                <a:uLnTx/>
                <a:uFillTx/>
                <a:latin typeface="Arial"/>
                <a:ea typeface="+mn-ea"/>
                <a:cs typeface="Arial"/>
              </a:rPr>
              <a:t>discontinue treatment</a:t>
            </a:r>
            <a:endParaRPr kumimoji="0" sz="1400" b="0" i="0" u="none" strike="noStrike" kern="0" cap="none" spc="0" normalizeH="0" baseline="0" noProof="0">
              <a:ln>
                <a:noFill/>
              </a:ln>
              <a:solidFill>
                <a:sysClr val="windowText" lastClr="000000"/>
              </a:solidFill>
              <a:effectLst/>
              <a:uLnTx/>
              <a:uFillTx/>
              <a:latin typeface="Arial"/>
              <a:ea typeface="+mn-ea"/>
              <a:cs typeface="Arial"/>
            </a:endParaRPr>
          </a:p>
          <a:p>
            <a:pPr marL="378460" marR="0" lvl="0" indent="-286385" algn="l" defTabSz="914400" rtl="0" eaLnBrk="1" fontAlgn="auto" latinLnBrk="0" hangingPunct="1">
              <a:lnSpc>
                <a:spcPct val="100000"/>
              </a:lnSpc>
              <a:spcBef>
                <a:spcPts val="5"/>
              </a:spcBef>
              <a:spcAft>
                <a:spcPts val="0"/>
              </a:spcAft>
              <a:buClrTx/>
              <a:buSzTx/>
              <a:buFontTx/>
              <a:buChar char="•"/>
              <a:tabLst>
                <a:tab pos="378460" algn="l"/>
              </a:tabLst>
              <a:defRPr/>
            </a:pPr>
            <a:r>
              <a:rPr kumimoji="0" sz="1400" b="0" i="0" u="none" strike="noStrike" kern="0" cap="none" spc="-80" normalizeH="0" baseline="0" noProof="0" dirty="0">
                <a:ln>
                  <a:noFill/>
                </a:ln>
                <a:solidFill>
                  <a:srgbClr val="FFFFFF"/>
                </a:solidFill>
                <a:effectLst/>
                <a:uLnTx/>
                <a:uFillTx/>
                <a:latin typeface="Arial"/>
                <a:ea typeface="+mn-ea"/>
                <a:cs typeface="Arial"/>
              </a:rPr>
              <a:t>ICANS</a:t>
            </a:r>
            <a:r>
              <a:rPr kumimoji="0" sz="1400" b="0" i="0" u="none" strike="noStrike" kern="0" cap="none" spc="-55" normalizeH="0" baseline="0" noProof="0" dirty="0">
                <a:ln>
                  <a:noFill/>
                </a:ln>
                <a:solidFill>
                  <a:srgbClr val="FFFFFF"/>
                </a:solidFill>
                <a:effectLst/>
                <a:uLnTx/>
                <a:uFillTx/>
                <a:latin typeface="Arial"/>
                <a:ea typeface="+mn-ea"/>
                <a:cs typeface="Arial"/>
              </a:rPr>
              <a:t> </a:t>
            </a:r>
            <a:r>
              <a:rPr kumimoji="0" sz="1400" b="0" i="0" u="none" strike="noStrike" kern="0" cap="none" spc="-35" normalizeH="0" baseline="0" noProof="0" dirty="0">
                <a:ln>
                  <a:noFill/>
                </a:ln>
                <a:solidFill>
                  <a:srgbClr val="FFFFFF"/>
                </a:solidFill>
                <a:effectLst/>
                <a:uLnTx/>
                <a:uFillTx/>
                <a:latin typeface="Arial"/>
                <a:ea typeface="+mn-ea"/>
                <a:cs typeface="Arial"/>
              </a:rPr>
              <a:t>managed</a:t>
            </a:r>
            <a:r>
              <a:rPr kumimoji="0" sz="1400" b="0" i="0" u="none" strike="noStrike" kern="0" cap="none" spc="-30" normalizeH="0" baseline="0" noProof="0" dirty="0">
                <a:ln>
                  <a:noFill/>
                </a:ln>
                <a:solidFill>
                  <a:srgbClr val="FFFFFF"/>
                </a:solidFill>
                <a:effectLst/>
                <a:uLnTx/>
                <a:uFillTx/>
                <a:latin typeface="Arial"/>
                <a:ea typeface="+mn-ea"/>
                <a:cs typeface="Arial"/>
              </a:rPr>
              <a:t> </a:t>
            </a:r>
            <a:r>
              <a:rPr kumimoji="0" sz="1400" b="0" i="0" u="none" strike="noStrike" kern="0" cap="none" spc="0" normalizeH="0" baseline="0" noProof="0" dirty="0">
                <a:ln>
                  <a:noFill/>
                </a:ln>
                <a:solidFill>
                  <a:srgbClr val="FFFFFF"/>
                </a:solidFill>
                <a:effectLst/>
                <a:uLnTx/>
                <a:uFillTx/>
                <a:latin typeface="Arial"/>
                <a:ea typeface="+mn-ea"/>
                <a:cs typeface="Arial"/>
              </a:rPr>
              <a:t>primarily</a:t>
            </a:r>
            <a:r>
              <a:rPr kumimoji="0" sz="1400" b="0" i="0" u="none" strike="noStrike" kern="0" cap="none" spc="10" normalizeH="0" baseline="0" noProof="0" dirty="0">
                <a:ln>
                  <a:noFill/>
                </a:ln>
                <a:solidFill>
                  <a:srgbClr val="FFFFFF"/>
                </a:solidFill>
                <a:effectLst/>
                <a:uLnTx/>
                <a:uFillTx/>
                <a:latin typeface="Arial"/>
                <a:ea typeface="+mn-ea"/>
                <a:cs typeface="Arial"/>
              </a:rPr>
              <a:t> </a:t>
            </a:r>
            <a:r>
              <a:rPr kumimoji="0" sz="1400" b="0" i="0" u="none" strike="noStrike" kern="0" cap="none" spc="0" normalizeH="0" baseline="0" noProof="0" dirty="0">
                <a:ln>
                  <a:noFill/>
                </a:ln>
                <a:solidFill>
                  <a:srgbClr val="FFFFFF"/>
                </a:solidFill>
                <a:effectLst/>
                <a:uLnTx/>
                <a:uFillTx/>
                <a:latin typeface="Arial"/>
                <a:ea typeface="+mn-ea"/>
                <a:cs typeface="Arial"/>
              </a:rPr>
              <a:t>with</a:t>
            </a:r>
            <a:r>
              <a:rPr kumimoji="0" sz="1400" b="0" i="0" u="none" strike="noStrike" kern="0" cap="none" spc="-30" normalizeH="0" baseline="0" noProof="0" dirty="0">
                <a:ln>
                  <a:noFill/>
                </a:ln>
                <a:solidFill>
                  <a:srgbClr val="FFFFFF"/>
                </a:solidFill>
                <a:effectLst/>
                <a:uLnTx/>
                <a:uFillTx/>
                <a:latin typeface="Arial"/>
                <a:ea typeface="+mn-ea"/>
                <a:cs typeface="Arial"/>
              </a:rPr>
              <a:t> </a:t>
            </a:r>
            <a:r>
              <a:rPr kumimoji="0" sz="1400" b="0" i="0" u="none" strike="noStrike" kern="0" cap="none" spc="-10" normalizeH="0" baseline="0" noProof="0" dirty="0">
                <a:ln>
                  <a:noFill/>
                </a:ln>
                <a:solidFill>
                  <a:srgbClr val="FFFFFF"/>
                </a:solidFill>
                <a:effectLst/>
                <a:uLnTx/>
                <a:uFillTx/>
                <a:latin typeface="Arial"/>
                <a:ea typeface="+mn-ea"/>
                <a:cs typeface="Arial"/>
              </a:rPr>
              <a:t>corticosteroids</a:t>
            </a:r>
            <a:endParaRPr kumimoji="0" sz="14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7" name="object 7"/>
          <p:cNvSpPr/>
          <p:nvPr/>
        </p:nvSpPr>
        <p:spPr>
          <a:xfrm>
            <a:off x="6875526" y="2116708"/>
            <a:ext cx="533400" cy="2095500"/>
          </a:xfrm>
          <a:custGeom>
            <a:avLst/>
            <a:gdLst/>
            <a:ahLst/>
            <a:cxnLst/>
            <a:rect l="l" t="t" r="r" b="b"/>
            <a:pathLst>
              <a:path w="533400" h="2095500">
                <a:moveTo>
                  <a:pt x="0" y="0"/>
                </a:moveTo>
                <a:lnTo>
                  <a:pt x="103822" y="0"/>
                </a:lnTo>
                <a:lnTo>
                  <a:pt x="188594" y="0"/>
                </a:lnTo>
                <a:lnTo>
                  <a:pt x="245744" y="0"/>
                </a:lnTo>
                <a:lnTo>
                  <a:pt x="266700" y="0"/>
                </a:lnTo>
                <a:lnTo>
                  <a:pt x="266700" y="1047495"/>
                </a:lnTo>
                <a:lnTo>
                  <a:pt x="287654" y="1047495"/>
                </a:lnTo>
                <a:lnTo>
                  <a:pt x="344804" y="1047495"/>
                </a:lnTo>
                <a:lnTo>
                  <a:pt x="429577" y="1047495"/>
                </a:lnTo>
                <a:lnTo>
                  <a:pt x="533400" y="1047495"/>
                </a:lnTo>
                <a:lnTo>
                  <a:pt x="429577" y="1047495"/>
                </a:lnTo>
                <a:lnTo>
                  <a:pt x="344805" y="1047495"/>
                </a:lnTo>
                <a:lnTo>
                  <a:pt x="287655" y="1047495"/>
                </a:lnTo>
                <a:lnTo>
                  <a:pt x="266700" y="1047495"/>
                </a:lnTo>
                <a:lnTo>
                  <a:pt x="266700" y="2094991"/>
                </a:lnTo>
                <a:lnTo>
                  <a:pt x="245745" y="2094991"/>
                </a:lnTo>
                <a:lnTo>
                  <a:pt x="188595" y="2094991"/>
                </a:lnTo>
                <a:lnTo>
                  <a:pt x="103822" y="2094991"/>
                </a:lnTo>
                <a:lnTo>
                  <a:pt x="0" y="2094991"/>
                </a:lnTo>
              </a:path>
            </a:pathLst>
          </a:custGeom>
          <a:ln w="12700">
            <a:solidFill>
              <a:srgbClr val="2385B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 name="object 8"/>
          <p:cNvSpPr/>
          <p:nvPr/>
        </p:nvSpPr>
        <p:spPr>
          <a:xfrm>
            <a:off x="6875526" y="4480940"/>
            <a:ext cx="533400" cy="1672589"/>
          </a:xfrm>
          <a:custGeom>
            <a:avLst/>
            <a:gdLst/>
            <a:ahLst/>
            <a:cxnLst/>
            <a:rect l="l" t="t" r="r" b="b"/>
            <a:pathLst>
              <a:path w="533400" h="1672589">
                <a:moveTo>
                  <a:pt x="0" y="0"/>
                </a:moveTo>
                <a:lnTo>
                  <a:pt x="103822" y="0"/>
                </a:lnTo>
                <a:lnTo>
                  <a:pt x="188594" y="0"/>
                </a:lnTo>
                <a:lnTo>
                  <a:pt x="245744" y="0"/>
                </a:lnTo>
                <a:lnTo>
                  <a:pt x="266700" y="0"/>
                </a:lnTo>
                <a:lnTo>
                  <a:pt x="266700" y="836167"/>
                </a:lnTo>
                <a:lnTo>
                  <a:pt x="287654" y="836167"/>
                </a:lnTo>
                <a:lnTo>
                  <a:pt x="344804" y="836167"/>
                </a:lnTo>
                <a:lnTo>
                  <a:pt x="429577" y="836167"/>
                </a:lnTo>
                <a:lnTo>
                  <a:pt x="533400" y="836167"/>
                </a:lnTo>
                <a:lnTo>
                  <a:pt x="429577" y="836167"/>
                </a:lnTo>
                <a:lnTo>
                  <a:pt x="344805" y="836167"/>
                </a:lnTo>
                <a:lnTo>
                  <a:pt x="287655" y="836167"/>
                </a:lnTo>
                <a:lnTo>
                  <a:pt x="266700" y="836167"/>
                </a:lnTo>
                <a:lnTo>
                  <a:pt x="266700" y="1672361"/>
                </a:lnTo>
                <a:lnTo>
                  <a:pt x="245745" y="1672361"/>
                </a:lnTo>
                <a:lnTo>
                  <a:pt x="188595" y="1672361"/>
                </a:lnTo>
                <a:lnTo>
                  <a:pt x="103822" y="1672361"/>
                </a:lnTo>
                <a:lnTo>
                  <a:pt x="0" y="1672361"/>
                </a:lnTo>
              </a:path>
            </a:pathLst>
          </a:custGeom>
          <a:ln w="12700">
            <a:solidFill>
              <a:srgbClr val="2385B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9" name="object 9"/>
          <p:cNvSpPr txBox="1"/>
          <p:nvPr/>
        </p:nvSpPr>
        <p:spPr>
          <a:xfrm>
            <a:off x="7628255" y="1344548"/>
            <a:ext cx="3924935" cy="756920"/>
          </a:xfrm>
          <a:prstGeom prst="rect">
            <a:avLst/>
          </a:prstGeom>
        </p:spPr>
        <p:txBody>
          <a:bodyPr vert="horz" wrap="square" lIns="0" tIns="12065" rIns="0" bIns="0" rtlCol="0">
            <a:spAutoFit/>
          </a:bodyPr>
          <a:lstStyle/>
          <a:p>
            <a:pPr marL="38100" marR="30480" lvl="0" indent="0" algn="l" defTabSz="914400" rtl="0" eaLnBrk="1" fontAlgn="auto" latinLnBrk="0" hangingPunct="1">
              <a:lnSpc>
                <a:spcPct val="100000"/>
              </a:lnSpc>
              <a:spcBef>
                <a:spcPts val="95"/>
              </a:spcBef>
              <a:spcAft>
                <a:spcPts val="0"/>
              </a:spcAft>
              <a:buClrTx/>
              <a:buSzTx/>
              <a:buFontTx/>
              <a:buNone/>
              <a:tabLst/>
              <a:defRPr/>
            </a:pPr>
            <a:r>
              <a:rPr kumimoji="0" sz="1600" b="1" i="0" u="none" strike="noStrike" kern="0" cap="none" spc="-30" normalizeH="0" baseline="0" noProof="0" dirty="0">
                <a:ln>
                  <a:noFill/>
                </a:ln>
                <a:solidFill>
                  <a:srgbClr val="183D8E"/>
                </a:solidFill>
                <a:effectLst/>
                <a:uLnTx/>
                <a:uFillTx/>
                <a:latin typeface="Arial"/>
                <a:ea typeface="+mn-ea"/>
                <a:cs typeface="Arial"/>
              </a:rPr>
              <a:t>Any-</a:t>
            </a:r>
            <a:r>
              <a:rPr kumimoji="0" sz="1600" b="1" i="0" u="none" strike="noStrike" kern="0" cap="none" spc="0" normalizeH="0" baseline="0" noProof="0" dirty="0">
                <a:ln>
                  <a:noFill/>
                </a:ln>
                <a:solidFill>
                  <a:srgbClr val="183D8E"/>
                </a:solidFill>
                <a:effectLst/>
                <a:uLnTx/>
                <a:uFillTx/>
                <a:latin typeface="Arial"/>
                <a:ea typeface="+mn-ea"/>
                <a:cs typeface="Arial"/>
              </a:rPr>
              <a:t>grade</a:t>
            </a:r>
            <a:r>
              <a:rPr kumimoji="0" sz="1600" b="1" i="0" u="none" strike="noStrike" kern="0" cap="none" spc="35" normalizeH="0" baseline="0" noProof="0" dirty="0">
                <a:ln>
                  <a:noFill/>
                </a:ln>
                <a:solidFill>
                  <a:srgbClr val="183D8E"/>
                </a:solidFill>
                <a:effectLst/>
                <a:uLnTx/>
                <a:uFillTx/>
                <a:latin typeface="Arial"/>
                <a:ea typeface="+mn-ea"/>
                <a:cs typeface="Arial"/>
              </a:rPr>
              <a:t> </a:t>
            </a:r>
            <a:r>
              <a:rPr kumimoji="0" sz="1600" b="1" i="0" u="none" strike="noStrike" kern="0" cap="none" spc="0" normalizeH="0" baseline="0" noProof="0" dirty="0">
                <a:ln>
                  <a:noFill/>
                </a:ln>
                <a:solidFill>
                  <a:srgbClr val="183D8E"/>
                </a:solidFill>
                <a:effectLst/>
                <a:uLnTx/>
                <a:uFillTx/>
                <a:latin typeface="Arial"/>
                <a:ea typeface="+mn-ea"/>
                <a:cs typeface="Arial"/>
              </a:rPr>
              <a:t>CRS</a:t>
            </a:r>
            <a:r>
              <a:rPr kumimoji="0" sz="1600" b="1" i="0" u="none" strike="noStrike" kern="0" cap="none" spc="-25" normalizeH="0" baseline="0" noProof="0" dirty="0">
                <a:ln>
                  <a:noFill/>
                </a:ln>
                <a:solidFill>
                  <a:srgbClr val="183D8E"/>
                </a:solidFill>
                <a:effectLst/>
                <a:uLnTx/>
                <a:uFillTx/>
                <a:latin typeface="Arial"/>
                <a:ea typeface="+mn-ea"/>
                <a:cs typeface="Arial"/>
              </a:rPr>
              <a:t> </a:t>
            </a:r>
            <a:r>
              <a:rPr kumimoji="0" sz="1600" b="1" i="0" u="none" strike="noStrike" kern="0" cap="none" spc="0" normalizeH="0" baseline="0" noProof="0" dirty="0">
                <a:ln>
                  <a:noFill/>
                </a:ln>
                <a:solidFill>
                  <a:srgbClr val="183D8E"/>
                </a:solidFill>
                <a:effectLst/>
                <a:uLnTx/>
                <a:uFillTx/>
                <a:latin typeface="Arial"/>
                <a:ea typeface="+mn-ea"/>
                <a:cs typeface="Arial"/>
              </a:rPr>
              <a:t>was</a:t>
            </a:r>
            <a:r>
              <a:rPr kumimoji="0" sz="1600" b="1" i="0" u="none" strike="noStrike" kern="0" cap="none" spc="-60" normalizeH="0" baseline="0" noProof="0" dirty="0">
                <a:ln>
                  <a:noFill/>
                </a:ln>
                <a:solidFill>
                  <a:srgbClr val="183D8E"/>
                </a:solidFill>
                <a:effectLst/>
                <a:uLnTx/>
                <a:uFillTx/>
                <a:latin typeface="Arial"/>
                <a:ea typeface="+mn-ea"/>
                <a:cs typeface="Arial"/>
              </a:rPr>
              <a:t> </a:t>
            </a:r>
            <a:r>
              <a:rPr kumimoji="0" sz="1600" b="1" i="0" u="none" strike="noStrike" kern="0" cap="none" spc="0" normalizeH="0" baseline="0" noProof="0" dirty="0">
                <a:ln>
                  <a:noFill/>
                </a:ln>
                <a:solidFill>
                  <a:srgbClr val="183D8E"/>
                </a:solidFill>
                <a:effectLst/>
                <a:uLnTx/>
                <a:uFillTx/>
                <a:latin typeface="Arial"/>
                <a:ea typeface="+mn-ea"/>
                <a:cs typeface="Arial"/>
              </a:rPr>
              <a:t>less</a:t>
            </a:r>
            <a:r>
              <a:rPr kumimoji="0" sz="1600" b="1" i="0" u="none" strike="noStrike" kern="0" cap="none" spc="-15" normalizeH="0" baseline="0" noProof="0" dirty="0">
                <a:ln>
                  <a:noFill/>
                </a:ln>
                <a:solidFill>
                  <a:srgbClr val="183D8E"/>
                </a:solidFill>
                <a:effectLst/>
                <a:uLnTx/>
                <a:uFillTx/>
                <a:latin typeface="Arial"/>
                <a:ea typeface="+mn-ea"/>
                <a:cs typeface="Arial"/>
              </a:rPr>
              <a:t> </a:t>
            </a:r>
            <a:r>
              <a:rPr kumimoji="0" sz="1600" b="1" i="0" u="none" strike="noStrike" kern="0" cap="none" spc="0" normalizeH="0" baseline="0" noProof="0" dirty="0">
                <a:ln>
                  <a:noFill/>
                </a:ln>
                <a:solidFill>
                  <a:srgbClr val="183D8E"/>
                </a:solidFill>
                <a:effectLst/>
                <a:uLnTx/>
                <a:uFillTx/>
                <a:latin typeface="Arial"/>
                <a:ea typeface="+mn-ea"/>
                <a:cs typeface="Arial"/>
              </a:rPr>
              <a:t>frequent at</a:t>
            </a:r>
            <a:r>
              <a:rPr kumimoji="0" sz="1600" b="1" i="0" u="none" strike="noStrike" kern="0" cap="none" spc="-20" normalizeH="0" baseline="0" noProof="0" dirty="0">
                <a:ln>
                  <a:noFill/>
                </a:ln>
                <a:solidFill>
                  <a:srgbClr val="183D8E"/>
                </a:solidFill>
                <a:effectLst/>
                <a:uLnTx/>
                <a:uFillTx/>
                <a:latin typeface="Arial"/>
                <a:ea typeface="+mn-ea"/>
                <a:cs typeface="Arial"/>
              </a:rPr>
              <a:t> </a:t>
            </a:r>
            <a:r>
              <a:rPr kumimoji="0" sz="1600" b="1" i="0" u="none" strike="noStrike" kern="0" cap="none" spc="-25" normalizeH="0" baseline="0" noProof="0" dirty="0">
                <a:ln>
                  <a:noFill/>
                </a:ln>
                <a:solidFill>
                  <a:srgbClr val="183D8E"/>
                </a:solidFill>
                <a:effectLst/>
                <a:uLnTx/>
                <a:uFillTx/>
                <a:latin typeface="Arial"/>
                <a:ea typeface="+mn-ea"/>
                <a:cs typeface="Arial"/>
              </a:rPr>
              <a:t>the </a:t>
            </a:r>
            <a:r>
              <a:rPr kumimoji="0" sz="1600" b="1" i="0" u="none" strike="noStrike" kern="0" cap="none" spc="0" normalizeH="0" baseline="0" noProof="0" dirty="0">
                <a:ln>
                  <a:noFill/>
                </a:ln>
                <a:solidFill>
                  <a:srgbClr val="183D8E"/>
                </a:solidFill>
                <a:effectLst/>
                <a:uLnTx/>
                <a:uFillTx/>
                <a:latin typeface="Arial"/>
                <a:ea typeface="+mn-ea"/>
                <a:cs typeface="Arial"/>
              </a:rPr>
              <a:t>Lonca</a:t>
            </a:r>
            <a:r>
              <a:rPr kumimoji="0" sz="1600" b="1" i="0" u="none" strike="noStrike" kern="0" cap="none" spc="-30" normalizeH="0" baseline="0" noProof="0" dirty="0">
                <a:ln>
                  <a:noFill/>
                </a:ln>
                <a:solidFill>
                  <a:srgbClr val="183D8E"/>
                </a:solidFill>
                <a:effectLst/>
                <a:uLnTx/>
                <a:uFillTx/>
                <a:latin typeface="Arial"/>
                <a:ea typeface="+mn-ea"/>
                <a:cs typeface="Arial"/>
              </a:rPr>
              <a:t> </a:t>
            </a:r>
            <a:r>
              <a:rPr kumimoji="0" sz="1600" b="1" i="0" u="none" strike="noStrike" kern="0" cap="none" spc="0" normalizeH="0" baseline="0" noProof="0" dirty="0">
                <a:ln>
                  <a:noFill/>
                </a:ln>
                <a:solidFill>
                  <a:srgbClr val="183D8E"/>
                </a:solidFill>
                <a:effectLst/>
                <a:uLnTx/>
                <a:uFillTx/>
                <a:latin typeface="Arial"/>
                <a:ea typeface="+mn-ea"/>
                <a:cs typeface="Arial"/>
              </a:rPr>
              <a:t>150</a:t>
            </a:r>
            <a:r>
              <a:rPr kumimoji="0" sz="1600" b="1" i="0" u="none" strike="noStrike" kern="0" cap="none" spc="-25" normalizeH="0" baseline="0" noProof="0" dirty="0">
                <a:ln>
                  <a:noFill/>
                </a:ln>
                <a:solidFill>
                  <a:srgbClr val="183D8E"/>
                </a:solidFill>
                <a:effectLst/>
                <a:uLnTx/>
                <a:uFillTx/>
                <a:latin typeface="Arial"/>
                <a:ea typeface="+mn-ea"/>
                <a:cs typeface="Arial"/>
              </a:rPr>
              <a:t> </a:t>
            </a:r>
            <a:r>
              <a:rPr kumimoji="0" sz="1600" b="1" i="0" u="none" strike="noStrike" kern="0" cap="none" spc="0" normalizeH="0" baseline="0" noProof="0" dirty="0">
                <a:ln>
                  <a:noFill/>
                </a:ln>
                <a:solidFill>
                  <a:srgbClr val="183D8E"/>
                </a:solidFill>
                <a:effectLst/>
                <a:uLnTx/>
                <a:uFillTx/>
                <a:latin typeface="Arial"/>
                <a:ea typeface="+mn-ea"/>
                <a:cs typeface="Arial"/>
              </a:rPr>
              <a:t>μg/kg</a:t>
            </a:r>
            <a:r>
              <a:rPr kumimoji="0" sz="1600" b="1" i="0" u="none" strike="noStrike" kern="0" cap="none" spc="-30" normalizeH="0" baseline="0" noProof="0" dirty="0">
                <a:ln>
                  <a:noFill/>
                </a:ln>
                <a:solidFill>
                  <a:srgbClr val="183D8E"/>
                </a:solidFill>
                <a:effectLst/>
                <a:uLnTx/>
                <a:uFillTx/>
                <a:latin typeface="Arial"/>
                <a:ea typeface="+mn-ea"/>
                <a:cs typeface="Arial"/>
              </a:rPr>
              <a:t> </a:t>
            </a:r>
            <a:r>
              <a:rPr kumimoji="0" sz="1600" b="1" i="0" u="none" strike="noStrike" kern="0" cap="none" spc="0" normalizeH="0" baseline="0" noProof="0" dirty="0">
                <a:ln>
                  <a:noFill/>
                </a:ln>
                <a:solidFill>
                  <a:srgbClr val="183D8E"/>
                </a:solidFill>
                <a:effectLst/>
                <a:uLnTx/>
                <a:uFillTx/>
                <a:latin typeface="Arial"/>
                <a:ea typeface="+mn-ea"/>
                <a:cs typeface="Arial"/>
              </a:rPr>
              <a:t>starting</a:t>
            </a:r>
            <a:r>
              <a:rPr kumimoji="0" sz="1600" b="1" i="0" u="none" strike="noStrike" kern="0" cap="none" spc="-5" normalizeH="0" baseline="0" noProof="0" dirty="0">
                <a:ln>
                  <a:noFill/>
                </a:ln>
                <a:solidFill>
                  <a:srgbClr val="183D8E"/>
                </a:solidFill>
                <a:effectLst/>
                <a:uLnTx/>
                <a:uFillTx/>
                <a:latin typeface="Arial"/>
                <a:ea typeface="+mn-ea"/>
                <a:cs typeface="Arial"/>
              </a:rPr>
              <a:t> </a:t>
            </a:r>
            <a:r>
              <a:rPr kumimoji="0" sz="1600" b="1" i="0" u="none" strike="noStrike" kern="0" cap="none" spc="0" normalizeH="0" baseline="0" noProof="0" dirty="0">
                <a:ln>
                  <a:noFill/>
                </a:ln>
                <a:solidFill>
                  <a:srgbClr val="183D8E"/>
                </a:solidFill>
                <a:effectLst/>
                <a:uLnTx/>
                <a:uFillTx/>
                <a:latin typeface="Arial"/>
                <a:ea typeface="+mn-ea"/>
                <a:cs typeface="Arial"/>
              </a:rPr>
              <a:t>dose</a:t>
            </a:r>
            <a:r>
              <a:rPr kumimoji="0" sz="1575" b="0" i="0" u="none" strike="noStrike" kern="0" cap="none" spc="0" normalizeH="0" baseline="26455" noProof="0" dirty="0">
                <a:ln>
                  <a:noFill/>
                </a:ln>
                <a:solidFill>
                  <a:srgbClr val="183D8E"/>
                </a:solidFill>
                <a:effectLst/>
                <a:uLnTx/>
                <a:uFillTx/>
                <a:latin typeface="Arial"/>
                <a:ea typeface="+mn-ea"/>
                <a:cs typeface="Arial"/>
              </a:rPr>
              <a:t>b</a:t>
            </a:r>
            <a:r>
              <a:rPr kumimoji="0" sz="1575" b="0" i="0" u="none" strike="noStrike" kern="0" cap="none" spc="179" normalizeH="0" baseline="26455" noProof="0" dirty="0">
                <a:ln>
                  <a:noFill/>
                </a:ln>
                <a:solidFill>
                  <a:srgbClr val="183D8E"/>
                </a:solidFill>
                <a:effectLst/>
                <a:uLnTx/>
                <a:uFillTx/>
                <a:latin typeface="Arial"/>
                <a:ea typeface="+mn-ea"/>
                <a:cs typeface="Arial"/>
              </a:rPr>
              <a:t> </a:t>
            </a:r>
            <a:r>
              <a:rPr kumimoji="0" sz="1600" b="1" i="0" u="none" strike="noStrike" kern="0" cap="none" spc="-10" normalizeH="0" baseline="0" noProof="0" dirty="0">
                <a:ln>
                  <a:noFill/>
                </a:ln>
                <a:solidFill>
                  <a:srgbClr val="183D8E"/>
                </a:solidFill>
                <a:effectLst/>
                <a:uLnTx/>
                <a:uFillTx/>
                <a:latin typeface="Arial"/>
                <a:ea typeface="+mn-ea"/>
                <a:cs typeface="Arial"/>
              </a:rPr>
              <a:t>(23.8%) </a:t>
            </a:r>
            <a:r>
              <a:rPr kumimoji="0" sz="1600" b="1" i="0" u="none" strike="noStrike" kern="0" cap="none" spc="0" normalizeH="0" baseline="0" noProof="0" dirty="0">
                <a:ln>
                  <a:noFill/>
                </a:ln>
                <a:solidFill>
                  <a:srgbClr val="183D8E"/>
                </a:solidFill>
                <a:effectLst/>
                <a:uLnTx/>
                <a:uFillTx/>
                <a:latin typeface="Arial"/>
                <a:ea typeface="+mn-ea"/>
                <a:cs typeface="Arial"/>
              </a:rPr>
              <a:t>than</a:t>
            </a:r>
            <a:r>
              <a:rPr kumimoji="0" sz="1600" b="1" i="0" u="none" strike="noStrike" kern="0" cap="none" spc="-15" normalizeH="0" baseline="0" noProof="0" dirty="0">
                <a:ln>
                  <a:noFill/>
                </a:ln>
                <a:solidFill>
                  <a:srgbClr val="183D8E"/>
                </a:solidFill>
                <a:effectLst/>
                <a:uLnTx/>
                <a:uFillTx/>
                <a:latin typeface="Arial"/>
                <a:ea typeface="+mn-ea"/>
                <a:cs typeface="Arial"/>
              </a:rPr>
              <a:t> </a:t>
            </a:r>
            <a:r>
              <a:rPr kumimoji="0" sz="1600" b="1" i="0" u="none" strike="noStrike" kern="0" cap="none" spc="0" normalizeH="0" baseline="0" noProof="0" dirty="0">
                <a:ln>
                  <a:noFill/>
                </a:ln>
                <a:solidFill>
                  <a:srgbClr val="183D8E"/>
                </a:solidFill>
                <a:effectLst/>
                <a:uLnTx/>
                <a:uFillTx/>
                <a:latin typeface="Arial"/>
                <a:ea typeface="+mn-ea"/>
                <a:cs typeface="Arial"/>
              </a:rPr>
              <a:t>at</a:t>
            </a:r>
            <a:r>
              <a:rPr kumimoji="0" sz="1600" b="1" i="0" u="none" strike="noStrike" kern="0" cap="none" spc="-25" normalizeH="0" baseline="0" noProof="0" dirty="0">
                <a:ln>
                  <a:noFill/>
                </a:ln>
                <a:solidFill>
                  <a:srgbClr val="183D8E"/>
                </a:solidFill>
                <a:effectLst/>
                <a:uLnTx/>
                <a:uFillTx/>
                <a:latin typeface="Arial"/>
                <a:ea typeface="+mn-ea"/>
                <a:cs typeface="Arial"/>
              </a:rPr>
              <a:t> </a:t>
            </a:r>
            <a:r>
              <a:rPr kumimoji="0" sz="1600" b="1" i="0" u="none" strike="noStrike" kern="0" cap="none" spc="0" normalizeH="0" baseline="0" noProof="0" dirty="0">
                <a:ln>
                  <a:noFill/>
                </a:ln>
                <a:solidFill>
                  <a:srgbClr val="183D8E"/>
                </a:solidFill>
                <a:effectLst/>
                <a:uLnTx/>
                <a:uFillTx/>
                <a:latin typeface="Arial"/>
                <a:ea typeface="+mn-ea"/>
                <a:cs typeface="Arial"/>
              </a:rPr>
              <a:t>120</a:t>
            </a:r>
            <a:r>
              <a:rPr kumimoji="0" sz="1600" b="1" i="0" u="none" strike="noStrike" kern="0" cap="none" spc="-25" normalizeH="0" baseline="0" noProof="0" dirty="0">
                <a:ln>
                  <a:noFill/>
                </a:ln>
                <a:solidFill>
                  <a:srgbClr val="183D8E"/>
                </a:solidFill>
                <a:effectLst/>
                <a:uLnTx/>
                <a:uFillTx/>
                <a:latin typeface="Arial"/>
                <a:ea typeface="+mn-ea"/>
                <a:cs typeface="Arial"/>
              </a:rPr>
              <a:t> </a:t>
            </a:r>
            <a:r>
              <a:rPr kumimoji="0" sz="1600" b="1" i="0" u="none" strike="noStrike" kern="0" cap="none" spc="0" normalizeH="0" baseline="0" noProof="0" dirty="0">
                <a:ln>
                  <a:noFill/>
                </a:ln>
                <a:solidFill>
                  <a:srgbClr val="183D8E"/>
                </a:solidFill>
                <a:effectLst/>
                <a:uLnTx/>
                <a:uFillTx/>
                <a:latin typeface="Arial"/>
                <a:ea typeface="+mn-ea"/>
                <a:cs typeface="Arial"/>
              </a:rPr>
              <a:t>μg/kg</a:t>
            </a:r>
            <a:r>
              <a:rPr kumimoji="0" sz="1600" b="1" i="0" u="none" strike="noStrike" kern="0" cap="none" spc="-15" normalizeH="0" baseline="0" noProof="0" dirty="0">
                <a:ln>
                  <a:noFill/>
                </a:ln>
                <a:solidFill>
                  <a:srgbClr val="183D8E"/>
                </a:solidFill>
                <a:effectLst/>
                <a:uLnTx/>
                <a:uFillTx/>
                <a:latin typeface="Arial"/>
                <a:ea typeface="+mn-ea"/>
                <a:cs typeface="Arial"/>
              </a:rPr>
              <a:t> </a:t>
            </a:r>
            <a:r>
              <a:rPr kumimoji="0" sz="1600" b="1" i="0" u="none" strike="noStrike" kern="0" cap="none" spc="0" normalizeH="0" baseline="0" noProof="0" dirty="0">
                <a:ln>
                  <a:noFill/>
                </a:ln>
                <a:solidFill>
                  <a:srgbClr val="183D8E"/>
                </a:solidFill>
                <a:effectLst/>
                <a:uLnTx/>
                <a:uFillTx/>
                <a:latin typeface="Arial"/>
                <a:ea typeface="+mn-ea"/>
                <a:cs typeface="Arial"/>
              </a:rPr>
              <a:t>starting</a:t>
            </a:r>
            <a:r>
              <a:rPr kumimoji="0" sz="1600" b="1" i="0" u="none" strike="noStrike" kern="0" cap="none" spc="-5" normalizeH="0" baseline="0" noProof="0" dirty="0">
                <a:ln>
                  <a:noFill/>
                </a:ln>
                <a:solidFill>
                  <a:srgbClr val="183D8E"/>
                </a:solidFill>
                <a:effectLst/>
                <a:uLnTx/>
                <a:uFillTx/>
                <a:latin typeface="Arial"/>
                <a:ea typeface="+mn-ea"/>
                <a:cs typeface="Arial"/>
              </a:rPr>
              <a:t> </a:t>
            </a:r>
            <a:r>
              <a:rPr kumimoji="0" sz="1600" b="1" i="0" u="none" strike="noStrike" kern="0" cap="none" spc="0" normalizeH="0" baseline="0" noProof="0" dirty="0">
                <a:ln>
                  <a:noFill/>
                </a:ln>
                <a:solidFill>
                  <a:srgbClr val="183D8E"/>
                </a:solidFill>
                <a:effectLst/>
                <a:uLnTx/>
                <a:uFillTx/>
                <a:latin typeface="Arial"/>
                <a:ea typeface="+mn-ea"/>
                <a:cs typeface="Arial"/>
              </a:rPr>
              <a:t>dose</a:t>
            </a:r>
            <a:r>
              <a:rPr kumimoji="0" sz="1575" b="0" i="0" u="none" strike="noStrike" kern="0" cap="none" spc="0" normalizeH="0" baseline="26455" noProof="0" dirty="0">
                <a:ln>
                  <a:noFill/>
                </a:ln>
                <a:solidFill>
                  <a:srgbClr val="183D8E"/>
                </a:solidFill>
                <a:effectLst/>
                <a:uLnTx/>
                <a:uFillTx/>
                <a:latin typeface="Arial"/>
                <a:ea typeface="+mn-ea"/>
                <a:cs typeface="Arial"/>
              </a:rPr>
              <a:t>b</a:t>
            </a:r>
            <a:r>
              <a:rPr kumimoji="0" sz="1575" b="0" i="0" u="none" strike="noStrike" kern="0" cap="none" spc="187" normalizeH="0" baseline="26455" noProof="0" dirty="0">
                <a:ln>
                  <a:noFill/>
                </a:ln>
                <a:solidFill>
                  <a:srgbClr val="183D8E"/>
                </a:solidFill>
                <a:effectLst/>
                <a:uLnTx/>
                <a:uFillTx/>
                <a:latin typeface="Arial"/>
                <a:ea typeface="+mn-ea"/>
                <a:cs typeface="Arial"/>
              </a:rPr>
              <a:t> </a:t>
            </a:r>
            <a:r>
              <a:rPr kumimoji="0" sz="1600" b="1" i="0" u="none" strike="noStrike" kern="0" cap="none" spc="-10" normalizeH="0" baseline="0" noProof="0" dirty="0">
                <a:ln>
                  <a:noFill/>
                </a:ln>
                <a:solidFill>
                  <a:srgbClr val="183D8E"/>
                </a:solidFill>
                <a:effectLst/>
                <a:uLnTx/>
                <a:uFillTx/>
                <a:latin typeface="Arial"/>
                <a:ea typeface="+mn-ea"/>
                <a:cs typeface="Arial"/>
              </a:rPr>
              <a:t>(55.0%)</a:t>
            </a:r>
            <a:endParaRPr kumimoji="0" sz="16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11" name="TextBox 10">
            <a:extLst>
              <a:ext uri="{FF2B5EF4-FFF2-40B4-BE49-F238E27FC236}">
                <a16:creationId xmlns:a16="http://schemas.microsoft.com/office/drawing/2014/main" id="{BDC76467-11BC-7B6D-9F69-702F8B375757}"/>
              </a:ext>
            </a:extLst>
          </p:cNvPr>
          <p:cNvSpPr txBox="1"/>
          <p:nvPr/>
        </p:nvSpPr>
        <p:spPr>
          <a:xfrm>
            <a:off x="7573771" y="6599555"/>
            <a:ext cx="4616970"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a:ea typeface="+mn-ea"/>
                <a:cs typeface="Arial"/>
              </a:rPr>
              <a:t>Alderuccio JP et al. Oral presentation presented at 18-ICML (17–21 June 2025)</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316991" y="1090983"/>
            <a:ext cx="6372860" cy="4943475"/>
            <a:chOff x="316991" y="1362455"/>
            <a:chExt cx="6372860" cy="4943475"/>
          </a:xfrm>
        </p:grpSpPr>
        <p:pic>
          <p:nvPicPr>
            <p:cNvPr id="3" name="object 3"/>
            <p:cNvPicPr/>
            <p:nvPr/>
          </p:nvPicPr>
          <p:blipFill>
            <a:blip r:embed="rId2" cstate="print"/>
            <a:stretch>
              <a:fillRect/>
            </a:stretch>
          </p:blipFill>
          <p:spPr>
            <a:xfrm>
              <a:off x="316991" y="1362455"/>
              <a:ext cx="6372606" cy="4943094"/>
            </a:xfrm>
            <a:prstGeom prst="rect">
              <a:avLst/>
            </a:prstGeom>
          </p:spPr>
        </p:pic>
        <p:sp>
          <p:nvSpPr>
            <p:cNvPr id="4" name="object 4"/>
            <p:cNvSpPr/>
            <p:nvPr/>
          </p:nvSpPr>
          <p:spPr>
            <a:xfrm>
              <a:off x="1277238" y="1992883"/>
              <a:ext cx="0" cy="3617595"/>
            </a:xfrm>
            <a:custGeom>
              <a:avLst/>
              <a:gdLst/>
              <a:ahLst/>
              <a:cxnLst/>
              <a:rect l="l" t="t" r="r" b="b"/>
              <a:pathLst>
                <a:path h="3617595">
                  <a:moveTo>
                    <a:pt x="0" y="3616998"/>
                  </a:moveTo>
                  <a:lnTo>
                    <a:pt x="0" y="0"/>
                  </a:lnTo>
                </a:path>
              </a:pathLst>
            </a:custGeom>
            <a:ln w="9525">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5" name="object 5"/>
          <p:cNvSpPr txBox="1"/>
          <p:nvPr/>
        </p:nvSpPr>
        <p:spPr>
          <a:xfrm>
            <a:off x="1674876" y="2201979"/>
            <a:ext cx="864235" cy="3136900"/>
          </a:xfrm>
          <a:prstGeom prst="rect">
            <a:avLst/>
          </a:prstGeom>
          <a:solidFill>
            <a:srgbClr val="168000"/>
          </a:solid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a:ln>
                <a:noFill/>
              </a:ln>
              <a:solidFill>
                <a:sysClr val="windowText" lastClr="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a:ln>
                <a:noFill/>
              </a:ln>
              <a:solidFill>
                <a:sysClr val="windowText" lastClr="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a:ln>
                <a:noFill/>
              </a:ln>
              <a:solidFill>
                <a:sysClr val="windowText" lastClr="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a:ln>
                <a:noFill/>
              </a:ln>
              <a:solidFill>
                <a:sysClr val="windowText" lastClr="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a:ln>
                <a:noFill/>
              </a:ln>
              <a:solidFill>
                <a:sysClr val="windowText" lastClr="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a:ln>
                <a:noFill/>
              </a:ln>
              <a:solidFill>
                <a:sysClr val="windowText" lastClr="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190"/>
              </a:spcBef>
              <a:spcAft>
                <a:spcPts val="0"/>
              </a:spcAft>
              <a:buClrTx/>
              <a:buSzTx/>
              <a:buFontTx/>
              <a:buNone/>
              <a:tabLst/>
              <a:defRPr/>
            </a:pPr>
            <a:endParaRPr kumimoji="0" sz="1400" b="0" i="0" u="none" strike="noStrike" kern="0" cap="none" spc="0" normalizeH="0" baseline="0" noProof="0">
              <a:ln>
                <a:noFill/>
              </a:ln>
              <a:solidFill>
                <a:sysClr val="windowText" lastClr="000000"/>
              </a:solidFill>
              <a:effectLst/>
              <a:uLnTx/>
              <a:uFillTx/>
              <a:latin typeface="Times New Roman"/>
              <a:ea typeface="+mn-ea"/>
              <a:cs typeface="Times New Roman"/>
            </a:endParaRPr>
          </a:p>
          <a:p>
            <a:pPr marL="257810" marR="0" lvl="0" indent="0" algn="l" defTabSz="914400" rtl="0" eaLnBrk="1" fontAlgn="auto" latinLnBrk="0" hangingPunct="1">
              <a:lnSpc>
                <a:spcPct val="100000"/>
              </a:lnSpc>
              <a:spcBef>
                <a:spcPts val="0"/>
              </a:spcBef>
              <a:spcAft>
                <a:spcPts val="0"/>
              </a:spcAft>
              <a:buClrTx/>
              <a:buSzTx/>
              <a:buFontTx/>
              <a:buNone/>
              <a:tabLst/>
              <a:defRPr/>
            </a:pPr>
            <a:r>
              <a:rPr kumimoji="0" sz="1400" b="0" i="0" u="none" strike="noStrike" kern="0" cap="none" spc="-20" normalizeH="0" baseline="0" noProof="0" dirty="0">
                <a:ln>
                  <a:noFill/>
                </a:ln>
                <a:solidFill>
                  <a:srgbClr val="FFFFFF"/>
                </a:solidFill>
                <a:effectLst/>
                <a:uLnTx/>
                <a:uFillTx/>
                <a:latin typeface="Arial"/>
                <a:ea typeface="+mn-ea"/>
                <a:cs typeface="Arial"/>
              </a:rPr>
              <a:t>86.7</a:t>
            </a:r>
            <a:endParaRPr kumimoji="0" sz="14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6" name="object 6"/>
          <p:cNvSpPr txBox="1"/>
          <p:nvPr/>
        </p:nvSpPr>
        <p:spPr>
          <a:xfrm>
            <a:off x="3334511" y="2201979"/>
            <a:ext cx="866140" cy="3136900"/>
          </a:xfrm>
          <a:prstGeom prst="rect">
            <a:avLst/>
          </a:prstGeom>
          <a:solidFill>
            <a:srgbClr val="168000"/>
          </a:solid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ysClr val="windowText" lastClr="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ysClr val="windowText" lastClr="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ysClr val="windowText" lastClr="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ysClr val="windowText" lastClr="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ysClr val="windowText" lastClr="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ysClr val="windowText" lastClr="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190"/>
              </a:spcBef>
              <a:spcAft>
                <a:spcPts val="0"/>
              </a:spcAft>
              <a:buClrTx/>
              <a:buSzTx/>
              <a:buFontTx/>
              <a:buNone/>
              <a:tabLst/>
              <a:defRPr/>
            </a:pPr>
            <a:endParaRPr kumimoji="0" sz="1400" b="0" i="0" u="none" strike="noStrike" kern="0" cap="none" spc="0" normalizeH="0" baseline="0" noProof="0" dirty="0">
              <a:ln>
                <a:noFill/>
              </a:ln>
              <a:solidFill>
                <a:sysClr val="windowText" lastClr="000000"/>
              </a:solidFill>
              <a:effectLst/>
              <a:uLnTx/>
              <a:uFillTx/>
              <a:latin typeface="Times New Roman"/>
              <a:ea typeface="+mn-ea"/>
              <a:cs typeface="Times New Roman"/>
            </a:endParaRPr>
          </a:p>
          <a:p>
            <a:pPr marL="258445" marR="0" lvl="0" indent="0" algn="l" defTabSz="914400" rtl="0" eaLnBrk="1" fontAlgn="auto" latinLnBrk="0" hangingPunct="1">
              <a:lnSpc>
                <a:spcPct val="100000"/>
              </a:lnSpc>
              <a:spcBef>
                <a:spcPts val="0"/>
              </a:spcBef>
              <a:spcAft>
                <a:spcPts val="0"/>
              </a:spcAft>
              <a:buClrTx/>
              <a:buSzTx/>
              <a:buFontTx/>
              <a:buNone/>
              <a:tabLst/>
              <a:defRPr/>
            </a:pPr>
            <a:r>
              <a:rPr kumimoji="0" sz="1400" b="0" i="0" u="none" strike="noStrike" kern="0" cap="none" spc="-20" normalizeH="0" baseline="0" noProof="0" dirty="0">
                <a:ln>
                  <a:noFill/>
                </a:ln>
                <a:solidFill>
                  <a:srgbClr val="FFFFFF"/>
                </a:solidFill>
                <a:effectLst/>
                <a:uLnTx/>
                <a:uFillTx/>
                <a:latin typeface="Arial"/>
                <a:ea typeface="+mn-ea"/>
                <a:cs typeface="Arial"/>
              </a:rPr>
              <a:t>86.7</a:t>
            </a:r>
            <a:endParaRPr kumimoji="0" sz="1400" b="0" i="0" u="none" strike="noStrike" kern="0" cap="none" spc="0" normalizeH="0" baseline="0" noProof="0" dirty="0">
              <a:ln>
                <a:noFill/>
              </a:ln>
              <a:solidFill>
                <a:sysClr val="windowText" lastClr="000000"/>
              </a:solidFill>
              <a:effectLst/>
              <a:uLnTx/>
              <a:uFillTx/>
              <a:latin typeface="Arial"/>
              <a:ea typeface="+mn-ea"/>
              <a:cs typeface="Arial"/>
            </a:endParaRPr>
          </a:p>
        </p:txBody>
      </p:sp>
      <p:sp>
        <p:nvSpPr>
          <p:cNvPr id="7" name="object 7"/>
          <p:cNvSpPr txBox="1"/>
          <p:nvPr/>
        </p:nvSpPr>
        <p:spPr>
          <a:xfrm>
            <a:off x="4994147" y="2201979"/>
            <a:ext cx="866140" cy="3136900"/>
          </a:xfrm>
          <a:prstGeom prst="rect">
            <a:avLst/>
          </a:prstGeom>
          <a:solidFill>
            <a:srgbClr val="168000"/>
          </a:solid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a:ln>
                <a:noFill/>
              </a:ln>
              <a:solidFill>
                <a:sysClr val="windowText" lastClr="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a:ln>
                <a:noFill/>
              </a:ln>
              <a:solidFill>
                <a:sysClr val="windowText" lastClr="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a:ln>
                <a:noFill/>
              </a:ln>
              <a:solidFill>
                <a:sysClr val="windowText" lastClr="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a:ln>
                <a:noFill/>
              </a:ln>
              <a:solidFill>
                <a:sysClr val="windowText" lastClr="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a:ln>
                <a:noFill/>
              </a:ln>
              <a:solidFill>
                <a:sysClr val="windowText" lastClr="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a:ln>
                <a:noFill/>
              </a:ln>
              <a:solidFill>
                <a:sysClr val="windowText" lastClr="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190"/>
              </a:spcBef>
              <a:spcAft>
                <a:spcPts val="0"/>
              </a:spcAft>
              <a:buClrTx/>
              <a:buSzTx/>
              <a:buFontTx/>
              <a:buNone/>
              <a:tabLst/>
              <a:defRPr/>
            </a:pPr>
            <a:endParaRPr kumimoji="0" sz="1400" b="0" i="0" u="none" strike="noStrike" kern="0" cap="none" spc="0" normalizeH="0" baseline="0" noProof="0">
              <a:ln>
                <a:noFill/>
              </a:ln>
              <a:solidFill>
                <a:sysClr val="windowText" lastClr="000000"/>
              </a:solidFill>
              <a:effectLst/>
              <a:uLnTx/>
              <a:uFillTx/>
              <a:latin typeface="Times New Roman"/>
              <a:ea typeface="+mn-ea"/>
              <a:cs typeface="Times New Roman"/>
            </a:endParaRPr>
          </a:p>
          <a:p>
            <a:pPr marL="258445" marR="0" lvl="0" indent="0" algn="l" defTabSz="914400" rtl="0" eaLnBrk="1" fontAlgn="auto" latinLnBrk="0" hangingPunct="1">
              <a:lnSpc>
                <a:spcPct val="100000"/>
              </a:lnSpc>
              <a:spcBef>
                <a:spcPts val="0"/>
              </a:spcBef>
              <a:spcAft>
                <a:spcPts val="0"/>
              </a:spcAft>
              <a:buClrTx/>
              <a:buSzTx/>
              <a:buFontTx/>
              <a:buNone/>
              <a:tabLst/>
              <a:defRPr/>
            </a:pPr>
            <a:r>
              <a:rPr kumimoji="0" sz="1400" b="0" i="0" u="none" strike="noStrike" kern="0" cap="none" spc="-20" normalizeH="0" baseline="0" noProof="0" dirty="0">
                <a:ln>
                  <a:noFill/>
                </a:ln>
                <a:solidFill>
                  <a:srgbClr val="FFFFFF"/>
                </a:solidFill>
                <a:effectLst/>
                <a:uLnTx/>
                <a:uFillTx/>
                <a:latin typeface="Arial"/>
                <a:ea typeface="+mn-ea"/>
                <a:cs typeface="Arial"/>
              </a:rPr>
              <a:t>86.7</a:t>
            </a:r>
            <a:endParaRPr kumimoji="0" sz="14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8" name="object 8"/>
          <p:cNvSpPr txBox="1"/>
          <p:nvPr/>
        </p:nvSpPr>
        <p:spPr>
          <a:xfrm>
            <a:off x="1674876" y="1959663"/>
            <a:ext cx="864235" cy="242570"/>
          </a:xfrm>
          <a:prstGeom prst="rect">
            <a:avLst/>
          </a:prstGeom>
          <a:solidFill>
            <a:srgbClr val="602FB1"/>
          </a:solidFill>
        </p:spPr>
        <p:txBody>
          <a:bodyPr vert="horz" wrap="square" lIns="0" tIns="8255" rIns="0" bIns="0" rtlCol="0">
            <a:spAutoFit/>
          </a:bodyPr>
          <a:lstStyle/>
          <a:p>
            <a:pPr marL="0" marR="0" lvl="0" indent="0" algn="ctr" defTabSz="914400" rtl="0" eaLnBrk="1" fontAlgn="auto" latinLnBrk="0" hangingPunct="1">
              <a:lnSpc>
                <a:spcPct val="100000"/>
              </a:lnSpc>
              <a:spcBef>
                <a:spcPts val="65"/>
              </a:spcBef>
              <a:spcAft>
                <a:spcPts val="0"/>
              </a:spcAft>
              <a:buClrTx/>
              <a:buSzTx/>
              <a:buFontTx/>
              <a:buNone/>
              <a:tabLst/>
              <a:defRPr/>
            </a:pPr>
            <a:r>
              <a:rPr kumimoji="0" sz="1400" b="0" i="0" u="none" strike="noStrike" kern="0" cap="none" spc="-25" normalizeH="0" baseline="0" noProof="0" dirty="0">
                <a:ln>
                  <a:noFill/>
                </a:ln>
                <a:solidFill>
                  <a:srgbClr val="FFFFFF"/>
                </a:solidFill>
                <a:effectLst/>
                <a:uLnTx/>
                <a:uFillTx/>
                <a:latin typeface="Arial"/>
                <a:ea typeface="+mn-ea"/>
                <a:cs typeface="Arial"/>
              </a:rPr>
              <a:t>6.7</a:t>
            </a:r>
            <a:endParaRPr kumimoji="0" sz="14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9" name="object 9"/>
          <p:cNvSpPr txBox="1"/>
          <p:nvPr/>
        </p:nvSpPr>
        <p:spPr>
          <a:xfrm>
            <a:off x="3334511" y="1959663"/>
            <a:ext cx="866140" cy="242570"/>
          </a:xfrm>
          <a:prstGeom prst="rect">
            <a:avLst/>
          </a:prstGeom>
          <a:solidFill>
            <a:srgbClr val="602FB1"/>
          </a:solidFill>
        </p:spPr>
        <p:txBody>
          <a:bodyPr vert="horz" wrap="square" lIns="0" tIns="8255" rIns="0" bIns="0" rtlCol="0">
            <a:spAutoFit/>
          </a:bodyPr>
          <a:lstStyle/>
          <a:p>
            <a:pPr marL="0" marR="0" lvl="0" indent="0" algn="ctr" defTabSz="914400" rtl="0" eaLnBrk="1" fontAlgn="auto" latinLnBrk="0" hangingPunct="1">
              <a:lnSpc>
                <a:spcPct val="100000"/>
              </a:lnSpc>
              <a:spcBef>
                <a:spcPts val="65"/>
              </a:spcBef>
              <a:spcAft>
                <a:spcPts val="0"/>
              </a:spcAft>
              <a:buClrTx/>
              <a:buSzTx/>
              <a:buFontTx/>
              <a:buNone/>
              <a:tabLst/>
              <a:defRPr/>
            </a:pPr>
            <a:r>
              <a:rPr kumimoji="0" sz="1400" b="0" i="0" u="none" strike="noStrike" kern="0" cap="none" spc="-25" normalizeH="0" baseline="0" noProof="0" dirty="0">
                <a:ln>
                  <a:noFill/>
                </a:ln>
                <a:solidFill>
                  <a:srgbClr val="FFFFFF"/>
                </a:solidFill>
                <a:effectLst/>
                <a:uLnTx/>
                <a:uFillTx/>
                <a:latin typeface="Arial"/>
                <a:ea typeface="+mn-ea"/>
                <a:cs typeface="Arial"/>
              </a:rPr>
              <a:t>6.7</a:t>
            </a:r>
            <a:endParaRPr kumimoji="0" sz="14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10" name="object 10"/>
          <p:cNvSpPr txBox="1"/>
          <p:nvPr/>
        </p:nvSpPr>
        <p:spPr>
          <a:xfrm>
            <a:off x="4994147" y="1959663"/>
            <a:ext cx="866140" cy="242570"/>
          </a:xfrm>
          <a:prstGeom prst="rect">
            <a:avLst/>
          </a:prstGeom>
          <a:solidFill>
            <a:srgbClr val="602FB1"/>
          </a:solidFill>
        </p:spPr>
        <p:txBody>
          <a:bodyPr vert="horz" wrap="square" lIns="0" tIns="8255" rIns="0" bIns="0" rtlCol="0">
            <a:spAutoFit/>
          </a:bodyPr>
          <a:lstStyle/>
          <a:p>
            <a:pPr marL="635" marR="0" lvl="0" indent="0" algn="ctr" defTabSz="914400" rtl="0" eaLnBrk="1" fontAlgn="auto" latinLnBrk="0" hangingPunct="1">
              <a:lnSpc>
                <a:spcPct val="100000"/>
              </a:lnSpc>
              <a:spcBef>
                <a:spcPts val="65"/>
              </a:spcBef>
              <a:spcAft>
                <a:spcPts val="0"/>
              </a:spcAft>
              <a:buClrTx/>
              <a:buSzTx/>
              <a:buFontTx/>
              <a:buNone/>
              <a:tabLst/>
              <a:defRPr/>
            </a:pPr>
            <a:r>
              <a:rPr kumimoji="0" sz="1400" b="0" i="0" u="none" strike="noStrike" kern="0" cap="none" spc="-25" normalizeH="0" baseline="0" noProof="0" dirty="0">
                <a:ln>
                  <a:noFill/>
                </a:ln>
                <a:solidFill>
                  <a:srgbClr val="FFFFFF"/>
                </a:solidFill>
                <a:effectLst/>
                <a:uLnTx/>
                <a:uFillTx/>
                <a:latin typeface="Arial"/>
                <a:ea typeface="+mn-ea"/>
                <a:cs typeface="Arial"/>
              </a:rPr>
              <a:t>6.7</a:t>
            </a:r>
            <a:endParaRPr kumimoji="0" sz="14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11" name="object 11"/>
          <p:cNvSpPr txBox="1"/>
          <p:nvPr/>
        </p:nvSpPr>
        <p:spPr>
          <a:xfrm>
            <a:off x="815136" y="1587935"/>
            <a:ext cx="322580" cy="3857625"/>
          </a:xfrm>
          <a:prstGeom prst="rect">
            <a:avLst/>
          </a:prstGeom>
        </p:spPr>
        <p:txBody>
          <a:bodyPr vert="horz" wrap="square" lIns="0" tIns="13335" rIns="0" bIns="0" rtlCol="0">
            <a:spAutoFit/>
          </a:bodyPr>
          <a:lstStyle/>
          <a:p>
            <a:pPr marL="0" marR="5080" lvl="0" indent="0" algn="r" defTabSz="914400" rtl="0" eaLnBrk="1" fontAlgn="auto" latinLnBrk="0" hangingPunct="1">
              <a:lnSpc>
                <a:spcPct val="100000"/>
              </a:lnSpc>
              <a:spcBef>
                <a:spcPts val="105"/>
              </a:spcBef>
              <a:spcAft>
                <a:spcPts val="0"/>
              </a:spcAft>
              <a:buClrTx/>
              <a:buSzTx/>
              <a:buFontTx/>
              <a:buNone/>
              <a:tabLst/>
              <a:defRPr/>
            </a:pPr>
            <a:r>
              <a:rPr kumimoji="0" sz="1400" b="0" i="0" u="none" strike="noStrike" kern="0" cap="none" spc="-25" normalizeH="0" baseline="0" noProof="0" dirty="0">
                <a:ln>
                  <a:noFill/>
                </a:ln>
                <a:solidFill>
                  <a:sysClr val="windowText" lastClr="000000"/>
                </a:solidFill>
                <a:effectLst/>
                <a:uLnTx/>
                <a:uFillTx/>
                <a:latin typeface="Arial"/>
                <a:ea typeface="+mn-ea"/>
                <a:cs typeface="Arial"/>
              </a:rPr>
              <a:t>100</a:t>
            </a:r>
            <a:endParaRPr kumimoji="0" sz="1400" b="0" i="0" u="none" strike="noStrike" kern="0" cap="none" spc="0" normalizeH="0" baseline="0" noProof="0">
              <a:ln>
                <a:noFill/>
              </a:ln>
              <a:solidFill>
                <a:sysClr val="windowText" lastClr="000000"/>
              </a:solidFill>
              <a:effectLst/>
              <a:uLnTx/>
              <a:uFillTx/>
              <a:latin typeface="Arial"/>
              <a:ea typeface="+mn-ea"/>
              <a:cs typeface="Arial"/>
            </a:endParaRPr>
          </a:p>
          <a:p>
            <a:pPr marL="0" marR="5080" lvl="0" indent="0" algn="r" defTabSz="914400" rtl="0" eaLnBrk="1" fontAlgn="auto" latinLnBrk="0" hangingPunct="1">
              <a:lnSpc>
                <a:spcPct val="100000"/>
              </a:lnSpc>
              <a:spcBef>
                <a:spcPts val="1165"/>
              </a:spcBef>
              <a:spcAft>
                <a:spcPts val="0"/>
              </a:spcAft>
              <a:buClrTx/>
              <a:buSzTx/>
              <a:buFontTx/>
              <a:buNone/>
              <a:tabLst/>
              <a:defRPr/>
            </a:pPr>
            <a:r>
              <a:rPr kumimoji="0" sz="1400" b="0" i="0" u="none" strike="noStrike" kern="0" cap="none" spc="-25" normalizeH="0" baseline="0" noProof="0" dirty="0">
                <a:ln>
                  <a:noFill/>
                </a:ln>
                <a:solidFill>
                  <a:sysClr val="windowText" lastClr="000000"/>
                </a:solidFill>
                <a:effectLst/>
                <a:uLnTx/>
                <a:uFillTx/>
                <a:latin typeface="Arial"/>
                <a:ea typeface="+mn-ea"/>
                <a:cs typeface="Arial"/>
              </a:rPr>
              <a:t>90</a:t>
            </a:r>
            <a:endParaRPr kumimoji="0" sz="1400" b="0" i="0" u="none" strike="noStrike" kern="0" cap="none" spc="0" normalizeH="0" baseline="0" noProof="0">
              <a:ln>
                <a:noFill/>
              </a:ln>
              <a:solidFill>
                <a:sysClr val="windowText" lastClr="000000"/>
              </a:solidFill>
              <a:effectLst/>
              <a:uLnTx/>
              <a:uFillTx/>
              <a:latin typeface="Arial"/>
              <a:ea typeface="+mn-ea"/>
              <a:cs typeface="Arial"/>
            </a:endParaRPr>
          </a:p>
          <a:p>
            <a:pPr marL="0" marR="5080" lvl="0" indent="0" algn="r" defTabSz="914400" rtl="0" eaLnBrk="1" fontAlgn="auto" latinLnBrk="0" hangingPunct="1">
              <a:lnSpc>
                <a:spcPct val="100000"/>
              </a:lnSpc>
              <a:spcBef>
                <a:spcPts val="1170"/>
              </a:spcBef>
              <a:spcAft>
                <a:spcPts val="0"/>
              </a:spcAft>
              <a:buClrTx/>
              <a:buSzTx/>
              <a:buFontTx/>
              <a:buNone/>
              <a:tabLst/>
              <a:defRPr/>
            </a:pPr>
            <a:r>
              <a:rPr kumimoji="0" sz="1400" b="0" i="0" u="none" strike="noStrike" kern="0" cap="none" spc="-25" normalizeH="0" baseline="0" noProof="0" dirty="0">
                <a:ln>
                  <a:noFill/>
                </a:ln>
                <a:solidFill>
                  <a:sysClr val="windowText" lastClr="000000"/>
                </a:solidFill>
                <a:effectLst/>
                <a:uLnTx/>
                <a:uFillTx/>
                <a:latin typeface="Arial"/>
                <a:ea typeface="+mn-ea"/>
                <a:cs typeface="Arial"/>
              </a:rPr>
              <a:t>80</a:t>
            </a:r>
            <a:endParaRPr kumimoji="0" sz="1400" b="0" i="0" u="none" strike="noStrike" kern="0" cap="none" spc="0" normalizeH="0" baseline="0" noProof="0">
              <a:ln>
                <a:noFill/>
              </a:ln>
              <a:solidFill>
                <a:sysClr val="windowText" lastClr="000000"/>
              </a:solidFill>
              <a:effectLst/>
              <a:uLnTx/>
              <a:uFillTx/>
              <a:latin typeface="Arial"/>
              <a:ea typeface="+mn-ea"/>
              <a:cs typeface="Arial"/>
            </a:endParaRPr>
          </a:p>
          <a:p>
            <a:pPr marL="0" marR="5080" lvl="0" indent="0" algn="r" defTabSz="914400" rtl="0" eaLnBrk="1" fontAlgn="auto" latinLnBrk="0" hangingPunct="1">
              <a:lnSpc>
                <a:spcPct val="100000"/>
              </a:lnSpc>
              <a:spcBef>
                <a:spcPts val="1170"/>
              </a:spcBef>
              <a:spcAft>
                <a:spcPts val="0"/>
              </a:spcAft>
              <a:buClrTx/>
              <a:buSzTx/>
              <a:buFontTx/>
              <a:buNone/>
              <a:tabLst/>
              <a:defRPr/>
            </a:pPr>
            <a:r>
              <a:rPr kumimoji="0" sz="1400" b="0" i="0" u="none" strike="noStrike" kern="0" cap="none" spc="-25" normalizeH="0" baseline="0" noProof="0" dirty="0">
                <a:ln>
                  <a:noFill/>
                </a:ln>
                <a:solidFill>
                  <a:sysClr val="windowText" lastClr="000000"/>
                </a:solidFill>
                <a:effectLst/>
                <a:uLnTx/>
                <a:uFillTx/>
                <a:latin typeface="Arial"/>
                <a:ea typeface="+mn-ea"/>
                <a:cs typeface="Arial"/>
              </a:rPr>
              <a:t>70</a:t>
            </a:r>
            <a:endParaRPr kumimoji="0" sz="1400" b="0" i="0" u="none" strike="noStrike" kern="0" cap="none" spc="0" normalizeH="0" baseline="0" noProof="0">
              <a:ln>
                <a:noFill/>
              </a:ln>
              <a:solidFill>
                <a:sysClr val="windowText" lastClr="000000"/>
              </a:solidFill>
              <a:effectLst/>
              <a:uLnTx/>
              <a:uFillTx/>
              <a:latin typeface="Arial"/>
              <a:ea typeface="+mn-ea"/>
              <a:cs typeface="Arial"/>
            </a:endParaRPr>
          </a:p>
          <a:p>
            <a:pPr marL="0" marR="5080" lvl="0" indent="0" algn="r" defTabSz="914400" rtl="0" eaLnBrk="1" fontAlgn="auto" latinLnBrk="0" hangingPunct="1">
              <a:lnSpc>
                <a:spcPct val="100000"/>
              </a:lnSpc>
              <a:spcBef>
                <a:spcPts val="1165"/>
              </a:spcBef>
              <a:spcAft>
                <a:spcPts val="0"/>
              </a:spcAft>
              <a:buClrTx/>
              <a:buSzTx/>
              <a:buFontTx/>
              <a:buNone/>
              <a:tabLst/>
              <a:defRPr/>
            </a:pPr>
            <a:r>
              <a:rPr kumimoji="0" sz="1400" b="0" i="0" u="none" strike="noStrike" kern="0" cap="none" spc="-25" normalizeH="0" baseline="0" noProof="0" dirty="0">
                <a:ln>
                  <a:noFill/>
                </a:ln>
                <a:solidFill>
                  <a:sysClr val="windowText" lastClr="000000"/>
                </a:solidFill>
                <a:effectLst/>
                <a:uLnTx/>
                <a:uFillTx/>
                <a:latin typeface="Arial"/>
                <a:ea typeface="+mn-ea"/>
                <a:cs typeface="Arial"/>
              </a:rPr>
              <a:t>60</a:t>
            </a:r>
            <a:endParaRPr kumimoji="0" sz="1400" b="0" i="0" u="none" strike="noStrike" kern="0" cap="none" spc="0" normalizeH="0" baseline="0" noProof="0">
              <a:ln>
                <a:noFill/>
              </a:ln>
              <a:solidFill>
                <a:sysClr val="windowText" lastClr="000000"/>
              </a:solidFill>
              <a:effectLst/>
              <a:uLnTx/>
              <a:uFillTx/>
              <a:latin typeface="Arial"/>
              <a:ea typeface="+mn-ea"/>
              <a:cs typeface="Arial"/>
            </a:endParaRPr>
          </a:p>
          <a:p>
            <a:pPr marL="0" marR="5080" lvl="0" indent="0" algn="r" defTabSz="914400" rtl="0" eaLnBrk="1" fontAlgn="auto" latinLnBrk="0" hangingPunct="1">
              <a:lnSpc>
                <a:spcPct val="100000"/>
              </a:lnSpc>
              <a:spcBef>
                <a:spcPts val="1170"/>
              </a:spcBef>
              <a:spcAft>
                <a:spcPts val="0"/>
              </a:spcAft>
              <a:buClrTx/>
              <a:buSzTx/>
              <a:buFontTx/>
              <a:buNone/>
              <a:tabLst/>
              <a:defRPr/>
            </a:pPr>
            <a:r>
              <a:rPr kumimoji="0" sz="1400" b="0" i="0" u="none" strike="noStrike" kern="0" cap="none" spc="-25" normalizeH="0" baseline="0" noProof="0" dirty="0">
                <a:ln>
                  <a:noFill/>
                </a:ln>
                <a:solidFill>
                  <a:sysClr val="windowText" lastClr="000000"/>
                </a:solidFill>
                <a:effectLst/>
                <a:uLnTx/>
                <a:uFillTx/>
                <a:latin typeface="Arial"/>
                <a:ea typeface="+mn-ea"/>
                <a:cs typeface="Arial"/>
              </a:rPr>
              <a:t>50</a:t>
            </a:r>
            <a:endParaRPr kumimoji="0" sz="1400" b="0" i="0" u="none" strike="noStrike" kern="0" cap="none" spc="0" normalizeH="0" baseline="0" noProof="0">
              <a:ln>
                <a:noFill/>
              </a:ln>
              <a:solidFill>
                <a:sysClr val="windowText" lastClr="000000"/>
              </a:solidFill>
              <a:effectLst/>
              <a:uLnTx/>
              <a:uFillTx/>
              <a:latin typeface="Arial"/>
              <a:ea typeface="+mn-ea"/>
              <a:cs typeface="Arial"/>
            </a:endParaRPr>
          </a:p>
          <a:p>
            <a:pPr marL="0" marR="5080" lvl="0" indent="0" algn="r" defTabSz="914400" rtl="0" eaLnBrk="1" fontAlgn="auto" latinLnBrk="0" hangingPunct="1">
              <a:lnSpc>
                <a:spcPct val="100000"/>
              </a:lnSpc>
              <a:spcBef>
                <a:spcPts val="1165"/>
              </a:spcBef>
              <a:spcAft>
                <a:spcPts val="0"/>
              </a:spcAft>
              <a:buClrTx/>
              <a:buSzTx/>
              <a:buFontTx/>
              <a:buNone/>
              <a:tabLst/>
              <a:defRPr/>
            </a:pPr>
            <a:r>
              <a:rPr kumimoji="0" sz="1400" b="0" i="0" u="none" strike="noStrike" kern="0" cap="none" spc="-25" normalizeH="0" baseline="0" noProof="0" dirty="0">
                <a:ln>
                  <a:noFill/>
                </a:ln>
                <a:solidFill>
                  <a:sysClr val="windowText" lastClr="000000"/>
                </a:solidFill>
                <a:effectLst/>
                <a:uLnTx/>
                <a:uFillTx/>
                <a:latin typeface="Arial"/>
                <a:ea typeface="+mn-ea"/>
                <a:cs typeface="Arial"/>
              </a:rPr>
              <a:t>40</a:t>
            </a:r>
            <a:endParaRPr kumimoji="0" sz="1400" b="0" i="0" u="none" strike="noStrike" kern="0" cap="none" spc="0" normalizeH="0" baseline="0" noProof="0">
              <a:ln>
                <a:noFill/>
              </a:ln>
              <a:solidFill>
                <a:sysClr val="windowText" lastClr="000000"/>
              </a:solidFill>
              <a:effectLst/>
              <a:uLnTx/>
              <a:uFillTx/>
              <a:latin typeface="Arial"/>
              <a:ea typeface="+mn-ea"/>
              <a:cs typeface="Arial"/>
            </a:endParaRPr>
          </a:p>
          <a:p>
            <a:pPr marL="0" marR="5080" lvl="0" indent="0" algn="r" defTabSz="914400" rtl="0" eaLnBrk="1" fontAlgn="auto" latinLnBrk="0" hangingPunct="1">
              <a:lnSpc>
                <a:spcPct val="100000"/>
              </a:lnSpc>
              <a:spcBef>
                <a:spcPts val="1170"/>
              </a:spcBef>
              <a:spcAft>
                <a:spcPts val="0"/>
              </a:spcAft>
              <a:buClrTx/>
              <a:buSzTx/>
              <a:buFontTx/>
              <a:buNone/>
              <a:tabLst/>
              <a:defRPr/>
            </a:pPr>
            <a:r>
              <a:rPr kumimoji="0" sz="1400" b="0" i="0" u="none" strike="noStrike" kern="0" cap="none" spc="-25" normalizeH="0" baseline="0" noProof="0" dirty="0">
                <a:ln>
                  <a:noFill/>
                </a:ln>
                <a:solidFill>
                  <a:sysClr val="windowText" lastClr="000000"/>
                </a:solidFill>
                <a:effectLst/>
                <a:uLnTx/>
                <a:uFillTx/>
                <a:latin typeface="Arial"/>
                <a:ea typeface="+mn-ea"/>
                <a:cs typeface="Arial"/>
              </a:rPr>
              <a:t>30</a:t>
            </a:r>
            <a:endParaRPr kumimoji="0" sz="1400" b="0" i="0" u="none" strike="noStrike" kern="0" cap="none" spc="0" normalizeH="0" baseline="0" noProof="0">
              <a:ln>
                <a:noFill/>
              </a:ln>
              <a:solidFill>
                <a:sysClr val="windowText" lastClr="000000"/>
              </a:solidFill>
              <a:effectLst/>
              <a:uLnTx/>
              <a:uFillTx/>
              <a:latin typeface="Arial"/>
              <a:ea typeface="+mn-ea"/>
              <a:cs typeface="Arial"/>
            </a:endParaRPr>
          </a:p>
          <a:p>
            <a:pPr marL="0" marR="5080" lvl="0" indent="0" algn="r" defTabSz="914400" rtl="0" eaLnBrk="1" fontAlgn="auto" latinLnBrk="0" hangingPunct="1">
              <a:lnSpc>
                <a:spcPct val="100000"/>
              </a:lnSpc>
              <a:spcBef>
                <a:spcPts val="1170"/>
              </a:spcBef>
              <a:spcAft>
                <a:spcPts val="0"/>
              </a:spcAft>
              <a:buClrTx/>
              <a:buSzTx/>
              <a:buFontTx/>
              <a:buNone/>
              <a:tabLst/>
              <a:defRPr/>
            </a:pPr>
            <a:r>
              <a:rPr kumimoji="0" sz="1400" b="0" i="0" u="none" strike="noStrike" kern="0" cap="none" spc="-25" normalizeH="0" baseline="0" noProof="0" dirty="0">
                <a:ln>
                  <a:noFill/>
                </a:ln>
                <a:solidFill>
                  <a:sysClr val="windowText" lastClr="000000"/>
                </a:solidFill>
                <a:effectLst/>
                <a:uLnTx/>
                <a:uFillTx/>
                <a:latin typeface="Arial"/>
                <a:ea typeface="+mn-ea"/>
                <a:cs typeface="Arial"/>
              </a:rPr>
              <a:t>20</a:t>
            </a:r>
            <a:endParaRPr kumimoji="0" sz="1400" b="0" i="0" u="none" strike="noStrike" kern="0" cap="none" spc="0" normalizeH="0" baseline="0" noProof="0">
              <a:ln>
                <a:noFill/>
              </a:ln>
              <a:solidFill>
                <a:sysClr val="windowText" lastClr="000000"/>
              </a:solidFill>
              <a:effectLst/>
              <a:uLnTx/>
              <a:uFillTx/>
              <a:latin typeface="Arial"/>
              <a:ea typeface="+mn-ea"/>
              <a:cs typeface="Arial"/>
            </a:endParaRPr>
          </a:p>
          <a:p>
            <a:pPr marL="0" marR="5080" lvl="0" indent="0" algn="r" defTabSz="914400" rtl="0" eaLnBrk="1" fontAlgn="auto" latinLnBrk="0" hangingPunct="1">
              <a:lnSpc>
                <a:spcPct val="100000"/>
              </a:lnSpc>
              <a:spcBef>
                <a:spcPts val="1170"/>
              </a:spcBef>
              <a:spcAft>
                <a:spcPts val="0"/>
              </a:spcAft>
              <a:buClrTx/>
              <a:buSzTx/>
              <a:buFontTx/>
              <a:buNone/>
              <a:tabLst/>
              <a:defRPr/>
            </a:pPr>
            <a:r>
              <a:rPr kumimoji="0" sz="1400" b="0" i="0" u="none" strike="noStrike" kern="0" cap="none" spc="-25" normalizeH="0" baseline="0" noProof="0" dirty="0">
                <a:ln>
                  <a:noFill/>
                </a:ln>
                <a:solidFill>
                  <a:sysClr val="windowText" lastClr="000000"/>
                </a:solidFill>
                <a:effectLst/>
                <a:uLnTx/>
                <a:uFillTx/>
                <a:latin typeface="Arial"/>
                <a:ea typeface="+mn-ea"/>
                <a:cs typeface="Arial"/>
              </a:rPr>
              <a:t>10</a:t>
            </a:r>
            <a:endParaRPr kumimoji="0" sz="1400" b="0" i="0" u="none" strike="noStrike" kern="0" cap="none" spc="0" normalizeH="0" baseline="0" noProof="0">
              <a:ln>
                <a:noFill/>
              </a:ln>
              <a:solidFill>
                <a:sysClr val="windowText" lastClr="000000"/>
              </a:solidFill>
              <a:effectLst/>
              <a:uLnTx/>
              <a:uFillTx/>
              <a:latin typeface="Arial"/>
              <a:ea typeface="+mn-ea"/>
              <a:cs typeface="Arial"/>
            </a:endParaRPr>
          </a:p>
          <a:p>
            <a:pPr marL="0" marR="5080" lvl="0" indent="0" algn="r" defTabSz="914400" rtl="0" eaLnBrk="1" fontAlgn="auto" latinLnBrk="0" hangingPunct="1">
              <a:lnSpc>
                <a:spcPct val="100000"/>
              </a:lnSpc>
              <a:spcBef>
                <a:spcPts val="1170"/>
              </a:spcBef>
              <a:spcAft>
                <a:spcPts val="0"/>
              </a:spcAft>
              <a:buClrTx/>
              <a:buSzTx/>
              <a:buFontTx/>
              <a:buNone/>
              <a:tabLst/>
              <a:defRPr/>
            </a:pPr>
            <a:r>
              <a:rPr kumimoji="0" sz="1400" b="0" i="0" u="none" strike="noStrike" kern="0" cap="none" spc="-50" normalizeH="0" baseline="0" noProof="0" dirty="0">
                <a:ln>
                  <a:noFill/>
                </a:ln>
                <a:solidFill>
                  <a:sysClr val="windowText" lastClr="000000"/>
                </a:solidFill>
                <a:effectLst/>
                <a:uLnTx/>
                <a:uFillTx/>
                <a:latin typeface="Arial"/>
                <a:ea typeface="+mn-ea"/>
                <a:cs typeface="Arial"/>
              </a:rPr>
              <a:t>0</a:t>
            </a:r>
            <a:endParaRPr kumimoji="0" sz="14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12" name="object 12"/>
          <p:cNvSpPr txBox="1"/>
          <p:nvPr/>
        </p:nvSpPr>
        <p:spPr>
          <a:xfrm>
            <a:off x="550263" y="2914277"/>
            <a:ext cx="252095" cy="1234440"/>
          </a:xfrm>
          <a:prstGeom prst="rect">
            <a:avLst/>
          </a:prstGeom>
        </p:spPr>
        <p:txBody>
          <a:bodyPr vert="vert270" wrap="square" lIns="0" tIns="0" rIns="0" bIns="0" rtlCol="0">
            <a:spAutoFit/>
          </a:bodyPr>
          <a:lstStyle/>
          <a:p>
            <a:pPr marL="12700" marR="0" lvl="0" indent="0" algn="l" defTabSz="914400" rtl="0" eaLnBrk="1" fontAlgn="auto" latinLnBrk="0" hangingPunct="1">
              <a:lnSpc>
                <a:spcPts val="1864"/>
              </a:lnSpc>
              <a:spcBef>
                <a:spcPts val="0"/>
              </a:spcBef>
              <a:spcAft>
                <a:spcPts val="0"/>
              </a:spcAft>
              <a:buClrTx/>
              <a:buSzTx/>
              <a:buFontTx/>
              <a:buNone/>
              <a:tabLst/>
              <a:defRPr/>
            </a:pPr>
            <a:r>
              <a:rPr kumimoji="0" sz="1600" b="0" i="0" u="none" strike="noStrike" kern="0" cap="none" spc="0" normalizeH="0" baseline="0" noProof="0" dirty="0">
                <a:ln>
                  <a:noFill/>
                </a:ln>
                <a:solidFill>
                  <a:sysClr val="windowText" lastClr="000000"/>
                </a:solidFill>
                <a:effectLst/>
                <a:uLnTx/>
                <a:uFillTx/>
                <a:latin typeface="Arial"/>
                <a:ea typeface="+mn-ea"/>
                <a:cs typeface="Arial"/>
              </a:rPr>
              <a:t>Response,</a:t>
            </a:r>
            <a:r>
              <a:rPr kumimoji="0" sz="1600" b="0" i="0" u="none" strike="noStrike" kern="0" cap="none" spc="-30" normalizeH="0" baseline="0" noProof="0" dirty="0">
                <a:ln>
                  <a:noFill/>
                </a:ln>
                <a:solidFill>
                  <a:sysClr val="windowText" lastClr="000000"/>
                </a:solidFill>
                <a:effectLst/>
                <a:uLnTx/>
                <a:uFillTx/>
                <a:latin typeface="Arial"/>
                <a:ea typeface="+mn-ea"/>
                <a:cs typeface="Arial"/>
              </a:rPr>
              <a:t> </a:t>
            </a:r>
            <a:r>
              <a:rPr kumimoji="0" sz="1600" b="0" i="0" u="none" strike="noStrike" kern="0" cap="none" spc="-50" normalizeH="0" baseline="0" noProof="0" dirty="0">
                <a:ln>
                  <a:noFill/>
                </a:ln>
                <a:solidFill>
                  <a:sysClr val="windowText" lastClr="000000"/>
                </a:solidFill>
                <a:effectLst/>
                <a:uLnTx/>
                <a:uFillTx/>
                <a:latin typeface="Arial"/>
                <a:ea typeface="+mn-ea"/>
                <a:cs typeface="Arial"/>
              </a:rPr>
              <a:t>%</a:t>
            </a:r>
            <a:endParaRPr kumimoji="0" sz="16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13" name="object 13" descr="$PPTXTitle"/>
          <p:cNvSpPr txBox="1">
            <a:spLocks noGrp="1"/>
          </p:cNvSpPr>
          <p:nvPr>
            <p:ph type="title"/>
          </p:nvPr>
        </p:nvSpPr>
        <p:spPr>
          <a:xfrm>
            <a:off x="607491" y="232698"/>
            <a:ext cx="11136834" cy="504625"/>
          </a:xfrm>
          <a:prstGeom prst="rect">
            <a:avLst/>
          </a:prstGeom>
        </p:spPr>
        <p:txBody>
          <a:bodyPr vert="horz" wrap="square" lIns="0" tIns="12065" rIns="0" bIns="0" rtlCol="0">
            <a:spAutoFit/>
          </a:bodyPr>
          <a:lstStyle/>
          <a:p>
            <a:pPr marL="12700">
              <a:lnSpc>
                <a:spcPct val="100000"/>
              </a:lnSpc>
              <a:spcBef>
                <a:spcPts val="95"/>
              </a:spcBef>
            </a:pPr>
            <a:r>
              <a:rPr lang="en-US" sz="3200" spc="-95" dirty="0">
                <a:solidFill>
                  <a:srgbClr val="002060"/>
                </a:solidFill>
                <a:latin typeface="+mn-lt"/>
              </a:rPr>
              <a:t>LOTIS-7: </a:t>
            </a:r>
            <a:r>
              <a:rPr sz="3200" spc="-95" dirty="0">
                <a:solidFill>
                  <a:srgbClr val="002060"/>
                </a:solidFill>
                <a:latin typeface="+mn-lt"/>
              </a:rPr>
              <a:t>BEST</a:t>
            </a:r>
            <a:r>
              <a:rPr sz="3200" spc="-160" dirty="0">
                <a:solidFill>
                  <a:srgbClr val="002060"/>
                </a:solidFill>
                <a:latin typeface="+mn-lt"/>
              </a:rPr>
              <a:t> </a:t>
            </a:r>
            <a:r>
              <a:rPr sz="3200" spc="-110" dirty="0">
                <a:solidFill>
                  <a:srgbClr val="002060"/>
                </a:solidFill>
                <a:latin typeface="+mn-lt"/>
              </a:rPr>
              <a:t>OVERALL</a:t>
            </a:r>
            <a:r>
              <a:rPr sz="3200" spc="-210" dirty="0">
                <a:solidFill>
                  <a:srgbClr val="002060"/>
                </a:solidFill>
                <a:latin typeface="+mn-lt"/>
              </a:rPr>
              <a:t> </a:t>
            </a:r>
            <a:r>
              <a:rPr sz="3200" spc="-105" dirty="0">
                <a:solidFill>
                  <a:srgbClr val="002060"/>
                </a:solidFill>
                <a:latin typeface="+mn-lt"/>
              </a:rPr>
              <a:t>RESPONSE</a:t>
            </a:r>
            <a:r>
              <a:rPr sz="3200" spc="-165" dirty="0">
                <a:solidFill>
                  <a:srgbClr val="002060"/>
                </a:solidFill>
                <a:latin typeface="+mn-lt"/>
              </a:rPr>
              <a:t> </a:t>
            </a:r>
            <a:r>
              <a:rPr sz="3200" spc="-30" dirty="0">
                <a:solidFill>
                  <a:srgbClr val="002060"/>
                </a:solidFill>
                <a:latin typeface="+mn-lt"/>
              </a:rPr>
              <a:t>&amp;</a:t>
            </a:r>
            <a:r>
              <a:rPr sz="3200" spc="-160" dirty="0">
                <a:solidFill>
                  <a:srgbClr val="002060"/>
                </a:solidFill>
                <a:latin typeface="+mn-lt"/>
              </a:rPr>
              <a:t> </a:t>
            </a:r>
            <a:r>
              <a:rPr sz="3200" spc="-140" dirty="0">
                <a:solidFill>
                  <a:srgbClr val="002060"/>
                </a:solidFill>
                <a:latin typeface="+mn-lt"/>
              </a:rPr>
              <a:t>DURATION </a:t>
            </a:r>
            <a:r>
              <a:rPr sz="3200" spc="-70" dirty="0">
                <a:solidFill>
                  <a:srgbClr val="002060"/>
                </a:solidFill>
                <a:latin typeface="+mn-lt"/>
              </a:rPr>
              <a:t>OF</a:t>
            </a:r>
            <a:r>
              <a:rPr sz="3200" spc="-165" dirty="0">
                <a:solidFill>
                  <a:srgbClr val="002060"/>
                </a:solidFill>
                <a:latin typeface="+mn-lt"/>
              </a:rPr>
              <a:t> </a:t>
            </a:r>
            <a:r>
              <a:rPr sz="3200" spc="-40" dirty="0">
                <a:solidFill>
                  <a:srgbClr val="002060"/>
                </a:solidFill>
                <a:latin typeface="+mn-lt"/>
              </a:rPr>
              <a:t>RESPONSE</a:t>
            </a:r>
          </a:p>
        </p:txBody>
      </p:sp>
      <p:sp>
        <p:nvSpPr>
          <p:cNvPr id="14" name="object 14"/>
          <p:cNvSpPr txBox="1"/>
          <p:nvPr/>
        </p:nvSpPr>
        <p:spPr>
          <a:xfrm>
            <a:off x="550263" y="702957"/>
            <a:ext cx="5031740" cy="299720"/>
          </a:xfrm>
          <a:prstGeom prst="rect">
            <a:avLst/>
          </a:prstGeom>
        </p:spPr>
        <p:txBody>
          <a:bodyPr vert="horz" wrap="square" lIns="0" tIns="12700" rIns="0" bIns="0" rtlCol="0">
            <a:spAutoFit/>
          </a:bodyPr>
          <a:lstStyle/>
          <a:p>
            <a:pPr marL="25400" marR="0" lvl="0" indent="0" algn="l" defTabSz="914400" rtl="0" eaLnBrk="1" fontAlgn="auto" latinLnBrk="0" hangingPunct="1">
              <a:lnSpc>
                <a:spcPct val="100000"/>
              </a:lnSpc>
              <a:spcBef>
                <a:spcPts val="100"/>
              </a:spcBef>
              <a:spcAft>
                <a:spcPts val="0"/>
              </a:spcAft>
              <a:buClrTx/>
              <a:buSzTx/>
              <a:buFontTx/>
              <a:buNone/>
              <a:tabLst/>
              <a:defRPr/>
            </a:pPr>
            <a:r>
              <a:rPr kumimoji="0" sz="1800" b="1" i="0" u="none" strike="noStrike" kern="0" cap="none" spc="0" normalizeH="0" baseline="0" noProof="0" dirty="0">
                <a:ln>
                  <a:noFill/>
                </a:ln>
                <a:solidFill>
                  <a:srgbClr val="183D8E"/>
                </a:solidFill>
                <a:effectLst/>
                <a:uLnTx/>
                <a:uFillTx/>
                <a:latin typeface="Arial"/>
                <a:ea typeface="+mn-ea"/>
                <a:cs typeface="Arial"/>
              </a:rPr>
              <a:t>EFFICACY</a:t>
            </a:r>
            <a:r>
              <a:rPr kumimoji="0" sz="1800" b="1" i="0" u="none" strike="noStrike" kern="0" cap="none" spc="-120" normalizeH="0" baseline="0" noProof="0" dirty="0">
                <a:ln>
                  <a:noFill/>
                </a:ln>
                <a:solidFill>
                  <a:srgbClr val="183D8E"/>
                </a:solidFill>
                <a:effectLst/>
                <a:uLnTx/>
                <a:uFillTx/>
                <a:latin typeface="Arial"/>
                <a:ea typeface="+mn-ea"/>
                <a:cs typeface="Arial"/>
              </a:rPr>
              <a:t> </a:t>
            </a:r>
            <a:r>
              <a:rPr kumimoji="0" sz="1800" b="1" i="0" u="none" strike="noStrike" kern="0" cap="none" spc="-20" normalizeH="0" baseline="0" noProof="0" dirty="0">
                <a:ln>
                  <a:noFill/>
                </a:ln>
                <a:solidFill>
                  <a:srgbClr val="183D8E"/>
                </a:solidFill>
                <a:effectLst/>
                <a:uLnTx/>
                <a:uFillTx/>
                <a:latin typeface="Arial"/>
                <a:ea typeface="+mn-ea"/>
                <a:cs typeface="Arial"/>
              </a:rPr>
              <a:t>EVALUABLE</a:t>
            </a:r>
            <a:r>
              <a:rPr kumimoji="0" sz="1800" b="1" i="0" u="none" strike="noStrike" kern="0" cap="none" spc="-85" normalizeH="0" baseline="0" noProof="0" dirty="0">
                <a:ln>
                  <a:noFill/>
                </a:ln>
                <a:solidFill>
                  <a:srgbClr val="183D8E"/>
                </a:solidFill>
                <a:effectLst/>
                <a:uLnTx/>
                <a:uFillTx/>
                <a:latin typeface="Arial"/>
                <a:ea typeface="+mn-ea"/>
                <a:cs typeface="Arial"/>
              </a:rPr>
              <a:t> </a:t>
            </a:r>
            <a:r>
              <a:rPr kumimoji="0" sz="1800" b="1" i="0" u="none" strike="noStrike" kern="0" cap="none" spc="-10" normalizeH="0" baseline="0" noProof="0" dirty="0">
                <a:ln>
                  <a:noFill/>
                </a:ln>
                <a:solidFill>
                  <a:srgbClr val="183D8E"/>
                </a:solidFill>
                <a:effectLst/>
                <a:uLnTx/>
                <a:uFillTx/>
                <a:latin typeface="Arial"/>
                <a:ea typeface="+mn-ea"/>
                <a:cs typeface="Arial"/>
              </a:rPr>
              <a:t>POPULATION</a:t>
            </a:r>
            <a:r>
              <a:rPr kumimoji="0" sz="1800" b="1" i="0" u="none" strike="noStrike" kern="0" cap="none" spc="-85" normalizeH="0" baseline="0" noProof="0" dirty="0">
                <a:ln>
                  <a:noFill/>
                </a:ln>
                <a:solidFill>
                  <a:srgbClr val="183D8E"/>
                </a:solidFill>
                <a:effectLst/>
                <a:uLnTx/>
                <a:uFillTx/>
                <a:latin typeface="Arial"/>
                <a:ea typeface="+mn-ea"/>
                <a:cs typeface="Arial"/>
              </a:rPr>
              <a:t> </a:t>
            </a:r>
            <a:r>
              <a:rPr kumimoji="0" sz="1800" b="1" i="0" u="none" strike="noStrike" kern="0" cap="none" spc="-10" normalizeH="0" baseline="0" noProof="0" dirty="0">
                <a:ln>
                  <a:noFill/>
                </a:ln>
                <a:solidFill>
                  <a:srgbClr val="183D8E"/>
                </a:solidFill>
                <a:effectLst/>
                <a:uLnTx/>
                <a:uFillTx/>
                <a:latin typeface="Arial"/>
                <a:ea typeface="+mn-ea"/>
                <a:cs typeface="Arial"/>
              </a:rPr>
              <a:t>(N=30)</a:t>
            </a:r>
            <a:r>
              <a:rPr kumimoji="0" sz="1800" b="0" i="0" u="none" strike="noStrike" kern="0" cap="none" spc="-15" normalizeH="0" baseline="25462" noProof="0" dirty="0">
                <a:ln>
                  <a:noFill/>
                </a:ln>
                <a:solidFill>
                  <a:srgbClr val="183D8E"/>
                </a:solidFill>
                <a:effectLst/>
                <a:uLnTx/>
                <a:uFillTx/>
                <a:latin typeface="Arial"/>
                <a:ea typeface="+mn-ea"/>
                <a:cs typeface="Arial"/>
              </a:rPr>
              <a:t>a</a:t>
            </a:r>
            <a:endParaRPr kumimoji="0" sz="1800" b="0" i="0" u="none" strike="noStrike" kern="0" cap="none" spc="0" normalizeH="0" baseline="25462" noProof="0" dirty="0">
              <a:ln>
                <a:noFill/>
              </a:ln>
              <a:solidFill>
                <a:sysClr val="windowText" lastClr="000000"/>
              </a:solidFill>
              <a:effectLst/>
              <a:uLnTx/>
              <a:uFillTx/>
              <a:latin typeface="Arial"/>
              <a:ea typeface="+mn-ea"/>
              <a:cs typeface="Arial"/>
            </a:endParaRPr>
          </a:p>
        </p:txBody>
      </p:sp>
      <p:sp>
        <p:nvSpPr>
          <p:cNvPr id="15" name="object 15"/>
          <p:cNvSpPr txBox="1"/>
          <p:nvPr/>
        </p:nvSpPr>
        <p:spPr>
          <a:xfrm>
            <a:off x="106045" y="5874576"/>
            <a:ext cx="11979910" cy="619760"/>
          </a:xfrm>
          <a:prstGeom prst="rect">
            <a:avLst/>
          </a:prstGeom>
        </p:spPr>
        <p:txBody>
          <a:bodyPr vert="horz" wrap="square" lIns="0" tIns="16510" rIns="0" bIns="0" rtlCol="0">
            <a:spAutoFit/>
          </a:bodyPr>
          <a:lstStyle/>
          <a:p>
            <a:pPr marL="38100" marR="0" lvl="0" indent="0" algn="l" defTabSz="914400" rtl="0" eaLnBrk="1" fontAlgn="auto" latinLnBrk="0" hangingPunct="1">
              <a:lnSpc>
                <a:spcPct val="100000"/>
              </a:lnSpc>
              <a:spcBef>
                <a:spcPts val="130"/>
              </a:spcBef>
              <a:spcAft>
                <a:spcPts val="0"/>
              </a:spcAft>
              <a:buClrTx/>
              <a:buSzTx/>
              <a:buFontTx/>
              <a:buNone/>
              <a:tabLst/>
              <a:defRPr/>
            </a:pPr>
            <a:r>
              <a:rPr kumimoji="0" sz="750" b="0" i="0" u="none" strike="noStrike" kern="0" cap="none" spc="0" normalizeH="0" baseline="0" noProof="0" dirty="0">
                <a:ln>
                  <a:noFill/>
                </a:ln>
                <a:solidFill>
                  <a:srgbClr val="7E7E7E"/>
                </a:solidFill>
                <a:effectLst/>
                <a:uLnTx/>
                <a:uFillTx/>
                <a:latin typeface="Arial"/>
                <a:ea typeface="+mn-ea"/>
                <a:cs typeface="Arial"/>
              </a:rPr>
              <a:t>Data</a:t>
            </a:r>
            <a:r>
              <a:rPr kumimoji="0" sz="750" b="0" i="0" u="none" strike="noStrike" kern="0" cap="none" spc="5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cutoff:</a:t>
            </a:r>
            <a:r>
              <a:rPr kumimoji="0" sz="750" b="0" i="0" u="none" strike="noStrike" kern="0" cap="none" spc="35"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April</a:t>
            </a:r>
            <a:r>
              <a:rPr kumimoji="0" sz="750" b="0" i="0" u="none" strike="noStrike" kern="0" cap="none" spc="75"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14,</a:t>
            </a:r>
            <a:r>
              <a:rPr kumimoji="0" sz="750" b="0" i="0" u="none" strike="noStrike" kern="0" cap="none" spc="55" normalizeH="0" baseline="0" noProof="0" dirty="0">
                <a:ln>
                  <a:noFill/>
                </a:ln>
                <a:solidFill>
                  <a:srgbClr val="7E7E7E"/>
                </a:solidFill>
                <a:effectLst/>
                <a:uLnTx/>
                <a:uFillTx/>
                <a:latin typeface="Arial"/>
                <a:ea typeface="+mn-ea"/>
                <a:cs typeface="Arial"/>
              </a:rPr>
              <a:t> </a:t>
            </a:r>
            <a:r>
              <a:rPr kumimoji="0" sz="750" b="0" i="0" u="none" strike="noStrike" kern="0" cap="none" spc="-10" normalizeH="0" baseline="0" noProof="0" dirty="0">
                <a:ln>
                  <a:noFill/>
                </a:ln>
                <a:solidFill>
                  <a:srgbClr val="7E7E7E"/>
                </a:solidFill>
                <a:effectLst/>
                <a:uLnTx/>
                <a:uFillTx/>
                <a:latin typeface="Arial"/>
                <a:ea typeface="+mn-ea"/>
                <a:cs typeface="Arial"/>
              </a:rPr>
              <a:t>2025.</a:t>
            </a:r>
            <a:endParaRPr kumimoji="0" sz="750" b="0" i="0" u="none" strike="noStrike" kern="0" cap="none" spc="0" normalizeH="0" baseline="0" noProof="0" dirty="0">
              <a:ln>
                <a:noFill/>
              </a:ln>
              <a:solidFill>
                <a:sysClr val="windowText" lastClr="000000"/>
              </a:solidFill>
              <a:effectLst/>
              <a:uLnTx/>
              <a:uFillTx/>
              <a:latin typeface="Arial"/>
              <a:ea typeface="+mn-ea"/>
              <a:cs typeface="Arial"/>
            </a:endParaRPr>
          </a:p>
          <a:p>
            <a:pPr marL="38100" marR="0" lvl="0" indent="0" algn="l" defTabSz="914400" rtl="0" eaLnBrk="1" fontAlgn="auto" latinLnBrk="0" hangingPunct="1">
              <a:lnSpc>
                <a:spcPct val="100000"/>
              </a:lnSpc>
              <a:spcBef>
                <a:spcPts val="35"/>
              </a:spcBef>
              <a:spcAft>
                <a:spcPts val="0"/>
              </a:spcAft>
              <a:buClrTx/>
              <a:buSzTx/>
              <a:buFontTx/>
              <a:buNone/>
              <a:tabLst/>
              <a:defRPr/>
            </a:pPr>
            <a:r>
              <a:rPr kumimoji="0" sz="750" b="0" i="0" u="none" strike="noStrike" kern="0" cap="none" spc="0" normalizeH="0" baseline="0" noProof="0" dirty="0">
                <a:ln>
                  <a:noFill/>
                </a:ln>
                <a:solidFill>
                  <a:srgbClr val="7E7E7E"/>
                </a:solidFill>
                <a:effectLst/>
                <a:uLnTx/>
                <a:uFillTx/>
                <a:latin typeface="Arial"/>
                <a:ea typeface="+mn-ea"/>
                <a:cs typeface="Arial"/>
              </a:rPr>
              <a:t>CR,</a:t>
            </a:r>
            <a:r>
              <a:rPr kumimoji="0" sz="750" b="0" i="0" u="none" strike="noStrike" kern="0" cap="none" spc="7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complete</a:t>
            </a:r>
            <a:r>
              <a:rPr kumimoji="0" sz="750" b="0" i="0" u="none" strike="noStrike" kern="0" cap="none" spc="85"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response;</a:t>
            </a:r>
            <a:r>
              <a:rPr kumimoji="0" sz="750" b="0" i="0" u="none" strike="noStrike" kern="0" cap="none" spc="105"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DOR,</a:t>
            </a:r>
            <a:r>
              <a:rPr kumimoji="0" sz="750" b="0" i="0" u="none" strike="noStrike" kern="0" cap="none" spc="7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duration</a:t>
            </a:r>
            <a:r>
              <a:rPr kumimoji="0" sz="750" b="0" i="0" u="none" strike="noStrike" kern="0" cap="none" spc="114"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of</a:t>
            </a:r>
            <a:r>
              <a:rPr kumimoji="0" sz="750" b="0" i="0" u="none" strike="noStrike" kern="0" cap="none" spc="85"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response;</a:t>
            </a:r>
            <a:r>
              <a:rPr kumimoji="0" sz="750" b="0" i="0" u="none" strike="noStrike" kern="0" cap="none" spc="9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Glofit,</a:t>
            </a:r>
            <a:r>
              <a:rPr kumimoji="0" sz="750" b="0" i="0" u="none" strike="noStrike" kern="0" cap="none" spc="10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glofitamab;</a:t>
            </a:r>
            <a:r>
              <a:rPr kumimoji="0" sz="750" b="0" i="0" u="none" strike="noStrike" kern="0" cap="none" spc="10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Lonca,</a:t>
            </a:r>
            <a:r>
              <a:rPr kumimoji="0" sz="750" b="0" i="0" u="none" strike="noStrike" kern="0" cap="none" spc="10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loncastuximab</a:t>
            </a:r>
            <a:r>
              <a:rPr kumimoji="0" sz="750" b="0" i="0" u="none" strike="noStrike" kern="0" cap="none" spc="10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tesirine;</a:t>
            </a:r>
            <a:r>
              <a:rPr kumimoji="0" sz="750" b="0" i="0" u="none" strike="noStrike" kern="0" cap="none" spc="10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NE,</a:t>
            </a:r>
            <a:r>
              <a:rPr kumimoji="0" sz="750" b="0" i="0" u="none" strike="noStrike" kern="0" cap="none" spc="85"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not</a:t>
            </a:r>
            <a:r>
              <a:rPr kumimoji="0" sz="750" b="0" i="0" u="none" strike="noStrike" kern="0" cap="none" spc="9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estimable;</a:t>
            </a:r>
            <a:r>
              <a:rPr kumimoji="0" sz="750" b="0" i="0" u="none" strike="noStrike" kern="0" cap="none" spc="10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ORR,</a:t>
            </a:r>
            <a:r>
              <a:rPr kumimoji="0" sz="750" b="0" i="0" u="none" strike="noStrike" kern="0" cap="none" spc="8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overall</a:t>
            </a:r>
            <a:r>
              <a:rPr kumimoji="0" sz="750" b="0" i="0" u="none" strike="noStrike" kern="0" cap="none" spc="9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response</a:t>
            </a:r>
            <a:r>
              <a:rPr kumimoji="0" sz="750" b="0" i="0" u="none" strike="noStrike" kern="0" cap="none" spc="105"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rate;</a:t>
            </a:r>
            <a:r>
              <a:rPr kumimoji="0" sz="750" b="0" i="0" u="none" strike="noStrike" kern="0" cap="none" spc="85"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PR,</a:t>
            </a:r>
            <a:r>
              <a:rPr kumimoji="0" sz="750" b="0" i="0" u="none" strike="noStrike" kern="0" cap="none" spc="85"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partial</a:t>
            </a:r>
            <a:r>
              <a:rPr kumimoji="0" sz="750" b="0" i="0" u="none" strike="noStrike" kern="0" cap="none" spc="110" normalizeH="0" baseline="0" noProof="0" dirty="0">
                <a:ln>
                  <a:noFill/>
                </a:ln>
                <a:solidFill>
                  <a:srgbClr val="7E7E7E"/>
                </a:solidFill>
                <a:effectLst/>
                <a:uLnTx/>
                <a:uFillTx/>
                <a:latin typeface="Arial"/>
                <a:ea typeface="+mn-ea"/>
                <a:cs typeface="Arial"/>
              </a:rPr>
              <a:t> </a:t>
            </a:r>
            <a:r>
              <a:rPr kumimoji="0" sz="750" b="0" i="0" u="none" strike="noStrike" kern="0" cap="none" spc="-10" normalizeH="0" baseline="0" noProof="0" dirty="0">
                <a:ln>
                  <a:noFill/>
                </a:ln>
                <a:solidFill>
                  <a:srgbClr val="7E7E7E"/>
                </a:solidFill>
                <a:effectLst/>
                <a:uLnTx/>
                <a:uFillTx/>
                <a:latin typeface="Arial"/>
                <a:ea typeface="+mn-ea"/>
                <a:cs typeface="Arial"/>
              </a:rPr>
              <a:t>response.</a:t>
            </a:r>
            <a:endParaRPr kumimoji="0" sz="750" b="0" i="0" u="none" strike="noStrike" kern="0" cap="none" spc="0" normalizeH="0" baseline="0" noProof="0" dirty="0">
              <a:ln>
                <a:noFill/>
              </a:ln>
              <a:solidFill>
                <a:sysClr val="windowText" lastClr="000000"/>
              </a:solidFill>
              <a:effectLst/>
              <a:uLnTx/>
              <a:uFillTx/>
              <a:latin typeface="Arial"/>
              <a:ea typeface="+mn-ea"/>
              <a:cs typeface="Arial"/>
            </a:endParaRPr>
          </a:p>
          <a:p>
            <a:pPr marL="38100" marR="30480" lvl="0" indent="0" algn="l" defTabSz="914400" rtl="0" eaLnBrk="1" fontAlgn="auto" latinLnBrk="0" hangingPunct="1">
              <a:lnSpc>
                <a:spcPct val="104000"/>
              </a:lnSpc>
              <a:spcBef>
                <a:spcPts val="0"/>
              </a:spcBef>
              <a:spcAft>
                <a:spcPts val="0"/>
              </a:spcAft>
              <a:buClrTx/>
              <a:buSzTx/>
              <a:buFontTx/>
              <a:buNone/>
              <a:tabLst/>
              <a:defRPr/>
            </a:pPr>
            <a:r>
              <a:rPr kumimoji="0" sz="750" b="0" i="0" u="none" strike="noStrike" kern="0" cap="none" spc="0" normalizeH="0" baseline="27777" noProof="0" dirty="0">
                <a:ln>
                  <a:noFill/>
                </a:ln>
                <a:solidFill>
                  <a:srgbClr val="7E7E7E"/>
                </a:solidFill>
                <a:effectLst/>
                <a:uLnTx/>
                <a:uFillTx/>
                <a:latin typeface="Arial"/>
                <a:ea typeface="+mn-ea"/>
                <a:cs typeface="Arial"/>
              </a:rPr>
              <a:t>a</a:t>
            </a:r>
            <a:r>
              <a:rPr kumimoji="0" sz="750" b="0" i="0" u="none" strike="noStrike" kern="0" cap="none" spc="0" normalizeH="0" baseline="0" noProof="0" dirty="0">
                <a:ln>
                  <a:noFill/>
                </a:ln>
                <a:solidFill>
                  <a:srgbClr val="7E7E7E"/>
                </a:solidFill>
                <a:effectLst/>
                <a:uLnTx/>
                <a:uFillTx/>
                <a:latin typeface="Arial"/>
                <a:ea typeface="+mn-ea"/>
                <a:cs typeface="Arial"/>
              </a:rPr>
              <a:t>The</a:t>
            </a:r>
            <a:r>
              <a:rPr kumimoji="0" sz="750" b="0" i="0" u="none" strike="noStrike" kern="0" cap="none" spc="75"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efficacy</a:t>
            </a:r>
            <a:r>
              <a:rPr kumimoji="0" sz="750" b="0" i="0" u="none" strike="noStrike" kern="0" cap="none" spc="7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evaluable</a:t>
            </a:r>
            <a:r>
              <a:rPr kumimoji="0" sz="750" b="0" i="0" u="none" strike="noStrike" kern="0" cap="none" spc="125"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population</a:t>
            </a:r>
            <a:r>
              <a:rPr kumimoji="0" sz="750" b="0" i="0" u="none" strike="noStrike" kern="0" cap="none" spc="114"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N=30)</a:t>
            </a:r>
            <a:r>
              <a:rPr kumimoji="0" sz="750" b="0" i="0" u="none" strike="noStrike" kern="0" cap="none" spc="8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included</a:t>
            </a:r>
            <a:r>
              <a:rPr kumimoji="0" sz="750" b="0" i="0" u="none" strike="noStrike" kern="0" cap="none" spc="114"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all</a:t>
            </a:r>
            <a:r>
              <a:rPr kumimoji="0" sz="750" b="0" i="0" u="none" strike="noStrike" kern="0" cap="none" spc="85"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patients</a:t>
            </a:r>
            <a:r>
              <a:rPr kumimoji="0" sz="750" b="0" i="0" u="none" strike="noStrike" kern="0" cap="none" spc="95"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who</a:t>
            </a:r>
            <a:r>
              <a:rPr kumimoji="0" sz="750" b="0" i="0" u="none" strike="noStrike" kern="0" cap="none" spc="8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received</a:t>
            </a:r>
            <a:r>
              <a:rPr kumimoji="0" sz="750" b="0" i="0" u="none" strike="noStrike" kern="0" cap="none" spc="9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1</a:t>
            </a:r>
            <a:r>
              <a:rPr kumimoji="0" sz="750" b="0" i="0" u="none" strike="noStrike" kern="0" cap="none" spc="55"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dose</a:t>
            </a:r>
            <a:r>
              <a:rPr kumimoji="0" sz="750" b="0" i="0" u="none" strike="noStrike" kern="0" cap="none" spc="9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of</a:t>
            </a:r>
            <a:r>
              <a:rPr kumimoji="0" sz="750" b="0" i="0" u="none" strike="noStrike" kern="0" cap="none" spc="8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the</a:t>
            </a:r>
            <a:r>
              <a:rPr kumimoji="0" sz="750" b="0" i="0" u="none" strike="noStrike" kern="0" cap="none" spc="75"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study</a:t>
            </a:r>
            <a:r>
              <a:rPr kumimoji="0" sz="750" b="0" i="0" u="none" strike="noStrike" kern="0" cap="none" spc="65"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drug</a:t>
            </a:r>
            <a:r>
              <a:rPr kumimoji="0" sz="750" b="0" i="0" u="none" strike="noStrike" kern="0" cap="none" spc="9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with</a:t>
            </a:r>
            <a:r>
              <a:rPr kumimoji="0" sz="750" b="0" i="0" u="none" strike="noStrike" kern="0" cap="none" spc="75"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a</a:t>
            </a:r>
            <a:r>
              <a:rPr kumimoji="0" sz="750" b="0" i="0" u="none" strike="noStrike" kern="0" cap="none" spc="8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valid</a:t>
            </a:r>
            <a:r>
              <a:rPr kumimoji="0" sz="750" b="0" i="0" u="none" strike="noStrike" kern="0" cap="none" spc="9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baseline</a:t>
            </a:r>
            <a:r>
              <a:rPr kumimoji="0" sz="750" b="0" i="0" u="none" strike="noStrike" kern="0" cap="none" spc="114"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and</a:t>
            </a:r>
            <a:r>
              <a:rPr kumimoji="0" sz="750" b="0" i="0" u="none" strike="noStrike" kern="0" cap="none" spc="9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1</a:t>
            </a:r>
            <a:r>
              <a:rPr kumimoji="0" sz="750" b="0" i="0" u="none" strike="noStrike" kern="0" cap="none" spc="8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valid</a:t>
            </a:r>
            <a:r>
              <a:rPr kumimoji="0" sz="750" b="0" i="0" u="none" strike="noStrike" kern="0" cap="none" spc="9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postbaseline</a:t>
            </a:r>
            <a:r>
              <a:rPr kumimoji="0" sz="750" b="0" i="0" u="none" strike="noStrike" kern="0" cap="none" spc="10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disease</a:t>
            </a:r>
            <a:r>
              <a:rPr kumimoji="0" sz="750" b="0" i="0" u="none" strike="noStrike" kern="0" cap="none" spc="9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assessment.</a:t>
            </a:r>
            <a:r>
              <a:rPr kumimoji="0" sz="750" b="0" i="0" u="none" strike="noStrike" kern="0" cap="none" spc="35"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Patients</a:t>
            </a:r>
            <a:r>
              <a:rPr kumimoji="0" sz="750" b="0" i="0" u="none" strike="noStrike" kern="0" cap="none" spc="95"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who</a:t>
            </a:r>
            <a:r>
              <a:rPr kumimoji="0" sz="750" b="0" i="0" u="none" strike="noStrike" kern="0" cap="none" spc="9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did</a:t>
            </a:r>
            <a:r>
              <a:rPr kumimoji="0" sz="750" b="0" i="0" u="none" strike="noStrike" kern="0" cap="none" spc="9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not</a:t>
            </a:r>
            <a:r>
              <a:rPr kumimoji="0" sz="750" b="0" i="0" u="none" strike="noStrike" kern="0" cap="none" spc="8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have</a:t>
            </a:r>
            <a:r>
              <a:rPr kumimoji="0" sz="750" b="0" i="0" u="none" strike="noStrike" kern="0" cap="none" spc="9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a</a:t>
            </a:r>
            <a:r>
              <a:rPr kumimoji="0" sz="750" b="0" i="0" u="none" strike="noStrike" kern="0" cap="none" spc="75"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postbaseline</a:t>
            </a:r>
            <a:r>
              <a:rPr kumimoji="0" sz="750" b="0" i="0" u="none" strike="noStrike" kern="0" cap="none" spc="105"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assessment</a:t>
            </a:r>
            <a:r>
              <a:rPr kumimoji="0" sz="750" b="0" i="0" u="none" strike="noStrike" kern="0" cap="none" spc="45"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owing</a:t>
            </a:r>
            <a:r>
              <a:rPr kumimoji="0" sz="750" b="0" i="0" u="none" strike="noStrike" kern="0" cap="none" spc="9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to</a:t>
            </a:r>
            <a:r>
              <a:rPr kumimoji="0" sz="750" b="0" i="0" u="none" strike="noStrike" kern="0" cap="none" spc="75"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early</a:t>
            </a:r>
            <a:r>
              <a:rPr kumimoji="0" sz="750" b="0" i="0" u="none" strike="noStrike" kern="0" cap="none" spc="95"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clinical</a:t>
            </a:r>
            <a:r>
              <a:rPr kumimoji="0" sz="750" b="0" i="0" u="none" strike="noStrike" kern="0" cap="none" spc="85"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progression</a:t>
            </a:r>
            <a:r>
              <a:rPr kumimoji="0" sz="750" b="0" i="0" u="none" strike="noStrike" kern="0" cap="none" spc="9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or</a:t>
            </a:r>
            <a:r>
              <a:rPr kumimoji="0" sz="750" b="0" i="0" u="none" strike="noStrike" kern="0" cap="none" spc="85" normalizeH="0" baseline="0" noProof="0" dirty="0">
                <a:ln>
                  <a:noFill/>
                </a:ln>
                <a:solidFill>
                  <a:srgbClr val="7E7E7E"/>
                </a:solidFill>
                <a:effectLst/>
                <a:uLnTx/>
                <a:uFillTx/>
                <a:latin typeface="Arial"/>
                <a:ea typeface="+mn-ea"/>
                <a:cs typeface="Arial"/>
              </a:rPr>
              <a:t> </a:t>
            </a:r>
            <a:r>
              <a:rPr kumimoji="0" sz="750" b="0" i="0" u="none" strike="noStrike" kern="0" cap="none" spc="-10" normalizeH="0" baseline="0" noProof="0" dirty="0">
                <a:ln>
                  <a:noFill/>
                </a:ln>
                <a:solidFill>
                  <a:srgbClr val="7E7E7E"/>
                </a:solidFill>
                <a:effectLst/>
                <a:uLnTx/>
                <a:uFillTx/>
                <a:latin typeface="Arial"/>
                <a:ea typeface="+mn-ea"/>
                <a:cs typeface="Arial"/>
              </a:rPr>
              <a:t>death </a:t>
            </a:r>
            <a:r>
              <a:rPr kumimoji="0" sz="750" b="0" i="0" u="none" strike="noStrike" kern="0" cap="none" spc="0" normalizeH="0" baseline="0" noProof="0" dirty="0">
                <a:ln>
                  <a:noFill/>
                </a:ln>
                <a:solidFill>
                  <a:srgbClr val="7E7E7E"/>
                </a:solidFill>
                <a:effectLst/>
                <a:uLnTx/>
                <a:uFillTx/>
                <a:latin typeface="Arial"/>
                <a:ea typeface="+mn-ea"/>
                <a:cs typeface="Arial"/>
              </a:rPr>
              <a:t>were</a:t>
            </a:r>
            <a:r>
              <a:rPr kumimoji="0" sz="750" b="0" i="0" u="none" strike="noStrike" kern="0" cap="none" spc="6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also</a:t>
            </a:r>
            <a:r>
              <a:rPr kumimoji="0" sz="750" b="0" i="0" u="none" strike="noStrike" kern="0" cap="none" spc="7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included.</a:t>
            </a:r>
            <a:r>
              <a:rPr kumimoji="0" sz="750" b="0" i="0" u="none" strike="noStrike" kern="0" cap="none" spc="95"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27777" noProof="0" dirty="0">
                <a:ln>
                  <a:noFill/>
                </a:ln>
                <a:solidFill>
                  <a:srgbClr val="7E7E7E"/>
                </a:solidFill>
                <a:effectLst/>
                <a:uLnTx/>
                <a:uFillTx/>
                <a:latin typeface="Arial"/>
                <a:ea typeface="+mn-ea"/>
                <a:cs typeface="Arial"/>
              </a:rPr>
              <a:t>b</a:t>
            </a:r>
            <a:r>
              <a:rPr kumimoji="0" sz="750" b="0" i="0" u="none" strike="noStrike" kern="0" cap="none" spc="0" normalizeH="0" baseline="0" noProof="0" dirty="0">
                <a:ln>
                  <a:noFill/>
                </a:ln>
                <a:solidFill>
                  <a:srgbClr val="7E7E7E"/>
                </a:solidFill>
                <a:effectLst/>
                <a:uLnTx/>
                <a:uFillTx/>
                <a:latin typeface="Arial"/>
                <a:ea typeface="+mn-ea"/>
                <a:cs typeface="Arial"/>
              </a:rPr>
              <a:t>Percentages</a:t>
            </a:r>
            <a:r>
              <a:rPr kumimoji="0" sz="750" b="0" i="0" u="none" strike="noStrike" kern="0" cap="none" spc="85"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do</a:t>
            </a:r>
            <a:r>
              <a:rPr kumimoji="0" sz="750" b="0" i="0" u="none" strike="noStrike" kern="0" cap="none" spc="7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not</a:t>
            </a:r>
            <a:r>
              <a:rPr kumimoji="0" sz="750" b="0" i="0" u="none" strike="noStrike" kern="0" cap="none" spc="6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add</a:t>
            </a:r>
            <a:r>
              <a:rPr kumimoji="0" sz="750" b="0" i="0" u="none" strike="noStrike" kern="0" cap="none" spc="7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up</a:t>
            </a:r>
            <a:r>
              <a:rPr kumimoji="0" sz="750" b="0" i="0" u="none" strike="noStrike" kern="0" cap="none" spc="7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to</a:t>
            </a:r>
            <a:r>
              <a:rPr kumimoji="0" sz="750" b="0" i="0" u="none" strike="noStrike" kern="0" cap="none" spc="6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total</a:t>
            </a:r>
            <a:r>
              <a:rPr kumimoji="0" sz="750" b="0" i="0" u="none" strike="noStrike" kern="0" cap="none" spc="65"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due</a:t>
            </a:r>
            <a:r>
              <a:rPr kumimoji="0" sz="750" b="0" i="0" u="none" strike="noStrike" kern="0" cap="none" spc="7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to</a:t>
            </a:r>
            <a:r>
              <a:rPr kumimoji="0" sz="750" b="0" i="0" u="none" strike="noStrike" kern="0" cap="none" spc="6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rounding.</a:t>
            </a:r>
            <a:r>
              <a:rPr kumimoji="0" sz="750" b="0" i="0" u="none" strike="noStrike" kern="0" cap="none" spc="95"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27777" noProof="0" dirty="0">
                <a:ln>
                  <a:noFill/>
                </a:ln>
                <a:solidFill>
                  <a:srgbClr val="7E7E7E"/>
                </a:solidFill>
                <a:effectLst/>
                <a:uLnTx/>
                <a:uFillTx/>
                <a:latin typeface="Arial"/>
                <a:ea typeface="+mn-ea"/>
                <a:cs typeface="Arial"/>
              </a:rPr>
              <a:t>c</a:t>
            </a:r>
            <a:r>
              <a:rPr kumimoji="0" sz="750" b="0" i="0" u="none" strike="noStrike" kern="0" cap="none" spc="0" normalizeH="0" baseline="0" noProof="0" dirty="0">
                <a:ln>
                  <a:noFill/>
                </a:ln>
                <a:solidFill>
                  <a:srgbClr val="7E7E7E"/>
                </a:solidFill>
                <a:effectLst/>
                <a:uLnTx/>
                <a:uFillTx/>
                <a:latin typeface="Arial"/>
                <a:ea typeface="+mn-ea"/>
                <a:cs typeface="Arial"/>
              </a:rPr>
              <a:t>When</a:t>
            </a:r>
            <a:r>
              <a:rPr kumimoji="0" sz="750" b="0" i="0" u="none" strike="noStrike" kern="0" cap="none" spc="4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the</a:t>
            </a:r>
            <a:r>
              <a:rPr kumimoji="0" sz="750" b="0" i="0" u="none" strike="noStrike" kern="0" cap="none" spc="6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starting</a:t>
            </a:r>
            <a:r>
              <a:rPr kumimoji="0" sz="750" b="0" i="0" u="none" strike="noStrike" kern="0" cap="none" spc="6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dose</a:t>
            </a:r>
            <a:r>
              <a:rPr kumimoji="0" sz="750" b="0" i="0" u="none" strike="noStrike" kern="0" cap="none" spc="7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of</a:t>
            </a:r>
            <a:r>
              <a:rPr kumimoji="0" sz="750" b="0" i="0" u="none" strike="noStrike" kern="0" cap="none" spc="4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Lonca</a:t>
            </a:r>
            <a:r>
              <a:rPr kumimoji="0" sz="750" b="0" i="0" u="none" strike="noStrike" kern="0" cap="none" spc="7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is</a:t>
            </a:r>
            <a:r>
              <a:rPr kumimoji="0" sz="750" b="0" i="0" u="none" strike="noStrike" kern="0" cap="none" spc="65"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120</a:t>
            </a:r>
            <a:r>
              <a:rPr kumimoji="0" sz="750" b="0" i="0" u="none" strike="noStrike" kern="0" cap="none" spc="75"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μg/kg</a:t>
            </a:r>
            <a:r>
              <a:rPr kumimoji="0" sz="750" b="0" i="0" u="none" strike="noStrike" kern="0" cap="none" spc="6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or</a:t>
            </a:r>
            <a:r>
              <a:rPr kumimoji="0" sz="750" b="0" i="0" u="none" strike="noStrike" kern="0" cap="none" spc="65"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150</a:t>
            </a:r>
            <a:r>
              <a:rPr kumimoji="0" sz="750" b="0" i="0" u="none" strike="noStrike" kern="0" cap="none" spc="7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μg/kg,</a:t>
            </a:r>
            <a:r>
              <a:rPr kumimoji="0" sz="750" b="0" i="0" u="none" strike="noStrike" kern="0" cap="none" spc="6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the</a:t>
            </a:r>
            <a:r>
              <a:rPr kumimoji="0" sz="750" b="0" i="0" u="none" strike="noStrike" kern="0" cap="none" spc="6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dose</a:t>
            </a:r>
            <a:r>
              <a:rPr kumimoji="0" sz="750" b="0" i="0" u="none" strike="noStrike" kern="0" cap="none" spc="7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will</a:t>
            </a:r>
            <a:r>
              <a:rPr kumimoji="0" sz="750" b="0" i="0" u="none" strike="noStrike" kern="0" cap="none" spc="65"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be</a:t>
            </a:r>
            <a:r>
              <a:rPr kumimoji="0" sz="750" b="0" i="0" u="none" strike="noStrike" kern="0" cap="none" spc="7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reduced</a:t>
            </a:r>
            <a:r>
              <a:rPr kumimoji="0" sz="750" b="0" i="0" u="none" strike="noStrike" kern="0" cap="none" spc="7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to</a:t>
            </a:r>
            <a:r>
              <a:rPr kumimoji="0" sz="750" b="0" i="0" u="none" strike="noStrike" kern="0" cap="none" spc="6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75</a:t>
            </a:r>
            <a:r>
              <a:rPr kumimoji="0" sz="750" b="0" i="0" u="none" strike="noStrike" kern="0" cap="none" spc="65"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μg/kg</a:t>
            </a:r>
            <a:r>
              <a:rPr kumimoji="0" sz="750" b="0" i="0" u="none" strike="noStrike" kern="0" cap="none" spc="6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for</a:t>
            </a:r>
            <a:r>
              <a:rPr kumimoji="0" sz="750" b="0" i="0" u="none" strike="noStrike" kern="0" cap="none" spc="65"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Cycles</a:t>
            </a:r>
            <a:r>
              <a:rPr kumimoji="0" sz="750" b="0" i="0" u="none" strike="noStrike" kern="0" cap="none" spc="75"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3.</a:t>
            </a:r>
            <a:r>
              <a:rPr kumimoji="0" sz="750" b="0" i="0" u="none" strike="noStrike" kern="0" cap="none" spc="45"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27777" noProof="0" dirty="0">
                <a:ln>
                  <a:noFill/>
                </a:ln>
                <a:solidFill>
                  <a:srgbClr val="7E7E7E"/>
                </a:solidFill>
                <a:effectLst/>
                <a:uLnTx/>
                <a:uFillTx/>
                <a:latin typeface="Arial"/>
                <a:ea typeface="+mn-ea"/>
                <a:cs typeface="Arial"/>
              </a:rPr>
              <a:t>d</a:t>
            </a:r>
            <a:r>
              <a:rPr kumimoji="0" sz="750" b="0" i="0" u="none" strike="noStrike" kern="0" cap="none" spc="0" normalizeH="0" baseline="0" noProof="0" dirty="0">
                <a:ln>
                  <a:noFill/>
                </a:ln>
                <a:solidFill>
                  <a:srgbClr val="7E7E7E"/>
                </a:solidFill>
                <a:effectLst/>
                <a:uLnTx/>
                <a:uFillTx/>
                <a:latin typeface="Arial"/>
                <a:ea typeface="+mn-ea"/>
                <a:cs typeface="Arial"/>
              </a:rPr>
              <a:t>In</a:t>
            </a:r>
            <a:r>
              <a:rPr kumimoji="0" sz="750" b="0" i="0" u="none" strike="noStrike" kern="0" cap="none" spc="6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the</a:t>
            </a:r>
            <a:r>
              <a:rPr kumimoji="0" sz="750" b="0" i="0" u="none" strike="noStrike" kern="0" cap="none" spc="6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efficacy</a:t>
            </a:r>
            <a:r>
              <a:rPr kumimoji="0" sz="750" b="0" i="0" u="none" strike="noStrike" kern="0" cap="none" spc="5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evaluable</a:t>
            </a:r>
            <a:r>
              <a:rPr kumimoji="0" sz="750" b="0" i="0" u="none" strike="noStrike" kern="0" cap="none" spc="10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population,</a:t>
            </a:r>
            <a:r>
              <a:rPr kumimoji="0" sz="750" b="0" i="0" u="none" strike="noStrike" kern="0" cap="none" spc="10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the</a:t>
            </a:r>
            <a:r>
              <a:rPr kumimoji="0" sz="750" b="0" i="0" u="none" strike="noStrike" kern="0" cap="none" spc="6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DOR</a:t>
            </a:r>
            <a:r>
              <a:rPr kumimoji="0" sz="750" b="0" i="0" u="none" strike="noStrike" kern="0" cap="none" spc="6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and</a:t>
            </a:r>
            <a:r>
              <a:rPr kumimoji="0" sz="750" b="0" i="0" u="none" strike="noStrike" kern="0" cap="none" spc="7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probability</a:t>
            </a:r>
            <a:r>
              <a:rPr kumimoji="0" sz="750" b="0" i="0" u="none" strike="noStrike" kern="0" cap="none" spc="11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of</a:t>
            </a:r>
            <a:r>
              <a:rPr kumimoji="0" sz="750" b="0" i="0" u="none" strike="noStrike" kern="0" cap="none" spc="4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maintaining</a:t>
            </a:r>
            <a:r>
              <a:rPr kumimoji="0" sz="750" b="0" i="0" u="none" strike="noStrike" kern="0" cap="none" spc="114"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an</a:t>
            </a:r>
            <a:r>
              <a:rPr kumimoji="0" sz="750" b="0" i="0" u="none" strike="noStrike" kern="0" cap="none" spc="60" normalizeH="0" baseline="0" noProof="0" dirty="0">
                <a:ln>
                  <a:noFill/>
                </a:ln>
                <a:solidFill>
                  <a:srgbClr val="7E7E7E"/>
                </a:solidFill>
                <a:effectLst/>
                <a:uLnTx/>
                <a:uFillTx/>
                <a:latin typeface="Arial"/>
                <a:ea typeface="+mn-ea"/>
                <a:cs typeface="Arial"/>
              </a:rPr>
              <a:t> </a:t>
            </a:r>
            <a:r>
              <a:rPr kumimoji="0" sz="750" b="0" i="0" u="none" strike="noStrike" kern="0" cap="none" spc="-10" normalizeH="0" baseline="0" noProof="0" dirty="0">
                <a:ln>
                  <a:noFill/>
                </a:ln>
                <a:solidFill>
                  <a:srgbClr val="7E7E7E"/>
                </a:solidFill>
                <a:effectLst/>
                <a:uLnTx/>
                <a:uFillTx/>
                <a:latin typeface="Arial"/>
                <a:ea typeface="+mn-ea"/>
                <a:cs typeface="Arial"/>
              </a:rPr>
              <a:t>event-</a:t>
            </a:r>
            <a:r>
              <a:rPr kumimoji="0" sz="750" b="0" i="0" u="none" strike="noStrike" kern="0" cap="none" spc="0" normalizeH="0" baseline="0" noProof="0" dirty="0">
                <a:ln>
                  <a:noFill/>
                </a:ln>
                <a:solidFill>
                  <a:srgbClr val="7E7E7E"/>
                </a:solidFill>
                <a:effectLst/>
                <a:uLnTx/>
                <a:uFillTx/>
                <a:latin typeface="Arial"/>
                <a:ea typeface="+mn-ea"/>
                <a:cs typeface="Arial"/>
              </a:rPr>
              <a:t>free</a:t>
            </a:r>
            <a:r>
              <a:rPr kumimoji="0" sz="750" b="0" i="0" u="none" strike="noStrike" kern="0" cap="none" spc="65"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response</a:t>
            </a:r>
            <a:r>
              <a:rPr kumimoji="0" sz="750" b="0" i="0" u="none" strike="noStrike" kern="0" cap="none" spc="85"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were</a:t>
            </a:r>
            <a:r>
              <a:rPr kumimoji="0" sz="750" b="0" i="0" u="none" strike="noStrike" kern="0" cap="none" spc="7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evaluated</a:t>
            </a:r>
            <a:r>
              <a:rPr kumimoji="0" sz="750" b="0" i="0" u="none" strike="noStrike" kern="0" cap="none" spc="9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in</a:t>
            </a:r>
            <a:r>
              <a:rPr kumimoji="0" sz="750" b="0" i="0" u="none" strike="noStrike" kern="0" cap="none" spc="85"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responders</a:t>
            </a:r>
            <a:r>
              <a:rPr kumimoji="0" sz="750" b="0" i="0" u="none" strike="noStrike" kern="0" cap="none" spc="9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n=28),</a:t>
            </a:r>
            <a:r>
              <a:rPr kumimoji="0" sz="750" b="0" i="0" u="none" strike="noStrike" kern="0" cap="none" spc="65"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including</a:t>
            </a:r>
            <a:r>
              <a:rPr kumimoji="0" sz="750" b="0" i="0" u="none" strike="noStrike" kern="0" cap="none" spc="11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all</a:t>
            </a:r>
            <a:r>
              <a:rPr kumimoji="0" sz="750" b="0" i="0" u="none" strike="noStrike" kern="0" cap="none" spc="75"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patients</a:t>
            </a:r>
            <a:r>
              <a:rPr kumimoji="0" sz="750" b="0" i="0" u="none" strike="noStrike" kern="0" cap="none" spc="9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who</a:t>
            </a:r>
            <a:r>
              <a:rPr kumimoji="0" sz="750" b="0" i="0" u="none" strike="noStrike" kern="0" cap="none" spc="7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had</a:t>
            </a:r>
            <a:r>
              <a:rPr kumimoji="0" sz="750" b="0" i="0" u="none" strike="noStrike" kern="0" cap="none" spc="8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a</a:t>
            </a:r>
            <a:r>
              <a:rPr kumimoji="0" sz="750" b="0" i="0" u="none" strike="noStrike" kern="0" cap="none" spc="8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best</a:t>
            </a:r>
            <a:r>
              <a:rPr kumimoji="0" sz="750" b="0" i="0" u="none" strike="noStrike" kern="0" cap="none" spc="5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response</a:t>
            </a:r>
            <a:r>
              <a:rPr kumimoji="0" sz="750" b="0" i="0" u="none" strike="noStrike" kern="0" cap="none" spc="85"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of</a:t>
            </a:r>
            <a:r>
              <a:rPr kumimoji="0" sz="750" b="0" i="0" u="none" strike="noStrike" kern="0" cap="none" spc="65"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CR</a:t>
            </a:r>
            <a:r>
              <a:rPr kumimoji="0" sz="750" b="0" i="0" u="none" strike="noStrike" kern="0" cap="none" spc="60" normalizeH="0" baseline="0" noProof="0" dirty="0">
                <a:ln>
                  <a:noFill/>
                </a:ln>
                <a:solidFill>
                  <a:srgbClr val="7E7E7E"/>
                </a:solidFill>
                <a:effectLst/>
                <a:uLnTx/>
                <a:uFillTx/>
                <a:latin typeface="Arial"/>
                <a:ea typeface="+mn-ea"/>
                <a:cs typeface="Arial"/>
              </a:rPr>
              <a:t> </a:t>
            </a:r>
            <a:r>
              <a:rPr kumimoji="0" sz="750" b="0" i="0" u="none" strike="noStrike" kern="0" cap="none" spc="0" normalizeH="0" baseline="0" noProof="0" dirty="0">
                <a:ln>
                  <a:noFill/>
                </a:ln>
                <a:solidFill>
                  <a:srgbClr val="7E7E7E"/>
                </a:solidFill>
                <a:effectLst/>
                <a:uLnTx/>
                <a:uFillTx/>
                <a:latin typeface="Arial"/>
                <a:ea typeface="+mn-ea"/>
                <a:cs typeface="Arial"/>
              </a:rPr>
              <a:t>or</a:t>
            </a:r>
            <a:r>
              <a:rPr kumimoji="0" sz="750" b="0" i="0" u="none" strike="noStrike" kern="0" cap="none" spc="75" normalizeH="0" baseline="0" noProof="0" dirty="0">
                <a:ln>
                  <a:noFill/>
                </a:ln>
                <a:solidFill>
                  <a:srgbClr val="7E7E7E"/>
                </a:solidFill>
                <a:effectLst/>
                <a:uLnTx/>
                <a:uFillTx/>
                <a:latin typeface="Arial"/>
                <a:ea typeface="+mn-ea"/>
                <a:cs typeface="Arial"/>
              </a:rPr>
              <a:t> </a:t>
            </a:r>
            <a:r>
              <a:rPr kumimoji="0" sz="750" b="0" i="0" u="none" strike="noStrike" kern="0" cap="none" spc="-25" normalizeH="0" baseline="0" noProof="0" dirty="0">
                <a:ln>
                  <a:noFill/>
                </a:ln>
                <a:solidFill>
                  <a:srgbClr val="7E7E7E"/>
                </a:solidFill>
                <a:effectLst/>
                <a:uLnTx/>
                <a:uFillTx/>
                <a:latin typeface="Arial"/>
                <a:ea typeface="+mn-ea"/>
                <a:cs typeface="Arial"/>
              </a:rPr>
              <a:t>PR.</a:t>
            </a:r>
            <a:endParaRPr kumimoji="0" sz="750" b="0" i="0" u="none" strike="noStrike" kern="0" cap="none" spc="0" normalizeH="0" baseline="0" noProof="0" dirty="0">
              <a:ln>
                <a:noFill/>
              </a:ln>
              <a:solidFill>
                <a:sysClr val="windowText" lastClr="000000"/>
              </a:solidFill>
              <a:effectLst/>
              <a:uLnTx/>
              <a:uFillTx/>
              <a:latin typeface="Arial"/>
              <a:ea typeface="+mn-ea"/>
              <a:cs typeface="Arial"/>
            </a:endParaRPr>
          </a:p>
        </p:txBody>
      </p:sp>
      <p:graphicFrame>
        <p:nvGraphicFramePr>
          <p:cNvPr id="16" name="object 16"/>
          <p:cNvGraphicFramePr>
            <a:graphicFrameLocks noGrp="1"/>
          </p:cNvGraphicFramePr>
          <p:nvPr/>
        </p:nvGraphicFramePr>
        <p:xfrm>
          <a:off x="6784720" y="2041579"/>
          <a:ext cx="5075555" cy="2767965"/>
        </p:xfrm>
        <a:graphic>
          <a:graphicData uri="http://schemas.openxmlformats.org/drawingml/2006/table">
            <a:tbl>
              <a:tblPr firstRow="1" bandRow="1">
                <a:tableStyleId>{2D5ABB26-0587-4C30-8999-92F81FD0307C}</a:tableStyleId>
              </a:tblPr>
              <a:tblGrid>
                <a:gridCol w="1433195">
                  <a:extLst>
                    <a:ext uri="{9D8B030D-6E8A-4147-A177-3AD203B41FA5}">
                      <a16:colId xmlns:a16="http://schemas.microsoft.com/office/drawing/2014/main" val="20000"/>
                    </a:ext>
                  </a:extLst>
                </a:gridCol>
                <a:gridCol w="1395730">
                  <a:extLst>
                    <a:ext uri="{9D8B030D-6E8A-4147-A177-3AD203B41FA5}">
                      <a16:colId xmlns:a16="http://schemas.microsoft.com/office/drawing/2014/main" val="20001"/>
                    </a:ext>
                  </a:extLst>
                </a:gridCol>
                <a:gridCol w="1360170">
                  <a:extLst>
                    <a:ext uri="{9D8B030D-6E8A-4147-A177-3AD203B41FA5}">
                      <a16:colId xmlns:a16="http://schemas.microsoft.com/office/drawing/2014/main" val="20002"/>
                    </a:ext>
                  </a:extLst>
                </a:gridCol>
                <a:gridCol w="886460">
                  <a:extLst>
                    <a:ext uri="{9D8B030D-6E8A-4147-A177-3AD203B41FA5}">
                      <a16:colId xmlns:a16="http://schemas.microsoft.com/office/drawing/2014/main" val="20003"/>
                    </a:ext>
                  </a:extLst>
                </a:gridCol>
              </a:tblGrid>
              <a:tr h="697865">
                <a:tc>
                  <a:txBody>
                    <a:bodyPr/>
                    <a:lstStyle/>
                    <a:p>
                      <a:pPr marL="58419" marR="264795">
                        <a:lnSpc>
                          <a:spcPts val="1390"/>
                        </a:lnSpc>
                        <a:spcBef>
                          <a:spcPts val="1360"/>
                        </a:spcBef>
                      </a:pPr>
                      <a:r>
                        <a:rPr sz="1250" b="1" spc="-10" dirty="0">
                          <a:solidFill>
                            <a:srgbClr val="FFFFFF"/>
                          </a:solidFill>
                          <a:latin typeface="Arial"/>
                          <a:cs typeface="Arial"/>
                        </a:rPr>
                        <a:t>Characteristic, </a:t>
                      </a:r>
                      <a:r>
                        <a:rPr sz="1250" b="1" dirty="0">
                          <a:solidFill>
                            <a:srgbClr val="FFFFFF"/>
                          </a:solidFill>
                          <a:latin typeface="Arial"/>
                          <a:cs typeface="Arial"/>
                        </a:rPr>
                        <a:t>n</a:t>
                      </a:r>
                      <a:r>
                        <a:rPr sz="1250" b="1" spc="-10" dirty="0">
                          <a:solidFill>
                            <a:srgbClr val="FFFFFF"/>
                          </a:solidFill>
                          <a:latin typeface="Arial"/>
                          <a:cs typeface="Arial"/>
                        </a:rPr>
                        <a:t> </a:t>
                      </a:r>
                      <a:r>
                        <a:rPr sz="1250" b="1" spc="-25" dirty="0">
                          <a:solidFill>
                            <a:srgbClr val="FFFFFF"/>
                          </a:solidFill>
                          <a:latin typeface="Arial"/>
                          <a:cs typeface="Arial"/>
                        </a:rPr>
                        <a:t>(%)</a:t>
                      </a:r>
                      <a:endParaRPr sz="1250">
                        <a:latin typeface="Arial"/>
                        <a:cs typeface="Arial"/>
                      </a:endParaRPr>
                    </a:p>
                  </a:txBody>
                  <a:tcPr marL="0" marR="0" marT="172720" marB="0">
                    <a:lnL w="12700">
                      <a:solidFill>
                        <a:srgbClr val="009FD5"/>
                      </a:solidFill>
                      <a:prstDash val="solid"/>
                    </a:lnL>
                    <a:lnT w="12700">
                      <a:solidFill>
                        <a:srgbClr val="009FD5"/>
                      </a:solidFill>
                      <a:prstDash val="solid"/>
                    </a:lnT>
                    <a:lnB w="12700">
                      <a:solidFill>
                        <a:srgbClr val="009FD5"/>
                      </a:solidFill>
                      <a:prstDash val="solid"/>
                    </a:lnB>
                    <a:solidFill>
                      <a:srgbClr val="183D8E"/>
                    </a:solidFill>
                  </a:tcPr>
                </a:tc>
                <a:tc>
                  <a:txBody>
                    <a:bodyPr/>
                    <a:lstStyle/>
                    <a:p>
                      <a:pPr marL="161925" marR="116205" algn="ctr">
                        <a:lnSpc>
                          <a:spcPct val="98400"/>
                        </a:lnSpc>
                        <a:spcBef>
                          <a:spcPts val="465"/>
                        </a:spcBef>
                      </a:pPr>
                      <a:r>
                        <a:rPr sz="1250" b="1" dirty="0">
                          <a:solidFill>
                            <a:srgbClr val="FFFFFF"/>
                          </a:solidFill>
                          <a:latin typeface="Arial"/>
                          <a:cs typeface="Arial"/>
                        </a:rPr>
                        <a:t>Glofit</a:t>
                      </a:r>
                      <a:r>
                        <a:rPr sz="1250" b="1" spc="-25" dirty="0">
                          <a:solidFill>
                            <a:srgbClr val="FFFFFF"/>
                          </a:solidFill>
                          <a:latin typeface="Arial"/>
                          <a:cs typeface="Arial"/>
                        </a:rPr>
                        <a:t> </a:t>
                      </a:r>
                      <a:r>
                        <a:rPr sz="1250" b="1" dirty="0">
                          <a:solidFill>
                            <a:srgbClr val="FFFFFF"/>
                          </a:solidFill>
                          <a:latin typeface="Arial"/>
                          <a:cs typeface="Arial"/>
                        </a:rPr>
                        <a:t>+</a:t>
                      </a:r>
                      <a:r>
                        <a:rPr sz="1250" b="1" spc="-10" dirty="0">
                          <a:solidFill>
                            <a:srgbClr val="FFFFFF"/>
                          </a:solidFill>
                          <a:latin typeface="Arial"/>
                          <a:cs typeface="Arial"/>
                        </a:rPr>
                        <a:t> Lonca, </a:t>
                      </a:r>
                      <a:r>
                        <a:rPr sz="1250" b="1" dirty="0">
                          <a:solidFill>
                            <a:srgbClr val="FFFFFF"/>
                          </a:solidFill>
                          <a:latin typeface="Arial"/>
                          <a:cs typeface="Arial"/>
                        </a:rPr>
                        <a:t>120</a:t>
                      </a:r>
                      <a:r>
                        <a:rPr sz="1250" b="1" spc="-15" dirty="0">
                          <a:solidFill>
                            <a:srgbClr val="FFFFFF"/>
                          </a:solidFill>
                          <a:latin typeface="Arial"/>
                          <a:cs typeface="Arial"/>
                        </a:rPr>
                        <a:t> </a:t>
                      </a:r>
                      <a:r>
                        <a:rPr sz="1250" b="1" spc="-10" dirty="0">
                          <a:solidFill>
                            <a:srgbClr val="FFFFFF"/>
                          </a:solidFill>
                          <a:latin typeface="Arial"/>
                          <a:cs typeface="Arial"/>
                        </a:rPr>
                        <a:t>μg/kg</a:t>
                      </a:r>
                      <a:r>
                        <a:rPr sz="1350" spc="-15" baseline="24691" dirty="0">
                          <a:solidFill>
                            <a:srgbClr val="FFFFFF"/>
                          </a:solidFill>
                          <a:latin typeface="Arial"/>
                          <a:cs typeface="Arial"/>
                        </a:rPr>
                        <a:t>c </a:t>
                      </a:r>
                      <a:r>
                        <a:rPr sz="1250" b="1" spc="-10" dirty="0">
                          <a:solidFill>
                            <a:srgbClr val="FFFFFF"/>
                          </a:solidFill>
                          <a:latin typeface="Arial"/>
                          <a:cs typeface="Arial"/>
                        </a:rPr>
                        <a:t>(n=15)</a:t>
                      </a:r>
                      <a:endParaRPr sz="1250">
                        <a:latin typeface="Arial"/>
                        <a:cs typeface="Arial"/>
                      </a:endParaRPr>
                    </a:p>
                  </a:txBody>
                  <a:tcPr marL="0" marR="0" marT="59055" marB="0">
                    <a:lnT w="12700">
                      <a:solidFill>
                        <a:srgbClr val="009FD5"/>
                      </a:solidFill>
                      <a:prstDash val="solid"/>
                    </a:lnT>
                    <a:lnB w="12700">
                      <a:solidFill>
                        <a:srgbClr val="009FD5"/>
                      </a:solidFill>
                      <a:prstDash val="solid"/>
                    </a:lnB>
                    <a:solidFill>
                      <a:srgbClr val="183D8E"/>
                    </a:solidFill>
                  </a:tcPr>
                </a:tc>
                <a:tc>
                  <a:txBody>
                    <a:bodyPr/>
                    <a:lstStyle/>
                    <a:p>
                      <a:pPr marL="123825" marR="118745" algn="ctr">
                        <a:lnSpc>
                          <a:spcPct val="98400"/>
                        </a:lnSpc>
                        <a:spcBef>
                          <a:spcPts val="465"/>
                        </a:spcBef>
                      </a:pPr>
                      <a:r>
                        <a:rPr sz="1250" b="1" dirty="0">
                          <a:solidFill>
                            <a:srgbClr val="FFFFFF"/>
                          </a:solidFill>
                          <a:latin typeface="Arial"/>
                          <a:cs typeface="Arial"/>
                        </a:rPr>
                        <a:t>Glofit</a:t>
                      </a:r>
                      <a:r>
                        <a:rPr sz="1250" b="1" spc="-20" dirty="0">
                          <a:solidFill>
                            <a:srgbClr val="FFFFFF"/>
                          </a:solidFill>
                          <a:latin typeface="Arial"/>
                          <a:cs typeface="Arial"/>
                        </a:rPr>
                        <a:t> </a:t>
                      </a:r>
                      <a:r>
                        <a:rPr sz="1250" b="1" dirty="0">
                          <a:solidFill>
                            <a:srgbClr val="FFFFFF"/>
                          </a:solidFill>
                          <a:latin typeface="Arial"/>
                          <a:cs typeface="Arial"/>
                        </a:rPr>
                        <a:t>+</a:t>
                      </a:r>
                      <a:r>
                        <a:rPr sz="1250" b="1" spc="-10" dirty="0">
                          <a:solidFill>
                            <a:srgbClr val="FFFFFF"/>
                          </a:solidFill>
                          <a:latin typeface="Arial"/>
                          <a:cs typeface="Arial"/>
                        </a:rPr>
                        <a:t> Lonca, </a:t>
                      </a:r>
                      <a:r>
                        <a:rPr sz="1250" b="1" dirty="0">
                          <a:solidFill>
                            <a:srgbClr val="FFFFFF"/>
                          </a:solidFill>
                          <a:latin typeface="Arial"/>
                          <a:cs typeface="Arial"/>
                        </a:rPr>
                        <a:t>150</a:t>
                      </a:r>
                      <a:r>
                        <a:rPr sz="1250" b="1" spc="-10" dirty="0">
                          <a:solidFill>
                            <a:srgbClr val="FFFFFF"/>
                          </a:solidFill>
                          <a:latin typeface="Arial"/>
                          <a:cs typeface="Arial"/>
                        </a:rPr>
                        <a:t> μg/kg</a:t>
                      </a:r>
                      <a:r>
                        <a:rPr sz="1350" spc="-15" baseline="24691" dirty="0">
                          <a:solidFill>
                            <a:srgbClr val="FFFFFF"/>
                          </a:solidFill>
                          <a:latin typeface="Arial"/>
                          <a:cs typeface="Arial"/>
                        </a:rPr>
                        <a:t>c </a:t>
                      </a:r>
                      <a:r>
                        <a:rPr sz="1250" b="1" spc="-10" dirty="0">
                          <a:solidFill>
                            <a:srgbClr val="FFFFFF"/>
                          </a:solidFill>
                          <a:latin typeface="Arial"/>
                          <a:cs typeface="Arial"/>
                        </a:rPr>
                        <a:t>(n=15)</a:t>
                      </a:r>
                      <a:endParaRPr sz="1250">
                        <a:latin typeface="Arial"/>
                        <a:cs typeface="Arial"/>
                      </a:endParaRPr>
                    </a:p>
                  </a:txBody>
                  <a:tcPr marL="0" marR="0" marT="59055" marB="0">
                    <a:lnT w="12700">
                      <a:solidFill>
                        <a:srgbClr val="009FD5"/>
                      </a:solidFill>
                      <a:prstDash val="solid"/>
                    </a:lnT>
                    <a:lnB w="12700">
                      <a:solidFill>
                        <a:srgbClr val="009FD5"/>
                      </a:solidFill>
                      <a:prstDash val="solid"/>
                    </a:lnB>
                    <a:solidFill>
                      <a:srgbClr val="183D8E"/>
                    </a:solidFill>
                  </a:tcPr>
                </a:tc>
                <a:tc>
                  <a:txBody>
                    <a:bodyPr/>
                    <a:lstStyle/>
                    <a:p>
                      <a:pPr marL="126364" marR="133985" algn="ctr">
                        <a:lnSpc>
                          <a:spcPts val="1390"/>
                        </a:lnSpc>
                        <a:spcBef>
                          <a:spcPts val="660"/>
                        </a:spcBef>
                      </a:pPr>
                      <a:r>
                        <a:rPr sz="1250" b="1" dirty="0">
                          <a:solidFill>
                            <a:srgbClr val="FFFFFF"/>
                          </a:solidFill>
                          <a:latin typeface="Arial"/>
                          <a:cs typeface="Arial"/>
                        </a:rPr>
                        <a:t>All</a:t>
                      </a:r>
                      <a:r>
                        <a:rPr sz="1250" b="1" spc="-15" dirty="0">
                          <a:solidFill>
                            <a:srgbClr val="FFFFFF"/>
                          </a:solidFill>
                          <a:latin typeface="Arial"/>
                          <a:cs typeface="Arial"/>
                        </a:rPr>
                        <a:t> </a:t>
                      </a:r>
                      <a:r>
                        <a:rPr sz="1250" b="1" spc="-20" dirty="0">
                          <a:solidFill>
                            <a:srgbClr val="FFFFFF"/>
                          </a:solidFill>
                          <a:latin typeface="Arial"/>
                          <a:cs typeface="Arial"/>
                        </a:rPr>
                        <a:t>dose </a:t>
                      </a:r>
                      <a:r>
                        <a:rPr sz="1250" b="1" spc="-10" dirty="0">
                          <a:solidFill>
                            <a:srgbClr val="FFFFFF"/>
                          </a:solidFill>
                          <a:latin typeface="Arial"/>
                          <a:cs typeface="Arial"/>
                        </a:rPr>
                        <a:t>levels (N=30)</a:t>
                      </a:r>
                      <a:endParaRPr sz="1250">
                        <a:latin typeface="Arial"/>
                        <a:cs typeface="Arial"/>
                      </a:endParaRPr>
                    </a:p>
                  </a:txBody>
                  <a:tcPr marL="0" marR="0" marT="83820" marB="0">
                    <a:lnR w="12700">
                      <a:solidFill>
                        <a:srgbClr val="009FD5"/>
                      </a:solidFill>
                      <a:prstDash val="solid"/>
                    </a:lnR>
                    <a:lnT w="12700">
                      <a:solidFill>
                        <a:srgbClr val="009FD5"/>
                      </a:solidFill>
                      <a:prstDash val="solid"/>
                    </a:lnT>
                    <a:lnB w="12700">
                      <a:solidFill>
                        <a:srgbClr val="009FD5"/>
                      </a:solidFill>
                      <a:prstDash val="solid"/>
                    </a:lnB>
                    <a:solidFill>
                      <a:srgbClr val="183D8E"/>
                    </a:solidFill>
                  </a:tcPr>
                </a:tc>
                <a:extLst>
                  <a:ext uri="{0D108BD9-81ED-4DB2-BD59-A6C34878D82A}">
                    <a16:rowId xmlns:a16="http://schemas.microsoft.com/office/drawing/2014/main" val="10000"/>
                  </a:ext>
                </a:extLst>
              </a:tr>
              <a:tr h="572135">
                <a:tc>
                  <a:txBody>
                    <a:bodyPr/>
                    <a:lstStyle/>
                    <a:p>
                      <a:pPr marL="92075">
                        <a:lnSpc>
                          <a:spcPts val="1445"/>
                        </a:lnSpc>
                        <a:spcBef>
                          <a:spcPts val="730"/>
                        </a:spcBef>
                      </a:pPr>
                      <a:r>
                        <a:rPr sz="1250" b="1" spc="-20" dirty="0">
                          <a:latin typeface="Arial"/>
                          <a:cs typeface="Arial"/>
                        </a:rPr>
                        <a:t>DOR</a:t>
                      </a:r>
                      <a:r>
                        <a:rPr sz="1200" b="1" spc="-30" baseline="24305" dirty="0">
                          <a:latin typeface="Arial"/>
                          <a:cs typeface="Arial"/>
                        </a:rPr>
                        <a:t>d</a:t>
                      </a:r>
                      <a:endParaRPr sz="1200" baseline="24305">
                        <a:latin typeface="Arial"/>
                        <a:cs typeface="Arial"/>
                      </a:endParaRPr>
                    </a:p>
                    <a:p>
                      <a:pPr marL="206375">
                        <a:lnSpc>
                          <a:spcPts val="1445"/>
                        </a:lnSpc>
                      </a:pPr>
                      <a:r>
                        <a:rPr sz="1250" b="1" spc="-10" dirty="0">
                          <a:latin typeface="Arial"/>
                          <a:cs typeface="Arial"/>
                        </a:rPr>
                        <a:t>Median</a:t>
                      </a:r>
                      <a:endParaRPr sz="1250">
                        <a:latin typeface="Arial"/>
                        <a:cs typeface="Arial"/>
                      </a:endParaRPr>
                    </a:p>
                  </a:txBody>
                  <a:tcPr marL="0" marR="0" marT="92710" marB="0">
                    <a:lnL w="12700">
                      <a:solidFill>
                        <a:srgbClr val="009FD5"/>
                      </a:solidFill>
                      <a:prstDash val="solid"/>
                    </a:lnL>
                    <a:lnT w="12700">
                      <a:solidFill>
                        <a:srgbClr val="009FD5"/>
                      </a:solidFill>
                      <a:prstDash val="solid"/>
                    </a:lnT>
                    <a:lnB w="12700">
                      <a:solidFill>
                        <a:srgbClr val="009FD5"/>
                      </a:solidFill>
                      <a:prstDash val="solid"/>
                    </a:lnB>
                    <a:solidFill>
                      <a:srgbClr val="FFFFFF"/>
                    </a:solidFill>
                  </a:tcPr>
                </a:tc>
                <a:tc>
                  <a:txBody>
                    <a:bodyPr/>
                    <a:lstStyle/>
                    <a:p>
                      <a:pPr marL="39370" algn="ctr">
                        <a:lnSpc>
                          <a:spcPts val="1445"/>
                        </a:lnSpc>
                        <a:spcBef>
                          <a:spcPts val="730"/>
                        </a:spcBef>
                      </a:pPr>
                      <a:r>
                        <a:rPr sz="1250" spc="-10" dirty="0">
                          <a:latin typeface="Arial"/>
                          <a:cs typeface="Arial"/>
                        </a:rPr>
                        <a:t>(n=14)</a:t>
                      </a:r>
                      <a:endParaRPr sz="1250">
                        <a:latin typeface="Arial"/>
                        <a:cs typeface="Arial"/>
                      </a:endParaRPr>
                    </a:p>
                    <a:p>
                      <a:pPr marL="40640" algn="ctr">
                        <a:lnSpc>
                          <a:spcPts val="1445"/>
                        </a:lnSpc>
                      </a:pPr>
                      <a:r>
                        <a:rPr sz="1250" spc="-25" dirty="0">
                          <a:latin typeface="Arial"/>
                          <a:cs typeface="Arial"/>
                        </a:rPr>
                        <a:t>NE</a:t>
                      </a:r>
                      <a:endParaRPr sz="1250">
                        <a:latin typeface="Arial"/>
                        <a:cs typeface="Arial"/>
                      </a:endParaRPr>
                    </a:p>
                  </a:txBody>
                  <a:tcPr marL="0" marR="0" marT="92710" marB="0">
                    <a:lnT w="12700">
                      <a:solidFill>
                        <a:srgbClr val="009FD5"/>
                      </a:solidFill>
                      <a:prstDash val="solid"/>
                    </a:lnT>
                    <a:lnB w="12700">
                      <a:solidFill>
                        <a:srgbClr val="009FD5"/>
                      </a:solidFill>
                      <a:prstDash val="solid"/>
                    </a:lnB>
                    <a:solidFill>
                      <a:srgbClr val="FFFFFF"/>
                    </a:solidFill>
                  </a:tcPr>
                </a:tc>
                <a:tc>
                  <a:txBody>
                    <a:bodyPr/>
                    <a:lstStyle/>
                    <a:p>
                      <a:pPr algn="ctr">
                        <a:lnSpc>
                          <a:spcPts val="1445"/>
                        </a:lnSpc>
                        <a:spcBef>
                          <a:spcPts val="730"/>
                        </a:spcBef>
                      </a:pPr>
                      <a:r>
                        <a:rPr sz="1250" spc="-10" dirty="0">
                          <a:latin typeface="Arial"/>
                          <a:cs typeface="Arial"/>
                        </a:rPr>
                        <a:t>(n=14)</a:t>
                      </a:r>
                      <a:endParaRPr sz="1250">
                        <a:latin typeface="Arial"/>
                        <a:cs typeface="Arial"/>
                      </a:endParaRPr>
                    </a:p>
                    <a:p>
                      <a:pPr algn="ctr">
                        <a:lnSpc>
                          <a:spcPts val="1445"/>
                        </a:lnSpc>
                      </a:pPr>
                      <a:r>
                        <a:rPr sz="1250" spc="-25" dirty="0">
                          <a:latin typeface="Arial"/>
                          <a:cs typeface="Arial"/>
                        </a:rPr>
                        <a:t>NE</a:t>
                      </a:r>
                      <a:endParaRPr sz="1250">
                        <a:latin typeface="Arial"/>
                        <a:cs typeface="Arial"/>
                      </a:endParaRPr>
                    </a:p>
                  </a:txBody>
                  <a:tcPr marL="0" marR="0" marT="92710" marB="0">
                    <a:lnT w="12700">
                      <a:solidFill>
                        <a:srgbClr val="009FD5"/>
                      </a:solidFill>
                      <a:prstDash val="solid"/>
                    </a:lnT>
                    <a:lnB w="12700">
                      <a:solidFill>
                        <a:srgbClr val="009FD5"/>
                      </a:solidFill>
                      <a:prstDash val="solid"/>
                    </a:lnB>
                    <a:solidFill>
                      <a:srgbClr val="FFFFFF"/>
                    </a:solidFill>
                  </a:tcPr>
                </a:tc>
                <a:tc>
                  <a:txBody>
                    <a:bodyPr/>
                    <a:lstStyle/>
                    <a:p>
                      <a:pPr marR="7620" algn="ctr">
                        <a:lnSpc>
                          <a:spcPts val="1445"/>
                        </a:lnSpc>
                        <a:spcBef>
                          <a:spcPts val="730"/>
                        </a:spcBef>
                      </a:pPr>
                      <a:r>
                        <a:rPr sz="1250" spc="-10" dirty="0">
                          <a:latin typeface="Arial"/>
                          <a:cs typeface="Arial"/>
                        </a:rPr>
                        <a:t>(n=28)</a:t>
                      </a:r>
                      <a:endParaRPr sz="1250">
                        <a:latin typeface="Arial"/>
                        <a:cs typeface="Arial"/>
                      </a:endParaRPr>
                    </a:p>
                    <a:p>
                      <a:pPr marR="7620" algn="ctr">
                        <a:lnSpc>
                          <a:spcPts val="1445"/>
                        </a:lnSpc>
                      </a:pPr>
                      <a:r>
                        <a:rPr sz="1250" spc="-25" dirty="0">
                          <a:latin typeface="Arial"/>
                          <a:cs typeface="Arial"/>
                        </a:rPr>
                        <a:t>NE</a:t>
                      </a:r>
                      <a:endParaRPr sz="1250">
                        <a:latin typeface="Arial"/>
                        <a:cs typeface="Arial"/>
                      </a:endParaRPr>
                    </a:p>
                  </a:txBody>
                  <a:tcPr marL="0" marR="0" marT="92710" marB="0">
                    <a:lnR w="12700">
                      <a:solidFill>
                        <a:srgbClr val="009FD5"/>
                      </a:solidFill>
                      <a:prstDash val="solid"/>
                    </a:lnR>
                    <a:lnT w="12700">
                      <a:solidFill>
                        <a:srgbClr val="009FD5"/>
                      </a:solidFill>
                      <a:prstDash val="solid"/>
                    </a:lnT>
                    <a:lnB w="12700">
                      <a:solidFill>
                        <a:srgbClr val="009FD5"/>
                      </a:solidFill>
                      <a:prstDash val="solid"/>
                    </a:lnB>
                    <a:solidFill>
                      <a:srgbClr val="FFFFFF"/>
                    </a:solidFill>
                  </a:tcPr>
                </a:tc>
                <a:extLst>
                  <a:ext uri="{0D108BD9-81ED-4DB2-BD59-A6C34878D82A}">
                    <a16:rowId xmlns:a16="http://schemas.microsoft.com/office/drawing/2014/main" val="10001"/>
                  </a:ext>
                </a:extLst>
              </a:tr>
              <a:tr h="920115">
                <a:tc>
                  <a:txBody>
                    <a:bodyPr/>
                    <a:lstStyle/>
                    <a:p>
                      <a:pPr marL="92075" marR="427990">
                        <a:lnSpc>
                          <a:spcPts val="1390"/>
                        </a:lnSpc>
                        <a:spcBef>
                          <a:spcPts val="865"/>
                        </a:spcBef>
                      </a:pPr>
                      <a:r>
                        <a:rPr sz="1250" b="1" dirty="0">
                          <a:latin typeface="Arial"/>
                          <a:cs typeface="Arial"/>
                        </a:rPr>
                        <a:t>Time</a:t>
                      </a:r>
                      <a:r>
                        <a:rPr sz="1250" b="1" spc="-20" dirty="0">
                          <a:latin typeface="Arial"/>
                          <a:cs typeface="Arial"/>
                        </a:rPr>
                        <a:t> </a:t>
                      </a:r>
                      <a:r>
                        <a:rPr sz="1250" b="1" dirty="0">
                          <a:latin typeface="Arial"/>
                          <a:cs typeface="Arial"/>
                        </a:rPr>
                        <a:t>to</a:t>
                      </a:r>
                      <a:r>
                        <a:rPr sz="1250" b="1" spc="-50" dirty="0">
                          <a:latin typeface="Arial"/>
                          <a:cs typeface="Arial"/>
                        </a:rPr>
                        <a:t> </a:t>
                      </a:r>
                      <a:r>
                        <a:rPr sz="1250" b="1" spc="-10" dirty="0">
                          <a:latin typeface="Arial"/>
                          <a:cs typeface="Arial"/>
                        </a:rPr>
                        <a:t>first response </a:t>
                      </a:r>
                      <a:r>
                        <a:rPr sz="1250" b="1" dirty="0">
                          <a:latin typeface="Arial"/>
                          <a:cs typeface="Arial"/>
                        </a:rPr>
                        <a:t>(CR</a:t>
                      </a:r>
                      <a:r>
                        <a:rPr sz="1250" b="1" spc="-15" dirty="0">
                          <a:latin typeface="Arial"/>
                          <a:cs typeface="Arial"/>
                        </a:rPr>
                        <a:t> </a:t>
                      </a:r>
                      <a:r>
                        <a:rPr sz="1250" b="1" dirty="0">
                          <a:latin typeface="Arial"/>
                          <a:cs typeface="Arial"/>
                        </a:rPr>
                        <a:t>or</a:t>
                      </a:r>
                      <a:r>
                        <a:rPr sz="1250" b="1" spc="-20" dirty="0">
                          <a:latin typeface="Arial"/>
                          <a:cs typeface="Arial"/>
                        </a:rPr>
                        <a:t> </a:t>
                      </a:r>
                      <a:r>
                        <a:rPr sz="1250" b="1" spc="-25" dirty="0">
                          <a:latin typeface="Arial"/>
                          <a:cs typeface="Arial"/>
                        </a:rPr>
                        <a:t>PR)</a:t>
                      </a:r>
                      <a:endParaRPr sz="1250">
                        <a:latin typeface="Arial"/>
                        <a:cs typeface="Arial"/>
                      </a:endParaRPr>
                    </a:p>
                    <a:p>
                      <a:pPr marL="206375">
                        <a:lnSpc>
                          <a:spcPts val="1370"/>
                        </a:lnSpc>
                      </a:pPr>
                      <a:r>
                        <a:rPr sz="1250" b="1" dirty="0">
                          <a:latin typeface="Arial"/>
                          <a:cs typeface="Arial"/>
                        </a:rPr>
                        <a:t>Median,</a:t>
                      </a:r>
                      <a:r>
                        <a:rPr sz="1250" b="1" spc="-35" dirty="0">
                          <a:latin typeface="Arial"/>
                          <a:cs typeface="Arial"/>
                        </a:rPr>
                        <a:t> </a:t>
                      </a:r>
                      <a:r>
                        <a:rPr sz="1250" b="1" spc="-20" dirty="0">
                          <a:latin typeface="Arial"/>
                          <a:cs typeface="Arial"/>
                        </a:rPr>
                        <a:t>days</a:t>
                      </a:r>
                      <a:endParaRPr sz="1250">
                        <a:latin typeface="Arial"/>
                        <a:cs typeface="Arial"/>
                      </a:endParaRPr>
                    </a:p>
                  </a:txBody>
                  <a:tcPr marL="0" marR="0" marT="109855" marB="0">
                    <a:lnL w="12700">
                      <a:solidFill>
                        <a:srgbClr val="009FD5"/>
                      </a:solidFill>
                      <a:prstDash val="solid"/>
                    </a:lnL>
                    <a:lnT w="12700">
                      <a:solidFill>
                        <a:srgbClr val="009FD5"/>
                      </a:solidFill>
                      <a:prstDash val="solid"/>
                    </a:lnT>
                    <a:lnB w="28575">
                      <a:solidFill>
                        <a:srgbClr val="F4680D"/>
                      </a:solidFill>
                      <a:prstDash val="solid"/>
                    </a:lnB>
                    <a:solidFill>
                      <a:srgbClr val="EBEBEB"/>
                    </a:solidFill>
                  </a:tcPr>
                </a:tc>
                <a:tc>
                  <a:txBody>
                    <a:bodyPr/>
                    <a:lstStyle/>
                    <a:p>
                      <a:pPr>
                        <a:lnSpc>
                          <a:spcPct val="100000"/>
                        </a:lnSpc>
                        <a:spcBef>
                          <a:spcPts val="819"/>
                        </a:spcBef>
                      </a:pPr>
                      <a:endParaRPr sz="1250">
                        <a:latin typeface="Times New Roman"/>
                        <a:cs typeface="Times New Roman"/>
                      </a:endParaRPr>
                    </a:p>
                    <a:p>
                      <a:pPr marL="561975" marR="438150" indent="-78105">
                        <a:lnSpc>
                          <a:spcPts val="1390"/>
                        </a:lnSpc>
                      </a:pPr>
                      <a:r>
                        <a:rPr sz="1250" spc="-10" dirty="0">
                          <a:latin typeface="Arial"/>
                          <a:cs typeface="Arial"/>
                        </a:rPr>
                        <a:t>(n=14) </a:t>
                      </a:r>
                      <a:r>
                        <a:rPr sz="1250" spc="-20" dirty="0">
                          <a:latin typeface="Arial"/>
                          <a:cs typeface="Arial"/>
                        </a:rPr>
                        <a:t>42.0</a:t>
                      </a:r>
                      <a:endParaRPr sz="1250">
                        <a:latin typeface="Arial"/>
                        <a:cs typeface="Arial"/>
                      </a:endParaRPr>
                    </a:p>
                  </a:txBody>
                  <a:tcPr marL="0" marR="0" marT="104139" marB="0">
                    <a:lnT w="12700">
                      <a:solidFill>
                        <a:srgbClr val="009FD5"/>
                      </a:solidFill>
                      <a:prstDash val="solid"/>
                    </a:lnT>
                    <a:lnB w="28575">
                      <a:solidFill>
                        <a:srgbClr val="F4680D"/>
                      </a:solidFill>
                      <a:prstDash val="solid"/>
                    </a:lnB>
                    <a:solidFill>
                      <a:srgbClr val="EBEBEB"/>
                    </a:solidFill>
                  </a:tcPr>
                </a:tc>
                <a:tc>
                  <a:txBody>
                    <a:bodyPr/>
                    <a:lstStyle/>
                    <a:p>
                      <a:pPr>
                        <a:lnSpc>
                          <a:spcPct val="100000"/>
                        </a:lnSpc>
                        <a:spcBef>
                          <a:spcPts val="819"/>
                        </a:spcBef>
                      </a:pPr>
                      <a:endParaRPr sz="1250">
                        <a:latin typeface="Times New Roman"/>
                        <a:cs typeface="Times New Roman"/>
                      </a:endParaRPr>
                    </a:p>
                    <a:p>
                      <a:pPr marL="522605" marR="442595" indent="-78105">
                        <a:lnSpc>
                          <a:spcPts val="1390"/>
                        </a:lnSpc>
                      </a:pPr>
                      <a:r>
                        <a:rPr sz="1250" spc="-10" dirty="0">
                          <a:latin typeface="Arial"/>
                          <a:cs typeface="Arial"/>
                        </a:rPr>
                        <a:t>(n=14) </a:t>
                      </a:r>
                      <a:r>
                        <a:rPr sz="1250" spc="-20" dirty="0">
                          <a:latin typeface="Arial"/>
                          <a:cs typeface="Arial"/>
                        </a:rPr>
                        <a:t>42.0</a:t>
                      </a:r>
                      <a:endParaRPr sz="1250">
                        <a:latin typeface="Arial"/>
                        <a:cs typeface="Arial"/>
                      </a:endParaRPr>
                    </a:p>
                  </a:txBody>
                  <a:tcPr marL="0" marR="0" marT="104139" marB="0">
                    <a:lnT w="12700">
                      <a:solidFill>
                        <a:srgbClr val="009FD5"/>
                      </a:solidFill>
                      <a:prstDash val="solid"/>
                    </a:lnT>
                    <a:lnB w="28575">
                      <a:solidFill>
                        <a:srgbClr val="F4680D"/>
                      </a:solidFill>
                      <a:prstDash val="solid"/>
                    </a:lnB>
                    <a:solidFill>
                      <a:srgbClr val="EBEBEB"/>
                    </a:solidFill>
                  </a:tcPr>
                </a:tc>
                <a:tc>
                  <a:txBody>
                    <a:bodyPr/>
                    <a:lstStyle/>
                    <a:p>
                      <a:pPr>
                        <a:lnSpc>
                          <a:spcPct val="100000"/>
                        </a:lnSpc>
                        <a:spcBef>
                          <a:spcPts val="819"/>
                        </a:spcBef>
                      </a:pPr>
                      <a:endParaRPr sz="1250">
                        <a:latin typeface="Times New Roman"/>
                        <a:cs typeface="Times New Roman"/>
                      </a:endParaRPr>
                    </a:p>
                    <a:p>
                      <a:pPr marL="280670" marR="211454" indent="-78105">
                        <a:lnSpc>
                          <a:spcPts val="1390"/>
                        </a:lnSpc>
                      </a:pPr>
                      <a:r>
                        <a:rPr sz="1250" spc="-10" dirty="0">
                          <a:latin typeface="Arial"/>
                          <a:cs typeface="Arial"/>
                        </a:rPr>
                        <a:t>(n=28) </a:t>
                      </a:r>
                      <a:r>
                        <a:rPr sz="1250" spc="-20" dirty="0">
                          <a:latin typeface="Arial"/>
                          <a:cs typeface="Arial"/>
                        </a:rPr>
                        <a:t>42.0</a:t>
                      </a:r>
                      <a:endParaRPr sz="1250">
                        <a:latin typeface="Arial"/>
                        <a:cs typeface="Arial"/>
                      </a:endParaRPr>
                    </a:p>
                  </a:txBody>
                  <a:tcPr marL="0" marR="0" marT="104139" marB="0">
                    <a:lnR w="12700">
                      <a:solidFill>
                        <a:srgbClr val="009FD5"/>
                      </a:solidFill>
                      <a:prstDash val="solid"/>
                    </a:lnR>
                    <a:lnT w="12700">
                      <a:solidFill>
                        <a:srgbClr val="009FD5"/>
                      </a:solidFill>
                      <a:prstDash val="solid"/>
                    </a:lnT>
                    <a:lnB w="28575">
                      <a:solidFill>
                        <a:srgbClr val="F4680D"/>
                      </a:solidFill>
                      <a:prstDash val="solid"/>
                    </a:lnB>
                    <a:solidFill>
                      <a:srgbClr val="EBEBEB"/>
                    </a:solidFill>
                  </a:tcPr>
                </a:tc>
                <a:extLst>
                  <a:ext uri="{0D108BD9-81ED-4DB2-BD59-A6C34878D82A}">
                    <a16:rowId xmlns:a16="http://schemas.microsoft.com/office/drawing/2014/main" val="10002"/>
                  </a:ext>
                </a:extLst>
              </a:tr>
              <a:tr h="577850">
                <a:tc>
                  <a:txBody>
                    <a:bodyPr/>
                    <a:lstStyle/>
                    <a:p>
                      <a:pPr marL="206375" marR="154305" indent="-114300">
                        <a:lnSpc>
                          <a:spcPts val="1390"/>
                        </a:lnSpc>
                        <a:spcBef>
                          <a:spcPts val="910"/>
                        </a:spcBef>
                      </a:pPr>
                      <a:r>
                        <a:rPr sz="1250" b="1" dirty="0">
                          <a:latin typeface="Arial"/>
                          <a:cs typeface="Arial"/>
                        </a:rPr>
                        <a:t>Time</a:t>
                      </a:r>
                      <a:r>
                        <a:rPr sz="1250" b="1" spc="-20" dirty="0">
                          <a:latin typeface="Arial"/>
                          <a:cs typeface="Arial"/>
                        </a:rPr>
                        <a:t> </a:t>
                      </a:r>
                      <a:r>
                        <a:rPr sz="1250" b="1" dirty="0">
                          <a:latin typeface="Arial"/>
                          <a:cs typeface="Arial"/>
                        </a:rPr>
                        <a:t>to</a:t>
                      </a:r>
                      <a:r>
                        <a:rPr sz="1250" b="1" spc="-45" dirty="0">
                          <a:latin typeface="Arial"/>
                          <a:cs typeface="Arial"/>
                        </a:rPr>
                        <a:t> </a:t>
                      </a:r>
                      <a:r>
                        <a:rPr sz="1250" b="1" dirty="0">
                          <a:latin typeface="Arial"/>
                          <a:cs typeface="Arial"/>
                        </a:rPr>
                        <a:t>first</a:t>
                      </a:r>
                      <a:r>
                        <a:rPr sz="1250" b="1" spc="-40" dirty="0">
                          <a:latin typeface="Arial"/>
                          <a:cs typeface="Arial"/>
                        </a:rPr>
                        <a:t> </a:t>
                      </a:r>
                      <a:r>
                        <a:rPr sz="1250" b="1" spc="-25" dirty="0">
                          <a:latin typeface="Arial"/>
                          <a:cs typeface="Arial"/>
                        </a:rPr>
                        <a:t>CR </a:t>
                      </a:r>
                      <a:r>
                        <a:rPr sz="1250" b="1" dirty="0">
                          <a:latin typeface="Arial"/>
                          <a:cs typeface="Arial"/>
                        </a:rPr>
                        <a:t>Median,</a:t>
                      </a:r>
                      <a:r>
                        <a:rPr sz="1250" b="1" spc="-35" dirty="0">
                          <a:latin typeface="Arial"/>
                          <a:cs typeface="Arial"/>
                        </a:rPr>
                        <a:t> </a:t>
                      </a:r>
                      <a:r>
                        <a:rPr sz="1250" b="1" spc="-20" dirty="0">
                          <a:latin typeface="Arial"/>
                          <a:cs typeface="Arial"/>
                        </a:rPr>
                        <a:t>days</a:t>
                      </a:r>
                      <a:endParaRPr sz="1250">
                        <a:latin typeface="Arial"/>
                        <a:cs typeface="Arial"/>
                      </a:endParaRPr>
                    </a:p>
                  </a:txBody>
                  <a:tcPr marL="0" marR="0" marT="115570" marB="0">
                    <a:lnL w="28575">
                      <a:solidFill>
                        <a:srgbClr val="F4680D"/>
                      </a:solidFill>
                      <a:prstDash val="solid"/>
                    </a:lnL>
                    <a:lnT w="28575">
                      <a:solidFill>
                        <a:srgbClr val="F4680D"/>
                      </a:solidFill>
                      <a:prstDash val="solid"/>
                    </a:lnT>
                    <a:lnB w="28575">
                      <a:solidFill>
                        <a:srgbClr val="F4680D"/>
                      </a:solidFill>
                      <a:prstDash val="solid"/>
                    </a:lnB>
                    <a:solidFill>
                      <a:srgbClr val="FFFFFF"/>
                    </a:solidFill>
                  </a:tcPr>
                </a:tc>
                <a:tc>
                  <a:txBody>
                    <a:bodyPr/>
                    <a:lstStyle/>
                    <a:p>
                      <a:pPr marL="561975" marR="438150" indent="-78105">
                        <a:lnSpc>
                          <a:spcPts val="1390"/>
                        </a:lnSpc>
                        <a:spcBef>
                          <a:spcPts val="910"/>
                        </a:spcBef>
                      </a:pPr>
                      <a:r>
                        <a:rPr sz="1250" spc="-10" dirty="0">
                          <a:latin typeface="Arial"/>
                          <a:cs typeface="Arial"/>
                        </a:rPr>
                        <a:t>(n=13) </a:t>
                      </a:r>
                      <a:r>
                        <a:rPr sz="1250" spc="-20" dirty="0">
                          <a:latin typeface="Arial"/>
                          <a:cs typeface="Arial"/>
                        </a:rPr>
                        <a:t>80.0</a:t>
                      </a:r>
                      <a:endParaRPr sz="1250">
                        <a:latin typeface="Arial"/>
                        <a:cs typeface="Arial"/>
                      </a:endParaRPr>
                    </a:p>
                  </a:txBody>
                  <a:tcPr marL="0" marR="0" marT="115570" marB="0">
                    <a:lnT w="28575">
                      <a:solidFill>
                        <a:srgbClr val="F4680D"/>
                      </a:solidFill>
                      <a:prstDash val="solid"/>
                    </a:lnT>
                    <a:lnB w="28575">
                      <a:solidFill>
                        <a:srgbClr val="F4680D"/>
                      </a:solidFill>
                      <a:prstDash val="solid"/>
                    </a:lnB>
                    <a:solidFill>
                      <a:srgbClr val="FFFFFF"/>
                    </a:solidFill>
                  </a:tcPr>
                </a:tc>
                <a:tc>
                  <a:txBody>
                    <a:bodyPr/>
                    <a:lstStyle/>
                    <a:p>
                      <a:pPr marL="522605" marR="442595" indent="-78105">
                        <a:lnSpc>
                          <a:spcPts val="1390"/>
                        </a:lnSpc>
                        <a:spcBef>
                          <a:spcPts val="910"/>
                        </a:spcBef>
                      </a:pPr>
                      <a:r>
                        <a:rPr sz="1250" spc="-10" dirty="0">
                          <a:latin typeface="Arial"/>
                          <a:cs typeface="Arial"/>
                        </a:rPr>
                        <a:t>(n=13) </a:t>
                      </a:r>
                      <a:r>
                        <a:rPr sz="1250" spc="-20" dirty="0">
                          <a:latin typeface="Arial"/>
                          <a:cs typeface="Arial"/>
                        </a:rPr>
                        <a:t>42.0</a:t>
                      </a:r>
                      <a:endParaRPr sz="1250">
                        <a:latin typeface="Arial"/>
                        <a:cs typeface="Arial"/>
                      </a:endParaRPr>
                    </a:p>
                  </a:txBody>
                  <a:tcPr marL="0" marR="0" marT="115570" marB="0">
                    <a:lnT w="28575">
                      <a:solidFill>
                        <a:srgbClr val="F4680D"/>
                      </a:solidFill>
                      <a:prstDash val="solid"/>
                    </a:lnT>
                    <a:lnB w="28575">
                      <a:solidFill>
                        <a:srgbClr val="F4680D"/>
                      </a:solidFill>
                      <a:prstDash val="solid"/>
                    </a:lnB>
                    <a:solidFill>
                      <a:srgbClr val="FFFFFF"/>
                    </a:solidFill>
                  </a:tcPr>
                </a:tc>
                <a:tc>
                  <a:txBody>
                    <a:bodyPr/>
                    <a:lstStyle/>
                    <a:p>
                      <a:pPr marL="280670" marR="211454" indent="-78105">
                        <a:lnSpc>
                          <a:spcPts val="1390"/>
                        </a:lnSpc>
                        <a:spcBef>
                          <a:spcPts val="910"/>
                        </a:spcBef>
                      </a:pPr>
                      <a:r>
                        <a:rPr sz="1250" spc="-10" dirty="0">
                          <a:latin typeface="Arial"/>
                          <a:cs typeface="Arial"/>
                        </a:rPr>
                        <a:t>(n=26) </a:t>
                      </a:r>
                      <a:r>
                        <a:rPr sz="1250" spc="-20" dirty="0">
                          <a:latin typeface="Arial"/>
                          <a:cs typeface="Arial"/>
                        </a:rPr>
                        <a:t>70.5</a:t>
                      </a:r>
                      <a:endParaRPr sz="1250">
                        <a:latin typeface="Arial"/>
                        <a:cs typeface="Arial"/>
                      </a:endParaRPr>
                    </a:p>
                  </a:txBody>
                  <a:tcPr marL="0" marR="0" marT="115570" marB="0">
                    <a:lnR w="28575">
                      <a:solidFill>
                        <a:srgbClr val="F4680D"/>
                      </a:solidFill>
                      <a:prstDash val="solid"/>
                    </a:lnR>
                    <a:lnT w="28575">
                      <a:solidFill>
                        <a:srgbClr val="F4680D"/>
                      </a:solidFill>
                      <a:prstDash val="solid"/>
                    </a:lnT>
                    <a:lnB w="28575">
                      <a:solidFill>
                        <a:srgbClr val="F4680D"/>
                      </a:solidFill>
                      <a:prstDash val="solid"/>
                    </a:lnB>
                    <a:solidFill>
                      <a:srgbClr val="FFFFFF"/>
                    </a:solidFill>
                  </a:tcPr>
                </a:tc>
                <a:extLst>
                  <a:ext uri="{0D108BD9-81ED-4DB2-BD59-A6C34878D82A}">
                    <a16:rowId xmlns:a16="http://schemas.microsoft.com/office/drawing/2014/main" val="10003"/>
                  </a:ext>
                </a:extLst>
              </a:tr>
            </a:tbl>
          </a:graphicData>
        </a:graphic>
      </p:graphicFrame>
      <p:sp>
        <p:nvSpPr>
          <p:cNvPr id="17" name="object 17"/>
          <p:cNvSpPr txBox="1"/>
          <p:nvPr/>
        </p:nvSpPr>
        <p:spPr>
          <a:xfrm>
            <a:off x="7995284" y="1652578"/>
            <a:ext cx="2324100" cy="29972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800" b="1" i="0" u="none" strike="noStrike" kern="0" cap="none" spc="0" normalizeH="0" baseline="0" noProof="0" dirty="0">
                <a:ln>
                  <a:noFill/>
                </a:ln>
                <a:solidFill>
                  <a:sysClr val="windowText" lastClr="000000"/>
                </a:solidFill>
                <a:effectLst/>
                <a:uLnTx/>
                <a:uFillTx/>
                <a:latin typeface="Arial"/>
                <a:ea typeface="+mn-ea"/>
                <a:cs typeface="Arial"/>
              </a:rPr>
              <a:t>Duration</a:t>
            </a:r>
            <a:r>
              <a:rPr kumimoji="0" sz="1800" b="1" i="0" u="none" strike="noStrike" kern="0" cap="none" spc="-35" normalizeH="0" baseline="0" noProof="0" dirty="0">
                <a:ln>
                  <a:noFill/>
                </a:ln>
                <a:solidFill>
                  <a:sysClr val="windowText" lastClr="000000"/>
                </a:solidFill>
                <a:effectLst/>
                <a:uLnTx/>
                <a:uFillTx/>
                <a:latin typeface="Arial"/>
                <a:ea typeface="+mn-ea"/>
                <a:cs typeface="Arial"/>
              </a:rPr>
              <a:t> </a:t>
            </a:r>
            <a:r>
              <a:rPr kumimoji="0" sz="1800" b="1" i="0" u="none" strike="noStrike" kern="0" cap="none" spc="0" normalizeH="0" baseline="0" noProof="0" dirty="0">
                <a:ln>
                  <a:noFill/>
                </a:ln>
                <a:solidFill>
                  <a:sysClr val="windowText" lastClr="000000"/>
                </a:solidFill>
                <a:effectLst/>
                <a:uLnTx/>
                <a:uFillTx/>
                <a:latin typeface="Arial"/>
                <a:ea typeface="+mn-ea"/>
                <a:cs typeface="Arial"/>
              </a:rPr>
              <a:t>of</a:t>
            </a:r>
            <a:r>
              <a:rPr kumimoji="0" sz="1800" b="1" i="0" u="none" strike="noStrike" kern="0" cap="none" spc="-35" normalizeH="0" baseline="0" noProof="0" dirty="0">
                <a:ln>
                  <a:noFill/>
                </a:ln>
                <a:solidFill>
                  <a:sysClr val="windowText" lastClr="000000"/>
                </a:solidFill>
                <a:effectLst/>
                <a:uLnTx/>
                <a:uFillTx/>
                <a:latin typeface="Arial"/>
                <a:ea typeface="+mn-ea"/>
                <a:cs typeface="Arial"/>
              </a:rPr>
              <a:t> </a:t>
            </a:r>
            <a:r>
              <a:rPr kumimoji="0" sz="1800" b="1" i="0" u="none" strike="noStrike" kern="0" cap="none" spc="-10" normalizeH="0" baseline="0" noProof="0" dirty="0">
                <a:ln>
                  <a:noFill/>
                </a:ln>
                <a:solidFill>
                  <a:sysClr val="windowText" lastClr="000000"/>
                </a:solidFill>
                <a:effectLst/>
                <a:uLnTx/>
                <a:uFillTx/>
                <a:latin typeface="Arial"/>
                <a:ea typeface="+mn-ea"/>
                <a:cs typeface="Arial"/>
              </a:rPr>
              <a:t>response</a:t>
            </a:r>
            <a:endParaRPr kumimoji="0" sz="18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18" name="object 18"/>
          <p:cNvSpPr txBox="1"/>
          <p:nvPr/>
        </p:nvSpPr>
        <p:spPr>
          <a:xfrm>
            <a:off x="1685798" y="1241606"/>
            <a:ext cx="3122295" cy="664845"/>
          </a:xfrm>
          <a:prstGeom prst="rect">
            <a:avLst/>
          </a:prstGeom>
        </p:spPr>
        <p:txBody>
          <a:bodyPr vert="horz" wrap="square" lIns="0" tIns="12700" rIns="0" bIns="0" rtlCol="0">
            <a:spAutoFit/>
          </a:bodyPr>
          <a:lstStyle/>
          <a:p>
            <a:pPr marL="610870" marR="0" lvl="0" indent="0" algn="l" defTabSz="914400" rtl="0" eaLnBrk="1" fontAlgn="auto" latinLnBrk="0" hangingPunct="1">
              <a:lnSpc>
                <a:spcPct val="100000"/>
              </a:lnSpc>
              <a:spcBef>
                <a:spcPts val="100"/>
              </a:spcBef>
              <a:spcAft>
                <a:spcPts val="0"/>
              </a:spcAft>
              <a:buClrTx/>
              <a:buSzTx/>
              <a:buFontTx/>
              <a:buNone/>
              <a:tabLst/>
              <a:defRPr/>
            </a:pPr>
            <a:r>
              <a:rPr kumimoji="0" sz="1800" b="1" i="0" u="none" strike="noStrike" kern="0" cap="none" spc="0" normalizeH="0" baseline="0" noProof="0" dirty="0">
                <a:ln>
                  <a:noFill/>
                </a:ln>
                <a:solidFill>
                  <a:sysClr val="windowText" lastClr="000000"/>
                </a:solidFill>
                <a:effectLst/>
                <a:uLnTx/>
                <a:uFillTx/>
                <a:latin typeface="Arial"/>
                <a:ea typeface="+mn-ea"/>
                <a:cs typeface="Arial"/>
              </a:rPr>
              <a:t>Best</a:t>
            </a:r>
            <a:r>
              <a:rPr kumimoji="0" sz="1800" b="1" i="0" u="none" strike="noStrike" kern="0" cap="none" spc="-35" normalizeH="0" baseline="0" noProof="0" dirty="0">
                <a:ln>
                  <a:noFill/>
                </a:ln>
                <a:solidFill>
                  <a:sysClr val="windowText" lastClr="000000"/>
                </a:solidFill>
                <a:effectLst/>
                <a:uLnTx/>
                <a:uFillTx/>
                <a:latin typeface="Arial"/>
                <a:ea typeface="+mn-ea"/>
                <a:cs typeface="Arial"/>
              </a:rPr>
              <a:t> </a:t>
            </a:r>
            <a:r>
              <a:rPr kumimoji="0" sz="1800" b="1" i="0" u="none" strike="noStrike" kern="0" cap="none" spc="0" normalizeH="0" baseline="0" noProof="0" dirty="0">
                <a:ln>
                  <a:noFill/>
                </a:ln>
                <a:solidFill>
                  <a:sysClr val="windowText" lastClr="000000"/>
                </a:solidFill>
                <a:effectLst/>
                <a:uLnTx/>
                <a:uFillTx/>
                <a:latin typeface="Arial"/>
                <a:ea typeface="+mn-ea"/>
                <a:cs typeface="Arial"/>
              </a:rPr>
              <a:t>overall</a:t>
            </a:r>
            <a:r>
              <a:rPr kumimoji="0" sz="1800" b="1" i="0" u="none" strike="noStrike" kern="0" cap="none" spc="5" normalizeH="0" baseline="0" noProof="0" dirty="0">
                <a:ln>
                  <a:noFill/>
                </a:ln>
                <a:solidFill>
                  <a:sysClr val="windowText" lastClr="000000"/>
                </a:solidFill>
                <a:effectLst/>
                <a:uLnTx/>
                <a:uFillTx/>
                <a:latin typeface="Arial"/>
                <a:ea typeface="+mn-ea"/>
                <a:cs typeface="Arial"/>
              </a:rPr>
              <a:t> </a:t>
            </a:r>
            <a:r>
              <a:rPr kumimoji="0" sz="1800" b="1" i="0" u="none" strike="noStrike" kern="0" cap="none" spc="-10" normalizeH="0" baseline="0" noProof="0" dirty="0">
                <a:ln>
                  <a:noFill/>
                </a:ln>
                <a:solidFill>
                  <a:sysClr val="windowText" lastClr="000000"/>
                </a:solidFill>
                <a:effectLst/>
                <a:uLnTx/>
                <a:uFillTx/>
                <a:latin typeface="Arial"/>
                <a:ea typeface="+mn-ea"/>
                <a:cs typeface="Arial"/>
              </a:rPr>
              <a:t>response</a:t>
            </a:r>
            <a:r>
              <a:rPr kumimoji="0" sz="1800" b="0" i="0" u="none" strike="noStrike" kern="0" cap="none" spc="-15" normalizeH="0" baseline="25462" noProof="0" dirty="0">
                <a:ln>
                  <a:noFill/>
                </a:ln>
                <a:solidFill>
                  <a:sysClr val="windowText" lastClr="000000"/>
                </a:solidFill>
                <a:effectLst/>
                <a:uLnTx/>
                <a:uFillTx/>
                <a:latin typeface="Arial"/>
                <a:ea typeface="+mn-ea"/>
                <a:cs typeface="Arial"/>
              </a:rPr>
              <a:t>b</a:t>
            </a:r>
            <a:endParaRPr kumimoji="0" sz="1800" b="0" i="0" u="none" strike="noStrike" kern="0" cap="none" spc="0" normalizeH="0" baseline="25462" noProof="0">
              <a:ln>
                <a:noFill/>
              </a:ln>
              <a:solidFill>
                <a:sysClr val="windowText" lastClr="000000"/>
              </a:solidFill>
              <a:effectLst/>
              <a:uLnTx/>
              <a:uFillTx/>
              <a:latin typeface="Arial"/>
              <a:ea typeface="+mn-ea"/>
              <a:cs typeface="Arial"/>
            </a:endParaRPr>
          </a:p>
          <a:p>
            <a:pPr marL="38100" marR="0" lvl="0" indent="0" algn="l" defTabSz="914400" rtl="0" eaLnBrk="1" fontAlgn="auto" latinLnBrk="0" hangingPunct="1">
              <a:lnSpc>
                <a:spcPct val="100000"/>
              </a:lnSpc>
              <a:spcBef>
                <a:spcPts val="1190"/>
              </a:spcBef>
              <a:spcAft>
                <a:spcPts val="0"/>
              </a:spcAft>
              <a:buClrTx/>
              <a:buSzTx/>
              <a:buFontTx/>
              <a:buNone/>
              <a:tabLst>
                <a:tab pos="1690370" algn="l"/>
              </a:tabLst>
              <a:defRPr/>
            </a:pPr>
            <a:r>
              <a:rPr kumimoji="0" sz="1400" b="1" i="0" u="none" strike="noStrike" kern="0" cap="none" spc="0" normalizeH="0" baseline="0" noProof="0" dirty="0">
                <a:ln>
                  <a:noFill/>
                </a:ln>
                <a:solidFill>
                  <a:sysClr val="windowText" lastClr="000000"/>
                </a:solidFill>
                <a:effectLst/>
                <a:uLnTx/>
                <a:uFillTx/>
                <a:latin typeface="Arial"/>
                <a:ea typeface="+mn-ea"/>
                <a:cs typeface="Arial"/>
              </a:rPr>
              <a:t>ORR:</a:t>
            </a:r>
            <a:r>
              <a:rPr kumimoji="0" sz="1400" b="1" i="0" u="none" strike="noStrike" kern="0" cap="none" spc="-35" normalizeH="0" baseline="0" noProof="0" dirty="0">
                <a:ln>
                  <a:noFill/>
                </a:ln>
                <a:solidFill>
                  <a:sysClr val="windowText" lastClr="000000"/>
                </a:solidFill>
                <a:effectLst/>
                <a:uLnTx/>
                <a:uFillTx/>
                <a:latin typeface="Arial"/>
                <a:ea typeface="+mn-ea"/>
                <a:cs typeface="Arial"/>
              </a:rPr>
              <a:t> </a:t>
            </a:r>
            <a:r>
              <a:rPr kumimoji="0" sz="1400" b="1" i="0" u="none" strike="noStrike" kern="0" cap="none" spc="-20" normalizeH="0" baseline="0" noProof="0" dirty="0">
                <a:ln>
                  <a:noFill/>
                </a:ln>
                <a:solidFill>
                  <a:sysClr val="windowText" lastClr="000000"/>
                </a:solidFill>
                <a:effectLst/>
                <a:uLnTx/>
                <a:uFillTx/>
                <a:latin typeface="Arial"/>
                <a:ea typeface="+mn-ea"/>
                <a:cs typeface="Arial"/>
              </a:rPr>
              <a:t>93.3</a:t>
            </a:r>
            <a:r>
              <a:rPr kumimoji="0" sz="1400" b="1" i="0" u="none" strike="noStrike" kern="0" cap="none" spc="0" normalizeH="0" baseline="0" noProof="0" dirty="0">
                <a:ln>
                  <a:noFill/>
                </a:ln>
                <a:solidFill>
                  <a:sysClr val="windowText" lastClr="000000"/>
                </a:solidFill>
                <a:effectLst/>
                <a:uLnTx/>
                <a:uFillTx/>
                <a:latin typeface="Arial"/>
                <a:ea typeface="+mn-ea"/>
                <a:cs typeface="Arial"/>
              </a:rPr>
              <a:t>	ORR:</a:t>
            </a:r>
            <a:r>
              <a:rPr kumimoji="0" sz="1400" b="1" i="0" u="none" strike="noStrike" kern="0" cap="none" spc="-25" normalizeH="0" baseline="0" noProof="0" dirty="0">
                <a:ln>
                  <a:noFill/>
                </a:ln>
                <a:solidFill>
                  <a:sysClr val="windowText" lastClr="000000"/>
                </a:solidFill>
                <a:effectLst/>
                <a:uLnTx/>
                <a:uFillTx/>
                <a:latin typeface="Arial"/>
                <a:ea typeface="+mn-ea"/>
                <a:cs typeface="Arial"/>
              </a:rPr>
              <a:t> </a:t>
            </a:r>
            <a:r>
              <a:rPr kumimoji="0" sz="1400" b="1" i="0" u="none" strike="noStrike" kern="0" cap="none" spc="-20" normalizeH="0" baseline="0" noProof="0" dirty="0">
                <a:ln>
                  <a:noFill/>
                </a:ln>
                <a:solidFill>
                  <a:sysClr val="windowText" lastClr="000000"/>
                </a:solidFill>
                <a:effectLst/>
                <a:uLnTx/>
                <a:uFillTx/>
                <a:latin typeface="Arial"/>
                <a:ea typeface="+mn-ea"/>
                <a:cs typeface="Arial"/>
              </a:rPr>
              <a:t>93.3</a:t>
            </a:r>
            <a:endParaRPr kumimoji="0" sz="14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19" name="object 19"/>
          <p:cNvSpPr txBox="1"/>
          <p:nvPr/>
        </p:nvSpPr>
        <p:spPr>
          <a:xfrm>
            <a:off x="4947920" y="1666802"/>
            <a:ext cx="875665" cy="239395"/>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1400" b="1" i="0" u="none" strike="noStrike" kern="0" cap="none" spc="0" normalizeH="0" baseline="0" noProof="0" dirty="0">
                <a:ln>
                  <a:noFill/>
                </a:ln>
                <a:solidFill>
                  <a:sysClr val="windowText" lastClr="000000"/>
                </a:solidFill>
                <a:effectLst/>
                <a:uLnTx/>
                <a:uFillTx/>
                <a:latin typeface="Arial"/>
                <a:ea typeface="+mn-ea"/>
                <a:cs typeface="Arial"/>
              </a:rPr>
              <a:t>ORR:</a:t>
            </a:r>
            <a:r>
              <a:rPr kumimoji="0" sz="1400" b="1" i="0" u="none" strike="noStrike" kern="0" cap="none" spc="-35" normalizeH="0" baseline="0" noProof="0" dirty="0">
                <a:ln>
                  <a:noFill/>
                </a:ln>
                <a:solidFill>
                  <a:sysClr val="windowText" lastClr="000000"/>
                </a:solidFill>
                <a:effectLst/>
                <a:uLnTx/>
                <a:uFillTx/>
                <a:latin typeface="Arial"/>
                <a:ea typeface="+mn-ea"/>
                <a:cs typeface="Arial"/>
              </a:rPr>
              <a:t> </a:t>
            </a:r>
            <a:r>
              <a:rPr kumimoji="0" sz="1400" b="1" i="0" u="none" strike="noStrike" kern="0" cap="none" spc="-20" normalizeH="0" baseline="0" noProof="0" dirty="0">
                <a:ln>
                  <a:noFill/>
                </a:ln>
                <a:solidFill>
                  <a:sysClr val="windowText" lastClr="000000"/>
                </a:solidFill>
                <a:effectLst/>
                <a:uLnTx/>
                <a:uFillTx/>
                <a:latin typeface="Arial"/>
                <a:ea typeface="+mn-ea"/>
                <a:cs typeface="Arial"/>
              </a:rPr>
              <a:t>93.3</a:t>
            </a:r>
            <a:endParaRPr kumimoji="0" sz="1400" b="0" i="0" u="none" strike="noStrike" kern="0" cap="none" spc="0" normalizeH="0" baseline="0" noProof="0">
              <a:ln>
                <a:noFill/>
              </a:ln>
              <a:solidFill>
                <a:sysClr val="windowText" lastClr="000000"/>
              </a:solidFill>
              <a:effectLst/>
              <a:uLnTx/>
              <a:uFillTx/>
              <a:latin typeface="Arial"/>
              <a:ea typeface="+mn-ea"/>
              <a:cs typeface="Arial"/>
            </a:endParaRPr>
          </a:p>
        </p:txBody>
      </p:sp>
      <p:grpSp>
        <p:nvGrpSpPr>
          <p:cNvPr id="20" name="object 20"/>
          <p:cNvGrpSpPr/>
          <p:nvPr/>
        </p:nvGrpSpPr>
        <p:grpSpPr>
          <a:xfrm>
            <a:off x="6120765" y="2932506"/>
            <a:ext cx="83820" cy="416559"/>
            <a:chOff x="6120765" y="3203978"/>
            <a:chExt cx="83820" cy="416559"/>
          </a:xfrm>
        </p:grpSpPr>
        <p:sp>
          <p:nvSpPr>
            <p:cNvPr id="21" name="object 21"/>
            <p:cNvSpPr/>
            <p:nvPr/>
          </p:nvSpPr>
          <p:spPr>
            <a:xfrm>
              <a:off x="6120765" y="3203978"/>
              <a:ext cx="83820" cy="80010"/>
            </a:xfrm>
            <a:custGeom>
              <a:avLst/>
              <a:gdLst/>
              <a:ahLst/>
              <a:cxnLst/>
              <a:rect l="l" t="t" r="r" b="b"/>
              <a:pathLst>
                <a:path w="83820" h="80010">
                  <a:moveTo>
                    <a:pt x="83456" y="0"/>
                  </a:moveTo>
                  <a:lnTo>
                    <a:pt x="0" y="0"/>
                  </a:lnTo>
                  <a:lnTo>
                    <a:pt x="0" y="79479"/>
                  </a:lnTo>
                  <a:lnTo>
                    <a:pt x="83456" y="79479"/>
                  </a:lnTo>
                  <a:lnTo>
                    <a:pt x="83456" y="0"/>
                  </a:lnTo>
                  <a:close/>
                </a:path>
              </a:pathLst>
            </a:custGeom>
            <a:solidFill>
              <a:srgbClr val="168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2" name="object 22"/>
            <p:cNvSpPr/>
            <p:nvPr/>
          </p:nvSpPr>
          <p:spPr>
            <a:xfrm>
              <a:off x="6125718" y="3540528"/>
              <a:ext cx="78740" cy="80010"/>
            </a:xfrm>
            <a:custGeom>
              <a:avLst/>
              <a:gdLst/>
              <a:ahLst/>
              <a:cxnLst/>
              <a:rect l="l" t="t" r="r" b="b"/>
              <a:pathLst>
                <a:path w="78739" h="80010">
                  <a:moveTo>
                    <a:pt x="78602" y="0"/>
                  </a:moveTo>
                  <a:lnTo>
                    <a:pt x="0" y="0"/>
                  </a:lnTo>
                  <a:lnTo>
                    <a:pt x="0" y="79479"/>
                  </a:lnTo>
                  <a:lnTo>
                    <a:pt x="78602" y="79479"/>
                  </a:lnTo>
                  <a:lnTo>
                    <a:pt x="78602" y="0"/>
                  </a:lnTo>
                  <a:close/>
                </a:path>
              </a:pathLst>
            </a:custGeom>
            <a:solidFill>
              <a:srgbClr val="602FB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23" name="object 23"/>
          <p:cNvSpPr txBox="1"/>
          <p:nvPr/>
        </p:nvSpPr>
        <p:spPr>
          <a:xfrm>
            <a:off x="6232905" y="2767739"/>
            <a:ext cx="281940" cy="665480"/>
          </a:xfrm>
          <a:prstGeom prst="rect">
            <a:avLst/>
          </a:prstGeom>
        </p:spPr>
        <p:txBody>
          <a:bodyPr vert="horz" wrap="square" lIns="0" tIns="12065" rIns="0" bIns="0" rtlCol="0">
            <a:spAutoFit/>
          </a:bodyPr>
          <a:lstStyle/>
          <a:p>
            <a:pPr marL="12700" marR="5080" lvl="0" indent="0" algn="l" defTabSz="914400" rtl="0" eaLnBrk="1" fontAlgn="auto" latinLnBrk="0" hangingPunct="1">
              <a:lnSpc>
                <a:spcPct val="149900"/>
              </a:lnSpc>
              <a:spcBef>
                <a:spcPts val="95"/>
              </a:spcBef>
              <a:spcAft>
                <a:spcPts val="0"/>
              </a:spcAft>
              <a:buClrTx/>
              <a:buSzTx/>
              <a:buFontTx/>
              <a:buNone/>
              <a:tabLst/>
              <a:defRPr/>
            </a:pPr>
            <a:r>
              <a:rPr kumimoji="0" sz="1400" b="0" i="0" u="none" strike="noStrike" kern="0" cap="none" spc="-25" normalizeH="0" baseline="0" noProof="0" dirty="0">
                <a:ln>
                  <a:noFill/>
                </a:ln>
                <a:solidFill>
                  <a:sysClr val="windowText" lastClr="000000"/>
                </a:solidFill>
                <a:effectLst/>
                <a:uLnTx/>
                <a:uFillTx/>
                <a:latin typeface="Arial"/>
                <a:ea typeface="+mn-ea"/>
                <a:cs typeface="Arial"/>
              </a:rPr>
              <a:t>CR PR</a:t>
            </a:r>
            <a:endParaRPr kumimoji="0" sz="14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24" name="object 24"/>
          <p:cNvSpPr txBox="1"/>
          <p:nvPr/>
        </p:nvSpPr>
        <p:spPr>
          <a:xfrm>
            <a:off x="1353058" y="5409796"/>
            <a:ext cx="1486535" cy="452755"/>
          </a:xfrm>
          <a:prstGeom prst="rect">
            <a:avLst/>
          </a:prstGeom>
        </p:spPr>
        <p:txBody>
          <a:bodyPr vert="horz" wrap="square" lIns="0" tIns="12700" rIns="0" bIns="0" rtlCol="0">
            <a:spAutoFit/>
          </a:bodyPr>
          <a:lstStyle/>
          <a:p>
            <a:pPr marL="38100" marR="30480" lvl="0" indent="127635" algn="l" defTabSz="914400" rtl="0" eaLnBrk="1" fontAlgn="auto" latinLnBrk="0" hangingPunct="1">
              <a:lnSpc>
                <a:spcPct val="100000"/>
              </a:lnSpc>
              <a:spcBef>
                <a:spcPts val="100"/>
              </a:spcBef>
              <a:spcAft>
                <a:spcPts val="0"/>
              </a:spcAft>
              <a:buClrTx/>
              <a:buSzTx/>
              <a:buFontTx/>
              <a:buNone/>
              <a:tabLst/>
              <a:defRPr/>
            </a:pPr>
            <a:r>
              <a:rPr kumimoji="0" sz="1400" b="0" i="0" u="none" strike="noStrike" kern="0" cap="none" spc="0" normalizeH="0" baseline="0" noProof="0" dirty="0">
                <a:ln>
                  <a:noFill/>
                </a:ln>
                <a:solidFill>
                  <a:sysClr val="windowText" lastClr="000000"/>
                </a:solidFill>
                <a:effectLst/>
                <a:uLnTx/>
                <a:uFillTx/>
                <a:latin typeface="Arial"/>
                <a:ea typeface="+mn-ea"/>
                <a:cs typeface="Arial"/>
              </a:rPr>
              <a:t>Glofit</a:t>
            </a:r>
            <a:r>
              <a:rPr kumimoji="0" sz="1400" b="0" i="0" u="none" strike="noStrike" kern="0" cap="none" spc="-35" normalizeH="0" baseline="0" noProof="0" dirty="0">
                <a:ln>
                  <a:noFill/>
                </a:ln>
                <a:solidFill>
                  <a:sysClr val="windowText" lastClr="000000"/>
                </a:solidFill>
                <a:effectLst/>
                <a:uLnTx/>
                <a:uFillTx/>
                <a:latin typeface="Arial"/>
                <a:ea typeface="+mn-ea"/>
                <a:cs typeface="Arial"/>
              </a:rPr>
              <a:t> </a:t>
            </a:r>
            <a:r>
              <a:rPr kumimoji="0" sz="1400" b="0" i="0" u="none" strike="noStrike" kern="0" cap="none" spc="0" normalizeH="0" baseline="0" noProof="0" dirty="0">
                <a:ln>
                  <a:noFill/>
                </a:ln>
                <a:solidFill>
                  <a:sysClr val="windowText" lastClr="000000"/>
                </a:solidFill>
                <a:effectLst/>
                <a:uLnTx/>
                <a:uFillTx/>
                <a:latin typeface="Arial"/>
                <a:ea typeface="+mn-ea"/>
                <a:cs typeface="Arial"/>
              </a:rPr>
              <a:t>+</a:t>
            </a:r>
            <a:r>
              <a:rPr kumimoji="0" sz="1400" b="0" i="0" u="none" strike="noStrike" kern="0" cap="none" spc="-10" normalizeH="0" baseline="0" noProof="0" dirty="0">
                <a:ln>
                  <a:noFill/>
                </a:ln>
                <a:solidFill>
                  <a:sysClr val="windowText" lastClr="000000"/>
                </a:solidFill>
                <a:effectLst/>
                <a:uLnTx/>
                <a:uFillTx/>
                <a:latin typeface="Arial"/>
                <a:ea typeface="+mn-ea"/>
                <a:cs typeface="Arial"/>
              </a:rPr>
              <a:t> Lonca, </a:t>
            </a:r>
            <a:r>
              <a:rPr kumimoji="0" sz="1400" b="0" i="0" u="none" strike="noStrike" kern="0" cap="none" spc="0" normalizeH="0" baseline="0" noProof="0" dirty="0">
                <a:ln>
                  <a:noFill/>
                </a:ln>
                <a:solidFill>
                  <a:sysClr val="windowText" lastClr="000000"/>
                </a:solidFill>
                <a:effectLst/>
                <a:uLnTx/>
                <a:uFillTx/>
                <a:latin typeface="Arial"/>
                <a:ea typeface="+mn-ea"/>
                <a:cs typeface="Arial"/>
              </a:rPr>
              <a:t>120</a:t>
            </a:r>
            <a:r>
              <a:rPr kumimoji="0" sz="1400" b="0" i="0" u="none" strike="noStrike" kern="0" cap="none" spc="-25" normalizeH="0" baseline="0" noProof="0" dirty="0">
                <a:ln>
                  <a:noFill/>
                </a:ln>
                <a:solidFill>
                  <a:sysClr val="windowText" lastClr="000000"/>
                </a:solidFill>
                <a:effectLst/>
                <a:uLnTx/>
                <a:uFillTx/>
                <a:latin typeface="Arial"/>
                <a:ea typeface="+mn-ea"/>
                <a:cs typeface="Arial"/>
              </a:rPr>
              <a:t> </a:t>
            </a:r>
            <a:r>
              <a:rPr kumimoji="0" sz="1400" b="0" i="0" u="none" strike="noStrike" kern="0" cap="none" spc="0" normalizeH="0" baseline="0" noProof="0" dirty="0">
                <a:ln>
                  <a:noFill/>
                </a:ln>
                <a:solidFill>
                  <a:sysClr val="windowText" lastClr="000000"/>
                </a:solidFill>
                <a:effectLst/>
                <a:uLnTx/>
                <a:uFillTx/>
                <a:latin typeface="Arial"/>
                <a:ea typeface="+mn-ea"/>
                <a:cs typeface="Arial"/>
              </a:rPr>
              <a:t>μg/kg</a:t>
            </a:r>
            <a:r>
              <a:rPr kumimoji="0" sz="1350" b="0" i="0" u="none" strike="noStrike" kern="0" cap="none" spc="0" normalizeH="0" baseline="24691" noProof="0" dirty="0">
                <a:ln>
                  <a:noFill/>
                </a:ln>
                <a:solidFill>
                  <a:sysClr val="windowText" lastClr="000000"/>
                </a:solidFill>
                <a:effectLst/>
                <a:uLnTx/>
                <a:uFillTx/>
                <a:latin typeface="Arial"/>
                <a:ea typeface="+mn-ea"/>
                <a:cs typeface="Arial"/>
              </a:rPr>
              <a:t>c</a:t>
            </a:r>
            <a:r>
              <a:rPr kumimoji="0" sz="1350" b="0" i="0" u="none" strike="noStrike" kern="0" cap="none" spc="157" normalizeH="0" baseline="24691" noProof="0" dirty="0">
                <a:ln>
                  <a:noFill/>
                </a:ln>
                <a:solidFill>
                  <a:sysClr val="windowText" lastClr="000000"/>
                </a:solidFill>
                <a:effectLst/>
                <a:uLnTx/>
                <a:uFillTx/>
                <a:latin typeface="Arial"/>
                <a:ea typeface="+mn-ea"/>
                <a:cs typeface="Arial"/>
              </a:rPr>
              <a:t> </a:t>
            </a:r>
            <a:r>
              <a:rPr kumimoji="0" sz="1400" b="0" i="0" u="none" strike="noStrike" kern="0" cap="none" spc="-10" normalizeH="0" baseline="0" noProof="0" dirty="0">
                <a:ln>
                  <a:noFill/>
                </a:ln>
                <a:solidFill>
                  <a:sysClr val="windowText" lastClr="000000"/>
                </a:solidFill>
                <a:effectLst/>
                <a:uLnTx/>
                <a:uFillTx/>
                <a:latin typeface="Arial"/>
                <a:ea typeface="+mn-ea"/>
                <a:cs typeface="Arial"/>
              </a:rPr>
              <a:t>(n=15)</a:t>
            </a:r>
            <a:endParaRPr kumimoji="0" sz="14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25" name="object 25"/>
          <p:cNvSpPr/>
          <p:nvPr/>
        </p:nvSpPr>
        <p:spPr>
          <a:xfrm>
            <a:off x="1279778" y="5347503"/>
            <a:ext cx="5003800" cy="0"/>
          </a:xfrm>
          <a:custGeom>
            <a:avLst/>
            <a:gdLst/>
            <a:ahLst/>
            <a:cxnLst/>
            <a:rect l="l" t="t" r="r" b="b"/>
            <a:pathLst>
              <a:path w="5003800">
                <a:moveTo>
                  <a:pt x="0" y="0"/>
                </a:moveTo>
                <a:lnTo>
                  <a:pt x="5003800" y="0"/>
                </a:lnTo>
              </a:path>
            </a:pathLst>
          </a:custGeom>
          <a:ln w="635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6" name="object 26"/>
          <p:cNvSpPr txBox="1"/>
          <p:nvPr/>
        </p:nvSpPr>
        <p:spPr>
          <a:xfrm>
            <a:off x="2965704" y="5382669"/>
            <a:ext cx="1486535" cy="452755"/>
          </a:xfrm>
          <a:prstGeom prst="rect">
            <a:avLst/>
          </a:prstGeom>
        </p:spPr>
        <p:txBody>
          <a:bodyPr vert="horz" wrap="square" lIns="0" tIns="12700" rIns="0" bIns="0" rtlCol="0">
            <a:spAutoFit/>
          </a:bodyPr>
          <a:lstStyle/>
          <a:p>
            <a:pPr marL="38100" marR="30480" lvl="0" indent="127635" algn="l" defTabSz="914400" rtl="0" eaLnBrk="1" fontAlgn="auto" latinLnBrk="0" hangingPunct="1">
              <a:lnSpc>
                <a:spcPct val="100000"/>
              </a:lnSpc>
              <a:spcBef>
                <a:spcPts val="100"/>
              </a:spcBef>
              <a:spcAft>
                <a:spcPts val="0"/>
              </a:spcAft>
              <a:buClrTx/>
              <a:buSzTx/>
              <a:buFontTx/>
              <a:buNone/>
              <a:tabLst/>
              <a:defRPr/>
            </a:pPr>
            <a:r>
              <a:rPr kumimoji="0" sz="1400" b="0" i="0" u="none" strike="noStrike" kern="0" cap="none" spc="0" normalizeH="0" baseline="0" noProof="0" dirty="0">
                <a:ln>
                  <a:noFill/>
                </a:ln>
                <a:solidFill>
                  <a:sysClr val="windowText" lastClr="000000"/>
                </a:solidFill>
                <a:effectLst/>
                <a:uLnTx/>
                <a:uFillTx/>
                <a:latin typeface="Arial"/>
                <a:ea typeface="+mn-ea"/>
                <a:cs typeface="Arial"/>
              </a:rPr>
              <a:t>Glofit</a:t>
            </a:r>
            <a:r>
              <a:rPr kumimoji="0" sz="1400" b="0" i="0" u="none" strike="noStrike" kern="0" cap="none" spc="-25" normalizeH="0" baseline="0" noProof="0" dirty="0">
                <a:ln>
                  <a:noFill/>
                </a:ln>
                <a:solidFill>
                  <a:sysClr val="windowText" lastClr="000000"/>
                </a:solidFill>
                <a:effectLst/>
                <a:uLnTx/>
                <a:uFillTx/>
                <a:latin typeface="Arial"/>
                <a:ea typeface="+mn-ea"/>
                <a:cs typeface="Arial"/>
              </a:rPr>
              <a:t> </a:t>
            </a:r>
            <a:r>
              <a:rPr kumimoji="0" sz="1400" b="0" i="0" u="none" strike="noStrike" kern="0" cap="none" spc="0" normalizeH="0" baseline="0" noProof="0" dirty="0">
                <a:ln>
                  <a:noFill/>
                </a:ln>
                <a:solidFill>
                  <a:sysClr val="windowText" lastClr="000000"/>
                </a:solidFill>
                <a:effectLst/>
                <a:uLnTx/>
                <a:uFillTx/>
                <a:latin typeface="Arial"/>
                <a:ea typeface="+mn-ea"/>
                <a:cs typeface="Arial"/>
              </a:rPr>
              <a:t>+</a:t>
            </a:r>
            <a:r>
              <a:rPr kumimoji="0" sz="1400" b="0" i="0" u="none" strike="noStrike" kern="0" cap="none" spc="-10" normalizeH="0" baseline="0" noProof="0" dirty="0">
                <a:ln>
                  <a:noFill/>
                </a:ln>
                <a:solidFill>
                  <a:sysClr val="windowText" lastClr="000000"/>
                </a:solidFill>
                <a:effectLst/>
                <a:uLnTx/>
                <a:uFillTx/>
                <a:latin typeface="Arial"/>
                <a:ea typeface="+mn-ea"/>
                <a:cs typeface="Arial"/>
              </a:rPr>
              <a:t> Lonca, </a:t>
            </a:r>
            <a:r>
              <a:rPr kumimoji="0" sz="1400" b="0" i="0" u="none" strike="noStrike" kern="0" cap="none" spc="0" normalizeH="0" baseline="0" noProof="0" dirty="0">
                <a:ln>
                  <a:noFill/>
                </a:ln>
                <a:solidFill>
                  <a:sysClr val="windowText" lastClr="000000"/>
                </a:solidFill>
                <a:effectLst/>
                <a:uLnTx/>
                <a:uFillTx/>
                <a:latin typeface="Arial"/>
                <a:ea typeface="+mn-ea"/>
                <a:cs typeface="Arial"/>
              </a:rPr>
              <a:t>150</a:t>
            </a:r>
            <a:r>
              <a:rPr kumimoji="0" sz="1400" b="0" i="0" u="none" strike="noStrike" kern="0" cap="none" spc="-25" normalizeH="0" baseline="0" noProof="0" dirty="0">
                <a:ln>
                  <a:noFill/>
                </a:ln>
                <a:solidFill>
                  <a:sysClr val="windowText" lastClr="000000"/>
                </a:solidFill>
                <a:effectLst/>
                <a:uLnTx/>
                <a:uFillTx/>
                <a:latin typeface="Arial"/>
                <a:ea typeface="+mn-ea"/>
                <a:cs typeface="Arial"/>
              </a:rPr>
              <a:t> </a:t>
            </a:r>
            <a:r>
              <a:rPr kumimoji="0" sz="1400" b="0" i="0" u="none" strike="noStrike" kern="0" cap="none" spc="0" normalizeH="0" baseline="0" noProof="0" dirty="0">
                <a:ln>
                  <a:noFill/>
                </a:ln>
                <a:solidFill>
                  <a:sysClr val="windowText" lastClr="000000"/>
                </a:solidFill>
                <a:effectLst/>
                <a:uLnTx/>
                <a:uFillTx/>
                <a:latin typeface="Arial"/>
                <a:ea typeface="+mn-ea"/>
                <a:cs typeface="Arial"/>
              </a:rPr>
              <a:t>μg/kg</a:t>
            </a:r>
            <a:r>
              <a:rPr kumimoji="0" sz="1350" b="0" i="0" u="none" strike="noStrike" kern="0" cap="none" spc="0" normalizeH="0" baseline="24691" noProof="0" dirty="0">
                <a:ln>
                  <a:noFill/>
                </a:ln>
                <a:solidFill>
                  <a:sysClr val="windowText" lastClr="000000"/>
                </a:solidFill>
                <a:effectLst/>
                <a:uLnTx/>
                <a:uFillTx/>
                <a:latin typeface="Arial"/>
                <a:ea typeface="+mn-ea"/>
                <a:cs typeface="Arial"/>
              </a:rPr>
              <a:t>c</a:t>
            </a:r>
            <a:r>
              <a:rPr kumimoji="0" sz="1350" b="0" i="0" u="none" strike="noStrike" kern="0" cap="none" spc="157" normalizeH="0" baseline="24691" noProof="0" dirty="0">
                <a:ln>
                  <a:noFill/>
                </a:ln>
                <a:solidFill>
                  <a:sysClr val="windowText" lastClr="000000"/>
                </a:solidFill>
                <a:effectLst/>
                <a:uLnTx/>
                <a:uFillTx/>
                <a:latin typeface="Arial"/>
                <a:ea typeface="+mn-ea"/>
                <a:cs typeface="Arial"/>
              </a:rPr>
              <a:t> </a:t>
            </a:r>
            <a:r>
              <a:rPr kumimoji="0" sz="1400" b="0" i="0" u="none" strike="noStrike" kern="0" cap="none" spc="-10" normalizeH="0" baseline="0" noProof="0" dirty="0">
                <a:ln>
                  <a:noFill/>
                </a:ln>
                <a:solidFill>
                  <a:sysClr val="windowText" lastClr="000000"/>
                </a:solidFill>
                <a:effectLst/>
                <a:uLnTx/>
                <a:uFillTx/>
                <a:latin typeface="Arial"/>
                <a:ea typeface="+mn-ea"/>
                <a:cs typeface="Arial"/>
              </a:rPr>
              <a:t>(n=15)</a:t>
            </a:r>
            <a:endParaRPr kumimoji="0" sz="14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27" name="object 27"/>
          <p:cNvSpPr txBox="1"/>
          <p:nvPr/>
        </p:nvSpPr>
        <p:spPr>
          <a:xfrm>
            <a:off x="4826889" y="5369563"/>
            <a:ext cx="1160145" cy="453390"/>
          </a:xfrm>
          <a:prstGeom prst="rect">
            <a:avLst/>
          </a:prstGeom>
        </p:spPr>
        <p:txBody>
          <a:bodyPr vert="horz" wrap="square" lIns="0" tIns="12700" rIns="0" bIns="0" rtlCol="0">
            <a:spAutoFit/>
          </a:bodyPr>
          <a:lstStyle/>
          <a:p>
            <a:pPr marL="0" marR="0" lvl="0" indent="0" algn="ctr" defTabSz="914400" rtl="0" eaLnBrk="1" fontAlgn="auto" latinLnBrk="0" hangingPunct="1">
              <a:lnSpc>
                <a:spcPct val="100000"/>
              </a:lnSpc>
              <a:spcBef>
                <a:spcPts val="100"/>
              </a:spcBef>
              <a:spcAft>
                <a:spcPts val="0"/>
              </a:spcAft>
              <a:buClrTx/>
              <a:buSzTx/>
              <a:buFontTx/>
              <a:buNone/>
              <a:tabLst/>
              <a:defRPr/>
            </a:pPr>
            <a:r>
              <a:rPr kumimoji="0" sz="1400" b="0" i="0" u="none" strike="noStrike" kern="0" cap="none" spc="0" normalizeH="0" baseline="0" noProof="0" dirty="0">
                <a:ln>
                  <a:noFill/>
                </a:ln>
                <a:solidFill>
                  <a:sysClr val="windowText" lastClr="000000"/>
                </a:solidFill>
                <a:effectLst/>
                <a:uLnTx/>
                <a:uFillTx/>
                <a:latin typeface="Arial"/>
                <a:ea typeface="+mn-ea"/>
                <a:cs typeface="Arial"/>
              </a:rPr>
              <a:t>All</a:t>
            </a:r>
            <a:r>
              <a:rPr kumimoji="0" sz="1400" b="0" i="0" u="none" strike="noStrike" kern="0" cap="none" spc="-20" normalizeH="0" baseline="0" noProof="0" dirty="0">
                <a:ln>
                  <a:noFill/>
                </a:ln>
                <a:solidFill>
                  <a:sysClr val="windowText" lastClr="000000"/>
                </a:solidFill>
                <a:effectLst/>
                <a:uLnTx/>
                <a:uFillTx/>
                <a:latin typeface="Arial"/>
                <a:ea typeface="+mn-ea"/>
                <a:cs typeface="Arial"/>
              </a:rPr>
              <a:t> </a:t>
            </a:r>
            <a:r>
              <a:rPr kumimoji="0" sz="1400" b="0" i="0" u="none" strike="noStrike" kern="0" cap="none" spc="0" normalizeH="0" baseline="0" noProof="0" dirty="0">
                <a:ln>
                  <a:noFill/>
                </a:ln>
                <a:solidFill>
                  <a:sysClr val="windowText" lastClr="000000"/>
                </a:solidFill>
                <a:effectLst/>
                <a:uLnTx/>
                <a:uFillTx/>
                <a:latin typeface="Arial"/>
                <a:ea typeface="+mn-ea"/>
                <a:cs typeface="Arial"/>
              </a:rPr>
              <a:t>dose</a:t>
            </a:r>
            <a:r>
              <a:rPr kumimoji="0" sz="1400" b="0" i="0" u="none" strike="noStrike" kern="0" cap="none" spc="-35" normalizeH="0" baseline="0" noProof="0" dirty="0">
                <a:ln>
                  <a:noFill/>
                </a:ln>
                <a:solidFill>
                  <a:sysClr val="windowText" lastClr="000000"/>
                </a:solidFill>
                <a:effectLst/>
                <a:uLnTx/>
                <a:uFillTx/>
                <a:latin typeface="Arial"/>
                <a:ea typeface="+mn-ea"/>
                <a:cs typeface="Arial"/>
              </a:rPr>
              <a:t> </a:t>
            </a:r>
            <a:r>
              <a:rPr kumimoji="0" sz="1400" b="0" i="0" u="none" strike="noStrike" kern="0" cap="none" spc="-10" normalizeH="0" baseline="0" noProof="0" dirty="0">
                <a:ln>
                  <a:noFill/>
                </a:ln>
                <a:solidFill>
                  <a:sysClr val="windowText" lastClr="000000"/>
                </a:solidFill>
                <a:effectLst/>
                <a:uLnTx/>
                <a:uFillTx/>
                <a:latin typeface="Arial"/>
                <a:ea typeface="+mn-ea"/>
                <a:cs typeface="Arial"/>
              </a:rPr>
              <a:t>levels</a:t>
            </a:r>
            <a:endParaRPr kumimoji="0" sz="1400" b="0" i="0" u="none" strike="noStrike" kern="0" cap="none" spc="0" normalizeH="0" baseline="0" noProof="0">
              <a:ln>
                <a:noFill/>
              </a:ln>
              <a:solidFill>
                <a:sysClr val="windowText" lastClr="000000"/>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sz="1400" b="0" i="0" u="none" strike="noStrike" kern="0" cap="none" spc="-10" normalizeH="0" baseline="0" noProof="0" dirty="0">
                <a:ln>
                  <a:noFill/>
                </a:ln>
                <a:solidFill>
                  <a:sysClr val="windowText" lastClr="000000"/>
                </a:solidFill>
                <a:effectLst/>
                <a:uLnTx/>
                <a:uFillTx/>
                <a:latin typeface="Arial"/>
                <a:ea typeface="+mn-ea"/>
                <a:cs typeface="Arial"/>
              </a:rPr>
              <a:t>(N=30)</a:t>
            </a:r>
            <a:endParaRPr kumimoji="0" sz="14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28" name="TextBox 27">
            <a:extLst>
              <a:ext uri="{FF2B5EF4-FFF2-40B4-BE49-F238E27FC236}">
                <a16:creationId xmlns:a16="http://schemas.microsoft.com/office/drawing/2014/main" id="{D68BED0C-72FD-76F1-2ECF-F02853E7753B}"/>
              </a:ext>
            </a:extLst>
          </p:cNvPr>
          <p:cNvSpPr txBox="1"/>
          <p:nvPr/>
        </p:nvSpPr>
        <p:spPr>
          <a:xfrm>
            <a:off x="4218972" y="6482456"/>
            <a:ext cx="4616970"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a:ea typeface="+mn-ea"/>
                <a:cs typeface="Arial"/>
              </a:rPr>
              <a:t>Alderuccio JP et al. Oral presentation presented at 18-ICML (17–21 June 2025)</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29D6DF-287A-EC39-C149-480EBD8DB50C}"/>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F62E7DE7-5DBF-1E31-B1DA-A2140A7F88C1}"/>
              </a:ext>
            </a:extLst>
          </p:cNvPr>
          <p:cNvSpPr txBox="1">
            <a:spLocks/>
          </p:cNvSpPr>
          <p:nvPr/>
        </p:nvSpPr>
        <p:spPr bwMode="auto">
          <a:xfrm>
            <a:off x="471268" y="529468"/>
            <a:ext cx="11275255" cy="73152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300" b="1" i="0" u="none" strike="noStrike" kern="0" cap="none" spc="0" normalizeH="0" baseline="0" noProof="0" dirty="0">
                <a:ln>
                  <a:noFill/>
                </a:ln>
                <a:solidFill>
                  <a:srgbClr val="3333FF"/>
                </a:solidFill>
                <a:effectLst/>
                <a:uLnTx/>
                <a:uFillTx/>
                <a:latin typeface="Calibri"/>
                <a:ea typeface="MS PGothic" pitchFamily="34" charset="-128"/>
                <a:cs typeface="Calibri"/>
              </a:rPr>
              <a:t>Commercial Support</a:t>
            </a:r>
          </a:p>
        </p:txBody>
      </p:sp>
      <p:sp>
        <p:nvSpPr>
          <p:cNvPr id="8" name="Content Placeholder 2">
            <a:extLst>
              <a:ext uri="{FF2B5EF4-FFF2-40B4-BE49-F238E27FC236}">
                <a16:creationId xmlns:a16="http://schemas.microsoft.com/office/drawing/2014/main" id="{F4C95CE2-E94F-DADB-4399-BBB9E1B13E2B}"/>
              </a:ext>
            </a:extLst>
          </p:cNvPr>
          <p:cNvSpPr txBox="1">
            <a:spLocks/>
          </p:cNvSpPr>
          <p:nvPr/>
        </p:nvSpPr>
        <p:spPr bwMode="auto">
          <a:xfrm>
            <a:off x="838200" y="1352810"/>
            <a:ext cx="10515600" cy="296948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300" b="0" i="0" u="none" strike="noStrike" kern="0" cap="none" spc="0" normalizeH="0" baseline="0" noProof="0" dirty="0">
                <a:ln>
                  <a:noFill/>
                </a:ln>
                <a:solidFill>
                  <a:srgbClr val="000000"/>
                </a:solidFill>
                <a:effectLst/>
                <a:uLnTx/>
                <a:uFillTx/>
                <a:latin typeface="Calibri" charset="0"/>
                <a:ea typeface="MS PGothic" pitchFamily="34" charset="-128"/>
              </a:rPr>
              <a:t>This activity is supported by educational grants from AbbVie Inc, ADC Therapeutics, Astellas, Astellas and Pfizer Inc, AstraZeneca Pharmaceuticals LP, </a:t>
            </a:r>
            <a:r>
              <a:rPr kumimoji="0" lang="en-US" sz="2300" b="0" i="0" u="none" strike="noStrike" kern="0" cap="none" spc="0" normalizeH="0" baseline="0" noProof="0" dirty="0" err="1">
                <a:ln>
                  <a:noFill/>
                </a:ln>
                <a:solidFill>
                  <a:srgbClr val="000000"/>
                </a:solidFill>
                <a:effectLst/>
                <a:uLnTx/>
                <a:uFillTx/>
                <a:latin typeface="Calibri" charset="0"/>
                <a:ea typeface="MS PGothic" pitchFamily="34" charset="-128"/>
              </a:rPr>
              <a:t>BeOne</a:t>
            </a:r>
            <a:r>
              <a:rPr kumimoji="0" lang="en-US" sz="2300" b="0" i="0" u="none" strike="noStrike" kern="0" cap="none" spc="0" normalizeH="0" baseline="0" noProof="0" dirty="0">
                <a:ln>
                  <a:noFill/>
                </a:ln>
                <a:solidFill>
                  <a:srgbClr val="000000"/>
                </a:solidFill>
                <a:effectLst/>
                <a:uLnTx/>
                <a:uFillTx/>
                <a:latin typeface="Calibri" charset="0"/>
                <a:ea typeface="MS PGothic" pitchFamily="34" charset="-128"/>
              </a:rPr>
              <a:t>, Blueprint Medicines, Bristol Myers Squibb, </a:t>
            </a:r>
            <a:r>
              <a:rPr kumimoji="0" lang="en-US" sz="2300" b="0" i="0" u="none" strike="noStrike" kern="0" cap="none" spc="0" normalizeH="0" baseline="0" noProof="0" dirty="0" err="1">
                <a:ln>
                  <a:noFill/>
                </a:ln>
                <a:solidFill>
                  <a:srgbClr val="000000"/>
                </a:solidFill>
                <a:effectLst/>
                <a:uLnTx/>
                <a:uFillTx/>
                <a:latin typeface="Calibri" charset="0"/>
                <a:ea typeface="MS PGothic" pitchFamily="34" charset="-128"/>
              </a:rPr>
              <a:t>Corcept</a:t>
            </a:r>
            <a:r>
              <a:rPr kumimoji="0" lang="en-US" sz="2300" b="0" i="0" u="none" strike="noStrike" kern="0" cap="none" spc="0" normalizeH="0" baseline="0" noProof="0" dirty="0">
                <a:ln>
                  <a:noFill/>
                </a:ln>
                <a:solidFill>
                  <a:srgbClr val="000000"/>
                </a:solidFill>
                <a:effectLst/>
                <a:uLnTx/>
                <a:uFillTx/>
                <a:latin typeface="Calibri" charset="0"/>
                <a:ea typeface="MS PGothic" pitchFamily="34" charset="-128"/>
              </a:rPr>
              <a:t> Therapeutics Inc, Daiichi Sankyo Inc, Exelixis Inc, Genentech, a member of the Roche Group, Gilead Sciences Inc, GSK, Johnson &amp; Johnson, Kite, A Gilead Company, Legend Biotech, Lilly, Merck, Natera Inc, Novartis, Puma Biotechnology Inc, Regeneron Pharmaceuticals Inc, Revolution Medicines Inc, Rigel Pharmaceuticals Inc, </a:t>
            </a:r>
            <a:r>
              <a:rPr kumimoji="0" lang="en-US" sz="2300" b="0" i="0" u="none" strike="noStrike" kern="0" cap="none" spc="0" normalizeH="0" baseline="0" noProof="0" dirty="0" err="1">
                <a:ln>
                  <a:noFill/>
                </a:ln>
                <a:solidFill>
                  <a:srgbClr val="000000"/>
                </a:solidFill>
                <a:effectLst/>
                <a:uLnTx/>
                <a:uFillTx/>
                <a:latin typeface="Calibri" charset="0"/>
                <a:ea typeface="MS PGothic" pitchFamily="34" charset="-128"/>
              </a:rPr>
              <a:t>SpringWorks</a:t>
            </a:r>
            <a:r>
              <a:rPr kumimoji="0" lang="en-US" sz="2300" b="0" i="0" u="none" strike="noStrike" kern="0" cap="none" spc="0" normalizeH="0" baseline="0" noProof="0" dirty="0">
                <a:ln>
                  <a:noFill/>
                </a:ln>
                <a:solidFill>
                  <a:srgbClr val="000000"/>
                </a:solidFill>
                <a:effectLst/>
                <a:uLnTx/>
                <a:uFillTx/>
                <a:latin typeface="Calibri" charset="0"/>
                <a:ea typeface="MS PGothic" pitchFamily="34" charset="-128"/>
              </a:rPr>
              <a:t> Therapeutics Inc, </a:t>
            </a:r>
            <a:r>
              <a:rPr kumimoji="0" lang="en-US" sz="2300" b="0" i="0" u="none" strike="noStrike" kern="0" cap="none" spc="0" normalizeH="0" baseline="0" noProof="0" dirty="0" err="1">
                <a:ln>
                  <a:noFill/>
                </a:ln>
                <a:solidFill>
                  <a:srgbClr val="000000"/>
                </a:solidFill>
                <a:effectLst/>
                <a:uLnTx/>
                <a:uFillTx/>
                <a:latin typeface="Calibri" charset="0"/>
                <a:ea typeface="MS PGothic" pitchFamily="34" charset="-128"/>
              </a:rPr>
              <a:t>Stemline</a:t>
            </a:r>
            <a:r>
              <a:rPr kumimoji="0" lang="en-US" sz="2300" b="0" i="0" u="none" strike="noStrike" kern="0" cap="none" spc="0" normalizeH="0" baseline="0" noProof="0" dirty="0">
                <a:ln>
                  <a:noFill/>
                </a:ln>
                <a:solidFill>
                  <a:srgbClr val="000000"/>
                </a:solidFill>
                <a:effectLst/>
                <a:uLnTx/>
                <a:uFillTx/>
                <a:latin typeface="Calibri" charset="0"/>
                <a:ea typeface="MS PGothic" pitchFamily="34" charset="-128"/>
              </a:rPr>
              <a:t> Therapeutics Inc, and Summit Therapeutics.</a:t>
            </a:r>
          </a:p>
        </p:txBody>
      </p:sp>
      <p:sp>
        <p:nvSpPr>
          <p:cNvPr id="9" name="Title 1">
            <a:extLst>
              <a:ext uri="{FF2B5EF4-FFF2-40B4-BE49-F238E27FC236}">
                <a16:creationId xmlns:a16="http://schemas.microsoft.com/office/drawing/2014/main" id="{1B0FA789-FAED-88CC-BB3B-A5B727BF9EE7}"/>
              </a:ext>
            </a:extLst>
          </p:cNvPr>
          <p:cNvSpPr txBox="1">
            <a:spLocks/>
          </p:cNvSpPr>
          <p:nvPr/>
        </p:nvSpPr>
        <p:spPr bwMode="auto">
          <a:xfrm>
            <a:off x="838200" y="4635304"/>
            <a:ext cx="10515600" cy="785859"/>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300" b="1" i="0" u="none" strike="noStrike" kern="0" cap="none" spc="0" normalizeH="0" baseline="0" noProof="0" dirty="0">
                <a:ln>
                  <a:noFill/>
                </a:ln>
                <a:solidFill>
                  <a:srgbClr val="3333FF"/>
                </a:solidFill>
                <a:effectLst/>
                <a:uLnTx/>
                <a:uFillTx/>
                <a:latin typeface="Calibri"/>
                <a:ea typeface="MS PGothic" pitchFamily="34" charset="-128"/>
                <a:cs typeface="Calibri"/>
              </a:rPr>
              <a:t>Research To Practice CME Planning Committee Members, </a:t>
            </a:r>
            <a:br>
              <a:rPr kumimoji="0" lang="en-US" sz="2300" b="1" i="0" u="none" strike="noStrike" kern="0" cap="none" spc="0" normalizeH="0" baseline="0" noProof="0" dirty="0">
                <a:ln>
                  <a:noFill/>
                </a:ln>
                <a:solidFill>
                  <a:srgbClr val="3333FF"/>
                </a:solidFill>
                <a:effectLst/>
                <a:uLnTx/>
                <a:uFillTx/>
                <a:latin typeface="Calibri"/>
                <a:ea typeface="MS PGothic" pitchFamily="34" charset="-128"/>
                <a:cs typeface="Calibri"/>
              </a:rPr>
            </a:br>
            <a:r>
              <a:rPr kumimoji="0" lang="en-US" sz="2300" b="1" i="0" u="none" strike="noStrike" kern="0" cap="none" spc="0" normalizeH="0" baseline="0" noProof="0" dirty="0">
                <a:ln>
                  <a:noFill/>
                </a:ln>
                <a:solidFill>
                  <a:srgbClr val="3333FF"/>
                </a:solidFill>
                <a:effectLst/>
                <a:uLnTx/>
                <a:uFillTx/>
                <a:latin typeface="Calibri"/>
                <a:ea typeface="MS PGothic" pitchFamily="34" charset="-128"/>
                <a:cs typeface="Calibri"/>
              </a:rPr>
              <a:t>Staff and Reviewers</a:t>
            </a:r>
          </a:p>
        </p:txBody>
      </p:sp>
      <p:sp>
        <p:nvSpPr>
          <p:cNvPr id="10" name="Content Placeholder 2">
            <a:extLst>
              <a:ext uri="{FF2B5EF4-FFF2-40B4-BE49-F238E27FC236}">
                <a16:creationId xmlns:a16="http://schemas.microsoft.com/office/drawing/2014/main" id="{EE3C589C-9777-40F4-A2A2-C878B43A1AAD}"/>
              </a:ext>
            </a:extLst>
          </p:cNvPr>
          <p:cNvSpPr txBox="1">
            <a:spLocks/>
          </p:cNvSpPr>
          <p:nvPr/>
        </p:nvSpPr>
        <p:spPr bwMode="auto">
          <a:xfrm>
            <a:off x="838200" y="5459852"/>
            <a:ext cx="10515600" cy="1143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300" b="0" i="0" u="none" strike="noStrike" kern="0" cap="none" spc="0" normalizeH="0" baseline="0" noProof="0" dirty="0">
                <a:ln>
                  <a:noFill/>
                </a:ln>
                <a:solidFill>
                  <a:srgbClr val="000000"/>
                </a:solidFill>
                <a:effectLst/>
                <a:uLnTx/>
                <a:uFillTx/>
                <a:latin typeface="Calibri" charset="0"/>
                <a:ea typeface="MS PGothic" pitchFamily="34" charset="-128"/>
              </a:rPr>
              <a:t>Planners, scientific staff and independent reviewers for Research To Practice have no relevant financial relationships to disclose.</a:t>
            </a:r>
          </a:p>
        </p:txBody>
      </p:sp>
    </p:spTree>
    <p:extLst>
      <p:ext uri="{BB962C8B-B14F-4D97-AF65-F5344CB8AC3E}">
        <p14:creationId xmlns:p14="http://schemas.microsoft.com/office/powerpoint/2010/main" val="19163969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713102" y="1068070"/>
            <a:ext cx="9645650" cy="299720"/>
          </a:xfrm>
          <a:prstGeom prst="rect">
            <a:avLst/>
          </a:prstGeom>
        </p:spPr>
        <p:txBody>
          <a:bodyPr vert="horz" wrap="square" lIns="0" tIns="12700" rIns="0" bIns="0" rtlCol="0">
            <a:spAutoFit/>
          </a:bodyPr>
          <a:lstStyle/>
          <a:p>
            <a:pPr marL="50800" marR="0" lvl="0" indent="0" algn="l" defTabSz="914400" rtl="0" eaLnBrk="1" fontAlgn="auto" latinLnBrk="0" hangingPunct="1">
              <a:lnSpc>
                <a:spcPct val="100000"/>
              </a:lnSpc>
              <a:spcBef>
                <a:spcPts val="100"/>
              </a:spcBef>
              <a:spcAft>
                <a:spcPts val="0"/>
              </a:spcAft>
              <a:buClrTx/>
              <a:buSzTx/>
              <a:buFontTx/>
              <a:buNone/>
              <a:tabLst>
                <a:tab pos="5091430" algn="l"/>
              </a:tabLst>
              <a:defRPr/>
            </a:pPr>
            <a:r>
              <a:rPr kumimoji="0" sz="1800" b="1" i="0" u="none" strike="noStrike" kern="0" cap="none" spc="0" normalizeH="0" baseline="0" noProof="0" dirty="0">
                <a:ln>
                  <a:noFill/>
                </a:ln>
                <a:solidFill>
                  <a:srgbClr val="585353"/>
                </a:solidFill>
                <a:effectLst/>
                <a:uLnTx/>
                <a:uFillTx/>
                <a:latin typeface="Trebuchet MS"/>
                <a:ea typeface="+mn-ea"/>
                <a:cs typeface="Trebuchet MS"/>
              </a:rPr>
              <a:t>Mechanism</a:t>
            </a:r>
            <a:r>
              <a:rPr kumimoji="0" sz="1800" b="1" i="0" u="none" strike="noStrike" kern="0" cap="none" spc="-60" normalizeH="0" baseline="0" noProof="0" dirty="0">
                <a:ln>
                  <a:noFill/>
                </a:ln>
                <a:solidFill>
                  <a:srgbClr val="585353"/>
                </a:solidFill>
                <a:effectLst/>
                <a:uLnTx/>
                <a:uFillTx/>
                <a:latin typeface="Trebuchet MS"/>
                <a:ea typeface="+mn-ea"/>
                <a:cs typeface="Trebuchet MS"/>
              </a:rPr>
              <a:t> </a:t>
            </a:r>
            <a:r>
              <a:rPr kumimoji="0" sz="1800" b="1" i="0" u="none" strike="noStrike" kern="0" cap="none" spc="0" normalizeH="0" baseline="0" noProof="0" dirty="0">
                <a:ln>
                  <a:noFill/>
                </a:ln>
                <a:solidFill>
                  <a:srgbClr val="585353"/>
                </a:solidFill>
                <a:effectLst/>
                <a:uLnTx/>
                <a:uFillTx/>
                <a:latin typeface="Trebuchet MS"/>
                <a:ea typeface="+mn-ea"/>
                <a:cs typeface="Trebuchet MS"/>
              </a:rPr>
              <a:t>of</a:t>
            </a:r>
            <a:r>
              <a:rPr kumimoji="0" sz="1800" b="1" i="0" u="none" strike="noStrike" kern="0" cap="none" spc="-60" normalizeH="0" baseline="0" noProof="0" dirty="0">
                <a:ln>
                  <a:noFill/>
                </a:ln>
                <a:solidFill>
                  <a:srgbClr val="585353"/>
                </a:solidFill>
                <a:effectLst/>
                <a:uLnTx/>
                <a:uFillTx/>
                <a:latin typeface="Trebuchet MS"/>
                <a:ea typeface="+mn-ea"/>
                <a:cs typeface="Trebuchet MS"/>
              </a:rPr>
              <a:t> </a:t>
            </a:r>
            <a:r>
              <a:rPr kumimoji="0" sz="1800" b="1" i="0" u="none" strike="noStrike" kern="0" cap="none" spc="-10" normalizeH="0" baseline="0" noProof="0" dirty="0">
                <a:ln>
                  <a:noFill/>
                </a:ln>
                <a:solidFill>
                  <a:srgbClr val="585353"/>
                </a:solidFill>
                <a:effectLst/>
                <a:uLnTx/>
                <a:uFillTx/>
                <a:latin typeface="Trebuchet MS"/>
                <a:ea typeface="+mn-ea"/>
                <a:cs typeface="Trebuchet MS"/>
              </a:rPr>
              <a:t>action</a:t>
            </a:r>
            <a:r>
              <a:rPr kumimoji="0" sz="1800" b="1" i="0" u="none" strike="noStrike" kern="0" cap="none" spc="-15" normalizeH="0" baseline="25462" noProof="0" dirty="0">
                <a:ln>
                  <a:noFill/>
                </a:ln>
                <a:solidFill>
                  <a:srgbClr val="585353"/>
                </a:solidFill>
                <a:effectLst/>
                <a:uLnTx/>
                <a:uFillTx/>
                <a:latin typeface="Trebuchet MS"/>
                <a:ea typeface="+mn-ea"/>
                <a:cs typeface="Trebuchet MS"/>
              </a:rPr>
              <a:t>1–</a:t>
            </a:r>
            <a:r>
              <a:rPr kumimoji="0" sz="1800" b="1" i="0" u="none" strike="noStrike" kern="0" cap="none" spc="-75" normalizeH="0" baseline="25462" noProof="0" dirty="0">
                <a:ln>
                  <a:noFill/>
                </a:ln>
                <a:solidFill>
                  <a:srgbClr val="585353"/>
                </a:solidFill>
                <a:effectLst/>
                <a:uLnTx/>
                <a:uFillTx/>
                <a:latin typeface="Trebuchet MS"/>
                <a:ea typeface="+mn-ea"/>
                <a:cs typeface="Trebuchet MS"/>
              </a:rPr>
              <a:t>3</a:t>
            </a:r>
            <a:r>
              <a:rPr kumimoji="0" sz="1800" b="1" i="0" u="none" strike="noStrike" kern="0" cap="none" spc="0" normalizeH="0" baseline="25462" noProof="0" dirty="0">
                <a:ln>
                  <a:noFill/>
                </a:ln>
                <a:solidFill>
                  <a:srgbClr val="585353"/>
                </a:solidFill>
                <a:effectLst/>
                <a:uLnTx/>
                <a:uFillTx/>
                <a:latin typeface="Trebuchet MS"/>
                <a:ea typeface="+mn-ea"/>
                <a:cs typeface="Trebuchet MS"/>
              </a:rPr>
              <a:t>	</a:t>
            </a:r>
            <a:r>
              <a:rPr kumimoji="0" sz="1800" b="1" i="0" u="none" strike="noStrike" kern="0" cap="none" spc="0" normalizeH="0" baseline="0" noProof="0" dirty="0">
                <a:ln>
                  <a:noFill/>
                </a:ln>
                <a:solidFill>
                  <a:srgbClr val="585353"/>
                </a:solidFill>
                <a:effectLst/>
                <a:uLnTx/>
                <a:uFillTx/>
                <a:latin typeface="Trebuchet MS"/>
                <a:ea typeface="+mn-ea"/>
                <a:cs typeface="Trebuchet MS"/>
              </a:rPr>
              <a:t>Allosteric</a:t>
            </a:r>
            <a:r>
              <a:rPr kumimoji="0" sz="1800" b="1" i="0" u="none" strike="noStrike" kern="0" cap="none" spc="-65" normalizeH="0" baseline="0" noProof="0" dirty="0">
                <a:ln>
                  <a:noFill/>
                </a:ln>
                <a:solidFill>
                  <a:srgbClr val="585353"/>
                </a:solidFill>
                <a:effectLst/>
                <a:uLnTx/>
                <a:uFillTx/>
                <a:latin typeface="Trebuchet MS"/>
                <a:ea typeface="+mn-ea"/>
                <a:cs typeface="Trebuchet MS"/>
              </a:rPr>
              <a:t> </a:t>
            </a:r>
            <a:r>
              <a:rPr kumimoji="0" sz="1800" b="1" i="0" u="none" strike="noStrike" kern="0" cap="none" spc="0" normalizeH="0" baseline="0" noProof="0" dirty="0">
                <a:ln>
                  <a:noFill/>
                </a:ln>
                <a:solidFill>
                  <a:srgbClr val="585353"/>
                </a:solidFill>
                <a:effectLst/>
                <a:uLnTx/>
                <a:uFillTx/>
                <a:latin typeface="Trebuchet MS"/>
                <a:ea typeface="+mn-ea"/>
                <a:cs typeface="Trebuchet MS"/>
              </a:rPr>
              <a:t>regulation</a:t>
            </a:r>
            <a:r>
              <a:rPr kumimoji="0" sz="1800" b="1" i="0" u="none" strike="noStrike" kern="0" cap="none" spc="-50" normalizeH="0" baseline="0" noProof="0" dirty="0">
                <a:ln>
                  <a:noFill/>
                </a:ln>
                <a:solidFill>
                  <a:srgbClr val="585353"/>
                </a:solidFill>
                <a:effectLst/>
                <a:uLnTx/>
                <a:uFillTx/>
                <a:latin typeface="Trebuchet MS"/>
                <a:ea typeface="+mn-ea"/>
                <a:cs typeface="Trebuchet MS"/>
              </a:rPr>
              <a:t> </a:t>
            </a:r>
            <a:r>
              <a:rPr kumimoji="0" sz="1800" b="1" i="0" u="none" strike="noStrike" kern="0" cap="none" spc="0" normalizeH="0" baseline="0" noProof="0" dirty="0">
                <a:ln>
                  <a:noFill/>
                </a:ln>
                <a:solidFill>
                  <a:srgbClr val="585353"/>
                </a:solidFill>
                <a:effectLst/>
                <a:uLnTx/>
                <a:uFillTx/>
                <a:latin typeface="Trebuchet MS"/>
                <a:ea typeface="+mn-ea"/>
                <a:cs typeface="Trebuchet MS"/>
              </a:rPr>
              <a:t>of</a:t>
            </a:r>
            <a:r>
              <a:rPr kumimoji="0" sz="1800" b="1" i="0" u="none" strike="noStrike" kern="0" cap="none" spc="-60" normalizeH="0" baseline="0" noProof="0" dirty="0">
                <a:ln>
                  <a:noFill/>
                </a:ln>
                <a:solidFill>
                  <a:srgbClr val="585353"/>
                </a:solidFill>
                <a:effectLst/>
                <a:uLnTx/>
                <a:uFillTx/>
                <a:latin typeface="Trebuchet MS"/>
                <a:ea typeface="+mn-ea"/>
                <a:cs typeface="Trebuchet MS"/>
              </a:rPr>
              <a:t> </a:t>
            </a:r>
            <a:r>
              <a:rPr kumimoji="0" sz="1800" b="1" i="0" u="none" strike="noStrike" kern="0" cap="none" spc="0" normalizeH="0" baseline="0" noProof="0" dirty="0">
                <a:ln>
                  <a:noFill/>
                </a:ln>
                <a:solidFill>
                  <a:srgbClr val="585353"/>
                </a:solidFill>
                <a:effectLst/>
                <a:uLnTx/>
                <a:uFillTx/>
                <a:latin typeface="Trebuchet MS"/>
                <a:ea typeface="+mn-ea"/>
                <a:cs typeface="Trebuchet MS"/>
              </a:rPr>
              <a:t>cereblon</a:t>
            </a:r>
            <a:r>
              <a:rPr kumimoji="0" sz="1800" b="1" i="0" u="none" strike="noStrike" kern="0" cap="none" spc="-40" normalizeH="0" baseline="0" noProof="0" dirty="0">
                <a:ln>
                  <a:noFill/>
                </a:ln>
                <a:solidFill>
                  <a:srgbClr val="585353"/>
                </a:solidFill>
                <a:effectLst/>
                <a:uLnTx/>
                <a:uFillTx/>
                <a:latin typeface="Trebuchet MS"/>
                <a:ea typeface="+mn-ea"/>
                <a:cs typeface="Trebuchet MS"/>
              </a:rPr>
              <a:t> </a:t>
            </a:r>
            <a:r>
              <a:rPr kumimoji="0" sz="1800" b="1" i="0" u="none" strike="noStrike" kern="0" cap="none" spc="-10" normalizeH="0" baseline="0" noProof="0" dirty="0">
                <a:ln>
                  <a:noFill/>
                </a:ln>
                <a:solidFill>
                  <a:srgbClr val="585353"/>
                </a:solidFill>
                <a:effectLst/>
                <a:uLnTx/>
                <a:uFillTx/>
                <a:latin typeface="Trebuchet MS"/>
                <a:ea typeface="+mn-ea"/>
                <a:cs typeface="Trebuchet MS"/>
              </a:rPr>
              <a:t>(CRBN)</a:t>
            </a:r>
            <a:r>
              <a:rPr kumimoji="0" sz="1800" b="1" i="0" u="none" strike="noStrike" kern="0" cap="none" spc="-15" normalizeH="0" baseline="25462" noProof="0" dirty="0">
                <a:ln>
                  <a:noFill/>
                </a:ln>
                <a:solidFill>
                  <a:srgbClr val="585353"/>
                </a:solidFill>
                <a:effectLst/>
                <a:uLnTx/>
                <a:uFillTx/>
                <a:latin typeface="Trebuchet MS"/>
                <a:ea typeface="+mn-ea"/>
                <a:cs typeface="Trebuchet MS"/>
              </a:rPr>
              <a:t>3,4</a:t>
            </a:r>
            <a:endParaRPr kumimoji="0" sz="1800" b="0" i="0" u="none" strike="noStrike" kern="0" cap="none" spc="0" normalizeH="0" baseline="25462" noProof="0">
              <a:ln>
                <a:noFill/>
              </a:ln>
              <a:solidFill>
                <a:sysClr val="windowText" lastClr="000000"/>
              </a:solidFill>
              <a:effectLst/>
              <a:uLnTx/>
              <a:uFillTx/>
              <a:latin typeface="Trebuchet MS"/>
              <a:ea typeface="+mn-ea"/>
              <a:cs typeface="Trebuchet MS"/>
            </a:endParaRPr>
          </a:p>
        </p:txBody>
      </p:sp>
      <p:sp>
        <p:nvSpPr>
          <p:cNvPr id="3" name="object 3"/>
          <p:cNvSpPr txBox="1"/>
          <p:nvPr/>
        </p:nvSpPr>
        <p:spPr>
          <a:xfrm>
            <a:off x="6293358" y="1510029"/>
            <a:ext cx="2463165" cy="574675"/>
          </a:xfrm>
          <a:prstGeom prst="rect">
            <a:avLst/>
          </a:prstGeom>
        </p:spPr>
        <p:txBody>
          <a:bodyPr vert="horz" wrap="square" lIns="0" tIns="12700" rIns="0" bIns="0" rtlCol="0">
            <a:spAutoFit/>
          </a:bodyPr>
          <a:lstStyle/>
          <a:p>
            <a:pPr marL="1270" marR="0" lvl="0" indent="0" algn="ctr" defTabSz="914400" rtl="0" eaLnBrk="1" fontAlgn="auto" latinLnBrk="0" hangingPunct="1">
              <a:lnSpc>
                <a:spcPct val="100000"/>
              </a:lnSpc>
              <a:spcBef>
                <a:spcPts val="100"/>
              </a:spcBef>
              <a:spcAft>
                <a:spcPts val="0"/>
              </a:spcAft>
              <a:buClrTx/>
              <a:buSzTx/>
              <a:buFontTx/>
              <a:buNone/>
              <a:tabLst/>
              <a:defRPr/>
            </a:pPr>
            <a:r>
              <a:rPr kumimoji="0" sz="1800" b="1" i="0" u="none" strike="noStrike" kern="0" cap="none" spc="0" normalizeH="0" baseline="0" noProof="0" dirty="0">
                <a:ln>
                  <a:noFill/>
                </a:ln>
                <a:solidFill>
                  <a:srgbClr val="C37900"/>
                </a:solidFill>
                <a:effectLst/>
                <a:uLnTx/>
                <a:uFillTx/>
                <a:latin typeface="Trebuchet MS"/>
                <a:ea typeface="+mn-ea"/>
                <a:cs typeface="Trebuchet MS"/>
              </a:rPr>
              <a:t>Inactive/open</a:t>
            </a:r>
            <a:r>
              <a:rPr kumimoji="0" sz="1800" b="1" i="0" u="none" strike="noStrike" kern="0" cap="none" spc="-120" normalizeH="0" baseline="0" noProof="0" dirty="0">
                <a:ln>
                  <a:noFill/>
                </a:ln>
                <a:solidFill>
                  <a:srgbClr val="C37900"/>
                </a:solidFill>
                <a:effectLst/>
                <a:uLnTx/>
                <a:uFillTx/>
                <a:latin typeface="Trebuchet MS"/>
                <a:ea typeface="+mn-ea"/>
                <a:cs typeface="Trebuchet MS"/>
              </a:rPr>
              <a:t> </a:t>
            </a:r>
            <a:r>
              <a:rPr kumimoji="0" sz="1800" b="1" i="0" u="none" strike="noStrike" kern="0" cap="none" spc="-20" normalizeH="0" baseline="0" noProof="0" dirty="0">
                <a:ln>
                  <a:noFill/>
                </a:ln>
                <a:solidFill>
                  <a:srgbClr val="4F0004"/>
                </a:solidFill>
                <a:effectLst/>
                <a:uLnTx/>
                <a:uFillTx/>
                <a:latin typeface="Trebuchet MS"/>
                <a:ea typeface="+mn-ea"/>
                <a:cs typeface="Trebuchet MS"/>
              </a:rPr>
              <a:t>CRBN</a:t>
            </a:r>
            <a:endParaRPr kumimoji="0" sz="1800" b="0" i="0" u="none" strike="noStrike" kern="0" cap="none" spc="0" normalizeH="0" baseline="0" noProof="0">
              <a:ln>
                <a:noFill/>
              </a:ln>
              <a:solidFill>
                <a:sysClr val="windowText" lastClr="000000"/>
              </a:solidFill>
              <a:effectLst/>
              <a:uLnTx/>
              <a:uFillTx/>
              <a:latin typeface="Trebuchet MS"/>
              <a:ea typeface="+mn-ea"/>
              <a:cs typeface="Trebuchet M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sz="1800" b="1" i="0" u="none" strike="noStrike" kern="0" cap="none" spc="0" normalizeH="0" baseline="0" noProof="0" dirty="0">
                <a:ln>
                  <a:noFill/>
                </a:ln>
                <a:solidFill>
                  <a:srgbClr val="4F0004"/>
                </a:solidFill>
                <a:effectLst/>
                <a:uLnTx/>
                <a:uFillTx/>
                <a:latin typeface="Trebuchet MS"/>
                <a:ea typeface="+mn-ea"/>
                <a:cs typeface="Trebuchet MS"/>
              </a:rPr>
              <a:t>No</a:t>
            </a:r>
            <a:r>
              <a:rPr kumimoji="0" sz="1800" b="1" i="0" u="none" strike="noStrike" kern="0" cap="none" spc="-65" normalizeH="0" baseline="0" noProof="0" dirty="0">
                <a:ln>
                  <a:noFill/>
                </a:ln>
                <a:solidFill>
                  <a:srgbClr val="4F0004"/>
                </a:solidFill>
                <a:effectLst/>
                <a:uLnTx/>
                <a:uFillTx/>
                <a:latin typeface="Trebuchet MS"/>
                <a:ea typeface="+mn-ea"/>
                <a:cs typeface="Trebuchet MS"/>
              </a:rPr>
              <a:t> </a:t>
            </a:r>
            <a:r>
              <a:rPr kumimoji="0" sz="1800" b="1" i="0" u="none" strike="noStrike" kern="0" cap="none" spc="0" normalizeH="0" baseline="0" noProof="0" dirty="0">
                <a:ln>
                  <a:noFill/>
                </a:ln>
                <a:solidFill>
                  <a:srgbClr val="4F0004"/>
                </a:solidFill>
                <a:effectLst/>
                <a:uLnTx/>
                <a:uFillTx/>
                <a:latin typeface="Trebuchet MS"/>
                <a:ea typeface="+mn-ea"/>
                <a:cs typeface="Trebuchet MS"/>
              </a:rPr>
              <a:t>Ikaros/Aiolos</a:t>
            </a:r>
            <a:r>
              <a:rPr kumimoji="0" sz="1800" b="1" i="0" u="none" strike="noStrike" kern="0" cap="none" spc="-80" normalizeH="0" baseline="0" noProof="0" dirty="0">
                <a:ln>
                  <a:noFill/>
                </a:ln>
                <a:solidFill>
                  <a:srgbClr val="4F0004"/>
                </a:solidFill>
                <a:effectLst/>
                <a:uLnTx/>
                <a:uFillTx/>
                <a:latin typeface="Trebuchet MS"/>
                <a:ea typeface="+mn-ea"/>
                <a:cs typeface="Trebuchet MS"/>
              </a:rPr>
              <a:t> </a:t>
            </a:r>
            <a:r>
              <a:rPr kumimoji="0" sz="1800" b="1" i="0" u="none" strike="noStrike" kern="0" cap="none" spc="-10" normalizeH="0" baseline="0" noProof="0" dirty="0">
                <a:ln>
                  <a:noFill/>
                </a:ln>
                <a:solidFill>
                  <a:srgbClr val="4F0004"/>
                </a:solidFill>
                <a:effectLst/>
                <a:uLnTx/>
                <a:uFillTx/>
                <a:latin typeface="Trebuchet MS"/>
                <a:ea typeface="+mn-ea"/>
                <a:cs typeface="Trebuchet MS"/>
              </a:rPr>
              <a:t>bound</a:t>
            </a:r>
            <a:endParaRPr kumimoji="0" sz="1800" b="0" i="0" u="none" strike="noStrike" kern="0" cap="none" spc="0" normalizeH="0" baseline="0" noProof="0">
              <a:ln>
                <a:noFill/>
              </a:ln>
              <a:solidFill>
                <a:sysClr val="windowText" lastClr="000000"/>
              </a:solidFill>
              <a:effectLst/>
              <a:uLnTx/>
              <a:uFillTx/>
              <a:latin typeface="Trebuchet MS"/>
              <a:ea typeface="+mn-ea"/>
              <a:cs typeface="Trebuchet MS"/>
            </a:endParaRPr>
          </a:p>
        </p:txBody>
      </p:sp>
      <p:sp>
        <p:nvSpPr>
          <p:cNvPr id="4" name="object 4"/>
          <p:cNvSpPr txBox="1"/>
          <p:nvPr/>
        </p:nvSpPr>
        <p:spPr>
          <a:xfrm>
            <a:off x="9482455" y="1503426"/>
            <a:ext cx="2112645" cy="574040"/>
          </a:xfrm>
          <a:prstGeom prst="rect">
            <a:avLst/>
          </a:prstGeom>
        </p:spPr>
        <p:txBody>
          <a:bodyPr vert="horz" wrap="square" lIns="0" tIns="12700" rIns="0" bIns="0" rtlCol="0">
            <a:spAutoFit/>
          </a:bodyPr>
          <a:lstStyle/>
          <a:p>
            <a:pPr marL="12700" marR="5080" lvl="0" indent="5715" algn="l" defTabSz="914400" rtl="0" eaLnBrk="1" fontAlgn="auto" latinLnBrk="0" hangingPunct="1">
              <a:lnSpc>
                <a:spcPct val="100000"/>
              </a:lnSpc>
              <a:spcBef>
                <a:spcPts val="100"/>
              </a:spcBef>
              <a:spcAft>
                <a:spcPts val="0"/>
              </a:spcAft>
              <a:buClrTx/>
              <a:buSzTx/>
              <a:buFontTx/>
              <a:buNone/>
              <a:tabLst/>
              <a:defRPr/>
            </a:pPr>
            <a:r>
              <a:rPr kumimoji="0" sz="1800" b="1" i="0" u="none" strike="noStrike" kern="0" cap="none" spc="0" normalizeH="0" baseline="0" noProof="0" dirty="0">
                <a:ln>
                  <a:noFill/>
                </a:ln>
                <a:solidFill>
                  <a:srgbClr val="C37900"/>
                </a:solidFill>
                <a:effectLst/>
                <a:uLnTx/>
                <a:uFillTx/>
                <a:latin typeface="Trebuchet MS"/>
                <a:ea typeface="+mn-ea"/>
                <a:cs typeface="Trebuchet MS"/>
              </a:rPr>
              <a:t>Active/closed</a:t>
            </a:r>
            <a:r>
              <a:rPr kumimoji="0" sz="1800" b="1" i="0" u="none" strike="noStrike" kern="0" cap="none" spc="-75" normalizeH="0" baseline="0" noProof="0" dirty="0">
                <a:ln>
                  <a:noFill/>
                </a:ln>
                <a:solidFill>
                  <a:srgbClr val="C37900"/>
                </a:solidFill>
                <a:effectLst/>
                <a:uLnTx/>
                <a:uFillTx/>
                <a:latin typeface="Trebuchet MS"/>
                <a:ea typeface="+mn-ea"/>
                <a:cs typeface="Trebuchet MS"/>
              </a:rPr>
              <a:t> </a:t>
            </a:r>
            <a:r>
              <a:rPr kumimoji="0" sz="1800" b="1" i="0" u="none" strike="noStrike" kern="0" cap="none" spc="-20" normalizeH="0" baseline="0" noProof="0" dirty="0">
                <a:ln>
                  <a:noFill/>
                </a:ln>
                <a:solidFill>
                  <a:srgbClr val="4F0004"/>
                </a:solidFill>
                <a:effectLst/>
                <a:uLnTx/>
                <a:uFillTx/>
                <a:latin typeface="Trebuchet MS"/>
                <a:ea typeface="+mn-ea"/>
                <a:cs typeface="Trebuchet MS"/>
              </a:rPr>
              <a:t>CRBN </a:t>
            </a:r>
            <a:r>
              <a:rPr kumimoji="0" sz="1800" b="1" i="0" u="none" strike="noStrike" kern="0" cap="none" spc="-10" normalizeH="0" baseline="0" noProof="0" dirty="0">
                <a:ln>
                  <a:noFill/>
                </a:ln>
                <a:solidFill>
                  <a:srgbClr val="4F0004"/>
                </a:solidFill>
                <a:effectLst/>
                <a:uLnTx/>
                <a:uFillTx/>
                <a:latin typeface="Trebuchet MS"/>
                <a:ea typeface="+mn-ea"/>
                <a:cs typeface="Trebuchet MS"/>
              </a:rPr>
              <a:t>Ikaros/Aiolos</a:t>
            </a:r>
            <a:r>
              <a:rPr kumimoji="0" sz="1800" b="1" i="0" u="none" strike="noStrike" kern="0" cap="none" spc="-25" normalizeH="0" baseline="0" noProof="0" dirty="0">
                <a:ln>
                  <a:noFill/>
                </a:ln>
                <a:solidFill>
                  <a:srgbClr val="4F0004"/>
                </a:solidFill>
                <a:effectLst/>
                <a:uLnTx/>
                <a:uFillTx/>
                <a:latin typeface="Trebuchet MS"/>
                <a:ea typeface="+mn-ea"/>
                <a:cs typeface="Trebuchet MS"/>
              </a:rPr>
              <a:t> </a:t>
            </a:r>
            <a:r>
              <a:rPr kumimoji="0" sz="1800" b="1" i="0" u="none" strike="noStrike" kern="0" cap="none" spc="-20" normalizeH="0" baseline="0" noProof="0" dirty="0">
                <a:ln>
                  <a:noFill/>
                </a:ln>
                <a:solidFill>
                  <a:srgbClr val="4F0004"/>
                </a:solidFill>
                <a:effectLst/>
                <a:uLnTx/>
                <a:uFillTx/>
                <a:latin typeface="Trebuchet MS"/>
                <a:ea typeface="+mn-ea"/>
                <a:cs typeface="Trebuchet MS"/>
              </a:rPr>
              <a:t>bound</a:t>
            </a:r>
            <a:endParaRPr kumimoji="0" sz="1800" b="0" i="0" u="none" strike="noStrike" kern="0" cap="none" spc="0" normalizeH="0" baseline="0" noProof="0">
              <a:ln>
                <a:noFill/>
              </a:ln>
              <a:solidFill>
                <a:sysClr val="windowText" lastClr="000000"/>
              </a:solidFill>
              <a:effectLst/>
              <a:uLnTx/>
              <a:uFillTx/>
              <a:latin typeface="Trebuchet MS"/>
              <a:ea typeface="+mn-ea"/>
              <a:cs typeface="Trebuchet MS"/>
            </a:endParaRPr>
          </a:p>
        </p:txBody>
      </p:sp>
      <p:pic>
        <p:nvPicPr>
          <p:cNvPr id="5" name="object 5"/>
          <p:cNvPicPr/>
          <p:nvPr/>
        </p:nvPicPr>
        <p:blipFill>
          <a:blip r:embed="rId2" cstate="print"/>
          <a:stretch>
            <a:fillRect/>
          </a:stretch>
        </p:blipFill>
        <p:spPr>
          <a:xfrm>
            <a:off x="6364182" y="2281432"/>
            <a:ext cx="1316067" cy="1604954"/>
          </a:xfrm>
          <a:prstGeom prst="rect">
            <a:avLst/>
          </a:prstGeom>
        </p:spPr>
      </p:pic>
      <p:pic>
        <p:nvPicPr>
          <p:cNvPr id="6" name="object 6"/>
          <p:cNvPicPr/>
          <p:nvPr/>
        </p:nvPicPr>
        <p:blipFill>
          <a:blip r:embed="rId3" cstate="print"/>
          <a:stretch>
            <a:fillRect/>
          </a:stretch>
        </p:blipFill>
        <p:spPr>
          <a:xfrm>
            <a:off x="10397266" y="2240279"/>
            <a:ext cx="1311088" cy="1580388"/>
          </a:xfrm>
          <a:prstGeom prst="rect">
            <a:avLst/>
          </a:prstGeom>
        </p:spPr>
      </p:pic>
      <p:sp>
        <p:nvSpPr>
          <p:cNvPr id="7" name="object 7"/>
          <p:cNvSpPr/>
          <p:nvPr/>
        </p:nvSpPr>
        <p:spPr>
          <a:xfrm>
            <a:off x="7915656" y="3204972"/>
            <a:ext cx="870585" cy="408940"/>
          </a:xfrm>
          <a:custGeom>
            <a:avLst/>
            <a:gdLst/>
            <a:ahLst/>
            <a:cxnLst/>
            <a:rect l="l" t="t" r="r" b="b"/>
            <a:pathLst>
              <a:path w="870584" h="408939">
                <a:moveTo>
                  <a:pt x="802132" y="0"/>
                </a:moveTo>
                <a:lnTo>
                  <a:pt x="68072" y="0"/>
                </a:lnTo>
                <a:lnTo>
                  <a:pt x="41576" y="5349"/>
                </a:lnTo>
                <a:lnTo>
                  <a:pt x="19938" y="19938"/>
                </a:lnTo>
                <a:lnTo>
                  <a:pt x="5349" y="41576"/>
                </a:lnTo>
                <a:lnTo>
                  <a:pt x="0" y="68072"/>
                </a:lnTo>
                <a:lnTo>
                  <a:pt x="0" y="340360"/>
                </a:lnTo>
                <a:lnTo>
                  <a:pt x="5349" y="366855"/>
                </a:lnTo>
                <a:lnTo>
                  <a:pt x="19938" y="388492"/>
                </a:lnTo>
                <a:lnTo>
                  <a:pt x="41576" y="403082"/>
                </a:lnTo>
                <a:lnTo>
                  <a:pt x="68072" y="408431"/>
                </a:lnTo>
                <a:lnTo>
                  <a:pt x="802132" y="408431"/>
                </a:lnTo>
                <a:lnTo>
                  <a:pt x="828627" y="403082"/>
                </a:lnTo>
                <a:lnTo>
                  <a:pt x="850265" y="388493"/>
                </a:lnTo>
                <a:lnTo>
                  <a:pt x="864854" y="366855"/>
                </a:lnTo>
                <a:lnTo>
                  <a:pt x="870203" y="340360"/>
                </a:lnTo>
                <a:lnTo>
                  <a:pt x="870203" y="68072"/>
                </a:lnTo>
                <a:lnTo>
                  <a:pt x="864854" y="41576"/>
                </a:lnTo>
                <a:lnTo>
                  <a:pt x="850265" y="19938"/>
                </a:lnTo>
                <a:lnTo>
                  <a:pt x="828627" y="5349"/>
                </a:lnTo>
                <a:lnTo>
                  <a:pt x="802132" y="0"/>
                </a:lnTo>
                <a:close/>
              </a:path>
            </a:pathLst>
          </a:custGeom>
          <a:solidFill>
            <a:srgbClr val="D5F7F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 name="object 8"/>
          <p:cNvSpPr txBox="1"/>
          <p:nvPr/>
        </p:nvSpPr>
        <p:spPr>
          <a:xfrm>
            <a:off x="7976361" y="3254502"/>
            <a:ext cx="750570" cy="29972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800" b="1" i="0" u="none" strike="noStrike" kern="0" cap="none" spc="-10" normalizeH="0" baseline="0" noProof="0" dirty="0">
                <a:ln>
                  <a:noFill/>
                </a:ln>
                <a:solidFill>
                  <a:srgbClr val="585353"/>
                </a:solidFill>
                <a:effectLst/>
                <a:uLnTx/>
                <a:uFillTx/>
                <a:latin typeface="Trebuchet MS"/>
                <a:ea typeface="+mn-ea"/>
                <a:cs typeface="Trebuchet MS"/>
              </a:rPr>
              <a:t>GOLCA</a:t>
            </a:r>
            <a:endParaRPr kumimoji="0" sz="1800" b="0" i="0" u="none" strike="noStrike" kern="0" cap="none" spc="0" normalizeH="0" baseline="0" noProof="0">
              <a:ln>
                <a:noFill/>
              </a:ln>
              <a:solidFill>
                <a:sysClr val="windowText" lastClr="000000"/>
              </a:solidFill>
              <a:effectLst/>
              <a:uLnTx/>
              <a:uFillTx/>
              <a:latin typeface="Trebuchet MS"/>
              <a:ea typeface="+mn-ea"/>
              <a:cs typeface="Trebuchet MS"/>
            </a:endParaRPr>
          </a:p>
        </p:txBody>
      </p:sp>
      <p:sp>
        <p:nvSpPr>
          <p:cNvPr id="9" name="object 9"/>
          <p:cNvSpPr/>
          <p:nvPr/>
        </p:nvSpPr>
        <p:spPr>
          <a:xfrm>
            <a:off x="7914131" y="2528316"/>
            <a:ext cx="870585" cy="408940"/>
          </a:xfrm>
          <a:custGeom>
            <a:avLst/>
            <a:gdLst/>
            <a:ahLst/>
            <a:cxnLst/>
            <a:rect l="l" t="t" r="r" b="b"/>
            <a:pathLst>
              <a:path w="870584" h="408939">
                <a:moveTo>
                  <a:pt x="802132" y="0"/>
                </a:moveTo>
                <a:lnTo>
                  <a:pt x="68072" y="0"/>
                </a:lnTo>
                <a:lnTo>
                  <a:pt x="41576" y="5349"/>
                </a:lnTo>
                <a:lnTo>
                  <a:pt x="19938" y="19938"/>
                </a:lnTo>
                <a:lnTo>
                  <a:pt x="5349" y="41576"/>
                </a:lnTo>
                <a:lnTo>
                  <a:pt x="0" y="68072"/>
                </a:lnTo>
                <a:lnTo>
                  <a:pt x="0" y="340360"/>
                </a:lnTo>
                <a:lnTo>
                  <a:pt x="5349" y="366855"/>
                </a:lnTo>
                <a:lnTo>
                  <a:pt x="19938" y="388493"/>
                </a:lnTo>
                <a:lnTo>
                  <a:pt x="41576" y="403082"/>
                </a:lnTo>
                <a:lnTo>
                  <a:pt x="68072" y="408432"/>
                </a:lnTo>
                <a:lnTo>
                  <a:pt x="802132" y="408432"/>
                </a:lnTo>
                <a:lnTo>
                  <a:pt x="828627" y="403082"/>
                </a:lnTo>
                <a:lnTo>
                  <a:pt x="850265" y="388493"/>
                </a:lnTo>
                <a:lnTo>
                  <a:pt x="864854" y="366855"/>
                </a:lnTo>
                <a:lnTo>
                  <a:pt x="870203" y="340360"/>
                </a:lnTo>
                <a:lnTo>
                  <a:pt x="870203" y="68072"/>
                </a:lnTo>
                <a:lnTo>
                  <a:pt x="864854" y="41576"/>
                </a:lnTo>
                <a:lnTo>
                  <a:pt x="850265" y="19938"/>
                </a:lnTo>
                <a:lnTo>
                  <a:pt x="828627" y="5349"/>
                </a:lnTo>
                <a:lnTo>
                  <a:pt x="802132" y="0"/>
                </a:lnTo>
                <a:close/>
              </a:path>
            </a:pathLst>
          </a:custGeom>
          <a:solidFill>
            <a:srgbClr val="FFECC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0" name="object 10"/>
          <p:cNvSpPr txBox="1"/>
          <p:nvPr/>
        </p:nvSpPr>
        <p:spPr>
          <a:xfrm>
            <a:off x="8133333" y="2577465"/>
            <a:ext cx="434340" cy="29972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800" b="1" i="0" u="none" strike="noStrike" kern="0" cap="none" spc="-25" normalizeH="0" baseline="0" noProof="0" dirty="0">
                <a:ln>
                  <a:noFill/>
                </a:ln>
                <a:solidFill>
                  <a:srgbClr val="585353"/>
                </a:solidFill>
                <a:effectLst/>
                <a:uLnTx/>
                <a:uFillTx/>
                <a:latin typeface="Trebuchet MS"/>
                <a:ea typeface="+mn-ea"/>
                <a:cs typeface="Trebuchet MS"/>
              </a:rPr>
              <a:t>LEN</a:t>
            </a:r>
            <a:endParaRPr kumimoji="0" sz="1800" b="0" i="0" u="none" strike="noStrike" kern="0" cap="none" spc="0" normalizeH="0" baseline="0" noProof="0">
              <a:ln>
                <a:noFill/>
              </a:ln>
              <a:solidFill>
                <a:sysClr val="windowText" lastClr="000000"/>
              </a:solidFill>
              <a:effectLst/>
              <a:uLnTx/>
              <a:uFillTx/>
              <a:latin typeface="Trebuchet MS"/>
              <a:ea typeface="+mn-ea"/>
              <a:cs typeface="Trebuchet MS"/>
            </a:endParaRPr>
          </a:p>
        </p:txBody>
      </p:sp>
      <p:pic>
        <p:nvPicPr>
          <p:cNvPr id="11" name="object 11"/>
          <p:cNvPicPr/>
          <p:nvPr/>
        </p:nvPicPr>
        <p:blipFill>
          <a:blip r:embed="rId4" cstate="print"/>
          <a:stretch>
            <a:fillRect/>
          </a:stretch>
        </p:blipFill>
        <p:spPr>
          <a:xfrm>
            <a:off x="8923019" y="3267455"/>
            <a:ext cx="1060703" cy="284988"/>
          </a:xfrm>
          <a:prstGeom prst="rect">
            <a:avLst/>
          </a:prstGeom>
        </p:spPr>
      </p:pic>
      <p:pic>
        <p:nvPicPr>
          <p:cNvPr id="12" name="object 12"/>
          <p:cNvPicPr/>
          <p:nvPr/>
        </p:nvPicPr>
        <p:blipFill>
          <a:blip r:embed="rId5" cstate="print"/>
          <a:stretch>
            <a:fillRect/>
          </a:stretch>
        </p:blipFill>
        <p:spPr>
          <a:xfrm>
            <a:off x="8919971" y="2606039"/>
            <a:ext cx="425196" cy="283463"/>
          </a:xfrm>
          <a:prstGeom prst="rect">
            <a:avLst/>
          </a:prstGeom>
        </p:spPr>
      </p:pic>
      <p:sp>
        <p:nvSpPr>
          <p:cNvPr id="13" name="object 13"/>
          <p:cNvSpPr txBox="1"/>
          <p:nvPr/>
        </p:nvSpPr>
        <p:spPr>
          <a:xfrm>
            <a:off x="6287261" y="4093591"/>
            <a:ext cx="5396865" cy="1564005"/>
          </a:xfrm>
          <a:prstGeom prst="rect">
            <a:avLst/>
          </a:prstGeom>
        </p:spPr>
        <p:txBody>
          <a:bodyPr vert="horz" wrap="square" lIns="0" tIns="33019" rIns="0" bIns="0" rtlCol="0">
            <a:spAutoFit/>
          </a:bodyPr>
          <a:lstStyle/>
          <a:p>
            <a:pPr marL="319405" marR="68580" lvl="0" indent="-256540" algn="just" defTabSz="914400" rtl="0" eaLnBrk="1" fontAlgn="auto" latinLnBrk="0" hangingPunct="1">
              <a:lnSpc>
                <a:spcPts val="1300"/>
              </a:lnSpc>
              <a:spcBef>
                <a:spcPts val="259"/>
              </a:spcBef>
              <a:spcAft>
                <a:spcPts val="0"/>
              </a:spcAft>
              <a:buClrTx/>
              <a:buSzTx/>
              <a:buFont typeface="Arial"/>
              <a:buChar char="•"/>
              <a:tabLst>
                <a:tab pos="319405" algn="l"/>
                <a:tab pos="320675" algn="l"/>
              </a:tabLst>
              <a:defRPr/>
            </a:pPr>
            <a:r>
              <a:rPr kumimoji="0" sz="1200" b="0" i="0" u="none" strike="noStrike" kern="0" cap="none" spc="0" normalizeH="0" baseline="0" noProof="0" dirty="0">
                <a:ln>
                  <a:noFill/>
                </a:ln>
                <a:solidFill>
                  <a:srgbClr val="585353"/>
                </a:solidFill>
                <a:effectLst/>
                <a:uLnTx/>
                <a:uFillTx/>
                <a:latin typeface="Trebuchet MS"/>
                <a:ea typeface="+mn-ea"/>
                <a:cs typeface="Trebuchet MS"/>
              </a:rPr>
              <a:t>	CRBN</a:t>
            </a:r>
            <a:r>
              <a:rPr kumimoji="0" sz="1200" b="0" i="0" u="none" strike="noStrike" kern="0" cap="none" spc="-30"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has</a:t>
            </a:r>
            <a:r>
              <a:rPr kumimoji="0" sz="1200" b="0" i="0" u="none" strike="noStrike" kern="0" cap="none" spc="-30"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both</a:t>
            </a:r>
            <a:r>
              <a:rPr kumimoji="0" sz="1200" b="0" i="0" u="none" strike="noStrike" kern="0" cap="none" spc="-30"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an</a:t>
            </a:r>
            <a:r>
              <a:rPr kumimoji="0" sz="1200" b="0" i="0" u="none" strike="noStrike" kern="0" cap="none" spc="-15" normalizeH="0" baseline="0" noProof="0" dirty="0">
                <a:ln>
                  <a:noFill/>
                </a:ln>
                <a:solidFill>
                  <a:srgbClr val="585353"/>
                </a:solidFill>
                <a:effectLst/>
                <a:uLnTx/>
                <a:uFillTx/>
                <a:latin typeface="Trebuchet MS"/>
                <a:ea typeface="+mn-ea"/>
                <a:cs typeface="Trebuchet MS"/>
              </a:rPr>
              <a:t> </a:t>
            </a:r>
            <a:r>
              <a:rPr kumimoji="0" sz="1200" b="1" i="1" u="none" strike="noStrike" kern="0" cap="none" spc="0" normalizeH="0" baseline="0" noProof="0" dirty="0">
                <a:ln>
                  <a:noFill/>
                </a:ln>
                <a:solidFill>
                  <a:srgbClr val="C37900"/>
                </a:solidFill>
                <a:effectLst/>
                <a:uLnTx/>
                <a:uFillTx/>
                <a:latin typeface="Trebuchet MS"/>
                <a:ea typeface="+mn-ea"/>
                <a:cs typeface="Trebuchet MS"/>
              </a:rPr>
              <a:t>open,</a:t>
            </a:r>
            <a:r>
              <a:rPr kumimoji="0" sz="1200" b="1" i="1" u="none" strike="noStrike" kern="0" cap="none" spc="-20" normalizeH="0" baseline="0" noProof="0" dirty="0">
                <a:ln>
                  <a:noFill/>
                </a:ln>
                <a:solidFill>
                  <a:srgbClr val="C37900"/>
                </a:solidFill>
                <a:effectLst/>
                <a:uLnTx/>
                <a:uFillTx/>
                <a:latin typeface="Trebuchet MS"/>
                <a:ea typeface="+mn-ea"/>
                <a:cs typeface="Trebuchet MS"/>
              </a:rPr>
              <a:t> </a:t>
            </a:r>
            <a:r>
              <a:rPr kumimoji="0" sz="1200" b="1" i="1" u="none" strike="noStrike" kern="0" cap="none" spc="0" normalizeH="0" baseline="0" noProof="0" dirty="0">
                <a:ln>
                  <a:noFill/>
                </a:ln>
                <a:solidFill>
                  <a:srgbClr val="C37900"/>
                </a:solidFill>
                <a:effectLst/>
                <a:uLnTx/>
                <a:uFillTx/>
                <a:latin typeface="Trebuchet MS"/>
                <a:ea typeface="+mn-ea"/>
                <a:cs typeface="Trebuchet MS"/>
              </a:rPr>
              <a:t>inactive</a:t>
            </a:r>
            <a:r>
              <a:rPr kumimoji="0" sz="1200" b="1" i="1" u="none" strike="noStrike" kern="0" cap="none" spc="-15" normalizeH="0" baseline="0" noProof="0" dirty="0">
                <a:ln>
                  <a:noFill/>
                </a:ln>
                <a:solidFill>
                  <a:srgbClr val="C37900"/>
                </a:solidFill>
                <a:effectLst/>
                <a:uLnTx/>
                <a:uFillTx/>
                <a:latin typeface="Trebuchet MS"/>
                <a:ea typeface="+mn-ea"/>
                <a:cs typeface="Trebuchet MS"/>
              </a:rPr>
              <a:t> </a:t>
            </a:r>
            <a:r>
              <a:rPr kumimoji="0" sz="1200" b="1" i="1" u="none" strike="noStrike" kern="0" cap="none" spc="0" normalizeH="0" baseline="0" noProof="0" dirty="0">
                <a:ln>
                  <a:noFill/>
                </a:ln>
                <a:solidFill>
                  <a:srgbClr val="C37900"/>
                </a:solidFill>
                <a:effectLst/>
                <a:uLnTx/>
                <a:uFillTx/>
                <a:latin typeface="Trebuchet MS"/>
                <a:ea typeface="+mn-ea"/>
                <a:cs typeface="Trebuchet MS"/>
              </a:rPr>
              <a:t>state</a:t>
            </a:r>
            <a:r>
              <a:rPr kumimoji="0" sz="1200" b="1" i="1" u="none" strike="noStrike" kern="0" cap="none" spc="-15" normalizeH="0" baseline="0" noProof="0" dirty="0">
                <a:ln>
                  <a:noFill/>
                </a:ln>
                <a:solidFill>
                  <a:srgbClr val="C37900"/>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and</a:t>
            </a:r>
            <a:r>
              <a:rPr kumimoji="0" sz="1200" b="0" i="0" u="none" strike="noStrike" kern="0" cap="none" spc="-35"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a</a:t>
            </a:r>
            <a:r>
              <a:rPr kumimoji="0" sz="1200" b="0" i="0" u="none" strike="noStrike" kern="0" cap="none" spc="-20" normalizeH="0" baseline="0" noProof="0" dirty="0">
                <a:ln>
                  <a:noFill/>
                </a:ln>
                <a:solidFill>
                  <a:srgbClr val="585353"/>
                </a:solidFill>
                <a:effectLst/>
                <a:uLnTx/>
                <a:uFillTx/>
                <a:latin typeface="Trebuchet MS"/>
                <a:ea typeface="+mn-ea"/>
                <a:cs typeface="Trebuchet MS"/>
              </a:rPr>
              <a:t> </a:t>
            </a:r>
            <a:r>
              <a:rPr kumimoji="0" sz="1200" b="1" i="1" u="none" strike="noStrike" kern="0" cap="none" spc="0" normalizeH="0" baseline="0" noProof="0" dirty="0">
                <a:ln>
                  <a:noFill/>
                </a:ln>
                <a:solidFill>
                  <a:srgbClr val="C37900"/>
                </a:solidFill>
                <a:effectLst/>
                <a:uLnTx/>
                <a:uFillTx/>
                <a:latin typeface="Trebuchet MS"/>
                <a:ea typeface="+mn-ea"/>
                <a:cs typeface="Trebuchet MS"/>
              </a:rPr>
              <a:t>closed, active</a:t>
            </a:r>
            <a:r>
              <a:rPr kumimoji="0" sz="1200" b="1" i="1" u="none" strike="noStrike" kern="0" cap="none" spc="-15" normalizeH="0" baseline="0" noProof="0" dirty="0">
                <a:ln>
                  <a:noFill/>
                </a:ln>
                <a:solidFill>
                  <a:srgbClr val="C37900"/>
                </a:solidFill>
                <a:effectLst/>
                <a:uLnTx/>
                <a:uFillTx/>
                <a:latin typeface="Trebuchet MS"/>
                <a:ea typeface="+mn-ea"/>
                <a:cs typeface="Trebuchet MS"/>
              </a:rPr>
              <a:t> </a:t>
            </a:r>
            <a:r>
              <a:rPr kumimoji="0" sz="1200" b="1" i="1" u="none" strike="noStrike" kern="0" cap="none" spc="0" normalizeH="0" baseline="0" noProof="0" dirty="0">
                <a:ln>
                  <a:noFill/>
                </a:ln>
                <a:solidFill>
                  <a:srgbClr val="C37900"/>
                </a:solidFill>
                <a:effectLst/>
                <a:uLnTx/>
                <a:uFillTx/>
                <a:latin typeface="Trebuchet MS"/>
                <a:ea typeface="+mn-ea"/>
                <a:cs typeface="Trebuchet MS"/>
              </a:rPr>
              <a:t>state</a:t>
            </a:r>
            <a:r>
              <a:rPr kumimoji="0" sz="1200" b="0" i="0" u="none" strike="noStrike" kern="0" cap="none" spc="0" normalizeH="0" baseline="0" noProof="0" dirty="0">
                <a:ln>
                  <a:noFill/>
                </a:ln>
                <a:solidFill>
                  <a:srgbClr val="585353"/>
                </a:solidFill>
                <a:effectLst/>
                <a:uLnTx/>
                <a:uFillTx/>
                <a:latin typeface="Trebuchet MS"/>
                <a:ea typeface="+mn-ea"/>
                <a:cs typeface="Trebuchet MS"/>
              </a:rPr>
              <a:t>;</a:t>
            </a:r>
            <a:r>
              <a:rPr kumimoji="0" sz="1200" b="0" i="0" u="none" strike="noStrike" kern="0" cap="none" spc="-25" normalizeH="0" baseline="0" noProof="0" dirty="0">
                <a:ln>
                  <a:noFill/>
                </a:ln>
                <a:solidFill>
                  <a:srgbClr val="585353"/>
                </a:solidFill>
                <a:effectLst/>
                <a:uLnTx/>
                <a:uFillTx/>
                <a:latin typeface="Trebuchet MS"/>
                <a:ea typeface="+mn-ea"/>
                <a:cs typeface="Trebuchet MS"/>
              </a:rPr>
              <a:t> </a:t>
            </a:r>
            <a:r>
              <a:rPr kumimoji="0" sz="1200" b="0" i="0" u="none" strike="noStrike" kern="0" cap="none" spc="-20" normalizeH="0" baseline="0" noProof="0" dirty="0">
                <a:ln>
                  <a:noFill/>
                </a:ln>
                <a:solidFill>
                  <a:srgbClr val="585353"/>
                </a:solidFill>
                <a:effectLst/>
                <a:uLnTx/>
                <a:uFillTx/>
                <a:latin typeface="Trebuchet MS"/>
                <a:ea typeface="+mn-ea"/>
                <a:cs typeface="Trebuchet MS"/>
              </a:rPr>
              <a:t>IMiD </a:t>
            </a:r>
            <a:r>
              <a:rPr kumimoji="0" sz="1200" b="0" i="0" u="none" strike="noStrike" kern="0" cap="none" spc="0" normalizeH="0" baseline="0" noProof="0" dirty="0">
                <a:ln>
                  <a:noFill/>
                </a:ln>
                <a:solidFill>
                  <a:srgbClr val="585353"/>
                </a:solidFill>
                <a:effectLst/>
                <a:uLnTx/>
                <a:uFillTx/>
                <a:latin typeface="Trebuchet MS"/>
                <a:ea typeface="+mn-ea"/>
                <a:cs typeface="Trebuchet MS"/>
              </a:rPr>
              <a:t>and</a:t>
            </a:r>
            <a:r>
              <a:rPr kumimoji="0" sz="1200" b="0" i="0" u="none" strike="noStrike" kern="0" cap="none" spc="-35"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CELMoD</a:t>
            </a:r>
            <a:r>
              <a:rPr kumimoji="0" sz="1200" b="0" i="0" u="none" strike="noStrike" kern="0" cap="none" spc="-40"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agents</a:t>
            </a:r>
            <a:r>
              <a:rPr kumimoji="0" sz="1200" b="0" i="0" u="none" strike="noStrike" kern="0" cap="none" spc="-45"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drive</a:t>
            </a:r>
            <a:r>
              <a:rPr kumimoji="0" sz="1200" b="0" i="0" u="none" strike="noStrike" kern="0" cap="none" spc="-45"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the</a:t>
            </a:r>
            <a:r>
              <a:rPr kumimoji="0" sz="1200" b="0" i="0" u="none" strike="noStrike" kern="0" cap="none" spc="-40"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closed</a:t>
            </a:r>
            <a:r>
              <a:rPr kumimoji="0" sz="1200" b="0" i="0" u="none" strike="noStrike" kern="0" cap="none" spc="-15"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conformation,</a:t>
            </a:r>
            <a:r>
              <a:rPr kumimoji="0" sz="1200" b="0" i="0" u="none" strike="noStrike" kern="0" cap="none" spc="-60"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however</a:t>
            </a:r>
            <a:r>
              <a:rPr kumimoji="0" sz="1200" b="0" i="0" u="none" strike="noStrike" kern="0" cap="none" spc="-40"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only</a:t>
            </a:r>
            <a:r>
              <a:rPr kumimoji="0" sz="1200" b="0" i="0" u="none" strike="noStrike" kern="0" cap="none" spc="10" normalizeH="0" baseline="0" noProof="0" dirty="0">
                <a:ln>
                  <a:noFill/>
                </a:ln>
                <a:solidFill>
                  <a:srgbClr val="585353"/>
                </a:solidFill>
                <a:effectLst/>
                <a:uLnTx/>
                <a:uFillTx/>
                <a:latin typeface="Trebuchet MS"/>
                <a:ea typeface="+mn-ea"/>
                <a:cs typeface="Trebuchet MS"/>
              </a:rPr>
              <a:t> </a:t>
            </a:r>
            <a:r>
              <a:rPr kumimoji="0" sz="1200" b="0" i="0" u="none" strike="noStrike" kern="0" cap="none" spc="-10" normalizeH="0" baseline="0" noProof="0" dirty="0">
                <a:ln>
                  <a:noFill/>
                </a:ln>
                <a:solidFill>
                  <a:srgbClr val="585353"/>
                </a:solidFill>
                <a:effectLst/>
                <a:uLnTx/>
                <a:uFillTx/>
                <a:latin typeface="Trebuchet MS"/>
                <a:ea typeface="+mn-ea"/>
                <a:cs typeface="Trebuchet MS"/>
              </a:rPr>
              <a:t>CELMoD </a:t>
            </a:r>
            <a:r>
              <a:rPr kumimoji="0" sz="1200" b="0" i="0" u="none" strike="noStrike" kern="0" cap="none" spc="0" normalizeH="0" baseline="0" noProof="0" dirty="0">
                <a:ln>
                  <a:noFill/>
                </a:ln>
                <a:solidFill>
                  <a:srgbClr val="585353"/>
                </a:solidFill>
                <a:effectLst/>
                <a:uLnTx/>
                <a:uFillTx/>
                <a:latin typeface="Trebuchet MS"/>
                <a:ea typeface="+mn-ea"/>
                <a:cs typeface="Trebuchet MS"/>
              </a:rPr>
              <a:t>agents</a:t>
            </a:r>
            <a:r>
              <a:rPr kumimoji="0" sz="1200" b="0" i="0" u="none" strike="noStrike" kern="0" cap="none" spc="-30"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bind</a:t>
            </a:r>
            <a:r>
              <a:rPr kumimoji="0" sz="1200" b="0" i="0" u="none" strike="noStrike" kern="0" cap="none" spc="-35"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CRBN</a:t>
            </a:r>
            <a:r>
              <a:rPr kumimoji="0" sz="1200" b="0" i="0" u="none" strike="noStrike" kern="0" cap="none" spc="-15"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outside</a:t>
            </a:r>
            <a:r>
              <a:rPr kumimoji="0" sz="1200" b="0" i="0" u="none" strike="noStrike" kern="0" cap="none" spc="-20"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of</a:t>
            </a:r>
            <a:r>
              <a:rPr kumimoji="0" sz="1200" b="0" i="0" u="none" strike="noStrike" kern="0" cap="none" spc="10"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the</a:t>
            </a:r>
            <a:r>
              <a:rPr kumimoji="0" sz="1200" b="0" i="0" u="none" strike="noStrike" kern="0" cap="none" spc="-20"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tri-</a:t>
            </a:r>
            <a:r>
              <a:rPr kumimoji="0" sz="1200" b="0" i="0" u="none" strike="noStrike" kern="0" cap="none" spc="-10" normalizeH="0" baseline="0" noProof="0" dirty="0">
                <a:ln>
                  <a:noFill/>
                </a:ln>
                <a:solidFill>
                  <a:srgbClr val="585353"/>
                </a:solidFill>
                <a:effectLst/>
                <a:uLnTx/>
                <a:uFillTx/>
                <a:latin typeface="Trebuchet MS"/>
                <a:ea typeface="+mn-ea"/>
                <a:cs typeface="Trebuchet MS"/>
              </a:rPr>
              <a:t>tryptophan</a:t>
            </a:r>
            <a:r>
              <a:rPr kumimoji="0" sz="1200" b="0" i="0" u="none" strike="noStrike" kern="0" cap="none" spc="-45" normalizeH="0" baseline="0" noProof="0" dirty="0">
                <a:ln>
                  <a:noFill/>
                </a:ln>
                <a:solidFill>
                  <a:srgbClr val="585353"/>
                </a:solidFill>
                <a:effectLst/>
                <a:uLnTx/>
                <a:uFillTx/>
                <a:latin typeface="Trebuchet MS"/>
                <a:ea typeface="+mn-ea"/>
                <a:cs typeface="Trebuchet MS"/>
              </a:rPr>
              <a:t> </a:t>
            </a:r>
            <a:r>
              <a:rPr kumimoji="0" sz="1200" b="0" i="0" u="none" strike="noStrike" kern="0" cap="none" spc="-10" normalizeH="0" baseline="0" noProof="0" dirty="0">
                <a:ln>
                  <a:noFill/>
                </a:ln>
                <a:solidFill>
                  <a:srgbClr val="585353"/>
                </a:solidFill>
                <a:effectLst/>
                <a:uLnTx/>
                <a:uFillTx/>
                <a:latin typeface="Trebuchet MS"/>
                <a:ea typeface="+mn-ea"/>
                <a:cs typeface="Trebuchet MS"/>
              </a:rPr>
              <a:t>pocket</a:t>
            </a:r>
            <a:r>
              <a:rPr kumimoji="0" sz="1200" b="0" i="0" u="none" strike="noStrike" kern="0" cap="none" spc="-15" normalizeH="0" baseline="24305" noProof="0" dirty="0">
                <a:ln>
                  <a:noFill/>
                </a:ln>
                <a:solidFill>
                  <a:srgbClr val="585353"/>
                </a:solidFill>
                <a:effectLst/>
                <a:uLnTx/>
                <a:uFillTx/>
                <a:latin typeface="Trebuchet MS"/>
                <a:ea typeface="+mn-ea"/>
                <a:cs typeface="Trebuchet MS"/>
              </a:rPr>
              <a:t>4,5</a:t>
            </a:r>
            <a:endParaRPr kumimoji="0" sz="1200" b="0" i="0" u="none" strike="noStrike" kern="0" cap="none" spc="0" normalizeH="0" baseline="24305" noProof="0">
              <a:ln>
                <a:noFill/>
              </a:ln>
              <a:solidFill>
                <a:sysClr val="windowText" lastClr="000000"/>
              </a:solidFill>
              <a:effectLst/>
              <a:uLnTx/>
              <a:uFillTx/>
              <a:latin typeface="Trebuchet MS"/>
              <a:ea typeface="+mn-ea"/>
              <a:cs typeface="Trebuchet MS"/>
            </a:endParaRPr>
          </a:p>
          <a:p>
            <a:pPr marL="319405" marR="109220" lvl="0" indent="-256540" algn="l" defTabSz="914400" rtl="0" eaLnBrk="1" fontAlgn="auto" latinLnBrk="0" hangingPunct="1">
              <a:lnSpc>
                <a:spcPts val="1300"/>
              </a:lnSpc>
              <a:spcBef>
                <a:spcPts val="790"/>
              </a:spcBef>
              <a:spcAft>
                <a:spcPts val="0"/>
              </a:spcAft>
              <a:buClrTx/>
              <a:buSzTx/>
              <a:buFont typeface="Arial"/>
              <a:buChar char="•"/>
              <a:tabLst>
                <a:tab pos="319405" algn="l"/>
              </a:tabLst>
              <a:defRPr/>
            </a:pPr>
            <a:r>
              <a:rPr kumimoji="0" sz="1200" b="0" i="0" u="none" strike="noStrike" kern="0" cap="none" spc="0" normalizeH="0" baseline="0" noProof="0" dirty="0">
                <a:ln>
                  <a:noFill/>
                </a:ln>
                <a:solidFill>
                  <a:srgbClr val="585353"/>
                </a:solidFill>
                <a:effectLst/>
                <a:uLnTx/>
                <a:uFillTx/>
                <a:latin typeface="Trebuchet MS"/>
                <a:ea typeface="+mn-ea"/>
                <a:cs typeface="Trebuchet MS"/>
              </a:rPr>
              <a:t>This</a:t>
            </a:r>
            <a:r>
              <a:rPr kumimoji="0" sz="1200" b="0" i="0" u="none" strike="noStrike" kern="0" cap="none" spc="-40"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distinct</a:t>
            </a:r>
            <a:r>
              <a:rPr kumimoji="0" sz="1200" b="0" i="0" u="none" strike="noStrike" kern="0" cap="none" spc="-50"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binding</a:t>
            </a:r>
            <a:r>
              <a:rPr kumimoji="0" sz="1200" b="0" i="0" u="none" strike="noStrike" kern="0" cap="none" spc="-60"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by</a:t>
            </a:r>
            <a:r>
              <a:rPr kumimoji="0" sz="1200" b="0" i="0" u="none" strike="noStrike" kern="0" cap="none" spc="-25"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golcadomide</a:t>
            </a:r>
            <a:r>
              <a:rPr kumimoji="0" sz="1200" b="0" i="0" u="none" strike="noStrike" kern="0" cap="none" spc="-25"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induces</a:t>
            </a:r>
            <a:r>
              <a:rPr kumimoji="0" sz="1200" b="0" i="0" u="none" strike="noStrike" kern="0" cap="none" spc="-55"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the</a:t>
            </a:r>
            <a:r>
              <a:rPr kumimoji="0" sz="1200" b="0" i="0" u="none" strike="noStrike" kern="0" cap="none" spc="-40"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complete</a:t>
            </a:r>
            <a:r>
              <a:rPr kumimoji="0" sz="1200" b="0" i="0" u="none" strike="noStrike" kern="0" cap="none" spc="-45"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conversion</a:t>
            </a:r>
            <a:r>
              <a:rPr kumimoji="0" sz="1200" b="0" i="0" u="none" strike="noStrike" kern="0" cap="none" spc="-40" normalizeH="0" baseline="0" noProof="0" dirty="0">
                <a:ln>
                  <a:noFill/>
                </a:ln>
                <a:solidFill>
                  <a:srgbClr val="585353"/>
                </a:solidFill>
                <a:effectLst/>
                <a:uLnTx/>
                <a:uFillTx/>
                <a:latin typeface="Trebuchet MS"/>
                <a:ea typeface="+mn-ea"/>
                <a:cs typeface="Trebuchet MS"/>
              </a:rPr>
              <a:t> </a:t>
            </a:r>
            <a:r>
              <a:rPr kumimoji="0" sz="1200" b="0" i="0" u="none" strike="noStrike" kern="0" cap="none" spc="-25" normalizeH="0" baseline="0" noProof="0" dirty="0">
                <a:ln>
                  <a:noFill/>
                </a:ln>
                <a:solidFill>
                  <a:srgbClr val="585353"/>
                </a:solidFill>
                <a:effectLst/>
                <a:uLnTx/>
                <a:uFillTx/>
                <a:latin typeface="Trebuchet MS"/>
                <a:ea typeface="+mn-ea"/>
                <a:cs typeface="Trebuchet MS"/>
              </a:rPr>
              <a:t>to </a:t>
            </a:r>
            <a:r>
              <a:rPr kumimoji="0" sz="1200" b="0" i="0" u="none" strike="noStrike" kern="0" cap="none" spc="0" normalizeH="0" baseline="0" noProof="0" dirty="0">
                <a:ln>
                  <a:noFill/>
                </a:ln>
                <a:solidFill>
                  <a:srgbClr val="585353"/>
                </a:solidFill>
                <a:effectLst/>
                <a:uLnTx/>
                <a:uFillTx/>
                <a:latin typeface="Trebuchet MS"/>
                <a:ea typeface="+mn-ea"/>
                <a:cs typeface="Trebuchet MS"/>
              </a:rPr>
              <a:t>the</a:t>
            </a:r>
            <a:r>
              <a:rPr kumimoji="0" sz="1200" b="0" i="0" u="none" strike="noStrike" kern="0" cap="none" spc="-40"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active,</a:t>
            </a:r>
            <a:r>
              <a:rPr kumimoji="0" sz="1200" b="0" i="0" u="none" strike="noStrike" kern="0" cap="none" spc="-20"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closed'</a:t>
            </a:r>
            <a:r>
              <a:rPr kumimoji="0" sz="1200" b="0" i="0" u="none" strike="noStrike" kern="0" cap="none" spc="-55"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conformation</a:t>
            </a:r>
            <a:r>
              <a:rPr kumimoji="0" sz="1200" b="0" i="0" u="none" strike="noStrike" kern="0" cap="none" spc="-20"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of</a:t>
            </a:r>
            <a:r>
              <a:rPr kumimoji="0" sz="1200" b="0" i="0" u="none" strike="noStrike" kern="0" cap="none" spc="-45"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CRBN,</a:t>
            </a:r>
            <a:r>
              <a:rPr kumimoji="0" sz="1200" b="0" i="0" u="none" strike="noStrike" kern="0" cap="none" spc="-25"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leading</a:t>
            </a:r>
            <a:r>
              <a:rPr kumimoji="0" sz="1200" b="0" i="0" u="none" strike="noStrike" kern="0" cap="none" spc="-40"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to</a:t>
            </a:r>
            <a:r>
              <a:rPr kumimoji="0" sz="1200" b="0" i="0" u="none" strike="noStrike" kern="0" cap="none" spc="-10"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deeper</a:t>
            </a:r>
            <a:r>
              <a:rPr kumimoji="0" sz="1200" b="0" i="0" u="none" strike="noStrike" kern="0" cap="none" spc="-65"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and</a:t>
            </a:r>
            <a:r>
              <a:rPr kumimoji="0" sz="1200" b="0" i="0" u="none" strike="noStrike" kern="0" cap="none" spc="-35" normalizeH="0" baseline="0" noProof="0" dirty="0">
                <a:ln>
                  <a:noFill/>
                </a:ln>
                <a:solidFill>
                  <a:srgbClr val="585353"/>
                </a:solidFill>
                <a:effectLst/>
                <a:uLnTx/>
                <a:uFillTx/>
                <a:latin typeface="Trebuchet MS"/>
                <a:ea typeface="+mn-ea"/>
                <a:cs typeface="Trebuchet MS"/>
              </a:rPr>
              <a:t> </a:t>
            </a:r>
            <a:r>
              <a:rPr kumimoji="0" sz="1200" b="0" i="0" u="none" strike="noStrike" kern="0" cap="none" spc="-20" normalizeH="0" baseline="0" noProof="0" dirty="0">
                <a:ln>
                  <a:noFill/>
                </a:ln>
                <a:solidFill>
                  <a:srgbClr val="585353"/>
                </a:solidFill>
                <a:effectLst/>
                <a:uLnTx/>
                <a:uFillTx/>
                <a:latin typeface="Trebuchet MS"/>
                <a:ea typeface="+mn-ea"/>
                <a:cs typeface="Trebuchet MS"/>
              </a:rPr>
              <a:t>more </a:t>
            </a:r>
            <a:r>
              <a:rPr kumimoji="0" sz="1200" b="0" i="0" u="none" strike="noStrike" kern="0" cap="none" spc="0" normalizeH="0" baseline="0" noProof="0" dirty="0">
                <a:ln>
                  <a:noFill/>
                </a:ln>
                <a:solidFill>
                  <a:srgbClr val="585353"/>
                </a:solidFill>
                <a:effectLst/>
                <a:uLnTx/>
                <a:uFillTx/>
                <a:latin typeface="Trebuchet MS"/>
                <a:ea typeface="+mn-ea"/>
                <a:cs typeface="Trebuchet MS"/>
              </a:rPr>
              <a:t>rapid</a:t>
            </a:r>
            <a:r>
              <a:rPr kumimoji="0" sz="1200" b="0" i="0" u="none" strike="noStrike" kern="0" cap="none" spc="-75"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degradation</a:t>
            </a:r>
            <a:r>
              <a:rPr kumimoji="0" sz="1200" b="0" i="0" u="none" strike="noStrike" kern="0" cap="none" spc="-55"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of</a:t>
            </a:r>
            <a:r>
              <a:rPr kumimoji="0" sz="1200" b="0" i="0" u="none" strike="noStrike" kern="0" cap="none" spc="-25"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Ikaros/Aiolos</a:t>
            </a:r>
            <a:r>
              <a:rPr kumimoji="0" sz="1200" b="0" i="0" u="none" strike="noStrike" kern="0" cap="none" spc="-35"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compared</a:t>
            </a:r>
            <a:r>
              <a:rPr kumimoji="0" sz="1200" b="0" i="0" u="none" strike="noStrike" kern="0" cap="none" spc="-60"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with</a:t>
            </a:r>
            <a:r>
              <a:rPr kumimoji="0" sz="1200" b="0" i="0" u="none" strike="noStrike" kern="0" cap="none" spc="-50" normalizeH="0" baseline="0" noProof="0" dirty="0">
                <a:ln>
                  <a:noFill/>
                </a:ln>
                <a:solidFill>
                  <a:srgbClr val="585353"/>
                </a:solidFill>
                <a:effectLst/>
                <a:uLnTx/>
                <a:uFillTx/>
                <a:latin typeface="Trebuchet MS"/>
                <a:ea typeface="+mn-ea"/>
                <a:cs typeface="Trebuchet MS"/>
              </a:rPr>
              <a:t> </a:t>
            </a:r>
            <a:r>
              <a:rPr kumimoji="0" sz="1200" b="0" i="0" u="none" strike="noStrike" kern="0" cap="none" spc="-20" normalizeH="0" baseline="0" noProof="0" dirty="0">
                <a:ln>
                  <a:noFill/>
                </a:ln>
                <a:solidFill>
                  <a:srgbClr val="585353"/>
                </a:solidFill>
                <a:effectLst/>
                <a:uLnTx/>
                <a:uFillTx/>
                <a:latin typeface="Trebuchet MS"/>
                <a:ea typeface="+mn-ea"/>
                <a:cs typeface="Trebuchet MS"/>
              </a:rPr>
              <a:t>LEN</a:t>
            </a:r>
            <a:r>
              <a:rPr kumimoji="0" sz="1200" b="0" i="0" u="none" strike="noStrike" kern="0" cap="none" spc="-30" normalizeH="0" baseline="24305" noProof="0" dirty="0">
                <a:ln>
                  <a:noFill/>
                </a:ln>
                <a:solidFill>
                  <a:srgbClr val="585353"/>
                </a:solidFill>
                <a:effectLst/>
                <a:uLnTx/>
                <a:uFillTx/>
                <a:latin typeface="Trebuchet MS"/>
                <a:ea typeface="+mn-ea"/>
                <a:cs typeface="Trebuchet MS"/>
              </a:rPr>
              <a:t>5</a:t>
            </a:r>
            <a:endParaRPr kumimoji="0" sz="1200" b="0" i="0" u="none" strike="noStrike" kern="0" cap="none" spc="0" normalizeH="0" baseline="24305" noProof="0">
              <a:ln>
                <a:noFill/>
              </a:ln>
              <a:solidFill>
                <a:sysClr val="windowText" lastClr="000000"/>
              </a:solidFill>
              <a:effectLst/>
              <a:uLnTx/>
              <a:uFillTx/>
              <a:latin typeface="Trebuchet MS"/>
              <a:ea typeface="+mn-ea"/>
              <a:cs typeface="Trebuchet MS"/>
            </a:endParaRPr>
          </a:p>
          <a:p>
            <a:pPr marL="319405" marR="0" lvl="0" indent="-255904" algn="l" defTabSz="914400" rtl="0" eaLnBrk="1" fontAlgn="auto" latinLnBrk="0" hangingPunct="1">
              <a:lnSpc>
                <a:spcPts val="1370"/>
              </a:lnSpc>
              <a:spcBef>
                <a:spcPts val="620"/>
              </a:spcBef>
              <a:spcAft>
                <a:spcPts val="0"/>
              </a:spcAft>
              <a:buClrTx/>
              <a:buSzTx/>
              <a:buFont typeface="Arial"/>
              <a:buChar char="•"/>
              <a:tabLst>
                <a:tab pos="319405" algn="l"/>
              </a:tabLst>
              <a:defRPr/>
            </a:pPr>
            <a:r>
              <a:rPr kumimoji="0" sz="1200" b="0" i="0" u="none" strike="noStrike" kern="0" cap="none" spc="0" normalizeH="0" baseline="0" noProof="0" dirty="0">
                <a:ln>
                  <a:noFill/>
                </a:ln>
                <a:solidFill>
                  <a:srgbClr val="585353"/>
                </a:solidFill>
                <a:effectLst/>
                <a:uLnTx/>
                <a:uFillTx/>
                <a:latin typeface="Trebuchet MS"/>
                <a:ea typeface="+mn-ea"/>
                <a:cs typeface="Trebuchet MS"/>
              </a:rPr>
              <a:t>Golcadomide</a:t>
            </a:r>
            <a:r>
              <a:rPr kumimoji="0" sz="1200" b="0" i="0" u="none" strike="noStrike" kern="0" cap="none" spc="-35"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deeply</a:t>
            </a:r>
            <a:r>
              <a:rPr kumimoji="0" sz="1200" b="0" i="0" u="none" strike="noStrike" kern="0" cap="none" spc="-50"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penetrates</a:t>
            </a:r>
            <a:r>
              <a:rPr kumimoji="0" sz="1200" b="0" i="0" u="none" strike="noStrike" kern="0" cap="none" spc="-45"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lymphoid</a:t>
            </a:r>
            <a:r>
              <a:rPr kumimoji="0" sz="1200" b="0" i="0" u="none" strike="noStrike" kern="0" cap="none" spc="-40"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tissue,</a:t>
            </a:r>
            <a:r>
              <a:rPr kumimoji="0" sz="1200" b="0" i="0" u="none" strike="noStrike" kern="0" cap="none" spc="-35"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an</a:t>
            </a:r>
            <a:r>
              <a:rPr kumimoji="0" sz="1200" b="0" i="0" u="none" strike="noStrike" kern="0" cap="none" spc="-40"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optimal</a:t>
            </a:r>
            <a:r>
              <a:rPr kumimoji="0" sz="1200" b="0" i="0" u="none" strike="noStrike" kern="0" cap="none" spc="-40"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feature</a:t>
            </a:r>
            <a:r>
              <a:rPr kumimoji="0" sz="1200" b="0" i="0" u="none" strike="noStrike" kern="0" cap="none" spc="-60" normalizeH="0" baseline="0" noProof="0" dirty="0">
                <a:ln>
                  <a:noFill/>
                </a:ln>
                <a:solidFill>
                  <a:srgbClr val="585353"/>
                </a:solidFill>
                <a:effectLst/>
                <a:uLnTx/>
                <a:uFillTx/>
                <a:latin typeface="Trebuchet MS"/>
                <a:ea typeface="+mn-ea"/>
                <a:cs typeface="Trebuchet MS"/>
              </a:rPr>
              <a:t> </a:t>
            </a:r>
            <a:r>
              <a:rPr kumimoji="0" sz="1200" b="0" i="0" u="none" strike="noStrike" kern="0" cap="none" spc="-25" normalizeH="0" baseline="0" noProof="0" dirty="0">
                <a:ln>
                  <a:noFill/>
                </a:ln>
                <a:solidFill>
                  <a:srgbClr val="585353"/>
                </a:solidFill>
                <a:effectLst/>
                <a:uLnTx/>
                <a:uFillTx/>
                <a:latin typeface="Trebuchet MS"/>
                <a:ea typeface="+mn-ea"/>
                <a:cs typeface="Trebuchet MS"/>
              </a:rPr>
              <a:t>for</a:t>
            </a:r>
            <a:endParaRPr kumimoji="0" sz="1200" b="0" i="0" u="none" strike="noStrike" kern="0" cap="none" spc="0" normalizeH="0" baseline="0" noProof="0">
              <a:ln>
                <a:noFill/>
              </a:ln>
              <a:solidFill>
                <a:sysClr val="windowText" lastClr="000000"/>
              </a:solidFill>
              <a:effectLst/>
              <a:uLnTx/>
              <a:uFillTx/>
              <a:latin typeface="Trebuchet MS"/>
              <a:ea typeface="+mn-ea"/>
              <a:cs typeface="Trebuchet MS"/>
            </a:endParaRPr>
          </a:p>
          <a:p>
            <a:pPr marL="319405" marR="0" lvl="0" indent="0" algn="l" defTabSz="914400" rtl="0" eaLnBrk="1" fontAlgn="auto" latinLnBrk="0" hangingPunct="1">
              <a:lnSpc>
                <a:spcPts val="1370"/>
              </a:lnSpc>
              <a:spcBef>
                <a:spcPts val="0"/>
              </a:spcBef>
              <a:spcAft>
                <a:spcPts val="0"/>
              </a:spcAft>
              <a:buClrTx/>
              <a:buSzTx/>
              <a:buFontTx/>
              <a:buNone/>
              <a:tabLst/>
              <a:defRPr/>
            </a:pPr>
            <a:r>
              <a:rPr kumimoji="0" sz="1200" b="0" i="0" u="none" strike="noStrike" kern="0" cap="none" spc="0" normalizeH="0" baseline="0" noProof="0" dirty="0">
                <a:ln>
                  <a:noFill/>
                </a:ln>
                <a:solidFill>
                  <a:srgbClr val="585353"/>
                </a:solidFill>
                <a:effectLst/>
                <a:uLnTx/>
                <a:uFillTx/>
                <a:latin typeface="Trebuchet MS"/>
                <a:ea typeface="+mn-ea"/>
                <a:cs typeface="Trebuchet MS"/>
              </a:rPr>
              <a:t>the</a:t>
            </a:r>
            <a:r>
              <a:rPr kumimoji="0" sz="1200" b="0" i="0" u="none" strike="noStrike" kern="0" cap="none" spc="-30"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treatment</a:t>
            </a:r>
            <a:r>
              <a:rPr kumimoji="0" sz="1200" b="0" i="0" u="none" strike="noStrike" kern="0" cap="none" spc="-20"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of</a:t>
            </a:r>
            <a:r>
              <a:rPr kumimoji="0" sz="1200" b="0" i="0" u="none" strike="noStrike" kern="0" cap="none" spc="-35" normalizeH="0" baseline="0" noProof="0" dirty="0">
                <a:ln>
                  <a:noFill/>
                </a:ln>
                <a:solidFill>
                  <a:srgbClr val="585353"/>
                </a:solidFill>
                <a:effectLst/>
                <a:uLnTx/>
                <a:uFillTx/>
                <a:latin typeface="Trebuchet MS"/>
                <a:ea typeface="+mn-ea"/>
                <a:cs typeface="Trebuchet MS"/>
              </a:rPr>
              <a:t> </a:t>
            </a:r>
            <a:r>
              <a:rPr kumimoji="0" sz="1200" b="0" i="0" u="none" strike="noStrike" kern="0" cap="none" spc="-10" normalizeH="0" baseline="0" noProof="0" dirty="0">
                <a:ln>
                  <a:noFill/>
                </a:ln>
                <a:solidFill>
                  <a:srgbClr val="585353"/>
                </a:solidFill>
                <a:effectLst/>
                <a:uLnTx/>
                <a:uFillTx/>
                <a:latin typeface="Trebuchet MS"/>
                <a:ea typeface="+mn-ea"/>
                <a:cs typeface="Trebuchet MS"/>
              </a:rPr>
              <a:t>lymphoma</a:t>
            </a:r>
            <a:r>
              <a:rPr kumimoji="0" sz="1200" b="0" i="0" u="none" strike="noStrike" kern="0" cap="none" spc="-15" normalizeH="0" baseline="24305" noProof="0" dirty="0">
                <a:ln>
                  <a:noFill/>
                </a:ln>
                <a:solidFill>
                  <a:srgbClr val="585353"/>
                </a:solidFill>
                <a:effectLst/>
                <a:uLnTx/>
                <a:uFillTx/>
                <a:latin typeface="Trebuchet MS"/>
                <a:ea typeface="+mn-ea"/>
                <a:cs typeface="Trebuchet MS"/>
              </a:rPr>
              <a:t>1,2,6</a:t>
            </a:r>
            <a:endParaRPr kumimoji="0" sz="1200" b="0" i="0" u="none" strike="noStrike" kern="0" cap="none" spc="0" normalizeH="0" baseline="24305" noProof="0">
              <a:ln>
                <a:noFill/>
              </a:ln>
              <a:solidFill>
                <a:sysClr val="windowText" lastClr="000000"/>
              </a:solidFill>
              <a:effectLst/>
              <a:uLnTx/>
              <a:uFillTx/>
              <a:latin typeface="Trebuchet MS"/>
              <a:ea typeface="+mn-ea"/>
              <a:cs typeface="Trebuchet MS"/>
            </a:endParaRPr>
          </a:p>
        </p:txBody>
      </p:sp>
      <p:pic>
        <p:nvPicPr>
          <p:cNvPr id="14" name="object 14"/>
          <p:cNvPicPr/>
          <p:nvPr/>
        </p:nvPicPr>
        <p:blipFill>
          <a:blip r:embed="rId6" cstate="print"/>
          <a:stretch>
            <a:fillRect/>
          </a:stretch>
        </p:blipFill>
        <p:spPr>
          <a:xfrm>
            <a:off x="5245608" y="4744211"/>
            <a:ext cx="131063" cy="140207"/>
          </a:xfrm>
          <a:prstGeom prst="rect">
            <a:avLst/>
          </a:prstGeom>
        </p:spPr>
      </p:pic>
      <p:sp>
        <p:nvSpPr>
          <p:cNvPr id="15" name="object 15"/>
          <p:cNvSpPr/>
          <p:nvPr/>
        </p:nvSpPr>
        <p:spPr>
          <a:xfrm>
            <a:off x="2540507" y="2138172"/>
            <a:ext cx="617220" cy="609600"/>
          </a:xfrm>
          <a:custGeom>
            <a:avLst/>
            <a:gdLst/>
            <a:ahLst/>
            <a:cxnLst/>
            <a:rect l="l" t="t" r="r" b="b"/>
            <a:pathLst>
              <a:path w="617219" h="609600">
                <a:moveTo>
                  <a:pt x="308610" y="0"/>
                </a:moveTo>
                <a:lnTo>
                  <a:pt x="258553" y="3990"/>
                </a:lnTo>
                <a:lnTo>
                  <a:pt x="211067" y="15544"/>
                </a:lnTo>
                <a:lnTo>
                  <a:pt x="166788" y="34032"/>
                </a:lnTo>
                <a:lnTo>
                  <a:pt x="126351" y="58826"/>
                </a:lnTo>
                <a:lnTo>
                  <a:pt x="90392" y="89296"/>
                </a:lnTo>
                <a:lnTo>
                  <a:pt x="59545" y="124815"/>
                </a:lnTo>
                <a:lnTo>
                  <a:pt x="34447" y="164753"/>
                </a:lnTo>
                <a:lnTo>
                  <a:pt x="15733" y="208483"/>
                </a:lnTo>
                <a:lnTo>
                  <a:pt x="4039" y="255374"/>
                </a:lnTo>
                <a:lnTo>
                  <a:pt x="0" y="304800"/>
                </a:lnTo>
                <a:lnTo>
                  <a:pt x="4039" y="354225"/>
                </a:lnTo>
                <a:lnTo>
                  <a:pt x="15733" y="401116"/>
                </a:lnTo>
                <a:lnTo>
                  <a:pt x="34447" y="444846"/>
                </a:lnTo>
                <a:lnTo>
                  <a:pt x="59545" y="484784"/>
                </a:lnTo>
                <a:lnTo>
                  <a:pt x="90392" y="520303"/>
                </a:lnTo>
                <a:lnTo>
                  <a:pt x="126351" y="550773"/>
                </a:lnTo>
                <a:lnTo>
                  <a:pt x="166788" y="575567"/>
                </a:lnTo>
                <a:lnTo>
                  <a:pt x="211067" y="594055"/>
                </a:lnTo>
                <a:lnTo>
                  <a:pt x="258553" y="605609"/>
                </a:lnTo>
                <a:lnTo>
                  <a:pt x="308610" y="609600"/>
                </a:lnTo>
                <a:lnTo>
                  <a:pt x="358666" y="605609"/>
                </a:lnTo>
                <a:lnTo>
                  <a:pt x="406152" y="594055"/>
                </a:lnTo>
                <a:lnTo>
                  <a:pt x="450431" y="575567"/>
                </a:lnTo>
                <a:lnTo>
                  <a:pt x="490868" y="550773"/>
                </a:lnTo>
                <a:lnTo>
                  <a:pt x="526827" y="520303"/>
                </a:lnTo>
                <a:lnTo>
                  <a:pt x="557674" y="484784"/>
                </a:lnTo>
                <a:lnTo>
                  <a:pt x="582772" y="444846"/>
                </a:lnTo>
                <a:lnTo>
                  <a:pt x="601486" y="401116"/>
                </a:lnTo>
                <a:lnTo>
                  <a:pt x="613180" y="354225"/>
                </a:lnTo>
                <a:lnTo>
                  <a:pt x="617219" y="304800"/>
                </a:lnTo>
                <a:lnTo>
                  <a:pt x="613180" y="255374"/>
                </a:lnTo>
                <a:lnTo>
                  <a:pt x="601486" y="208483"/>
                </a:lnTo>
                <a:lnTo>
                  <a:pt x="582772" y="164753"/>
                </a:lnTo>
                <a:lnTo>
                  <a:pt x="557674" y="124815"/>
                </a:lnTo>
                <a:lnTo>
                  <a:pt x="526827" y="89296"/>
                </a:lnTo>
                <a:lnTo>
                  <a:pt x="490868" y="58826"/>
                </a:lnTo>
                <a:lnTo>
                  <a:pt x="450431" y="34032"/>
                </a:lnTo>
                <a:lnTo>
                  <a:pt x="406152" y="15544"/>
                </a:lnTo>
                <a:lnTo>
                  <a:pt x="358666" y="3990"/>
                </a:lnTo>
                <a:lnTo>
                  <a:pt x="308610" y="0"/>
                </a:lnTo>
                <a:close/>
              </a:path>
            </a:pathLst>
          </a:custGeom>
          <a:solidFill>
            <a:srgbClr val="974A4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6" name="object 16"/>
          <p:cNvSpPr txBox="1"/>
          <p:nvPr/>
        </p:nvSpPr>
        <p:spPr>
          <a:xfrm>
            <a:off x="2659126" y="2269363"/>
            <a:ext cx="447675" cy="346710"/>
          </a:xfrm>
          <a:prstGeom prst="rect">
            <a:avLst/>
          </a:prstGeom>
        </p:spPr>
        <p:txBody>
          <a:bodyPr vert="horz" wrap="square" lIns="0" tIns="13335" rIns="0" bIns="0" rtlCol="0">
            <a:spAutoFit/>
          </a:bodyPr>
          <a:lstStyle/>
          <a:p>
            <a:pPr marL="12700" marR="5080" lvl="0" indent="0" algn="l" defTabSz="914400" rtl="0" eaLnBrk="1" fontAlgn="auto" latinLnBrk="0" hangingPunct="1">
              <a:lnSpc>
                <a:spcPct val="100000"/>
              </a:lnSpc>
              <a:spcBef>
                <a:spcPts val="105"/>
              </a:spcBef>
              <a:spcAft>
                <a:spcPts val="0"/>
              </a:spcAft>
              <a:buClrTx/>
              <a:buSzTx/>
              <a:buFontTx/>
              <a:buNone/>
              <a:tabLst/>
              <a:defRPr/>
            </a:pPr>
            <a:r>
              <a:rPr kumimoji="0" sz="1050" b="0" i="0" u="none" strike="noStrike" kern="0" cap="none" spc="-10" normalizeH="0" baseline="0" noProof="0" dirty="0">
                <a:ln>
                  <a:noFill/>
                </a:ln>
                <a:solidFill>
                  <a:srgbClr val="FFFFFF"/>
                </a:solidFill>
                <a:effectLst/>
                <a:uLnTx/>
                <a:uFillTx/>
                <a:latin typeface="Trebuchet MS"/>
                <a:ea typeface="+mn-ea"/>
                <a:cs typeface="Trebuchet MS"/>
              </a:rPr>
              <a:t>Ikaros/ Aiolos</a:t>
            </a:r>
            <a:endParaRPr kumimoji="0" sz="1050" b="0" i="0" u="none" strike="noStrike" kern="0" cap="none" spc="0" normalizeH="0" baseline="0" noProof="0">
              <a:ln>
                <a:noFill/>
              </a:ln>
              <a:solidFill>
                <a:sysClr val="windowText" lastClr="000000"/>
              </a:solidFill>
              <a:effectLst/>
              <a:uLnTx/>
              <a:uFillTx/>
              <a:latin typeface="Trebuchet MS"/>
              <a:ea typeface="+mn-ea"/>
              <a:cs typeface="Trebuchet MS"/>
            </a:endParaRPr>
          </a:p>
        </p:txBody>
      </p:sp>
      <p:grpSp>
        <p:nvGrpSpPr>
          <p:cNvPr id="17" name="object 17"/>
          <p:cNvGrpSpPr/>
          <p:nvPr/>
        </p:nvGrpSpPr>
        <p:grpSpPr>
          <a:xfrm>
            <a:off x="438912" y="2788920"/>
            <a:ext cx="2956560" cy="1257300"/>
            <a:chOff x="438912" y="2788920"/>
            <a:chExt cx="2956560" cy="1257300"/>
          </a:xfrm>
        </p:grpSpPr>
        <p:pic>
          <p:nvPicPr>
            <p:cNvPr id="18" name="object 18"/>
            <p:cNvPicPr/>
            <p:nvPr/>
          </p:nvPicPr>
          <p:blipFill>
            <a:blip r:embed="rId7" cstate="print"/>
            <a:stretch>
              <a:fillRect/>
            </a:stretch>
          </p:blipFill>
          <p:spPr>
            <a:xfrm>
              <a:off x="438912" y="2788920"/>
              <a:ext cx="2956560" cy="986027"/>
            </a:xfrm>
            <a:prstGeom prst="rect">
              <a:avLst/>
            </a:prstGeom>
          </p:spPr>
        </p:pic>
        <p:sp>
          <p:nvSpPr>
            <p:cNvPr id="19" name="object 19"/>
            <p:cNvSpPr/>
            <p:nvPr/>
          </p:nvSpPr>
          <p:spPr>
            <a:xfrm>
              <a:off x="445008" y="3768852"/>
              <a:ext cx="2938780" cy="277495"/>
            </a:xfrm>
            <a:custGeom>
              <a:avLst/>
              <a:gdLst/>
              <a:ahLst/>
              <a:cxnLst/>
              <a:rect l="l" t="t" r="r" b="b"/>
              <a:pathLst>
                <a:path w="2938779" h="277495">
                  <a:moveTo>
                    <a:pt x="2938272" y="0"/>
                  </a:moveTo>
                  <a:lnTo>
                    <a:pt x="0" y="0"/>
                  </a:lnTo>
                  <a:lnTo>
                    <a:pt x="0" y="277368"/>
                  </a:lnTo>
                  <a:lnTo>
                    <a:pt x="2938272" y="277368"/>
                  </a:lnTo>
                  <a:lnTo>
                    <a:pt x="2938272" y="0"/>
                  </a:lnTo>
                  <a:close/>
                </a:path>
              </a:pathLst>
            </a:custGeom>
            <a:solidFill>
              <a:srgbClr val="92403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20" name="object 20"/>
          <p:cNvSpPr txBox="1"/>
          <p:nvPr/>
        </p:nvSpPr>
        <p:spPr>
          <a:xfrm>
            <a:off x="1725929" y="3789933"/>
            <a:ext cx="386715" cy="20827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1" i="0" u="none" strike="noStrike" kern="0" cap="none" spc="-20" normalizeH="0" baseline="0" noProof="0" dirty="0">
                <a:ln>
                  <a:noFill/>
                </a:ln>
                <a:solidFill>
                  <a:srgbClr val="FFFFFF"/>
                </a:solidFill>
                <a:effectLst/>
                <a:uLnTx/>
                <a:uFillTx/>
                <a:latin typeface="Trebuchet MS"/>
                <a:ea typeface="+mn-ea"/>
                <a:cs typeface="Trebuchet MS"/>
              </a:rPr>
              <a:t>CUL4</a:t>
            </a:r>
            <a:endParaRPr kumimoji="0" sz="1200" b="0" i="0" u="none" strike="noStrike" kern="0" cap="none" spc="0" normalizeH="0" baseline="0" noProof="0">
              <a:ln>
                <a:noFill/>
              </a:ln>
              <a:solidFill>
                <a:sysClr val="windowText" lastClr="000000"/>
              </a:solidFill>
              <a:effectLst/>
              <a:uLnTx/>
              <a:uFillTx/>
              <a:latin typeface="Trebuchet MS"/>
              <a:ea typeface="+mn-ea"/>
              <a:cs typeface="Trebuchet MS"/>
            </a:endParaRPr>
          </a:p>
        </p:txBody>
      </p:sp>
      <p:grpSp>
        <p:nvGrpSpPr>
          <p:cNvPr id="21" name="object 21"/>
          <p:cNvGrpSpPr/>
          <p:nvPr/>
        </p:nvGrpSpPr>
        <p:grpSpPr>
          <a:xfrm>
            <a:off x="870203" y="3329940"/>
            <a:ext cx="2136775" cy="704215"/>
            <a:chOff x="870203" y="3329940"/>
            <a:chExt cx="2136775" cy="704215"/>
          </a:xfrm>
        </p:grpSpPr>
        <p:pic>
          <p:nvPicPr>
            <p:cNvPr id="22" name="object 22"/>
            <p:cNvPicPr/>
            <p:nvPr/>
          </p:nvPicPr>
          <p:blipFill>
            <a:blip r:embed="rId8" cstate="print"/>
            <a:stretch>
              <a:fillRect/>
            </a:stretch>
          </p:blipFill>
          <p:spPr>
            <a:xfrm>
              <a:off x="2305811" y="3329940"/>
              <a:ext cx="701039" cy="704088"/>
            </a:xfrm>
            <a:prstGeom prst="rect">
              <a:avLst/>
            </a:prstGeom>
          </p:spPr>
        </p:pic>
        <p:sp>
          <p:nvSpPr>
            <p:cNvPr id="23" name="object 23"/>
            <p:cNvSpPr/>
            <p:nvPr/>
          </p:nvSpPr>
          <p:spPr>
            <a:xfrm>
              <a:off x="2311907" y="3336036"/>
              <a:ext cx="688975" cy="690880"/>
            </a:xfrm>
            <a:custGeom>
              <a:avLst/>
              <a:gdLst/>
              <a:ahLst/>
              <a:cxnLst/>
              <a:rect l="l" t="t" r="r" b="b"/>
              <a:pathLst>
                <a:path w="688975" h="690879">
                  <a:moveTo>
                    <a:pt x="344424" y="0"/>
                  </a:moveTo>
                  <a:lnTo>
                    <a:pt x="297602" y="3141"/>
                  </a:lnTo>
                  <a:lnTo>
                    <a:pt x="252721" y="12296"/>
                  </a:lnTo>
                  <a:lnTo>
                    <a:pt x="210186" y="27056"/>
                  </a:lnTo>
                  <a:lnTo>
                    <a:pt x="170405" y="47018"/>
                  </a:lnTo>
                  <a:lnTo>
                    <a:pt x="133783" y="71773"/>
                  </a:lnTo>
                  <a:lnTo>
                    <a:pt x="100726" y="100917"/>
                  </a:lnTo>
                  <a:lnTo>
                    <a:pt x="71641" y="134042"/>
                  </a:lnTo>
                  <a:lnTo>
                    <a:pt x="46933" y="170744"/>
                  </a:lnTo>
                  <a:lnTo>
                    <a:pt x="27009" y="210615"/>
                  </a:lnTo>
                  <a:lnTo>
                    <a:pt x="12274" y="253250"/>
                  </a:lnTo>
                  <a:lnTo>
                    <a:pt x="3136" y="298242"/>
                  </a:lnTo>
                  <a:lnTo>
                    <a:pt x="0" y="345186"/>
                  </a:lnTo>
                  <a:lnTo>
                    <a:pt x="3136" y="392129"/>
                  </a:lnTo>
                  <a:lnTo>
                    <a:pt x="12274" y="437121"/>
                  </a:lnTo>
                  <a:lnTo>
                    <a:pt x="27009" y="479756"/>
                  </a:lnTo>
                  <a:lnTo>
                    <a:pt x="46933" y="519627"/>
                  </a:lnTo>
                  <a:lnTo>
                    <a:pt x="71641" y="556329"/>
                  </a:lnTo>
                  <a:lnTo>
                    <a:pt x="100726" y="589454"/>
                  </a:lnTo>
                  <a:lnTo>
                    <a:pt x="133783" y="618598"/>
                  </a:lnTo>
                  <a:lnTo>
                    <a:pt x="170405" y="643353"/>
                  </a:lnTo>
                  <a:lnTo>
                    <a:pt x="210186" y="663315"/>
                  </a:lnTo>
                  <a:lnTo>
                    <a:pt x="252721" y="678075"/>
                  </a:lnTo>
                  <a:lnTo>
                    <a:pt x="297602" y="687230"/>
                  </a:lnTo>
                  <a:lnTo>
                    <a:pt x="344424" y="690371"/>
                  </a:lnTo>
                  <a:lnTo>
                    <a:pt x="391245" y="687230"/>
                  </a:lnTo>
                  <a:lnTo>
                    <a:pt x="406352" y="684149"/>
                  </a:lnTo>
                  <a:lnTo>
                    <a:pt x="344424" y="684149"/>
                  </a:lnTo>
                  <a:lnTo>
                    <a:pt x="289981" y="679812"/>
                  </a:lnTo>
                  <a:lnTo>
                    <a:pt x="237886" y="667198"/>
                  </a:lnTo>
                  <a:lnTo>
                    <a:pt x="189021" y="646896"/>
                  </a:lnTo>
                  <a:lnTo>
                    <a:pt x="144272" y="619498"/>
                  </a:lnTo>
                  <a:lnTo>
                    <a:pt x="104521" y="585596"/>
                  </a:lnTo>
                  <a:lnTo>
                    <a:pt x="70681" y="545817"/>
                  </a:lnTo>
                  <a:lnTo>
                    <a:pt x="43321" y="500990"/>
                  </a:lnTo>
                  <a:lnTo>
                    <a:pt x="23038" y="452012"/>
                  </a:lnTo>
                  <a:lnTo>
                    <a:pt x="10431" y="399778"/>
                  </a:lnTo>
                  <a:lnTo>
                    <a:pt x="6096" y="345186"/>
                  </a:lnTo>
                  <a:lnTo>
                    <a:pt x="10431" y="290593"/>
                  </a:lnTo>
                  <a:lnTo>
                    <a:pt x="23038" y="238359"/>
                  </a:lnTo>
                  <a:lnTo>
                    <a:pt x="43321" y="189381"/>
                  </a:lnTo>
                  <a:lnTo>
                    <a:pt x="70681" y="144554"/>
                  </a:lnTo>
                  <a:lnTo>
                    <a:pt x="104521" y="104775"/>
                  </a:lnTo>
                  <a:lnTo>
                    <a:pt x="144272" y="73213"/>
                  </a:lnTo>
                  <a:lnTo>
                    <a:pt x="189021" y="46109"/>
                  </a:lnTo>
                  <a:lnTo>
                    <a:pt x="237886" y="24929"/>
                  </a:lnTo>
                  <a:lnTo>
                    <a:pt x="289981" y="11144"/>
                  </a:lnTo>
                  <a:lnTo>
                    <a:pt x="344424" y="6223"/>
                  </a:lnTo>
                  <a:lnTo>
                    <a:pt x="406352" y="6223"/>
                  </a:lnTo>
                  <a:lnTo>
                    <a:pt x="391245" y="3141"/>
                  </a:lnTo>
                  <a:lnTo>
                    <a:pt x="344424" y="0"/>
                  </a:lnTo>
                  <a:close/>
                </a:path>
                <a:path w="688975" h="690879">
                  <a:moveTo>
                    <a:pt x="406352" y="6223"/>
                  </a:moveTo>
                  <a:lnTo>
                    <a:pt x="344424" y="6223"/>
                  </a:lnTo>
                  <a:lnTo>
                    <a:pt x="398866" y="11144"/>
                  </a:lnTo>
                  <a:lnTo>
                    <a:pt x="450961" y="24929"/>
                  </a:lnTo>
                  <a:lnTo>
                    <a:pt x="499826" y="46109"/>
                  </a:lnTo>
                  <a:lnTo>
                    <a:pt x="544576" y="73213"/>
                  </a:lnTo>
                  <a:lnTo>
                    <a:pt x="584327" y="104775"/>
                  </a:lnTo>
                  <a:lnTo>
                    <a:pt x="615826" y="144554"/>
                  </a:lnTo>
                  <a:lnTo>
                    <a:pt x="642893" y="189381"/>
                  </a:lnTo>
                  <a:lnTo>
                    <a:pt x="664053" y="238359"/>
                  </a:lnTo>
                  <a:lnTo>
                    <a:pt x="677831" y="290593"/>
                  </a:lnTo>
                  <a:lnTo>
                    <a:pt x="682752" y="345186"/>
                  </a:lnTo>
                  <a:lnTo>
                    <a:pt x="677831" y="399778"/>
                  </a:lnTo>
                  <a:lnTo>
                    <a:pt x="664053" y="452012"/>
                  </a:lnTo>
                  <a:lnTo>
                    <a:pt x="642893" y="500990"/>
                  </a:lnTo>
                  <a:lnTo>
                    <a:pt x="615826" y="545817"/>
                  </a:lnTo>
                  <a:lnTo>
                    <a:pt x="584327" y="585596"/>
                  </a:lnTo>
                  <a:lnTo>
                    <a:pt x="544576" y="619498"/>
                  </a:lnTo>
                  <a:lnTo>
                    <a:pt x="499826" y="646896"/>
                  </a:lnTo>
                  <a:lnTo>
                    <a:pt x="450961" y="667198"/>
                  </a:lnTo>
                  <a:lnTo>
                    <a:pt x="398866" y="679812"/>
                  </a:lnTo>
                  <a:lnTo>
                    <a:pt x="344424" y="684149"/>
                  </a:lnTo>
                  <a:lnTo>
                    <a:pt x="406352" y="684149"/>
                  </a:lnTo>
                  <a:lnTo>
                    <a:pt x="478661" y="663315"/>
                  </a:lnTo>
                  <a:lnTo>
                    <a:pt x="518442" y="643353"/>
                  </a:lnTo>
                  <a:lnTo>
                    <a:pt x="555064" y="618598"/>
                  </a:lnTo>
                  <a:lnTo>
                    <a:pt x="588121" y="589454"/>
                  </a:lnTo>
                  <a:lnTo>
                    <a:pt x="617206" y="556329"/>
                  </a:lnTo>
                  <a:lnTo>
                    <a:pt x="641914" y="519627"/>
                  </a:lnTo>
                  <a:lnTo>
                    <a:pt x="661838" y="479756"/>
                  </a:lnTo>
                  <a:lnTo>
                    <a:pt x="676573" y="437121"/>
                  </a:lnTo>
                  <a:lnTo>
                    <a:pt x="685711" y="392129"/>
                  </a:lnTo>
                  <a:lnTo>
                    <a:pt x="688848" y="345186"/>
                  </a:lnTo>
                  <a:lnTo>
                    <a:pt x="685711" y="298242"/>
                  </a:lnTo>
                  <a:lnTo>
                    <a:pt x="676573" y="253250"/>
                  </a:lnTo>
                  <a:lnTo>
                    <a:pt x="661838" y="210615"/>
                  </a:lnTo>
                  <a:lnTo>
                    <a:pt x="641914" y="170744"/>
                  </a:lnTo>
                  <a:lnTo>
                    <a:pt x="617206" y="134042"/>
                  </a:lnTo>
                  <a:lnTo>
                    <a:pt x="588121" y="100917"/>
                  </a:lnTo>
                  <a:lnTo>
                    <a:pt x="555064" y="71773"/>
                  </a:lnTo>
                  <a:lnTo>
                    <a:pt x="518442" y="47018"/>
                  </a:lnTo>
                  <a:lnTo>
                    <a:pt x="478661" y="27056"/>
                  </a:lnTo>
                  <a:lnTo>
                    <a:pt x="436126" y="12296"/>
                  </a:lnTo>
                  <a:lnTo>
                    <a:pt x="406352" y="6223"/>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24" name="object 24"/>
            <p:cNvPicPr/>
            <p:nvPr/>
          </p:nvPicPr>
          <p:blipFill>
            <a:blip r:embed="rId9" cstate="print"/>
            <a:stretch>
              <a:fillRect/>
            </a:stretch>
          </p:blipFill>
          <p:spPr>
            <a:xfrm>
              <a:off x="870203" y="3329940"/>
              <a:ext cx="701040" cy="704088"/>
            </a:xfrm>
            <a:prstGeom prst="rect">
              <a:avLst/>
            </a:prstGeom>
          </p:spPr>
        </p:pic>
        <p:sp>
          <p:nvSpPr>
            <p:cNvPr id="25" name="object 25"/>
            <p:cNvSpPr/>
            <p:nvPr/>
          </p:nvSpPr>
          <p:spPr>
            <a:xfrm>
              <a:off x="876299" y="3336036"/>
              <a:ext cx="688975" cy="690880"/>
            </a:xfrm>
            <a:custGeom>
              <a:avLst/>
              <a:gdLst/>
              <a:ahLst/>
              <a:cxnLst/>
              <a:rect l="l" t="t" r="r" b="b"/>
              <a:pathLst>
                <a:path w="688975" h="690879">
                  <a:moveTo>
                    <a:pt x="344424" y="0"/>
                  </a:moveTo>
                  <a:lnTo>
                    <a:pt x="297594" y="3141"/>
                  </a:lnTo>
                  <a:lnTo>
                    <a:pt x="252707" y="12296"/>
                  </a:lnTo>
                  <a:lnTo>
                    <a:pt x="210170" y="27056"/>
                  </a:lnTo>
                  <a:lnTo>
                    <a:pt x="170388" y="47018"/>
                  </a:lnTo>
                  <a:lnTo>
                    <a:pt x="133767" y="71773"/>
                  </a:lnTo>
                  <a:lnTo>
                    <a:pt x="100712" y="100917"/>
                  </a:lnTo>
                  <a:lnTo>
                    <a:pt x="71629" y="134042"/>
                  </a:lnTo>
                  <a:lnTo>
                    <a:pt x="46925" y="170744"/>
                  </a:lnTo>
                  <a:lnTo>
                    <a:pt x="27003" y="210615"/>
                  </a:lnTo>
                  <a:lnTo>
                    <a:pt x="12272" y="253250"/>
                  </a:lnTo>
                  <a:lnTo>
                    <a:pt x="3135" y="298242"/>
                  </a:lnTo>
                  <a:lnTo>
                    <a:pt x="0" y="345186"/>
                  </a:lnTo>
                  <a:lnTo>
                    <a:pt x="3135" y="392129"/>
                  </a:lnTo>
                  <a:lnTo>
                    <a:pt x="12272" y="437121"/>
                  </a:lnTo>
                  <a:lnTo>
                    <a:pt x="27003" y="479756"/>
                  </a:lnTo>
                  <a:lnTo>
                    <a:pt x="46925" y="519627"/>
                  </a:lnTo>
                  <a:lnTo>
                    <a:pt x="71629" y="556329"/>
                  </a:lnTo>
                  <a:lnTo>
                    <a:pt x="100712" y="589454"/>
                  </a:lnTo>
                  <a:lnTo>
                    <a:pt x="133767" y="618598"/>
                  </a:lnTo>
                  <a:lnTo>
                    <a:pt x="170388" y="643353"/>
                  </a:lnTo>
                  <a:lnTo>
                    <a:pt x="210170" y="663315"/>
                  </a:lnTo>
                  <a:lnTo>
                    <a:pt x="252707" y="678075"/>
                  </a:lnTo>
                  <a:lnTo>
                    <a:pt x="297594" y="687230"/>
                  </a:lnTo>
                  <a:lnTo>
                    <a:pt x="344424" y="690371"/>
                  </a:lnTo>
                  <a:lnTo>
                    <a:pt x="391245" y="687230"/>
                  </a:lnTo>
                  <a:lnTo>
                    <a:pt x="406352" y="684149"/>
                  </a:lnTo>
                  <a:lnTo>
                    <a:pt x="344424" y="684149"/>
                  </a:lnTo>
                  <a:lnTo>
                    <a:pt x="289957" y="679812"/>
                  </a:lnTo>
                  <a:lnTo>
                    <a:pt x="237852" y="667198"/>
                  </a:lnTo>
                  <a:lnTo>
                    <a:pt x="188993" y="646896"/>
                  </a:lnTo>
                  <a:lnTo>
                    <a:pt x="144267" y="619498"/>
                  </a:lnTo>
                  <a:lnTo>
                    <a:pt x="104559" y="585596"/>
                  </a:lnTo>
                  <a:lnTo>
                    <a:pt x="70705" y="545817"/>
                  </a:lnTo>
                  <a:lnTo>
                    <a:pt x="43347" y="500990"/>
                  </a:lnTo>
                  <a:lnTo>
                    <a:pt x="23074" y="452012"/>
                  </a:lnTo>
                  <a:lnTo>
                    <a:pt x="10477" y="399778"/>
                  </a:lnTo>
                  <a:lnTo>
                    <a:pt x="6146" y="345186"/>
                  </a:lnTo>
                  <a:lnTo>
                    <a:pt x="10477" y="290593"/>
                  </a:lnTo>
                  <a:lnTo>
                    <a:pt x="23074" y="238359"/>
                  </a:lnTo>
                  <a:lnTo>
                    <a:pt x="43347" y="189381"/>
                  </a:lnTo>
                  <a:lnTo>
                    <a:pt x="70705" y="144554"/>
                  </a:lnTo>
                  <a:lnTo>
                    <a:pt x="104559" y="104775"/>
                  </a:lnTo>
                  <a:lnTo>
                    <a:pt x="144267" y="73213"/>
                  </a:lnTo>
                  <a:lnTo>
                    <a:pt x="188993" y="46109"/>
                  </a:lnTo>
                  <a:lnTo>
                    <a:pt x="237852" y="24929"/>
                  </a:lnTo>
                  <a:lnTo>
                    <a:pt x="289957" y="11144"/>
                  </a:lnTo>
                  <a:lnTo>
                    <a:pt x="344424" y="6223"/>
                  </a:lnTo>
                  <a:lnTo>
                    <a:pt x="406352" y="6223"/>
                  </a:lnTo>
                  <a:lnTo>
                    <a:pt x="391245" y="3141"/>
                  </a:lnTo>
                  <a:lnTo>
                    <a:pt x="344424" y="0"/>
                  </a:lnTo>
                  <a:close/>
                </a:path>
                <a:path w="688975" h="690879">
                  <a:moveTo>
                    <a:pt x="406352" y="6223"/>
                  </a:moveTo>
                  <a:lnTo>
                    <a:pt x="344424" y="6223"/>
                  </a:lnTo>
                  <a:lnTo>
                    <a:pt x="398866" y="11144"/>
                  </a:lnTo>
                  <a:lnTo>
                    <a:pt x="450961" y="24929"/>
                  </a:lnTo>
                  <a:lnTo>
                    <a:pt x="499826" y="46109"/>
                  </a:lnTo>
                  <a:lnTo>
                    <a:pt x="544576" y="73213"/>
                  </a:lnTo>
                  <a:lnTo>
                    <a:pt x="584327" y="104775"/>
                  </a:lnTo>
                  <a:lnTo>
                    <a:pt x="618166" y="144554"/>
                  </a:lnTo>
                  <a:lnTo>
                    <a:pt x="645526" y="189381"/>
                  </a:lnTo>
                  <a:lnTo>
                    <a:pt x="665809" y="238359"/>
                  </a:lnTo>
                  <a:lnTo>
                    <a:pt x="678416" y="290593"/>
                  </a:lnTo>
                  <a:lnTo>
                    <a:pt x="682752" y="345186"/>
                  </a:lnTo>
                  <a:lnTo>
                    <a:pt x="678416" y="399778"/>
                  </a:lnTo>
                  <a:lnTo>
                    <a:pt x="665809" y="452012"/>
                  </a:lnTo>
                  <a:lnTo>
                    <a:pt x="645526" y="500990"/>
                  </a:lnTo>
                  <a:lnTo>
                    <a:pt x="618166" y="545817"/>
                  </a:lnTo>
                  <a:lnTo>
                    <a:pt x="584327" y="585596"/>
                  </a:lnTo>
                  <a:lnTo>
                    <a:pt x="544576" y="619498"/>
                  </a:lnTo>
                  <a:lnTo>
                    <a:pt x="499826" y="646896"/>
                  </a:lnTo>
                  <a:lnTo>
                    <a:pt x="450961" y="667198"/>
                  </a:lnTo>
                  <a:lnTo>
                    <a:pt x="398866" y="679812"/>
                  </a:lnTo>
                  <a:lnTo>
                    <a:pt x="344424" y="684149"/>
                  </a:lnTo>
                  <a:lnTo>
                    <a:pt x="406352" y="684149"/>
                  </a:lnTo>
                  <a:lnTo>
                    <a:pt x="478661" y="663315"/>
                  </a:lnTo>
                  <a:lnTo>
                    <a:pt x="518442" y="643353"/>
                  </a:lnTo>
                  <a:lnTo>
                    <a:pt x="555064" y="618598"/>
                  </a:lnTo>
                  <a:lnTo>
                    <a:pt x="588121" y="589454"/>
                  </a:lnTo>
                  <a:lnTo>
                    <a:pt x="617206" y="556329"/>
                  </a:lnTo>
                  <a:lnTo>
                    <a:pt x="641914" y="519627"/>
                  </a:lnTo>
                  <a:lnTo>
                    <a:pt x="661838" y="479756"/>
                  </a:lnTo>
                  <a:lnTo>
                    <a:pt x="676573" y="437121"/>
                  </a:lnTo>
                  <a:lnTo>
                    <a:pt x="685711" y="392129"/>
                  </a:lnTo>
                  <a:lnTo>
                    <a:pt x="688847" y="345186"/>
                  </a:lnTo>
                  <a:lnTo>
                    <a:pt x="685711" y="298242"/>
                  </a:lnTo>
                  <a:lnTo>
                    <a:pt x="676573" y="253250"/>
                  </a:lnTo>
                  <a:lnTo>
                    <a:pt x="661838" y="210615"/>
                  </a:lnTo>
                  <a:lnTo>
                    <a:pt x="641914" y="170744"/>
                  </a:lnTo>
                  <a:lnTo>
                    <a:pt x="617206" y="134042"/>
                  </a:lnTo>
                  <a:lnTo>
                    <a:pt x="588121" y="100917"/>
                  </a:lnTo>
                  <a:lnTo>
                    <a:pt x="555064" y="71773"/>
                  </a:lnTo>
                  <a:lnTo>
                    <a:pt x="518442" y="47018"/>
                  </a:lnTo>
                  <a:lnTo>
                    <a:pt x="478661" y="27056"/>
                  </a:lnTo>
                  <a:lnTo>
                    <a:pt x="436126" y="12296"/>
                  </a:lnTo>
                  <a:lnTo>
                    <a:pt x="406352" y="6223"/>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26" name="object 26"/>
          <p:cNvSpPr txBox="1"/>
          <p:nvPr/>
        </p:nvSpPr>
        <p:spPr>
          <a:xfrm>
            <a:off x="1028191" y="3592525"/>
            <a:ext cx="1861185" cy="223520"/>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tab pos="1434465" algn="l"/>
              </a:tabLst>
              <a:defRPr/>
            </a:pPr>
            <a:r>
              <a:rPr kumimoji="0" sz="1300" b="1" i="0" u="none" strike="noStrike" kern="0" cap="none" spc="-20" normalizeH="0" baseline="0" noProof="0" dirty="0">
                <a:ln>
                  <a:noFill/>
                </a:ln>
                <a:solidFill>
                  <a:srgbClr val="585353"/>
                </a:solidFill>
                <a:effectLst/>
                <a:uLnTx/>
                <a:uFillTx/>
                <a:latin typeface="Trebuchet MS"/>
                <a:ea typeface="+mn-ea"/>
                <a:cs typeface="Trebuchet MS"/>
              </a:rPr>
              <a:t>DDB1</a:t>
            </a:r>
            <a:r>
              <a:rPr kumimoji="0" sz="1300" b="1" i="0" u="none" strike="noStrike" kern="0" cap="none" spc="0" normalizeH="0" baseline="0" noProof="0" dirty="0">
                <a:ln>
                  <a:noFill/>
                </a:ln>
                <a:solidFill>
                  <a:srgbClr val="585353"/>
                </a:solidFill>
                <a:effectLst/>
                <a:uLnTx/>
                <a:uFillTx/>
                <a:latin typeface="Trebuchet MS"/>
                <a:ea typeface="+mn-ea"/>
                <a:cs typeface="Trebuchet MS"/>
              </a:rPr>
              <a:t>	</a:t>
            </a:r>
            <a:r>
              <a:rPr kumimoji="0" sz="1950" b="1" i="0" u="none" strike="noStrike" kern="0" cap="none" spc="-30" normalizeH="0" baseline="4273" noProof="0" dirty="0">
                <a:ln>
                  <a:noFill/>
                </a:ln>
                <a:solidFill>
                  <a:srgbClr val="585353"/>
                </a:solidFill>
                <a:effectLst/>
                <a:uLnTx/>
                <a:uFillTx/>
                <a:latin typeface="Trebuchet MS"/>
                <a:ea typeface="+mn-ea"/>
                <a:cs typeface="Trebuchet MS"/>
              </a:rPr>
              <a:t>ROC1</a:t>
            </a:r>
            <a:endParaRPr kumimoji="0" sz="1950" b="0" i="0" u="none" strike="noStrike" kern="0" cap="none" spc="0" normalizeH="0" baseline="4273" noProof="0">
              <a:ln>
                <a:noFill/>
              </a:ln>
              <a:solidFill>
                <a:sysClr val="windowText" lastClr="000000"/>
              </a:solidFill>
              <a:effectLst/>
              <a:uLnTx/>
              <a:uFillTx/>
              <a:latin typeface="Trebuchet MS"/>
              <a:ea typeface="+mn-ea"/>
              <a:cs typeface="Trebuchet MS"/>
            </a:endParaRPr>
          </a:p>
        </p:txBody>
      </p:sp>
      <p:sp>
        <p:nvSpPr>
          <p:cNvPr id="27" name="object 27"/>
          <p:cNvSpPr txBox="1"/>
          <p:nvPr/>
        </p:nvSpPr>
        <p:spPr>
          <a:xfrm>
            <a:off x="457301" y="3996944"/>
            <a:ext cx="2760980" cy="1090930"/>
          </a:xfrm>
          <a:prstGeom prst="rect">
            <a:avLst/>
          </a:prstGeom>
        </p:spPr>
        <p:txBody>
          <a:bodyPr vert="horz" wrap="square" lIns="0" tIns="88265" rIns="0" bIns="0" rtlCol="0">
            <a:spAutoFit/>
          </a:bodyPr>
          <a:lstStyle/>
          <a:p>
            <a:pPr marL="677545" marR="0" lvl="0" indent="0" algn="l" defTabSz="914400" rtl="0" eaLnBrk="1" fontAlgn="auto" latinLnBrk="0" hangingPunct="1">
              <a:lnSpc>
                <a:spcPct val="100000"/>
              </a:lnSpc>
              <a:spcBef>
                <a:spcPts val="695"/>
              </a:spcBef>
              <a:spcAft>
                <a:spcPts val="0"/>
              </a:spcAft>
              <a:buClrTx/>
              <a:buSzTx/>
              <a:buFontTx/>
              <a:buNone/>
              <a:tabLst/>
              <a:defRPr/>
            </a:pPr>
            <a:r>
              <a:rPr kumimoji="0" sz="1200" b="0" i="0" u="none" strike="noStrike" kern="0" cap="none" spc="0" normalizeH="0" baseline="0" noProof="0" dirty="0">
                <a:ln>
                  <a:noFill/>
                </a:ln>
                <a:solidFill>
                  <a:srgbClr val="924039"/>
                </a:solidFill>
                <a:effectLst/>
                <a:uLnTx/>
                <a:uFillTx/>
                <a:latin typeface="Trebuchet MS"/>
                <a:ea typeface="+mn-ea"/>
                <a:cs typeface="Trebuchet MS"/>
              </a:rPr>
              <a:t>CUL4</a:t>
            </a:r>
            <a:r>
              <a:rPr kumimoji="0" sz="1200" b="0" i="0" u="none" strike="noStrike" kern="0" cap="none" spc="-35" normalizeH="0" baseline="0" noProof="0" dirty="0">
                <a:ln>
                  <a:noFill/>
                </a:ln>
                <a:solidFill>
                  <a:srgbClr val="924039"/>
                </a:solidFill>
                <a:effectLst/>
                <a:uLnTx/>
                <a:uFillTx/>
                <a:latin typeface="Trebuchet MS"/>
                <a:ea typeface="+mn-ea"/>
                <a:cs typeface="Trebuchet MS"/>
              </a:rPr>
              <a:t> </a:t>
            </a:r>
            <a:r>
              <a:rPr kumimoji="0" sz="1200" b="0" i="0" u="none" strike="noStrike" kern="0" cap="none" spc="0" normalizeH="0" baseline="0" noProof="0" dirty="0">
                <a:ln>
                  <a:noFill/>
                </a:ln>
                <a:solidFill>
                  <a:srgbClr val="924039"/>
                </a:solidFill>
                <a:effectLst/>
                <a:uLnTx/>
                <a:uFillTx/>
                <a:latin typeface="Trebuchet MS"/>
                <a:ea typeface="+mn-ea"/>
                <a:cs typeface="Trebuchet MS"/>
              </a:rPr>
              <a:t>E3</a:t>
            </a:r>
            <a:r>
              <a:rPr kumimoji="0" sz="1200" b="0" i="0" u="none" strike="noStrike" kern="0" cap="none" spc="-20" normalizeH="0" baseline="0" noProof="0" dirty="0">
                <a:ln>
                  <a:noFill/>
                </a:ln>
                <a:solidFill>
                  <a:srgbClr val="924039"/>
                </a:solidFill>
                <a:effectLst/>
                <a:uLnTx/>
                <a:uFillTx/>
                <a:latin typeface="Trebuchet MS"/>
                <a:ea typeface="+mn-ea"/>
                <a:cs typeface="Trebuchet MS"/>
              </a:rPr>
              <a:t> </a:t>
            </a:r>
            <a:r>
              <a:rPr kumimoji="0" sz="1200" b="0" i="0" u="none" strike="noStrike" kern="0" cap="none" spc="0" normalizeH="0" baseline="0" noProof="0" dirty="0">
                <a:ln>
                  <a:noFill/>
                </a:ln>
                <a:solidFill>
                  <a:srgbClr val="924039"/>
                </a:solidFill>
                <a:effectLst/>
                <a:uLnTx/>
                <a:uFillTx/>
                <a:latin typeface="Trebuchet MS"/>
                <a:ea typeface="+mn-ea"/>
                <a:cs typeface="Trebuchet MS"/>
              </a:rPr>
              <a:t>ligase</a:t>
            </a:r>
            <a:r>
              <a:rPr kumimoji="0" sz="1200" b="0" i="0" u="none" strike="noStrike" kern="0" cap="none" spc="-35" normalizeH="0" baseline="0" noProof="0" dirty="0">
                <a:ln>
                  <a:noFill/>
                </a:ln>
                <a:solidFill>
                  <a:srgbClr val="924039"/>
                </a:solidFill>
                <a:effectLst/>
                <a:uLnTx/>
                <a:uFillTx/>
                <a:latin typeface="Trebuchet MS"/>
                <a:ea typeface="+mn-ea"/>
                <a:cs typeface="Trebuchet MS"/>
              </a:rPr>
              <a:t> </a:t>
            </a:r>
            <a:r>
              <a:rPr kumimoji="0" sz="1200" b="0" i="0" u="none" strike="noStrike" kern="0" cap="none" spc="-10" normalizeH="0" baseline="0" noProof="0" dirty="0">
                <a:ln>
                  <a:noFill/>
                </a:ln>
                <a:solidFill>
                  <a:srgbClr val="924039"/>
                </a:solidFill>
                <a:effectLst/>
                <a:uLnTx/>
                <a:uFillTx/>
                <a:latin typeface="Trebuchet MS"/>
                <a:ea typeface="+mn-ea"/>
                <a:cs typeface="Trebuchet MS"/>
              </a:rPr>
              <a:t>complex</a:t>
            </a:r>
            <a:endParaRPr kumimoji="0" sz="1200" b="0" i="0" u="none" strike="noStrike" kern="0" cap="none" spc="0" normalizeH="0" baseline="0" noProof="0">
              <a:ln>
                <a:noFill/>
              </a:ln>
              <a:solidFill>
                <a:sysClr val="windowText" lastClr="000000"/>
              </a:solidFill>
              <a:effectLst/>
              <a:uLnTx/>
              <a:uFillTx/>
              <a:latin typeface="Trebuchet MS"/>
              <a:ea typeface="+mn-ea"/>
              <a:cs typeface="Trebuchet MS"/>
            </a:endParaRPr>
          </a:p>
          <a:p>
            <a:pPr marL="12700" marR="5080" lvl="0" indent="0" algn="l" defTabSz="914400" rtl="0" eaLnBrk="1" fontAlgn="auto" latinLnBrk="0" hangingPunct="1">
              <a:lnSpc>
                <a:spcPct val="100000"/>
              </a:lnSpc>
              <a:spcBef>
                <a:spcPts val="595"/>
              </a:spcBef>
              <a:spcAft>
                <a:spcPts val="0"/>
              </a:spcAft>
              <a:buClrTx/>
              <a:buSzTx/>
              <a:buFontTx/>
              <a:buNone/>
              <a:tabLst/>
              <a:defRPr/>
            </a:pPr>
            <a:r>
              <a:rPr kumimoji="0" sz="1200" b="0" i="0" u="none" strike="noStrike" kern="0" cap="none" spc="0" normalizeH="0" baseline="0" noProof="0" dirty="0">
                <a:ln>
                  <a:noFill/>
                </a:ln>
                <a:solidFill>
                  <a:srgbClr val="585353"/>
                </a:solidFill>
                <a:effectLst/>
                <a:uLnTx/>
                <a:uFillTx/>
                <a:latin typeface="Trebuchet MS"/>
                <a:ea typeface="+mn-ea"/>
                <a:cs typeface="Trebuchet MS"/>
              </a:rPr>
              <a:t>Golcadomide</a:t>
            </a:r>
            <a:r>
              <a:rPr kumimoji="0" sz="1200" b="0" i="0" u="none" strike="noStrike" kern="0" cap="none" spc="-40"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directly</a:t>
            </a:r>
            <a:r>
              <a:rPr kumimoji="0" sz="1200" b="0" i="0" u="none" strike="noStrike" kern="0" cap="none" spc="-75"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induces</a:t>
            </a:r>
            <a:r>
              <a:rPr kumimoji="0" sz="1200" b="0" i="0" u="none" strike="noStrike" kern="0" cap="none" spc="-70" normalizeH="0" baseline="0" noProof="0" dirty="0">
                <a:ln>
                  <a:noFill/>
                </a:ln>
                <a:solidFill>
                  <a:srgbClr val="585353"/>
                </a:solidFill>
                <a:effectLst/>
                <a:uLnTx/>
                <a:uFillTx/>
                <a:latin typeface="Trebuchet MS"/>
                <a:ea typeface="+mn-ea"/>
                <a:cs typeface="Trebuchet MS"/>
              </a:rPr>
              <a:t> </a:t>
            </a:r>
            <a:r>
              <a:rPr kumimoji="0" sz="1200" b="0" i="0" u="none" strike="noStrike" kern="0" cap="none" spc="-10" normalizeH="0" baseline="0" noProof="0" dirty="0">
                <a:ln>
                  <a:noFill/>
                </a:ln>
                <a:solidFill>
                  <a:srgbClr val="585353"/>
                </a:solidFill>
                <a:effectLst/>
                <a:uLnTx/>
                <a:uFillTx/>
                <a:latin typeface="Trebuchet MS"/>
                <a:ea typeface="+mn-ea"/>
                <a:cs typeface="Trebuchet MS"/>
              </a:rPr>
              <a:t>selective </a:t>
            </a:r>
            <a:r>
              <a:rPr kumimoji="0" sz="1200" b="0" i="0" u="none" strike="noStrike" kern="0" cap="none" spc="0" normalizeH="0" baseline="0" noProof="0" dirty="0">
                <a:ln>
                  <a:noFill/>
                </a:ln>
                <a:solidFill>
                  <a:srgbClr val="585353"/>
                </a:solidFill>
                <a:effectLst/>
                <a:uLnTx/>
                <a:uFillTx/>
                <a:latin typeface="Trebuchet MS"/>
                <a:ea typeface="+mn-ea"/>
                <a:cs typeface="Trebuchet MS"/>
              </a:rPr>
              <a:t>recruitment and</a:t>
            </a:r>
            <a:r>
              <a:rPr kumimoji="0" sz="1200" b="0" i="0" u="none" strike="noStrike" kern="0" cap="none" spc="-40" normalizeH="0" baseline="0" noProof="0" dirty="0">
                <a:ln>
                  <a:noFill/>
                </a:ln>
                <a:solidFill>
                  <a:srgbClr val="585353"/>
                </a:solidFill>
                <a:effectLst/>
                <a:uLnTx/>
                <a:uFillTx/>
                <a:latin typeface="Trebuchet MS"/>
                <a:ea typeface="+mn-ea"/>
                <a:cs typeface="Trebuchet MS"/>
              </a:rPr>
              <a:t> </a:t>
            </a:r>
            <a:r>
              <a:rPr kumimoji="0" sz="1200" b="0" i="0" u="none" strike="noStrike" kern="0" cap="none" spc="-10" normalizeH="0" baseline="0" noProof="0" dirty="0">
                <a:ln>
                  <a:noFill/>
                </a:ln>
                <a:solidFill>
                  <a:srgbClr val="585353"/>
                </a:solidFill>
                <a:effectLst/>
                <a:uLnTx/>
                <a:uFillTx/>
                <a:latin typeface="Trebuchet MS"/>
                <a:ea typeface="+mn-ea"/>
                <a:cs typeface="Trebuchet MS"/>
              </a:rPr>
              <a:t>ubiquitination</a:t>
            </a:r>
            <a:r>
              <a:rPr kumimoji="0" sz="1200" b="0" i="0" u="none" strike="noStrike" kern="0" cap="none" spc="-40"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of</a:t>
            </a:r>
            <a:r>
              <a:rPr kumimoji="0" sz="1200" b="0" i="0" u="none" strike="noStrike" kern="0" cap="none" spc="10" normalizeH="0" baseline="0" noProof="0" dirty="0">
                <a:ln>
                  <a:noFill/>
                </a:ln>
                <a:solidFill>
                  <a:srgbClr val="585353"/>
                </a:solidFill>
                <a:effectLst/>
                <a:uLnTx/>
                <a:uFillTx/>
                <a:latin typeface="Trebuchet MS"/>
                <a:ea typeface="+mn-ea"/>
                <a:cs typeface="Trebuchet MS"/>
              </a:rPr>
              <a:t> </a:t>
            </a:r>
            <a:r>
              <a:rPr kumimoji="0" sz="1200" b="0" i="0" u="none" strike="noStrike" kern="0" cap="none" spc="-10" normalizeH="0" baseline="0" noProof="0" dirty="0">
                <a:ln>
                  <a:noFill/>
                </a:ln>
                <a:solidFill>
                  <a:srgbClr val="585353"/>
                </a:solidFill>
                <a:effectLst/>
                <a:uLnTx/>
                <a:uFillTx/>
                <a:latin typeface="Trebuchet MS"/>
                <a:ea typeface="+mn-ea"/>
                <a:cs typeface="Trebuchet MS"/>
              </a:rPr>
              <a:t>Ikaros </a:t>
            </a:r>
            <a:r>
              <a:rPr kumimoji="0" sz="1200" b="0" i="0" u="none" strike="noStrike" kern="0" cap="none" spc="0" normalizeH="0" baseline="0" noProof="0" dirty="0">
                <a:ln>
                  <a:noFill/>
                </a:ln>
                <a:solidFill>
                  <a:srgbClr val="585353"/>
                </a:solidFill>
                <a:effectLst/>
                <a:uLnTx/>
                <a:uFillTx/>
                <a:latin typeface="Trebuchet MS"/>
                <a:ea typeface="+mn-ea"/>
                <a:cs typeface="Trebuchet MS"/>
              </a:rPr>
              <a:t>and</a:t>
            </a:r>
            <a:r>
              <a:rPr kumimoji="0" sz="1200" b="0" i="0" u="none" strike="noStrike" kern="0" cap="none" spc="-100"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Aiolos,</a:t>
            </a:r>
            <a:r>
              <a:rPr kumimoji="0" sz="1200" b="0" i="0" u="none" strike="noStrike" kern="0" cap="none" spc="-35"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leading</a:t>
            </a:r>
            <a:r>
              <a:rPr kumimoji="0" sz="1200" b="0" i="0" u="none" strike="noStrike" kern="0" cap="none" spc="-45"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to</a:t>
            </a:r>
            <a:r>
              <a:rPr kumimoji="0" sz="1200" b="0" i="0" u="none" strike="noStrike" kern="0" cap="none" spc="-15" normalizeH="0" baseline="0" noProof="0" dirty="0">
                <a:ln>
                  <a:noFill/>
                </a:ln>
                <a:solidFill>
                  <a:srgbClr val="585353"/>
                </a:solidFill>
                <a:effectLst/>
                <a:uLnTx/>
                <a:uFillTx/>
                <a:latin typeface="Trebuchet MS"/>
                <a:ea typeface="+mn-ea"/>
                <a:cs typeface="Trebuchet MS"/>
              </a:rPr>
              <a:t> </a:t>
            </a:r>
            <a:r>
              <a:rPr kumimoji="0" sz="1200" b="0" i="0" u="none" strike="noStrike" kern="0" cap="none" spc="-10" normalizeH="0" baseline="0" noProof="0" dirty="0">
                <a:ln>
                  <a:noFill/>
                </a:ln>
                <a:solidFill>
                  <a:srgbClr val="585353"/>
                </a:solidFill>
                <a:effectLst/>
                <a:uLnTx/>
                <a:uFillTx/>
                <a:latin typeface="Trebuchet MS"/>
                <a:ea typeface="+mn-ea"/>
                <a:cs typeface="Trebuchet MS"/>
              </a:rPr>
              <a:t>proteasomal degradation</a:t>
            </a:r>
            <a:endParaRPr kumimoji="0" sz="1200" b="0" i="0" u="none" strike="noStrike" kern="0" cap="none" spc="0" normalizeH="0" baseline="0" noProof="0">
              <a:ln>
                <a:noFill/>
              </a:ln>
              <a:solidFill>
                <a:sysClr val="windowText" lastClr="000000"/>
              </a:solidFill>
              <a:effectLst/>
              <a:uLnTx/>
              <a:uFillTx/>
              <a:latin typeface="Trebuchet MS"/>
              <a:ea typeface="+mn-ea"/>
              <a:cs typeface="Trebuchet MS"/>
            </a:endParaRPr>
          </a:p>
        </p:txBody>
      </p:sp>
      <p:grpSp>
        <p:nvGrpSpPr>
          <p:cNvPr id="28" name="object 28"/>
          <p:cNvGrpSpPr/>
          <p:nvPr/>
        </p:nvGrpSpPr>
        <p:grpSpPr>
          <a:xfrm>
            <a:off x="1024127" y="2788920"/>
            <a:ext cx="701040" cy="701040"/>
            <a:chOff x="1024127" y="2788920"/>
            <a:chExt cx="701040" cy="701040"/>
          </a:xfrm>
        </p:grpSpPr>
        <p:pic>
          <p:nvPicPr>
            <p:cNvPr id="29" name="object 29"/>
            <p:cNvPicPr/>
            <p:nvPr/>
          </p:nvPicPr>
          <p:blipFill>
            <a:blip r:embed="rId10" cstate="print"/>
            <a:stretch>
              <a:fillRect/>
            </a:stretch>
          </p:blipFill>
          <p:spPr>
            <a:xfrm>
              <a:off x="1024127" y="2788920"/>
              <a:ext cx="701040" cy="701039"/>
            </a:xfrm>
            <a:prstGeom prst="rect">
              <a:avLst/>
            </a:prstGeom>
          </p:spPr>
        </p:pic>
        <p:sp>
          <p:nvSpPr>
            <p:cNvPr id="30" name="object 30"/>
            <p:cNvSpPr/>
            <p:nvPr/>
          </p:nvSpPr>
          <p:spPr>
            <a:xfrm>
              <a:off x="1030223" y="2801112"/>
              <a:ext cx="688975" cy="688975"/>
            </a:xfrm>
            <a:custGeom>
              <a:avLst/>
              <a:gdLst/>
              <a:ahLst/>
              <a:cxnLst/>
              <a:rect l="l" t="t" r="r" b="b"/>
              <a:pathLst>
                <a:path w="688975" h="688975">
                  <a:moveTo>
                    <a:pt x="344423" y="0"/>
                  </a:moveTo>
                  <a:lnTo>
                    <a:pt x="297594" y="3136"/>
                  </a:lnTo>
                  <a:lnTo>
                    <a:pt x="252707" y="12274"/>
                  </a:lnTo>
                  <a:lnTo>
                    <a:pt x="210170" y="27009"/>
                  </a:lnTo>
                  <a:lnTo>
                    <a:pt x="170388" y="46933"/>
                  </a:lnTo>
                  <a:lnTo>
                    <a:pt x="133767" y="71641"/>
                  </a:lnTo>
                  <a:lnTo>
                    <a:pt x="100712" y="100726"/>
                  </a:lnTo>
                  <a:lnTo>
                    <a:pt x="71629" y="133783"/>
                  </a:lnTo>
                  <a:lnTo>
                    <a:pt x="46925" y="170405"/>
                  </a:lnTo>
                  <a:lnTo>
                    <a:pt x="27003" y="210186"/>
                  </a:lnTo>
                  <a:lnTo>
                    <a:pt x="12272" y="252721"/>
                  </a:lnTo>
                  <a:lnTo>
                    <a:pt x="3135" y="297602"/>
                  </a:lnTo>
                  <a:lnTo>
                    <a:pt x="0" y="344424"/>
                  </a:lnTo>
                  <a:lnTo>
                    <a:pt x="3135" y="391245"/>
                  </a:lnTo>
                  <a:lnTo>
                    <a:pt x="12272" y="436126"/>
                  </a:lnTo>
                  <a:lnTo>
                    <a:pt x="27003" y="478661"/>
                  </a:lnTo>
                  <a:lnTo>
                    <a:pt x="46925" y="518442"/>
                  </a:lnTo>
                  <a:lnTo>
                    <a:pt x="71629" y="555064"/>
                  </a:lnTo>
                  <a:lnTo>
                    <a:pt x="100712" y="588121"/>
                  </a:lnTo>
                  <a:lnTo>
                    <a:pt x="133767" y="617206"/>
                  </a:lnTo>
                  <a:lnTo>
                    <a:pt x="170388" y="641914"/>
                  </a:lnTo>
                  <a:lnTo>
                    <a:pt x="210170" y="661838"/>
                  </a:lnTo>
                  <a:lnTo>
                    <a:pt x="252707" y="676573"/>
                  </a:lnTo>
                  <a:lnTo>
                    <a:pt x="297594" y="685711"/>
                  </a:lnTo>
                  <a:lnTo>
                    <a:pt x="344423" y="688848"/>
                  </a:lnTo>
                  <a:lnTo>
                    <a:pt x="391245" y="685711"/>
                  </a:lnTo>
                  <a:lnTo>
                    <a:pt x="405780" y="682751"/>
                  </a:lnTo>
                  <a:lnTo>
                    <a:pt x="344423" y="682751"/>
                  </a:lnTo>
                  <a:lnTo>
                    <a:pt x="289977" y="678416"/>
                  </a:lnTo>
                  <a:lnTo>
                    <a:pt x="237874" y="665809"/>
                  </a:lnTo>
                  <a:lnTo>
                    <a:pt x="189008" y="645526"/>
                  </a:lnTo>
                  <a:lnTo>
                    <a:pt x="144272" y="618166"/>
                  </a:lnTo>
                  <a:lnTo>
                    <a:pt x="104559" y="584326"/>
                  </a:lnTo>
                  <a:lnTo>
                    <a:pt x="70705" y="544576"/>
                  </a:lnTo>
                  <a:lnTo>
                    <a:pt x="43347" y="499826"/>
                  </a:lnTo>
                  <a:lnTo>
                    <a:pt x="23074" y="450961"/>
                  </a:lnTo>
                  <a:lnTo>
                    <a:pt x="10477" y="398866"/>
                  </a:lnTo>
                  <a:lnTo>
                    <a:pt x="6146" y="344424"/>
                  </a:lnTo>
                  <a:lnTo>
                    <a:pt x="10477" y="289981"/>
                  </a:lnTo>
                  <a:lnTo>
                    <a:pt x="23074" y="237886"/>
                  </a:lnTo>
                  <a:lnTo>
                    <a:pt x="43347" y="189021"/>
                  </a:lnTo>
                  <a:lnTo>
                    <a:pt x="70705" y="144272"/>
                  </a:lnTo>
                  <a:lnTo>
                    <a:pt x="104559" y="104521"/>
                  </a:lnTo>
                  <a:lnTo>
                    <a:pt x="144272" y="70681"/>
                  </a:lnTo>
                  <a:lnTo>
                    <a:pt x="189008" y="43321"/>
                  </a:lnTo>
                  <a:lnTo>
                    <a:pt x="237874" y="23038"/>
                  </a:lnTo>
                  <a:lnTo>
                    <a:pt x="289977" y="10431"/>
                  </a:lnTo>
                  <a:lnTo>
                    <a:pt x="344423" y="6096"/>
                  </a:lnTo>
                  <a:lnTo>
                    <a:pt x="405780" y="6096"/>
                  </a:lnTo>
                  <a:lnTo>
                    <a:pt x="391245" y="3136"/>
                  </a:lnTo>
                  <a:lnTo>
                    <a:pt x="344423" y="0"/>
                  </a:lnTo>
                  <a:close/>
                </a:path>
                <a:path w="688975" h="688975">
                  <a:moveTo>
                    <a:pt x="405780" y="6096"/>
                  </a:moveTo>
                  <a:lnTo>
                    <a:pt x="344423" y="6096"/>
                  </a:lnTo>
                  <a:lnTo>
                    <a:pt x="398866" y="10431"/>
                  </a:lnTo>
                  <a:lnTo>
                    <a:pt x="450961" y="23038"/>
                  </a:lnTo>
                  <a:lnTo>
                    <a:pt x="499826" y="43321"/>
                  </a:lnTo>
                  <a:lnTo>
                    <a:pt x="544576" y="70681"/>
                  </a:lnTo>
                  <a:lnTo>
                    <a:pt x="584326" y="104521"/>
                  </a:lnTo>
                  <a:lnTo>
                    <a:pt x="615826" y="144272"/>
                  </a:lnTo>
                  <a:lnTo>
                    <a:pt x="642893" y="189021"/>
                  </a:lnTo>
                  <a:lnTo>
                    <a:pt x="664053" y="237886"/>
                  </a:lnTo>
                  <a:lnTo>
                    <a:pt x="677831" y="289981"/>
                  </a:lnTo>
                  <a:lnTo>
                    <a:pt x="682751" y="344424"/>
                  </a:lnTo>
                  <a:lnTo>
                    <a:pt x="677831" y="398866"/>
                  </a:lnTo>
                  <a:lnTo>
                    <a:pt x="664053" y="450961"/>
                  </a:lnTo>
                  <a:lnTo>
                    <a:pt x="642893" y="499826"/>
                  </a:lnTo>
                  <a:lnTo>
                    <a:pt x="615826" y="544576"/>
                  </a:lnTo>
                  <a:lnTo>
                    <a:pt x="584326" y="584326"/>
                  </a:lnTo>
                  <a:lnTo>
                    <a:pt x="544576" y="618166"/>
                  </a:lnTo>
                  <a:lnTo>
                    <a:pt x="499826" y="645526"/>
                  </a:lnTo>
                  <a:lnTo>
                    <a:pt x="450961" y="665809"/>
                  </a:lnTo>
                  <a:lnTo>
                    <a:pt x="398866" y="678416"/>
                  </a:lnTo>
                  <a:lnTo>
                    <a:pt x="344423" y="682751"/>
                  </a:lnTo>
                  <a:lnTo>
                    <a:pt x="405780" y="682751"/>
                  </a:lnTo>
                  <a:lnTo>
                    <a:pt x="478661" y="661838"/>
                  </a:lnTo>
                  <a:lnTo>
                    <a:pt x="518442" y="641914"/>
                  </a:lnTo>
                  <a:lnTo>
                    <a:pt x="555064" y="617206"/>
                  </a:lnTo>
                  <a:lnTo>
                    <a:pt x="588121" y="588121"/>
                  </a:lnTo>
                  <a:lnTo>
                    <a:pt x="617206" y="555064"/>
                  </a:lnTo>
                  <a:lnTo>
                    <a:pt x="641914" y="518442"/>
                  </a:lnTo>
                  <a:lnTo>
                    <a:pt x="661838" y="478661"/>
                  </a:lnTo>
                  <a:lnTo>
                    <a:pt x="676573" y="436126"/>
                  </a:lnTo>
                  <a:lnTo>
                    <a:pt x="685711" y="391245"/>
                  </a:lnTo>
                  <a:lnTo>
                    <a:pt x="688848" y="344424"/>
                  </a:lnTo>
                  <a:lnTo>
                    <a:pt x="685711" y="297602"/>
                  </a:lnTo>
                  <a:lnTo>
                    <a:pt x="676573" y="252721"/>
                  </a:lnTo>
                  <a:lnTo>
                    <a:pt x="661838" y="210186"/>
                  </a:lnTo>
                  <a:lnTo>
                    <a:pt x="641914" y="170405"/>
                  </a:lnTo>
                  <a:lnTo>
                    <a:pt x="617206" y="133783"/>
                  </a:lnTo>
                  <a:lnTo>
                    <a:pt x="588121" y="100726"/>
                  </a:lnTo>
                  <a:lnTo>
                    <a:pt x="555064" y="71641"/>
                  </a:lnTo>
                  <a:lnTo>
                    <a:pt x="518442" y="46933"/>
                  </a:lnTo>
                  <a:lnTo>
                    <a:pt x="478661" y="27009"/>
                  </a:lnTo>
                  <a:lnTo>
                    <a:pt x="436126" y="12274"/>
                  </a:lnTo>
                  <a:lnTo>
                    <a:pt x="405780" y="6096"/>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31" name="object 31"/>
          <p:cNvSpPr txBox="1"/>
          <p:nvPr/>
        </p:nvSpPr>
        <p:spPr>
          <a:xfrm>
            <a:off x="4350511" y="1207134"/>
            <a:ext cx="955040" cy="239395"/>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1400" b="0" i="0" u="none" strike="noStrike" kern="0" cap="none" spc="-10" normalizeH="0" baseline="0" noProof="0" dirty="0">
                <a:ln>
                  <a:noFill/>
                </a:ln>
                <a:solidFill>
                  <a:sysClr val="windowText" lastClr="000000"/>
                </a:solidFill>
                <a:effectLst/>
                <a:uLnTx/>
                <a:uFillTx/>
                <a:latin typeface="Trebuchet MS"/>
                <a:ea typeface="+mn-ea"/>
                <a:cs typeface="Trebuchet MS"/>
              </a:rPr>
              <a:t>Proteasome</a:t>
            </a:r>
            <a:endParaRPr kumimoji="0" sz="1400" b="0" i="0" u="none" strike="noStrike" kern="0" cap="none" spc="0" normalizeH="0" baseline="0" noProof="0">
              <a:ln>
                <a:noFill/>
              </a:ln>
              <a:solidFill>
                <a:sysClr val="windowText" lastClr="000000"/>
              </a:solidFill>
              <a:effectLst/>
              <a:uLnTx/>
              <a:uFillTx/>
              <a:latin typeface="Trebuchet MS"/>
              <a:ea typeface="+mn-ea"/>
              <a:cs typeface="Trebuchet MS"/>
            </a:endParaRPr>
          </a:p>
        </p:txBody>
      </p:sp>
      <p:sp>
        <p:nvSpPr>
          <p:cNvPr id="32" name="object 32"/>
          <p:cNvSpPr txBox="1"/>
          <p:nvPr/>
        </p:nvSpPr>
        <p:spPr>
          <a:xfrm>
            <a:off x="1171143" y="3111754"/>
            <a:ext cx="434340" cy="223520"/>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1300" b="1" i="0" u="none" strike="noStrike" kern="0" cap="none" spc="-20" normalizeH="0" baseline="0" noProof="0" dirty="0">
                <a:ln>
                  <a:noFill/>
                </a:ln>
                <a:solidFill>
                  <a:srgbClr val="585353"/>
                </a:solidFill>
                <a:effectLst/>
                <a:uLnTx/>
                <a:uFillTx/>
                <a:latin typeface="Trebuchet MS"/>
                <a:ea typeface="+mn-ea"/>
                <a:cs typeface="Trebuchet MS"/>
              </a:rPr>
              <a:t>CRBN</a:t>
            </a:r>
            <a:endParaRPr kumimoji="0" sz="1300" b="0" i="0" u="none" strike="noStrike" kern="0" cap="none" spc="0" normalizeH="0" baseline="0" noProof="0">
              <a:ln>
                <a:noFill/>
              </a:ln>
              <a:solidFill>
                <a:sysClr val="windowText" lastClr="000000"/>
              </a:solidFill>
              <a:effectLst/>
              <a:uLnTx/>
              <a:uFillTx/>
              <a:latin typeface="Trebuchet MS"/>
              <a:ea typeface="+mn-ea"/>
              <a:cs typeface="Trebuchet MS"/>
            </a:endParaRPr>
          </a:p>
        </p:txBody>
      </p:sp>
      <p:grpSp>
        <p:nvGrpSpPr>
          <p:cNvPr id="33" name="object 33"/>
          <p:cNvGrpSpPr/>
          <p:nvPr/>
        </p:nvGrpSpPr>
        <p:grpSpPr>
          <a:xfrm>
            <a:off x="4275555" y="3080276"/>
            <a:ext cx="1069340" cy="516890"/>
            <a:chOff x="4275555" y="3080276"/>
            <a:chExt cx="1069340" cy="516890"/>
          </a:xfrm>
        </p:grpSpPr>
        <p:pic>
          <p:nvPicPr>
            <p:cNvPr id="34" name="object 34"/>
            <p:cNvPicPr/>
            <p:nvPr/>
          </p:nvPicPr>
          <p:blipFill>
            <a:blip r:embed="rId11" cstate="print"/>
            <a:stretch>
              <a:fillRect/>
            </a:stretch>
          </p:blipFill>
          <p:spPr>
            <a:xfrm>
              <a:off x="5032510" y="3085955"/>
              <a:ext cx="312157" cy="511101"/>
            </a:xfrm>
            <a:prstGeom prst="rect">
              <a:avLst/>
            </a:prstGeom>
          </p:spPr>
        </p:pic>
        <p:pic>
          <p:nvPicPr>
            <p:cNvPr id="35" name="object 35"/>
            <p:cNvPicPr/>
            <p:nvPr/>
          </p:nvPicPr>
          <p:blipFill>
            <a:blip r:embed="rId12" cstate="print"/>
            <a:stretch>
              <a:fillRect/>
            </a:stretch>
          </p:blipFill>
          <p:spPr>
            <a:xfrm>
              <a:off x="4275555" y="3080276"/>
              <a:ext cx="307900" cy="516780"/>
            </a:xfrm>
            <a:prstGeom prst="rect">
              <a:avLst/>
            </a:prstGeom>
          </p:spPr>
        </p:pic>
      </p:grpSp>
      <p:sp>
        <p:nvSpPr>
          <p:cNvPr id="36" name="object 36"/>
          <p:cNvSpPr txBox="1"/>
          <p:nvPr/>
        </p:nvSpPr>
        <p:spPr>
          <a:xfrm>
            <a:off x="5231638" y="2681681"/>
            <a:ext cx="851535" cy="541020"/>
          </a:xfrm>
          <a:prstGeom prst="rect">
            <a:avLst/>
          </a:prstGeom>
        </p:spPr>
        <p:txBody>
          <a:bodyPr vert="horz" wrap="square" lIns="0" tIns="29844" rIns="0" bIns="0" rtlCol="0">
            <a:spAutoFit/>
          </a:bodyPr>
          <a:lstStyle/>
          <a:p>
            <a:pPr marL="12065" marR="5080" lvl="0" indent="0" algn="ctr" defTabSz="914400" rtl="0" eaLnBrk="1" fontAlgn="auto" latinLnBrk="0" hangingPunct="1">
              <a:lnSpc>
                <a:spcPct val="90800"/>
              </a:lnSpc>
              <a:spcBef>
                <a:spcPts val="234"/>
              </a:spcBef>
              <a:spcAft>
                <a:spcPts val="0"/>
              </a:spcAft>
              <a:buClrTx/>
              <a:buSzTx/>
              <a:buFontTx/>
              <a:buNone/>
              <a:tabLst/>
              <a:defRPr/>
            </a:pPr>
            <a:r>
              <a:rPr kumimoji="0" sz="1200" b="0" i="0" u="none" strike="noStrike" kern="0" cap="none" spc="-10" normalizeH="0" baseline="0" noProof="0" dirty="0">
                <a:ln>
                  <a:noFill/>
                </a:ln>
                <a:solidFill>
                  <a:sysClr val="windowText" lastClr="000000"/>
                </a:solidFill>
                <a:effectLst/>
                <a:uLnTx/>
                <a:uFillTx/>
                <a:latin typeface="Trebuchet MS"/>
                <a:ea typeface="+mn-ea"/>
                <a:cs typeface="Trebuchet MS"/>
              </a:rPr>
              <a:t>Degradation </a:t>
            </a:r>
            <a:r>
              <a:rPr kumimoji="0" sz="1200" b="0" i="0" u="none" strike="noStrike" kern="0" cap="none" spc="0" normalizeH="0" baseline="0" noProof="0" dirty="0">
                <a:ln>
                  <a:noFill/>
                </a:ln>
                <a:solidFill>
                  <a:sysClr val="windowText" lastClr="000000"/>
                </a:solidFill>
                <a:effectLst/>
                <a:uLnTx/>
                <a:uFillTx/>
                <a:latin typeface="Trebuchet MS"/>
                <a:ea typeface="+mn-ea"/>
                <a:cs typeface="Trebuchet MS"/>
              </a:rPr>
              <a:t>of </a:t>
            </a:r>
            <a:r>
              <a:rPr kumimoji="0" sz="1200" b="0" i="0" u="none" strike="noStrike" kern="0" cap="none" spc="-10" normalizeH="0" baseline="0" noProof="0" dirty="0">
                <a:ln>
                  <a:noFill/>
                </a:ln>
                <a:solidFill>
                  <a:sysClr val="windowText" lastClr="000000"/>
                </a:solidFill>
                <a:effectLst/>
                <a:uLnTx/>
                <a:uFillTx/>
                <a:latin typeface="Trebuchet MS"/>
                <a:ea typeface="+mn-ea"/>
                <a:cs typeface="Trebuchet MS"/>
              </a:rPr>
              <a:t>Ikaros </a:t>
            </a:r>
            <a:r>
              <a:rPr kumimoji="0" sz="1200" b="0" i="0" u="none" strike="noStrike" kern="0" cap="none" spc="0" normalizeH="0" baseline="0" noProof="0" dirty="0">
                <a:ln>
                  <a:noFill/>
                </a:ln>
                <a:solidFill>
                  <a:sysClr val="windowText" lastClr="000000"/>
                </a:solidFill>
                <a:effectLst/>
                <a:uLnTx/>
                <a:uFillTx/>
                <a:latin typeface="Trebuchet MS"/>
                <a:ea typeface="+mn-ea"/>
                <a:cs typeface="Trebuchet MS"/>
              </a:rPr>
              <a:t>and</a:t>
            </a:r>
            <a:r>
              <a:rPr kumimoji="0" sz="1200" b="0" i="0" u="none" strike="noStrike" kern="0" cap="none" spc="-100" normalizeH="0" baseline="0" noProof="0" dirty="0">
                <a:ln>
                  <a:noFill/>
                </a:ln>
                <a:solidFill>
                  <a:sysClr val="windowText" lastClr="000000"/>
                </a:solidFill>
                <a:effectLst/>
                <a:uLnTx/>
                <a:uFillTx/>
                <a:latin typeface="Trebuchet MS"/>
                <a:ea typeface="+mn-ea"/>
                <a:cs typeface="Trebuchet MS"/>
              </a:rPr>
              <a:t> </a:t>
            </a:r>
            <a:r>
              <a:rPr kumimoji="0" sz="1200" b="0" i="0" u="none" strike="noStrike" kern="0" cap="none" spc="-10" normalizeH="0" baseline="0" noProof="0" dirty="0">
                <a:ln>
                  <a:noFill/>
                </a:ln>
                <a:solidFill>
                  <a:sysClr val="windowText" lastClr="000000"/>
                </a:solidFill>
                <a:effectLst/>
                <a:uLnTx/>
                <a:uFillTx/>
                <a:latin typeface="Trebuchet MS"/>
                <a:ea typeface="+mn-ea"/>
                <a:cs typeface="Trebuchet MS"/>
              </a:rPr>
              <a:t>Aiolos</a:t>
            </a:r>
            <a:endParaRPr kumimoji="0" sz="1200" b="0" i="0" u="none" strike="noStrike" kern="0" cap="none" spc="0" normalizeH="0" baseline="0" noProof="0">
              <a:ln>
                <a:noFill/>
              </a:ln>
              <a:solidFill>
                <a:sysClr val="windowText" lastClr="000000"/>
              </a:solidFill>
              <a:effectLst/>
              <a:uLnTx/>
              <a:uFillTx/>
              <a:latin typeface="Trebuchet MS"/>
              <a:ea typeface="+mn-ea"/>
              <a:cs typeface="Trebuchet MS"/>
            </a:endParaRPr>
          </a:p>
        </p:txBody>
      </p:sp>
      <p:grpSp>
        <p:nvGrpSpPr>
          <p:cNvPr id="37" name="object 37"/>
          <p:cNvGrpSpPr/>
          <p:nvPr/>
        </p:nvGrpSpPr>
        <p:grpSpPr>
          <a:xfrm>
            <a:off x="598931" y="1453082"/>
            <a:ext cx="4494530" cy="1762760"/>
            <a:chOff x="598931" y="1453082"/>
            <a:chExt cx="4494530" cy="1762760"/>
          </a:xfrm>
        </p:grpSpPr>
        <p:pic>
          <p:nvPicPr>
            <p:cNvPr id="38" name="object 38"/>
            <p:cNvPicPr/>
            <p:nvPr/>
          </p:nvPicPr>
          <p:blipFill>
            <a:blip r:embed="rId13" cstate="print"/>
            <a:stretch>
              <a:fillRect/>
            </a:stretch>
          </p:blipFill>
          <p:spPr>
            <a:xfrm>
              <a:off x="4399663" y="1453082"/>
              <a:ext cx="693193" cy="1306797"/>
            </a:xfrm>
            <a:prstGeom prst="rect">
              <a:avLst/>
            </a:prstGeom>
          </p:spPr>
        </p:pic>
        <p:pic>
          <p:nvPicPr>
            <p:cNvPr id="39" name="object 39"/>
            <p:cNvPicPr/>
            <p:nvPr/>
          </p:nvPicPr>
          <p:blipFill>
            <a:blip r:embed="rId14" cstate="print"/>
            <a:stretch>
              <a:fillRect/>
            </a:stretch>
          </p:blipFill>
          <p:spPr>
            <a:xfrm>
              <a:off x="4732020" y="2746247"/>
              <a:ext cx="129539" cy="131063"/>
            </a:xfrm>
            <a:prstGeom prst="rect">
              <a:avLst/>
            </a:prstGeom>
          </p:spPr>
        </p:pic>
        <p:pic>
          <p:nvPicPr>
            <p:cNvPr id="40" name="object 40"/>
            <p:cNvPicPr/>
            <p:nvPr/>
          </p:nvPicPr>
          <p:blipFill>
            <a:blip r:embed="rId15" cstate="print"/>
            <a:stretch>
              <a:fillRect/>
            </a:stretch>
          </p:blipFill>
          <p:spPr>
            <a:xfrm>
              <a:off x="4817508" y="3098364"/>
              <a:ext cx="118581" cy="117202"/>
            </a:xfrm>
            <a:prstGeom prst="rect">
              <a:avLst/>
            </a:prstGeom>
          </p:spPr>
        </p:pic>
        <p:pic>
          <p:nvPicPr>
            <p:cNvPr id="41" name="object 41"/>
            <p:cNvPicPr/>
            <p:nvPr/>
          </p:nvPicPr>
          <p:blipFill>
            <a:blip r:embed="rId16" cstate="print"/>
            <a:stretch>
              <a:fillRect/>
            </a:stretch>
          </p:blipFill>
          <p:spPr>
            <a:xfrm>
              <a:off x="4788408" y="2926152"/>
              <a:ext cx="121919" cy="123371"/>
            </a:xfrm>
            <a:prstGeom prst="rect">
              <a:avLst/>
            </a:prstGeom>
          </p:spPr>
        </p:pic>
        <p:pic>
          <p:nvPicPr>
            <p:cNvPr id="42" name="object 42"/>
            <p:cNvPicPr/>
            <p:nvPr/>
          </p:nvPicPr>
          <p:blipFill>
            <a:blip r:embed="rId17" cstate="print"/>
            <a:stretch>
              <a:fillRect/>
            </a:stretch>
          </p:blipFill>
          <p:spPr>
            <a:xfrm>
              <a:off x="4898135" y="2926080"/>
              <a:ext cx="160020" cy="160020"/>
            </a:xfrm>
            <a:prstGeom prst="rect">
              <a:avLst/>
            </a:prstGeom>
          </p:spPr>
        </p:pic>
        <p:pic>
          <p:nvPicPr>
            <p:cNvPr id="43" name="object 43"/>
            <p:cNvPicPr/>
            <p:nvPr/>
          </p:nvPicPr>
          <p:blipFill>
            <a:blip r:embed="rId18" cstate="print"/>
            <a:stretch>
              <a:fillRect/>
            </a:stretch>
          </p:blipFill>
          <p:spPr>
            <a:xfrm>
              <a:off x="4614744" y="3011496"/>
              <a:ext cx="117202" cy="117202"/>
            </a:xfrm>
            <a:prstGeom prst="rect">
              <a:avLst/>
            </a:prstGeom>
          </p:spPr>
        </p:pic>
        <p:pic>
          <p:nvPicPr>
            <p:cNvPr id="44" name="object 44"/>
            <p:cNvPicPr/>
            <p:nvPr/>
          </p:nvPicPr>
          <p:blipFill>
            <a:blip r:embed="rId19" cstate="print"/>
            <a:stretch>
              <a:fillRect/>
            </a:stretch>
          </p:blipFill>
          <p:spPr>
            <a:xfrm>
              <a:off x="4552333" y="2846832"/>
              <a:ext cx="124822" cy="121919"/>
            </a:xfrm>
            <a:prstGeom prst="rect">
              <a:avLst/>
            </a:prstGeom>
          </p:spPr>
        </p:pic>
        <p:pic>
          <p:nvPicPr>
            <p:cNvPr id="45" name="object 45"/>
            <p:cNvPicPr/>
            <p:nvPr/>
          </p:nvPicPr>
          <p:blipFill>
            <a:blip r:embed="rId20" cstate="print"/>
            <a:stretch>
              <a:fillRect/>
            </a:stretch>
          </p:blipFill>
          <p:spPr>
            <a:xfrm>
              <a:off x="4904231" y="2746247"/>
              <a:ext cx="153924" cy="131063"/>
            </a:xfrm>
            <a:prstGeom prst="rect">
              <a:avLst/>
            </a:prstGeom>
          </p:spPr>
        </p:pic>
        <p:sp>
          <p:nvSpPr>
            <p:cNvPr id="46" name="object 46"/>
            <p:cNvSpPr/>
            <p:nvPr/>
          </p:nvSpPr>
          <p:spPr>
            <a:xfrm>
              <a:off x="598932" y="1606295"/>
              <a:ext cx="3918585" cy="800100"/>
            </a:xfrm>
            <a:custGeom>
              <a:avLst/>
              <a:gdLst/>
              <a:ahLst/>
              <a:cxnLst/>
              <a:rect l="l" t="t" r="r" b="b"/>
              <a:pathLst>
                <a:path w="3918585" h="800100">
                  <a:moveTo>
                    <a:pt x="301752" y="763651"/>
                  </a:moveTo>
                  <a:lnTo>
                    <a:pt x="233375" y="720852"/>
                  </a:lnTo>
                  <a:lnTo>
                    <a:pt x="231686" y="748880"/>
                  </a:lnTo>
                  <a:lnTo>
                    <a:pt x="209892" y="745350"/>
                  </a:lnTo>
                  <a:lnTo>
                    <a:pt x="150469" y="726871"/>
                  </a:lnTo>
                  <a:lnTo>
                    <a:pt x="96316" y="688860"/>
                  </a:lnTo>
                  <a:lnTo>
                    <a:pt x="52031" y="629094"/>
                  </a:lnTo>
                  <a:lnTo>
                    <a:pt x="26162" y="563664"/>
                  </a:lnTo>
                  <a:lnTo>
                    <a:pt x="18681" y="497179"/>
                  </a:lnTo>
                  <a:lnTo>
                    <a:pt x="18402" y="467360"/>
                  </a:lnTo>
                  <a:lnTo>
                    <a:pt x="18402" y="399542"/>
                  </a:lnTo>
                  <a:lnTo>
                    <a:pt x="24536" y="393446"/>
                  </a:lnTo>
                  <a:lnTo>
                    <a:pt x="24536" y="374904"/>
                  </a:lnTo>
                  <a:lnTo>
                    <a:pt x="6134" y="374904"/>
                  </a:lnTo>
                  <a:lnTo>
                    <a:pt x="5168" y="381546"/>
                  </a:lnTo>
                  <a:lnTo>
                    <a:pt x="3149" y="399542"/>
                  </a:lnTo>
                  <a:lnTo>
                    <a:pt x="3060" y="400329"/>
                  </a:lnTo>
                  <a:lnTo>
                    <a:pt x="952" y="429501"/>
                  </a:lnTo>
                  <a:lnTo>
                    <a:pt x="0" y="467360"/>
                  </a:lnTo>
                  <a:lnTo>
                    <a:pt x="1524" y="510933"/>
                  </a:lnTo>
                  <a:lnTo>
                    <a:pt x="7658" y="556831"/>
                  </a:lnTo>
                  <a:lnTo>
                    <a:pt x="20701" y="602742"/>
                  </a:lnTo>
                  <a:lnTo>
                    <a:pt x="42938" y="646303"/>
                  </a:lnTo>
                  <a:lnTo>
                    <a:pt x="75133" y="688708"/>
                  </a:lnTo>
                  <a:lnTo>
                    <a:pt x="116547" y="726440"/>
                  </a:lnTo>
                  <a:lnTo>
                    <a:pt x="170980" y="752652"/>
                  </a:lnTo>
                  <a:lnTo>
                    <a:pt x="230530" y="767969"/>
                  </a:lnTo>
                  <a:lnTo>
                    <a:pt x="228600" y="800100"/>
                  </a:lnTo>
                  <a:lnTo>
                    <a:pt x="301752" y="763651"/>
                  </a:lnTo>
                  <a:close/>
                </a:path>
                <a:path w="3918585" h="800100">
                  <a:moveTo>
                    <a:pt x="1943100" y="775716"/>
                  </a:moveTo>
                  <a:lnTo>
                    <a:pt x="1919351" y="694944"/>
                  </a:lnTo>
                  <a:lnTo>
                    <a:pt x="1897316" y="719442"/>
                  </a:lnTo>
                  <a:lnTo>
                    <a:pt x="1857489" y="688543"/>
                  </a:lnTo>
                  <a:lnTo>
                    <a:pt x="1809000" y="656132"/>
                  </a:lnTo>
                  <a:lnTo>
                    <a:pt x="1761185" y="629018"/>
                  </a:lnTo>
                  <a:lnTo>
                    <a:pt x="1714119" y="606920"/>
                  </a:lnTo>
                  <a:lnTo>
                    <a:pt x="1667916" y="589521"/>
                  </a:lnTo>
                  <a:lnTo>
                    <a:pt x="1622679" y="576516"/>
                  </a:lnTo>
                  <a:lnTo>
                    <a:pt x="1578508" y="567601"/>
                  </a:lnTo>
                  <a:lnTo>
                    <a:pt x="1535506" y="562483"/>
                  </a:lnTo>
                  <a:lnTo>
                    <a:pt x="1493774" y="560832"/>
                  </a:lnTo>
                  <a:lnTo>
                    <a:pt x="1436865" y="563727"/>
                  </a:lnTo>
                  <a:lnTo>
                    <a:pt x="1382445" y="571868"/>
                  </a:lnTo>
                  <a:lnTo>
                    <a:pt x="1330718" y="584530"/>
                  </a:lnTo>
                  <a:lnTo>
                    <a:pt x="1281899" y="600951"/>
                  </a:lnTo>
                  <a:lnTo>
                    <a:pt x="1236218" y="620382"/>
                  </a:lnTo>
                  <a:lnTo>
                    <a:pt x="1193863" y="642048"/>
                  </a:lnTo>
                  <a:lnTo>
                    <a:pt x="1155065" y="665226"/>
                  </a:lnTo>
                  <a:lnTo>
                    <a:pt x="1097508" y="702208"/>
                  </a:lnTo>
                  <a:lnTo>
                    <a:pt x="1054963" y="735749"/>
                  </a:lnTo>
                  <a:lnTo>
                    <a:pt x="1019556" y="769493"/>
                  </a:lnTo>
                  <a:lnTo>
                    <a:pt x="1031875" y="781812"/>
                  </a:lnTo>
                  <a:lnTo>
                    <a:pt x="1044435" y="768896"/>
                  </a:lnTo>
                  <a:lnTo>
                    <a:pt x="1072616" y="742721"/>
                  </a:lnTo>
                  <a:lnTo>
                    <a:pt x="1115822" y="708469"/>
                  </a:lnTo>
                  <a:lnTo>
                    <a:pt x="1173480" y="671322"/>
                  </a:lnTo>
                  <a:lnTo>
                    <a:pt x="1209662" y="650417"/>
                  </a:lnTo>
                  <a:lnTo>
                    <a:pt x="1249400" y="630377"/>
                  </a:lnTo>
                  <a:lnTo>
                    <a:pt x="1292466" y="612051"/>
                  </a:lnTo>
                  <a:lnTo>
                    <a:pt x="1338656" y="596315"/>
                  </a:lnTo>
                  <a:lnTo>
                    <a:pt x="1387754" y="584022"/>
                  </a:lnTo>
                  <a:lnTo>
                    <a:pt x="1439519" y="576021"/>
                  </a:lnTo>
                  <a:lnTo>
                    <a:pt x="1493774" y="573151"/>
                  </a:lnTo>
                  <a:lnTo>
                    <a:pt x="1535277" y="574802"/>
                  </a:lnTo>
                  <a:lnTo>
                    <a:pt x="1577670" y="579920"/>
                  </a:lnTo>
                  <a:lnTo>
                    <a:pt x="1620862" y="588835"/>
                  </a:lnTo>
                  <a:lnTo>
                    <a:pt x="1664830" y="601840"/>
                  </a:lnTo>
                  <a:lnTo>
                    <a:pt x="1709496" y="619239"/>
                  </a:lnTo>
                  <a:lnTo>
                    <a:pt x="1754822" y="641337"/>
                  </a:lnTo>
                  <a:lnTo>
                    <a:pt x="1800745" y="668451"/>
                  </a:lnTo>
                  <a:lnTo>
                    <a:pt x="1847227" y="700862"/>
                  </a:lnTo>
                  <a:lnTo>
                    <a:pt x="1885886" y="732167"/>
                  </a:lnTo>
                  <a:lnTo>
                    <a:pt x="1863852" y="756666"/>
                  </a:lnTo>
                  <a:lnTo>
                    <a:pt x="1943100" y="775716"/>
                  </a:lnTo>
                  <a:close/>
                </a:path>
                <a:path w="3918585" h="800100">
                  <a:moveTo>
                    <a:pt x="3918204" y="339852"/>
                  </a:moveTo>
                  <a:lnTo>
                    <a:pt x="3892804" y="259080"/>
                  </a:lnTo>
                  <a:lnTo>
                    <a:pt x="3872230" y="282016"/>
                  </a:lnTo>
                  <a:lnTo>
                    <a:pt x="3831729" y="246164"/>
                  </a:lnTo>
                  <a:lnTo>
                    <a:pt x="3782428" y="206184"/>
                  </a:lnTo>
                  <a:lnTo>
                    <a:pt x="3733749" y="170268"/>
                  </a:lnTo>
                  <a:lnTo>
                    <a:pt x="3685717" y="138239"/>
                  </a:lnTo>
                  <a:lnTo>
                    <a:pt x="3638359" y="109982"/>
                  </a:lnTo>
                  <a:lnTo>
                    <a:pt x="3591712" y="85318"/>
                  </a:lnTo>
                  <a:lnTo>
                    <a:pt x="3545789" y="64109"/>
                  </a:lnTo>
                  <a:lnTo>
                    <a:pt x="3500615" y="46215"/>
                  </a:lnTo>
                  <a:lnTo>
                    <a:pt x="3456228" y="31470"/>
                  </a:lnTo>
                  <a:lnTo>
                    <a:pt x="3412655" y="19748"/>
                  </a:lnTo>
                  <a:lnTo>
                    <a:pt x="3369919" y="10896"/>
                  </a:lnTo>
                  <a:lnTo>
                    <a:pt x="3328047" y="4749"/>
                  </a:lnTo>
                  <a:lnTo>
                    <a:pt x="3287064" y="1168"/>
                  </a:lnTo>
                  <a:lnTo>
                    <a:pt x="3247009" y="0"/>
                  </a:lnTo>
                  <a:lnTo>
                    <a:pt x="3188957" y="2501"/>
                  </a:lnTo>
                  <a:lnTo>
                    <a:pt x="3133166" y="9639"/>
                  </a:lnTo>
                  <a:lnTo>
                    <a:pt x="3079673" y="20853"/>
                  </a:lnTo>
                  <a:lnTo>
                    <a:pt x="3028505" y="35585"/>
                  </a:lnTo>
                  <a:lnTo>
                    <a:pt x="2979712" y="53276"/>
                  </a:lnTo>
                  <a:lnTo>
                    <a:pt x="2933331" y="73393"/>
                  </a:lnTo>
                  <a:lnTo>
                    <a:pt x="2889377" y="95338"/>
                  </a:lnTo>
                  <a:lnTo>
                    <a:pt x="2847911" y="118592"/>
                  </a:lnTo>
                  <a:lnTo>
                    <a:pt x="2808948" y="142582"/>
                  </a:lnTo>
                  <a:lnTo>
                    <a:pt x="2772537" y="166751"/>
                  </a:lnTo>
                  <a:lnTo>
                    <a:pt x="2697835" y="229323"/>
                  </a:lnTo>
                  <a:lnTo>
                    <a:pt x="2641612" y="282625"/>
                  </a:lnTo>
                  <a:lnTo>
                    <a:pt x="2606167" y="319722"/>
                  </a:lnTo>
                  <a:lnTo>
                    <a:pt x="2593848" y="333629"/>
                  </a:lnTo>
                  <a:lnTo>
                    <a:pt x="2606167" y="345948"/>
                  </a:lnTo>
                  <a:lnTo>
                    <a:pt x="2644610" y="302856"/>
                  </a:lnTo>
                  <a:lnTo>
                    <a:pt x="2681579" y="264998"/>
                  </a:lnTo>
                  <a:lnTo>
                    <a:pt x="2730398" y="220611"/>
                  </a:lnTo>
                  <a:lnTo>
                    <a:pt x="2791079" y="172974"/>
                  </a:lnTo>
                  <a:lnTo>
                    <a:pt x="2825788" y="149148"/>
                  </a:lnTo>
                  <a:lnTo>
                    <a:pt x="2863316" y="126098"/>
                  </a:lnTo>
                  <a:lnTo>
                    <a:pt x="2903499" y="104228"/>
                  </a:lnTo>
                  <a:lnTo>
                    <a:pt x="2946196" y="83947"/>
                  </a:lnTo>
                  <a:lnTo>
                    <a:pt x="2991269" y="65659"/>
                  </a:lnTo>
                  <a:lnTo>
                    <a:pt x="3038564" y="49796"/>
                  </a:lnTo>
                  <a:lnTo>
                    <a:pt x="3087928" y="36741"/>
                  </a:lnTo>
                  <a:lnTo>
                    <a:pt x="3139224" y="26898"/>
                  </a:lnTo>
                  <a:lnTo>
                    <a:pt x="3192297" y="20701"/>
                  </a:lnTo>
                  <a:lnTo>
                    <a:pt x="3247009" y="18542"/>
                  </a:lnTo>
                  <a:lnTo>
                    <a:pt x="3285845" y="19710"/>
                  </a:lnTo>
                  <a:lnTo>
                    <a:pt x="3325774" y="23266"/>
                  </a:lnTo>
                  <a:lnTo>
                    <a:pt x="3366719" y="29375"/>
                  </a:lnTo>
                  <a:lnTo>
                    <a:pt x="3408642" y="38150"/>
                  </a:lnTo>
                  <a:lnTo>
                    <a:pt x="3451479" y="49733"/>
                  </a:lnTo>
                  <a:lnTo>
                    <a:pt x="3495167" y="64262"/>
                  </a:lnTo>
                  <a:lnTo>
                    <a:pt x="3539667" y="81876"/>
                  </a:lnTo>
                  <a:lnTo>
                    <a:pt x="3584930" y="102692"/>
                  </a:lnTo>
                  <a:lnTo>
                    <a:pt x="3630892" y="126860"/>
                  </a:lnTo>
                  <a:lnTo>
                    <a:pt x="3677501" y="154520"/>
                  </a:lnTo>
                  <a:lnTo>
                    <a:pt x="3724694" y="185788"/>
                  </a:lnTo>
                  <a:lnTo>
                    <a:pt x="3772433" y="220814"/>
                  </a:lnTo>
                  <a:lnTo>
                    <a:pt x="3820655" y="259715"/>
                  </a:lnTo>
                  <a:lnTo>
                    <a:pt x="3860609" y="294970"/>
                  </a:lnTo>
                  <a:lnTo>
                    <a:pt x="3837432" y="320802"/>
                  </a:lnTo>
                  <a:lnTo>
                    <a:pt x="3918204" y="339852"/>
                  </a:lnTo>
                  <a:close/>
                </a:path>
              </a:pathLst>
            </a:custGeom>
            <a:solidFill>
              <a:srgbClr val="00836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47" name="object 47"/>
            <p:cNvPicPr/>
            <p:nvPr/>
          </p:nvPicPr>
          <p:blipFill>
            <a:blip r:embed="rId21" cstate="print"/>
            <a:stretch>
              <a:fillRect/>
            </a:stretch>
          </p:blipFill>
          <p:spPr>
            <a:xfrm>
              <a:off x="2921551" y="1691727"/>
              <a:ext cx="202604" cy="204041"/>
            </a:xfrm>
            <a:prstGeom prst="rect">
              <a:avLst/>
            </a:prstGeom>
          </p:spPr>
        </p:pic>
        <p:sp>
          <p:nvSpPr>
            <p:cNvPr id="48" name="object 48"/>
            <p:cNvSpPr/>
            <p:nvPr/>
          </p:nvSpPr>
          <p:spPr>
            <a:xfrm>
              <a:off x="2915411" y="1685543"/>
              <a:ext cx="208915" cy="203200"/>
            </a:xfrm>
            <a:custGeom>
              <a:avLst/>
              <a:gdLst/>
              <a:ahLst/>
              <a:cxnLst/>
              <a:rect l="l" t="t" r="r" b="b"/>
              <a:pathLst>
                <a:path w="208914" h="203200">
                  <a:moveTo>
                    <a:pt x="104393" y="0"/>
                  </a:moveTo>
                  <a:lnTo>
                    <a:pt x="64775" y="7685"/>
                  </a:lnTo>
                  <a:lnTo>
                    <a:pt x="31480" y="29194"/>
                  </a:lnTo>
                  <a:lnTo>
                    <a:pt x="8542" y="62204"/>
                  </a:lnTo>
                  <a:lnTo>
                    <a:pt x="0" y="104393"/>
                  </a:lnTo>
                  <a:lnTo>
                    <a:pt x="8542" y="143059"/>
                  </a:lnTo>
                  <a:lnTo>
                    <a:pt x="31480" y="174259"/>
                  </a:lnTo>
                  <a:lnTo>
                    <a:pt x="64775" y="195101"/>
                  </a:lnTo>
                  <a:lnTo>
                    <a:pt x="104393" y="202691"/>
                  </a:lnTo>
                  <a:lnTo>
                    <a:pt x="136212" y="196595"/>
                  </a:lnTo>
                  <a:lnTo>
                    <a:pt x="104393" y="196595"/>
                  </a:lnTo>
                  <a:lnTo>
                    <a:pt x="86086" y="194478"/>
                  </a:lnTo>
                  <a:lnTo>
                    <a:pt x="36830" y="171957"/>
                  </a:lnTo>
                  <a:lnTo>
                    <a:pt x="14557" y="140509"/>
                  </a:lnTo>
                  <a:lnTo>
                    <a:pt x="6095" y="104393"/>
                  </a:lnTo>
                  <a:lnTo>
                    <a:pt x="8308" y="83460"/>
                  </a:lnTo>
                  <a:lnTo>
                    <a:pt x="36830" y="36829"/>
                  </a:lnTo>
                  <a:lnTo>
                    <a:pt x="68325" y="14557"/>
                  </a:lnTo>
                  <a:lnTo>
                    <a:pt x="104393" y="6095"/>
                  </a:lnTo>
                  <a:lnTo>
                    <a:pt x="135818" y="6095"/>
                  </a:lnTo>
                  <a:lnTo>
                    <a:pt x="104393" y="0"/>
                  </a:lnTo>
                  <a:close/>
                </a:path>
                <a:path w="208914" h="203200">
                  <a:moveTo>
                    <a:pt x="135818" y="6095"/>
                  </a:moveTo>
                  <a:lnTo>
                    <a:pt x="104393" y="6095"/>
                  </a:lnTo>
                  <a:lnTo>
                    <a:pt x="122701" y="8308"/>
                  </a:lnTo>
                  <a:lnTo>
                    <a:pt x="140462" y="14557"/>
                  </a:lnTo>
                  <a:lnTo>
                    <a:pt x="171957" y="36829"/>
                  </a:lnTo>
                  <a:lnTo>
                    <a:pt x="195228" y="83460"/>
                  </a:lnTo>
                  <a:lnTo>
                    <a:pt x="196469" y="104393"/>
                  </a:lnTo>
                  <a:lnTo>
                    <a:pt x="195228" y="122755"/>
                  </a:lnTo>
                  <a:lnTo>
                    <a:pt x="171957" y="171957"/>
                  </a:lnTo>
                  <a:lnTo>
                    <a:pt x="122701" y="194478"/>
                  </a:lnTo>
                  <a:lnTo>
                    <a:pt x="104393" y="196595"/>
                  </a:lnTo>
                  <a:lnTo>
                    <a:pt x="136212" y="196595"/>
                  </a:lnTo>
                  <a:lnTo>
                    <a:pt x="144012" y="195101"/>
                  </a:lnTo>
                  <a:lnTo>
                    <a:pt x="177307" y="174259"/>
                  </a:lnTo>
                  <a:lnTo>
                    <a:pt x="200245" y="143059"/>
                  </a:lnTo>
                  <a:lnTo>
                    <a:pt x="208787" y="104393"/>
                  </a:lnTo>
                  <a:lnTo>
                    <a:pt x="200245" y="62204"/>
                  </a:lnTo>
                  <a:lnTo>
                    <a:pt x="177307" y="29194"/>
                  </a:lnTo>
                  <a:lnTo>
                    <a:pt x="144012" y="7685"/>
                  </a:lnTo>
                  <a:lnTo>
                    <a:pt x="135818" y="6095"/>
                  </a:lnTo>
                  <a:close/>
                </a:path>
              </a:pathLst>
            </a:custGeom>
            <a:solidFill>
              <a:srgbClr val="E08B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49" name="object 49"/>
            <p:cNvPicPr/>
            <p:nvPr/>
          </p:nvPicPr>
          <p:blipFill>
            <a:blip r:embed="rId22" cstate="print"/>
            <a:stretch>
              <a:fillRect/>
            </a:stretch>
          </p:blipFill>
          <p:spPr>
            <a:xfrm>
              <a:off x="2907792" y="1851659"/>
              <a:ext cx="216407" cy="216408"/>
            </a:xfrm>
            <a:prstGeom prst="rect">
              <a:avLst/>
            </a:prstGeom>
          </p:spPr>
        </p:pic>
        <p:sp>
          <p:nvSpPr>
            <p:cNvPr id="50" name="object 50"/>
            <p:cNvSpPr/>
            <p:nvPr/>
          </p:nvSpPr>
          <p:spPr>
            <a:xfrm>
              <a:off x="2907792" y="1865376"/>
              <a:ext cx="204470" cy="203200"/>
            </a:xfrm>
            <a:custGeom>
              <a:avLst/>
              <a:gdLst/>
              <a:ahLst/>
              <a:cxnLst/>
              <a:rect l="l" t="t" r="r" b="b"/>
              <a:pathLst>
                <a:path w="204469" h="203200">
                  <a:moveTo>
                    <a:pt x="105156" y="0"/>
                  </a:moveTo>
                  <a:lnTo>
                    <a:pt x="62632" y="7685"/>
                  </a:lnTo>
                  <a:lnTo>
                    <a:pt x="29384" y="29194"/>
                  </a:lnTo>
                  <a:lnTo>
                    <a:pt x="7733" y="62204"/>
                  </a:lnTo>
                  <a:lnTo>
                    <a:pt x="0" y="104394"/>
                  </a:lnTo>
                  <a:lnTo>
                    <a:pt x="7733" y="143059"/>
                  </a:lnTo>
                  <a:lnTo>
                    <a:pt x="29384" y="174259"/>
                  </a:lnTo>
                  <a:lnTo>
                    <a:pt x="62632" y="195101"/>
                  </a:lnTo>
                  <a:lnTo>
                    <a:pt x="105156" y="202691"/>
                  </a:lnTo>
                  <a:lnTo>
                    <a:pt x="136477" y="196596"/>
                  </a:lnTo>
                  <a:lnTo>
                    <a:pt x="105156" y="196596"/>
                  </a:lnTo>
                  <a:lnTo>
                    <a:pt x="83250" y="194383"/>
                  </a:lnTo>
                  <a:lnTo>
                    <a:pt x="64214" y="188134"/>
                  </a:lnTo>
                  <a:lnTo>
                    <a:pt x="48631" y="178433"/>
                  </a:lnTo>
                  <a:lnTo>
                    <a:pt x="37083" y="165862"/>
                  </a:lnTo>
                  <a:lnTo>
                    <a:pt x="24439" y="154525"/>
                  </a:lnTo>
                  <a:lnTo>
                    <a:pt x="14700" y="139747"/>
                  </a:lnTo>
                  <a:lnTo>
                    <a:pt x="8437" y="122660"/>
                  </a:lnTo>
                  <a:lnTo>
                    <a:pt x="6222" y="104394"/>
                  </a:lnTo>
                  <a:lnTo>
                    <a:pt x="8437" y="82603"/>
                  </a:lnTo>
                  <a:lnTo>
                    <a:pt x="14700" y="63706"/>
                  </a:lnTo>
                  <a:lnTo>
                    <a:pt x="24439" y="48261"/>
                  </a:lnTo>
                  <a:lnTo>
                    <a:pt x="37083" y="36829"/>
                  </a:lnTo>
                  <a:lnTo>
                    <a:pt x="48631" y="24258"/>
                  </a:lnTo>
                  <a:lnTo>
                    <a:pt x="64214" y="14557"/>
                  </a:lnTo>
                  <a:lnTo>
                    <a:pt x="83250" y="8308"/>
                  </a:lnTo>
                  <a:lnTo>
                    <a:pt x="105156" y="6096"/>
                  </a:lnTo>
                  <a:lnTo>
                    <a:pt x="136089" y="6096"/>
                  </a:lnTo>
                  <a:lnTo>
                    <a:pt x="105156" y="0"/>
                  </a:lnTo>
                  <a:close/>
                </a:path>
                <a:path w="204469" h="203200">
                  <a:moveTo>
                    <a:pt x="136089" y="6096"/>
                  </a:moveTo>
                  <a:lnTo>
                    <a:pt x="105156" y="6096"/>
                  </a:lnTo>
                  <a:lnTo>
                    <a:pt x="123537" y="8308"/>
                  </a:lnTo>
                  <a:lnTo>
                    <a:pt x="140763" y="14557"/>
                  </a:lnTo>
                  <a:lnTo>
                    <a:pt x="155680" y="24258"/>
                  </a:lnTo>
                  <a:lnTo>
                    <a:pt x="167131" y="36829"/>
                  </a:lnTo>
                  <a:lnTo>
                    <a:pt x="179776" y="48261"/>
                  </a:lnTo>
                  <a:lnTo>
                    <a:pt x="189515" y="63706"/>
                  </a:lnTo>
                  <a:lnTo>
                    <a:pt x="195778" y="82603"/>
                  </a:lnTo>
                  <a:lnTo>
                    <a:pt x="197993" y="104394"/>
                  </a:lnTo>
                  <a:lnTo>
                    <a:pt x="195778" y="122660"/>
                  </a:lnTo>
                  <a:lnTo>
                    <a:pt x="189515" y="139747"/>
                  </a:lnTo>
                  <a:lnTo>
                    <a:pt x="179776" y="154525"/>
                  </a:lnTo>
                  <a:lnTo>
                    <a:pt x="167131" y="165862"/>
                  </a:lnTo>
                  <a:lnTo>
                    <a:pt x="155680" y="178433"/>
                  </a:lnTo>
                  <a:lnTo>
                    <a:pt x="140763" y="188134"/>
                  </a:lnTo>
                  <a:lnTo>
                    <a:pt x="123537" y="194383"/>
                  </a:lnTo>
                  <a:lnTo>
                    <a:pt x="105156" y="196596"/>
                  </a:lnTo>
                  <a:lnTo>
                    <a:pt x="136477" y="196596"/>
                  </a:lnTo>
                  <a:lnTo>
                    <a:pt x="144154" y="195101"/>
                  </a:lnTo>
                  <a:lnTo>
                    <a:pt x="175593" y="174259"/>
                  </a:lnTo>
                  <a:lnTo>
                    <a:pt x="196578" y="143059"/>
                  </a:lnTo>
                  <a:lnTo>
                    <a:pt x="204215" y="104394"/>
                  </a:lnTo>
                  <a:lnTo>
                    <a:pt x="196578" y="62204"/>
                  </a:lnTo>
                  <a:lnTo>
                    <a:pt x="175593" y="29194"/>
                  </a:lnTo>
                  <a:lnTo>
                    <a:pt x="144154" y="7685"/>
                  </a:lnTo>
                  <a:lnTo>
                    <a:pt x="136089" y="6096"/>
                  </a:lnTo>
                  <a:close/>
                </a:path>
              </a:pathLst>
            </a:custGeom>
            <a:solidFill>
              <a:srgbClr val="E08B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51" name="object 51"/>
            <p:cNvPicPr/>
            <p:nvPr/>
          </p:nvPicPr>
          <p:blipFill>
            <a:blip r:embed="rId23" cstate="print"/>
            <a:stretch>
              <a:fillRect/>
            </a:stretch>
          </p:blipFill>
          <p:spPr>
            <a:xfrm>
              <a:off x="2871215" y="2029968"/>
              <a:ext cx="216407" cy="216408"/>
            </a:xfrm>
            <a:prstGeom prst="rect">
              <a:avLst/>
            </a:prstGeom>
          </p:spPr>
        </p:pic>
        <p:sp>
          <p:nvSpPr>
            <p:cNvPr id="52" name="object 52"/>
            <p:cNvSpPr/>
            <p:nvPr/>
          </p:nvSpPr>
          <p:spPr>
            <a:xfrm>
              <a:off x="2871215" y="2036063"/>
              <a:ext cx="210820" cy="210820"/>
            </a:xfrm>
            <a:custGeom>
              <a:avLst/>
              <a:gdLst/>
              <a:ahLst/>
              <a:cxnLst/>
              <a:rect l="l" t="t" r="r" b="b"/>
              <a:pathLst>
                <a:path w="210819" h="210819">
                  <a:moveTo>
                    <a:pt x="105156" y="0"/>
                  </a:moveTo>
                  <a:lnTo>
                    <a:pt x="65258" y="8608"/>
                  </a:lnTo>
                  <a:lnTo>
                    <a:pt x="31718" y="31718"/>
                  </a:lnTo>
                  <a:lnTo>
                    <a:pt x="8608" y="65258"/>
                  </a:lnTo>
                  <a:lnTo>
                    <a:pt x="0" y="105156"/>
                  </a:lnTo>
                  <a:lnTo>
                    <a:pt x="8608" y="145053"/>
                  </a:lnTo>
                  <a:lnTo>
                    <a:pt x="31718" y="178593"/>
                  </a:lnTo>
                  <a:lnTo>
                    <a:pt x="65258" y="201703"/>
                  </a:lnTo>
                  <a:lnTo>
                    <a:pt x="105156" y="210312"/>
                  </a:lnTo>
                  <a:lnTo>
                    <a:pt x="145053" y="201703"/>
                  </a:lnTo>
                  <a:lnTo>
                    <a:pt x="150439" y="197993"/>
                  </a:lnTo>
                  <a:lnTo>
                    <a:pt x="105156" y="197993"/>
                  </a:lnTo>
                  <a:lnTo>
                    <a:pt x="86679" y="196730"/>
                  </a:lnTo>
                  <a:lnTo>
                    <a:pt x="37083" y="173227"/>
                  </a:lnTo>
                  <a:lnTo>
                    <a:pt x="14700" y="141525"/>
                  </a:lnTo>
                  <a:lnTo>
                    <a:pt x="6222" y="105156"/>
                  </a:lnTo>
                  <a:lnTo>
                    <a:pt x="8437" y="86679"/>
                  </a:lnTo>
                  <a:lnTo>
                    <a:pt x="24439" y="52060"/>
                  </a:lnTo>
                  <a:lnTo>
                    <a:pt x="52060" y="25392"/>
                  </a:lnTo>
                  <a:lnTo>
                    <a:pt x="105156" y="12319"/>
                  </a:lnTo>
                  <a:lnTo>
                    <a:pt x="150439" y="12319"/>
                  </a:lnTo>
                  <a:lnTo>
                    <a:pt x="145053" y="8608"/>
                  </a:lnTo>
                  <a:lnTo>
                    <a:pt x="105156" y="0"/>
                  </a:lnTo>
                  <a:close/>
                </a:path>
                <a:path w="210819" h="210819">
                  <a:moveTo>
                    <a:pt x="150439" y="12319"/>
                  </a:moveTo>
                  <a:lnTo>
                    <a:pt x="105156" y="12319"/>
                  </a:lnTo>
                  <a:lnTo>
                    <a:pt x="123632" y="13581"/>
                  </a:lnTo>
                  <a:lnTo>
                    <a:pt x="141525" y="17748"/>
                  </a:lnTo>
                  <a:lnTo>
                    <a:pt x="184919" y="52060"/>
                  </a:lnTo>
                  <a:lnTo>
                    <a:pt x="197992" y="105156"/>
                  </a:lnTo>
                  <a:lnTo>
                    <a:pt x="196730" y="123632"/>
                  </a:lnTo>
                  <a:lnTo>
                    <a:pt x="173227" y="173227"/>
                  </a:lnTo>
                  <a:lnTo>
                    <a:pt x="123632" y="196730"/>
                  </a:lnTo>
                  <a:lnTo>
                    <a:pt x="105156" y="197993"/>
                  </a:lnTo>
                  <a:lnTo>
                    <a:pt x="150439" y="197993"/>
                  </a:lnTo>
                  <a:lnTo>
                    <a:pt x="178593" y="178593"/>
                  </a:lnTo>
                  <a:lnTo>
                    <a:pt x="201703" y="145053"/>
                  </a:lnTo>
                  <a:lnTo>
                    <a:pt x="210311" y="105156"/>
                  </a:lnTo>
                  <a:lnTo>
                    <a:pt x="201703" y="65258"/>
                  </a:lnTo>
                  <a:lnTo>
                    <a:pt x="178593" y="31718"/>
                  </a:lnTo>
                  <a:lnTo>
                    <a:pt x="150439" y="12319"/>
                  </a:lnTo>
                  <a:close/>
                </a:path>
              </a:pathLst>
            </a:custGeom>
            <a:solidFill>
              <a:srgbClr val="E08B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53" name="object 53"/>
          <p:cNvSpPr txBox="1"/>
          <p:nvPr/>
        </p:nvSpPr>
        <p:spPr>
          <a:xfrm>
            <a:off x="2896361" y="1655927"/>
            <a:ext cx="208915" cy="551815"/>
          </a:xfrm>
          <a:prstGeom prst="rect">
            <a:avLst/>
          </a:prstGeom>
        </p:spPr>
        <p:txBody>
          <a:bodyPr vert="horz" wrap="square" lIns="0" tIns="9525" rIns="0" bIns="0" rtlCol="0">
            <a:spAutoFit/>
          </a:bodyPr>
          <a:lstStyle/>
          <a:p>
            <a:pPr marL="12700" marR="5080" lvl="0" indent="48895" algn="just" defTabSz="914400" rtl="0" eaLnBrk="1" fontAlgn="auto" latinLnBrk="0" hangingPunct="1">
              <a:lnSpc>
                <a:spcPct val="144600"/>
              </a:lnSpc>
              <a:spcBef>
                <a:spcPts val="75"/>
              </a:spcBef>
              <a:spcAft>
                <a:spcPts val="0"/>
              </a:spcAft>
              <a:buClrTx/>
              <a:buSzTx/>
              <a:buFontTx/>
              <a:buNone/>
              <a:tabLst/>
              <a:defRPr/>
            </a:pPr>
            <a:r>
              <a:rPr kumimoji="0" sz="800" b="1" i="0" u="none" strike="noStrike" kern="0" cap="none" spc="-25" normalizeH="0" baseline="0" noProof="0" dirty="0">
                <a:ln>
                  <a:noFill/>
                </a:ln>
                <a:solidFill>
                  <a:sysClr val="windowText" lastClr="000000"/>
                </a:solidFill>
                <a:effectLst/>
                <a:uLnTx/>
                <a:uFillTx/>
                <a:latin typeface="Trebuchet MS"/>
                <a:ea typeface="+mn-ea"/>
                <a:cs typeface="Trebuchet MS"/>
              </a:rPr>
              <a:t>Ub Ub Ub</a:t>
            </a:r>
            <a:endParaRPr kumimoji="0" sz="800" b="0" i="0" u="none" strike="noStrike" kern="0" cap="none" spc="0" normalizeH="0" baseline="0" noProof="0">
              <a:ln>
                <a:noFill/>
              </a:ln>
              <a:solidFill>
                <a:sysClr val="windowText" lastClr="000000"/>
              </a:solidFill>
              <a:effectLst/>
              <a:uLnTx/>
              <a:uFillTx/>
              <a:latin typeface="Trebuchet MS"/>
              <a:ea typeface="+mn-ea"/>
              <a:cs typeface="Trebuchet MS"/>
            </a:endParaRPr>
          </a:p>
        </p:txBody>
      </p:sp>
      <p:grpSp>
        <p:nvGrpSpPr>
          <p:cNvPr id="54" name="object 54"/>
          <p:cNvGrpSpPr/>
          <p:nvPr/>
        </p:nvGrpSpPr>
        <p:grpSpPr>
          <a:xfrm>
            <a:off x="3853738" y="4244394"/>
            <a:ext cx="852805" cy="405765"/>
            <a:chOff x="3853738" y="4244394"/>
            <a:chExt cx="852805" cy="405765"/>
          </a:xfrm>
        </p:grpSpPr>
        <p:pic>
          <p:nvPicPr>
            <p:cNvPr id="55" name="object 55"/>
            <p:cNvPicPr/>
            <p:nvPr/>
          </p:nvPicPr>
          <p:blipFill>
            <a:blip r:embed="rId24" cstate="print"/>
            <a:stretch>
              <a:fillRect/>
            </a:stretch>
          </p:blipFill>
          <p:spPr>
            <a:xfrm>
              <a:off x="4425276" y="4244394"/>
              <a:ext cx="280835" cy="405302"/>
            </a:xfrm>
            <a:prstGeom prst="rect">
              <a:avLst/>
            </a:prstGeom>
          </p:spPr>
        </p:pic>
        <p:pic>
          <p:nvPicPr>
            <p:cNvPr id="56" name="object 56"/>
            <p:cNvPicPr/>
            <p:nvPr/>
          </p:nvPicPr>
          <p:blipFill>
            <a:blip r:embed="rId25" cstate="print"/>
            <a:stretch>
              <a:fillRect/>
            </a:stretch>
          </p:blipFill>
          <p:spPr>
            <a:xfrm>
              <a:off x="3853738" y="4244394"/>
              <a:ext cx="279349" cy="405302"/>
            </a:xfrm>
            <a:prstGeom prst="rect">
              <a:avLst/>
            </a:prstGeom>
          </p:spPr>
        </p:pic>
      </p:grpSp>
      <p:sp>
        <p:nvSpPr>
          <p:cNvPr id="57" name="object 57"/>
          <p:cNvSpPr txBox="1"/>
          <p:nvPr/>
        </p:nvSpPr>
        <p:spPr>
          <a:xfrm>
            <a:off x="4943602" y="4224934"/>
            <a:ext cx="1193165" cy="675005"/>
          </a:xfrm>
          <a:prstGeom prst="rect">
            <a:avLst/>
          </a:prstGeom>
        </p:spPr>
        <p:txBody>
          <a:bodyPr vert="horz" wrap="square" lIns="0" tIns="85090" rIns="0" bIns="0" rtlCol="0">
            <a:spAutoFit/>
          </a:bodyPr>
          <a:lstStyle/>
          <a:p>
            <a:pPr marL="12700" marR="0" lvl="0" indent="0" algn="l" defTabSz="914400" rtl="0" eaLnBrk="1" fontAlgn="auto" latinLnBrk="0" hangingPunct="1">
              <a:lnSpc>
                <a:spcPct val="100000"/>
              </a:lnSpc>
              <a:spcBef>
                <a:spcPts val="670"/>
              </a:spcBef>
              <a:spcAft>
                <a:spcPts val="0"/>
              </a:spcAft>
              <a:buClrTx/>
              <a:buSzTx/>
              <a:buFontTx/>
              <a:buNone/>
              <a:tabLst/>
              <a:defRPr/>
            </a:pPr>
            <a:r>
              <a:rPr kumimoji="0" sz="1000" b="1" i="0" u="none" strike="noStrike" kern="0" cap="none" spc="0" normalizeH="0" baseline="0" noProof="0" dirty="0">
                <a:ln>
                  <a:noFill/>
                </a:ln>
                <a:solidFill>
                  <a:srgbClr val="E08B00"/>
                </a:solidFill>
                <a:effectLst/>
                <a:uLnTx/>
                <a:uFillTx/>
                <a:latin typeface="Trebuchet MS"/>
                <a:ea typeface="+mn-ea"/>
                <a:cs typeface="Trebuchet MS"/>
              </a:rPr>
              <a:t>Tumor</a:t>
            </a:r>
            <a:r>
              <a:rPr kumimoji="0" sz="1000" b="1" i="0" u="none" strike="noStrike" kern="0" cap="none" spc="-15" normalizeH="0" baseline="0" noProof="0" dirty="0">
                <a:ln>
                  <a:noFill/>
                </a:ln>
                <a:solidFill>
                  <a:srgbClr val="E08B00"/>
                </a:solidFill>
                <a:effectLst/>
                <a:uLnTx/>
                <a:uFillTx/>
                <a:latin typeface="Trebuchet MS"/>
                <a:ea typeface="+mn-ea"/>
                <a:cs typeface="Trebuchet MS"/>
              </a:rPr>
              <a:t> </a:t>
            </a:r>
            <a:r>
              <a:rPr kumimoji="0" sz="1000" b="1" i="0" u="none" strike="noStrike" kern="0" cap="none" spc="-20" normalizeH="0" baseline="0" noProof="0" dirty="0">
                <a:ln>
                  <a:noFill/>
                </a:ln>
                <a:solidFill>
                  <a:srgbClr val="E08B00"/>
                </a:solidFill>
                <a:effectLst/>
                <a:uLnTx/>
                <a:uFillTx/>
                <a:latin typeface="Trebuchet MS"/>
                <a:ea typeface="+mn-ea"/>
                <a:cs typeface="Trebuchet MS"/>
              </a:rPr>
              <a:t>cell-</a:t>
            </a:r>
            <a:r>
              <a:rPr kumimoji="0" sz="1000" b="1" i="0" u="none" strike="noStrike" kern="0" cap="none" spc="-10" normalizeH="0" baseline="0" noProof="0" dirty="0">
                <a:ln>
                  <a:noFill/>
                </a:ln>
                <a:solidFill>
                  <a:srgbClr val="E08B00"/>
                </a:solidFill>
                <a:effectLst/>
                <a:uLnTx/>
                <a:uFillTx/>
                <a:latin typeface="Trebuchet MS"/>
                <a:ea typeface="+mn-ea"/>
                <a:cs typeface="Trebuchet MS"/>
              </a:rPr>
              <a:t>intrinsic</a:t>
            </a:r>
            <a:endParaRPr kumimoji="0" sz="1000" b="0" i="0" u="none" strike="noStrike" kern="0" cap="none" spc="0" normalizeH="0" baseline="0" noProof="0">
              <a:ln>
                <a:noFill/>
              </a:ln>
              <a:solidFill>
                <a:sysClr val="windowText" lastClr="000000"/>
              </a:solidFill>
              <a:effectLst/>
              <a:uLnTx/>
              <a:uFillTx/>
              <a:latin typeface="Trebuchet MS"/>
              <a:ea typeface="+mn-ea"/>
              <a:cs typeface="Trebuchet MS"/>
            </a:endParaRPr>
          </a:p>
          <a:p>
            <a:pPr marL="442595" marR="26034" lvl="0" indent="93345" algn="l" defTabSz="914400" rtl="0" eaLnBrk="1" fontAlgn="auto" latinLnBrk="0" hangingPunct="1">
              <a:lnSpc>
                <a:spcPct val="130800"/>
              </a:lnSpc>
              <a:spcBef>
                <a:spcPts val="200"/>
              </a:spcBef>
              <a:spcAft>
                <a:spcPts val="0"/>
              </a:spcAft>
              <a:buClrTx/>
              <a:buSzTx/>
              <a:buFontTx/>
              <a:buNone/>
              <a:tabLst/>
              <a:defRPr/>
            </a:pPr>
            <a:r>
              <a:rPr kumimoji="0" sz="1000" b="0" i="0" u="none" strike="noStrike" kern="0" cap="none" spc="-10" normalizeH="0" baseline="0" noProof="0" dirty="0">
                <a:ln>
                  <a:noFill/>
                </a:ln>
                <a:solidFill>
                  <a:sysClr val="windowText" lastClr="000000"/>
                </a:solidFill>
                <a:effectLst/>
                <a:uLnTx/>
                <a:uFillTx/>
                <a:latin typeface="Trebuchet MS"/>
                <a:ea typeface="+mn-ea"/>
                <a:cs typeface="Trebuchet MS"/>
              </a:rPr>
              <a:t>Apoptosis Proliferation</a:t>
            </a:r>
            <a:endParaRPr kumimoji="0" sz="1000" b="0" i="0" u="none" strike="noStrike" kern="0" cap="none" spc="0" normalizeH="0" baseline="0" noProof="0">
              <a:ln>
                <a:noFill/>
              </a:ln>
              <a:solidFill>
                <a:sysClr val="windowText" lastClr="000000"/>
              </a:solidFill>
              <a:effectLst/>
              <a:uLnTx/>
              <a:uFillTx/>
              <a:latin typeface="Trebuchet MS"/>
              <a:ea typeface="+mn-ea"/>
              <a:cs typeface="Trebuchet MS"/>
            </a:endParaRPr>
          </a:p>
        </p:txBody>
      </p:sp>
      <p:pic>
        <p:nvPicPr>
          <p:cNvPr id="58" name="object 58"/>
          <p:cNvPicPr/>
          <p:nvPr/>
        </p:nvPicPr>
        <p:blipFill>
          <a:blip r:embed="rId26" cstate="print"/>
          <a:stretch>
            <a:fillRect/>
          </a:stretch>
        </p:blipFill>
        <p:spPr>
          <a:xfrm>
            <a:off x="5344667" y="4538471"/>
            <a:ext cx="121920" cy="141731"/>
          </a:xfrm>
          <a:prstGeom prst="rect">
            <a:avLst/>
          </a:prstGeom>
        </p:spPr>
      </p:pic>
      <p:pic>
        <p:nvPicPr>
          <p:cNvPr id="59" name="object 59"/>
          <p:cNvPicPr/>
          <p:nvPr/>
        </p:nvPicPr>
        <p:blipFill>
          <a:blip r:embed="rId27" cstate="print"/>
          <a:stretch>
            <a:fillRect/>
          </a:stretch>
        </p:blipFill>
        <p:spPr>
          <a:xfrm>
            <a:off x="3653028" y="5617464"/>
            <a:ext cx="131063" cy="141732"/>
          </a:xfrm>
          <a:prstGeom prst="rect">
            <a:avLst/>
          </a:prstGeom>
        </p:spPr>
      </p:pic>
      <p:sp>
        <p:nvSpPr>
          <p:cNvPr id="60" name="object 60"/>
          <p:cNvSpPr txBox="1"/>
          <p:nvPr/>
        </p:nvSpPr>
        <p:spPr>
          <a:xfrm>
            <a:off x="3722370" y="5356656"/>
            <a:ext cx="1334135" cy="592455"/>
          </a:xfrm>
          <a:prstGeom prst="rect">
            <a:avLst/>
          </a:prstGeom>
        </p:spPr>
        <p:txBody>
          <a:bodyPr vert="horz" wrap="square" lIns="0" tIns="27305" rIns="0" bIns="0" rtlCol="0">
            <a:spAutoFit/>
          </a:bodyPr>
          <a:lstStyle/>
          <a:p>
            <a:pPr marL="12700" marR="5080" lvl="0" indent="-90805" algn="ctr" defTabSz="914400" rtl="0" eaLnBrk="1" fontAlgn="auto" latinLnBrk="0" hangingPunct="1">
              <a:lnSpc>
                <a:spcPct val="120800"/>
              </a:lnSpc>
              <a:spcBef>
                <a:spcPts val="215"/>
              </a:spcBef>
              <a:spcAft>
                <a:spcPts val="0"/>
              </a:spcAft>
              <a:buClrTx/>
              <a:buSzTx/>
              <a:buFontTx/>
              <a:buNone/>
              <a:tabLst/>
              <a:defRPr/>
            </a:pPr>
            <a:r>
              <a:rPr kumimoji="0" sz="1000" b="1" i="0" u="none" strike="noStrike" kern="0" cap="none" spc="0" normalizeH="0" baseline="0" noProof="0" dirty="0">
                <a:ln>
                  <a:noFill/>
                </a:ln>
                <a:solidFill>
                  <a:srgbClr val="009FC3"/>
                </a:solidFill>
                <a:effectLst/>
                <a:uLnTx/>
                <a:uFillTx/>
                <a:latin typeface="Trebuchet MS"/>
                <a:ea typeface="+mn-ea"/>
                <a:cs typeface="Trebuchet MS"/>
              </a:rPr>
              <a:t>Immune</a:t>
            </a:r>
            <a:r>
              <a:rPr kumimoji="0" sz="1000" b="1" i="0" u="none" strike="noStrike" kern="0" cap="none" spc="-45" normalizeH="0" baseline="0" noProof="0" dirty="0">
                <a:ln>
                  <a:noFill/>
                </a:ln>
                <a:solidFill>
                  <a:srgbClr val="009FC3"/>
                </a:solidFill>
                <a:effectLst/>
                <a:uLnTx/>
                <a:uFillTx/>
                <a:latin typeface="Trebuchet MS"/>
                <a:ea typeface="+mn-ea"/>
                <a:cs typeface="Trebuchet MS"/>
              </a:rPr>
              <a:t> </a:t>
            </a:r>
            <a:r>
              <a:rPr kumimoji="0" sz="1000" b="1" i="0" u="none" strike="noStrike" kern="0" cap="none" spc="-10" normalizeH="0" baseline="0" noProof="0" dirty="0">
                <a:ln>
                  <a:noFill/>
                </a:ln>
                <a:solidFill>
                  <a:srgbClr val="009FC3"/>
                </a:solidFill>
                <a:effectLst/>
                <a:uLnTx/>
                <a:uFillTx/>
                <a:latin typeface="Trebuchet MS"/>
                <a:ea typeface="+mn-ea"/>
                <a:cs typeface="Trebuchet MS"/>
              </a:rPr>
              <a:t>stimulation </a:t>
            </a:r>
            <a:r>
              <a:rPr kumimoji="0" sz="1000" b="0" i="0" u="none" strike="noStrike" kern="0" cap="none" spc="0" normalizeH="0" baseline="0" noProof="0" dirty="0">
                <a:ln>
                  <a:noFill/>
                </a:ln>
                <a:solidFill>
                  <a:sysClr val="windowText" lastClr="000000"/>
                </a:solidFill>
                <a:effectLst/>
                <a:uLnTx/>
                <a:uFillTx/>
                <a:latin typeface="Trebuchet MS"/>
                <a:ea typeface="+mn-ea"/>
                <a:cs typeface="Trebuchet MS"/>
              </a:rPr>
              <a:t>Cytokine</a:t>
            </a:r>
            <a:r>
              <a:rPr kumimoji="0" sz="1000" b="0" i="0" u="none" strike="noStrike" kern="0" cap="none" spc="-55" normalizeH="0" baseline="0" noProof="0" dirty="0">
                <a:ln>
                  <a:noFill/>
                </a:ln>
                <a:solidFill>
                  <a:sysClr val="windowText" lastClr="000000"/>
                </a:solidFill>
                <a:effectLst/>
                <a:uLnTx/>
                <a:uFillTx/>
                <a:latin typeface="Trebuchet MS"/>
                <a:ea typeface="+mn-ea"/>
                <a:cs typeface="Trebuchet MS"/>
              </a:rPr>
              <a:t> </a:t>
            </a:r>
            <a:r>
              <a:rPr kumimoji="0" sz="1000" b="0" i="0" u="none" strike="noStrike" kern="0" cap="none" spc="-10" normalizeH="0" baseline="0" noProof="0" dirty="0">
                <a:ln>
                  <a:noFill/>
                </a:ln>
                <a:solidFill>
                  <a:sysClr val="windowText" lastClr="000000"/>
                </a:solidFill>
                <a:effectLst/>
                <a:uLnTx/>
                <a:uFillTx/>
                <a:latin typeface="Trebuchet MS"/>
                <a:ea typeface="+mn-ea"/>
                <a:cs typeface="Trebuchet MS"/>
              </a:rPr>
              <a:t>production </a:t>
            </a:r>
            <a:r>
              <a:rPr kumimoji="0" sz="1000" b="0" i="0" u="none" strike="noStrike" kern="0" cap="none" spc="0" normalizeH="0" baseline="0" noProof="0" dirty="0">
                <a:ln>
                  <a:noFill/>
                </a:ln>
                <a:solidFill>
                  <a:sysClr val="windowText" lastClr="000000"/>
                </a:solidFill>
                <a:effectLst/>
                <a:uLnTx/>
                <a:uFillTx/>
                <a:latin typeface="Trebuchet MS"/>
                <a:ea typeface="+mn-ea"/>
                <a:cs typeface="Trebuchet MS"/>
              </a:rPr>
              <a:t>Immune</a:t>
            </a:r>
            <a:r>
              <a:rPr kumimoji="0" sz="1000" b="0" i="0" u="none" strike="noStrike" kern="0" cap="none" spc="-50" normalizeH="0" baseline="0" noProof="0" dirty="0">
                <a:ln>
                  <a:noFill/>
                </a:ln>
                <a:solidFill>
                  <a:sysClr val="windowText" lastClr="000000"/>
                </a:solidFill>
                <a:effectLst/>
                <a:uLnTx/>
                <a:uFillTx/>
                <a:latin typeface="Trebuchet MS"/>
                <a:ea typeface="+mn-ea"/>
                <a:cs typeface="Trebuchet MS"/>
              </a:rPr>
              <a:t> </a:t>
            </a:r>
            <a:r>
              <a:rPr kumimoji="0" sz="1000" b="0" i="0" u="none" strike="noStrike" kern="0" cap="none" spc="0" normalizeH="0" baseline="0" noProof="0" dirty="0">
                <a:ln>
                  <a:noFill/>
                </a:ln>
                <a:solidFill>
                  <a:sysClr val="windowText" lastClr="000000"/>
                </a:solidFill>
                <a:effectLst/>
                <a:uLnTx/>
                <a:uFillTx/>
                <a:latin typeface="Trebuchet MS"/>
                <a:ea typeface="+mn-ea"/>
                <a:cs typeface="Trebuchet MS"/>
              </a:rPr>
              <a:t>cell</a:t>
            </a:r>
            <a:r>
              <a:rPr kumimoji="0" sz="1000" b="0" i="0" u="none" strike="noStrike" kern="0" cap="none" spc="-45" normalizeH="0" baseline="0" noProof="0" dirty="0">
                <a:ln>
                  <a:noFill/>
                </a:ln>
                <a:solidFill>
                  <a:sysClr val="windowText" lastClr="000000"/>
                </a:solidFill>
                <a:effectLst/>
                <a:uLnTx/>
                <a:uFillTx/>
                <a:latin typeface="Trebuchet MS"/>
                <a:ea typeface="+mn-ea"/>
                <a:cs typeface="Trebuchet MS"/>
              </a:rPr>
              <a:t> </a:t>
            </a:r>
            <a:r>
              <a:rPr kumimoji="0" sz="1000" b="0" i="0" u="none" strike="noStrike" kern="0" cap="none" spc="-10" normalizeH="0" baseline="0" noProof="0" dirty="0">
                <a:ln>
                  <a:noFill/>
                </a:ln>
                <a:solidFill>
                  <a:sysClr val="windowText" lastClr="000000"/>
                </a:solidFill>
                <a:effectLst/>
                <a:uLnTx/>
                <a:uFillTx/>
                <a:latin typeface="Trebuchet MS"/>
                <a:ea typeface="+mn-ea"/>
                <a:cs typeface="Trebuchet MS"/>
              </a:rPr>
              <a:t>activation</a:t>
            </a:r>
            <a:endParaRPr kumimoji="0" sz="1000" b="0" i="0" u="none" strike="noStrike" kern="0" cap="none" spc="0" normalizeH="0" baseline="0" noProof="0">
              <a:ln>
                <a:noFill/>
              </a:ln>
              <a:solidFill>
                <a:sysClr val="windowText" lastClr="000000"/>
              </a:solidFill>
              <a:effectLst/>
              <a:uLnTx/>
              <a:uFillTx/>
              <a:latin typeface="Trebuchet MS"/>
              <a:ea typeface="+mn-ea"/>
              <a:cs typeface="Trebuchet MS"/>
            </a:endParaRPr>
          </a:p>
        </p:txBody>
      </p:sp>
      <p:pic>
        <p:nvPicPr>
          <p:cNvPr id="61" name="object 61"/>
          <p:cNvPicPr/>
          <p:nvPr/>
        </p:nvPicPr>
        <p:blipFill>
          <a:blip r:embed="rId28" cstate="print"/>
          <a:stretch>
            <a:fillRect/>
          </a:stretch>
        </p:blipFill>
        <p:spPr>
          <a:xfrm>
            <a:off x="3585971" y="5801867"/>
            <a:ext cx="131063" cy="129540"/>
          </a:xfrm>
          <a:prstGeom prst="rect">
            <a:avLst/>
          </a:prstGeom>
        </p:spPr>
      </p:pic>
      <p:pic>
        <p:nvPicPr>
          <p:cNvPr id="62" name="object 62"/>
          <p:cNvPicPr/>
          <p:nvPr/>
        </p:nvPicPr>
        <p:blipFill>
          <a:blip r:embed="rId29" cstate="print"/>
          <a:stretch>
            <a:fillRect/>
          </a:stretch>
        </p:blipFill>
        <p:spPr>
          <a:xfrm>
            <a:off x="3939829" y="3590797"/>
            <a:ext cx="706846" cy="709929"/>
          </a:xfrm>
          <a:prstGeom prst="rect">
            <a:avLst/>
          </a:prstGeom>
        </p:spPr>
      </p:pic>
      <p:sp>
        <p:nvSpPr>
          <p:cNvPr id="63" name="object 63"/>
          <p:cNvSpPr txBox="1"/>
          <p:nvPr/>
        </p:nvSpPr>
        <p:spPr>
          <a:xfrm>
            <a:off x="4042028" y="3739134"/>
            <a:ext cx="487680" cy="482600"/>
          </a:xfrm>
          <a:prstGeom prst="rect">
            <a:avLst/>
          </a:prstGeom>
        </p:spPr>
        <p:txBody>
          <a:bodyPr vert="horz" wrap="square" lIns="0" tIns="12065" rIns="0" bIns="0" rtlCol="0">
            <a:spAutoFit/>
          </a:bodyPr>
          <a:lstStyle/>
          <a:p>
            <a:pPr marL="12700" marR="5080" lvl="0" indent="1270" algn="ctr" defTabSz="914400" rtl="0" eaLnBrk="1" fontAlgn="auto" latinLnBrk="0" hangingPunct="1">
              <a:lnSpc>
                <a:spcPct val="100000"/>
              </a:lnSpc>
              <a:spcBef>
                <a:spcPts val="95"/>
              </a:spcBef>
              <a:spcAft>
                <a:spcPts val="0"/>
              </a:spcAft>
              <a:buClrTx/>
              <a:buSzTx/>
              <a:buFontTx/>
              <a:buNone/>
              <a:tabLst/>
              <a:defRPr/>
            </a:pPr>
            <a:r>
              <a:rPr kumimoji="0" sz="1000" b="0" i="0" u="none" strike="noStrike" kern="0" cap="none" spc="-10" normalizeH="0" baseline="0" noProof="0" dirty="0">
                <a:ln>
                  <a:noFill/>
                </a:ln>
                <a:solidFill>
                  <a:srgbClr val="FFFFFF"/>
                </a:solidFill>
                <a:effectLst/>
                <a:uLnTx/>
                <a:uFillTx/>
                <a:latin typeface="Trebuchet MS"/>
                <a:ea typeface="+mn-ea"/>
                <a:cs typeface="Trebuchet MS"/>
              </a:rPr>
              <a:t>Immune effector </a:t>
            </a:r>
            <a:r>
              <a:rPr kumimoji="0" sz="1000" b="0" i="0" u="none" strike="noStrike" kern="0" cap="none" spc="-20" normalizeH="0" baseline="0" noProof="0" dirty="0">
                <a:ln>
                  <a:noFill/>
                </a:ln>
                <a:solidFill>
                  <a:srgbClr val="FFFFFF"/>
                </a:solidFill>
                <a:effectLst/>
                <a:uLnTx/>
                <a:uFillTx/>
                <a:latin typeface="Trebuchet MS"/>
                <a:ea typeface="+mn-ea"/>
                <a:cs typeface="Trebuchet MS"/>
              </a:rPr>
              <a:t>cell</a:t>
            </a:r>
            <a:endParaRPr kumimoji="0" sz="1000" b="0" i="0" u="none" strike="noStrike" kern="0" cap="none" spc="0" normalizeH="0" baseline="0" noProof="0">
              <a:ln>
                <a:noFill/>
              </a:ln>
              <a:solidFill>
                <a:sysClr val="windowText" lastClr="000000"/>
              </a:solidFill>
              <a:effectLst/>
              <a:uLnTx/>
              <a:uFillTx/>
              <a:latin typeface="Trebuchet MS"/>
              <a:ea typeface="+mn-ea"/>
              <a:cs typeface="Trebuchet MS"/>
            </a:endParaRPr>
          </a:p>
        </p:txBody>
      </p:sp>
      <p:grpSp>
        <p:nvGrpSpPr>
          <p:cNvPr id="64" name="object 64"/>
          <p:cNvGrpSpPr/>
          <p:nvPr/>
        </p:nvGrpSpPr>
        <p:grpSpPr>
          <a:xfrm>
            <a:off x="3573779" y="3616705"/>
            <a:ext cx="2240280" cy="1784985"/>
            <a:chOff x="3573779" y="3616705"/>
            <a:chExt cx="2240280" cy="1784985"/>
          </a:xfrm>
        </p:grpSpPr>
        <p:pic>
          <p:nvPicPr>
            <p:cNvPr id="65" name="object 65"/>
            <p:cNvPicPr/>
            <p:nvPr/>
          </p:nvPicPr>
          <p:blipFill>
            <a:blip r:embed="rId30" cstate="print"/>
            <a:stretch>
              <a:fillRect/>
            </a:stretch>
          </p:blipFill>
          <p:spPr>
            <a:xfrm>
              <a:off x="3573779" y="4685030"/>
              <a:ext cx="707342" cy="716172"/>
            </a:xfrm>
            <a:prstGeom prst="rect">
              <a:avLst/>
            </a:prstGeom>
          </p:spPr>
        </p:pic>
        <p:pic>
          <p:nvPicPr>
            <p:cNvPr id="66" name="object 66"/>
            <p:cNvPicPr/>
            <p:nvPr/>
          </p:nvPicPr>
          <p:blipFill>
            <a:blip r:embed="rId31" cstate="print"/>
            <a:stretch>
              <a:fillRect/>
            </a:stretch>
          </p:blipFill>
          <p:spPr>
            <a:xfrm>
              <a:off x="4309703" y="4685030"/>
              <a:ext cx="705780" cy="716172"/>
            </a:xfrm>
            <a:prstGeom prst="rect">
              <a:avLst/>
            </a:prstGeom>
          </p:spPr>
        </p:pic>
        <p:pic>
          <p:nvPicPr>
            <p:cNvPr id="67" name="object 67"/>
            <p:cNvPicPr/>
            <p:nvPr/>
          </p:nvPicPr>
          <p:blipFill>
            <a:blip r:embed="rId32" cstate="print"/>
            <a:stretch>
              <a:fillRect/>
            </a:stretch>
          </p:blipFill>
          <p:spPr>
            <a:xfrm>
              <a:off x="5131307" y="3616705"/>
              <a:ext cx="682609" cy="679450"/>
            </a:xfrm>
            <a:prstGeom prst="rect">
              <a:avLst/>
            </a:prstGeom>
          </p:spPr>
        </p:pic>
      </p:grpSp>
      <p:sp>
        <p:nvSpPr>
          <p:cNvPr id="68" name="object 68"/>
          <p:cNvSpPr txBox="1"/>
          <p:nvPr/>
        </p:nvSpPr>
        <p:spPr>
          <a:xfrm>
            <a:off x="5276850" y="3776217"/>
            <a:ext cx="389890" cy="330200"/>
          </a:xfrm>
          <a:prstGeom prst="rect">
            <a:avLst/>
          </a:prstGeom>
        </p:spPr>
        <p:txBody>
          <a:bodyPr vert="horz" wrap="square" lIns="0" tIns="12065" rIns="0" bIns="0" rtlCol="0">
            <a:spAutoFit/>
          </a:bodyPr>
          <a:lstStyle/>
          <a:p>
            <a:pPr marL="91440" marR="5080" lvl="0" indent="-79375" algn="l" defTabSz="914400" rtl="0" eaLnBrk="1" fontAlgn="auto" latinLnBrk="0" hangingPunct="1">
              <a:lnSpc>
                <a:spcPct val="100000"/>
              </a:lnSpc>
              <a:spcBef>
                <a:spcPts val="95"/>
              </a:spcBef>
              <a:spcAft>
                <a:spcPts val="0"/>
              </a:spcAft>
              <a:buClrTx/>
              <a:buSzTx/>
              <a:buFontTx/>
              <a:buNone/>
              <a:tabLst/>
              <a:defRPr/>
            </a:pPr>
            <a:r>
              <a:rPr kumimoji="0" sz="1000" b="0" i="0" u="none" strike="noStrike" kern="0" cap="none" spc="-10" normalizeH="0" baseline="0" noProof="0" dirty="0">
                <a:ln>
                  <a:noFill/>
                </a:ln>
                <a:solidFill>
                  <a:srgbClr val="FFFFFF"/>
                </a:solidFill>
                <a:effectLst/>
                <a:uLnTx/>
                <a:uFillTx/>
                <a:latin typeface="Trebuchet MS"/>
                <a:ea typeface="+mn-ea"/>
                <a:cs typeface="Trebuchet MS"/>
              </a:rPr>
              <a:t>Tumor </a:t>
            </a:r>
            <a:r>
              <a:rPr kumimoji="0" sz="1000" b="0" i="0" u="none" strike="noStrike" kern="0" cap="none" spc="-20" normalizeH="0" baseline="0" noProof="0" dirty="0">
                <a:ln>
                  <a:noFill/>
                </a:ln>
                <a:solidFill>
                  <a:srgbClr val="FFFFFF"/>
                </a:solidFill>
                <a:effectLst/>
                <a:uLnTx/>
                <a:uFillTx/>
                <a:latin typeface="Trebuchet MS"/>
                <a:ea typeface="+mn-ea"/>
                <a:cs typeface="Trebuchet MS"/>
              </a:rPr>
              <a:t>cell</a:t>
            </a:r>
            <a:endParaRPr kumimoji="0" sz="1000" b="0" i="0" u="none" strike="noStrike" kern="0" cap="none" spc="0" normalizeH="0" baseline="0" noProof="0">
              <a:ln>
                <a:noFill/>
              </a:ln>
              <a:solidFill>
                <a:sysClr val="windowText" lastClr="000000"/>
              </a:solidFill>
              <a:effectLst/>
              <a:uLnTx/>
              <a:uFillTx/>
              <a:latin typeface="Trebuchet MS"/>
              <a:ea typeface="+mn-ea"/>
              <a:cs typeface="Trebuchet MS"/>
            </a:endParaRPr>
          </a:p>
        </p:txBody>
      </p:sp>
      <p:sp>
        <p:nvSpPr>
          <p:cNvPr id="69" name="object 69"/>
          <p:cNvSpPr/>
          <p:nvPr/>
        </p:nvSpPr>
        <p:spPr>
          <a:xfrm>
            <a:off x="324611" y="1338072"/>
            <a:ext cx="617220" cy="609600"/>
          </a:xfrm>
          <a:custGeom>
            <a:avLst/>
            <a:gdLst/>
            <a:ahLst/>
            <a:cxnLst/>
            <a:rect l="l" t="t" r="r" b="b"/>
            <a:pathLst>
              <a:path w="617219" h="609600">
                <a:moveTo>
                  <a:pt x="308610" y="0"/>
                </a:moveTo>
                <a:lnTo>
                  <a:pt x="258550" y="3990"/>
                </a:lnTo>
                <a:lnTo>
                  <a:pt x="211063" y="15544"/>
                </a:lnTo>
                <a:lnTo>
                  <a:pt x="166783" y="34032"/>
                </a:lnTo>
                <a:lnTo>
                  <a:pt x="126346" y="58826"/>
                </a:lnTo>
                <a:lnTo>
                  <a:pt x="90387" y="89296"/>
                </a:lnTo>
                <a:lnTo>
                  <a:pt x="59542" y="124815"/>
                </a:lnTo>
                <a:lnTo>
                  <a:pt x="34445" y="164753"/>
                </a:lnTo>
                <a:lnTo>
                  <a:pt x="15732" y="208483"/>
                </a:lnTo>
                <a:lnTo>
                  <a:pt x="4039" y="255374"/>
                </a:lnTo>
                <a:lnTo>
                  <a:pt x="0" y="304800"/>
                </a:lnTo>
                <a:lnTo>
                  <a:pt x="4039" y="354225"/>
                </a:lnTo>
                <a:lnTo>
                  <a:pt x="15732" y="401116"/>
                </a:lnTo>
                <a:lnTo>
                  <a:pt x="34445" y="444846"/>
                </a:lnTo>
                <a:lnTo>
                  <a:pt x="59542" y="484784"/>
                </a:lnTo>
                <a:lnTo>
                  <a:pt x="90387" y="520303"/>
                </a:lnTo>
                <a:lnTo>
                  <a:pt x="126346" y="550773"/>
                </a:lnTo>
                <a:lnTo>
                  <a:pt x="166783" y="575567"/>
                </a:lnTo>
                <a:lnTo>
                  <a:pt x="211063" y="594055"/>
                </a:lnTo>
                <a:lnTo>
                  <a:pt x="258550" y="605609"/>
                </a:lnTo>
                <a:lnTo>
                  <a:pt x="308610" y="609600"/>
                </a:lnTo>
                <a:lnTo>
                  <a:pt x="358669" y="605609"/>
                </a:lnTo>
                <a:lnTo>
                  <a:pt x="406156" y="594055"/>
                </a:lnTo>
                <a:lnTo>
                  <a:pt x="450436" y="575567"/>
                </a:lnTo>
                <a:lnTo>
                  <a:pt x="490873" y="550773"/>
                </a:lnTo>
                <a:lnTo>
                  <a:pt x="526832" y="520303"/>
                </a:lnTo>
                <a:lnTo>
                  <a:pt x="557677" y="484784"/>
                </a:lnTo>
                <a:lnTo>
                  <a:pt x="582774" y="444846"/>
                </a:lnTo>
                <a:lnTo>
                  <a:pt x="601487" y="401116"/>
                </a:lnTo>
                <a:lnTo>
                  <a:pt x="613180" y="354225"/>
                </a:lnTo>
                <a:lnTo>
                  <a:pt x="617219" y="304800"/>
                </a:lnTo>
                <a:lnTo>
                  <a:pt x="613180" y="255374"/>
                </a:lnTo>
                <a:lnTo>
                  <a:pt x="601487" y="208483"/>
                </a:lnTo>
                <a:lnTo>
                  <a:pt x="582774" y="164753"/>
                </a:lnTo>
                <a:lnTo>
                  <a:pt x="557677" y="124815"/>
                </a:lnTo>
                <a:lnTo>
                  <a:pt x="526832" y="89296"/>
                </a:lnTo>
                <a:lnTo>
                  <a:pt x="490873" y="58826"/>
                </a:lnTo>
                <a:lnTo>
                  <a:pt x="450436" y="34032"/>
                </a:lnTo>
                <a:lnTo>
                  <a:pt x="406156" y="15544"/>
                </a:lnTo>
                <a:lnTo>
                  <a:pt x="358669" y="3990"/>
                </a:lnTo>
                <a:lnTo>
                  <a:pt x="308610" y="0"/>
                </a:lnTo>
                <a:close/>
              </a:path>
            </a:pathLst>
          </a:custGeom>
          <a:solidFill>
            <a:srgbClr val="974A4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0" name="object 70"/>
          <p:cNvSpPr txBox="1"/>
          <p:nvPr/>
        </p:nvSpPr>
        <p:spPr>
          <a:xfrm>
            <a:off x="417372" y="1459738"/>
            <a:ext cx="447675" cy="346710"/>
          </a:xfrm>
          <a:prstGeom prst="rect">
            <a:avLst/>
          </a:prstGeom>
        </p:spPr>
        <p:txBody>
          <a:bodyPr vert="horz" wrap="square" lIns="0" tIns="13335" rIns="0" bIns="0" rtlCol="0">
            <a:spAutoFit/>
          </a:bodyPr>
          <a:lstStyle/>
          <a:p>
            <a:pPr marL="12700" marR="5080" lvl="0" indent="0" algn="l" defTabSz="914400" rtl="0" eaLnBrk="1" fontAlgn="auto" latinLnBrk="0" hangingPunct="1">
              <a:lnSpc>
                <a:spcPct val="100000"/>
              </a:lnSpc>
              <a:spcBef>
                <a:spcPts val="105"/>
              </a:spcBef>
              <a:spcAft>
                <a:spcPts val="0"/>
              </a:spcAft>
              <a:buClrTx/>
              <a:buSzTx/>
              <a:buFontTx/>
              <a:buNone/>
              <a:tabLst/>
              <a:defRPr/>
            </a:pPr>
            <a:r>
              <a:rPr kumimoji="0" sz="1050" b="0" i="0" u="none" strike="noStrike" kern="0" cap="none" spc="-10" normalizeH="0" baseline="0" noProof="0" dirty="0">
                <a:ln>
                  <a:noFill/>
                </a:ln>
                <a:solidFill>
                  <a:srgbClr val="FFFFFF"/>
                </a:solidFill>
                <a:effectLst/>
                <a:uLnTx/>
                <a:uFillTx/>
                <a:latin typeface="Trebuchet MS"/>
                <a:ea typeface="+mn-ea"/>
                <a:cs typeface="Trebuchet MS"/>
              </a:rPr>
              <a:t>Ikaros/ Aiolos</a:t>
            </a:r>
            <a:endParaRPr kumimoji="0" sz="1050" b="0" i="0" u="none" strike="noStrike" kern="0" cap="none" spc="0" normalizeH="0" baseline="0" noProof="0">
              <a:ln>
                <a:noFill/>
              </a:ln>
              <a:solidFill>
                <a:sysClr val="windowText" lastClr="000000"/>
              </a:solidFill>
              <a:effectLst/>
              <a:uLnTx/>
              <a:uFillTx/>
              <a:latin typeface="Trebuchet MS"/>
              <a:ea typeface="+mn-ea"/>
              <a:cs typeface="Trebuchet MS"/>
            </a:endParaRPr>
          </a:p>
        </p:txBody>
      </p:sp>
      <p:sp>
        <p:nvSpPr>
          <p:cNvPr id="71" name="object 71"/>
          <p:cNvSpPr/>
          <p:nvPr/>
        </p:nvSpPr>
        <p:spPr>
          <a:xfrm>
            <a:off x="1046988" y="2266188"/>
            <a:ext cx="617220" cy="609600"/>
          </a:xfrm>
          <a:custGeom>
            <a:avLst/>
            <a:gdLst/>
            <a:ahLst/>
            <a:cxnLst/>
            <a:rect l="l" t="t" r="r" b="b"/>
            <a:pathLst>
              <a:path w="617219" h="609600">
                <a:moveTo>
                  <a:pt x="308609" y="0"/>
                </a:moveTo>
                <a:lnTo>
                  <a:pt x="258550" y="3990"/>
                </a:lnTo>
                <a:lnTo>
                  <a:pt x="211063" y="15544"/>
                </a:lnTo>
                <a:lnTo>
                  <a:pt x="166783" y="34032"/>
                </a:lnTo>
                <a:lnTo>
                  <a:pt x="126346" y="58826"/>
                </a:lnTo>
                <a:lnTo>
                  <a:pt x="90387" y="89296"/>
                </a:lnTo>
                <a:lnTo>
                  <a:pt x="59542" y="124815"/>
                </a:lnTo>
                <a:lnTo>
                  <a:pt x="34445" y="164753"/>
                </a:lnTo>
                <a:lnTo>
                  <a:pt x="15732" y="208483"/>
                </a:lnTo>
                <a:lnTo>
                  <a:pt x="4039" y="255374"/>
                </a:lnTo>
                <a:lnTo>
                  <a:pt x="0" y="304800"/>
                </a:lnTo>
                <a:lnTo>
                  <a:pt x="4039" y="354225"/>
                </a:lnTo>
                <a:lnTo>
                  <a:pt x="15732" y="401116"/>
                </a:lnTo>
                <a:lnTo>
                  <a:pt x="34445" y="444846"/>
                </a:lnTo>
                <a:lnTo>
                  <a:pt x="59542" y="484784"/>
                </a:lnTo>
                <a:lnTo>
                  <a:pt x="90387" y="520303"/>
                </a:lnTo>
                <a:lnTo>
                  <a:pt x="126346" y="550773"/>
                </a:lnTo>
                <a:lnTo>
                  <a:pt x="166783" y="575567"/>
                </a:lnTo>
                <a:lnTo>
                  <a:pt x="211063" y="594055"/>
                </a:lnTo>
                <a:lnTo>
                  <a:pt x="258550" y="605609"/>
                </a:lnTo>
                <a:lnTo>
                  <a:pt x="308609" y="609600"/>
                </a:lnTo>
                <a:lnTo>
                  <a:pt x="358666" y="605609"/>
                </a:lnTo>
                <a:lnTo>
                  <a:pt x="406152" y="594055"/>
                </a:lnTo>
                <a:lnTo>
                  <a:pt x="450431" y="575567"/>
                </a:lnTo>
                <a:lnTo>
                  <a:pt x="490868" y="550773"/>
                </a:lnTo>
                <a:lnTo>
                  <a:pt x="526827" y="520303"/>
                </a:lnTo>
                <a:lnTo>
                  <a:pt x="557674" y="484784"/>
                </a:lnTo>
                <a:lnTo>
                  <a:pt x="582772" y="444846"/>
                </a:lnTo>
                <a:lnTo>
                  <a:pt x="601486" y="401116"/>
                </a:lnTo>
                <a:lnTo>
                  <a:pt x="613180" y="354225"/>
                </a:lnTo>
                <a:lnTo>
                  <a:pt x="617219" y="304800"/>
                </a:lnTo>
                <a:lnTo>
                  <a:pt x="613180" y="255374"/>
                </a:lnTo>
                <a:lnTo>
                  <a:pt x="601486" y="208483"/>
                </a:lnTo>
                <a:lnTo>
                  <a:pt x="582772" y="164753"/>
                </a:lnTo>
                <a:lnTo>
                  <a:pt x="557674" y="124815"/>
                </a:lnTo>
                <a:lnTo>
                  <a:pt x="526827" y="89296"/>
                </a:lnTo>
                <a:lnTo>
                  <a:pt x="490868" y="58826"/>
                </a:lnTo>
                <a:lnTo>
                  <a:pt x="450431" y="34032"/>
                </a:lnTo>
                <a:lnTo>
                  <a:pt x="406152" y="15544"/>
                </a:lnTo>
                <a:lnTo>
                  <a:pt x="358666" y="3990"/>
                </a:lnTo>
                <a:lnTo>
                  <a:pt x="308609" y="0"/>
                </a:lnTo>
                <a:close/>
              </a:path>
            </a:pathLst>
          </a:custGeom>
          <a:solidFill>
            <a:srgbClr val="974A4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2" name="object 72"/>
          <p:cNvSpPr txBox="1"/>
          <p:nvPr/>
        </p:nvSpPr>
        <p:spPr>
          <a:xfrm>
            <a:off x="1163827" y="2365628"/>
            <a:ext cx="447675" cy="346710"/>
          </a:xfrm>
          <a:prstGeom prst="rect">
            <a:avLst/>
          </a:prstGeom>
        </p:spPr>
        <p:txBody>
          <a:bodyPr vert="horz" wrap="square" lIns="0" tIns="13335" rIns="0" bIns="0" rtlCol="0">
            <a:spAutoFit/>
          </a:bodyPr>
          <a:lstStyle/>
          <a:p>
            <a:pPr marL="12700" marR="5080" lvl="0" indent="0" algn="l" defTabSz="914400" rtl="0" eaLnBrk="1" fontAlgn="auto" latinLnBrk="0" hangingPunct="1">
              <a:lnSpc>
                <a:spcPct val="100000"/>
              </a:lnSpc>
              <a:spcBef>
                <a:spcPts val="105"/>
              </a:spcBef>
              <a:spcAft>
                <a:spcPts val="0"/>
              </a:spcAft>
              <a:buClrTx/>
              <a:buSzTx/>
              <a:buFontTx/>
              <a:buNone/>
              <a:tabLst/>
              <a:defRPr/>
            </a:pPr>
            <a:r>
              <a:rPr kumimoji="0" sz="1050" b="0" i="0" u="none" strike="noStrike" kern="0" cap="none" spc="-10" normalizeH="0" baseline="0" noProof="0" dirty="0">
                <a:ln>
                  <a:noFill/>
                </a:ln>
                <a:solidFill>
                  <a:srgbClr val="FFFFFF"/>
                </a:solidFill>
                <a:effectLst/>
                <a:uLnTx/>
                <a:uFillTx/>
                <a:latin typeface="Trebuchet MS"/>
                <a:ea typeface="+mn-ea"/>
                <a:cs typeface="Trebuchet MS"/>
              </a:rPr>
              <a:t>Ikaros/ Aiolos</a:t>
            </a:r>
            <a:endParaRPr kumimoji="0" sz="1050" b="0" i="0" u="none" strike="noStrike" kern="0" cap="none" spc="0" normalizeH="0" baseline="0" noProof="0">
              <a:ln>
                <a:noFill/>
              </a:ln>
              <a:solidFill>
                <a:sysClr val="windowText" lastClr="000000"/>
              </a:solidFill>
              <a:effectLst/>
              <a:uLnTx/>
              <a:uFillTx/>
              <a:latin typeface="Trebuchet MS"/>
              <a:ea typeface="+mn-ea"/>
              <a:cs typeface="Trebuchet MS"/>
            </a:endParaRPr>
          </a:p>
        </p:txBody>
      </p:sp>
      <p:grpSp>
        <p:nvGrpSpPr>
          <p:cNvPr id="73" name="object 73"/>
          <p:cNvGrpSpPr/>
          <p:nvPr/>
        </p:nvGrpSpPr>
        <p:grpSpPr>
          <a:xfrm>
            <a:off x="1289303" y="2726435"/>
            <a:ext cx="2233295" cy="412115"/>
            <a:chOff x="1289303" y="2726435"/>
            <a:chExt cx="2233295" cy="412115"/>
          </a:xfrm>
        </p:grpSpPr>
        <p:sp>
          <p:nvSpPr>
            <p:cNvPr id="74" name="object 74"/>
            <p:cNvSpPr/>
            <p:nvPr/>
          </p:nvSpPr>
          <p:spPr>
            <a:xfrm>
              <a:off x="1289304" y="2726435"/>
              <a:ext cx="2226945" cy="405765"/>
            </a:xfrm>
            <a:custGeom>
              <a:avLst/>
              <a:gdLst/>
              <a:ahLst/>
              <a:cxnLst/>
              <a:rect l="l" t="t" r="r" b="b"/>
              <a:pathLst>
                <a:path w="2226945" h="405764">
                  <a:moveTo>
                    <a:pt x="377952" y="175260"/>
                  </a:moveTo>
                  <a:lnTo>
                    <a:pt x="290322" y="0"/>
                  </a:lnTo>
                  <a:lnTo>
                    <a:pt x="87630" y="0"/>
                  </a:lnTo>
                  <a:lnTo>
                    <a:pt x="0" y="175260"/>
                  </a:lnTo>
                  <a:lnTo>
                    <a:pt x="87630" y="350520"/>
                  </a:lnTo>
                  <a:lnTo>
                    <a:pt x="290322" y="350520"/>
                  </a:lnTo>
                  <a:lnTo>
                    <a:pt x="377952" y="175260"/>
                  </a:lnTo>
                  <a:close/>
                </a:path>
                <a:path w="2226945" h="405764">
                  <a:moveTo>
                    <a:pt x="2226564" y="105664"/>
                  </a:moveTo>
                  <a:lnTo>
                    <a:pt x="2221852" y="82321"/>
                  </a:lnTo>
                  <a:lnTo>
                    <a:pt x="2209012" y="63271"/>
                  </a:lnTo>
                  <a:lnTo>
                    <a:pt x="2189962" y="50431"/>
                  </a:lnTo>
                  <a:lnTo>
                    <a:pt x="2166620" y="45720"/>
                  </a:lnTo>
                  <a:lnTo>
                    <a:pt x="629920" y="45720"/>
                  </a:lnTo>
                  <a:lnTo>
                    <a:pt x="606564" y="50431"/>
                  </a:lnTo>
                  <a:lnTo>
                    <a:pt x="587514" y="63271"/>
                  </a:lnTo>
                  <a:lnTo>
                    <a:pt x="574675" y="82321"/>
                  </a:lnTo>
                  <a:lnTo>
                    <a:pt x="569976" y="105664"/>
                  </a:lnTo>
                  <a:lnTo>
                    <a:pt x="569976" y="345440"/>
                  </a:lnTo>
                  <a:lnTo>
                    <a:pt x="574675" y="368795"/>
                  </a:lnTo>
                  <a:lnTo>
                    <a:pt x="587514" y="387845"/>
                  </a:lnTo>
                  <a:lnTo>
                    <a:pt x="606564" y="400685"/>
                  </a:lnTo>
                  <a:lnTo>
                    <a:pt x="629920" y="405384"/>
                  </a:lnTo>
                  <a:lnTo>
                    <a:pt x="2166620" y="405384"/>
                  </a:lnTo>
                  <a:lnTo>
                    <a:pt x="2189962" y="400685"/>
                  </a:lnTo>
                  <a:lnTo>
                    <a:pt x="2209012" y="387845"/>
                  </a:lnTo>
                  <a:lnTo>
                    <a:pt x="2221852" y="368795"/>
                  </a:lnTo>
                  <a:lnTo>
                    <a:pt x="2226564" y="345440"/>
                  </a:lnTo>
                  <a:lnTo>
                    <a:pt x="2226564" y="105664"/>
                  </a:lnTo>
                  <a:close/>
                </a:path>
              </a:pathLst>
            </a:custGeom>
            <a:solidFill>
              <a:srgbClr val="51B68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5" name="object 75"/>
            <p:cNvSpPr/>
            <p:nvPr/>
          </p:nvSpPr>
          <p:spPr>
            <a:xfrm>
              <a:off x="1859279" y="2772155"/>
              <a:ext cx="1656714" cy="360045"/>
            </a:xfrm>
            <a:custGeom>
              <a:avLst/>
              <a:gdLst/>
              <a:ahLst/>
              <a:cxnLst/>
              <a:rect l="l" t="t" r="r" b="b"/>
              <a:pathLst>
                <a:path w="1656714" h="360044">
                  <a:moveTo>
                    <a:pt x="0" y="59944"/>
                  </a:moveTo>
                  <a:lnTo>
                    <a:pt x="4704" y="36593"/>
                  </a:lnTo>
                  <a:lnTo>
                    <a:pt x="17541" y="17541"/>
                  </a:lnTo>
                  <a:lnTo>
                    <a:pt x="36593" y="4704"/>
                  </a:lnTo>
                  <a:lnTo>
                    <a:pt x="59943" y="0"/>
                  </a:lnTo>
                  <a:lnTo>
                    <a:pt x="1596644" y="0"/>
                  </a:lnTo>
                  <a:lnTo>
                    <a:pt x="1619994" y="4704"/>
                  </a:lnTo>
                  <a:lnTo>
                    <a:pt x="1639046" y="17541"/>
                  </a:lnTo>
                  <a:lnTo>
                    <a:pt x="1651883" y="36593"/>
                  </a:lnTo>
                  <a:lnTo>
                    <a:pt x="1656587" y="59944"/>
                  </a:lnTo>
                  <a:lnTo>
                    <a:pt x="1656587" y="299720"/>
                  </a:lnTo>
                  <a:lnTo>
                    <a:pt x="1651883" y="323070"/>
                  </a:lnTo>
                  <a:lnTo>
                    <a:pt x="1639046" y="342122"/>
                  </a:lnTo>
                  <a:lnTo>
                    <a:pt x="1619994" y="354959"/>
                  </a:lnTo>
                  <a:lnTo>
                    <a:pt x="1596644" y="359664"/>
                  </a:lnTo>
                  <a:lnTo>
                    <a:pt x="59943" y="359664"/>
                  </a:lnTo>
                  <a:lnTo>
                    <a:pt x="36593" y="354959"/>
                  </a:lnTo>
                  <a:lnTo>
                    <a:pt x="17541" y="342122"/>
                  </a:lnTo>
                  <a:lnTo>
                    <a:pt x="4704" y="323070"/>
                  </a:lnTo>
                  <a:lnTo>
                    <a:pt x="0" y="299720"/>
                  </a:lnTo>
                  <a:lnTo>
                    <a:pt x="0" y="59944"/>
                  </a:lnTo>
                  <a:close/>
                </a:path>
              </a:pathLst>
            </a:custGeom>
            <a:ln w="12700">
              <a:solidFill>
                <a:srgbClr val="58535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76" name="object 76"/>
          <p:cNvSpPr txBox="1"/>
          <p:nvPr/>
        </p:nvSpPr>
        <p:spPr>
          <a:xfrm>
            <a:off x="1905761" y="2779217"/>
            <a:ext cx="1563370" cy="331470"/>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2000" b="1" i="0" u="none" strike="noStrike" kern="0" cap="none" spc="-10" normalizeH="0" baseline="0" noProof="0" dirty="0">
                <a:ln>
                  <a:noFill/>
                </a:ln>
                <a:solidFill>
                  <a:srgbClr val="FFFFFF"/>
                </a:solidFill>
                <a:effectLst/>
                <a:uLnTx/>
                <a:uFillTx/>
                <a:latin typeface="Trebuchet MS"/>
                <a:ea typeface="+mn-ea"/>
                <a:cs typeface="Trebuchet MS"/>
              </a:rPr>
              <a:t>Golcadomide</a:t>
            </a:r>
            <a:endParaRPr kumimoji="0" sz="2000" b="0" i="0" u="none" strike="noStrike" kern="0" cap="none" spc="0" normalizeH="0" baseline="0" noProof="0">
              <a:ln>
                <a:noFill/>
              </a:ln>
              <a:solidFill>
                <a:sysClr val="windowText" lastClr="000000"/>
              </a:solidFill>
              <a:effectLst/>
              <a:uLnTx/>
              <a:uFillTx/>
              <a:latin typeface="Trebuchet MS"/>
              <a:ea typeface="+mn-ea"/>
              <a:cs typeface="Trebuchet MS"/>
            </a:endParaRPr>
          </a:p>
        </p:txBody>
      </p:sp>
      <p:sp>
        <p:nvSpPr>
          <p:cNvPr id="77" name="object 77"/>
          <p:cNvSpPr/>
          <p:nvPr/>
        </p:nvSpPr>
        <p:spPr>
          <a:xfrm>
            <a:off x="1479945" y="2885058"/>
            <a:ext cx="379730" cy="76200"/>
          </a:xfrm>
          <a:custGeom>
            <a:avLst/>
            <a:gdLst/>
            <a:ahLst/>
            <a:cxnLst/>
            <a:rect l="l" t="t" r="r" b="b"/>
            <a:pathLst>
              <a:path w="379730" h="76200">
                <a:moveTo>
                  <a:pt x="41260" y="0"/>
                </a:moveTo>
                <a:lnTo>
                  <a:pt x="4238" y="20163"/>
                </a:lnTo>
                <a:lnTo>
                  <a:pt x="0" y="34797"/>
                </a:lnTo>
                <a:lnTo>
                  <a:pt x="1705" y="49710"/>
                </a:lnTo>
                <a:lnTo>
                  <a:pt x="8796" y="62499"/>
                </a:lnTo>
                <a:lnTo>
                  <a:pt x="20148" y="71693"/>
                </a:lnTo>
                <a:lnTo>
                  <a:pt x="34656" y="75945"/>
                </a:lnTo>
                <a:lnTo>
                  <a:pt x="49696" y="74225"/>
                </a:lnTo>
                <a:lnTo>
                  <a:pt x="62485" y="67135"/>
                </a:lnTo>
                <a:lnTo>
                  <a:pt x="71679" y="55782"/>
                </a:lnTo>
                <a:lnTo>
                  <a:pt x="74108" y="47492"/>
                </a:lnTo>
                <a:lnTo>
                  <a:pt x="37450" y="44323"/>
                </a:lnTo>
                <a:lnTo>
                  <a:pt x="38466" y="31623"/>
                </a:lnTo>
                <a:lnTo>
                  <a:pt x="74827" y="31623"/>
                </a:lnTo>
                <a:lnTo>
                  <a:pt x="74211" y="26235"/>
                </a:lnTo>
                <a:lnTo>
                  <a:pt x="67120" y="13446"/>
                </a:lnTo>
                <a:lnTo>
                  <a:pt x="55768" y="4252"/>
                </a:lnTo>
                <a:lnTo>
                  <a:pt x="41260" y="0"/>
                </a:lnTo>
                <a:close/>
              </a:path>
              <a:path w="379730" h="76200">
                <a:moveTo>
                  <a:pt x="75190" y="34797"/>
                </a:moveTo>
                <a:lnTo>
                  <a:pt x="75931" y="41275"/>
                </a:lnTo>
                <a:lnTo>
                  <a:pt x="74108" y="47492"/>
                </a:lnTo>
                <a:lnTo>
                  <a:pt x="378191" y="73787"/>
                </a:lnTo>
                <a:lnTo>
                  <a:pt x="379334" y="61087"/>
                </a:lnTo>
                <a:lnTo>
                  <a:pt x="75190" y="34797"/>
                </a:lnTo>
                <a:close/>
              </a:path>
              <a:path w="379730" h="76200">
                <a:moveTo>
                  <a:pt x="38466" y="31623"/>
                </a:moveTo>
                <a:lnTo>
                  <a:pt x="37450" y="44323"/>
                </a:lnTo>
                <a:lnTo>
                  <a:pt x="74108" y="47492"/>
                </a:lnTo>
                <a:lnTo>
                  <a:pt x="75931" y="41275"/>
                </a:lnTo>
                <a:lnTo>
                  <a:pt x="75190" y="34797"/>
                </a:lnTo>
                <a:lnTo>
                  <a:pt x="38466" y="31623"/>
                </a:lnTo>
                <a:close/>
              </a:path>
              <a:path w="379730" h="76200">
                <a:moveTo>
                  <a:pt x="74827" y="31623"/>
                </a:moveTo>
                <a:lnTo>
                  <a:pt x="38466" y="31623"/>
                </a:lnTo>
                <a:lnTo>
                  <a:pt x="75190" y="34797"/>
                </a:lnTo>
                <a:lnTo>
                  <a:pt x="74827" y="31623"/>
                </a:lnTo>
                <a:close/>
              </a:path>
            </a:pathLst>
          </a:custGeom>
          <a:solidFill>
            <a:srgbClr val="58535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8" name="object 78" descr="$PPTXTitle"/>
          <p:cNvSpPr txBox="1">
            <a:spLocks noGrp="1"/>
          </p:cNvSpPr>
          <p:nvPr>
            <p:ph type="title"/>
          </p:nvPr>
        </p:nvSpPr>
        <p:spPr>
          <a:xfrm>
            <a:off x="386181" y="75438"/>
            <a:ext cx="11351260" cy="775801"/>
          </a:xfrm>
          <a:prstGeom prst="rect">
            <a:avLst/>
          </a:prstGeom>
        </p:spPr>
        <p:txBody>
          <a:bodyPr vert="horz" wrap="square" lIns="0" tIns="341578" rIns="0" bIns="0" rtlCol="0">
            <a:spAutoFit/>
          </a:bodyPr>
          <a:lstStyle/>
          <a:p>
            <a:pPr marL="38100">
              <a:lnSpc>
                <a:spcPct val="100000"/>
              </a:lnSpc>
              <a:spcBef>
                <a:spcPts val="100"/>
              </a:spcBef>
            </a:pPr>
            <a:r>
              <a:rPr sz="2800" dirty="0">
                <a:solidFill>
                  <a:srgbClr val="002060"/>
                </a:solidFill>
                <a:latin typeface="Calibri" panose="020F0502020204030204" pitchFamily="34" charset="0"/>
                <a:cs typeface="Calibri" panose="020F0502020204030204" pitchFamily="34" charset="0"/>
              </a:rPr>
              <a:t>Golcadomide</a:t>
            </a:r>
            <a:r>
              <a:rPr sz="2800" spc="-45" dirty="0">
                <a:solidFill>
                  <a:srgbClr val="002060"/>
                </a:solidFill>
                <a:latin typeface="Calibri" panose="020F0502020204030204" pitchFamily="34" charset="0"/>
                <a:cs typeface="Calibri" panose="020F0502020204030204" pitchFamily="34" charset="0"/>
              </a:rPr>
              <a:t> </a:t>
            </a:r>
            <a:r>
              <a:rPr sz="2800" dirty="0">
                <a:solidFill>
                  <a:srgbClr val="002060"/>
                </a:solidFill>
                <a:latin typeface="Calibri" panose="020F0502020204030204" pitchFamily="34" charset="0"/>
                <a:cs typeface="Calibri" panose="020F0502020204030204" pitchFamily="34" charset="0"/>
              </a:rPr>
              <a:t>is</a:t>
            </a:r>
            <a:r>
              <a:rPr sz="2800" spc="-45" dirty="0">
                <a:solidFill>
                  <a:srgbClr val="002060"/>
                </a:solidFill>
                <a:latin typeface="Calibri" panose="020F0502020204030204" pitchFamily="34" charset="0"/>
                <a:cs typeface="Calibri" panose="020F0502020204030204" pitchFamily="34" charset="0"/>
              </a:rPr>
              <a:t> </a:t>
            </a:r>
            <a:r>
              <a:rPr sz="2800" dirty="0">
                <a:solidFill>
                  <a:srgbClr val="002060"/>
                </a:solidFill>
                <a:latin typeface="Calibri" panose="020F0502020204030204" pitchFamily="34" charset="0"/>
                <a:cs typeface="Calibri" panose="020F0502020204030204" pitchFamily="34" charset="0"/>
              </a:rPr>
              <a:t>a</a:t>
            </a:r>
            <a:r>
              <a:rPr sz="2800" spc="-45" dirty="0">
                <a:solidFill>
                  <a:srgbClr val="002060"/>
                </a:solidFill>
                <a:latin typeface="Calibri" panose="020F0502020204030204" pitchFamily="34" charset="0"/>
                <a:cs typeface="Calibri" panose="020F0502020204030204" pitchFamily="34" charset="0"/>
              </a:rPr>
              <a:t> </a:t>
            </a:r>
            <a:r>
              <a:rPr sz="2800" dirty="0">
                <a:solidFill>
                  <a:srgbClr val="002060"/>
                </a:solidFill>
                <a:latin typeface="Calibri" panose="020F0502020204030204" pitchFamily="34" charset="0"/>
                <a:cs typeface="Calibri" panose="020F0502020204030204" pitchFamily="34" charset="0"/>
              </a:rPr>
              <a:t>potential,</a:t>
            </a:r>
            <a:r>
              <a:rPr sz="2800" spc="-50" dirty="0">
                <a:solidFill>
                  <a:srgbClr val="002060"/>
                </a:solidFill>
                <a:latin typeface="Calibri" panose="020F0502020204030204" pitchFamily="34" charset="0"/>
                <a:cs typeface="Calibri" panose="020F0502020204030204" pitchFamily="34" charset="0"/>
              </a:rPr>
              <a:t> </a:t>
            </a:r>
            <a:r>
              <a:rPr sz="2800" spc="-10" dirty="0">
                <a:solidFill>
                  <a:srgbClr val="002060"/>
                </a:solidFill>
                <a:latin typeface="Calibri" panose="020F0502020204030204" pitchFamily="34" charset="0"/>
                <a:cs typeface="Calibri" panose="020F0502020204030204" pitchFamily="34" charset="0"/>
              </a:rPr>
              <a:t>first-in-</a:t>
            </a:r>
            <a:r>
              <a:rPr sz="2800" dirty="0">
                <a:solidFill>
                  <a:srgbClr val="002060"/>
                </a:solidFill>
                <a:latin typeface="Calibri" panose="020F0502020204030204" pitchFamily="34" charset="0"/>
                <a:cs typeface="Calibri" panose="020F0502020204030204" pitchFamily="34" charset="0"/>
              </a:rPr>
              <a:t>class,</a:t>
            </a:r>
            <a:r>
              <a:rPr sz="2800" spc="-30" dirty="0">
                <a:solidFill>
                  <a:srgbClr val="002060"/>
                </a:solidFill>
                <a:latin typeface="Calibri" panose="020F0502020204030204" pitchFamily="34" charset="0"/>
                <a:cs typeface="Calibri" panose="020F0502020204030204" pitchFamily="34" charset="0"/>
              </a:rPr>
              <a:t> </a:t>
            </a:r>
            <a:r>
              <a:rPr sz="2800" dirty="0">
                <a:solidFill>
                  <a:srgbClr val="002060"/>
                </a:solidFill>
                <a:latin typeface="Calibri" panose="020F0502020204030204" pitchFamily="34" charset="0"/>
                <a:cs typeface="Calibri" panose="020F0502020204030204" pitchFamily="34" charset="0"/>
              </a:rPr>
              <a:t>oral</a:t>
            </a:r>
            <a:r>
              <a:rPr sz="2800" spc="-25" dirty="0">
                <a:solidFill>
                  <a:srgbClr val="002060"/>
                </a:solidFill>
                <a:latin typeface="Calibri" panose="020F0502020204030204" pitchFamily="34" charset="0"/>
                <a:cs typeface="Calibri" panose="020F0502020204030204" pitchFamily="34" charset="0"/>
              </a:rPr>
              <a:t> </a:t>
            </a:r>
            <a:r>
              <a:rPr sz="2800" dirty="0">
                <a:solidFill>
                  <a:srgbClr val="002060"/>
                </a:solidFill>
                <a:latin typeface="Calibri" panose="020F0502020204030204" pitchFamily="34" charset="0"/>
                <a:cs typeface="Calibri" panose="020F0502020204030204" pitchFamily="34" charset="0"/>
              </a:rPr>
              <a:t>CELMoD™</a:t>
            </a:r>
            <a:r>
              <a:rPr sz="2800" spc="-60" dirty="0">
                <a:solidFill>
                  <a:srgbClr val="002060"/>
                </a:solidFill>
                <a:latin typeface="Calibri" panose="020F0502020204030204" pitchFamily="34" charset="0"/>
                <a:cs typeface="Calibri" panose="020F0502020204030204" pitchFamily="34" charset="0"/>
              </a:rPr>
              <a:t> </a:t>
            </a:r>
            <a:r>
              <a:rPr sz="2800" dirty="0">
                <a:solidFill>
                  <a:srgbClr val="002060"/>
                </a:solidFill>
                <a:latin typeface="Calibri" panose="020F0502020204030204" pitchFamily="34" charset="0"/>
                <a:cs typeface="Calibri" panose="020F0502020204030204" pitchFamily="34" charset="0"/>
              </a:rPr>
              <a:t>agent</a:t>
            </a:r>
            <a:r>
              <a:rPr sz="2800" spc="-70" dirty="0">
                <a:solidFill>
                  <a:srgbClr val="002060"/>
                </a:solidFill>
                <a:latin typeface="Calibri" panose="020F0502020204030204" pitchFamily="34" charset="0"/>
                <a:cs typeface="Calibri" panose="020F0502020204030204" pitchFamily="34" charset="0"/>
              </a:rPr>
              <a:t> </a:t>
            </a:r>
            <a:r>
              <a:rPr sz="2800" dirty="0">
                <a:solidFill>
                  <a:srgbClr val="002060"/>
                </a:solidFill>
                <a:latin typeface="Calibri" panose="020F0502020204030204" pitchFamily="34" charset="0"/>
                <a:cs typeface="Calibri" panose="020F0502020204030204" pitchFamily="34" charset="0"/>
              </a:rPr>
              <a:t>for</a:t>
            </a:r>
            <a:r>
              <a:rPr sz="2800" spc="-50" dirty="0">
                <a:solidFill>
                  <a:srgbClr val="002060"/>
                </a:solidFill>
                <a:latin typeface="Calibri" panose="020F0502020204030204" pitchFamily="34" charset="0"/>
                <a:cs typeface="Calibri" panose="020F0502020204030204" pitchFamily="34" charset="0"/>
              </a:rPr>
              <a:t> </a:t>
            </a:r>
            <a:r>
              <a:rPr sz="2800" spc="-25" dirty="0">
                <a:solidFill>
                  <a:srgbClr val="002060"/>
                </a:solidFill>
                <a:latin typeface="Calibri" panose="020F0502020204030204" pitchFamily="34" charset="0"/>
                <a:cs typeface="Calibri" panose="020F0502020204030204" pitchFamily="34" charset="0"/>
              </a:rPr>
              <a:t>NHL</a:t>
            </a:r>
          </a:p>
        </p:txBody>
      </p:sp>
      <p:sp>
        <p:nvSpPr>
          <p:cNvPr id="80" name="object 80"/>
          <p:cNvSpPr txBox="1"/>
          <p:nvPr/>
        </p:nvSpPr>
        <p:spPr>
          <a:xfrm>
            <a:off x="4498340" y="6634706"/>
            <a:ext cx="3195955" cy="188595"/>
          </a:xfrm>
          <a:prstGeom prst="rect">
            <a:avLst/>
          </a:prstGeom>
        </p:spPr>
        <p:txBody>
          <a:bodyPr vert="horz" wrap="square" lIns="0" tIns="4445" rIns="0" bIns="0" rtlCol="0">
            <a:spAutoFit/>
          </a:bodyPr>
          <a:lstStyle/>
          <a:p>
            <a:pPr marL="12700" marR="0" lvl="0" indent="0" algn="l" defTabSz="914400" rtl="0" eaLnBrk="1" fontAlgn="auto" latinLnBrk="0" hangingPunct="1">
              <a:lnSpc>
                <a:spcPct val="100000"/>
              </a:lnSpc>
              <a:spcBef>
                <a:spcPts val="35"/>
              </a:spcBef>
              <a:spcAft>
                <a:spcPts val="0"/>
              </a:spcAft>
              <a:buClrTx/>
              <a:buSzTx/>
              <a:buFontTx/>
              <a:buNone/>
              <a:tabLst/>
              <a:defRPr/>
            </a:pPr>
            <a:r>
              <a:rPr kumimoji="0" sz="1100" b="0" i="0" u="none" strike="noStrike" kern="0" cap="none" spc="0" normalizeH="0" baseline="0" noProof="0" dirty="0">
                <a:ln>
                  <a:noFill/>
                </a:ln>
                <a:solidFill>
                  <a:srgbClr val="585353"/>
                </a:solidFill>
                <a:effectLst/>
                <a:uLnTx/>
                <a:uFillTx/>
                <a:latin typeface="Trebuchet MS"/>
                <a:ea typeface="+mn-ea"/>
                <a:cs typeface="Trebuchet MS"/>
              </a:rPr>
              <a:t>Nowakowski</a:t>
            </a:r>
            <a:r>
              <a:rPr kumimoji="0" sz="1100" b="0" i="0" u="none" strike="noStrike" kern="0" cap="none" spc="-30" normalizeH="0" baseline="0" noProof="0" dirty="0">
                <a:ln>
                  <a:noFill/>
                </a:ln>
                <a:solidFill>
                  <a:srgbClr val="585353"/>
                </a:solidFill>
                <a:effectLst/>
                <a:uLnTx/>
                <a:uFillTx/>
                <a:latin typeface="Trebuchet MS"/>
                <a:ea typeface="+mn-ea"/>
                <a:cs typeface="Trebuchet MS"/>
              </a:rPr>
              <a:t> </a:t>
            </a:r>
            <a:r>
              <a:rPr kumimoji="0" sz="1100" b="0" i="0" u="none" strike="noStrike" kern="0" cap="none" spc="0" normalizeH="0" baseline="0" noProof="0" dirty="0">
                <a:ln>
                  <a:noFill/>
                </a:ln>
                <a:solidFill>
                  <a:srgbClr val="585353"/>
                </a:solidFill>
                <a:effectLst/>
                <a:uLnTx/>
                <a:uFillTx/>
                <a:latin typeface="Trebuchet MS"/>
                <a:ea typeface="+mn-ea"/>
                <a:cs typeface="Trebuchet MS"/>
              </a:rPr>
              <a:t>GS,</a:t>
            </a:r>
            <a:r>
              <a:rPr kumimoji="0" sz="1100" b="0" i="0" u="none" strike="noStrike" kern="0" cap="none" spc="-15" normalizeH="0" baseline="0" noProof="0" dirty="0">
                <a:ln>
                  <a:noFill/>
                </a:ln>
                <a:solidFill>
                  <a:srgbClr val="585353"/>
                </a:solidFill>
                <a:effectLst/>
                <a:uLnTx/>
                <a:uFillTx/>
                <a:latin typeface="Trebuchet MS"/>
                <a:ea typeface="+mn-ea"/>
                <a:cs typeface="Trebuchet MS"/>
              </a:rPr>
              <a:t> </a:t>
            </a:r>
            <a:r>
              <a:rPr kumimoji="0" sz="1100" b="0" i="0" u="none" strike="noStrike" kern="0" cap="none" spc="0" normalizeH="0" baseline="0" noProof="0" dirty="0">
                <a:ln>
                  <a:noFill/>
                </a:ln>
                <a:solidFill>
                  <a:srgbClr val="585353"/>
                </a:solidFill>
                <a:effectLst/>
                <a:uLnTx/>
                <a:uFillTx/>
                <a:latin typeface="Trebuchet MS"/>
                <a:ea typeface="+mn-ea"/>
                <a:cs typeface="Trebuchet MS"/>
              </a:rPr>
              <a:t>et</a:t>
            </a:r>
            <a:r>
              <a:rPr kumimoji="0" sz="1100" b="0" i="0" u="none" strike="noStrike" kern="0" cap="none" spc="-20" normalizeH="0" baseline="0" noProof="0" dirty="0">
                <a:ln>
                  <a:noFill/>
                </a:ln>
                <a:solidFill>
                  <a:srgbClr val="585353"/>
                </a:solidFill>
                <a:effectLst/>
                <a:uLnTx/>
                <a:uFillTx/>
                <a:latin typeface="Trebuchet MS"/>
                <a:ea typeface="+mn-ea"/>
                <a:cs typeface="Trebuchet MS"/>
              </a:rPr>
              <a:t> </a:t>
            </a:r>
            <a:r>
              <a:rPr kumimoji="0" sz="1100" b="0" i="0" u="none" strike="noStrike" kern="0" cap="none" spc="0" normalizeH="0" baseline="0" noProof="0" dirty="0">
                <a:ln>
                  <a:noFill/>
                </a:ln>
                <a:solidFill>
                  <a:srgbClr val="585353"/>
                </a:solidFill>
                <a:effectLst/>
                <a:uLnTx/>
                <a:uFillTx/>
                <a:latin typeface="Trebuchet MS"/>
                <a:ea typeface="+mn-ea"/>
                <a:cs typeface="Trebuchet MS"/>
              </a:rPr>
              <a:t>al.</a:t>
            </a:r>
            <a:r>
              <a:rPr kumimoji="0" sz="1100" b="0" i="0" u="none" strike="noStrike" kern="0" cap="none" spc="-20" normalizeH="0" baseline="0" noProof="0" dirty="0">
                <a:ln>
                  <a:noFill/>
                </a:ln>
                <a:solidFill>
                  <a:srgbClr val="585353"/>
                </a:solidFill>
                <a:effectLst/>
                <a:uLnTx/>
                <a:uFillTx/>
                <a:latin typeface="Trebuchet MS"/>
                <a:ea typeface="+mn-ea"/>
                <a:cs typeface="Trebuchet MS"/>
              </a:rPr>
              <a:t> </a:t>
            </a:r>
            <a:r>
              <a:rPr kumimoji="0" sz="1100" b="0" i="0" u="none" strike="noStrike" kern="0" cap="none" spc="0" normalizeH="0" baseline="0" noProof="0" dirty="0">
                <a:ln>
                  <a:noFill/>
                </a:ln>
                <a:solidFill>
                  <a:srgbClr val="585353"/>
                </a:solidFill>
                <a:effectLst/>
                <a:uLnTx/>
                <a:uFillTx/>
                <a:latin typeface="Trebuchet MS"/>
                <a:ea typeface="+mn-ea"/>
                <a:cs typeface="Trebuchet MS"/>
              </a:rPr>
              <a:t>ICML</a:t>
            </a:r>
            <a:r>
              <a:rPr kumimoji="0" sz="1100" b="0" i="0" u="none" strike="noStrike" kern="0" cap="none" spc="-40" normalizeH="0" baseline="0" noProof="0" dirty="0">
                <a:ln>
                  <a:noFill/>
                </a:ln>
                <a:solidFill>
                  <a:srgbClr val="585353"/>
                </a:solidFill>
                <a:effectLst/>
                <a:uLnTx/>
                <a:uFillTx/>
                <a:latin typeface="Trebuchet MS"/>
                <a:ea typeface="+mn-ea"/>
                <a:cs typeface="Trebuchet MS"/>
              </a:rPr>
              <a:t> </a:t>
            </a:r>
            <a:r>
              <a:rPr kumimoji="0" sz="1100" b="0" i="0" u="none" strike="noStrike" kern="0" cap="none" spc="0" normalizeH="0" baseline="0" noProof="0" dirty="0">
                <a:ln>
                  <a:noFill/>
                </a:ln>
                <a:solidFill>
                  <a:srgbClr val="585353"/>
                </a:solidFill>
                <a:effectLst/>
                <a:uLnTx/>
                <a:uFillTx/>
                <a:latin typeface="Trebuchet MS"/>
                <a:ea typeface="+mn-ea"/>
                <a:cs typeface="Trebuchet MS"/>
              </a:rPr>
              <a:t>2025</a:t>
            </a:r>
            <a:r>
              <a:rPr kumimoji="0" sz="1100" b="0" i="0" u="none" strike="noStrike" kern="0" cap="none" spc="-20" normalizeH="0" baseline="0" noProof="0" dirty="0">
                <a:ln>
                  <a:noFill/>
                </a:ln>
                <a:solidFill>
                  <a:srgbClr val="585353"/>
                </a:solidFill>
                <a:effectLst/>
                <a:uLnTx/>
                <a:uFillTx/>
                <a:latin typeface="Trebuchet MS"/>
                <a:ea typeface="+mn-ea"/>
                <a:cs typeface="Trebuchet MS"/>
              </a:rPr>
              <a:t> </a:t>
            </a:r>
            <a:r>
              <a:rPr kumimoji="0" sz="1100" b="0" i="0" u="none" strike="noStrike" kern="0" cap="none" spc="0" normalizeH="0" baseline="0" noProof="0" dirty="0">
                <a:ln>
                  <a:noFill/>
                </a:ln>
                <a:solidFill>
                  <a:srgbClr val="585353"/>
                </a:solidFill>
                <a:effectLst/>
                <a:uLnTx/>
                <a:uFillTx/>
                <a:latin typeface="Trebuchet MS"/>
                <a:ea typeface="+mn-ea"/>
                <a:cs typeface="Trebuchet MS"/>
              </a:rPr>
              <a:t>[Abstract</a:t>
            </a:r>
            <a:r>
              <a:rPr kumimoji="0" sz="1100" b="0" i="0" u="none" strike="noStrike" kern="0" cap="none" spc="-15" normalizeH="0" baseline="0" noProof="0" dirty="0">
                <a:ln>
                  <a:noFill/>
                </a:ln>
                <a:solidFill>
                  <a:srgbClr val="585353"/>
                </a:solidFill>
                <a:effectLst/>
                <a:uLnTx/>
                <a:uFillTx/>
                <a:latin typeface="Trebuchet MS"/>
                <a:ea typeface="+mn-ea"/>
                <a:cs typeface="Trebuchet MS"/>
              </a:rPr>
              <a:t> </a:t>
            </a:r>
            <a:r>
              <a:rPr kumimoji="0" sz="1100" b="0" i="0" u="none" strike="noStrike" kern="0" cap="none" spc="-10" normalizeH="0" baseline="0" noProof="0" dirty="0">
                <a:ln>
                  <a:noFill/>
                </a:ln>
                <a:solidFill>
                  <a:srgbClr val="585353"/>
                </a:solidFill>
                <a:effectLst/>
                <a:uLnTx/>
                <a:uFillTx/>
                <a:latin typeface="Trebuchet MS"/>
                <a:ea typeface="+mn-ea"/>
                <a:cs typeface="Trebuchet MS"/>
              </a:rPr>
              <a:t>#OT04]</a:t>
            </a:r>
            <a:endParaRPr kumimoji="0" sz="1100" b="0" i="0" u="none" strike="noStrike" kern="0" cap="none" spc="0" normalizeH="0" baseline="0" noProof="0" dirty="0">
              <a:ln>
                <a:noFill/>
              </a:ln>
              <a:solidFill>
                <a:sysClr val="windowText" lastClr="000000"/>
              </a:solidFill>
              <a:effectLst/>
              <a:uLnTx/>
              <a:uFillTx/>
              <a:latin typeface="Trebuchet MS"/>
              <a:ea typeface="+mn-ea"/>
              <a:cs typeface="Trebuchet MS"/>
            </a:endParaRPr>
          </a:p>
        </p:txBody>
      </p:sp>
      <p:sp>
        <p:nvSpPr>
          <p:cNvPr id="79" name="object 79"/>
          <p:cNvSpPr txBox="1"/>
          <p:nvPr/>
        </p:nvSpPr>
        <p:spPr>
          <a:xfrm>
            <a:off x="365861" y="6016244"/>
            <a:ext cx="11448415" cy="574040"/>
          </a:xfrm>
          <a:prstGeom prst="rect">
            <a:avLst/>
          </a:prstGeom>
        </p:spPr>
        <p:txBody>
          <a:bodyPr vert="horz" wrap="square" lIns="0" tIns="12700" rIns="0" bIns="0" rtlCol="0">
            <a:spAutoFit/>
          </a:bodyPr>
          <a:lstStyle/>
          <a:p>
            <a:pPr marL="12700" marR="508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0" cap="none" spc="0" normalizeH="0" baseline="0" noProof="0" dirty="0">
                <a:ln>
                  <a:noFill/>
                </a:ln>
                <a:solidFill>
                  <a:srgbClr val="585353"/>
                </a:solidFill>
                <a:effectLst/>
                <a:uLnTx/>
                <a:uFillTx/>
                <a:latin typeface="Trebuchet MS"/>
                <a:ea typeface="+mn-ea"/>
                <a:cs typeface="Trebuchet MS"/>
              </a:rPr>
              <a:t>CELMoD,</a:t>
            </a:r>
            <a:r>
              <a:rPr kumimoji="0" sz="900" b="0" i="0" u="none" strike="noStrike" kern="0" cap="none" spc="-2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cereblon</a:t>
            </a:r>
            <a:r>
              <a:rPr kumimoji="0" sz="900" b="0" i="0" u="none" strike="noStrike" kern="0" cap="none" spc="-1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E3</a:t>
            </a:r>
            <a:r>
              <a:rPr kumimoji="0" sz="900" b="0" i="0" u="none" strike="noStrike" kern="0" cap="none" spc="-1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ligase</a:t>
            </a:r>
            <a:r>
              <a:rPr kumimoji="0" sz="900" b="0" i="0" u="none" strike="noStrike" kern="0" cap="none" spc="-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modulatory</a:t>
            </a:r>
            <a:r>
              <a:rPr kumimoji="0" sz="900" b="0" i="0" u="none" strike="noStrike" kern="0" cap="none" spc="1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drug;</a:t>
            </a:r>
            <a:r>
              <a:rPr kumimoji="0" sz="900" b="0" i="0" u="none" strike="noStrike" kern="0" cap="none" spc="-3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CRBN,</a:t>
            </a:r>
            <a:r>
              <a:rPr kumimoji="0" sz="900" b="0" i="0" u="none" strike="noStrike" kern="0" cap="none" spc="-1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cereblon;</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CUL4,</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10" normalizeH="0" baseline="0" noProof="0" dirty="0">
                <a:ln>
                  <a:noFill/>
                </a:ln>
                <a:solidFill>
                  <a:srgbClr val="585353"/>
                </a:solidFill>
                <a:effectLst/>
                <a:uLnTx/>
                <a:uFillTx/>
                <a:latin typeface="Trebuchet MS"/>
                <a:ea typeface="+mn-ea"/>
                <a:cs typeface="Trebuchet MS"/>
              </a:rPr>
              <a:t>cullin-</a:t>
            </a:r>
            <a:r>
              <a:rPr kumimoji="0" sz="900" b="0" i="0" u="none" strike="noStrike" kern="0" cap="none" spc="0" normalizeH="0" baseline="0" noProof="0" dirty="0">
                <a:ln>
                  <a:noFill/>
                </a:ln>
                <a:solidFill>
                  <a:srgbClr val="585353"/>
                </a:solidFill>
                <a:effectLst/>
                <a:uLnTx/>
                <a:uFillTx/>
                <a:latin typeface="Trebuchet MS"/>
                <a:ea typeface="+mn-ea"/>
                <a:cs typeface="Trebuchet MS"/>
              </a:rPr>
              <a:t>4A;</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DDB1,</a:t>
            </a:r>
            <a:r>
              <a:rPr kumimoji="0" sz="900" b="0" i="0" u="none" strike="noStrike" kern="0" cap="none" spc="-1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DNA</a:t>
            </a:r>
            <a:r>
              <a:rPr kumimoji="0" sz="900" b="0" i="0" u="none" strike="noStrike" kern="0" cap="none" spc="-30" normalizeH="0" baseline="0" noProof="0" dirty="0">
                <a:ln>
                  <a:noFill/>
                </a:ln>
                <a:solidFill>
                  <a:srgbClr val="585353"/>
                </a:solidFill>
                <a:effectLst/>
                <a:uLnTx/>
                <a:uFillTx/>
                <a:latin typeface="Trebuchet MS"/>
                <a:ea typeface="+mn-ea"/>
                <a:cs typeface="Trebuchet MS"/>
              </a:rPr>
              <a:t> </a:t>
            </a:r>
            <a:r>
              <a:rPr kumimoji="0" sz="900" b="0" i="0" u="none" strike="noStrike" kern="0" cap="none" spc="-10" normalizeH="0" baseline="0" noProof="0" dirty="0">
                <a:ln>
                  <a:noFill/>
                </a:ln>
                <a:solidFill>
                  <a:srgbClr val="585353"/>
                </a:solidFill>
                <a:effectLst/>
                <a:uLnTx/>
                <a:uFillTx/>
                <a:latin typeface="Trebuchet MS"/>
                <a:ea typeface="+mn-ea"/>
                <a:cs typeface="Trebuchet MS"/>
              </a:rPr>
              <a:t>damage-</a:t>
            </a:r>
            <a:r>
              <a:rPr kumimoji="0" sz="900" b="0" i="0" u="none" strike="noStrike" kern="0" cap="none" spc="0" normalizeH="0" baseline="0" noProof="0" dirty="0">
                <a:ln>
                  <a:noFill/>
                </a:ln>
                <a:solidFill>
                  <a:srgbClr val="585353"/>
                </a:solidFill>
                <a:effectLst/>
                <a:uLnTx/>
                <a:uFillTx/>
                <a:latin typeface="Trebuchet MS"/>
                <a:ea typeface="+mn-ea"/>
                <a:cs typeface="Trebuchet MS"/>
              </a:rPr>
              <a:t>binding</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protein 1;</a:t>
            </a:r>
            <a:r>
              <a:rPr kumimoji="0" sz="900" b="0" i="0" u="none" strike="noStrike" kern="0" cap="none" spc="-1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IMiD,</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10" normalizeH="0" baseline="0" noProof="0" dirty="0">
                <a:ln>
                  <a:noFill/>
                </a:ln>
                <a:solidFill>
                  <a:srgbClr val="585353"/>
                </a:solidFill>
                <a:effectLst/>
                <a:uLnTx/>
                <a:uFillTx/>
                <a:latin typeface="Trebuchet MS"/>
                <a:ea typeface="+mn-ea"/>
                <a:cs typeface="Trebuchet MS"/>
              </a:rPr>
              <a:t>immunomodulatory</a:t>
            </a:r>
            <a:r>
              <a:rPr kumimoji="0" sz="900" b="0" i="0" u="none" strike="noStrike" kern="0" cap="none" spc="3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imide</a:t>
            </a:r>
            <a:r>
              <a:rPr kumimoji="0" sz="900" b="0" i="0" u="none" strike="noStrike" kern="0" cap="none" spc="1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drug;</a:t>
            </a:r>
            <a:r>
              <a:rPr kumimoji="0" sz="900" b="0" i="0" u="none" strike="noStrike" kern="0" cap="none" spc="-3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LEN,</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lenalidomide;</a:t>
            </a:r>
            <a:r>
              <a:rPr kumimoji="0" sz="900" b="0" i="0" u="none" strike="noStrike" kern="0" cap="none" spc="-1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NHL,</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10" normalizeH="0" baseline="0" noProof="0" dirty="0">
                <a:ln>
                  <a:noFill/>
                </a:ln>
                <a:solidFill>
                  <a:srgbClr val="585353"/>
                </a:solidFill>
                <a:effectLst/>
                <a:uLnTx/>
                <a:uFillTx/>
                <a:latin typeface="Trebuchet MS"/>
                <a:ea typeface="+mn-ea"/>
                <a:cs typeface="Trebuchet MS"/>
              </a:rPr>
              <a:t>Non-</a:t>
            </a:r>
            <a:r>
              <a:rPr kumimoji="0" sz="900" b="0" i="0" u="none" strike="noStrike" kern="0" cap="none" spc="0" normalizeH="0" baseline="0" noProof="0" dirty="0">
                <a:ln>
                  <a:noFill/>
                </a:ln>
                <a:solidFill>
                  <a:srgbClr val="585353"/>
                </a:solidFill>
                <a:effectLst/>
                <a:uLnTx/>
                <a:uFillTx/>
                <a:latin typeface="Trebuchet MS"/>
                <a:ea typeface="+mn-ea"/>
                <a:cs typeface="Trebuchet MS"/>
              </a:rPr>
              <a:t>Hodgkin</a:t>
            </a:r>
            <a:r>
              <a:rPr kumimoji="0" sz="900" b="0" i="0" u="none" strike="noStrike" kern="0" cap="none" spc="-4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lymphoma;</a:t>
            </a:r>
            <a:r>
              <a:rPr kumimoji="0" sz="900" b="0" i="0" u="none" strike="noStrike" kern="0" cap="none" spc="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ROC1,</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10" normalizeH="0" baseline="0" noProof="0" dirty="0">
                <a:ln>
                  <a:noFill/>
                </a:ln>
                <a:solidFill>
                  <a:srgbClr val="585353"/>
                </a:solidFill>
                <a:effectLst/>
                <a:uLnTx/>
                <a:uFillTx/>
                <a:latin typeface="Trebuchet MS"/>
                <a:ea typeface="+mn-ea"/>
                <a:cs typeface="Trebuchet MS"/>
              </a:rPr>
              <a:t>regulator </a:t>
            </a:r>
            <a:r>
              <a:rPr kumimoji="0" sz="900" b="0" i="0" u="none" strike="noStrike" kern="0" cap="none" spc="0" normalizeH="0" baseline="0" noProof="0" dirty="0">
                <a:ln>
                  <a:noFill/>
                </a:ln>
                <a:solidFill>
                  <a:srgbClr val="585353"/>
                </a:solidFill>
                <a:effectLst/>
                <a:uLnTx/>
                <a:uFillTx/>
                <a:latin typeface="Trebuchet MS"/>
                <a:ea typeface="+mn-ea"/>
                <a:cs typeface="Trebuchet MS"/>
              </a:rPr>
              <a:t>of</a:t>
            </a:r>
            <a:r>
              <a:rPr kumimoji="0" sz="900" b="0" i="0" u="none" strike="noStrike" kern="0" cap="none" spc="-1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cullins</a:t>
            </a:r>
            <a:r>
              <a:rPr kumimoji="0" sz="900" b="0" i="0" u="none" strike="noStrike" kern="0" cap="none" spc="-3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1;</a:t>
            </a:r>
            <a:r>
              <a:rPr kumimoji="0" sz="900" b="0" i="0" u="none" strike="noStrike" kern="0" cap="none" spc="-1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Ub,</a:t>
            </a:r>
            <a:r>
              <a:rPr kumimoji="0" sz="900" b="0" i="0" u="none" strike="noStrike" kern="0" cap="none" spc="-4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ubiquitin.</a:t>
            </a:r>
            <a:r>
              <a:rPr kumimoji="0" sz="900" b="0" i="0" u="none" strike="noStrike" kern="0" cap="none" spc="-1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1.</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Hoffman</a:t>
            </a:r>
            <a:r>
              <a:rPr kumimoji="0" sz="900" b="0" i="0" u="none" strike="noStrike" kern="0" cap="none" spc="-1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MS,</a:t>
            </a:r>
            <a:r>
              <a:rPr kumimoji="0" sz="900" b="0" i="0" u="none" strike="noStrike" kern="0" cap="none" spc="-2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et</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al.</a:t>
            </a:r>
            <a:r>
              <a:rPr kumimoji="0" sz="900" b="0" i="0" u="none" strike="noStrike" kern="0" cap="none" spc="-3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Oral</a:t>
            </a:r>
            <a:r>
              <a:rPr kumimoji="0" sz="900" b="0" i="0" u="none" strike="noStrike" kern="0" cap="none" spc="-1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presentation</a:t>
            </a:r>
            <a:r>
              <a:rPr kumimoji="0" sz="900" b="0" i="0" u="none" strike="noStrike" kern="0" cap="none" spc="-1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at</a:t>
            </a:r>
            <a:r>
              <a:rPr kumimoji="0" sz="900" b="0" i="0" u="none" strike="noStrike" kern="0" cap="none" spc="-1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the</a:t>
            </a:r>
            <a:r>
              <a:rPr kumimoji="0" sz="900" b="0" i="0" u="none" strike="noStrike" kern="0" cap="none" spc="-3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European</a:t>
            </a:r>
            <a:r>
              <a:rPr kumimoji="0" sz="900" b="0" i="0" u="none" strike="noStrike" kern="0" cap="none" spc="-2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Hematology</a:t>
            </a:r>
            <a:r>
              <a:rPr kumimoji="0" sz="900" b="0" i="0" u="none" strike="noStrike" kern="0" cap="none" spc="-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Association</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EHA)</a:t>
            </a:r>
            <a:r>
              <a:rPr kumimoji="0" sz="900" b="0" i="0" u="none" strike="noStrike" kern="0" cap="none" spc="-3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2024</a:t>
            </a:r>
            <a:r>
              <a:rPr kumimoji="0" sz="900" b="0" i="0" u="none" strike="noStrike" kern="0" cap="none" spc="-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Congress;</a:t>
            </a:r>
            <a:r>
              <a:rPr kumimoji="0" sz="900" b="0" i="0" u="none" strike="noStrike" kern="0" cap="none" spc="-3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June</a:t>
            </a:r>
            <a:r>
              <a:rPr kumimoji="0" sz="900" b="0" i="0" u="none" strike="noStrike" kern="0" cap="none" spc="-4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13-16,</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2024;</a:t>
            </a:r>
            <a:r>
              <a:rPr kumimoji="0" sz="900" b="0" i="0" u="none" strike="noStrike" kern="0" cap="none" spc="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Madrid,</a:t>
            </a:r>
            <a:r>
              <a:rPr kumimoji="0" sz="900" b="0" i="0" u="none" strike="noStrike" kern="0" cap="none" spc="-2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Spain;</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Abstract</a:t>
            </a:r>
            <a:r>
              <a:rPr kumimoji="0" sz="900" b="0" i="0" u="none" strike="noStrike" kern="0" cap="none" spc="-1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S235.</a:t>
            </a:r>
            <a:r>
              <a:rPr kumimoji="0" sz="900" b="0" i="0" u="none" strike="noStrike" kern="0" cap="none" spc="-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2.</a:t>
            </a:r>
            <a:r>
              <a:rPr kumimoji="0" sz="900" b="0" i="0" u="none" strike="noStrike" kern="0" cap="none" spc="-2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Lopez-Girona</a:t>
            </a:r>
            <a:r>
              <a:rPr kumimoji="0" sz="900" b="0" i="0" u="none" strike="noStrike" kern="0" cap="none" spc="-2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A,</a:t>
            </a:r>
            <a:r>
              <a:rPr kumimoji="0" sz="900" b="0" i="0" u="none" strike="noStrike" kern="0" cap="none" spc="-3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et</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al.</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1" u="none" strike="noStrike" kern="0" cap="none" spc="0" normalizeH="0" baseline="0" noProof="0" dirty="0">
                <a:ln>
                  <a:noFill/>
                </a:ln>
                <a:solidFill>
                  <a:srgbClr val="585353"/>
                </a:solidFill>
                <a:effectLst/>
                <a:uLnTx/>
                <a:uFillTx/>
                <a:latin typeface="Trebuchet MS"/>
                <a:ea typeface="+mn-ea"/>
                <a:cs typeface="Trebuchet MS"/>
              </a:rPr>
              <a:t>Hematol</a:t>
            </a:r>
            <a:r>
              <a:rPr kumimoji="0" sz="900" b="0" i="1" u="none" strike="noStrike" kern="0" cap="none" spc="-10" normalizeH="0" baseline="0" noProof="0" dirty="0">
                <a:ln>
                  <a:noFill/>
                </a:ln>
                <a:solidFill>
                  <a:srgbClr val="585353"/>
                </a:solidFill>
                <a:effectLst/>
                <a:uLnTx/>
                <a:uFillTx/>
                <a:latin typeface="Trebuchet MS"/>
                <a:ea typeface="+mn-ea"/>
                <a:cs typeface="Trebuchet MS"/>
              </a:rPr>
              <a:t> Oncol </a:t>
            </a:r>
            <a:r>
              <a:rPr kumimoji="0" sz="900" b="0" i="0" u="none" strike="noStrike" kern="0" cap="none" spc="0" normalizeH="0" baseline="0" noProof="0" dirty="0">
                <a:ln>
                  <a:noFill/>
                </a:ln>
                <a:solidFill>
                  <a:srgbClr val="585353"/>
                </a:solidFill>
                <a:effectLst/>
                <a:uLnTx/>
                <a:uFillTx/>
                <a:latin typeface="Trebuchet MS"/>
                <a:ea typeface="+mn-ea"/>
                <a:cs typeface="Trebuchet MS"/>
              </a:rPr>
              <a:t>2021;39(suppl</a:t>
            </a:r>
            <a:r>
              <a:rPr kumimoji="0" sz="900" b="0" i="0" u="none" strike="noStrike" kern="0" cap="none" spc="-15" normalizeH="0" baseline="0" noProof="0" dirty="0">
                <a:ln>
                  <a:noFill/>
                </a:ln>
                <a:solidFill>
                  <a:srgbClr val="585353"/>
                </a:solidFill>
                <a:effectLst/>
                <a:uLnTx/>
                <a:uFillTx/>
                <a:latin typeface="Trebuchet MS"/>
                <a:ea typeface="+mn-ea"/>
                <a:cs typeface="Trebuchet MS"/>
              </a:rPr>
              <a:t> </a:t>
            </a:r>
            <a:r>
              <a:rPr kumimoji="0" sz="900" b="0" i="0" u="none" strike="noStrike" kern="0" cap="none" spc="-10" normalizeH="0" baseline="0" noProof="0" dirty="0">
                <a:ln>
                  <a:noFill/>
                </a:ln>
                <a:solidFill>
                  <a:srgbClr val="585353"/>
                </a:solidFill>
                <a:effectLst/>
                <a:uLnTx/>
                <a:uFillTx/>
                <a:latin typeface="Trebuchet MS"/>
                <a:ea typeface="+mn-ea"/>
                <a:cs typeface="Trebuchet MS"/>
              </a:rPr>
              <a:t>1):315-</a:t>
            </a:r>
            <a:r>
              <a:rPr kumimoji="0" sz="900" b="0" i="0" u="none" strike="noStrike" kern="0" cap="none" spc="0" normalizeH="0" baseline="0" noProof="0" dirty="0">
                <a:ln>
                  <a:noFill/>
                </a:ln>
                <a:solidFill>
                  <a:srgbClr val="585353"/>
                </a:solidFill>
                <a:effectLst/>
                <a:uLnTx/>
                <a:uFillTx/>
                <a:latin typeface="Trebuchet MS"/>
                <a:ea typeface="+mn-ea"/>
                <a:cs typeface="Trebuchet MS"/>
              </a:rPr>
              <a:t>316.</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3.</a:t>
            </a:r>
            <a:r>
              <a:rPr kumimoji="0" sz="900" b="0" i="0" u="none" strike="noStrike" kern="0" cap="none" spc="-1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Chavez</a:t>
            </a:r>
            <a:r>
              <a:rPr kumimoji="0" sz="900" b="0" i="0" u="none" strike="noStrike" kern="0" cap="none" spc="-3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JC,</a:t>
            </a:r>
            <a:r>
              <a:rPr kumimoji="0" sz="900" b="0" i="0" u="none" strike="noStrike" kern="0" cap="none" spc="-4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et</a:t>
            </a:r>
            <a:r>
              <a:rPr kumimoji="0" sz="900" b="0" i="0" u="none" strike="noStrike" kern="0" cap="none" spc="-1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al.</a:t>
            </a:r>
            <a:r>
              <a:rPr kumimoji="0" sz="900" b="0" i="0" u="none" strike="noStrike" kern="0" cap="none" spc="-3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Poster</a:t>
            </a:r>
            <a:r>
              <a:rPr kumimoji="0" sz="900" b="0" i="0" u="none" strike="noStrike" kern="0" cap="none" spc="-1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presentation</a:t>
            </a:r>
            <a:r>
              <a:rPr kumimoji="0" sz="900" b="0" i="0" u="none" strike="noStrike" kern="0" cap="none" spc="-1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at</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the</a:t>
            </a:r>
            <a:r>
              <a:rPr kumimoji="0" sz="900" b="0" i="0" u="none" strike="noStrike" kern="0" cap="none" spc="-1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American</a:t>
            </a:r>
            <a:r>
              <a:rPr kumimoji="0" sz="900" b="0" i="0" u="none" strike="noStrike" kern="0" cap="none" spc="-1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Society</a:t>
            </a:r>
            <a:r>
              <a:rPr kumimoji="0" sz="900" b="0" i="0" u="none" strike="noStrike" kern="0" cap="none" spc="1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of</a:t>
            </a:r>
            <a:r>
              <a:rPr kumimoji="0" sz="900" b="0" i="0" u="none" strike="noStrike" kern="0" cap="none" spc="1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Hematology</a:t>
            </a:r>
            <a:r>
              <a:rPr kumimoji="0" sz="900" b="0" i="0" u="none" strike="noStrike" kern="0" cap="none" spc="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ASH)</a:t>
            </a:r>
            <a:r>
              <a:rPr kumimoji="0" sz="900" b="0" i="0" u="none" strike="noStrike" kern="0" cap="none" spc="-4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Annual</a:t>
            </a:r>
            <a:r>
              <a:rPr kumimoji="0" sz="900" b="0" i="0" u="none" strike="noStrike" kern="0" cap="none" spc="-3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Meeting;</a:t>
            </a:r>
            <a:r>
              <a:rPr kumimoji="0" sz="900" b="0" i="0" u="none" strike="noStrike" kern="0" cap="none" spc="-2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December</a:t>
            </a:r>
            <a:r>
              <a:rPr kumimoji="0" sz="900" b="0" i="0" u="none" strike="noStrike" kern="0" cap="none" spc="-3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9–12,</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2023;</a:t>
            </a:r>
            <a:r>
              <a:rPr kumimoji="0" sz="900" b="0" i="0" u="none" strike="noStrike" kern="0" cap="none" spc="-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San</a:t>
            </a:r>
            <a:r>
              <a:rPr kumimoji="0" sz="900" b="0" i="0" u="none" strike="noStrike" kern="0" cap="none" spc="-1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Diego,</a:t>
            </a:r>
            <a:r>
              <a:rPr kumimoji="0" sz="900" b="0" i="0" u="none" strike="noStrike" kern="0" cap="none" spc="-2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CA.</a:t>
            </a:r>
            <a:r>
              <a:rPr kumimoji="0" sz="900" b="0" i="0" u="none" strike="noStrike" kern="0" cap="none" spc="-3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Poster</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4496.</a:t>
            </a:r>
            <a:r>
              <a:rPr kumimoji="0" sz="900" b="0" i="0" u="none" strike="noStrike" kern="0" cap="none" spc="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4.</a:t>
            </a:r>
            <a:r>
              <a:rPr kumimoji="0" sz="900" b="0" i="0" u="none" strike="noStrike" kern="0" cap="none" spc="-15" normalizeH="0" baseline="0" noProof="0" dirty="0">
                <a:ln>
                  <a:noFill/>
                </a:ln>
                <a:solidFill>
                  <a:srgbClr val="585353"/>
                </a:solidFill>
                <a:effectLst/>
                <a:uLnTx/>
                <a:uFillTx/>
                <a:latin typeface="Trebuchet MS"/>
                <a:ea typeface="+mn-ea"/>
                <a:cs typeface="Trebuchet MS"/>
              </a:rPr>
              <a:t> </a:t>
            </a:r>
            <a:r>
              <a:rPr kumimoji="0" sz="900" b="0" i="0" u="none" strike="noStrike" kern="0" cap="none" spc="-10" normalizeH="0" baseline="0" noProof="0" dirty="0">
                <a:ln>
                  <a:noFill/>
                </a:ln>
                <a:solidFill>
                  <a:srgbClr val="585353"/>
                </a:solidFill>
                <a:effectLst/>
                <a:uLnTx/>
                <a:uFillTx/>
                <a:latin typeface="Trebuchet MS"/>
                <a:ea typeface="+mn-ea"/>
                <a:cs typeface="Trebuchet MS"/>
              </a:rPr>
              <a:t>Hartley-</a:t>
            </a:r>
            <a:r>
              <a:rPr kumimoji="0" sz="900" b="0" i="0" u="none" strike="noStrike" kern="0" cap="none" spc="0" normalizeH="0" baseline="0" noProof="0" dirty="0">
                <a:ln>
                  <a:noFill/>
                </a:ln>
                <a:solidFill>
                  <a:srgbClr val="585353"/>
                </a:solidFill>
                <a:effectLst/>
                <a:uLnTx/>
                <a:uFillTx/>
                <a:latin typeface="Trebuchet MS"/>
                <a:ea typeface="+mn-ea"/>
                <a:cs typeface="Trebuchet MS"/>
              </a:rPr>
              <a:t>Brown</a:t>
            </a:r>
            <a:r>
              <a:rPr kumimoji="0" sz="900" b="0" i="0" u="none" strike="noStrike" kern="0" cap="none" spc="-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MA,</a:t>
            </a:r>
            <a:r>
              <a:rPr kumimoji="0" sz="900" b="0" i="0" u="none" strike="noStrike" kern="0" cap="none" spc="-3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et</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al.</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1" u="none" strike="noStrike" kern="0" cap="none" spc="-10" normalizeH="0" baseline="0" noProof="0" dirty="0">
                <a:ln>
                  <a:noFill/>
                </a:ln>
                <a:solidFill>
                  <a:srgbClr val="585353"/>
                </a:solidFill>
                <a:effectLst/>
                <a:uLnTx/>
                <a:uFillTx/>
                <a:latin typeface="Trebuchet MS"/>
                <a:ea typeface="+mn-ea"/>
                <a:cs typeface="Trebuchet MS"/>
              </a:rPr>
              <a:t>Cancers</a:t>
            </a:r>
            <a:r>
              <a:rPr kumimoji="0" sz="900" b="0" i="1" u="none" strike="noStrike" kern="0" cap="none" spc="500" normalizeH="0" baseline="0" noProof="0" dirty="0">
                <a:ln>
                  <a:noFill/>
                </a:ln>
                <a:solidFill>
                  <a:srgbClr val="585353"/>
                </a:solidFill>
                <a:effectLst/>
                <a:uLnTx/>
                <a:uFillTx/>
                <a:latin typeface="Trebuchet MS"/>
                <a:ea typeface="+mn-ea"/>
                <a:cs typeface="Trebuchet MS"/>
              </a:rPr>
              <a:t> </a:t>
            </a:r>
            <a:r>
              <a:rPr kumimoji="0" sz="900" b="0" i="1" u="none" strike="noStrike" kern="0" cap="none" spc="0" normalizeH="0" baseline="0" noProof="0" dirty="0">
                <a:ln>
                  <a:noFill/>
                </a:ln>
                <a:solidFill>
                  <a:srgbClr val="585353"/>
                </a:solidFill>
                <a:effectLst/>
                <a:uLnTx/>
                <a:uFillTx/>
                <a:latin typeface="Trebuchet MS"/>
                <a:ea typeface="+mn-ea"/>
                <a:cs typeface="Trebuchet MS"/>
              </a:rPr>
              <a:t>(Basel)</a:t>
            </a:r>
            <a:r>
              <a:rPr kumimoji="0" sz="900" b="0" i="1" u="none" strike="noStrike" kern="0" cap="none" spc="-1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2024;16:1166.</a:t>
            </a:r>
            <a:r>
              <a:rPr kumimoji="0" sz="900" b="0" i="0" u="none" strike="noStrike" kern="0" cap="none" spc="1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5.</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Watson</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ER,</a:t>
            </a:r>
            <a:r>
              <a:rPr kumimoji="0" sz="900" b="0" i="0" u="none" strike="noStrike" kern="0" cap="none" spc="-1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et</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al.</a:t>
            </a:r>
            <a:r>
              <a:rPr kumimoji="0" sz="900" b="0" i="0" u="none" strike="noStrike" kern="0" cap="none" spc="-10" normalizeH="0" baseline="0" noProof="0" dirty="0">
                <a:ln>
                  <a:noFill/>
                </a:ln>
                <a:solidFill>
                  <a:srgbClr val="585353"/>
                </a:solidFill>
                <a:effectLst/>
                <a:uLnTx/>
                <a:uFillTx/>
                <a:latin typeface="Trebuchet MS"/>
                <a:ea typeface="+mn-ea"/>
                <a:cs typeface="Trebuchet MS"/>
              </a:rPr>
              <a:t> </a:t>
            </a:r>
            <a:r>
              <a:rPr kumimoji="0" sz="900" b="0" i="1" u="none" strike="noStrike" kern="0" cap="none" spc="0" normalizeH="0" baseline="0" noProof="0" dirty="0">
                <a:ln>
                  <a:noFill/>
                </a:ln>
                <a:solidFill>
                  <a:srgbClr val="585353"/>
                </a:solidFill>
                <a:effectLst/>
                <a:uLnTx/>
                <a:uFillTx/>
                <a:latin typeface="Trebuchet MS"/>
                <a:ea typeface="+mn-ea"/>
                <a:cs typeface="Trebuchet MS"/>
              </a:rPr>
              <a:t>Science</a:t>
            </a:r>
            <a:r>
              <a:rPr kumimoji="0" sz="900" b="0" i="1" u="none" strike="noStrike" kern="0" cap="none" spc="-25" normalizeH="0" baseline="0" noProof="0" dirty="0">
                <a:ln>
                  <a:noFill/>
                </a:ln>
                <a:solidFill>
                  <a:srgbClr val="585353"/>
                </a:solidFill>
                <a:effectLst/>
                <a:uLnTx/>
                <a:uFillTx/>
                <a:latin typeface="Trebuchet MS"/>
                <a:ea typeface="+mn-ea"/>
                <a:cs typeface="Trebuchet MS"/>
              </a:rPr>
              <a:t> </a:t>
            </a:r>
            <a:r>
              <a:rPr kumimoji="0" sz="900" b="0" i="0" u="none" strike="noStrike" kern="0" cap="none" spc="-10" normalizeH="0" baseline="0" noProof="0" dirty="0">
                <a:ln>
                  <a:noFill/>
                </a:ln>
                <a:solidFill>
                  <a:srgbClr val="585353"/>
                </a:solidFill>
                <a:effectLst/>
                <a:uLnTx/>
                <a:uFillTx/>
                <a:latin typeface="Trebuchet MS"/>
                <a:ea typeface="+mn-ea"/>
                <a:cs typeface="Trebuchet MS"/>
              </a:rPr>
              <a:t>2022;378(6619):549–</a:t>
            </a:r>
            <a:r>
              <a:rPr kumimoji="0" sz="900" b="0" i="0" u="none" strike="noStrike" kern="0" cap="none" spc="0" normalizeH="0" baseline="0" noProof="0" dirty="0">
                <a:ln>
                  <a:noFill/>
                </a:ln>
                <a:solidFill>
                  <a:srgbClr val="585353"/>
                </a:solidFill>
                <a:effectLst/>
                <a:uLnTx/>
                <a:uFillTx/>
                <a:latin typeface="Trebuchet MS"/>
                <a:ea typeface="+mn-ea"/>
                <a:cs typeface="Trebuchet MS"/>
              </a:rPr>
              <a:t>553.</a:t>
            </a:r>
            <a:r>
              <a:rPr kumimoji="0" sz="900" b="0" i="0" u="none" strike="noStrike" kern="0" cap="none" spc="3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6.</a:t>
            </a:r>
            <a:r>
              <a:rPr kumimoji="0" sz="900" b="0" i="0" u="none" strike="noStrike" kern="0" cap="none" spc="-1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Michot JM,</a:t>
            </a:r>
            <a:r>
              <a:rPr kumimoji="0" sz="900" b="0" i="0" u="none" strike="noStrike" kern="0" cap="none" spc="-3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et</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al.</a:t>
            </a:r>
            <a:r>
              <a:rPr kumimoji="0" sz="900" b="0" i="0" u="none" strike="noStrike" kern="0" cap="none" spc="-15" normalizeH="0" baseline="0" noProof="0" dirty="0">
                <a:ln>
                  <a:noFill/>
                </a:ln>
                <a:solidFill>
                  <a:srgbClr val="585353"/>
                </a:solidFill>
                <a:effectLst/>
                <a:uLnTx/>
                <a:uFillTx/>
                <a:latin typeface="Trebuchet MS"/>
                <a:ea typeface="+mn-ea"/>
                <a:cs typeface="Trebuchet MS"/>
              </a:rPr>
              <a:t> </a:t>
            </a:r>
            <a:r>
              <a:rPr kumimoji="0" sz="900" b="0" i="1" u="none" strike="noStrike" kern="0" cap="none" spc="0" normalizeH="0" baseline="0" noProof="0" dirty="0">
                <a:ln>
                  <a:noFill/>
                </a:ln>
                <a:solidFill>
                  <a:srgbClr val="585353"/>
                </a:solidFill>
                <a:effectLst/>
                <a:uLnTx/>
                <a:uFillTx/>
                <a:latin typeface="Trebuchet MS"/>
                <a:ea typeface="+mn-ea"/>
                <a:cs typeface="Trebuchet MS"/>
              </a:rPr>
              <a:t>Blood</a:t>
            </a:r>
            <a:r>
              <a:rPr kumimoji="0" sz="900" b="0" i="1" u="none" strike="noStrike" kern="0" cap="none" spc="-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2021;138(suppl.</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10" normalizeH="0" baseline="0" noProof="0" dirty="0">
                <a:ln>
                  <a:noFill/>
                </a:ln>
                <a:solidFill>
                  <a:srgbClr val="585353"/>
                </a:solidFill>
                <a:effectLst/>
                <a:uLnTx/>
                <a:uFillTx/>
                <a:latin typeface="Trebuchet MS"/>
                <a:ea typeface="+mn-ea"/>
                <a:cs typeface="Trebuchet MS"/>
              </a:rPr>
              <a:t>1):3574.</a:t>
            </a:r>
            <a:endParaRPr kumimoji="0" sz="900" b="0" i="0" u="none" strike="noStrike" kern="0" cap="none" spc="0" normalizeH="0" baseline="0" noProof="0">
              <a:ln>
                <a:noFill/>
              </a:ln>
              <a:solidFill>
                <a:sysClr val="windowText" lastClr="000000"/>
              </a:solidFill>
              <a:effectLst/>
              <a:uLnTx/>
              <a:uFillTx/>
              <a:latin typeface="Trebuchet MS"/>
              <a:ea typeface="+mn-ea"/>
              <a:cs typeface="Trebuchet MS"/>
            </a:endParaRP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descr="$PPTXTitle"/>
          <p:cNvSpPr txBox="1">
            <a:spLocks noGrp="1"/>
          </p:cNvSpPr>
          <p:nvPr>
            <p:ph type="title"/>
          </p:nvPr>
        </p:nvSpPr>
        <p:spPr>
          <a:xfrm>
            <a:off x="386181" y="75438"/>
            <a:ext cx="11351260" cy="679673"/>
          </a:xfrm>
          <a:prstGeom prst="rect">
            <a:avLst/>
          </a:prstGeom>
        </p:spPr>
        <p:txBody>
          <a:bodyPr vert="horz" wrap="square" lIns="0" tIns="12700" rIns="0" bIns="0" rtlCol="0">
            <a:spAutoFit/>
          </a:bodyPr>
          <a:lstStyle/>
          <a:p>
            <a:pPr marL="38100">
              <a:lnSpc>
                <a:spcPts val="2620"/>
              </a:lnSpc>
              <a:spcBef>
                <a:spcPts val="100"/>
              </a:spcBef>
            </a:pPr>
            <a:r>
              <a:rPr dirty="0">
                <a:solidFill>
                  <a:srgbClr val="002060"/>
                </a:solidFill>
                <a:latin typeface="Calibri" panose="020F0502020204030204" pitchFamily="34" charset="0"/>
                <a:cs typeface="Calibri" panose="020F0502020204030204" pitchFamily="34" charset="0"/>
              </a:rPr>
              <a:t>Phase</a:t>
            </a:r>
            <a:r>
              <a:rPr spc="-60" dirty="0">
                <a:solidFill>
                  <a:srgbClr val="002060"/>
                </a:solidFill>
                <a:latin typeface="Calibri" panose="020F0502020204030204" pitchFamily="34" charset="0"/>
                <a:cs typeface="Calibri" panose="020F0502020204030204" pitchFamily="34" charset="0"/>
              </a:rPr>
              <a:t> </a:t>
            </a:r>
            <a:r>
              <a:rPr dirty="0">
                <a:solidFill>
                  <a:srgbClr val="002060"/>
                </a:solidFill>
                <a:latin typeface="Calibri" panose="020F0502020204030204" pitchFamily="34" charset="0"/>
                <a:cs typeface="Calibri" panose="020F0502020204030204" pitchFamily="34" charset="0"/>
              </a:rPr>
              <a:t>1b</a:t>
            </a:r>
            <a:r>
              <a:rPr spc="-50" dirty="0">
                <a:solidFill>
                  <a:srgbClr val="002060"/>
                </a:solidFill>
                <a:latin typeface="Calibri" panose="020F0502020204030204" pitchFamily="34" charset="0"/>
                <a:cs typeface="Calibri" panose="020F0502020204030204" pitchFamily="34" charset="0"/>
              </a:rPr>
              <a:t> </a:t>
            </a:r>
            <a:r>
              <a:rPr dirty="0">
                <a:solidFill>
                  <a:srgbClr val="002060"/>
                </a:solidFill>
                <a:latin typeface="Calibri" panose="020F0502020204030204" pitchFamily="34" charset="0"/>
                <a:cs typeface="Calibri" panose="020F0502020204030204" pitchFamily="34" charset="0"/>
              </a:rPr>
              <a:t>study</a:t>
            </a:r>
            <a:r>
              <a:rPr spc="-30" dirty="0">
                <a:solidFill>
                  <a:srgbClr val="002060"/>
                </a:solidFill>
                <a:latin typeface="Calibri" panose="020F0502020204030204" pitchFamily="34" charset="0"/>
                <a:cs typeface="Calibri" panose="020F0502020204030204" pitchFamily="34" charset="0"/>
              </a:rPr>
              <a:t> </a:t>
            </a:r>
            <a:r>
              <a:rPr dirty="0">
                <a:solidFill>
                  <a:srgbClr val="002060"/>
                </a:solidFill>
                <a:latin typeface="Calibri" panose="020F0502020204030204" pitchFamily="34" charset="0"/>
                <a:cs typeface="Calibri" panose="020F0502020204030204" pitchFamily="34" charset="0"/>
              </a:rPr>
              <a:t>(NCT04884035):</a:t>
            </a:r>
            <a:r>
              <a:rPr spc="-70" dirty="0">
                <a:solidFill>
                  <a:srgbClr val="002060"/>
                </a:solidFill>
                <a:latin typeface="Calibri" panose="020F0502020204030204" pitchFamily="34" charset="0"/>
                <a:cs typeface="Calibri" panose="020F0502020204030204" pitchFamily="34" charset="0"/>
              </a:rPr>
              <a:t> </a:t>
            </a:r>
            <a:r>
              <a:rPr dirty="0">
                <a:solidFill>
                  <a:srgbClr val="002060"/>
                </a:solidFill>
                <a:latin typeface="Calibri" panose="020F0502020204030204" pitchFamily="34" charset="0"/>
                <a:cs typeface="Calibri" panose="020F0502020204030204" pitchFamily="34" charset="0"/>
              </a:rPr>
              <a:t>Golcadomide</a:t>
            </a:r>
            <a:r>
              <a:rPr spc="-50" dirty="0">
                <a:solidFill>
                  <a:srgbClr val="002060"/>
                </a:solidFill>
                <a:latin typeface="Calibri" panose="020F0502020204030204" pitchFamily="34" charset="0"/>
                <a:cs typeface="Calibri" panose="020F0502020204030204" pitchFamily="34" charset="0"/>
              </a:rPr>
              <a:t> </a:t>
            </a:r>
            <a:r>
              <a:rPr dirty="0">
                <a:solidFill>
                  <a:srgbClr val="002060"/>
                </a:solidFill>
                <a:latin typeface="Calibri" panose="020F0502020204030204" pitchFamily="34" charset="0"/>
                <a:cs typeface="Calibri" panose="020F0502020204030204" pitchFamily="34" charset="0"/>
              </a:rPr>
              <a:t>+</a:t>
            </a:r>
            <a:r>
              <a:rPr spc="-30" dirty="0">
                <a:solidFill>
                  <a:srgbClr val="002060"/>
                </a:solidFill>
                <a:latin typeface="Calibri" panose="020F0502020204030204" pitchFamily="34" charset="0"/>
                <a:cs typeface="Calibri" panose="020F0502020204030204" pitchFamily="34" charset="0"/>
              </a:rPr>
              <a:t> </a:t>
            </a:r>
            <a:r>
              <a:rPr spc="-10" dirty="0">
                <a:solidFill>
                  <a:srgbClr val="002060"/>
                </a:solidFill>
                <a:latin typeface="Calibri" panose="020F0502020204030204" pitchFamily="34" charset="0"/>
                <a:cs typeface="Calibri" panose="020F0502020204030204" pitchFamily="34" charset="0"/>
              </a:rPr>
              <a:t>R-</a:t>
            </a:r>
            <a:r>
              <a:rPr dirty="0">
                <a:solidFill>
                  <a:srgbClr val="002060"/>
                </a:solidFill>
                <a:latin typeface="Calibri" panose="020F0502020204030204" pitchFamily="34" charset="0"/>
                <a:cs typeface="Calibri" panose="020F0502020204030204" pitchFamily="34" charset="0"/>
              </a:rPr>
              <a:t>CHOP</a:t>
            </a:r>
            <a:r>
              <a:rPr spc="-90" dirty="0">
                <a:solidFill>
                  <a:srgbClr val="002060"/>
                </a:solidFill>
                <a:latin typeface="Calibri" panose="020F0502020204030204" pitchFamily="34" charset="0"/>
                <a:cs typeface="Calibri" panose="020F0502020204030204" pitchFamily="34" charset="0"/>
              </a:rPr>
              <a:t> </a:t>
            </a:r>
            <a:r>
              <a:rPr dirty="0">
                <a:solidFill>
                  <a:srgbClr val="002060"/>
                </a:solidFill>
                <a:latin typeface="Calibri" panose="020F0502020204030204" pitchFamily="34" charset="0"/>
                <a:cs typeface="Calibri" panose="020F0502020204030204" pitchFamily="34" charset="0"/>
              </a:rPr>
              <a:t>resulted</a:t>
            </a:r>
            <a:r>
              <a:rPr spc="-40" dirty="0">
                <a:solidFill>
                  <a:srgbClr val="002060"/>
                </a:solidFill>
                <a:latin typeface="Calibri" panose="020F0502020204030204" pitchFamily="34" charset="0"/>
                <a:cs typeface="Calibri" panose="020F0502020204030204" pitchFamily="34" charset="0"/>
              </a:rPr>
              <a:t> </a:t>
            </a:r>
            <a:r>
              <a:rPr dirty="0">
                <a:solidFill>
                  <a:srgbClr val="002060"/>
                </a:solidFill>
                <a:latin typeface="Calibri" panose="020F0502020204030204" pitchFamily="34" charset="0"/>
                <a:cs typeface="Calibri" panose="020F0502020204030204" pitchFamily="34" charset="0"/>
              </a:rPr>
              <a:t>in</a:t>
            </a:r>
            <a:r>
              <a:rPr spc="-40" dirty="0">
                <a:solidFill>
                  <a:srgbClr val="002060"/>
                </a:solidFill>
                <a:latin typeface="Calibri" panose="020F0502020204030204" pitchFamily="34" charset="0"/>
                <a:cs typeface="Calibri" panose="020F0502020204030204" pitchFamily="34" charset="0"/>
              </a:rPr>
              <a:t> </a:t>
            </a:r>
            <a:r>
              <a:rPr dirty="0">
                <a:solidFill>
                  <a:srgbClr val="002060"/>
                </a:solidFill>
                <a:latin typeface="Calibri" panose="020F0502020204030204" pitchFamily="34" charset="0"/>
                <a:cs typeface="Calibri" panose="020F0502020204030204" pitchFamily="34" charset="0"/>
              </a:rPr>
              <a:t>durable</a:t>
            </a:r>
            <a:r>
              <a:rPr spc="-35" dirty="0">
                <a:solidFill>
                  <a:srgbClr val="002060"/>
                </a:solidFill>
                <a:latin typeface="Calibri" panose="020F0502020204030204" pitchFamily="34" charset="0"/>
                <a:cs typeface="Calibri" panose="020F0502020204030204" pitchFamily="34" charset="0"/>
              </a:rPr>
              <a:t> </a:t>
            </a:r>
            <a:r>
              <a:rPr spc="-20" dirty="0">
                <a:solidFill>
                  <a:srgbClr val="002060"/>
                </a:solidFill>
                <a:latin typeface="Calibri" panose="020F0502020204030204" pitchFamily="34" charset="0"/>
                <a:cs typeface="Calibri" panose="020F0502020204030204" pitchFamily="34" charset="0"/>
              </a:rPr>
              <a:t>CMRs</a:t>
            </a:r>
            <a:endParaRPr dirty="0">
              <a:solidFill>
                <a:srgbClr val="002060"/>
              </a:solidFill>
              <a:latin typeface="Calibri" panose="020F0502020204030204" pitchFamily="34" charset="0"/>
              <a:cs typeface="Calibri" panose="020F0502020204030204" pitchFamily="34" charset="0"/>
            </a:endParaRPr>
          </a:p>
          <a:p>
            <a:pPr marL="38100">
              <a:lnSpc>
                <a:spcPts val="2620"/>
              </a:lnSpc>
            </a:pPr>
            <a:r>
              <a:rPr dirty="0">
                <a:solidFill>
                  <a:srgbClr val="002060"/>
                </a:solidFill>
                <a:latin typeface="Calibri" panose="020F0502020204030204" pitchFamily="34" charset="0"/>
                <a:cs typeface="Calibri" panose="020F0502020204030204" pitchFamily="34" charset="0"/>
              </a:rPr>
              <a:t>with</a:t>
            </a:r>
            <a:r>
              <a:rPr spc="-60" dirty="0">
                <a:solidFill>
                  <a:srgbClr val="002060"/>
                </a:solidFill>
                <a:latin typeface="Calibri" panose="020F0502020204030204" pitchFamily="34" charset="0"/>
                <a:cs typeface="Calibri" panose="020F0502020204030204" pitchFamily="34" charset="0"/>
              </a:rPr>
              <a:t> </a:t>
            </a:r>
            <a:r>
              <a:rPr spc="-10" dirty="0">
                <a:solidFill>
                  <a:srgbClr val="002060"/>
                </a:solidFill>
                <a:latin typeface="Calibri" panose="020F0502020204030204" pitchFamily="34" charset="0"/>
                <a:cs typeface="Calibri" panose="020F0502020204030204" pitchFamily="34" charset="0"/>
              </a:rPr>
              <a:t>encouraging</a:t>
            </a:r>
            <a:r>
              <a:rPr spc="-40" dirty="0">
                <a:solidFill>
                  <a:srgbClr val="002060"/>
                </a:solidFill>
                <a:latin typeface="Calibri" panose="020F0502020204030204" pitchFamily="34" charset="0"/>
                <a:cs typeface="Calibri" panose="020F0502020204030204" pitchFamily="34" charset="0"/>
              </a:rPr>
              <a:t> </a:t>
            </a:r>
            <a:r>
              <a:rPr dirty="0">
                <a:solidFill>
                  <a:srgbClr val="002060"/>
                </a:solidFill>
                <a:latin typeface="Calibri" panose="020F0502020204030204" pitchFamily="34" charset="0"/>
                <a:cs typeface="Calibri" panose="020F0502020204030204" pitchFamily="34" charset="0"/>
              </a:rPr>
              <a:t>1-year</a:t>
            </a:r>
            <a:r>
              <a:rPr spc="-45" dirty="0">
                <a:solidFill>
                  <a:srgbClr val="002060"/>
                </a:solidFill>
                <a:latin typeface="Calibri" panose="020F0502020204030204" pitchFamily="34" charset="0"/>
                <a:cs typeface="Calibri" panose="020F0502020204030204" pitchFamily="34" charset="0"/>
              </a:rPr>
              <a:t> </a:t>
            </a:r>
            <a:r>
              <a:rPr dirty="0">
                <a:solidFill>
                  <a:srgbClr val="002060"/>
                </a:solidFill>
                <a:latin typeface="Calibri" panose="020F0502020204030204" pitchFamily="34" charset="0"/>
                <a:cs typeface="Calibri" panose="020F0502020204030204" pitchFamily="34" charset="0"/>
              </a:rPr>
              <a:t>PFS</a:t>
            </a:r>
            <a:r>
              <a:rPr spc="-65" dirty="0">
                <a:solidFill>
                  <a:srgbClr val="002060"/>
                </a:solidFill>
                <a:latin typeface="Calibri" panose="020F0502020204030204" pitchFamily="34" charset="0"/>
                <a:cs typeface="Calibri" panose="020F0502020204030204" pitchFamily="34" charset="0"/>
              </a:rPr>
              <a:t> </a:t>
            </a:r>
            <a:r>
              <a:rPr dirty="0">
                <a:solidFill>
                  <a:srgbClr val="002060"/>
                </a:solidFill>
                <a:latin typeface="Calibri" panose="020F0502020204030204" pitchFamily="34" charset="0"/>
                <a:cs typeface="Calibri" panose="020F0502020204030204" pitchFamily="34" charset="0"/>
              </a:rPr>
              <a:t>rates,</a:t>
            </a:r>
            <a:r>
              <a:rPr spc="-50" dirty="0">
                <a:solidFill>
                  <a:srgbClr val="002060"/>
                </a:solidFill>
                <a:latin typeface="Calibri" panose="020F0502020204030204" pitchFamily="34" charset="0"/>
                <a:cs typeface="Calibri" panose="020F0502020204030204" pitchFamily="34" charset="0"/>
              </a:rPr>
              <a:t> </a:t>
            </a:r>
            <a:r>
              <a:rPr dirty="0">
                <a:solidFill>
                  <a:srgbClr val="002060"/>
                </a:solidFill>
                <a:latin typeface="Calibri" panose="020F0502020204030204" pitchFamily="34" charset="0"/>
                <a:cs typeface="Calibri" panose="020F0502020204030204" pitchFamily="34" charset="0"/>
              </a:rPr>
              <a:t>including</a:t>
            </a:r>
            <a:r>
              <a:rPr spc="-40" dirty="0">
                <a:solidFill>
                  <a:srgbClr val="002060"/>
                </a:solidFill>
                <a:latin typeface="Calibri" panose="020F0502020204030204" pitchFamily="34" charset="0"/>
                <a:cs typeface="Calibri" panose="020F0502020204030204" pitchFamily="34" charset="0"/>
              </a:rPr>
              <a:t> </a:t>
            </a:r>
            <a:r>
              <a:rPr dirty="0">
                <a:solidFill>
                  <a:srgbClr val="002060"/>
                </a:solidFill>
                <a:latin typeface="Calibri" panose="020F0502020204030204" pitchFamily="34" charset="0"/>
                <a:cs typeface="Calibri" panose="020F0502020204030204" pitchFamily="34" charset="0"/>
              </a:rPr>
              <a:t>in</a:t>
            </a:r>
            <a:r>
              <a:rPr spc="-50" dirty="0">
                <a:solidFill>
                  <a:srgbClr val="002060"/>
                </a:solidFill>
                <a:latin typeface="Calibri" panose="020F0502020204030204" pitchFamily="34" charset="0"/>
                <a:cs typeface="Calibri" panose="020F0502020204030204" pitchFamily="34" charset="0"/>
              </a:rPr>
              <a:t> </a:t>
            </a:r>
            <a:r>
              <a:rPr dirty="0">
                <a:solidFill>
                  <a:srgbClr val="002060"/>
                </a:solidFill>
                <a:latin typeface="Calibri" panose="020F0502020204030204" pitchFamily="34" charset="0"/>
                <a:cs typeface="Calibri" panose="020F0502020204030204" pitchFamily="34" charset="0"/>
              </a:rPr>
              <a:t>patients</a:t>
            </a:r>
            <a:r>
              <a:rPr spc="-45" dirty="0">
                <a:solidFill>
                  <a:srgbClr val="002060"/>
                </a:solidFill>
                <a:latin typeface="Calibri" panose="020F0502020204030204" pitchFamily="34" charset="0"/>
                <a:cs typeface="Calibri" panose="020F0502020204030204" pitchFamily="34" charset="0"/>
              </a:rPr>
              <a:t> </a:t>
            </a:r>
            <a:r>
              <a:rPr dirty="0">
                <a:solidFill>
                  <a:srgbClr val="002060"/>
                </a:solidFill>
                <a:latin typeface="Calibri" panose="020F0502020204030204" pitchFamily="34" charset="0"/>
                <a:cs typeface="Calibri" panose="020F0502020204030204" pitchFamily="34" charset="0"/>
              </a:rPr>
              <a:t>with</a:t>
            </a:r>
            <a:r>
              <a:rPr spc="-55" dirty="0">
                <a:solidFill>
                  <a:srgbClr val="002060"/>
                </a:solidFill>
                <a:latin typeface="Calibri" panose="020F0502020204030204" pitchFamily="34" charset="0"/>
                <a:cs typeface="Calibri" panose="020F0502020204030204" pitchFamily="34" charset="0"/>
              </a:rPr>
              <a:t> </a:t>
            </a:r>
            <a:r>
              <a:rPr dirty="0">
                <a:solidFill>
                  <a:srgbClr val="002060"/>
                </a:solidFill>
                <a:latin typeface="Calibri" panose="020F0502020204030204" pitchFamily="34" charset="0"/>
                <a:cs typeface="Calibri" panose="020F0502020204030204" pitchFamily="34" charset="0"/>
              </a:rPr>
              <a:t>high-risk</a:t>
            </a:r>
            <a:r>
              <a:rPr spc="-70" dirty="0">
                <a:solidFill>
                  <a:srgbClr val="002060"/>
                </a:solidFill>
                <a:latin typeface="Calibri" panose="020F0502020204030204" pitchFamily="34" charset="0"/>
                <a:cs typeface="Calibri" panose="020F0502020204030204" pitchFamily="34" charset="0"/>
              </a:rPr>
              <a:t> </a:t>
            </a:r>
            <a:r>
              <a:rPr spc="-10" dirty="0">
                <a:solidFill>
                  <a:srgbClr val="002060"/>
                </a:solidFill>
                <a:latin typeface="Calibri" panose="020F0502020204030204" pitchFamily="34" charset="0"/>
                <a:cs typeface="Calibri" panose="020F0502020204030204" pitchFamily="34" charset="0"/>
              </a:rPr>
              <a:t>disease</a:t>
            </a:r>
            <a:r>
              <a:rPr spc="-15" baseline="25925" dirty="0">
                <a:solidFill>
                  <a:srgbClr val="002060"/>
                </a:solidFill>
                <a:latin typeface="Calibri" panose="020F0502020204030204" pitchFamily="34" charset="0"/>
                <a:cs typeface="Calibri" panose="020F0502020204030204" pitchFamily="34" charset="0"/>
              </a:rPr>
              <a:t>1</a:t>
            </a:r>
            <a:endParaRPr baseline="25925" dirty="0">
              <a:solidFill>
                <a:srgbClr val="002060"/>
              </a:solidFill>
              <a:latin typeface="Calibri" panose="020F0502020204030204" pitchFamily="34" charset="0"/>
              <a:cs typeface="Calibri" panose="020F0502020204030204" pitchFamily="34" charset="0"/>
            </a:endParaRPr>
          </a:p>
        </p:txBody>
      </p:sp>
      <p:sp>
        <p:nvSpPr>
          <p:cNvPr id="3" name="object 3"/>
          <p:cNvSpPr txBox="1"/>
          <p:nvPr/>
        </p:nvSpPr>
        <p:spPr>
          <a:xfrm>
            <a:off x="1360677" y="848995"/>
            <a:ext cx="3972560" cy="423545"/>
          </a:xfrm>
          <a:prstGeom prst="rect">
            <a:avLst/>
          </a:prstGeom>
        </p:spPr>
        <p:txBody>
          <a:bodyPr vert="horz" wrap="square" lIns="0" tIns="13335" rIns="0" bIns="0" rtlCol="0">
            <a:spAutoFit/>
          </a:bodyPr>
          <a:lstStyle/>
          <a:p>
            <a:pPr marL="0" marR="0" lvl="0" indent="0" algn="ctr" defTabSz="914400" rtl="0" eaLnBrk="1" fontAlgn="auto" latinLnBrk="0" hangingPunct="1">
              <a:lnSpc>
                <a:spcPct val="100000"/>
              </a:lnSpc>
              <a:spcBef>
                <a:spcPts val="105"/>
              </a:spcBef>
              <a:spcAft>
                <a:spcPts val="0"/>
              </a:spcAft>
              <a:buClrTx/>
              <a:buSzTx/>
              <a:buFontTx/>
              <a:buNone/>
              <a:tabLst/>
              <a:defRPr/>
            </a:pPr>
            <a:r>
              <a:rPr kumimoji="0" sz="1400" b="1" i="0" u="none" strike="noStrike" kern="0" cap="none" spc="-20" normalizeH="0" baseline="0" noProof="0" dirty="0">
                <a:ln>
                  <a:noFill/>
                </a:ln>
                <a:solidFill>
                  <a:srgbClr val="585353"/>
                </a:solidFill>
                <a:effectLst/>
                <a:uLnTx/>
                <a:uFillTx/>
                <a:latin typeface="Trebuchet MS"/>
                <a:ea typeface="+mn-ea"/>
                <a:cs typeface="Trebuchet MS"/>
              </a:rPr>
              <a:t>Treatment</a:t>
            </a:r>
            <a:r>
              <a:rPr kumimoji="0" sz="1400" b="1" i="0" u="none" strike="noStrike" kern="0" cap="none" spc="-30" normalizeH="0" baseline="0" noProof="0" dirty="0">
                <a:ln>
                  <a:noFill/>
                </a:ln>
                <a:solidFill>
                  <a:srgbClr val="585353"/>
                </a:solidFill>
                <a:effectLst/>
                <a:uLnTx/>
                <a:uFillTx/>
                <a:latin typeface="Trebuchet MS"/>
                <a:ea typeface="+mn-ea"/>
                <a:cs typeface="Trebuchet MS"/>
              </a:rPr>
              <a:t> </a:t>
            </a:r>
            <a:r>
              <a:rPr kumimoji="0" sz="1400" b="1" i="0" u="none" strike="noStrike" kern="0" cap="none" spc="0" normalizeH="0" baseline="0" noProof="0" dirty="0">
                <a:ln>
                  <a:noFill/>
                </a:ln>
                <a:solidFill>
                  <a:srgbClr val="585353"/>
                </a:solidFill>
                <a:effectLst/>
                <a:uLnTx/>
                <a:uFillTx/>
                <a:latin typeface="Trebuchet MS"/>
                <a:ea typeface="+mn-ea"/>
                <a:cs typeface="Trebuchet MS"/>
              </a:rPr>
              <a:t>response</a:t>
            </a:r>
            <a:r>
              <a:rPr kumimoji="0" sz="1400" b="1" i="0" u="none" strike="noStrike" kern="0" cap="none" spc="-40" normalizeH="0" baseline="0" noProof="0" dirty="0">
                <a:ln>
                  <a:noFill/>
                </a:ln>
                <a:solidFill>
                  <a:srgbClr val="585353"/>
                </a:solidFill>
                <a:effectLst/>
                <a:uLnTx/>
                <a:uFillTx/>
                <a:latin typeface="Trebuchet MS"/>
                <a:ea typeface="+mn-ea"/>
                <a:cs typeface="Trebuchet MS"/>
              </a:rPr>
              <a:t> </a:t>
            </a:r>
            <a:r>
              <a:rPr kumimoji="0" sz="1400" b="1" i="0" u="none" strike="noStrike" kern="0" cap="none" spc="0" normalizeH="0" baseline="0" noProof="0" dirty="0">
                <a:ln>
                  <a:noFill/>
                </a:ln>
                <a:solidFill>
                  <a:srgbClr val="585353"/>
                </a:solidFill>
                <a:effectLst/>
                <a:uLnTx/>
                <a:uFillTx/>
                <a:latin typeface="Trebuchet MS"/>
                <a:ea typeface="+mn-ea"/>
                <a:cs typeface="Trebuchet MS"/>
              </a:rPr>
              <a:t>in</a:t>
            </a:r>
            <a:r>
              <a:rPr kumimoji="0" sz="1400" b="1" i="0" u="none" strike="noStrike" kern="0" cap="none" spc="-10" normalizeH="0" baseline="0" noProof="0" dirty="0">
                <a:ln>
                  <a:noFill/>
                </a:ln>
                <a:solidFill>
                  <a:srgbClr val="585353"/>
                </a:solidFill>
                <a:effectLst/>
                <a:uLnTx/>
                <a:uFillTx/>
                <a:latin typeface="Trebuchet MS"/>
                <a:ea typeface="+mn-ea"/>
                <a:cs typeface="Trebuchet MS"/>
              </a:rPr>
              <a:t> </a:t>
            </a:r>
            <a:r>
              <a:rPr kumimoji="0" sz="1400" b="1" i="0" u="none" strike="noStrike" kern="0" cap="none" spc="0" normalizeH="0" baseline="0" noProof="0" dirty="0">
                <a:ln>
                  <a:noFill/>
                </a:ln>
                <a:solidFill>
                  <a:srgbClr val="585353"/>
                </a:solidFill>
                <a:effectLst/>
                <a:uLnTx/>
                <a:uFillTx/>
                <a:latin typeface="Trebuchet MS"/>
                <a:ea typeface="+mn-ea"/>
                <a:cs typeface="Trebuchet MS"/>
              </a:rPr>
              <a:t>patients</a:t>
            </a:r>
            <a:r>
              <a:rPr kumimoji="0" sz="1400" b="1" i="0" u="none" strike="noStrike" kern="0" cap="none" spc="-30" normalizeH="0" baseline="0" noProof="0" dirty="0">
                <a:ln>
                  <a:noFill/>
                </a:ln>
                <a:solidFill>
                  <a:srgbClr val="585353"/>
                </a:solidFill>
                <a:effectLst/>
                <a:uLnTx/>
                <a:uFillTx/>
                <a:latin typeface="Trebuchet MS"/>
                <a:ea typeface="+mn-ea"/>
                <a:cs typeface="Trebuchet MS"/>
              </a:rPr>
              <a:t> </a:t>
            </a:r>
            <a:r>
              <a:rPr kumimoji="0" sz="1400" b="1" i="0" u="none" strike="noStrike" kern="0" cap="none" spc="0" normalizeH="0" baseline="0" noProof="0" dirty="0">
                <a:ln>
                  <a:noFill/>
                </a:ln>
                <a:solidFill>
                  <a:srgbClr val="585353"/>
                </a:solidFill>
                <a:effectLst/>
                <a:uLnTx/>
                <a:uFillTx/>
                <a:latin typeface="Trebuchet MS"/>
                <a:ea typeface="+mn-ea"/>
                <a:cs typeface="Trebuchet MS"/>
              </a:rPr>
              <a:t>at</a:t>
            </a:r>
            <a:r>
              <a:rPr kumimoji="0" sz="1400" b="1" i="0" u="none" strike="noStrike" kern="0" cap="none" spc="-10" normalizeH="0" baseline="0" noProof="0" dirty="0">
                <a:ln>
                  <a:noFill/>
                </a:ln>
                <a:solidFill>
                  <a:srgbClr val="585353"/>
                </a:solidFill>
                <a:effectLst/>
                <a:uLnTx/>
                <a:uFillTx/>
                <a:latin typeface="Trebuchet MS"/>
                <a:ea typeface="+mn-ea"/>
                <a:cs typeface="Trebuchet MS"/>
              </a:rPr>
              <a:t> </a:t>
            </a:r>
            <a:r>
              <a:rPr kumimoji="0" sz="1400" b="1" i="0" u="none" strike="noStrike" kern="0" cap="none" spc="0" normalizeH="0" baseline="0" noProof="0" dirty="0">
                <a:ln>
                  <a:noFill/>
                </a:ln>
                <a:solidFill>
                  <a:srgbClr val="585353"/>
                </a:solidFill>
                <a:effectLst/>
                <a:uLnTx/>
                <a:uFillTx/>
                <a:latin typeface="Trebuchet MS"/>
                <a:ea typeface="+mn-ea"/>
                <a:cs typeface="Trebuchet MS"/>
              </a:rPr>
              <a:t>0.4</a:t>
            </a:r>
            <a:r>
              <a:rPr kumimoji="0" sz="1400" b="1" i="0" u="none" strike="noStrike" kern="0" cap="none" spc="-20" normalizeH="0" baseline="0" noProof="0" dirty="0">
                <a:ln>
                  <a:noFill/>
                </a:ln>
                <a:solidFill>
                  <a:srgbClr val="585353"/>
                </a:solidFill>
                <a:effectLst/>
                <a:uLnTx/>
                <a:uFillTx/>
                <a:latin typeface="Trebuchet MS"/>
                <a:ea typeface="+mn-ea"/>
                <a:cs typeface="Trebuchet MS"/>
              </a:rPr>
              <a:t> </a:t>
            </a:r>
            <a:r>
              <a:rPr kumimoji="0" sz="1400" b="1" i="0" u="none" strike="noStrike" kern="0" cap="none" spc="0" normalizeH="0" baseline="0" noProof="0" dirty="0">
                <a:ln>
                  <a:noFill/>
                </a:ln>
                <a:solidFill>
                  <a:srgbClr val="585353"/>
                </a:solidFill>
                <a:effectLst/>
                <a:uLnTx/>
                <a:uFillTx/>
                <a:latin typeface="Trebuchet MS"/>
                <a:ea typeface="+mn-ea"/>
                <a:cs typeface="Trebuchet MS"/>
              </a:rPr>
              <a:t>mg,</a:t>
            </a:r>
            <a:r>
              <a:rPr kumimoji="0" sz="1400" b="1" i="0" u="none" strike="noStrike" kern="0" cap="none" spc="-25" normalizeH="0" baseline="0" noProof="0" dirty="0">
                <a:ln>
                  <a:noFill/>
                </a:ln>
                <a:solidFill>
                  <a:srgbClr val="585353"/>
                </a:solidFill>
                <a:effectLst/>
                <a:uLnTx/>
                <a:uFillTx/>
                <a:latin typeface="Trebuchet MS"/>
                <a:ea typeface="+mn-ea"/>
                <a:cs typeface="Trebuchet MS"/>
              </a:rPr>
              <a:t> </a:t>
            </a:r>
            <a:r>
              <a:rPr kumimoji="0" sz="1400" b="1" i="0" u="none" strike="noStrike" kern="0" cap="none" spc="0" normalizeH="0" baseline="0" noProof="0" dirty="0">
                <a:ln>
                  <a:noFill/>
                </a:ln>
                <a:solidFill>
                  <a:srgbClr val="585353"/>
                </a:solidFill>
                <a:effectLst/>
                <a:uLnTx/>
                <a:uFillTx/>
                <a:latin typeface="Trebuchet MS"/>
                <a:ea typeface="+mn-ea"/>
                <a:cs typeface="Trebuchet MS"/>
              </a:rPr>
              <a:t>D1–</a:t>
            </a:r>
            <a:r>
              <a:rPr kumimoji="0" sz="1400" b="1" i="0" u="none" strike="noStrike" kern="0" cap="none" spc="-50" normalizeH="0" baseline="0" noProof="0" dirty="0">
                <a:ln>
                  <a:noFill/>
                </a:ln>
                <a:solidFill>
                  <a:srgbClr val="585353"/>
                </a:solidFill>
                <a:effectLst/>
                <a:uLnTx/>
                <a:uFillTx/>
                <a:latin typeface="Trebuchet MS"/>
                <a:ea typeface="+mn-ea"/>
                <a:cs typeface="Trebuchet MS"/>
              </a:rPr>
              <a:t>7</a:t>
            </a:r>
            <a:endParaRPr kumimoji="0" sz="1400" b="0" i="0" u="none" strike="noStrike" kern="0" cap="none" spc="0" normalizeH="0" baseline="0" noProof="0">
              <a:ln>
                <a:noFill/>
              </a:ln>
              <a:solidFill>
                <a:sysClr val="windowText" lastClr="000000"/>
              </a:solidFill>
              <a:effectLst/>
              <a:uLnTx/>
              <a:uFillTx/>
              <a:latin typeface="Trebuchet MS"/>
              <a:ea typeface="+mn-ea"/>
              <a:cs typeface="Trebuchet MS"/>
            </a:endParaRPr>
          </a:p>
          <a:p>
            <a:pPr marL="0" marR="0" lvl="0" indent="0" algn="ctr" defTabSz="914400" rtl="0" eaLnBrk="1" fontAlgn="auto" latinLnBrk="0" hangingPunct="1">
              <a:lnSpc>
                <a:spcPct val="100000"/>
              </a:lnSpc>
              <a:spcBef>
                <a:spcPts val="5"/>
              </a:spcBef>
              <a:spcAft>
                <a:spcPts val="0"/>
              </a:spcAft>
              <a:buClrTx/>
              <a:buSzTx/>
              <a:buFontTx/>
              <a:buNone/>
              <a:tabLst/>
              <a:defRPr/>
            </a:pPr>
            <a:r>
              <a:rPr kumimoji="0" sz="1200" b="0" i="0" u="none" strike="noStrike" kern="0" cap="none" spc="-10" normalizeH="0" baseline="0" noProof="0" dirty="0">
                <a:ln>
                  <a:noFill/>
                </a:ln>
                <a:solidFill>
                  <a:srgbClr val="585353"/>
                </a:solidFill>
                <a:effectLst/>
                <a:uLnTx/>
                <a:uFillTx/>
                <a:latin typeface="Trebuchet MS"/>
                <a:ea typeface="+mn-ea"/>
                <a:cs typeface="Trebuchet MS"/>
              </a:rPr>
              <a:t>Efficacy-evaluable</a:t>
            </a:r>
            <a:r>
              <a:rPr kumimoji="0" sz="1200" b="0" i="0" u="none" strike="noStrike" kern="0" cap="none" spc="-25"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population</a:t>
            </a:r>
            <a:r>
              <a:rPr kumimoji="0" sz="1200" b="0" i="0" u="none" strike="noStrike" kern="0" cap="none" spc="-35"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n</a:t>
            </a:r>
            <a:r>
              <a:rPr kumimoji="0" sz="1200" b="0" i="0" u="none" strike="noStrike" kern="0" cap="none" spc="10"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a:t>
            </a:r>
            <a:r>
              <a:rPr kumimoji="0" sz="1200" b="0" i="0" u="none" strike="noStrike" kern="0" cap="none" spc="5" normalizeH="0" baseline="0" noProof="0" dirty="0">
                <a:ln>
                  <a:noFill/>
                </a:ln>
                <a:solidFill>
                  <a:srgbClr val="585353"/>
                </a:solidFill>
                <a:effectLst/>
                <a:uLnTx/>
                <a:uFillTx/>
                <a:latin typeface="Trebuchet MS"/>
                <a:ea typeface="+mn-ea"/>
                <a:cs typeface="Trebuchet MS"/>
              </a:rPr>
              <a:t> </a:t>
            </a:r>
            <a:r>
              <a:rPr kumimoji="0" sz="1200" b="0" i="0" u="none" strike="noStrike" kern="0" cap="none" spc="-25" normalizeH="0" baseline="0" noProof="0" dirty="0">
                <a:ln>
                  <a:noFill/>
                </a:ln>
                <a:solidFill>
                  <a:srgbClr val="585353"/>
                </a:solidFill>
                <a:effectLst/>
                <a:uLnTx/>
                <a:uFillTx/>
                <a:latin typeface="Trebuchet MS"/>
                <a:ea typeface="+mn-ea"/>
                <a:cs typeface="Trebuchet MS"/>
              </a:rPr>
              <a:t>33)</a:t>
            </a:r>
            <a:endParaRPr kumimoji="0" sz="1200" b="0" i="0" u="none" strike="noStrike" kern="0" cap="none" spc="0" normalizeH="0" baseline="0" noProof="0">
              <a:ln>
                <a:noFill/>
              </a:ln>
              <a:solidFill>
                <a:sysClr val="windowText" lastClr="000000"/>
              </a:solidFill>
              <a:effectLst/>
              <a:uLnTx/>
              <a:uFillTx/>
              <a:latin typeface="Trebuchet MS"/>
              <a:ea typeface="+mn-ea"/>
              <a:cs typeface="Trebuchet MS"/>
            </a:endParaRPr>
          </a:p>
        </p:txBody>
      </p:sp>
      <p:graphicFrame>
        <p:nvGraphicFramePr>
          <p:cNvPr id="4" name="object 4"/>
          <p:cNvGraphicFramePr>
            <a:graphicFrameLocks noGrp="1"/>
          </p:cNvGraphicFramePr>
          <p:nvPr/>
        </p:nvGraphicFramePr>
        <p:xfrm>
          <a:off x="7097776" y="1672082"/>
          <a:ext cx="4735829" cy="2348865"/>
        </p:xfrm>
        <a:graphic>
          <a:graphicData uri="http://schemas.openxmlformats.org/drawingml/2006/table">
            <a:tbl>
              <a:tblPr firstRow="1" bandRow="1">
                <a:tableStyleId>{2D5ABB26-0587-4C30-8999-92F81FD0307C}</a:tableStyleId>
              </a:tblPr>
              <a:tblGrid>
                <a:gridCol w="2026920">
                  <a:extLst>
                    <a:ext uri="{9D8B030D-6E8A-4147-A177-3AD203B41FA5}">
                      <a16:colId xmlns:a16="http://schemas.microsoft.com/office/drawing/2014/main" val="20000"/>
                    </a:ext>
                  </a:extLst>
                </a:gridCol>
                <a:gridCol w="1332230">
                  <a:extLst>
                    <a:ext uri="{9D8B030D-6E8A-4147-A177-3AD203B41FA5}">
                      <a16:colId xmlns:a16="http://schemas.microsoft.com/office/drawing/2014/main" val="20001"/>
                    </a:ext>
                  </a:extLst>
                </a:gridCol>
                <a:gridCol w="1376679">
                  <a:extLst>
                    <a:ext uri="{9D8B030D-6E8A-4147-A177-3AD203B41FA5}">
                      <a16:colId xmlns:a16="http://schemas.microsoft.com/office/drawing/2014/main" val="20002"/>
                    </a:ext>
                  </a:extLst>
                </a:gridCol>
              </a:tblGrid>
              <a:tr h="1014730">
                <a:tc>
                  <a:txBody>
                    <a:bodyPr/>
                    <a:lstStyle/>
                    <a:p>
                      <a:pPr marL="122555" marR="374015">
                        <a:lnSpc>
                          <a:spcPct val="102099"/>
                        </a:lnSpc>
                        <a:spcBef>
                          <a:spcPts val="625"/>
                        </a:spcBef>
                      </a:pPr>
                      <a:r>
                        <a:rPr sz="1400" b="1" dirty="0">
                          <a:solidFill>
                            <a:srgbClr val="FFFFFF"/>
                          </a:solidFill>
                          <a:latin typeface="Trebuchet MS"/>
                          <a:cs typeface="Trebuchet MS"/>
                        </a:rPr>
                        <a:t>Safety</a:t>
                      </a:r>
                      <a:r>
                        <a:rPr sz="1400" b="1" spc="-25" dirty="0">
                          <a:solidFill>
                            <a:srgbClr val="FFFFFF"/>
                          </a:solidFill>
                          <a:latin typeface="Trebuchet MS"/>
                          <a:cs typeface="Trebuchet MS"/>
                        </a:rPr>
                        <a:t> </a:t>
                      </a:r>
                      <a:r>
                        <a:rPr sz="1400" b="1" spc="-10" dirty="0">
                          <a:solidFill>
                            <a:srgbClr val="FFFFFF"/>
                          </a:solidFill>
                          <a:latin typeface="Trebuchet MS"/>
                          <a:cs typeface="Trebuchet MS"/>
                        </a:rPr>
                        <a:t>population </a:t>
                      </a:r>
                      <a:r>
                        <a:rPr sz="1400" b="1" dirty="0">
                          <a:solidFill>
                            <a:srgbClr val="FFFFFF"/>
                          </a:solidFill>
                          <a:latin typeface="Trebuchet MS"/>
                          <a:cs typeface="Trebuchet MS"/>
                        </a:rPr>
                        <a:t>(DOR,</a:t>
                      </a:r>
                      <a:r>
                        <a:rPr sz="1400" b="1" spc="-20" dirty="0">
                          <a:solidFill>
                            <a:srgbClr val="FFFFFF"/>
                          </a:solidFill>
                          <a:latin typeface="Trebuchet MS"/>
                          <a:cs typeface="Trebuchet MS"/>
                        </a:rPr>
                        <a:t> </a:t>
                      </a:r>
                      <a:r>
                        <a:rPr sz="1400" b="1" dirty="0">
                          <a:solidFill>
                            <a:srgbClr val="FFFFFF"/>
                          </a:solidFill>
                          <a:latin typeface="Trebuchet MS"/>
                          <a:cs typeface="Trebuchet MS"/>
                        </a:rPr>
                        <a:t>PFS,</a:t>
                      </a:r>
                      <a:r>
                        <a:rPr sz="1400" b="1" spc="-35" dirty="0">
                          <a:solidFill>
                            <a:srgbClr val="FFFFFF"/>
                          </a:solidFill>
                          <a:latin typeface="Trebuchet MS"/>
                          <a:cs typeface="Trebuchet MS"/>
                        </a:rPr>
                        <a:t> </a:t>
                      </a:r>
                      <a:r>
                        <a:rPr sz="1400" b="1" dirty="0">
                          <a:solidFill>
                            <a:srgbClr val="FFFFFF"/>
                          </a:solidFill>
                          <a:latin typeface="Trebuchet MS"/>
                          <a:cs typeface="Trebuchet MS"/>
                        </a:rPr>
                        <a:t>and</a:t>
                      </a:r>
                      <a:r>
                        <a:rPr sz="1400" b="1" spc="-20" dirty="0">
                          <a:solidFill>
                            <a:srgbClr val="FFFFFF"/>
                          </a:solidFill>
                          <a:latin typeface="Trebuchet MS"/>
                          <a:cs typeface="Trebuchet MS"/>
                        </a:rPr>
                        <a:t> </a:t>
                      </a:r>
                      <a:r>
                        <a:rPr sz="1400" b="1" spc="-25" dirty="0">
                          <a:solidFill>
                            <a:srgbClr val="FFFFFF"/>
                          </a:solidFill>
                          <a:latin typeface="Trebuchet MS"/>
                          <a:cs typeface="Trebuchet MS"/>
                        </a:rPr>
                        <a:t>OS</a:t>
                      </a:r>
                      <a:endParaRPr sz="1400" dirty="0">
                        <a:latin typeface="Trebuchet MS"/>
                        <a:cs typeface="Trebuchet MS"/>
                      </a:endParaRPr>
                    </a:p>
                    <a:p>
                      <a:pPr marL="122555">
                        <a:lnSpc>
                          <a:spcPts val="1430"/>
                        </a:lnSpc>
                      </a:pPr>
                      <a:r>
                        <a:rPr sz="1400" b="1" dirty="0">
                          <a:solidFill>
                            <a:srgbClr val="FFFFFF"/>
                          </a:solidFill>
                          <a:latin typeface="Trebuchet MS"/>
                          <a:cs typeface="Trebuchet MS"/>
                        </a:rPr>
                        <a:t>rates</a:t>
                      </a:r>
                      <a:r>
                        <a:rPr sz="1400" b="1" spc="-40" dirty="0">
                          <a:solidFill>
                            <a:srgbClr val="FFFFFF"/>
                          </a:solidFill>
                          <a:latin typeface="Trebuchet MS"/>
                          <a:cs typeface="Trebuchet MS"/>
                        </a:rPr>
                        <a:t> </a:t>
                      </a:r>
                      <a:r>
                        <a:rPr sz="1400" b="1" dirty="0">
                          <a:solidFill>
                            <a:srgbClr val="FFFFFF"/>
                          </a:solidFill>
                          <a:latin typeface="Trebuchet MS"/>
                          <a:cs typeface="Trebuchet MS"/>
                        </a:rPr>
                        <a:t>were</a:t>
                      </a:r>
                      <a:r>
                        <a:rPr sz="1400" b="1" spc="-55" dirty="0">
                          <a:solidFill>
                            <a:srgbClr val="FFFFFF"/>
                          </a:solidFill>
                          <a:latin typeface="Trebuchet MS"/>
                          <a:cs typeface="Trebuchet MS"/>
                        </a:rPr>
                        <a:t> </a:t>
                      </a:r>
                      <a:r>
                        <a:rPr sz="1400" b="1" spc="-10" dirty="0">
                          <a:solidFill>
                            <a:srgbClr val="FFFFFF"/>
                          </a:solidFill>
                          <a:latin typeface="Trebuchet MS"/>
                          <a:cs typeface="Trebuchet MS"/>
                        </a:rPr>
                        <a:t>assessed</a:t>
                      </a:r>
                      <a:endParaRPr sz="1400" dirty="0">
                        <a:latin typeface="Trebuchet MS"/>
                        <a:cs typeface="Trebuchet MS"/>
                      </a:endParaRPr>
                    </a:p>
                    <a:p>
                      <a:pPr marL="122555">
                        <a:lnSpc>
                          <a:spcPts val="1595"/>
                        </a:lnSpc>
                      </a:pPr>
                      <a:r>
                        <a:rPr sz="1400" b="1" dirty="0">
                          <a:solidFill>
                            <a:srgbClr val="FFFFFF"/>
                          </a:solidFill>
                          <a:latin typeface="Trebuchet MS"/>
                          <a:cs typeface="Trebuchet MS"/>
                        </a:rPr>
                        <a:t>at</a:t>
                      </a:r>
                      <a:r>
                        <a:rPr sz="1400" b="1" spc="-15" dirty="0">
                          <a:solidFill>
                            <a:srgbClr val="FFFFFF"/>
                          </a:solidFill>
                          <a:latin typeface="Trebuchet MS"/>
                          <a:cs typeface="Trebuchet MS"/>
                        </a:rPr>
                        <a:t> </a:t>
                      </a:r>
                      <a:r>
                        <a:rPr sz="1400" b="1" dirty="0">
                          <a:solidFill>
                            <a:srgbClr val="FFFFFF"/>
                          </a:solidFill>
                          <a:latin typeface="Trebuchet MS"/>
                          <a:cs typeface="Trebuchet MS"/>
                        </a:rPr>
                        <a:t>12</a:t>
                      </a:r>
                      <a:r>
                        <a:rPr sz="1400" b="1" spc="-5" dirty="0">
                          <a:solidFill>
                            <a:srgbClr val="FFFFFF"/>
                          </a:solidFill>
                          <a:latin typeface="Trebuchet MS"/>
                          <a:cs typeface="Trebuchet MS"/>
                        </a:rPr>
                        <a:t> </a:t>
                      </a:r>
                      <a:r>
                        <a:rPr sz="1400" b="1" spc="-10" dirty="0">
                          <a:solidFill>
                            <a:srgbClr val="FFFFFF"/>
                          </a:solidFill>
                          <a:latin typeface="Trebuchet MS"/>
                          <a:cs typeface="Trebuchet MS"/>
                        </a:rPr>
                        <a:t>months)</a:t>
                      </a:r>
                      <a:endParaRPr sz="1400" dirty="0">
                        <a:latin typeface="Trebuchet MS"/>
                        <a:cs typeface="Trebuchet MS"/>
                      </a:endParaRPr>
                    </a:p>
                  </a:txBody>
                  <a:tcPr marL="0" marR="0" marT="79375" marB="0">
                    <a:lnL w="19050">
                      <a:solidFill>
                        <a:srgbClr val="585353"/>
                      </a:solidFill>
                      <a:prstDash val="solid"/>
                    </a:lnL>
                    <a:lnR w="12700">
                      <a:solidFill>
                        <a:srgbClr val="FFFFFF"/>
                      </a:solidFill>
                      <a:prstDash val="solid"/>
                    </a:lnR>
                    <a:solidFill>
                      <a:srgbClr val="585353"/>
                    </a:solidFill>
                  </a:tcPr>
                </a:tc>
                <a:tc>
                  <a:txBody>
                    <a:bodyPr/>
                    <a:lstStyle/>
                    <a:p>
                      <a:pPr>
                        <a:lnSpc>
                          <a:spcPct val="100000"/>
                        </a:lnSpc>
                        <a:spcBef>
                          <a:spcPts val="665"/>
                        </a:spcBef>
                      </a:pPr>
                      <a:endParaRPr sz="1400">
                        <a:latin typeface="Times New Roman"/>
                        <a:cs typeface="Times New Roman"/>
                      </a:endParaRPr>
                    </a:p>
                    <a:p>
                      <a:pPr marL="381000">
                        <a:lnSpc>
                          <a:spcPts val="1595"/>
                        </a:lnSpc>
                      </a:pPr>
                      <a:r>
                        <a:rPr sz="1400" b="1" dirty="0">
                          <a:solidFill>
                            <a:srgbClr val="FFFFFF"/>
                          </a:solidFill>
                          <a:latin typeface="Trebuchet MS"/>
                          <a:cs typeface="Trebuchet MS"/>
                        </a:rPr>
                        <a:t>0.4</a:t>
                      </a:r>
                      <a:r>
                        <a:rPr sz="1400" b="1" spc="-5" dirty="0">
                          <a:solidFill>
                            <a:srgbClr val="FFFFFF"/>
                          </a:solidFill>
                          <a:latin typeface="Trebuchet MS"/>
                          <a:cs typeface="Trebuchet MS"/>
                        </a:rPr>
                        <a:t> </a:t>
                      </a:r>
                      <a:r>
                        <a:rPr sz="1400" b="1" spc="-25" dirty="0">
                          <a:solidFill>
                            <a:srgbClr val="FFFFFF"/>
                          </a:solidFill>
                          <a:latin typeface="Trebuchet MS"/>
                          <a:cs typeface="Trebuchet MS"/>
                        </a:rPr>
                        <a:t>mg</a:t>
                      </a:r>
                      <a:endParaRPr sz="1400">
                        <a:latin typeface="Trebuchet MS"/>
                        <a:cs typeface="Trebuchet MS"/>
                      </a:endParaRPr>
                    </a:p>
                    <a:p>
                      <a:pPr marL="338455">
                        <a:lnSpc>
                          <a:spcPts val="1595"/>
                        </a:lnSpc>
                      </a:pPr>
                      <a:r>
                        <a:rPr sz="1400" b="1" dirty="0">
                          <a:solidFill>
                            <a:srgbClr val="FFFFFF"/>
                          </a:solidFill>
                          <a:latin typeface="Trebuchet MS"/>
                          <a:cs typeface="Trebuchet MS"/>
                        </a:rPr>
                        <a:t>(n</a:t>
                      </a:r>
                      <a:r>
                        <a:rPr sz="1400" b="1" spc="-10" dirty="0">
                          <a:solidFill>
                            <a:srgbClr val="FFFFFF"/>
                          </a:solidFill>
                          <a:latin typeface="Trebuchet MS"/>
                          <a:cs typeface="Trebuchet MS"/>
                        </a:rPr>
                        <a:t> </a:t>
                      </a:r>
                      <a:r>
                        <a:rPr sz="1400" b="1" dirty="0">
                          <a:solidFill>
                            <a:srgbClr val="FFFFFF"/>
                          </a:solidFill>
                          <a:latin typeface="Trebuchet MS"/>
                          <a:cs typeface="Trebuchet MS"/>
                        </a:rPr>
                        <a:t>=</a:t>
                      </a:r>
                      <a:r>
                        <a:rPr sz="1400" b="1" spc="-5" dirty="0">
                          <a:solidFill>
                            <a:srgbClr val="FFFFFF"/>
                          </a:solidFill>
                          <a:latin typeface="Trebuchet MS"/>
                          <a:cs typeface="Trebuchet MS"/>
                        </a:rPr>
                        <a:t> </a:t>
                      </a:r>
                      <a:r>
                        <a:rPr sz="1400" b="1" spc="-25" dirty="0">
                          <a:solidFill>
                            <a:srgbClr val="FFFFFF"/>
                          </a:solidFill>
                          <a:latin typeface="Trebuchet MS"/>
                          <a:cs typeface="Trebuchet MS"/>
                        </a:rPr>
                        <a:t>37)</a:t>
                      </a:r>
                      <a:endParaRPr sz="1400">
                        <a:latin typeface="Trebuchet MS"/>
                        <a:cs typeface="Trebuchet MS"/>
                      </a:endParaRPr>
                    </a:p>
                  </a:txBody>
                  <a:tcPr marL="0" marR="0" marT="84455" marB="0">
                    <a:lnL w="12700">
                      <a:solidFill>
                        <a:srgbClr val="FFFFFF"/>
                      </a:solidFill>
                      <a:prstDash val="solid"/>
                    </a:lnL>
                    <a:lnR w="12700">
                      <a:solidFill>
                        <a:srgbClr val="FFFFFF"/>
                      </a:solidFill>
                      <a:prstDash val="solid"/>
                    </a:lnR>
                    <a:solidFill>
                      <a:srgbClr val="585353"/>
                    </a:solidFill>
                  </a:tcPr>
                </a:tc>
                <a:tc>
                  <a:txBody>
                    <a:bodyPr/>
                    <a:lstStyle/>
                    <a:p>
                      <a:pPr marL="294005" marR="282575" indent="107950">
                        <a:lnSpc>
                          <a:spcPct val="98100"/>
                        </a:lnSpc>
                        <a:spcBef>
                          <a:spcPts val="595"/>
                        </a:spcBef>
                      </a:pPr>
                      <a:r>
                        <a:rPr sz="1400" b="1" dirty="0">
                          <a:solidFill>
                            <a:srgbClr val="FFFFFF"/>
                          </a:solidFill>
                          <a:latin typeface="Trebuchet MS"/>
                          <a:cs typeface="Trebuchet MS"/>
                        </a:rPr>
                        <a:t>0.4</a:t>
                      </a:r>
                      <a:r>
                        <a:rPr sz="1400" b="1" spc="-5" dirty="0">
                          <a:solidFill>
                            <a:srgbClr val="FFFFFF"/>
                          </a:solidFill>
                          <a:latin typeface="Trebuchet MS"/>
                          <a:cs typeface="Trebuchet MS"/>
                        </a:rPr>
                        <a:t> </a:t>
                      </a:r>
                      <a:r>
                        <a:rPr sz="1400" b="1" spc="-25" dirty="0">
                          <a:solidFill>
                            <a:srgbClr val="FFFFFF"/>
                          </a:solidFill>
                          <a:latin typeface="Trebuchet MS"/>
                          <a:cs typeface="Trebuchet MS"/>
                        </a:rPr>
                        <a:t>mg </a:t>
                      </a:r>
                      <a:r>
                        <a:rPr sz="1400" b="1" spc="-10" dirty="0">
                          <a:solidFill>
                            <a:srgbClr val="FFFFFF"/>
                          </a:solidFill>
                          <a:latin typeface="Trebuchet MS"/>
                          <a:cs typeface="Trebuchet MS"/>
                        </a:rPr>
                        <a:t>high-risk</a:t>
                      </a:r>
                      <a:r>
                        <a:rPr sz="1350" b="1" spc="-15" baseline="24691" dirty="0">
                          <a:solidFill>
                            <a:srgbClr val="FFFFFF"/>
                          </a:solidFill>
                          <a:latin typeface="Trebuchet MS"/>
                          <a:cs typeface="Trebuchet MS"/>
                        </a:rPr>
                        <a:t>b </a:t>
                      </a:r>
                      <a:r>
                        <a:rPr sz="1400" b="1" spc="-10" dirty="0">
                          <a:solidFill>
                            <a:srgbClr val="FFFFFF"/>
                          </a:solidFill>
                          <a:latin typeface="Trebuchet MS"/>
                          <a:cs typeface="Trebuchet MS"/>
                        </a:rPr>
                        <a:t>patients </a:t>
                      </a:r>
                      <a:r>
                        <a:rPr sz="1400" b="1" dirty="0">
                          <a:solidFill>
                            <a:srgbClr val="FFFFFF"/>
                          </a:solidFill>
                          <a:latin typeface="Trebuchet MS"/>
                          <a:cs typeface="Trebuchet MS"/>
                        </a:rPr>
                        <a:t>(n</a:t>
                      </a:r>
                      <a:r>
                        <a:rPr sz="1400" b="1" spc="-10" dirty="0">
                          <a:solidFill>
                            <a:srgbClr val="FFFFFF"/>
                          </a:solidFill>
                          <a:latin typeface="Trebuchet MS"/>
                          <a:cs typeface="Trebuchet MS"/>
                        </a:rPr>
                        <a:t> </a:t>
                      </a:r>
                      <a:r>
                        <a:rPr sz="1400" b="1" dirty="0">
                          <a:solidFill>
                            <a:srgbClr val="FFFFFF"/>
                          </a:solidFill>
                          <a:latin typeface="Trebuchet MS"/>
                          <a:cs typeface="Trebuchet MS"/>
                        </a:rPr>
                        <a:t>=</a:t>
                      </a:r>
                      <a:r>
                        <a:rPr sz="1400" b="1" spc="-5" dirty="0">
                          <a:solidFill>
                            <a:srgbClr val="FFFFFF"/>
                          </a:solidFill>
                          <a:latin typeface="Trebuchet MS"/>
                          <a:cs typeface="Trebuchet MS"/>
                        </a:rPr>
                        <a:t> </a:t>
                      </a:r>
                      <a:r>
                        <a:rPr sz="1400" b="1" spc="-25" dirty="0">
                          <a:solidFill>
                            <a:srgbClr val="FFFFFF"/>
                          </a:solidFill>
                          <a:latin typeface="Trebuchet MS"/>
                          <a:cs typeface="Trebuchet MS"/>
                        </a:rPr>
                        <a:t>31)</a:t>
                      </a:r>
                      <a:endParaRPr sz="1400">
                        <a:latin typeface="Trebuchet MS"/>
                        <a:cs typeface="Trebuchet MS"/>
                      </a:endParaRPr>
                    </a:p>
                  </a:txBody>
                  <a:tcPr marL="0" marR="0" marT="75565" marB="0">
                    <a:lnL w="12700">
                      <a:solidFill>
                        <a:srgbClr val="FFFFFF"/>
                      </a:solidFill>
                      <a:prstDash val="solid"/>
                    </a:lnL>
                    <a:lnR w="19050">
                      <a:solidFill>
                        <a:srgbClr val="585353"/>
                      </a:solidFill>
                      <a:prstDash val="solid"/>
                    </a:lnR>
                    <a:solidFill>
                      <a:srgbClr val="585353"/>
                    </a:solidFill>
                  </a:tcPr>
                </a:tc>
                <a:extLst>
                  <a:ext uri="{0D108BD9-81ED-4DB2-BD59-A6C34878D82A}">
                    <a16:rowId xmlns:a16="http://schemas.microsoft.com/office/drawing/2014/main" val="10000"/>
                  </a:ext>
                </a:extLst>
              </a:tr>
              <a:tr h="455930">
                <a:tc>
                  <a:txBody>
                    <a:bodyPr/>
                    <a:lstStyle/>
                    <a:p>
                      <a:pPr marL="122555">
                        <a:lnSpc>
                          <a:spcPct val="100000"/>
                        </a:lnSpc>
                        <a:spcBef>
                          <a:spcPts val="810"/>
                        </a:spcBef>
                      </a:pPr>
                      <a:r>
                        <a:rPr sz="1400" b="1" dirty="0">
                          <a:solidFill>
                            <a:srgbClr val="585353"/>
                          </a:solidFill>
                          <a:latin typeface="Trebuchet MS"/>
                          <a:cs typeface="Trebuchet MS"/>
                        </a:rPr>
                        <a:t>Median</a:t>
                      </a:r>
                      <a:r>
                        <a:rPr sz="1400" b="1" spc="-45" dirty="0">
                          <a:solidFill>
                            <a:srgbClr val="585353"/>
                          </a:solidFill>
                          <a:latin typeface="Trebuchet MS"/>
                          <a:cs typeface="Trebuchet MS"/>
                        </a:rPr>
                        <a:t> </a:t>
                      </a:r>
                      <a:r>
                        <a:rPr sz="1400" b="1" dirty="0">
                          <a:solidFill>
                            <a:srgbClr val="585353"/>
                          </a:solidFill>
                          <a:latin typeface="Trebuchet MS"/>
                          <a:cs typeface="Trebuchet MS"/>
                        </a:rPr>
                        <a:t>DOR,</a:t>
                      </a:r>
                      <a:r>
                        <a:rPr sz="1400" b="1" spc="-25" dirty="0">
                          <a:solidFill>
                            <a:srgbClr val="585353"/>
                          </a:solidFill>
                          <a:latin typeface="Trebuchet MS"/>
                          <a:cs typeface="Trebuchet MS"/>
                        </a:rPr>
                        <a:t> </a:t>
                      </a:r>
                      <a:r>
                        <a:rPr sz="1400" b="1" spc="-10" dirty="0">
                          <a:solidFill>
                            <a:srgbClr val="585353"/>
                          </a:solidFill>
                          <a:latin typeface="Trebuchet MS"/>
                          <a:cs typeface="Trebuchet MS"/>
                        </a:rPr>
                        <a:t>months</a:t>
                      </a:r>
                      <a:endParaRPr sz="1400">
                        <a:latin typeface="Trebuchet MS"/>
                        <a:cs typeface="Trebuchet MS"/>
                      </a:endParaRPr>
                    </a:p>
                  </a:txBody>
                  <a:tcPr marL="0" marR="0" marT="102870" marB="0">
                    <a:lnL w="19050">
                      <a:solidFill>
                        <a:srgbClr val="585353"/>
                      </a:solidFill>
                      <a:prstDash val="solid"/>
                    </a:lnL>
                    <a:lnR w="12700">
                      <a:solidFill>
                        <a:srgbClr val="585353"/>
                      </a:solidFill>
                      <a:prstDash val="solid"/>
                    </a:lnR>
                    <a:lnB w="12700">
                      <a:solidFill>
                        <a:srgbClr val="585353"/>
                      </a:solidFill>
                      <a:prstDash val="solid"/>
                    </a:lnB>
                  </a:tcPr>
                </a:tc>
                <a:tc>
                  <a:txBody>
                    <a:bodyPr/>
                    <a:lstStyle/>
                    <a:p>
                      <a:pPr marL="3175" algn="ctr">
                        <a:lnSpc>
                          <a:spcPct val="100000"/>
                        </a:lnSpc>
                        <a:spcBef>
                          <a:spcPts val="890"/>
                        </a:spcBef>
                      </a:pPr>
                      <a:r>
                        <a:rPr sz="1400" b="1" spc="-25" dirty="0">
                          <a:solidFill>
                            <a:srgbClr val="585353"/>
                          </a:solidFill>
                          <a:latin typeface="Trebuchet MS"/>
                          <a:cs typeface="Trebuchet MS"/>
                        </a:rPr>
                        <a:t>NR</a:t>
                      </a:r>
                      <a:endParaRPr sz="1400">
                        <a:latin typeface="Trebuchet MS"/>
                        <a:cs typeface="Trebuchet MS"/>
                      </a:endParaRPr>
                    </a:p>
                  </a:txBody>
                  <a:tcPr marL="0" marR="0" marT="113030" marB="0">
                    <a:lnL w="12700">
                      <a:solidFill>
                        <a:srgbClr val="585353"/>
                      </a:solidFill>
                      <a:prstDash val="solid"/>
                    </a:lnL>
                    <a:lnR w="12700">
                      <a:solidFill>
                        <a:srgbClr val="585353"/>
                      </a:solidFill>
                      <a:prstDash val="solid"/>
                    </a:lnR>
                    <a:lnB w="12700">
                      <a:solidFill>
                        <a:srgbClr val="585353"/>
                      </a:solidFill>
                      <a:prstDash val="solid"/>
                    </a:lnB>
                  </a:tcPr>
                </a:tc>
                <a:tc>
                  <a:txBody>
                    <a:bodyPr/>
                    <a:lstStyle/>
                    <a:p>
                      <a:pPr marL="2540" algn="ctr">
                        <a:lnSpc>
                          <a:spcPct val="100000"/>
                        </a:lnSpc>
                        <a:spcBef>
                          <a:spcPts val="890"/>
                        </a:spcBef>
                      </a:pPr>
                      <a:r>
                        <a:rPr sz="1400" b="1" spc="-25" dirty="0">
                          <a:solidFill>
                            <a:srgbClr val="585353"/>
                          </a:solidFill>
                          <a:latin typeface="Trebuchet MS"/>
                          <a:cs typeface="Trebuchet MS"/>
                        </a:rPr>
                        <a:t>NR</a:t>
                      </a:r>
                      <a:endParaRPr sz="1400">
                        <a:latin typeface="Trebuchet MS"/>
                        <a:cs typeface="Trebuchet MS"/>
                      </a:endParaRPr>
                    </a:p>
                  </a:txBody>
                  <a:tcPr marL="0" marR="0" marT="113030" marB="0">
                    <a:lnL w="12700">
                      <a:solidFill>
                        <a:srgbClr val="585353"/>
                      </a:solidFill>
                      <a:prstDash val="solid"/>
                    </a:lnL>
                    <a:lnR w="19050">
                      <a:solidFill>
                        <a:srgbClr val="585353"/>
                      </a:solidFill>
                      <a:prstDash val="solid"/>
                    </a:lnR>
                    <a:lnB w="12700">
                      <a:solidFill>
                        <a:srgbClr val="585353"/>
                      </a:solidFill>
                      <a:prstDash val="solid"/>
                    </a:lnB>
                  </a:tcPr>
                </a:tc>
                <a:extLst>
                  <a:ext uri="{0D108BD9-81ED-4DB2-BD59-A6C34878D82A}">
                    <a16:rowId xmlns:a16="http://schemas.microsoft.com/office/drawing/2014/main" val="10001"/>
                  </a:ext>
                </a:extLst>
              </a:tr>
              <a:tr h="292735">
                <a:tc>
                  <a:txBody>
                    <a:bodyPr/>
                    <a:lstStyle/>
                    <a:p>
                      <a:pPr marL="122555">
                        <a:lnSpc>
                          <a:spcPct val="100000"/>
                        </a:lnSpc>
                        <a:spcBef>
                          <a:spcPts val="190"/>
                        </a:spcBef>
                      </a:pPr>
                      <a:r>
                        <a:rPr sz="1400" b="1" dirty="0">
                          <a:solidFill>
                            <a:srgbClr val="585353"/>
                          </a:solidFill>
                          <a:latin typeface="Trebuchet MS"/>
                          <a:cs typeface="Trebuchet MS"/>
                        </a:rPr>
                        <a:t>DOR</a:t>
                      </a:r>
                      <a:r>
                        <a:rPr sz="1400" b="1" spc="-30" dirty="0">
                          <a:solidFill>
                            <a:srgbClr val="585353"/>
                          </a:solidFill>
                          <a:latin typeface="Trebuchet MS"/>
                          <a:cs typeface="Trebuchet MS"/>
                        </a:rPr>
                        <a:t> </a:t>
                      </a:r>
                      <a:r>
                        <a:rPr sz="1400" b="1" dirty="0">
                          <a:solidFill>
                            <a:srgbClr val="585353"/>
                          </a:solidFill>
                          <a:latin typeface="Trebuchet MS"/>
                          <a:cs typeface="Trebuchet MS"/>
                        </a:rPr>
                        <a:t>rate,</a:t>
                      </a:r>
                      <a:r>
                        <a:rPr sz="1400" b="1" spc="-30" dirty="0">
                          <a:solidFill>
                            <a:srgbClr val="585353"/>
                          </a:solidFill>
                          <a:latin typeface="Trebuchet MS"/>
                          <a:cs typeface="Trebuchet MS"/>
                        </a:rPr>
                        <a:t> </a:t>
                      </a:r>
                      <a:r>
                        <a:rPr sz="1400" b="1" dirty="0">
                          <a:solidFill>
                            <a:srgbClr val="585353"/>
                          </a:solidFill>
                          <a:latin typeface="Trebuchet MS"/>
                          <a:cs typeface="Trebuchet MS"/>
                        </a:rPr>
                        <a:t>%</a:t>
                      </a:r>
                      <a:r>
                        <a:rPr sz="1400" b="1" spc="-25" dirty="0">
                          <a:solidFill>
                            <a:srgbClr val="585353"/>
                          </a:solidFill>
                          <a:latin typeface="Trebuchet MS"/>
                          <a:cs typeface="Trebuchet MS"/>
                        </a:rPr>
                        <a:t> </a:t>
                      </a:r>
                      <a:r>
                        <a:rPr sz="1400" b="1" spc="-10" dirty="0">
                          <a:solidFill>
                            <a:srgbClr val="585353"/>
                          </a:solidFill>
                          <a:latin typeface="Trebuchet MS"/>
                          <a:cs typeface="Trebuchet MS"/>
                        </a:rPr>
                        <a:t>(n/N)</a:t>
                      </a:r>
                      <a:endParaRPr sz="1400">
                        <a:latin typeface="Trebuchet MS"/>
                        <a:cs typeface="Trebuchet MS"/>
                      </a:endParaRPr>
                    </a:p>
                  </a:txBody>
                  <a:tcPr marL="0" marR="0" marT="24130" marB="0">
                    <a:lnL w="19050">
                      <a:solidFill>
                        <a:srgbClr val="585353"/>
                      </a:solidFill>
                      <a:prstDash val="solid"/>
                    </a:lnL>
                    <a:lnR w="12700">
                      <a:solidFill>
                        <a:srgbClr val="585353"/>
                      </a:solidFill>
                      <a:prstDash val="solid"/>
                    </a:lnR>
                    <a:lnT w="12700">
                      <a:solidFill>
                        <a:srgbClr val="585353"/>
                      </a:solidFill>
                      <a:prstDash val="solid"/>
                    </a:lnT>
                    <a:lnB w="12700">
                      <a:solidFill>
                        <a:srgbClr val="585353"/>
                      </a:solidFill>
                      <a:prstDash val="solid"/>
                    </a:lnB>
                  </a:tcPr>
                </a:tc>
                <a:tc>
                  <a:txBody>
                    <a:bodyPr/>
                    <a:lstStyle/>
                    <a:p>
                      <a:pPr marL="1270" algn="ctr">
                        <a:lnSpc>
                          <a:spcPct val="100000"/>
                        </a:lnSpc>
                        <a:spcBef>
                          <a:spcPts val="275"/>
                        </a:spcBef>
                      </a:pPr>
                      <a:r>
                        <a:rPr sz="1400" b="1" dirty="0">
                          <a:solidFill>
                            <a:srgbClr val="585353"/>
                          </a:solidFill>
                          <a:latin typeface="Trebuchet MS"/>
                          <a:cs typeface="Trebuchet MS"/>
                        </a:rPr>
                        <a:t>97</a:t>
                      </a:r>
                      <a:r>
                        <a:rPr sz="1400" b="1" spc="-15" dirty="0">
                          <a:solidFill>
                            <a:srgbClr val="585353"/>
                          </a:solidFill>
                          <a:latin typeface="Trebuchet MS"/>
                          <a:cs typeface="Trebuchet MS"/>
                        </a:rPr>
                        <a:t> </a:t>
                      </a:r>
                      <a:r>
                        <a:rPr sz="1400" b="1" spc="-10" dirty="0">
                          <a:solidFill>
                            <a:srgbClr val="585353"/>
                          </a:solidFill>
                          <a:latin typeface="Trebuchet MS"/>
                          <a:cs typeface="Trebuchet MS"/>
                        </a:rPr>
                        <a:t>(32/33)</a:t>
                      </a:r>
                      <a:endParaRPr sz="1400">
                        <a:latin typeface="Trebuchet MS"/>
                        <a:cs typeface="Trebuchet MS"/>
                      </a:endParaRPr>
                    </a:p>
                  </a:txBody>
                  <a:tcPr marL="0" marR="0" marT="34925" marB="0">
                    <a:lnL w="12700">
                      <a:solidFill>
                        <a:srgbClr val="585353"/>
                      </a:solidFill>
                      <a:prstDash val="solid"/>
                    </a:lnL>
                    <a:lnR w="12700">
                      <a:solidFill>
                        <a:srgbClr val="585353"/>
                      </a:solidFill>
                      <a:prstDash val="solid"/>
                    </a:lnR>
                    <a:lnT w="12700">
                      <a:solidFill>
                        <a:srgbClr val="585353"/>
                      </a:solidFill>
                      <a:prstDash val="solid"/>
                    </a:lnT>
                    <a:lnB w="12700">
                      <a:solidFill>
                        <a:srgbClr val="585353"/>
                      </a:solidFill>
                      <a:prstDash val="solid"/>
                    </a:lnB>
                  </a:tcPr>
                </a:tc>
                <a:tc>
                  <a:txBody>
                    <a:bodyPr/>
                    <a:lstStyle/>
                    <a:p>
                      <a:pPr marL="635" algn="ctr">
                        <a:lnSpc>
                          <a:spcPct val="100000"/>
                        </a:lnSpc>
                        <a:spcBef>
                          <a:spcPts val="275"/>
                        </a:spcBef>
                      </a:pPr>
                      <a:r>
                        <a:rPr sz="1400" b="1" dirty="0">
                          <a:solidFill>
                            <a:srgbClr val="585353"/>
                          </a:solidFill>
                          <a:latin typeface="Trebuchet MS"/>
                          <a:cs typeface="Trebuchet MS"/>
                        </a:rPr>
                        <a:t>96</a:t>
                      </a:r>
                      <a:r>
                        <a:rPr sz="1400" b="1" spc="-15" dirty="0">
                          <a:solidFill>
                            <a:srgbClr val="585353"/>
                          </a:solidFill>
                          <a:latin typeface="Trebuchet MS"/>
                          <a:cs typeface="Trebuchet MS"/>
                        </a:rPr>
                        <a:t> </a:t>
                      </a:r>
                      <a:r>
                        <a:rPr sz="1400" b="1" spc="-10" dirty="0">
                          <a:solidFill>
                            <a:srgbClr val="585353"/>
                          </a:solidFill>
                          <a:latin typeface="Trebuchet MS"/>
                          <a:cs typeface="Trebuchet MS"/>
                        </a:rPr>
                        <a:t>(27/28)</a:t>
                      </a:r>
                      <a:endParaRPr sz="1400">
                        <a:latin typeface="Trebuchet MS"/>
                        <a:cs typeface="Trebuchet MS"/>
                      </a:endParaRPr>
                    </a:p>
                  </a:txBody>
                  <a:tcPr marL="0" marR="0" marT="34925" marB="0">
                    <a:lnL w="12700">
                      <a:solidFill>
                        <a:srgbClr val="585353"/>
                      </a:solidFill>
                      <a:prstDash val="solid"/>
                    </a:lnL>
                    <a:lnR w="19050">
                      <a:solidFill>
                        <a:srgbClr val="585353"/>
                      </a:solidFill>
                      <a:prstDash val="solid"/>
                    </a:lnR>
                    <a:lnT w="12700">
                      <a:solidFill>
                        <a:srgbClr val="585353"/>
                      </a:solidFill>
                      <a:prstDash val="solid"/>
                    </a:lnT>
                    <a:lnB w="12700">
                      <a:solidFill>
                        <a:srgbClr val="585353"/>
                      </a:solidFill>
                      <a:prstDash val="solid"/>
                    </a:lnB>
                  </a:tcPr>
                </a:tc>
                <a:extLst>
                  <a:ext uri="{0D108BD9-81ED-4DB2-BD59-A6C34878D82A}">
                    <a16:rowId xmlns:a16="http://schemas.microsoft.com/office/drawing/2014/main" val="10002"/>
                  </a:ext>
                </a:extLst>
              </a:tr>
              <a:tr h="292735">
                <a:tc>
                  <a:txBody>
                    <a:bodyPr/>
                    <a:lstStyle/>
                    <a:p>
                      <a:pPr marL="122555">
                        <a:lnSpc>
                          <a:spcPct val="100000"/>
                        </a:lnSpc>
                        <a:spcBef>
                          <a:spcPts val="190"/>
                        </a:spcBef>
                      </a:pPr>
                      <a:r>
                        <a:rPr sz="1400" b="1" dirty="0">
                          <a:solidFill>
                            <a:srgbClr val="585353"/>
                          </a:solidFill>
                          <a:latin typeface="Trebuchet MS"/>
                          <a:cs typeface="Trebuchet MS"/>
                        </a:rPr>
                        <a:t>PFS</a:t>
                      </a:r>
                      <a:r>
                        <a:rPr sz="1400" b="1" spc="-65" dirty="0">
                          <a:solidFill>
                            <a:srgbClr val="585353"/>
                          </a:solidFill>
                          <a:latin typeface="Trebuchet MS"/>
                          <a:cs typeface="Trebuchet MS"/>
                        </a:rPr>
                        <a:t> </a:t>
                      </a:r>
                      <a:r>
                        <a:rPr sz="1400" b="1" dirty="0">
                          <a:solidFill>
                            <a:srgbClr val="585353"/>
                          </a:solidFill>
                          <a:latin typeface="Trebuchet MS"/>
                          <a:cs typeface="Trebuchet MS"/>
                        </a:rPr>
                        <a:t>rate,</a:t>
                      </a:r>
                      <a:r>
                        <a:rPr sz="1400" b="1" spc="-30" dirty="0">
                          <a:solidFill>
                            <a:srgbClr val="585353"/>
                          </a:solidFill>
                          <a:latin typeface="Trebuchet MS"/>
                          <a:cs typeface="Trebuchet MS"/>
                        </a:rPr>
                        <a:t> </a:t>
                      </a:r>
                      <a:r>
                        <a:rPr sz="1400" b="1" spc="-50" dirty="0">
                          <a:solidFill>
                            <a:srgbClr val="585353"/>
                          </a:solidFill>
                          <a:latin typeface="Trebuchet MS"/>
                          <a:cs typeface="Trebuchet MS"/>
                        </a:rPr>
                        <a:t>%</a:t>
                      </a:r>
                      <a:endParaRPr sz="1400">
                        <a:latin typeface="Trebuchet MS"/>
                        <a:cs typeface="Trebuchet MS"/>
                      </a:endParaRPr>
                    </a:p>
                  </a:txBody>
                  <a:tcPr marL="0" marR="0" marT="24130" marB="0">
                    <a:lnL w="19050">
                      <a:solidFill>
                        <a:srgbClr val="585353"/>
                      </a:solidFill>
                      <a:prstDash val="solid"/>
                    </a:lnL>
                    <a:lnR w="12700">
                      <a:solidFill>
                        <a:srgbClr val="585353"/>
                      </a:solidFill>
                      <a:prstDash val="solid"/>
                    </a:lnR>
                    <a:lnT w="12700">
                      <a:solidFill>
                        <a:srgbClr val="585353"/>
                      </a:solidFill>
                      <a:prstDash val="solid"/>
                    </a:lnT>
                    <a:lnB w="12700">
                      <a:solidFill>
                        <a:srgbClr val="585353"/>
                      </a:solidFill>
                      <a:prstDash val="solid"/>
                    </a:lnB>
                  </a:tcPr>
                </a:tc>
                <a:tc>
                  <a:txBody>
                    <a:bodyPr/>
                    <a:lstStyle/>
                    <a:p>
                      <a:pPr marL="635" algn="ctr">
                        <a:lnSpc>
                          <a:spcPct val="100000"/>
                        </a:lnSpc>
                        <a:spcBef>
                          <a:spcPts val="275"/>
                        </a:spcBef>
                      </a:pPr>
                      <a:r>
                        <a:rPr sz="1400" b="1" spc="-25" dirty="0">
                          <a:solidFill>
                            <a:srgbClr val="585353"/>
                          </a:solidFill>
                          <a:latin typeface="Trebuchet MS"/>
                          <a:cs typeface="Trebuchet MS"/>
                        </a:rPr>
                        <a:t>85</a:t>
                      </a:r>
                      <a:endParaRPr sz="1400">
                        <a:latin typeface="Trebuchet MS"/>
                        <a:cs typeface="Trebuchet MS"/>
                      </a:endParaRPr>
                    </a:p>
                  </a:txBody>
                  <a:tcPr marL="0" marR="0" marT="34925" marB="0">
                    <a:lnL w="12700">
                      <a:solidFill>
                        <a:srgbClr val="585353"/>
                      </a:solidFill>
                      <a:prstDash val="solid"/>
                    </a:lnL>
                    <a:lnR w="12700">
                      <a:solidFill>
                        <a:srgbClr val="585353"/>
                      </a:solidFill>
                      <a:prstDash val="solid"/>
                    </a:lnR>
                    <a:lnT w="12700">
                      <a:solidFill>
                        <a:srgbClr val="585353"/>
                      </a:solidFill>
                      <a:prstDash val="solid"/>
                    </a:lnT>
                    <a:lnB w="12700">
                      <a:solidFill>
                        <a:srgbClr val="585353"/>
                      </a:solidFill>
                      <a:prstDash val="solid"/>
                    </a:lnB>
                  </a:tcPr>
                </a:tc>
                <a:tc>
                  <a:txBody>
                    <a:bodyPr/>
                    <a:lstStyle/>
                    <a:p>
                      <a:pPr algn="ctr">
                        <a:lnSpc>
                          <a:spcPct val="100000"/>
                        </a:lnSpc>
                        <a:spcBef>
                          <a:spcPts val="275"/>
                        </a:spcBef>
                      </a:pPr>
                      <a:r>
                        <a:rPr sz="1400" b="1" spc="-25" dirty="0">
                          <a:solidFill>
                            <a:srgbClr val="585353"/>
                          </a:solidFill>
                          <a:latin typeface="Trebuchet MS"/>
                          <a:cs typeface="Trebuchet MS"/>
                        </a:rPr>
                        <a:t>86</a:t>
                      </a:r>
                      <a:endParaRPr sz="1400">
                        <a:latin typeface="Trebuchet MS"/>
                        <a:cs typeface="Trebuchet MS"/>
                      </a:endParaRPr>
                    </a:p>
                  </a:txBody>
                  <a:tcPr marL="0" marR="0" marT="34925" marB="0">
                    <a:lnL w="12700">
                      <a:solidFill>
                        <a:srgbClr val="585353"/>
                      </a:solidFill>
                      <a:prstDash val="solid"/>
                    </a:lnL>
                    <a:lnR w="19050">
                      <a:solidFill>
                        <a:srgbClr val="585353"/>
                      </a:solidFill>
                      <a:prstDash val="solid"/>
                    </a:lnR>
                    <a:lnT w="12700">
                      <a:solidFill>
                        <a:srgbClr val="585353"/>
                      </a:solidFill>
                      <a:prstDash val="solid"/>
                    </a:lnT>
                    <a:lnB w="12700">
                      <a:solidFill>
                        <a:srgbClr val="585353"/>
                      </a:solidFill>
                      <a:prstDash val="solid"/>
                    </a:lnB>
                  </a:tcPr>
                </a:tc>
                <a:extLst>
                  <a:ext uri="{0D108BD9-81ED-4DB2-BD59-A6C34878D82A}">
                    <a16:rowId xmlns:a16="http://schemas.microsoft.com/office/drawing/2014/main" val="10003"/>
                  </a:ext>
                </a:extLst>
              </a:tr>
              <a:tr h="292735">
                <a:tc>
                  <a:txBody>
                    <a:bodyPr/>
                    <a:lstStyle/>
                    <a:p>
                      <a:pPr marL="122555">
                        <a:lnSpc>
                          <a:spcPct val="100000"/>
                        </a:lnSpc>
                        <a:spcBef>
                          <a:spcPts val="190"/>
                        </a:spcBef>
                      </a:pPr>
                      <a:r>
                        <a:rPr sz="1400" b="1" dirty="0">
                          <a:solidFill>
                            <a:srgbClr val="585353"/>
                          </a:solidFill>
                          <a:latin typeface="Trebuchet MS"/>
                          <a:cs typeface="Trebuchet MS"/>
                        </a:rPr>
                        <a:t>OS</a:t>
                      </a:r>
                      <a:r>
                        <a:rPr sz="1400" b="1" spc="-40" dirty="0">
                          <a:solidFill>
                            <a:srgbClr val="585353"/>
                          </a:solidFill>
                          <a:latin typeface="Trebuchet MS"/>
                          <a:cs typeface="Trebuchet MS"/>
                        </a:rPr>
                        <a:t> </a:t>
                      </a:r>
                      <a:r>
                        <a:rPr sz="1400" b="1" dirty="0">
                          <a:solidFill>
                            <a:srgbClr val="585353"/>
                          </a:solidFill>
                          <a:latin typeface="Trebuchet MS"/>
                          <a:cs typeface="Trebuchet MS"/>
                        </a:rPr>
                        <a:t>rate,</a:t>
                      </a:r>
                      <a:r>
                        <a:rPr sz="1400" b="1" spc="-35" dirty="0">
                          <a:solidFill>
                            <a:srgbClr val="585353"/>
                          </a:solidFill>
                          <a:latin typeface="Trebuchet MS"/>
                          <a:cs typeface="Trebuchet MS"/>
                        </a:rPr>
                        <a:t> </a:t>
                      </a:r>
                      <a:r>
                        <a:rPr sz="1400" b="1" spc="-50" dirty="0">
                          <a:solidFill>
                            <a:srgbClr val="585353"/>
                          </a:solidFill>
                          <a:latin typeface="Trebuchet MS"/>
                          <a:cs typeface="Trebuchet MS"/>
                        </a:rPr>
                        <a:t>%</a:t>
                      </a:r>
                      <a:endParaRPr sz="1400">
                        <a:latin typeface="Trebuchet MS"/>
                        <a:cs typeface="Trebuchet MS"/>
                      </a:endParaRPr>
                    </a:p>
                  </a:txBody>
                  <a:tcPr marL="0" marR="0" marT="24130" marB="0">
                    <a:lnL w="19050">
                      <a:solidFill>
                        <a:srgbClr val="585353"/>
                      </a:solidFill>
                      <a:prstDash val="solid"/>
                    </a:lnL>
                    <a:lnR w="12700">
                      <a:solidFill>
                        <a:srgbClr val="585353"/>
                      </a:solidFill>
                      <a:prstDash val="solid"/>
                    </a:lnR>
                    <a:lnT w="12700">
                      <a:solidFill>
                        <a:srgbClr val="585353"/>
                      </a:solidFill>
                      <a:prstDash val="solid"/>
                    </a:lnT>
                    <a:lnB w="12700">
                      <a:solidFill>
                        <a:srgbClr val="585353"/>
                      </a:solidFill>
                      <a:prstDash val="solid"/>
                    </a:lnB>
                  </a:tcPr>
                </a:tc>
                <a:tc>
                  <a:txBody>
                    <a:bodyPr/>
                    <a:lstStyle/>
                    <a:p>
                      <a:pPr marL="635" algn="ctr">
                        <a:lnSpc>
                          <a:spcPct val="100000"/>
                        </a:lnSpc>
                        <a:spcBef>
                          <a:spcPts val="275"/>
                        </a:spcBef>
                      </a:pPr>
                      <a:r>
                        <a:rPr sz="1400" b="1" spc="-25" dirty="0">
                          <a:solidFill>
                            <a:srgbClr val="585353"/>
                          </a:solidFill>
                          <a:latin typeface="Trebuchet MS"/>
                          <a:cs typeface="Trebuchet MS"/>
                        </a:rPr>
                        <a:t>91</a:t>
                      </a:r>
                      <a:endParaRPr sz="1400">
                        <a:latin typeface="Trebuchet MS"/>
                        <a:cs typeface="Trebuchet MS"/>
                      </a:endParaRPr>
                    </a:p>
                  </a:txBody>
                  <a:tcPr marL="0" marR="0" marT="34925" marB="0">
                    <a:lnL w="12700">
                      <a:solidFill>
                        <a:srgbClr val="585353"/>
                      </a:solidFill>
                      <a:prstDash val="solid"/>
                    </a:lnL>
                    <a:lnR w="12700">
                      <a:solidFill>
                        <a:srgbClr val="585353"/>
                      </a:solidFill>
                      <a:prstDash val="solid"/>
                    </a:lnR>
                    <a:lnT w="12700">
                      <a:solidFill>
                        <a:srgbClr val="585353"/>
                      </a:solidFill>
                      <a:prstDash val="solid"/>
                    </a:lnT>
                    <a:lnB w="12700">
                      <a:solidFill>
                        <a:srgbClr val="585353"/>
                      </a:solidFill>
                      <a:prstDash val="solid"/>
                    </a:lnB>
                  </a:tcPr>
                </a:tc>
                <a:tc>
                  <a:txBody>
                    <a:bodyPr/>
                    <a:lstStyle/>
                    <a:p>
                      <a:pPr algn="ctr">
                        <a:lnSpc>
                          <a:spcPct val="100000"/>
                        </a:lnSpc>
                        <a:spcBef>
                          <a:spcPts val="275"/>
                        </a:spcBef>
                      </a:pPr>
                      <a:r>
                        <a:rPr sz="1400" b="1" spc="-25" dirty="0">
                          <a:solidFill>
                            <a:srgbClr val="585353"/>
                          </a:solidFill>
                          <a:latin typeface="Trebuchet MS"/>
                          <a:cs typeface="Trebuchet MS"/>
                        </a:rPr>
                        <a:t>93</a:t>
                      </a:r>
                      <a:endParaRPr sz="1400" dirty="0">
                        <a:latin typeface="Trebuchet MS"/>
                        <a:cs typeface="Trebuchet MS"/>
                      </a:endParaRPr>
                    </a:p>
                  </a:txBody>
                  <a:tcPr marL="0" marR="0" marT="34925" marB="0">
                    <a:lnL w="12700">
                      <a:solidFill>
                        <a:srgbClr val="585353"/>
                      </a:solidFill>
                      <a:prstDash val="solid"/>
                    </a:lnL>
                    <a:lnR w="19050">
                      <a:solidFill>
                        <a:srgbClr val="585353"/>
                      </a:solidFill>
                      <a:prstDash val="solid"/>
                    </a:lnR>
                    <a:lnT w="12700">
                      <a:solidFill>
                        <a:srgbClr val="585353"/>
                      </a:solidFill>
                      <a:prstDash val="solid"/>
                    </a:lnT>
                    <a:lnB w="12700">
                      <a:solidFill>
                        <a:srgbClr val="585353"/>
                      </a:solidFill>
                      <a:prstDash val="solid"/>
                    </a:lnB>
                  </a:tcPr>
                </a:tc>
                <a:extLst>
                  <a:ext uri="{0D108BD9-81ED-4DB2-BD59-A6C34878D82A}">
                    <a16:rowId xmlns:a16="http://schemas.microsoft.com/office/drawing/2014/main" val="10004"/>
                  </a:ext>
                </a:extLst>
              </a:tr>
            </a:tbl>
          </a:graphicData>
        </a:graphic>
      </p:graphicFrame>
      <p:sp>
        <p:nvSpPr>
          <p:cNvPr id="5" name="object 5"/>
          <p:cNvSpPr txBox="1"/>
          <p:nvPr/>
        </p:nvSpPr>
        <p:spPr>
          <a:xfrm>
            <a:off x="359663" y="5640323"/>
            <a:ext cx="11456035" cy="338455"/>
          </a:xfrm>
          <a:prstGeom prst="rect">
            <a:avLst/>
          </a:prstGeom>
          <a:solidFill>
            <a:srgbClr val="FFEBCD"/>
          </a:solidFill>
        </p:spPr>
        <p:txBody>
          <a:bodyPr vert="horz" wrap="square" lIns="0" tIns="41910" rIns="0" bIns="0" rtlCol="0">
            <a:spAutoFit/>
          </a:bodyPr>
          <a:lstStyle/>
          <a:p>
            <a:pPr marL="580390" marR="0" lvl="0" indent="0" algn="l" defTabSz="914400" rtl="0" eaLnBrk="1" fontAlgn="auto" latinLnBrk="0" hangingPunct="1">
              <a:lnSpc>
                <a:spcPct val="100000"/>
              </a:lnSpc>
              <a:spcBef>
                <a:spcPts val="330"/>
              </a:spcBef>
              <a:spcAft>
                <a:spcPts val="0"/>
              </a:spcAft>
              <a:buClrTx/>
              <a:buSzTx/>
              <a:buFontTx/>
              <a:buNone/>
              <a:tabLst/>
              <a:defRPr/>
            </a:pPr>
            <a:r>
              <a:rPr kumimoji="0" sz="1600" b="0" i="0" u="none" strike="noStrike" kern="0" cap="none" spc="0" normalizeH="0" baseline="0" noProof="0" dirty="0">
                <a:ln>
                  <a:noFill/>
                </a:ln>
                <a:solidFill>
                  <a:srgbClr val="585353"/>
                </a:solidFill>
                <a:effectLst/>
                <a:uLnTx/>
                <a:uFillTx/>
                <a:latin typeface="Trebuchet MS"/>
                <a:ea typeface="+mn-ea"/>
                <a:cs typeface="Trebuchet MS"/>
              </a:rPr>
              <a:t>In</a:t>
            </a:r>
            <a:r>
              <a:rPr kumimoji="0" sz="1600" b="0" i="0" u="none" strike="noStrike" kern="0" cap="none" spc="-45" normalizeH="0" baseline="0" noProof="0" dirty="0">
                <a:ln>
                  <a:noFill/>
                </a:ln>
                <a:solidFill>
                  <a:srgbClr val="585353"/>
                </a:solidFill>
                <a:effectLst/>
                <a:uLnTx/>
                <a:uFillTx/>
                <a:latin typeface="Trebuchet MS"/>
                <a:ea typeface="+mn-ea"/>
                <a:cs typeface="Trebuchet MS"/>
              </a:rPr>
              <a:t> </a:t>
            </a:r>
            <a:r>
              <a:rPr kumimoji="0" sz="1600" b="0" i="0" u="none" strike="noStrike" kern="0" cap="none" spc="0" normalizeH="0" baseline="0" noProof="0" dirty="0">
                <a:ln>
                  <a:noFill/>
                </a:ln>
                <a:solidFill>
                  <a:srgbClr val="585353"/>
                </a:solidFill>
                <a:effectLst/>
                <a:uLnTx/>
                <a:uFillTx/>
                <a:latin typeface="Trebuchet MS"/>
                <a:ea typeface="+mn-ea"/>
                <a:cs typeface="Trebuchet MS"/>
              </a:rPr>
              <a:t>patients</a:t>
            </a:r>
            <a:r>
              <a:rPr kumimoji="0" sz="1600" b="0" i="0" u="none" strike="noStrike" kern="0" cap="none" spc="-45" normalizeH="0" baseline="0" noProof="0" dirty="0">
                <a:ln>
                  <a:noFill/>
                </a:ln>
                <a:solidFill>
                  <a:srgbClr val="585353"/>
                </a:solidFill>
                <a:effectLst/>
                <a:uLnTx/>
                <a:uFillTx/>
                <a:latin typeface="Trebuchet MS"/>
                <a:ea typeface="+mn-ea"/>
                <a:cs typeface="Trebuchet MS"/>
              </a:rPr>
              <a:t> </a:t>
            </a:r>
            <a:r>
              <a:rPr kumimoji="0" sz="1600" b="0" i="0" u="none" strike="noStrike" kern="0" cap="none" spc="0" normalizeH="0" baseline="0" noProof="0" dirty="0">
                <a:ln>
                  <a:noFill/>
                </a:ln>
                <a:solidFill>
                  <a:srgbClr val="585353"/>
                </a:solidFill>
                <a:effectLst/>
                <a:uLnTx/>
                <a:uFillTx/>
                <a:latin typeface="Trebuchet MS"/>
                <a:ea typeface="+mn-ea"/>
                <a:cs typeface="Trebuchet MS"/>
              </a:rPr>
              <a:t>treated</a:t>
            </a:r>
            <a:r>
              <a:rPr kumimoji="0" sz="1600" b="0" i="0" u="none" strike="noStrike" kern="0" cap="none" spc="-50" normalizeH="0" baseline="0" noProof="0" dirty="0">
                <a:ln>
                  <a:noFill/>
                </a:ln>
                <a:solidFill>
                  <a:srgbClr val="585353"/>
                </a:solidFill>
                <a:effectLst/>
                <a:uLnTx/>
                <a:uFillTx/>
                <a:latin typeface="Trebuchet MS"/>
                <a:ea typeface="+mn-ea"/>
                <a:cs typeface="Trebuchet MS"/>
              </a:rPr>
              <a:t> </a:t>
            </a:r>
            <a:r>
              <a:rPr kumimoji="0" sz="1600" b="0" i="0" u="none" strike="noStrike" kern="0" cap="none" spc="0" normalizeH="0" baseline="0" noProof="0" dirty="0">
                <a:ln>
                  <a:noFill/>
                </a:ln>
                <a:solidFill>
                  <a:srgbClr val="585353"/>
                </a:solidFill>
                <a:effectLst/>
                <a:uLnTx/>
                <a:uFillTx/>
                <a:latin typeface="Trebuchet MS"/>
                <a:ea typeface="+mn-ea"/>
                <a:cs typeface="Trebuchet MS"/>
              </a:rPr>
              <a:t>with</a:t>
            </a:r>
            <a:r>
              <a:rPr kumimoji="0" sz="1600" b="0" i="0" u="none" strike="noStrike" kern="0" cap="none" spc="-40" normalizeH="0" baseline="0" noProof="0" dirty="0">
                <a:ln>
                  <a:noFill/>
                </a:ln>
                <a:solidFill>
                  <a:srgbClr val="585353"/>
                </a:solidFill>
                <a:effectLst/>
                <a:uLnTx/>
                <a:uFillTx/>
                <a:latin typeface="Trebuchet MS"/>
                <a:ea typeface="+mn-ea"/>
                <a:cs typeface="Trebuchet MS"/>
              </a:rPr>
              <a:t> </a:t>
            </a:r>
            <a:r>
              <a:rPr kumimoji="0" sz="1600" b="0" i="0" u="none" strike="noStrike" kern="0" cap="none" spc="0" normalizeH="0" baseline="0" noProof="0" dirty="0">
                <a:ln>
                  <a:noFill/>
                </a:ln>
                <a:solidFill>
                  <a:srgbClr val="585353"/>
                </a:solidFill>
                <a:effectLst/>
                <a:uLnTx/>
                <a:uFillTx/>
                <a:latin typeface="Trebuchet MS"/>
                <a:ea typeface="+mn-ea"/>
                <a:cs typeface="Trebuchet MS"/>
              </a:rPr>
              <a:t>golcadomide</a:t>
            </a:r>
            <a:r>
              <a:rPr kumimoji="0" sz="1600" b="0" i="0" u="none" strike="noStrike" kern="0" cap="none" spc="-20" normalizeH="0" baseline="0" noProof="0" dirty="0">
                <a:ln>
                  <a:noFill/>
                </a:ln>
                <a:solidFill>
                  <a:srgbClr val="585353"/>
                </a:solidFill>
                <a:effectLst/>
                <a:uLnTx/>
                <a:uFillTx/>
                <a:latin typeface="Trebuchet MS"/>
                <a:ea typeface="+mn-ea"/>
                <a:cs typeface="Trebuchet MS"/>
              </a:rPr>
              <a:t> </a:t>
            </a:r>
            <a:r>
              <a:rPr kumimoji="0" sz="1600" b="0" i="0" u="none" strike="noStrike" kern="0" cap="none" spc="0" normalizeH="0" baseline="0" noProof="0" dirty="0">
                <a:ln>
                  <a:noFill/>
                </a:ln>
                <a:solidFill>
                  <a:srgbClr val="585353"/>
                </a:solidFill>
                <a:effectLst/>
                <a:uLnTx/>
                <a:uFillTx/>
                <a:latin typeface="Trebuchet MS"/>
                <a:ea typeface="+mn-ea"/>
                <a:cs typeface="Trebuchet MS"/>
              </a:rPr>
              <a:t>+</a:t>
            </a:r>
            <a:r>
              <a:rPr kumimoji="0" sz="1600" b="0" i="0" u="none" strike="noStrike" kern="0" cap="none" spc="-55" normalizeH="0" baseline="0" noProof="0" dirty="0">
                <a:ln>
                  <a:noFill/>
                </a:ln>
                <a:solidFill>
                  <a:srgbClr val="585353"/>
                </a:solidFill>
                <a:effectLst/>
                <a:uLnTx/>
                <a:uFillTx/>
                <a:latin typeface="Trebuchet MS"/>
                <a:ea typeface="+mn-ea"/>
                <a:cs typeface="Trebuchet MS"/>
              </a:rPr>
              <a:t> </a:t>
            </a:r>
            <a:r>
              <a:rPr kumimoji="0" sz="1600" b="0" i="0" u="none" strike="noStrike" kern="0" cap="none" spc="0" normalizeH="0" baseline="0" noProof="0" dirty="0">
                <a:ln>
                  <a:noFill/>
                </a:ln>
                <a:solidFill>
                  <a:srgbClr val="585353"/>
                </a:solidFill>
                <a:effectLst/>
                <a:uLnTx/>
                <a:uFillTx/>
                <a:latin typeface="Trebuchet MS"/>
                <a:ea typeface="+mn-ea"/>
                <a:cs typeface="Trebuchet MS"/>
              </a:rPr>
              <a:t>R-</a:t>
            </a:r>
            <a:r>
              <a:rPr kumimoji="0" sz="1600" b="0" i="0" u="none" strike="noStrike" kern="0" cap="none" spc="-60" normalizeH="0" baseline="0" noProof="0" dirty="0">
                <a:ln>
                  <a:noFill/>
                </a:ln>
                <a:solidFill>
                  <a:srgbClr val="585353"/>
                </a:solidFill>
                <a:effectLst/>
                <a:uLnTx/>
                <a:uFillTx/>
                <a:latin typeface="Trebuchet MS"/>
                <a:ea typeface="+mn-ea"/>
                <a:cs typeface="Trebuchet MS"/>
              </a:rPr>
              <a:t>CHOP,</a:t>
            </a:r>
            <a:r>
              <a:rPr kumimoji="0" sz="1600" b="0" i="0" u="none" strike="noStrike" kern="0" cap="none" spc="-35" normalizeH="0" baseline="0" noProof="0" dirty="0">
                <a:ln>
                  <a:noFill/>
                </a:ln>
                <a:solidFill>
                  <a:srgbClr val="585353"/>
                </a:solidFill>
                <a:effectLst/>
                <a:uLnTx/>
                <a:uFillTx/>
                <a:latin typeface="Trebuchet MS"/>
                <a:ea typeface="+mn-ea"/>
                <a:cs typeface="Trebuchet MS"/>
              </a:rPr>
              <a:t> </a:t>
            </a:r>
            <a:r>
              <a:rPr kumimoji="0" sz="1600" b="0" i="0" u="none" strike="noStrike" kern="0" cap="none" spc="0" normalizeH="0" baseline="0" noProof="0" dirty="0">
                <a:ln>
                  <a:noFill/>
                </a:ln>
                <a:solidFill>
                  <a:srgbClr val="585353"/>
                </a:solidFill>
                <a:effectLst/>
                <a:uLnTx/>
                <a:uFillTx/>
                <a:latin typeface="Trebuchet MS"/>
                <a:ea typeface="+mn-ea"/>
                <a:cs typeface="Trebuchet MS"/>
              </a:rPr>
              <a:t>response</a:t>
            </a:r>
            <a:r>
              <a:rPr kumimoji="0" sz="1600" b="0" i="0" u="none" strike="noStrike" kern="0" cap="none" spc="-30" normalizeH="0" baseline="0" noProof="0" dirty="0">
                <a:ln>
                  <a:noFill/>
                </a:ln>
                <a:solidFill>
                  <a:srgbClr val="585353"/>
                </a:solidFill>
                <a:effectLst/>
                <a:uLnTx/>
                <a:uFillTx/>
                <a:latin typeface="Trebuchet MS"/>
                <a:ea typeface="+mn-ea"/>
                <a:cs typeface="Trebuchet MS"/>
              </a:rPr>
              <a:t> </a:t>
            </a:r>
            <a:r>
              <a:rPr kumimoji="0" sz="1600" b="0" i="0" u="none" strike="noStrike" kern="0" cap="none" spc="0" normalizeH="0" baseline="0" noProof="0" dirty="0">
                <a:ln>
                  <a:noFill/>
                </a:ln>
                <a:solidFill>
                  <a:srgbClr val="585353"/>
                </a:solidFill>
                <a:effectLst/>
                <a:uLnTx/>
                <a:uFillTx/>
                <a:latin typeface="Trebuchet MS"/>
                <a:ea typeface="+mn-ea"/>
                <a:cs typeface="Trebuchet MS"/>
              </a:rPr>
              <a:t>occurred</a:t>
            </a:r>
            <a:r>
              <a:rPr kumimoji="0" sz="1600" b="0" i="0" u="none" strike="noStrike" kern="0" cap="none" spc="-55" normalizeH="0" baseline="0" noProof="0" dirty="0">
                <a:ln>
                  <a:noFill/>
                </a:ln>
                <a:solidFill>
                  <a:srgbClr val="585353"/>
                </a:solidFill>
                <a:effectLst/>
                <a:uLnTx/>
                <a:uFillTx/>
                <a:latin typeface="Trebuchet MS"/>
                <a:ea typeface="+mn-ea"/>
                <a:cs typeface="Trebuchet MS"/>
              </a:rPr>
              <a:t> </a:t>
            </a:r>
            <a:r>
              <a:rPr kumimoji="0" sz="1600" b="0" i="0" u="none" strike="noStrike" kern="0" cap="none" spc="0" normalizeH="0" baseline="0" noProof="0" dirty="0">
                <a:ln>
                  <a:noFill/>
                </a:ln>
                <a:solidFill>
                  <a:srgbClr val="585353"/>
                </a:solidFill>
                <a:effectLst/>
                <a:uLnTx/>
                <a:uFillTx/>
                <a:latin typeface="Trebuchet MS"/>
                <a:ea typeface="+mn-ea"/>
                <a:cs typeface="Trebuchet MS"/>
              </a:rPr>
              <a:t>early</a:t>
            </a:r>
            <a:r>
              <a:rPr kumimoji="0" sz="1600" b="0" i="0" u="none" strike="noStrike" kern="0" cap="none" spc="-40" normalizeH="0" baseline="0" noProof="0" dirty="0">
                <a:ln>
                  <a:noFill/>
                </a:ln>
                <a:solidFill>
                  <a:srgbClr val="585353"/>
                </a:solidFill>
                <a:effectLst/>
                <a:uLnTx/>
                <a:uFillTx/>
                <a:latin typeface="Trebuchet MS"/>
                <a:ea typeface="+mn-ea"/>
                <a:cs typeface="Trebuchet MS"/>
              </a:rPr>
              <a:t> </a:t>
            </a:r>
            <a:r>
              <a:rPr kumimoji="0" sz="1600" b="0" i="0" u="none" strike="noStrike" kern="0" cap="none" spc="0" normalizeH="0" baseline="0" noProof="0" dirty="0">
                <a:ln>
                  <a:noFill/>
                </a:ln>
                <a:solidFill>
                  <a:srgbClr val="585353"/>
                </a:solidFill>
                <a:effectLst/>
                <a:uLnTx/>
                <a:uFillTx/>
                <a:latin typeface="Trebuchet MS"/>
                <a:ea typeface="+mn-ea"/>
                <a:cs typeface="Trebuchet MS"/>
              </a:rPr>
              <a:t>in</a:t>
            </a:r>
            <a:r>
              <a:rPr kumimoji="0" sz="1600" b="0" i="0" u="none" strike="noStrike" kern="0" cap="none" spc="-45" normalizeH="0" baseline="0" noProof="0" dirty="0">
                <a:ln>
                  <a:noFill/>
                </a:ln>
                <a:solidFill>
                  <a:srgbClr val="585353"/>
                </a:solidFill>
                <a:effectLst/>
                <a:uLnTx/>
                <a:uFillTx/>
                <a:latin typeface="Trebuchet MS"/>
                <a:ea typeface="+mn-ea"/>
                <a:cs typeface="Trebuchet MS"/>
              </a:rPr>
              <a:t> </a:t>
            </a:r>
            <a:r>
              <a:rPr kumimoji="0" sz="1600" b="0" i="0" u="none" strike="noStrike" kern="0" cap="none" spc="0" normalizeH="0" baseline="0" noProof="0" dirty="0">
                <a:ln>
                  <a:noFill/>
                </a:ln>
                <a:solidFill>
                  <a:srgbClr val="585353"/>
                </a:solidFill>
                <a:effectLst/>
                <a:uLnTx/>
                <a:uFillTx/>
                <a:latin typeface="Trebuchet MS"/>
                <a:ea typeface="+mn-ea"/>
                <a:cs typeface="Trebuchet MS"/>
              </a:rPr>
              <a:t>treatment</a:t>
            </a:r>
            <a:r>
              <a:rPr kumimoji="0" sz="1600" b="0" i="0" u="none" strike="noStrike" kern="0" cap="none" spc="-40" normalizeH="0" baseline="0" noProof="0" dirty="0">
                <a:ln>
                  <a:noFill/>
                </a:ln>
                <a:solidFill>
                  <a:srgbClr val="585353"/>
                </a:solidFill>
                <a:effectLst/>
                <a:uLnTx/>
                <a:uFillTx/>
                <a:latin typeface="Trebuchet MS"/>
                <a:ea typeface="+mn-ea"/>
                <a:cs typeface="Trebuchet MS"/>
              </a:rPr>
              <a:t> </a:t>
            </a:r>
            <a:r>
              <a:rPr kumimoji="0" sz="1600" b="0" i="0" u="none" strike="noStrike" kern="0" cap="none" spc="0" normalizeH="0" baseline="0" noProof="0" dirty="0">
                <a:ln>
                  <a:noFill/>
                </a:ln>
                <a:solidFill>
                  <a:srgbClr val="585353"/>
                </a:solidFill>
                <a:effectLst/>
                <a:uLnTx/>
                <a:uFillTx/>
                <a:latin typeface="Trebuchet MS"/>
                <a:ea typeface="+mn-ea"/>
                <a:cs typeface="Trebuchet MS"/>
              </a:rPr>
              <a:t>and</a:t>
            </a:r>
            <a:r>
              <a:rPr kumimoji="0" sz="1600" b="0" i="0" u="none" strike="noStrike" kern="0" cap="none" spc="-55" normalizeH="0" baseline="0" noProof="0" dirty="0">
                <a:ln>
                  <a:noFill/>
                </a:ln>
                <a:solidFill>
                  <a:srgbClr val="585353"/>
                </a:solidFill>
                <a:effectLst/>
                <a:uLnTx/>
                <a:uFillTx/>
                <a:latin typeface="Trebuchet MS"/>
                <a:ea typeface="+mn-ea"/>
                <a:cs typeface="Trebuchet MS"/>
              </a:rPr>
              <a:t> </a:t>
            </a:r>
            <a:r>
              <a:rPr kumimoji="0" sz="1600" b="0" i="0" u="none" strike="noStrike" kern="0" cap="none" spc="0" normalizeH="0" baseline="0" noProof="0" dirty="0">
                <a:ln>
                  <a:noFill/>
                </a:ln>
                <a:solidFill>
                  <a:srgbClr val="585353"/>
                </a:solidFill>
                <a:effectLst/>
                <a:uLnTx/>
                <a:uFillTx/>
                <a:latin typeface="Trebuchet MS"/>
                <a:ea typeface="+mn-ea"/>
                <a:cs typeface="Trebuchet MS"/>
              </a:rPr>
              <a:t>independently</a:t>
            </a:r>
            <a:r>
              <a:rPr kumimoji="0" sz="1600" b="0" i="0" u="none" strike="noStrike" kern="0" cap="none" spc="-45" normalizeH="0" baseline="0" noProof="0" dirty="0">
                <a:ln>
                  <a:noFill/>
                </a:ln>
                <a:solidFill>
                  <a:srgbClr val="585353"/>
                </a:solidFill>
                <a:effectLst/>
                <a:uLnTx/>
                <a:uFillTx/>
                <a:latin typeface="Trebuchet MS"/>
                <a:ea typeface="+mn-ea"/>
                <a:cs typeface="Trebuchet MS"/>
              </a:rPr>
              <a:t> </a:t>
            </a:r>
            <a:r>
              <a:rPr kumimoji="0" sz="1600" b="0" i="0" u="none" strike="noStrike" kern="0" cap="none" spc="0" normalizeH="0" baseline="0" noProof="0" dirty="0">
                <a:ln>
                  <a:noFill/>
                </a:ln>
                <a:solidFill>
                  <a:srgbClr val="585353"/>
                </a:solidFill>
                <a:effectLst/>
                <a:uLnTx/>
                <a:uFillTx/>
                <a:latin typeface="Trebuchet MS"/>
                <a:ea typeface="+mn-ea"/>
                <a:cs typeface="Trebuchet MS"/>
              </a:rPr>
              <a:t>of</a:t>
            </a:r>
            <a:r>
              <a:rPr kumimoji="0" sz="1600" b="0" i="0" u="none" strike="noStrike" kern="0" cap="none" spc="-35" normalizeH="0" baseline="0" noProof="0" dirty="0">
                <a:ln>
                  <a:noFill/>
                </a:ln>
                <a:solidFill>
                  <a:srgbClr val="585353"/>
                </a:solidFill>
                <a:effectLst/>
                <a:uLnTx/>
                <a:uFillTx/>
                <a:latin typeface="Trebuchet MS"/>
                <a:ea typeface="+mn-ea"/>
                <a:cs typeface="Trebuchet MS"/>
              </a:rPr>
              <a:t> </a:t>
            </a:r>
            <a:r>
              <a:rPr kumimoji="0" sz="1600" b="0" i="0" u="none" strike="noStrike" kern="0" cap="none" spc="-25" normalizeH="0" baseline="0" noProof="0" dirty="0">
                <a:ln>
                  <a:noFill/>
                </a:ln>
                <a:solidFill>
                  <a:srgbClr val="585353"/>
                </a:solidFill>
                <a:effectLst/>
                <a:uLnTx/>
                <a:uFillTx/>
                <a:latin typeface="Trebuchet MS"/>
                <a:ea typeface="+mn-ea"/>
                <a:cs typeface="Trebuchet MS"/>
              </a:rPr>
              <a:t>COO</a:t>
            </a:r>
            <a:endParaRPr kumimoji="0" sz="1600" b="0" i="0" u="none" strike="noStrike" kern="0" cap="none" spc="0" normalizeH="0" baseline="0" noProof="0">
              <a:ln>
                <a:noFill/>
              </a:ln>
              <a:solidFill>
                <a:sysClr val="windowText" lastClr="000000"/>
              </a:solidFill>
              <a:effectLst/>
              <a:uLnTx/>
              <a:uFillTx/>
              <a:latin typeface="Trebuchet MS"/>
              <a:ea typeface="+mn-ea"/>
              <a:cs typeface="Trebuchet MS"/>
            </a:endParaRPr>
          </a:p>
        </p:txBody>
      </p:sp>
      <p:sp>
        <p:nvSpPr>
          <p:cNvPr id="6" name="object 6"/>
          <p:cNvSpPr txBox="1"/>
          <p:nvPr/>
        </p:nvSpPr>
        <p:spPr>
          <a:xfrm>
            <a:off x="2961894" y="5351145"/>
            <a:ext cx="3382645" cy="277495"/>
          </a:xfrm>
          <a:prstGeom prst="rect">
            <a:avLst/>
          </a:prstGeom>
        </p:spPr>
        <p:txBody>
          <a:bodyPr vert="horz" wrap="square" lIns="0" tIns="12700" rIns="0" bIns="0" rtlCol="0">
            <a:spAutoFit/>
          </a:bodyPr>
          <a:lstStyle/>
          <a:p>
            <a:pPr marL="537210" marR="0" lvl="0" indent="0" algn="l" defTabSz="914400" rtl="0" eaLnBrk="1" fontAlgn="auto" latinLnBrk="0" hangingPunct="1">
              <a:lnSpc>
                <a:spcPts val="810"/>
              </a:lnSpc>
              <a:spcBef>
                <a:spcPts val="100"/>
              </a:spcBef>
              <a:spcAft>
                <a:spcPts val="0"/>
              </a:spcAft>
              <a:buClrTx/>
              <a:buSzTx/>
              <a:buFontTx/>
              <a:buNone/>
              <a:tabLst>
                <a:tab pos="1218565" algn="l"/>
                <a:tab pos="1899920" algn="l"/>
                <a:tab pos="2581275" algn="l"/>
                <a:tab pos="3262629" algn="l"/>
              </a:tabLst>
              <a:defRPr/>
            </a:pPr>
            <a:r>
              <a:rPr kumimoji="0" sz="800" b="0" i="0" u="none" strike="noStrike" kern="0" cap="none" spc="-25" normalizeH="0" baseline="0" noProof="0" dirty="0">
                <a:ln>
                  <a:noFill/>
                </a:ln>
                <a:solidFill>
                  <a:srgbClr val="585353"/>
                </a:solidFill>
                <a:effectLst/>
                <a:uLnTx/>
                <a:uFillTx/>
                <a:latin typeface="Trebuchet MS"/>
                <a:ea typeface="+mn-ea"/>
                <a:cs typeface="Trebuchet MS"/>
              </a:rPr>
              <a:t>12</a:t>
            </a:r>
            <a:r>
              <a:rPr kumimoji="0" sz="800" b="0" i="0" u="none" strike="noStrike" kern="0" cap="none" spc="0" normalizeH="0" baseline="0" noProof="0" dirty="0">
                <a:ln>
                  <a:noFill/>
                </a:ln>
                <a:solidFill>
                  <a:srgbClr val="585353"/>
                </a:solidFill>
                <a:effectLst/>
                <a:uLnTx/>
                <a:uFillTx/>
                <a:latin typeface="Trebuchet MS"/>
                <a:ea typeface="+mn-ea"/>
                <a:cs typeface="Trebuchet MS"/>
              </a:rPr>
              <a:t>	</a:t>
            </a:r>
            <a:r>
              <a:rPr kumimoji="0" sz="800" b="0" i="0" u="none" strike="noStrike" kern="0" cap="none" spc="-25" normalizeH="0" baseline="0" noProof="0" dirty="0">
                <a:ln>
                  <a:noFill/>
                </a:ln>
                <a:solidFill>
                  <a:srgbClr val="585353"/>
                </a:solidFill>
                <a:effectLst/>
                <a:uLnTx/>
                <a:uFillTx/>
                <a:latin typeface="Trebuchet MS"/>
                <a:ea typeface="+mn-ea"/>
                <a:cs typeface="Trebuchet MS"/>
              </a:rPr>
              <a:t>15</a:t>
            </a:r>
            <a:r>
              <a:rPr kumimoji="0" sz="800" b="0" i="0" u="none" strike="noStrike" kern="0" cap="none" spc="0" normalizeH="0" baseline="0" noProof="0" dirty="0">
                <a:ln>
                  <a:noFill/>
                </a:ln>
                <a:solidFill>
                  <a:srgbClr val="585353"/>
                </a:solidFill>
                <a:effectLst/>
                <a:uLnTx/>
                <a:uFillTx/>
                <a:latin typeface="Trebuchet MS"/>
                <a:ea typeface="+mn-ea"/>
                <a:cs typeface="Trebuchet MS"/>
              </a:rPr>
              <a:t>	</a:t>
            </a:r>
            <a:r>
              <a:rPr kumimoji="0" sz="800" b="0" i="0" u="none" strike="noStrike" kern="0" cap="none" spc="-25" normalizeH="0" baseline="0" noProof="0" dirty="0">
                <a:ln>
                  <a:noFill/>
                </a:ln>
                <a:solidFill>
                  <a:srgbClr val="585353"/>
                </a:solidFill>
                <a:effectLst/>
                <a:uLnTx/>
                <a:uFillTx/>
                <a:latin typeface="Trebuchet MS"/>
                <a:ea typeface="+mn-ea"/>
                <a:cs typeface="Trebuchet MS"/>
              </a:rPr>
              <a:t>18</a:t>
            </a:r>
            <a:r>
              <a:rPr kumimoji="0" sz="800" b="0" i="0" u="none" strike="noStrike" kern="0" cap="none" spc="0" normalizeH="0" baseline="0" noProof="0" dirty="0">
                <a:ln>
                  <a:noFill/>
                </a:ln>
                <a:solidFill>
                  <a:srgbClr val="585353"/>
                </a:solidFill>
                <a:effectLst/>
                <a:uLnTx/>
                <a:uFillTx/>
                <a:latin typeface="Trebuchet MS"/>
                <a:ea typeface="+mn-ea"/>
                <a:cs typeface="Trebuchet MS"/>
              </a:rPr>
              <a:t>	</a:t>
            </a:r>
            <a:r>
              <a:rPr kumimoji="0" sz="800" b="0" i="0" u="none" strike="noStrike" kern="0" cap="none" spc="-25" normalizeH="0" baseline="0" noProof="0" dirty="0">
                <a:ln>
                  <a:noFill/>
                </a:ln>
                <a:solidFill>
                  <a:srgbClr val="585353"/>
                </a:solidFill>
                <a:effectLst/>
                <a:uLnTx/>
                <a:uFillTx/>
                <a:latin typeface="Trebuchet MS"/>
                <a:ea typeface="+mn-ea"/>
                <a:cs typeface="Trebuchet MS"/>
              </a:rPr>
              <a:t>21</a:t>
            </a:r>
            <a:r>
              <a:rPr kumimoji="0" sz="800" b="0" i="0" u="none" strike="noStrike" kern="0" cap="none" spc="0" normalizeH="0" baseline="0" noProof="0" dirty="0">
                <a:ln>
                  <a:noFill/>
                </a:ln>
                <a:solidFill>
                  <a:srgbClr val="585353"/>
                </a:solidFill>
                <a:effectLst/>
                <a:uLnTx/>
                <a:uFillTx/>
                <a:latin typeface="Trebuchet MS"/>
                <a:ea typeface="+mn-ea"/>
                <a:cs typeface="Trebuchet MS"/>
              </a:rPr>
              <a:t>	</a:t>
            </a:r>
            <a:r>
              <a:rPr kumimoji="0" sz="800" b="0" i="0" u="none" strike="noStrike" kern="0" cap="none" spc="-25" normalizeH="0" baseline="0" noProof="0" dirty="0">
                <a:ln>
                  <a:noFill/>
                </a:ln>
                <a:solidFill>
                  <a:srgbClr val="585353"/>
                </a:solidFill>
                <a:effectLst/>
                <a:uLnTx/>
                <a:uFillTx/>
                <a:latin typeface="Trebuchet MS"/>
                <a:ea typeface="+mn-ea"/>
                <a:cs typeface="Trebuchet MS"/>
              </a:rPr>
              <a:t>24</a:t>
            </a:r>
            <a:endParaRPr kumimoji="0" sz="800" b="0" i="0" u="none" strike="noStrike" kern="0" cap="none" spc="0" normalizeH="0" baseline="0" noProof="0">
              <a:ln>
                <a:noFill/>
              </a:ln>
              <a:solidFill>
                <a:sysClr val="windowText" lastClr="000000"/>
              </a:solidFill>
              <a:effectLst/>
              <a:uLnTx/>
              <a:uFillTx/>
              <a:latin typeface="Trebuchet MS"/>
              <a:ea typeface="+mn-ea"/>
              <a:cs typeface="Trebuchet MS"/>
            </a:endParaRPr>
          </a:p>
          <a:p>
            <a:pPr marL="12700" marR="0" lvl="0" indent="0" algn="l" defTabSz="914400" rtl="0" eaLnBrk="1" fontAlgn="auto" latinLnBrk="0" hangingPunct="1">
              <a:lnSpc>
                <a:spcPts val="1170"/>
              </a:lnSpc>
              <a:spcBef>
                <a:spcPts val="0"/>
              </a:spcBef>
              <a:spcAft>
                <a:spcPts val="0"/>
              </a:spcAft>
              <a:buClrTx/>
              <a:buSzTx/>
              <a:buFontTx/>
              <a:buNone/>
              <a:tabLst/>
              <a:defRPr/>
            </a:pPr>
            <a:r>
              <a:rPr kumimoji="0" sz="1100" b="1" i="0" u="none" strike="noStrike" kern="0" cap="none" spc="0" normalizeH="0" baseline="0" noProof="0" dirty="0">
                <a:ln>
                  <a:noFill/>
                </a:ln>
                <a:solidFill>
                  <a:srgbClr val="585353"/>
                </a:solidFill>
                <a:effectLst/>
                <a:uLnTx/>
                <a:uFillTx/>
                <a:latin typeface="Trebuchet MS"/>
                <a:ea typeface="+mn-ea"/>
                <a:cs typeface="Trebuchet MS"/>
              </a:rPr>
              <a:t>Study</a:t>
            </a:r>
            <a:r>
              <a:rPr kumimoji="0" sz="1100" b="1" i="0" u="none" strike="noStrike" kern="0" cap="none" spc="-20" normalizeH="0" baseline="0" noProof="0" dirty="0">
                <a:ln>
                  <a:noFill/>
                </a:ln>
                <a:solidFill>
                  <a:srgbClr val="585353"/>
                </a:solidFill>
                <a:effectLst/>
                <a:uLnTx/>
                <a:uFillTx/>
                <a:latin typeface="Trebuchet MS"/>
                <a:ea typeface="+mn-ea"/>
                <a:cs typeface="Trebuchet MS"/>
              </a:rPr>
              <a:t> </a:t>
            </a:r>
            <a:r>
              <a:rPr kumimoji="0" sz="1100" b="1" i="0" u="none" strike="noStrike" kern="0" cap="none" spc="0" normalizeH="0" baseline="0" noProof="0" dirty="0">
                <a:ln>
                  <a:noFill/>
                </a:ln>
                <a:solidFill>
                  <a:srgbClr val="585353"/>
                </a:solidFill>
                <a:effectLst/>
                <a:uLnTx/>
                <a:uFillTx/>
                <a:latin typeface="Trebuchet MS"/>
                <a:ea typeface="+mn-ea"/>
                <a:cs typeface="Trebuchet MS"/>
              </a:rPr>
              <a:t>duration</a:t>
            </a:r>
            <a:r>
              <a:rPr kumimoji="0" sz="1100" b="1" i="0" u="none" strike="noStrike" kern="0" cap="none" spc="-15" normalizeH="0" baseline="0" noProof="0" dirty="0">
                <a:ln>
                  <a:noFill/>
                </a:ln>
                <a:solidFill>
                  <a:srgbClr val="585353"/>
                </a:solidFill>
                <a:effectLst/>
                <a:uLnTx/>
                <a:uFillTx/>
                <a:latin typeface="Trebuchet MS"/>
                <a:ea typeface="+mn-ea"/>
                <a:cs typeface="Trebuchet MS"/>
              </a:rPr>
              <a:t> </a:t>
            </a:r>
            <a:r>
              <a:rPr kumimoji="0" sz="1100" b="1" i="0" u="none" strike="noStrike" kern="0" cap="none" spc="-10" normalizeH="0" baseline="0" noProof="0" dirty="0">
                <a:ln>
                  <a:noFill/>
                </a:ln>
                <a:solidFill>
                  <a:srgbClr val="585353"/>
                </a:solidFill>
                <a:effectLst/>
                <a:uLnTx/>
                <a:uFillTx/>
                <a:latin typeface="Trebuchet MS"/>
                <a:ea typeface="+mn-ea"/>
                <a:cs typeface="Trebuchet MS"/>
              </a:rPr>
              <a:t>(months)</a:t>
            </a:r>
            <a:endParaRPr kumimoji="0" sz="1100" b="0" i="0" u="none" strike="noStrike" kern="0" cap="none" spc="0" normalizeH="0" baseline="0" noProof="0">
              <a:ln>
                <a:noFill/>
              </a:ln>
              <a:solidFill>
                <a:sysClr val="windowText" lastClr="000000"/>
              </a:solidFill>
              <a:effectLst/>
              <a:uLnTx/>
              <a:uFillTx/>
              <a:latin typeface="Trebuchet MS"/>
              <a:ea typeface="+mn-ea"/>
              <a:cs typeface="Trebuchet MS"/>
            </a:endParaRPr>
          </a:p>
        </p:txBody>
      </p:sp>
      <p:sp>
        <p:nvSpPr>
          <p:cNvPr id="7" name="object 7"/>
          <p:cNvSpPr txBox="1"/>
          <p:nvPr/>
        </p:nvSpPr>
        <p:spPr>
          <a:xfrm>
            <a:off x="4121911" y="2698242"/>
            <a:ext cx="865505" cy="239395"/>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1400" b="1" i="0" u="none" strike="noStrike" kern="0" cap="none" spc="-10" normalizeH="0" baseline="0" noProof="0" dirty="0">
                <a:ln>
                  <a:noFill/>
                </a:ln>
                <a:solidFill>
                  <a:srgbClr val="585353"/>
                </a:solidFill>
                <a:effectLst/>
                <a:uLnTx/>
                <a:uFillTx/>
                <a:latin typeface="Trebuchet MS"/>
                <a:ea typeface="+mn-ea"/>
                <a:cs typeface="Trebuchet MS"/>
              </a:rPr>
              <a:t>Response:</a:t>
            </a:r>
            <a:endParaRPr kumimoji="0" sz="1400" b="0" i="0" u="none" strike="noStrike" kern="0" cap="none" spc="0" normalizeH="0" baseline="0" noProof="0">
              <a:ln>
                <a:noFill/>
              </a:ln>
              <a:solidFill>
                <a:sysClr val="windowText" lastClr="000000"/>
              </a:solidFill>
              <a:effectLst/>
              <a:uLnTx/>
              <a:uFillTx/>
              <a:latin typeface="Trebuchet MS"/>
              <a:ea typeface="+mn-ea"/>
              <a:cs typeface="Trebuchet MS"/>
            </a:endParaRPr>
          </a:p>
        </p:txBody>
      </p:sp>
      <p:sp>
        <p:nvSpPr>
          <p:cNvPr id="8" name="object 8"/>
          <p:cNvSpPr/>
          <p:nvPr/>
        </p:nvSpPr>
        <p:spPr>
          <a:xfrm>
            <a:off x="4152900" y="3060192"/>
            <a:ext cx="143510" cy="121920"/>
          </a:xfrm>
          <a:custGeom>
            <a:avLst/>
            <a:gdLst/>
            <a:ahLst/>
            <a:cxnLst/>
            <a:rect l="l" t="t" r="r" b="b"/>
            <a:pathLst>
              <a:path w="143510" h="121919">
                <a:moveTo>
                  <a:pt x="143255" y="0"/>
                </a:moveTo>
                <a:lnTo>
                  <a:pt x="0" y="0"/>
                </a:lnTo>
                <a:lnTo>
                  <a:pt x="0" y="121920"/>
                </a:lnTo>
                <a:lnTo>
                  <a:pt x="143255" y="121920"/>
                </a:lnTo>
                <a:lnTo>
                  <a:pt x="143255" y="0"/>
                </a:lnTo>
                <a:close/>
              </a:path>
            </a:pathLst>
          </a:custGeom>
          <a:solidFill>
            <a:srgbClr val="1DCE9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9" name="object 9"/>
          <p:cNvSpPr/>
          <p:nvPr/>
        </p:nvSpPr>
        <p:spPr>
          <a:xfrm>
            <a:off x="4695444" y="3060192"/>
            <a:ext cx="142240" cy="121920"/>
          </a:xfrm>
          <a:custGeom>
            <a:avLst/>
            <a:gdLst/>
            <a:ahLst/>
            <a:cxnLst/>
            <a:rect l="l" t="t" r="r" b="b"/>
            <a:pathLst>
              <a:path w="142239" h="121919">
                <a:moveTo>
                  <a:pt x="141732" y="0"/>
                </a:moveTo>
                <a:lnTo>
                  <a:pt x="0" y="0"/>
                </a:lnTo>
                <a:lnTo>
                  <a:pt x="0" y="121920"/>
                </a:lnTo>
                <a:lnTo>
                  <a:pt x="141732" y="121920"/>
                </a:lnTo>
                <a:lnTo>
                  <a:pt x="141732" y="0"/>
                </a:lnTo>
                <a:close/>
              </a:path>
            </a:pathLst>
          </a:custGeom>
          <a:solidFill>
            <a:srgbClr val="009FB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0" name="object 10"/>
          <p:cNvSpPr/>
          <p:nvPr/>
        </p:nvSpPr>
        <p:spPr>
          <a:xfrm>
            <a:off x="5242559" y="3060192"/>
            <a:ext cx="142240" cy="121920"/>
          </a:xfrm>
          <a:custGeom>
            <a:avLst/>
            <a:gdLst/>
            <a:ahLst/>
            <a:cxnLst/>
            <a:rect l="l" t="t" r="r" b="b"/>
            <a:pathLst>
              <a:path w="142239" h="121919">
                <a:moveTo>
                  <a:pt x="141732" y="0"/>
                </a:moveTo>
                <a:lnTo>
                  <a:pt x="0" y="0"/>
                </a:lnTo>
                <a:lnTo>
                  <a:pt x="0" y="121920"/>
                </a:lnTo>
                <a:lnTo>
                  <a:pt x="141732" y="121920"/>
                </a:lnTo>
                <a:lnTo>
                  <a:pt x="141732" y="0"/>
                </a:lnTo>
                <a:close/>
              </a:path>
            </a:pathLst>
          </a:custGeom>
          <a:solidFill>
            <a:srgbClr val="50151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1" name="object 11"/>
          <p:cNvSpPr/>
          <p:nvPr/>
        </p:nvSpPr>
        <p:spPr>
          <a:xfrm>
            <a:off x="4120896" y="3550920"/>
            <a:ext cx="142240" cy="121920"/>
          </a:xfrm>
          <a:custGeom>
            <a:avLst/>
            <a:gdLst/>
            <a:ahLst/>
            <a:cxnLst/>
            <a:rect l="l" t="t" r="r" b="b"/>
            <a:pathLst>
              <a:path w="142239" h="121920">
                <a:moveTo>
                  <a:pt x="141732" y="0"/>
                </a:moveTo>
                <a:lnTo>
                  <a:pt x="0" y="0"/>
                </a:lnTo>
                <a:lnTo>
                  <a:pt x="0" y="121920"/>
                </a:lnTo>
                <a:lnTo>
                  <a:pt x="141732" y="121920"/>
                </a:lnTo>
                <a:lnTo>
                  <a:pt x="141732" y="0"/>
                </a:lnTo>
                <a:close/>
              </a:path>
            </a:pathLst>
          </a:custGeom>
          <a:solidFill>
            <a:srgbClr val="BDB9B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2" name="object 12"/>
          <p:cNvSpPr/>
          <p:nvPr/>
        </p:nvSpPr>
        <p:spPr>
          <a:xfrm>
            <a:off x="4126991" y="3834384"/>
            <a:ext cx="105410" cy="105410"/>
          </a:xfrm>
          <a:custGeom>
            <a:avLst/>
            <a:gdLst/>
            <a:ahLst/>
            <a:cxnLst/>
            <a:rect l="l" t="t" r="r" b="b"/>
            <a:pathLst>
              <a:path w="105410" h="105410">
                <a:moveTo>
                  <a:pt x="52578" y="0"/>
                </a:moveTo>
                <a:lnTo>
                  <a:pt x="0" y="105156"/>
                </a:lnTo>
                <a:lnTo>
                  <a:pt x="105156" y="105156"/>
                </a:lnTo>
                <a:lnTo>
                  <a:pt x="52578" y="0"/>
                </a:lnTo>
                <a:close/>
              </a:path>
            </a:pathLst>
          </a:custGeom>
          <a:solidFill>
            <a:srgbClr val="7D757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nvGrpSpPr>
          <p:cNvPr id="13" name="object 13"/>
          <p:cNvGrpSpPr/>
          <p:nvPr/>
        </p:nvGrpSpPr>
        <p:grpSpPr>
          <a:xfrm>
            <a:off x="810513" y="1231138"/>
            <a:ext cx="5466080" cy="4120515"/>
            <a:chOff x="810513" y="1231138"/>
            <a:chExt cx="5466080" cy="4120515"/>
          </a:xfrm>
        </p:grpSpPr>
        <p:sp>
          <p:nvSpPr>
            <p:cNvPr id="14" name="object 14"/>
            <p:cNvSpPr/>
            <p:nvPr/>
          </p:nvSpPr>
          <p:spPr>
            <a:xfrm>
              <a:off x="816863" y="1237488"/>
              <a:ext cx="0" cy="4032250"/>
            </a:xfrm>
            <a:custGeom>
              <a:avLst/>
              <a:gdLst/>
              <a:ahLst/>
              <a:cxnLst/>
              <a:rect l="l" t="t" r="r" b="b"/>
              <a:pathLst>
                <a:path h="4032250">
                  <a:moveTo>
                    <a:pt x="0" y="0"/>
                  </a:moveTo>
                  <a:lnTo>
                    <a:pt x="0" y="4032123"/>
                  </a:lnTo>
                </a:path>
              </a:pathLst>
            </a:custGeom>
            <a:ln w="12700">
              <a:solidFill>
                <a:srgbClr val="58535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5" name="object 15"/>
            <p:cNvSpPr/>
            <p:nvPr/>
          </p:nvSpPr>
          <p:spPr>
            <a:xfrm>
              <a:off x="816863" y="5268467"/>
              <a:ext cx="5438140" cy="0"/>
            </a:xfrm>
            <a:custGeom>
              <a:avLst/>
              <a:gdLst/>
              <a:ahLst/>
              <a:cxnLst/>
              <a:rect l="l" t="t" r="r" b="b"/>
              <a:pathLst>
                <a:path w="5438140">
                  <a:moveTo>
                    <a:pt x="5437759" y="0"/>
                  </a:moveTo>
                  <a:lnTo>
                    <a:pt x="0" y="0"/>
                  </a:lnTo>
                </a:path>
              </a:pathLst>
            </a:custGeom>
            <a:ln w="12700">
              <a:solidFill>
                <a:srgbClr val="58535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16" name="object 16"/>
            <p:cNvPicPr/>
            <p:nvPr/>
          </p:nvPicPr>
          <p:blipFill>
            <a:blip r:embed="rId2" cstate="print"/>
            <a:stretch>
              <a:fillRect/>
            </a:stretch>
          </p:blipFill>
          <p:spPr>
            <a:xfrm>
              <a:off x="3552443" y="3413760"/>
              <a:ext cx="88391" cy="76200"/>
            </a:xfrm>
            <a:prstGeom prst="rect">
              <a:avLst/>
            </a:prstGeom>
          </p:spPr>
        </p:pic>
        <p:sp>
          <p:nvSpPr>
            <p:cNvPr id="17" name="object 17"/>
            <p:cNvSpPr/>
            <p:nvPr/>
          </p:nvSpPr>
          <p:spPr>
            <a:xfrm>
              <a:off x="1862327" y="4981955"/>
              <a:ext cx="40640" cy="0"/>
            </a:xfrm>
            <a:custGeom>
              <a:avLst/>
              <a:gdLst/>
              <a:ahLst/>
              <a:cxnLst/>
              <a:rect l="l" t="t" r="r" b="b"/>
              <a:pathLst>
                <a:path w="40639">
                  <a:moveTo>
                    <a:pt x="0" y="0"/>
                  </a:moveTo>
                  <a:lnTo>
                    <a:pt x="40132" y="0"/>
                  </a:lnTo>
                </a:path>
              </a:pathLst>
            </a:custGeom>
            <a:ln w="15875">
              <a:solidFill>
                <a:srgbClr val="009FB9"/>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8" name="object 18"/>
            <p:cNvSpPr/>
            <p:nvPr/>
          </p:nvSpPr>
          <p:spPr>
            <a:xfrm>
              <a:off x="1659445" y="5088318"/>
              <a:ext cx="0" cy="15875"/>
            </a:xfrm>
            <a:custGeom>
              <a:avLst/>
              <a:gdLst/>
              <a:ahLst/>
              <a:cxnLst/>
              <a:rect l="l" t="t" r="r" b="b"/>
              <a:pathLst>
                <a:path h="15875">
                  <a:moveTo>
                    <a:pt x="0" y="0"/>
                  </a:moveTo>
                  <a:lnTo>
                    <a:pt x="0" y="15875"/>
                  </a:lnTo>
                </a:path>
              </a:pathLst>
            </a:custGeom>
            <a:ln w="5714">
              <a:solidFill>
                <a:srgbClr val="009FB9"/>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19" name="object 19"/>
            <p:cNvPicPr/>
            <p:nvPr/>
          </p:nvPicPr>
          <p:blipFill>
            <a:blip r:embed="rId2" cstate="print"/>
            <a:stretch>
              <a:fillRect/>
            </a:stretch>
          </p:blipFill>
          <p:spPr>
            <a:xfrm>
              <a:off x="1851660" y="4948428"/>
              <a:ext cx="88391" cy="76200"/>
            </a:xfrm>
            <a:prstGeom prst="rect">
              <a:avLst/>
            </a:prstGeom>
          </p:spPr>
        </p:pic>
        <p:sp>
          <p:nvSpPr>
            <p:cNvPr id="20" name="object 20"/>
            <p:cNvSpPr/>
            <p:nvPr/>
          </p:nvSpPr>
          <p:spPr>
            <a:xfrm>
              <a:off x="832103" y="1284732"/>
              <a:ext cx="757555" cy="102235"/>
            </a:xfrm>
            <a:custGeom>
              <a:avLst/>
              <a:gdLst/>
              <a:ahLst/>
              <a:cxnLst/>
              <a:rect l="l" t="t" r="r" b="b"/>
              <a:pathLst>
                <a:path w="757555" h="102234">
                  <a:moveTo>
                    <a:pt x="757428" y="0"/>
                  </a:moveTo>
                  <a:lnTo>
                    <a:pt x="0" y="0"/>
                  </a:lnTo>
                  <a:lnTo>
                    <a:pt x="0" y="102108"/>
                  </a:lnTo>
                  <a:lnTo>
                    <a:pt x="757428" y="102108"/>
                  </a:lnTo>
                  <a:lnTo>
                    <a:pt x="757428" y="0"/>
                  </a:lnTo>
                  <a:close/>
                </a:path>
              </a:pathLst>
            </a:custGeom>
            <a:solidFill>
              <a:srgbClr val="BDB9B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1" name="object 21"/>
            <p:cNvSpPr/>
            <p:nvPr/>
          </p:nvSpPr>
          <p:spPr>
            <a:xfrm>
              <a:off x="1591055" y="1284732"/>
              <a:ext cx="4299585" cy="102235"/>
            </a:xfrm>
            <a:custGeom>
              <a:avLst/>
              <a:gdLst/>
              <a:ahLst/>
              <a:cxnLst/>
              <a:rect l="l" t="t" r="r" b="b"/>
              <a:pathLst>
                <a:path w="4299585" h="102234">
                  <a:moveTo>
                    <a:pt x="4299204" y="0"/>
                  </a:moveTo>
                  <a:lnTo>
                    <a:pt x="0" y="0"/>
                  </a:lnTo>
                  <a:lnTo>
                    <a:pt x="0" y="102108"/>
                  </a:lnTo>
                  <a:lnTo>
                    <a:pt x="4299204" y="102108"/>
                  </a:lnTo>
                  <a:lnTo>
                    <a:pt x="4299204" y="0"/>
                  </a:lnTo>
                  <a:close/>
                </a:path>
              </a:pathLst>
            </a:custGeom>
            <a:solidFill>
              <a:srgbClr val="1DCE9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2" name="object 22"/>
            <p:cNvSpPr/>
            <p:nvPr/>
          </p:nvSpPr>
          <p:spPr>
            <a:xfrm>
              <a:off x="832103" y="1402080"/>
              <a:ext cx="399415" cy="104139"/>
            </a:xfrm>
            <a:custGeom>
              <a:avLst/>
              <a:gdLst/>
              <a:ahLst/>
              <a:cxnLst/>
              <a:rect l="l" t="t" r="r" b="b"/>
              <a:pathLst>
                <a:path w="399415" h="104140">
                  <a:moveTo>
                    <a:pt x="0" y="103632"/>
                  </a:moveTo>
                  <a:lnTo>
                    <a:pt x="399288" y="103632"/>
                  </a:lnTo>
                  <a:lnTo>
                    <a:pt x="399288" y="0"/>
                  </a:lnTo>
                  <a:lnTo>
                    <a:pt x="0" y="0"/>
                  </a:lnTo>
                  <a:lnTo>
                    <a:pt x="0" y="103632"/>
                  </a:lnTo>
                  <a:close/>
                </a:path>
              </a:pathLst>
            </a:custGeom>
            <a:solidFill>
              <a:srgbClr val="BDB9B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3" name="object 23"/>
            <p:cNvSpPr/>
            <p:nvPr/>
          </p:nvSpPr>
          <p:spPr>
            <a:xfrm>
              <a:off x="1231391" y="1402080"/>
              <a:ext cx="4567555" cy="104139"/>
            </a:xfrm>
            <a:custGeom>
              <a:avLst/>
              <a:gdLst/>
              <a:ahLst/>
              <a:cxnLst/>
              <a:rect l="l" t="t" r="r" b="b"/>
              <a:pathLst>
                <a:path w="4567555" h="104140">
                  <a:moveTo>
                    <a:pt x="4567428" y="0"/>
                  </a:moveTo>
                  <a:lnTo>
                    <a:pt x="0" y="0"/>
                  </a:lnTo>
                  <a:lnTo>
                    <a:pt x="0" y="103632"/>
                  </a:lnTo>
                  <a:lnTo>
                    <a:pt x="4567428" y="103632"/>
                  </a:lnTo>
                  <a:lnTo>
                    <a:pt x="4567428" y="0"/>
                  </a:lnTo>
                  <a:close/>
                </a:path>
              </a:pathLst>
            </a:custGeom>
            <a:solidFill>
              <a:srgbClr val="1DCE9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4" name="object 24"/>
            <p:cNvSpPr/>
            <p:nvPr/>
          </p:nvSpPr>
          <p:spPr>
            <a:xfrm>
              <a:off x="832103" y="1519428"/>
              <a:ext cx="512445" cy="104139"/>
            </a:xfrm>
            <a:custGeom>
              <a:avLst/>
              <a:gdLst/>
              <a:ahLst/>
              <a:cxnLst/>
              <a:rect l="l" t="t" r="r" b="b"/>
              <a:pathLst>
                <a:path w="512444" h="104140">
                  <a:moveTo>
                    <a:pt x="512064" y="0"/>
                  </a:moveTo>
                  <a:lnTo>
                    <a:pt x="0" y="0"/>
                  </a:lnTo>
                  <a:lnTo>
                    <a:pt x="0" y="103632"/>
                  </a:lnTo>
                  <a:lnTo>
                    <a:pt x="512064" y="103632"/>
                  </a:lnTo>
                  <a:lnTo>
                    <a:pt x="512064" y="0"/>
                  </a:lnTo>
                  <a:close/>
                </a:path>
              </a:pathLst>
            </a:custGeom>
            <a:solidFill>
              <a:srgbClr val="BDB9B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5" name="object 25"/>
            <p:cNvSpPr/>
            <p:nvPr/>
          </p:nvSpPr>
          <p:spPr>
            <a:xfrm>
              <a:off x="1341119" y="1519428"/>
              <a:ext cx="3695700" cy="104139"/>
            </a:xfrm>
            <a:custGeom>
              <a:avLst/>
              <a:gdLst/>
              <a:ahLst/>
              <a:cxnLst/>
              <a:rect l="l" t="t" r="r" b="b"/>
              <a:pathLst>
                <a:path w="3695700" h="104140">
                  <a:moveTo>
                    <a:pt x="3695700" y="0"/>
                  </a:moveTo>
                  <a:lnTo>
                    <a:pt x="0" y="0"/>
                  </a:lnTo>
                  <a:lnTo>
                    <a:pt x="0" y="103632"/>
                  </a:lnTo>
                  <a:lnTo>
                    <a:pt x="3695700" y="103632"/>
                  </a:lnTo>
                  <a:lnTo>
                    <a:pt x="3695700" y="0"/>
                  </a:lnTo>
                  <a:close/>
                </a:path>
              </a:pathLst>
            </a:custGeom>
            <a:solidFill>
              <a:srgbClr val="1DCE9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6" name="object 26"/>
            <p:cNvSpPr/>
            <p:nvPr/>
          </p:nvSpPr>
          <p:spPr>
            <a:xfrm>
              <a:off x="832103" y="1636776"/>
              <a:ext cx="455930" cy="104139"/>
            </a:xfrm>
            <a:custGeom>
              <a:avLst/>
              <a:gdLst/>
              <a:ahLst/>
              <a:cxnLst/>
              <a:rect l="l" t="t" r="r" b="b"/>
              <a:pathLst>
                <a:path w="455930" h="104139">
                  <a:moveTo>
                    <a:pt x="0" y="103632"/>
                  </a:moveTo>
                  <a:lnTo>
                    <a:pt x="455676" y="103632"/>
                  </a:lnTo>
                  <a:lnTo>
                    <a:pt x="455676" y="0"/>
                  </a:lnTo>
                  <a:lnTo>
                    <a:pt x="0" y="0"/>
                  </a:lnTo>
                  <a:lnTo>
                    <a:pt x="0" y="103632"/>
                  </a:lnTo>
                  <a:close/>
                </a:path>
              </a:pathLst>
            </a:custGeom>
            <a:solidFill>
              <a:srgbClr val="BDB9B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7" name="object 27"/>
            <p:cNvSpPr/>
            <p:nvPr/>
          </p:nvSpPr>
          <p:spPr>
            <a:xfrm>
              <a:off x="2115311" y="1636776"/>
              <a:ext cx="2883535" cy="104139"/>
            </a:xfrm>
            <a:custGeom>
              <a:avLst/>
              <a:gdLst/>
              <a:ahLst/>
              <a:cxnLst/>
              <a:rect l="l" t="t" r="r" b="b"/>
              <a:pathLst>
                <a:path w="2883535" h="104139">
                  <a:moveTo>
                    <a:pt x="2883408" y="0"/>
                  </a:moveTo>
                  <a:lnTo>
                    <a:pt x="0" y="0"/>
                  </a:lnTo>
                  <a:lnTo>
                    <a:pt x="0" y="103632"/>
                  </a:lnTo>
                  <a:lnTo>
                    <a:pt x="2883408" y="103632"/>
                  </a:lnTo>
                  <a:lnTo>
                    <a:pt x="2883408" y="0"/>
                  </a:lnTo>
                  <a:close/>
                </a:path>
              </a:pathLst>
            </a:custGeom>
            <a:solidFill>
              <a:srgbClr val="1DCE9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8" name="object 28"/>
            <p:cNvSpPr/>
            <p:nvPr/>
          </p:nvSpPr>
          <p:spPr>
            <a:xfrm>
              <a:off x="1287780" y="1636776"/>
              <a:ext cx="829310" cy="104139"/>
            </a:xfrm>
            <a:custGeom>
              <a:avLst/>
              <a:gdLst/>
              <a:ahLst/>
              <a:cxnLst/>
              <a:rect l="l" t="t" r="r" b="b"/>
              <a:pathLst>
                <a:path w="829310" h="104139">
                  <a:moveTo>
                    <a:pt x="829056" y="0"/>
                  </a:moveTo>
                  <a:lnTo>
                    <a:pt x="0" y="0"/>
                  </a:lnTo>
                  <a:lnTo>
                    <a:pt x="0" y="103632"/>
                  </a:lnTo>
                  <a:lnTo>
                    <a:pt x="829056" y="103632"/>
                  </a:lnTo>
                  <a:lnTo>
                    <a:pt x="829056" y="0"/>
                  </a:lnTo>
                  <a:close/>
                </a:path>
              </a:pathLst>
            </a:custGeom>
            <a:solidFill>
              <a:srgbClr val="009FB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9" name="object 29"/>
            <p:cNvSpPr/>
            <p:nvPr/>
          </p:nvSpPr>
          <p:spPr>
            <a:xfrm>
              <a:off x="832103" y="1754124"/>
              <a:ext cx="424180" cy="104139"/>
            </a:xfrm>
            <a:custGeom>
              <a:avLst/>
              <a:gdLst/>
              <a:ahLst/>
              <a:cxnLst/>
              <a:rect l="l" t="t" r="r" b="b"/>
              <a:pathLst>
                <a:path w="424180" h="104139">
                  <a:moveTo>
                    <a:pt x="0" y="103632"/>
                  </a:moveTo>
                  <a:lnTo>
                    <a:pt x="423672" y="103632"/>
                  </a:lnTo>
                  <a:lnTo>
                    <a:pt x="423672" y="0"/>
                  </a:lnTo>
                  <a:lnTo>
                    <a:pt x="0" y="0"/>
                  </a:lnTo>
                  <a:lnTo>
                    <a:pt x="0" y="103632"/>
                  </a:lnTo>
                  <a:close/>
                </a:path>
              </a:pathLst>
            </a:custGeom>
            <a:solidFill>
              <a:srgbClr val="BDB9B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0" name="object 30"/>
            <p:cNvSpPr/>
            <p:nvPr/>
          </p:nvSpPr>
          <p:spPr>
            <a:xfrm>
              <a:off x="1255776" y="1754124"/>
              <a:ext cx="3694429" cy="104139"/>
            </a:xfrm>
            <a:custGeom>
              <a:avLst/>
              <a:gdLst/>
              <a:ahLst/>
              <a:cxnLst/>
              <a:rect l="l" t="t" r="r" b="b"/>
              <a:pathLst>
                <a:path w="3694429" h="104139">
                  <a:moveTo>
                    <a:pt x="3694176" y="0"/>
                  </a:moveTo>
                  <a:lnTo>
                    <a:pt x="0" y="0"/>
                  </a:lnTo>
                  <a:lnTo>
                    <a:pt x="0" y="103632"/>
                  </a:lnTo>
                  <a:lnTo>
                    <a:pt x="3694176" y="103632"/>
                  </a:lnTo>
                  <a:lnTo>
                    <a:pt x="3694176" y="0"/>
                  </a:lnTo>
                  <a:close/>
                </a:path>
              </a:pathLst>
            </a:custGeom>
            <a:solidFill>
              <a:srgbClr val="1DCE9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1" name="object 31"/>
            <p:cNvSpPr/>
            <p:nvPr/>
          </p:nvSpPr>
          <p:spPr>
            <a:xfrm>
              <a:off x="832103" y="1871472"/>
              <a:ext cx="212090" cy="104139"/>
            </a:xfrm>
            <a:custGeom>
              <a:avLst/>
              <a:gdLst/>
              <a:ahLst/>
              <a:cxnLst/>
              <a:rect l="l" t="t" r="r" b="b"/>
              <a:pathLst>
                <a:path w="212090" h="104139">
                  <a:moveTo>
                    <a:pt x="0" y="103632"/>
                  </a:moveTo>
                  <a:lnTo>
                    <a:pt x="211836" y="103632"/>
                  </a:lnTo>
                  <a:lnTo>
                    <a:pt x="211836" y="0"/>
                  </a:lnTo>
                  <a:lnTo>
                    <a:pt x="0" y="0"/>
                  </a:lnTo>
                  <a:lnTo>
                    <a:pt x="0" y="103632"/>
                  </a:lnTo>
                  <a:close/>
                </a:path>
              </a:pathLst>
            </a:custGeom>
            <a:solidFill>
              <a:srgbClr val="BDB9B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2" name="object 32"/>
            <p:cNvSpPr/>
            <p:nvPr/>
          </p:nvSpPr>
          <p:spPr>
            <a:xfrm>
              <a:off x="2043683" y="1871472"/>
              <a:ext cx="2798445" cy="104139"/>
            </a:xfrm>
            <a:custGeom>
              <a:avLst/>
              <a:gdLst/>
              <a:ahLst/>
              <a:cxnLst/>
              <a:rect l="l" t="t" r="r" b="b"/>
              <a:pathLst>
                <a:path w="2798445" h="104139">
                  <a:moveTo>
                    <a:pt x="2798064" y="0"/>
                  </a:moveTo>
                  <a:lnTo>
                    <a:pt x="0" y="0"/>
                  </a:lnTo>
                  <a:lnTo>
                    <a:pt x="0" y="103632"/>
                  </a:lnTo>
                  <a:lnTo>
                    <a:pt x="2798064" y="103632"/>
                  </a:lnTo>
                  <a:lnTo>
                    <a:pt x="2798064" y="0"/>
                  </a:lnTo>
                  <a:close/>
                </a:path>
              </a:pathLst>
            </a:custGeom>
            <a:solidFill>
              <a:srgbClr val="1DCE9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3" name="object 33"/>
            <p:cNvSpPr/>
            <p:nvPr/>
          </p:nvSpPr>
          <p:spPr>
            <a:xfrm>
              <a:off x="1043939" y="1871472"/>
              <a:ext cx="1003300" cy="104139"/>
            </a:xfrm>
            <a:custGeom>
              <a:avLst/>
              <a:gdLst/>
              <a:ahLst/>
              <a:cxnLst/>
              <a:rect l="l" t="t" r="r" b="b"/>
              <a:pathLst>
                <a:path w="1003300" h="104139">
                  <a:moveTo>
                    <a:pt x="1002791" y="0"/>
                  </a:moveTo>
                  <a:lnTo>
                    <a:pt x="0" y="0"/>
                  </a:lnTo>
                  <a:lnTo>
                    <a:pt x="0" y="103632"/>
                  </a:lnTo>
                  <a:lnTo>
                    <a:pt x="1002791" y="103632"/>
                  </a:lnTo>
                  <a:lnTo>
                    <a:pt x="1002791" y="0"/>
                  </a:lnTo>
                  <a:close/>
                </a:path>
              </a:pathLst>
            </a:custGeom>
            <a:solidFill>
              <a:srgbClr val="009FB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4" name="object 34"/>
            <p:cNvSpPr/>
            <p:nvPr/>
          </p:nvSpPr>
          <p:spPr>
            <a:xfrm>
              <a:off x="832103" y="1988820"/>
              <a:ext cx="382905" cy="104139"/>
            </a:xfrm>
            <a:custGeom>
              <a:avLst/>
              <a:gdLst/>
              <a:ahLst/>
              <a:cxnLst/>
              <a:rect l="l" t="t" r="r" b="b"/>
              <a:pathLst>
                <a:path w="382905" h="104139">
                  <a:moveTo>
                    <a:pt x="0" y="103632"/>
                  </a:moveTo>
                  <a:lnTo>
                    <a:pt x="382524" y="103632"/>
                  </a:lnTo>
                  <a:lnTo>
                    <a:pt x="382524" y="0"/>
                  </a:lnTo>
                  <a:lnTo>
                    <a:pt x="0" y="0"/>
                  </a:lnTo>
                  <a:lnTo>
                    <a:pt x="0" y="103632"/>
                  </a:lnTo>
                  <a:close/>
                </a:path>
              </a:pathLst>
            </a:custGeom>
            <a:solidFill>
              <a:srgbClr val="BDB9B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5" name="object 35"/>
            <p:cNvSpPr/>
            <p:nvPr/>
          </p:nvSpPr>
          <p:spPr>
            <a:xfrm>
              <a:off x="1214627" y="1988820"/>
              <a:ext cx="3621404" cy="104139"/>
            </a:xfrm>
            <a:custGeom>
              <a:avLst/>
              <a:gdLst/>
              <a:ahLst/>
              <a:cxnLst/>
              <a:rect l="l" t="t" r="r" b="b"/>
              <a:pathLst>
                <a:path w="3621404" h="104139">
                  <a:moveTo>
                    <a:pt x="3621024" y="0"/>
                  </a:moveTo>
                  <a:lnTo>
                    <a:pt x="0" y="0"/>
                  </a:lnTo>
                  <a:lnTo>
                    <a:pt x="0" y="103632"/>
                  </a:lnTo>
                  <a:lnTo>
                    <a:pt x="3621024" y="103632"/>
                  </a:lnTo>
                  <a:lnTo>
                    <a:pt x="3621024" y="0"/>
                  </a:lnTo>
                  <a:close/>
                </a:path>
              </a:pathLst>
            </a:custGeom>
            <a:solidFill>
              <a:srgbClr val="1DCE9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6" name="object 36"/>
            <p:cNvSpPr/>
            <p:nvPr/>
          </p:nvSpPr>
          <p:spPr>
            <a:xfrm>
              <a:off x="832103" y="2106168"/>
              <a:ext cx="390525" cy="104139"/>
            </a:xfrm>
            <a:custGeom>
              <a:avLst/>
              <a:gdLst/>
              <a:ahLst/>
              <a:cxnLst/>
              <a:rect l="l" t="t" r="r" b="b"/>
              <a:pathLst>
                <a:path w="390525" h="104139">
                  <a:moveTo>
                    <a:pt x="390144" y="0"/>
                  </a:moveTo>
                  <a:lnTo>
                    <a:pt x="0" y="0"/>
                  </a:lnTo>
                  <a:lnTo>
                    <a:pt x="0" y="103632"/>
                  </a:lnTo>
                  <a:lnTo>
                    <a:pt x="390144" y="103632"/>
                  </a:lnTo>
                  <a:lnTo>
                    <a:pt x="390144" y="0"/>
                  </a:lnTo>
                  <a:close/>
                </a:path>
              </a:pathLst>
            </a:custGeom>
            <a:solidFill>
              <a:srgbClr val="BDB9B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7" name="object 37"/>
            <p:cNvSpPr/>
            <p:nvPr/>
          </p:nvSpPr>
          <p:spPr>
            <a:xfrm>
              <a:off x="1222247" y="2106168"/>
              <a:ext cx="2832100" cy="104139"/>
            </a:xfrm>
            <a:custGeom>
              <a:avLst/>
              <a:gdLst/>
              <a:ahLst/>
              <a:cxnLst/>
              <a:rect l="l" t="t" r="r" b="b"/>
              <a:pathLst>
                <a:path w="2832100" h="104139">
                  <a:moveTo>
                    <a:pt x="0" y="103632"/>
                  </a:moveTo>
                  <a:lnTo>
                    <a:pt x="2831591" y="103632"/>
                  </a:lnTo>
                  <a:lnTo>
                    <a:pt x="2831591" y="0"/>
                  </a:lnTo>
                  <a:lnTo>
                    <a:pt x="0" y="0"/>
                  </a:lnTo>
                  <a:lnTo>
                    <a:pt x="0" y="103632"/>
                  </a:lnTo>
                  <a:close/>
                </a:path>
              </a:pathLst>
            </a:custGeom>
            <a:solidFill>
              <a:srgbClr val="1DCE9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8" name="object 38"/>
            <p:cNvSpPr/>
            <p:nvPr/>
          </p:nvSpPr>
          <p:spPr>
            <a:xfrm>
              <a:off x="832091" y="2225039"/>
              <a:ext cx="481965" cy="338455"/>
            </a:xfrm>
            <a:custGeom>
              <a:avLst/>
              <a:gdLst/>
              <a:ahLst/>
              <a:cxnLst/>
              <a:rect l="l" t="t" r="r" b="b"/>
              <a:pathLst>
                <a:path w="481965" h="338455">
                  <a:moveTo>
                    <a:pt x="349008" y="234696"/>
                  </a:moveTo>
                  <a:lnTo>
                    <a:pt x="0" y="234696"/>
                  </a:lnTo>
                  <a:lnTo>
                    <a:pt x="0" y="338328"/>
                  </a:lnTo>
                  <a:lnTo>
                    <a:pt x="349008" y="338328"/>
                  </a:lnTo>
                  <a:lnTo>
                    <a:pt x="349008" y="234696"/>
                  </a:lnTo>
                  <a:close/>
                </a:path>
                <a:path w="481965" h="338455">
                  <a:moveTo>
                    <a:pt x="388632" y="0"/>
                  </a:moveTo>
                  <a:lnTo>
                    <a:pt x="0" y="0"/>
                  </a:lnTo>
                  <a:lnTo>
                    <a:pt x="0" y="102108"/>
                  </a:lnTo>
                  <a:lnTo>
                    <a:pt x="388632" y="102108"/>
                  </a:lnTo>
                  <a:lnTo>
                    <a:pt x="388632" y="0"/>
                  </a:lnTo>
                  <a:close/>
                </a:path>
                <a:path w="481965" h="338455">
                  <a:moveTo>
                    <a:pt x="481596" y="117348"/>
                  </a:moveTo>
                  <a:lnTo>
                    <a:pt x="0" y="117348"/>
                  </a:lnTo>
                  <a:lnTo>
                    <a:pt x="0" y="220980"/>
                  </a:lnTo>
                  <a:lnTo>
                    <a:pt x="481596" y="220980"/>
                  </a:lnTo>
                  <a:lnTo>
                    <a:pt x="481596" y="117348"/>
                  </a:lnTo>
                  <a:close/>
                </a:path>
              </a:pathLst>
            </a:custGeom>
            <a:solidFill>
              <a:srgbClr val="BDB9B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9" name="object 39"/>
            <p:cNvSpPr/>
            <p:nvPr/>
          </p:nvSpPr>
          <p:spPr>
            <a:xfrm>
              <a:off x="2040636" y="2459736"/>
              <a:ext cx="1945005" cy="104139"/>
            </a:xfrm>
            <a:custGeom>
              <a:avLst/>
              <a:gdLst/>
              <a:ahLst/>
              <a:cxnLst/>
              <a:rect l="l" t="t" r="r" b="b"/>
              <a:pathLst>
                <a:path w="1945004" h="104139">
                  <a:moveTo>
                    <a:pt x="1944624" y="0"/>
                  </a:moveTo>
                  <a:lnTo>
                    <a:pt x="0" y="0"/>
                  </a:lnTo>
                  <a:lnTo>
                    <a:pt x="0" y="103632"/>
                  </a:lnTo>
                  <a:lnTo>
                    <a:pt x="1944624" y="103632"/>
                  </a:lnTo>
                  <a:lnTo>
                    <a:pt x="1944624" y="0"/>
                  </a:lnTo>
                  <a:close/>
                </a:path>
              </a:pathLst>
            </a:custGeom>
            <a:solidFill>
              <a:srgbClr val="1DCE9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0" name="object 40"/>
            <p:cNvSpPr/>
            <p:nvPr/>
          </p:nvSpPr>
          <p:spPr>
            <a:xfrm>
              <a:off x="1181100" y="2459736"/>
              <a:ext cx="861060" cy="104139"/>
            </a:xfrm>
            <a:custGeom>
              <a:avLst/>
              <a:gdLst/>
              <a:ahLst/>
              <a:cxnLst/>
              <a:rect l="l" t="t" r="r" b="b"/>
              <a:pathLst>
                <a:path w="861060" h="104139">
                  <a:moveTo>
                    <a:pt x="861060" y="0"/>
                  </a:moveTo>
                  <a:lnTo>
                    <a:pt x="0" y="0"/>
                  </a:lnTo>
                  <a:lnTo>
                    <a:pt x="0" y="103632"/>
                  </a:lnTo>
                  <a:lnTo>
                    <a:pt x="861060" y="103632"/>
                  </a:lnTo>
                  <a:lnTo>
                    <a:pt x="861060" y="0"/>
                  </a:lnTo>
                  <a:close/>
                </a:path>
              </a:pathLst>
            </a:custGeom>
            <a:solidFill>
              <a:srgbClr val="009FB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1" name="object 41"/>
            <p:cNvSpPr/>
            <p:nvPr/>
          </p:nvSpPr>
          <p:spPr>
            <a:xfrm>
              <a:off x="832103" y="2577084"/>
              <a:ext cx="388620" cy="104139"/>
            </a:xfrm>
            <a:custGeom>
              <a:avLst/>
              <a:gdLst/>
              <a:ahLst/>
              <a:cxnLst/>
              <a:rect l="l" t="t" r="r" b="b"/>
              <a:pathLst>
                <a:path w="388619" h="104139">
                  <a:moveTo>
                    <a:pt x="0" y="103632"/>
                  </a:moveTo>
                  <a:lnTo>
                    <a:pt x="388620" y="103632"/>
                  </a:lnTo>
                  <a:lnTo>
                    <a:pt x="388620" y="0"/>
                  </a:lnTo>
                  <a:lnTo>
                    <a:pt x="0" y="0"/>
                  </a:lnTo>
                  <a:lnTo>
                    <a:pt x="0" y="103632"/>
                  </a:lnTo>
                  <a:close/>
                </a:path>
              </a:pathLst>
            </a:custGeom>
            <a:solidFill>
              <a:srgbClr val="BDB9B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2" name="object 42"/>
            <p:cNvSpPr/>
            <p:nvPr/>
          </p:nvSpPr>
          <p:spPr>
            <a:xfrm>
              <a:off x="1220723" y="2577084"/>
              <a:ext cx="2766060" cy="104139"/>
            </a:xfrm>
            <a:custGeom>
              <a:avLst/>
              <a:gdLst/>
              <a:ahLst/>
              <a:cxnLst/>
              <a:rect l="l" t="t" r="r" b="b"/>
              <a:pathLst>
                <a:path w="2766060" h="104139">
                  <a:moveTo>
                    <a:pt x="2766060" y="0"/>
                  </a:moveTo>
                  <a:lnTo>
                    <a:pt x="0" y="0"/>
                  </a:lnTo>
                  <a:lnTo>
                    <a:pt x="0" y="103632"/>
                  </a:lnTo>
                  <a:lnTo>
                    <a:pt x="2766060" y="103632"/>
                  </a:lnTo>
                  <a:lnTo>
                    <a:pt x="2766060" y="0"/>
                  </a:lnTo>
                  <a:close/>
                </a:path>
              </a:pathLst>
            </a:custGeom>
            <a:solidFill>
              <a:srgbClr val="1DCE9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3" name="object 43"/>
            <p:cNvSpPr/>
            <p:nvPr/>
          </p:nvSpPr>
          <p:spPr>
            <a:xfrm>
              <a:off x="832103" y="2694432"/>
              <a:ext cx="1140460" cy="104139"/>
            </a:xfrm>
            <a:custGeom>
              <a:avLst/>
              <a:gdLst/>
              <a:ahLst/>
              <a:cxnLst/>
              <a:rect l="l" t="t" r="r" b="b"/>
              <a:pathLst>
                <a:path w="1140460" h="104139">
                  <a:moveTo>
                    <a:pt x="1139952" y="0"/>
                  </a:moveTo>
                  <a:lnTo>
                    <a:pt x="0" y="0"/>
                  </a:lnTo>
                  <a:lnTo>
                    <a:pt x="0" y="103632"/>
                  </a:lnTo>
                  <a:lnTo>
                    <a:pt x="1139952" y="103632"/>
                  </a:lnTo>
                  <a:lnTo>
                    <a:pt x="1139952" y="0"/>
                  </a:lnTo>
                  <a:close/>
                </a:path>
              </a:pathLst>
            </a:custGeom>
            <a:solidFill>
              <a:srgbClr val="BDB9B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4" name="object 44"/>
            <p:cNvSpPr/>
            <p:nvPr/>
          </p:nvSpPr>
          <p:spPr>
            <a:xfrm>
              <a:off x="1964436" y="2694432"/>
              <a:ext cx="1905000" cy="104139"/>
            </a:xfrm>
            <a:custGeom>
              <a:avLst/>
              <a:gdLst/>
              <a:ahLst/>
              <a:cxnLst/>
              <a:rect l="l" t="t" r="r" b="b"/>
              <a:pathLst>
                <a:path w="1905000" h="104139">
                  <a:moveTo>
                    <a:pt x="1905000" y="0"/>
                  </a:moveTo>
                  <a:lnTo>
                    <a:pt x="0" y="0"/>
                  </a:lnTo>
                  <a:lnTo>
                    <a:pt x="0" y="103632"/>
                  </a:lnTo>
                  <a:lnTo>
                    <a:pt x="1905000" y="103632"/>
                  </a:lnTo>
                  <a:lnTo>
                    <a:pt x="1905000" y="0"/>
                  </a:lnTo>
                  <a:close/>
                </a:path>
              </a:pathLst>
            </a:custGeom>
            <a:solidFill>
              <a:srgbClr val="1DCE9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5" name="object 45"/>
            <p:cNvSpPr/>
            <p:nvPr/>
          </p:nvSpPr>
          <p:spPr>
            <a:xfrm>
              <a:off x="832103" y="2811780"/>
              <a:ext cx="1045844" cy="104139"/>
            </a:xfrm>
            <a:custGeom>
              <a:avLst/>
              <a:gdLst/>
              <a:ahLst/>
              <a:cxnLst/>
              <a:rect l="l" t="t" r="r" b="b"/>
              <a:pathLst>
                <a:path w="1045844" h="104139">
                  <a:moveTo>
                    <a:pt x="1045463" y="0"/>
                  </a:moveTo>
                  <a:lnTo>
                    <a:pt x="0" y="0"/>
                  </a:lnTo>
                  <a:lnTo>
                    <a:pt x="0" y="103632"/>
                  </a:lnTo>
                  <a:lnTo>
                    <a:pt x="1045463" y="103632"/>
                  </a:lnTo>
                  <a:lnTo>
                    <a:pt x="1045463" y="0"/>
                  </a:lnTo>
                  <a:close/>
                </a:path>
              </a:pathLst>
            </a:custGeom>
            <a:solidFill>
              <a:srgbClr val="BDB9B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6" name="object 46"/>
            <p:cNvSpPr/>
            <p:nvPr/>
          </p:nvSpPr>
          <p:spPr>
            <a:xfrm>
              <a:off x="1877567" y="2811780"/>
              <a:ext cx="1945005" cy="104139"/>
            </a:xfrm>
            <a:custGeom>
              <a:avLst/>
              <a:gdLst/>
              <a:ahLst/>
              <a:cxnLst/>
              <a:rect l="l" t="t" r="r" b="b"/>
              <a:pathLst>
                <a:path w="1945004" h="104139">
                  <a:moveTo>
                    <a:pt x="1944624" y="0"/>
                  </a:moveTo>
                  <a:lnTo>
                    <a:pt x="0" y="0"/>
                  </a:lnTo>
                  <a:lnTo>
                    <a:pt x="0" y="103632"/>
                  </a:lnTo>
                  <a:lnTo>
                    <a:pt x="1944624" y="103632"/>
                  </a:lnTo>
                  <a:lnTo>
                    <a:pt x="1944624" y="0"/>
                  </a:lnTo>
                  <a:close/>
                </a:path>
              </a:pathLst>
            </a:custGeom>
            <a:solidFill>
              <a:srgbClr val="1DCE9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7" name="object 47"/>
            <p:cNvSpPr/>
            <p:nvPr/>
          </p:nvSpPr>
          <p:spPr>
            <a:xfrm>
              <a:off x="832103" y="2929127"/>
              <a:ext cx="411480" cy="104139"/>
            </a:xfrm>
            <a:custGeom>
              <a:avLst/>
              <a:gdLst/>
              <a:ahLst/>
              <a:cxnLst/>
              <a:rect l="l" t="t" r="r" b="b"/>
              <a:pathLst>
                <a:path w="411480" h="104139">
                  <a:moveTo>
                    <a:pt x="411479" y="0"/>
                  </a:moveTo>
                  <a:lnTo>
                    <a:pt x="0" y="0"/>
                  </a:lnTo>
                  <a:lnTo>
                    <a:pt x="0" y="103632"/>
                  </a:lnTo>
                  <a:lnTo>
                    <a:pt x="411479" y="103632"/>
                  </a:lnTo>
                  <a:lnTo>
                    <a:pt x="411479" y="0"/>
                  </a:lnTo>
                  <a:close/>
                </a:path>
              </a:pathLst>
            </a:custGeom>
            <a:solidFill>
              <a:srgbClr val="BDB9B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8" name="object 48"/>
            <p:cNvSpPr/>
            <p:nvPr/>
          </p:nvSpPr>
          <p:spPr>
            <a:xfrm>
              <a:off x="1243583" y="2929127"/>
              <a:ext cx="2551430" cy="104139"/>
            </a:xfrm>
            <a:custGeom>
              <a:avLst/>
              <a:gdLst/>
              <a:ahLst/>
              <a:cxnLst/>
              <a:rect l="l" t="t" r="r" b="b"/>
              <a:pathLst>
                <a:path w="2551429" h="104139">
                  <a:moveTo>
                    <a:pt x="2551176" y="0"/>
                  </a:moveTo>
                  <a:lnTo>
                    <a:pt x="0" y="0"/>
                  </a:lnTo>
                  <a:lnTo>
                    <a:pt x="0" y="103632"/>
                  </a:lnTo>
                  <a:lnTo>
                    <a:pt x="2551176" y="103632"/>
                  </a:lnTo>
                  <a:lnTo>
                    <a:pt x="2551176" y="0"/>
                  </a:lnTo>
                  <a:close/>
                </a:path>
              </a:pathLst>
            </a:custGeom>
            <a:solidFill>
              <a:srgbClr val="1DCE9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9" name="object 49"/>
            <p:cNvSpPr/>
            <p:nvPr/>
          </p:nvSpPr>
          <p:spPr>
            <a:xfrm>
              <a:off x="832103" y="3046476"/>
              <a:ext cx="387350" cy="104139"/>
            </a:xfrm>
            <a:custGeom>
              <a:avLst/>
              <a:gdLst/>
              <a:ahLst/>
              <a:cxnLst/>
              <a:rect l="l" t="t" r="r" b="b"/>
              <a:pathLst>
                <a:path w="387350" h="104139">
                  <a:moveTo>
                    <a:pt x="387096" y="0"/>
                  </a:moveTo>
                  <a:lnTo>
                    <a:pt x="0" y="0"/>
                  </a:lnTo>
                  <a:lnTo>
                    <a:pt x="0" y="103632"/>
                  </a:lnTo>
                  <a:lnTo>
                    <a:pt x="387096" y="103632"/>
                  </a:lnTo>
                  <a:lnTo>
                    <a:pt x="387096" y="0"/>
                  </a:lnTo>
                  <a:close/>
                </a:path>
              </a:pathLst>
            </a:custGeom>
            <a:solidFill>
              <a:srgbClr val="BDB9B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0" name="object 50"/>
            <p:cNvSpPr/>
            <p:nvPr/>
          </p:nvSpPr>
          <p:spPr>
            <a:xfrm>
              <a:off x="1219200" y="3046476"/>
              <a:ext cx="2505710" cy="104139"/>
            </a:xfrm>
            <a:custGeom>
              <a:avLst/>
              <a:gdLst/>
              <a:ahLst/>
              <a:cxnLst/>
              <a:rect l="l" t="t" r="r" b="b"/>
              <a:pathLst>
                <a:path w="2505710" h="104139">
                  <a:moveTo>
                    <a:pt x="2505455" y="0"/>
                  </a:moveTo>
                  <a:lnTo>
                    <a:pt x="0" y="0"/>
                  </a:lnTo>
                  <a:lnTo>
                    <a:pt x="0" y="103632"/>
                  </a:lnTo>
                  <a:lnTo>
                    <a:pt x="2505455" y="103632"/>
                  </a:lnTo>
                  <a:lnTo>
                    <a:pt x="2505455" y="0"/>
                  </a:lnTo>
                  <a:close/>
                </a:path>
              </a:pathLst>
            </a:custGeom>
            <a:solidFill>
              <a:srgbClr val="1DCE9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1" name="object 51"/>
            <p:cNvSpPr/>
            <p:nvPr/>
          </p:nvSpPr>
          <p:spPr>
            <a:xfrm>
              <a:off x="832103" y="3165348"/>
              <a:ext cx="424180" cy="102235"/>
            </a:xfrm>
            <a:custGeom>
              <a:avLst/>
              <a:gdLst/>
              <a:ahLst/>
              <a:cxnLst/>
              <a:rect l="l" t="t" r="r" b="b"/>
              <a:pathLst>
                <a:path w="424180" h="102235">
                  <a:moveTo>
                    <a:pt x="0" y="102108"/>
                  </a:moveTo>
                  <a:lnTo>
                    <a:pt x="423672" y="102108"/>
                  </a:lnTo>
                  <a:lnTo>
                    <a:pt x="423672" y="0"/>
                  </a:lnTo>
                  <a:lnTo>
                    <a:pt x="0" y="0"/>
                  </a:lnTo>
                  <a:lnTo>
                    <a:pt x="0" y="102108"/>
                  </a:lnTo>
                  <a:close/>
                </a:path>
              </a:pathLst>
            </a:custGeom>
            <a:solidFill>
              <a:srgbClr val="BDB9B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2" name="object 52"/>
            <p:cNvSpPr/>
            <p:nvPr/>
          </p:nvSpPr>
          <p:spPr>
            <a:xfrm>
              <a:off x="1255776" y="3165348"/>
              <a:ext cx="2433955" cy="102235"/>
            </a:xfrm>
            <a:custGeom>
              <a:avLst/>
              <a:gdLst/>
              <a:ahLst/>
              <a:cxnLst/>
              <a:rect l="l" t="t" r="r" b="b"/>
              <a:pathLst>
                <a:path w="2433954" h="102235">
                  <a:moveTo>
                    <a:pt x="2433828" y="0"/>
                  </a:moveTo>
                  <a:lnTo>
                    <a:pt x="0" y="0"/>
                  </a:lnTo>
                  <a:lnTo>
                    <a:pt x="0" y="102108"/>
                  </a:lnTo>
                  <a:lnTo>
                    <a:pt x="2433828" y="102108"/>
                  </a:lnTo>
                  <a:lnTo>
                    <a:pt x="2433828" y="0"/>
                  </a:lnTo>
                  <a:close/>
                </a:path>
              </a:pathLst>
            </a:custGeom>
            <a:solidFill>
              <a:srgbClr val="1DCE9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3" name="object 53"/>
            <p:cNvSpPr/>
            <p:nvPr/>
          </p:nvSpPr>
          <p:spPr>
            <a:xfrm>
              <a:off x="832103" y="3282695"/>
              <a:ext cx="490855" cy="104139"/>
            </a:xfrm>
            <a:custGeom>
              <a:avLst/>
              <a:gdLst/>
              <a:ahLst/>
              <a:cxnLst/>
              <a:rect l="l" t="t" r="r" b="b"/>
              <a:pathLst>
                <a:path w="490855" h="104139">
                  <a:moveTo>
                    <a:pt x="0" y="103632"/>
                  </a:moveTo>
                  <a:lnTo>
                    <a:pt x="490728" y="103632"/>
                  </a:lnTo>
                  <a:lnTo>
                    <a:pt x="490728" y="0"/>
                  </a:lnTo>
                  <a:lnTo>
                    <a:pt x="0" y="0"/>
                  </a:lnTo>
                  <a:lnTo>
                    <a:pt x="0" y="103632"/>
                  </a:lnTo>
                  <a:close/>
                </a:path>
              </a:pathLst>
            </a:custGeom>
            <a:solidFill>
              <a:srgbClr val="BDB9B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4" name="object 54"/>
            <p:cNvSpPr/>
            <p:nvPr/>
          </p:nvSpPr>
          <p:spPr>
            <a:xfrm>
              <a:off x="1322831" y="3282695"/>
              <a:ext cx="962025" cy="104139"/>
            </a:xfrm>
            <a:custGeom>
              <a:avLst/>
              <a:gdLst/>
              <a:ahLst/>
              <a:cxnLst/>
              <a:rect l="l" t="t" r="r" b="b"/>
              <a:pathLst>
                <a:path w="962025" h="104139">
                  <a:moveTo>
                    <a:pt x="961644" y="0"/>
                  </a:moveTo>
                  <a:lnTo>
                    <a:pt x="0" y="0"/>
                  </a:lnTo>
                  <a:lnTo>
                    <a:pt x="0" y="103632"/>
                  </a:lnTo>
                  <a:lnTo>
                    <a:pt x="961644" y="103632"/>
                  </a:lnTo>
                  <a:lnTo>
                    <a:pt x="961644" y="0"/>
                  </a:lnTo>
                  <a:close/>
                </a:path>
              </a:pathLst>
            </a:custGeom>
            <a:solidFill>
              <a:srgbClr val="009FB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5" name="object 55"/>
            <p:cNvSpPr/>
            <p:nvPr/>
          </p:nvSpPr>
          <p:spPr>
            <a:xfrm>
              <a:off x="832091" y="3400043"/>
              <a:ext cx="1251585" cy="220979"/>
            </a:xfrm>
            <a:custGeom>
              <a:avLst/>
              <a:gdLst/>
              <a:ahLst/>
              <a:cxnLst/>
              <a:rect l="l" t="t" r="r" b="b"/>
              <a:pathLst>
                <a:path w="1251585" h="220979">
                  <a:moveTo>
                    <a:pt x="734580" y="117348"/>
                  </a:moveTo>
                  <a:lnTo>
                    <a:pt x="0" y="117348"/>
                  </a:lnTo>
                  <a:lnTo>
                    <a:pt x="0" y="220980"/>
                  </a:lnTo>
                  <a:lnTo>
                    <a:pt x="734580" y="220980"/>
                  </a:lnTo>
                  <a:lnTo>
                    <a:pt x="734580" y="117348"/>
                  </a:lnTo>
                  <a:close/>
                </a:path>
                <a:path w="1251585" h="220979">
                  <a:moveTo>
                    <a:pt x="1251216" y="0"/>
                  </a:moveTo>
                  <a:lnTo>
                    <a:pt x="0" y="0"/>
                  </a:lnTo>
                  <a:lnTo>
                    <a:pt x="0" y="103632"/>
                  </a:lnTo>
                  <a:lnTo>
                    <a:pt x="1251216" y="103632"/>
                  </a:lnTo>
                  <a:lnTo>
                    <a:pt x="1251216" y="0"/>
                  </a:lnTo>
                  <a:close/>
                </a:path>
              </a:pathLst>
            </a:custGeom>
            <a:solidFill>
              <a:srgbClr val="BDB9B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6" name="object 56"/>
            <p:cNvSpPr/>
            <p:nvPr/>
          </p:nvSpPr>
          <p:spPr>
            <a:xfrm>
              <a:off x="1566672" y="3517392"/>
              <a:ext cx="1969135" cy="104139"/>
            </a:xfrm>
            <a:custGeom>
              <a:avLst/>
              <a:gdLst/>
              <a:ahLst/>
              <a:cxnLst/>
              <a:rect l="l" t="t" r="r" b="b"/>
              <a:pathLst>
                <a:path w="1969135" h="104139">
                  <a:moveTo>
                    <a:pt x="1969007" y="0"/>
                  </a:moveTo>
                  <a:lnTo>
                    <a:pt x="0" y="0"/>
                  </a:lnTo>
                  <a:lnTo>
                    <a:pt x="0" y="103632"/>
                  </a:lnTo>
                  <a:lnTo>
                    <a:pt x="1969007" y="103632"/>
                  </a:lnTo>
                  <a:lnTo>
                    <a:pt x="1969007" y="0"/>
                  </a:lnTo>
                  <a:close/>
                </a:path>
              </a:pathLst>
            </a:custGeom>
            <a:solidFill>
              <a:srgbClr val="1DCE9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7" name="object 57"/>
            <p:cNvSpPr/>
            <p:nvPr/>
          </p:nvSpPr>
          <p:spPr>
            <a:xfrm>
              <a:off x="832103" y="3634739"/>
              <a:ext cx="320040" cy="104139"/>
            </a:xfrm>
            <a:custGeom>
              <a:avLst/>
              <a:gdLst/>
              <a:ahLst/>
              <a:cxnLst/>
              <a:rect l="l" t="t" r="r" b="b"/>
              <a:pathLst>
                <a:path w="320040" h="104139">
                  <a:moveTo>
                    <a:pt x="0" y="103631"/>
                  </a:moveTo>
                  <a:lnTo>
                    <a:pt x="320040" y="103631"/>
                  </a:lnTo>
                  <a:lnTo>
                    <a:pt x="320040" y="0"/>
                  </a:lnTo>
                  <a:lnTo>
                    <a:pt x="0" y="0"/>
                  </a:lnTo>
                  <a:lnTo>
                    <a:pt x="0" y="103631"/>
                  </a:lnTo>
                  <a:close/>
                </a:path>
              </a:pathLst>
            </a:custGeom>
            <a:solidFill>
              <a:srgbClr val="BDB9B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8" name="object 58"/>
            <p:cNvSpPr/>
            <p:nvPr/>
          </p:nvSpPr>
          <p:spPr>
            <a:xfrm>
              <a:off x="1822703" y="3634739"/>
              <a:ext cx="1668780" cy="104139"/>
            </a:xfrm>
            <a:custGeom>
              <a:avLst/>
              <a:gdLst/>
              <a:ahLst/>
              <a:cxnLst/>
              <a:rect l="l" t="t" r="r" b="b"/>
              <a:pathLst>
                <a:path w="1668779" h="104139">
                  <a:moveTo>
                    <a:pt x="1668780" y="0"/>
                  </a:moveTo>
                  <a:lnTo>
                    <a:pt x="0" y="0"/>
                  </a:lnTo>
                  <a:lnTo>
                    <a:pt x="0" y="103631"/>
                  </a:lnTo>
                  <a:lnTo>
                    <a:pt x="1668780" y="103631"/>
                  </a:lnTo>
                  <a:lnTo>
                    <a:pt x="1668780" y="0"/>
                  </a:lnTo>
                  <a:close/>
                </a:path>
              </a:pathLst>
            </a:custGeom>
            <a:solidFill>
              <a:srgbClr val="1DCE9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9" name="object 59"/>
            <p:cNvSpPr/>
            <p:nvPr/>
          </p:nvSpPr>
          <p:spPr>
            <a:xfrm>
              <a:off x="1152143" y="3634739"/>
              <a:ext cx="673735" cy="104139"/>
            </a:xfrm>
            <a:custGeom>
              <a:avLst/>
              <a:gdLst/>
              <a:ahLst/>
              <a:cxnLst/>
              <a:rect l="l" t="t" r="r" b="b"/>
              <a:pathLst>
                <a:path w="673735" h="104139">
                  <a:moveTo>
                    <a:pt x="673607" y="0"/>
                  </a:moveTo>
                  <a:lnTo>
                    <a:pt x="0" y="0"/>
                  </a:lnTo>
                  <a:lnTo>
                    <a:pt x="0" y="103631"/>
                  </a:lnTo>
                  <a:lnTo>
                    <a:pt x="673607" y="103631"/>
                  </a:lnTo>
                  <a:lnTo>
                    <a:pt x="673607" y="0"/>
                  </a:lnTo>
                  <a:close/>
                </a:path>
              </a:pathLst>
            </a:custGeom>
            <a:solidFill>
              <a:srgbClr val="009FB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0" name="object 60"/>
            <p:cNvSpPr/>
            <p:nvPr/>
          </p:nvSpPr>
          <p:spPr>
            <a:xfrm>
              <a:off x="832103" y="3752088"/>
              <a:ext cx="426720" cy="104139"/>
            </a:xfrm>
            <a:custGeom>
              <a:avLst/>
              <a:gdLst/>
              <a:ahLst/>
              <a:cxnLst/>
              <a:rect l="l" t="t" r="r" b="b"/>
              <a:pathLst>
                <a:path w="426719" h="104139">
                  <a:moveTo>
                    <a:pt x="0" y="103631"/>
                  </a:moveTo>
                  <a:lnTo>
                    <a:pt x="426720" y="103631"/>
                  </a:lnTo>
                  <a:lnTo>
                    <a:pt x="426720" y="0"/>
                  </a:lnTo>
                  <a:lnTo>
                    <a:pt x="0" y="0"/>
                  </a:lnTo>
                  <a:lnTo>
                    <a:pt x="0" y="103631"/>
                  </a:lnTo>
                  <a:close/>
                </a:path>
              </a:pathLst>
            </a:custGeom>
            <a:solidFill>
              <a:srgbClr val="BDB9B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1" name="object 61"/>
            <p:cNvSpPr/>
            <p:nvPr/>
          </p:nvSpPr>
          <p:spPr>
            <a:xfrm>
              <a:off x="1258823" y="3752088"/>
              <a:ext cx="2257425" cy="104139"/>
            </a:xfrm>
            <a:custGeom>
              <a:avLst/>
              <a:gdLst/>
              <a:ahLst/>
              <a:cxnLst/>
              <a:rect l="l" t="t" r="r" b="b"/>
              <a:pathLst>
                <a:path w="2257425" h="104139">
                  <a:moveTo>
                    <a:pt x="2257044" y="0"/>
                  </a:moveTo>
                  <a:lnTo>
                    <a:pt x="0" y="0"/>
                  </a:lnTo>
                  <a:lnTo>
                    <a:pt x="0" y="103631"/>
                  </a:lnTo>
                  <a:lnTo>
                    <a:pt x="2257044" y="103631"/>
                  </a:lnTo>
                  <a:lnTo>
                    <a:pt x="2257044" y="0"/>
                  </a:lnTo>
                  <a:close/>
                </a:path>
              </a:pathLst>
            </a:custGeom>
            <a:solidFill>
              <a:srgbClr val="1DCE9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2" name="object 62"/>
            <p:cNvSpPr/>
            <p:nvPr/>
          </p:nvSpPr>
          <p:spPr>
            <a:xfrm>
              <a:off x="832103" y="3869436"/>
              <a:ext cx="512445" cy="104139"/>
            </a:xfrm>
            <a:custGeom>
              <a:avLst/>
              <a:gdLst/>
              <a:ahLst/>
              <a:cxnLst/>
              <a:rect l="l" t="t" r="r" b="b"/>
              <a:pathLst>
                <a:path w="512444" h="104139">
                  <a:moveTo>
                    <a:pt x="512064" y="0"/>
                  </a:moveTo>
                  <a:lnTo>
                    <a:pt x="0" y="0"/>
                  </a:lnTo>
                  <a:lnTo>
                    <a:pt x="0" y="103631"/>
                  </a:lnTo>
                  <a:lnTo>
                    <a:pt x="512064" y="103631"/>
                  </a:lnTo>
                  <a:lnTo>
                    <a:pt x="512064" y="0"/>
                  </a:lnTo>
                  <a:close/>
                </a:path>
              </a:pathLst>
            </a:custGeom>
            <a:solidFill>
              <a:srgbClr val="BDB9B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3" name="object 63"/>
            <p:cNvSpPr/>
            <p:nvPr/>
          </p:nvSpPr>
          <p:spPr>
            <a:xfrm>
              <a:off x="1339595" y="3869436"/>
              <a:ext cx="2169160" cy="104139"/>
            </a:xfrm>
            <a:custGeom>
              <a:avLst/>
              <a:gdLst/>
              <a:ahLst/>
              <a:cxnLst/>
              <a:rect l="l" t="t" r="r" b="b"/>
              <a:pathLst>
                <a:path w="2169160" h="104139">
                  <a:moveTo>
                    <a:pt x="2168652" y="0"/>
                  </a:moveTo>
                  <a:lnTo>
                    <a:pt x="0" y="0"/>
                  </a:lnTo>
                  <a:lnTo>
                    <a:pt x="0" y="103631"/>
                  </a:lnTo>
                  <a:lnTo>
                    <a:pt x="2168652" y="103631"/>
                  </a:lnTo>
                  <a:lnTo>
                    <a:pt x="2168652" y="0"/>
                  </a:lnTo>
                  <a:close/>
                </a:path>
              </a:pathLst>
            </a:custGeom>
            <a:solidFill>
              <a:srgbClr val="1DCE9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4" name="object 64"/>
            <p:cNvSpPr/>
            <p:nvPr/>
          </p:nvSpPr>
          <p:spPr>
            <a:xfrm>
              <a:off x="832103" y="3986783"/>
              <a:ext cx="387350" cy="104139"/>
            </a:xfrm>
            <a:custGeom>
              <a:avLst/>
              <a:gdLst/>
              <a:ahLst/>
              <a:cxnLst/>
              <a:rect l="l" t="t" r="r" b="b"/>
              <a:pathLst>
                <a:path w="387350" h="104139">
                  <a:moveTo>
                    <a:pt x="0" y="103631"/>
                  </a:moveTo>
                  <a:lnTo>
                    <a:pt x="387096" y="103631"/>
                  </a:lnTo>
                  <a:lnTo>
                    <a:pt x="387096" y="0"/>
                  </a:lnTo>
                  <a:lnTo>
                    <a:pt x="0" y="0"/>
                  </a:lnTo>
                  <a:lnTo>
                    <a:pt x="0" y="103631"/>
                  </a:lnTo>
                  <a:close/>
                </a:path>
              </a:pathLst>
            </a:custGeom>
            <a:solidFill>
              <a:srgbClr val="BDB9B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5" name="object 65"/>
            <p:cNvSpPr/>
            <p:nvPr/>
          </p:nvSpPr>
          <p:spPr>
            <a:xfrm>
              <a:off x="1219200" y="3986783"/>
              <a:ext cx="759460" cy="104139"/>
            </a:xfrm>
            <a:custGeom>
              <a:avLst/>
              <a:gdLst/>
              <a:ahLst/>
              <a:cxnLst/>
              <a:rect l="l" t="t" r="r" b="b"/>
              <a:pathLst>
                <a:path w="759460" h="104139">
                  <a:moveTo>
                    <a:pt x="758951" y="0"/>
                  </a:moveTo>
                  <a:lnTo>
                    <a:pt x="0" y="0"/>
                  </a:lnTo>
                  <a:lnTo>
                    <a:pt x="0" y="103631"/>
                  </a:lnTo>
                  <a:lnTo>
                    <a:pt x="758951" y="103631"/>
                  </a:lnTo>
                  <a:lnTo>
                    <a:pt x="758951" y="0"/>
                  </a:lnTo>
                  <a:close/>
                </a:path>
              </a:pathLst>
            </a:custGeom>
            <a:solidFill>
              <a:srgbClr val="009FB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6" name="object 66"/>
            <p:cNvSpPr/>
            <p:nvPr/>
          </p:nvSpPr>
          <p:spPr>
            <a:xfrm>
              <a:off x="832103" y="4105655"/>
              <a:ext cx="413384" cy="102235"/>
            </a:xfrm>
            <a:custGeom>
              <a:avLst/>
              <a:gdLst/>
              <a:ahLst/>
              <a:cxnLst/>
              <a:rect l="l" t="t" r="r" b="b"/>
              <a:pathLst>
                <a:path w="413384" h="102235">
                  <a:moveTo>
                    <a:pt x="0" y="102108"/>
                  </a:moveTo>
                  <a:lnTo>
                    <a:pt x="413004" y="102108"/>
                  </a:lnTo>
                  <a:lnTo>
                    <a:pt x="413004" y="0"/>
                  </a:lnTo>
                  <a:lnTo>
                    <a:pt x="0" y="0"/>
                  </a:lnTo>
                  <a:lnTo>
                    <a:pt x="0" y="102108"/>
                  </a:lnTo>
                  <a:close/>
                </a:path>
              </a:pathLst>
            </a:custGeom>
            <a:solidFill>
              <a:srgbClr val="BDB9B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7" name="object 67"/>
            <p:cNvSpPr/>
            <p:nvPr/>
          </p:nvSpPr>
          <p:spPr>
            <a:xfrm>
              <a:off x="1245108" y="4105655"/>
              <a:ext cx="1955800" cy="102235"/>
            </a:xfrm>
            <a:custGeom>
              <a:avLst/>
              <a:gdLst/>
              <a:ahLst/>
              <a:cxnLst/>
              <a:rect l="l" t="t" r="r" b="b"/>
              <a:pathLst>
                <a:path w="1955800" h="102235">
                  <a:moveTo>
                    <a:pt x="1955291" y="0"/>
                  </a:moveTo>
                  <a:lnTo>
                    <a:pt x="0" y="0"/>
                  </a:lnTo>
                  <a:lnTo>
                    <a:pt x="0" y="102108"/>
                  </a:lnTo>
                  <a:lnTo>
                    <a:pt x="1955291" y="102108"/>
                  </a:lnTo>
                  <a:lnTo>
                    <a:pt x="1955291" y="0"/>
                  </a:lnTo>
                  <a:close/>
                </a:path>
              </a:pathLst>
            </a:custGeom>
            <a:solidFill>
              <a:srgbClr val="1DCE9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8" name="object 68"/>
            <p:cNvSpPr/>
            <p:nvPr/>
          </p:nvSpPr>
          <p:spPr>
            <a:xfrm>
              <a:off x="832103" y="4223004"/>
              <a:ext cx="398145" cy="104139"/>
            </a:xfrm>
            <a:custGeom>
              <a:avLst/>
              <a:gdLst/>
              <a:ahLst/>
              <a:cxnLst/>
              <a:rect l="l" t="t" r="r" b="b"/>
              <a:pathLst>
                <a:path w="398144" h="104139">
                  <a:moveTo>
                    <a:pt x="0" y="103632"/>
                  </a:moveTo>
                  <a:lnTo>
                    <a:pt x="397764" y="103632"/>
                  </a:lnTo>
                  <a:lnTo>
                    <a:pt x="397764" y="0"/>
                  </a:lnTo>
                  <a:lnTo>
                    <a:pt x="0" y="0"/>
                  </a:lnTo>
                  <a:lnTo>
                    <a:pt x="0" y="103632"/>
                  </a:lnTo>
                  <a:close/>
                </a:path>
              </a:pathLst>
            </a:custGeom>
            <a:solidFill>
              <a:srgbClr val="BDB9B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9" name="object 69"/>
            <p:cNvSpPr/>
            <p:nvPr/>
          </p:nvSpPr>
          <p:spPr>
            <a:xfrm>
              <a:off x="1872996" y="4223004"/>
              <a:ext cx="1301750" cy="104139"/>
            </a:xfrm>
            <a:custGeom>
              <a:avLst/>
              <a:gdLst/>
              <a:ahLst/>
              <a:cxnLst/>
              <a:rect l="l" t="t" r="r" b="b"/>
              <a:pathLst>
                <a:path w="1301750" h="104139">
                  <a:moveTo>
                    <a:pt x="1301495" y="0"/>
                  </a:moveTo>
                  <a:lnTo>
                    <a:pt x="0" y="0"/>
                  </a:lnTo>
                  <a:lnTo>
                    <a:pt x="0" y="103632"/>
                  </a:lnTo>
                  <a:lnTo>
                    <a:pt x="1301495" y="103632"/>
                  </a:lnTo>
                  <a:lnTo>
                    <a:pt x="1301495" y="0"/>
                  </a:lnTo>
                  <a:close/>
                </a:path>
              </a:pathLst>
            </a:custGeom>
            <a:solidFill>
              <a:srgbClr val="1DCE9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0" name="object 70"/>
            <p:cNvSpPr/>
            <p:nvPr/>
          </p:nvSpPr>
          <p:spPr>
            <a:xfrm>
              <a:off x="1229868" y="4223004"/>
              <a:ext cx="646430" cy="104139"/>
            </a:xfrm>
            <a:custGeom>
              <a:avLst/>
              <a:gdLst/>
              <a:ahLst/>
              <a:cxnLst/>
              <a:rect l="l" t="t" r="r" b="b"/>
              <a:pathLst>
                <a:path w="646430" h="104139">
                  <a:moveTo>
                    <a:pt x="646176" y="0"/>
                  </a:moveTo>
                  <a:lnTo>
                    <a:pt x="0" y="0"/>
                  </a:lnTo>
                  <a:lnTo>
                    <a:pt x="0" y="103632"/>
                  </a:lnTo>
                  <a:lnTo>
                    <a:pt x="646176" y="103632"/>
                  </a:lnTo>
                  <a:lnTo>
                    <a:pt x="646176" y="0"/>
                  </a:lnTo>
                  <a:close/>
                </a:path>
              </a:pathLst>
            </a:custGeom>
            <a:solidFill>
              <a:srgbClr val="009FB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1" name="object 71"/>
            <p:cNvSpPr/>
            <p:nvPr/>
          </p:nvSpPr>
          <p:spPr>
            <a:xfrm>
              <a:off x="832103" y="4340352"/>
              <a:ext cx="437515" cy="104139"/>
            </a:xfrm>
            <a:custGeom>
              <a:avLst/>
              <a:gdLst/>
              <a:ahLst/>
              <a:cxnLst/>
              <a:rect l="l" t="t" r="r" b="b"/>
              <a:pathLst>
                <a:path w="437515" h="104139">
                  <a:moveTo>
                    <a:pt x="0" y="103631"/>
                  </a:moveTo>
                  <a:lnTo>
                    <a:pt x="437388" y="103631"/>
                  </a:lnTo>
                  <a:lnTo>
                    <a:pt x="437388" y="0"/>
                  </a:lnTo>
                  <a:lnTo>
                    <a:pt x="0" y="0"/>
                  </a:lnTo>
                  <a:lnTo>
                    <a:pt x="0" y="103631"/>
                  </a:lnTo>
                  <a:close/>
                </a:path>
              </a:pathLst>
            </a:custGeom>
            <a:solidFill>
              <a:srgbClr val="BDB9B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2" name="object 72"/>
            <p:cNvSpPr/>
            <p:nvPr/>
          </p:nvSpPr>
          <p:spPr>
            <a:xfrm>
              <a:off x="1697736" y="4340352"/>
              <a:ext cx="1455420" cy="104139"/>
            </a:xfrm>
            <a:custGeom>
              <a:avLst/>
              <a:gdLst/>
              <a:ahLst/>
              <a:cxnLst/>
              <a:rect l="l" t="t" r="r" b="b"/>
              <a:pathLst>
                <a:path w="1455420" h="104139">
                  <a:moveTo>
                    <a:pt x="1455420" y="0"/>
                  </a:moveTo>
                  <a:lnTo>
                    <a:pt x="0" y="0"/>
                  </a:lnTo>
                  <a:lnTo>
                    <a:pt x="0" y="103631"/>
                  </a:lnTo>
                  <a:lnTo>
                    <a:pt x="1455420" y="103631"/>
                  </a:lnTo>
                  <a:lnTo>
                    <a:pt x="1455420" y="0"/>
                  </a:lnTo>
                  <a:close/>
                </a:path>
              </a:pathLst>
            </a:custGeom>
            <a:solidFill>
              <a:srgbClr val="1DCE9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3" name="object 73"/>
            <p:cNvSpPr/>
            <p:nvPr/>
          </p:nvSpPr>
          <p:spPr>
            <a:xfrm>
              <a:off x="1269491" y="4340352"/>
              <a:ext cx="428625" cy="104139"/>
            </a:xfrm>
            <a:custGeom>
              <a:avLst/>
              <a:gdLst/>
              <a:ahLst/>
              <a:cxnLst/>
              <a:rect l="l" t="t" r="r" b="b"/>
              <a:pathLst>
                <a:path w="428625" h="104139">
                  <a:moveTo>
                    <a:pt x="428244" y="0"/>
                  </a:moveTo>
                  <a:lnTo>
                    <a:pt x="0" y="0"/>
                  </a:lnTo>
                  <a:lnTo>
                    <a:pt x="0" y="103631"/>
                  </a:lnTo>
                  <a:lnTo>
                    <a:pt x="428244" y="103631"/>
                  </a:lnTo>
                  <a:lnTo>
                    <a:pt x="428244" y="0"/>
                  </a:lnTo>
                  <a:close/>
                </a:path>
              </a:pathLst>
            </a:custGeom>
            <a:solidFill>
              <a:srgbClr val="009FB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4" name="object 74"/>
            <p:cNvSpPr/>
            <p:nvPr/>
          </p:nvSpPr>
          <p:spPr>
            <a:xfrm>
              <a:off x="832103" y="4457700"/>
              <a:ext cx="413384" cy="104139"/>
            </a:xfrm>
            <a:custGeom>
              <a:avLst/>
              <a:gdLst/>
              <a:ahLst/>
              <a:cxnLst/>
              <a:rect l="l" t="t" r="r" b="b"/>
              <a:pathLst>
                <a:path w="413384" h="104139">
                  <a:moveTo>
                    <a:pt x="0" y="103631"/>
                  </a:moveTo>
                  <a:lnTo>
                    <a:pt x="413004" y="103631"/>
                  </a:lnTo>
                  <a:lnTo>
                    <a:pt x="413004" y="0"/>
                  </a:lnTo>
                  <a:lnTo>
                    <a:pt x="0" y="0"/>
                  </a:lnTo>
                  <a:lnTo>
                    <a:pt x="0" y="103631"/>
                  </a:lnTo>
                  <a:close/>
                </a:path>
              </a:pathLst>
            </a:custGeom>
            <a:solidFill>
              <a:srgbClr val="BDB9B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5" name="object 75"/>
            <p:cNvSpPr/>
            <p:nvPr/>
          </p:nvSpPr>
          <p:spPr>
            <a:xfrm>
              <a:off x="1245108" y="4457700"/>
              <a:ext cx="1838325" cy="104139"/>
            </a:xfrm>
            <a:custGeom>
              <a:avLst/>
              <a:gdLst/>
              <a:ahLst/>
              <a:cxnLst/>
              <a:rect l="l" t="t" r="r" b="b"/>
              <a:pathLst>
                <a:path w="1838325" h="104139">
                  <a:moveTo>
                    <a:pt x="1837943" y="0"/>
                  </a:moveTo>
                  <a:lnTo>
                    <a:pt x="0" y="0"/>
                  </a:lnTo>
                  <a:lnTo>
                    <a:pt x="0" y="103631"/>
                  </a:lnTo>
                  <a:lnTo>
                    <a:pt x="1837943" y="103631"/>
                  </a:lnTo>
                  <a:lnTo>
                    <a:pt x="1837943" y="0"/>
                  </a:lnTo>
                  <a:close/>
                </a:path>
              </a:pathLst>
            </a:custGeom>
            <a:solidFill>
              <a:srgbClr val="1DCE9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6" name="object 76"/>
            <p:cNvSpPr/>
            <p:nvPr/>
          </p:nvSpPr>
          <p:spPr>
            <a:xfrm>
              <a:off x="832103" y="4575047"/>
              <a:ext cx="655320" cy="104139"/>
            </a:xfrm>
            <a:custGeom>
              <a:avLst/>
              <a:gdLst/>
              <a:ahLst/>
              <a:cxnLst/>
              <a:rect l="l" t="t" r="r" b="b"/>
              <a:pathLst>
                <a:path w="655319" h="104139">
                  <a:moveTo>
                    <a:pt x="655320" y="0"/>
                  </a:moveTo>
                  <a:lnTo>
                    <a:pt x="0" y="0"/>
                  </a:lnTo>
                  <a:lnTo>
                    <a:pt x="0" y="103631"/>
                  </a:lnTo>
                  <a:lnTo>
                    <a:pt x="655320" y="103631"/>
                  </a:lnTo>
                  <a:lnTo>
                    <a:pt x="655320" y="0"/>
                  </a:lnTo>
                  <a:close/>
                </a:path>
              </a:pathLst>
            </a:custGeom>
            <a:solidFill>
              <a:srgbClr val="BDB9B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7" name="object 77"/>
            <p:cNvSpPr/>
            <p:nvPr/>
          </p:nvSpPr>
          <p:spPr>
            <a:xfrm>
              <a:off x="1481327" y="4575047"/>
              <a:ext cx="1519555" cy="104139"/>
            </a:xfrm>
            <a:custGeom>
              <a:avLst/>
              <a:gdLst/>
              <a:ahLst/>
              <a:cxnLst/>
              <a:rect l="l" t="t" r="r" b="b"/>
              <a:pathLst>
                <a:path w="1519555" h="104139">
                  <a:moveTo>
                    <a:pt x="1519428" y="0"/>
                  </a:moveTo>
                  <a:lnTo>
                    <a:pt x="0" y="0"/>
                  </a:lnTo>
                  <a:lnTo>
                    <a:pt x="0" y="103631"/>
                  </a:lnTo>
                  <a:lnTo>
                    <a:pt x="1519428" y="103631"/>
                  </a:lnTo>
                  <a:lnTo>
                    <a:pt x="1519428" y="0"/>
                  </a:lnTo>
                  <a:close/>
                </a:path>
              </a:pathLst>
            </a:custGeom>
            <a:solidFill>
              <a:srgbClr val="1DCE9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8" name="object 78"/>
            <p:cNvSpPr/>
            <p:nvPr/>
          </p:nvSpPr>
          <p:spPr>
            <a:xfrm>
              <a:off x="832103" y="4692396"/>
              <a:ext cx="1165860" cy="104139"/>
            </a:xfrm>
            <a:custGeom>
              <a:avLst/>
              <a:gdLst/>
              <a:ahLst/>
              <a:cxnLst/>
              <a:rect l="l" t="t" r="r" b="b"/>
              <a:pathLst>
                <a:path w="1165860" h="104139">
                  <a:moveTo>
                    <a:pt x="1165860" y="0"/>
                  </a:moveTo>
                  <a:lnTo>
                    <a:pt x="0" y="0"/>
                  </a:lnTo>
                  <a:lnTo>
                    <a:pt x="0" y="103631"/>
                  </a:lnTo>
                  <a:lnTo>
                    <a:pt x="1165860" y="103631"/>
                  </a:lnTo>
                  <a:lnTo>
                    <a:pt x="1165860" y="0"/>
                  </a:lnTo>
                  <a:close/>
                </a:path>
              </a:pathLst>
            </a:custGeom>
            <a:solidFill>
              <a:srgbClr val="BDB9B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9" name="object 79"/>
            <p:cNvSpPr/>
            <p:nvPr/>
          </p:nvSpPr>
          <p:spPr>
            <a:xfrm>
              <a:off x="1996439" y="4692396"/>
              <a:ext cx="986155" cy="104139"/>
            </a:xfrm>
            <a:custGeom>
              <a:avLst/>
              <a:gdLst/>
              <a:ahLst/>
              <a:cxnLst/>
              <a:rect l="l" t="t" r="r" b="b"/>
              <a:pathLst>
                <a:path w="986155" h="104139">
                  <a:moveTo>
                    <a:pt x="986027" y="0"/>
                  </a:moveTo>
                  <a:lnTo>
                    <a:pt x="0" y="0"/>
                  </a:lnTo>
                  <a:lnTo>
                    <a:pt x="0" y="103631"/>
                  </a:lnTo>
                  <a:lnTo>
                    <a:pt x="986027" y="103631"/>
                  </a:lnTo>
                  <a:lnTo>
                    <a:pt x="986027" y="0"/>
                  </a:lnTo>
                  <a:close/>
                </a:path>
              </a:pathLst>
            </a:custGeom>
            <a:solidFill>
              <a:srgbClr val="1DCE9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0" name="object 80"/>
            <p:cNvSpPr/>
            <p:nvPr/>
          </p:nvSpPr>
          <p:spPr>
            <a:xfrm>
              <a:off x="832103" y="4809744"/>
              <a:ext cx="419100" cy="104139"/>
            </a:xfrm>
            <a:custGeom>
              <a:avLst/>
              <a:gdLst/>
              <a:ahLst/>
              <a:cxnLst/>
              <a:rect l="l" t="t" r="r" b="b"/>
              <a:pathLst>
                <a:path w="419100" h="104139">
                  <a:moveTo>
                    <a:pt x="419100" y="0"/>
                  </a:moveTo>
                  <a:lnTo>
                    <a:pt x="0" y="0"/>
                  </a:lnTo>
                  <a:lnTo>
                    <a:pt x="0" y="103631"/>
                  </a:lnTo>
                  <a:lnTo>
                    <a:pt x="419100" y="103631"/>
                  </a:lnTo>
                  <a:lnTo>
                    <a:pt x="419100" y="0"/>
                  </a:lnTo>
                  <a:close/>
                </a:path>
              </a:pathLst>
            </a:custGeom>
            <a:solidFill>
              <a:srgbClr val="BDB9B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1" name="object 81"/>
            <p:cNvSpPr/>
            <p:nvPr/>
          </p:nvSpPr>
          <p:spPr>
            <a:xfrm>
              <a:off x="2048255" y="4809744"/>
              <a:ext cx="809625" cy="104139"/>
            </a:xfrm>
            <a:custGeom>
              <a:avLst/>
              <a:gdLst/>
              <a:ahLst/>
              <a:cxnLst/>
              <a:rect l="l" t="t" r="r" b="b"/>
              <a:pathLst>
                <a:path w="809625" h="104139">
                  <a:moveTo>
                    <a:pt x="809244" y="0"/>
                  </a:moveTo>
                  <a:lnTo>
                    <a:pt x="0" y="0"/>
                  </a:lnTo>
                  <a:lnTo>
                    <a:pt x="0" y="103631"/>
                  </a:lnTo>
                  <a:lnTo>
                    <a:pt x="809244" y="103631"/>
                  </a:lnTo>
                  <a:lnTo>
                    <a:pt x="809244" y="0"/>
                  </a:lnTo>
                  <a:close/>
                </a:path>
              </a:pathLst>
            </a:custGeom>
            <a:solidFill>
              <a:srgbClr val="1DCE9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2" name="object 82"/>
            <p:cNvSpPr/>
            <p:nvPr/>
          </p:nvSpPr>
          <p:spPr>
            <a:xfrm>
              <a:off x="1251204" y="4809744"/>
              <a:ext cx="800100" cy="104139"/>
            </a:xfrm>
            <a:custGeom>
              <a:avLst/>
              <a:gdLst/>
              <a:ahLst/>
              <a:cxnLst/>
              <a:rect l="l" t="t" r="r" b="b"/>
              <a:pathLst>
                <a:path w="800100" h="104139">
                  <a:moveTo>
                    <a:pt x="800099" y="0"/>
                  </a:moveTo>
                  <a:lnTo>
                    <a:pt x="0" y="0"/>
                  </a:lnTo>
                  <a:lnTo>
                    <a:pt x="0" y="103631"/>
                  </a:lnTo>
                  <a:lnTo>
                    <a:pt x="800099" y="103631"/>
                  </a:lnTo>
                  <a:lnTo>
                    <a:pt x="800099" y="0"/>
                  </a:lnTo>
                  <a:close/>
                </a:path>
              </a:pathLst>
            </a:custGeom>
            <a:solidFill>
              <a:srgbClr val="009FB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3" name="object 83"/>
            <p:cNvSpPr/>
            <p:nvPr/>
          </p:nvSpPr>
          <p:spPr>
            <a:xfrm>
              <a:off x="832103" y="4928616"/>
              <a:ext cx="394970" cy="102235"/>
            </a:xfrm>
            <a:custGeom>
              <a:avLst/>
              <a:gdLst/>
              <a:ahLst/>
              <a:cxnLst/>
              <a:rect l="l" t="t" r="r" b="b"/>
              <a:pathLst>
                <a:path w="394969" h="102235">
                  <a:moveTo>
                    <a:pt x="0" y="102107"/>
                  </a:moveTo>
                  <a:lnTo>
                    <a:pt x="394716" y="102107"/>
                  </a:lnTo>
                  <a:lnTo>
                    <a:pt x="394716" y="0"/>
                  </a:lnTo>
                  <a:lnTo>
                    <a:pt x="0" y="0"/>
                  </a:lnTo>
                  <a:lnTo>
                    <a:pt x="0" y="102107"/>
                  </a:lnTo>
                  <a:close/>
                </a:path>
              </a:pathLst>
            </a:custGeom>
            <a:solidFill>
              <a:srgbClr val="BDB9B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4" name="object 84"/>
            <p:cNvSpPr/>
            <p:nvPr/>
          </p:nvSpPr>
          <p:spPr>
            <a:xfrm>
              <a:off x="1226819" y="4928616"/>
              <a:ext cx="635635" cy="102235"/>
            </a:xfrm>
            <a:custGeom>
              <a:avLst/>
              <a:gdLst/>
              <a:ahLst/>
              <a:cxnLst/>
              <a:rect l="l" t="t" r="r" b="b"/>
              <a:pathLst>
                <a:path w="635635" h="102235">
                  <a:moveTo>
                    <a:pt x="635507" y="0"/>
                  </a:moveTo>
                  <a:lnTo>
                    <a:pt x="0" y="0"/>
                  </a:lnTo>
                  <a:lnTo>
                    <a:pt x="0" y="102107"/>
                  </a:lnTo>
                  <a:lnTo>
                    <a:pt x="635507" y="102107"/>
                  </a:lnTo>
                  <a:lnTo>
                    <a:pt x="635507" y="0"/>
                  </a:lnTo>
                  <a:close/>
                </a:path>
              </a:pathLst>
            </a:custGeom>
            <a:solidFill>
              <a:srgbClr val="1DCE9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5" name="object 85"/>
            <p:cNvSpPr/>
            <p:nvPr/>
          </p:nvSpPr>
          <p:spPr>
            <a:xfrm>
              <a:off x="832103" y="5045964"/>
              <a:ext cx="399415" cy="104139"/>
            </a:xfrm>
            <a:custGeom>
              <a:avLst/>
              <a:gdLst/>
              <a:ahLst/>
              <a:cxnLst/>
              <a:rect l="l" t="t" r="r" b="b"/>
              <a:pathLst>
                <a:path w="399415" h="104139">
                  <a:moveTo>
                    <a:pt x="0" y="103631"/>
                  </a:moveTo>
                  <a:lnTo>
                    <a:pt x="399288" y="103631"/>
                  </a:lnTo>
                  <a:lnTo>
                    <a:pt x="399288" y="0"/>
                  </a:lnTo>
                  <a:lnTo>
                    <a:pt x="0" y="0"/>
                  </a:lnTo>
                  <a:lnTo>
                    <a:pt x="0" y="103631"/>
                  </a:lnTo>
                  <a:close/>
                </a:path>
              </a:pathLst>
            </a:custGeom>
            <a:solidFill>
              <a:srgbClr val="BDB9B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6" name="object 86"/>
            <p:cNvSpPr/>
            <p:nvPr/>
          </p:nvSpPr>
          <p:spPr>
            <a:xfrm>
              <a:off x="1231391" y="5045964"/>
              <a:ext cx="425450" cy="104139"/>
            </a:xfrm>
            <a:custGeom>
              <a:avLst/>
              <a:gdLst/>
              <a:ahLst/>
              <a:cxnLst/>
              <a:rect l="l" t="t" r="r" b="b"/>
              <a:pathLst>
                <a:path w="425450" h="104139">
                  <a:moveTo>
                    <a:pt x="425196" y="0"/>
                  </a:moveTo>
                  <a:lnTo>
                    <a:pt x="0" y="0"/>
                  </a:lnTo>
                  <a:lnTo>
                    <a:pt x="0" y="103631"/>
                  </a:lnTo>
                  <a:lnTo>
                    <a:pt x="425196" y="103631"/>
                  </a:lnTo>
                  <a:lnTo>
                    <a:pt x="425196" y="0"/>
                  </a:lnTo>
                  <a:close/>
                </a:path>
              </a:pathLst>
            </a:custGeom>
            <a:solidFill>
              <a:srgbClr val="1DCE9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7" name="object 87"/>
            <p:cNvSpPr/>
            <p:nvPr/>
          </p:nvSpPr>
          <p:spPr>
            <a:xfrm>
              <a:off x="1615440" y="5060950"/>
              <a:ext cx="90170" cy="76200"/>
            </a:xfrm>
            <a:custGeom>
              <a:avLst/>
              <a:gdLst/>
              <a:ahLst/>
              <a:cxnLst/>
              <a:rect l="l" t="t" r="r" b="b"/>
              <a:pathLst>
                <a:path w="90169" h="76200">
                  <a:moveTo>
                    <a:pt x="89916" y="31750"/>
                  </a:moveTo>
                  <a:lnTo>
                    <a:pt x="58801" y="31750"/>
                  </a:lnTo>
                  <a:lnTo>
                    <a:pt x="58801" y="0"/>
                  </a:lnTo>
                  <a:lnTo>
                    <a:pt x="31115" y="0"/>
                  </a:lnTo>
                  <a:lnTo>
                    <a:pt x="31115" y="31750"/>
                  </a:lnTo>
                  <a:lnTo>
                    <a:pt x="0" y="31750"/>
                  </a:lnTo>
                  <a:lnTo>
                    <a:pt x="0" y="45720"/>
                  </a:lnTo>
                  <a:lnTo>
                    <a:pt x="31115" y="45720"/>
                  </a:lnTo>
                  <a:lnTo>
                    <a:pt x="31115" y="76200"/>
                  </a:lnTo>
                  <a:lnTo>
                    <a:pt x="58801" y="76200"/>
                  </a:lnTo>
                  <a:lnTo>
                    <a:pt x="58801" y="45720"/>
                  </a:lnTo>
                  <a:lnTo>
                    <a:pt x="89916" y="45720"/>
                  </a:lnTo>
                  <a:lnTo>
                    <a:pt x="89916" y="31750"/>
                  </a:lnTo>
                  <a:close/>
                </a:path>
              </a:pathLst>
            </a:custGeom>
            <a:solidFill>
              <a:srgbClr val="2C2A2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88" name="object 88"/>
            <p:cNvPicPr/>
            <p:nvPr/>
          </p:nvPicPr>
          <p:blipFill>
            <a:blip r:embed="rId3" cstate="print"/>
            <a:stretch>
              <a:fillRect/>
            </a:stretch>
          </p:blipFill>
          <p:spPr>
            <a:xfrm>
              <a:off x="5945123" y="1278636"/>
              <a:ext cx="117348" cy="97536"/>
            </a:xfrm>
            <a:prstGeom prst="rect">
              <a:avLst/>
            </a:prstGeom>
          </p:spPr>
        </p:pic>
        <p:pic>
          <p:nvPicPr>
            <p:cNvPr id="89" name="object 89"/>
            <p:cNvPicPr/>
            <p:nvPr/>
          </p:nvPicPr>
          <p:blipFill>
            <a:blip r:embed="rId4" cstate="print"/>
            <a:stretch>
              <a:fillRect/>
            </a:stretch>
          </p:blipFill>
          <p:spPr>
            <a:xfrm>
              <a:off x="5847587" y="1406652"/>
              <a:ext cx="118872" cy="97536"/>
            </a:xfrm>
            <a:prstGeom prst="rect">
              <a:avLst/>
            </a:prstGeom>
          </p:spPr>
        </p:pic>
        <p:pic>
          <p:nvPicPr>
            <p:cNvPr id="90" name="object 90"/>
            <p:cNvPicPr/>
            <p:nvPr/>
          </p:nvPicPr>
          <p:blipFill>
            <a:blip r:embed="rId5" cstate="print"/>
            <a:stretch>
              <a:fillRect/>
            </a:stretch>
          </p:blipFill>
          <p:spPr>
            <a:xfrm>
              <a:off x="5053584" y="1524000"/>
              <a:ext cx="117348" cy="97536"/>
            </a:xfrm>
            <a:prstGeom prst="rect">
              <a:avLst/>
            </a:prstGeom>
          </p:spPr>
        </p:pic>
        <p:pic>
          <p:nvPicPr>
            <p:cNvPr id="91" name="object 91"/>
            <p:cNvPicPr/>
            <p:nvPr/>
          </p:nvPicPr>
          <p:blipFill>
            <a:blip r:embed="rId6" cstate="print"/>
            <a:stretch>
              <a:fillRect/>
            </a:stretch>
          </p:blipFill>
          <p:spPr>
            <a:xfrm>
              <a:off x="5044440" y="1647444"/>
              <a:ext cx="118872" cy="97535"/>
            </a:xfrm>
            <a:prstGeom prst="rect">
              <a:avLst/>
            </a:prstGeom>
          </p:spPr>
        </p:pic>
        <p:pic>
          <p:nvPicPr>
            <p:cNvPr id="92" name="object 92"/>
            <p:cNvPicPr/>
            <p:nvPr/>
          </p:nvPicPr>
          <p:blipFill>
            <a:blip r:embed="rId7" cstate="print"/>
            <a:stretch>
              <a:fillRect/>
            </a:stretch>
          </p:blipFill>
          <p:spPr>
            <a:xfrm>
              <a:off x="4858511" y="1764792"/>
              <a:ext cx="252984" cy="318516"/>
            </a:xfrm>
            <a:prstGeom prst="rect">
              <a:avLst/>
            </a:prstGeom>
          </p:spPr>
        </p:pic>
        <p:pic>
          <p:nvPicPr>
            <p:cNvPr id="93" name="object 93"/>
            <p:cNvPicPr/>
            <p:nvPr/>
          </p:nvPicPr>
          <p:blipFill>
            <a:blip r:embed="rId5" cstate="print"/>
            <a:stretch>
              <a:fillRect/>
            </a:stretch>
          </p:blipFill>
          <p:spPr>
            <a:xfrm>
              <a:off x="4239767" y="2232660"/>
              <a:ext cx="117348" cy="97536"/>
            </a:xfrm>
            <a:prstGeom prst="rect">
              <a:avLst/>
            </a:prstGeom>
          </p:spPr>
        </p:pic>
        <p:pic>
          <p:nvPicPr>
            <p:cNvPr id="94" name="object 94"/>
            <p:cNvPicPr/>
            <p:nvPr/>
          </p:nvPicPr>
          <p:blipFill>
            <a:blip r:embed="rId8" cstate="print"/>
            <a:stretch>
              <a:fillRect/>
            </a:stretch>
          </p:blipFill>
          <p:spPr>
            <a:xfrm>
              <a:off x="4087367" y="2339340"/>
              <a:ext cx="118872" cy="99060"/>
            </a:xfrm>
            <a:prstGeom prst="rect">
              <a:avLst/>
            </a:prstGeom>
          </p:spPr>
        </p:pic>
        <p:pic>
          <p:nvPicPr>
            <p:cNvPr id="95" name="object 95"/>
            <p:cNvPicPr/>
            <p:nvPr/>
          </p:nvPicPr>
          <p:blipFill>
            <a:blip r:embed="rId5" cstate="print"/>
            <a:stretch>
              <a:fillRect/>
            </a:stretch>
          </p:blipFill>
          <p:spPr>
            <a:xfrm>
              <a:off x="4029456" y="2470404"/>
              <a:ext cx="117348" cy="97536"/>
            </a:xfrm>
            <a:prstGeom prst="rect">
              <a:avLst/>
            </a:prstGeom>
          </p:spPr>
        </p:pic>
        <p:pic>
          <p:nvPicPr>
            <p:cNvPr id="96" name="object 96"/>
            <p:cNvPicPr/>
            <p:nvPr/>
          </p:nvPicPr>
          <p:blipFill>
            <a:blip r:embed="rId4" cstate="print"/>
            <a:stretch>
              <a:fillRect/>
            </a:stretch>
          </p:blipFill>
          <p:spPr>
            <a:xfrm>
              <a:off x="4027931" y="2587752"/>
              <a:ext cx="118871" cy="97536"/>
            </a:xfrm>
            <a:prstGeom prst="rect">
              <a:avLst/>
            </a:prstGeom>
          </p:spPr>
        </p:pic>
        <p:pic>
          <p:nvPicPr>
            <p:cNvPr id="97" name="object 97"/>
            <p:cNvPicPr/>
            <p:nvPr/>
          </p:nvPicPr>
          <p:blipFill>
            <a:blip r:embed="rId3" cstate="print"/>
            <a:stretch>
              <a:fillRect/>
            </a:stretch>
          </p:blipFill>
          <p:spPr>
            <a:xfrm>
              <a:off x="3910584" y="2706624"/>
              <a:ext cx="117348" cy="97536"/>
            </a:xfrm>
            <a:prstGeom prst="rect">
              <a:avLst/>
            </a:prstGeom>
          </p:spPr>
        </p:pic>
        <p:pic>
          <p:nvPicPr>
            <p:cNvPr id="98" name="object 98"/>
            <p:cNvPicPr/>
            <p:nvPr/>
          </p:nvPicPr>
          <p:blipFill>
            <a:blip r:embed="rId9" cstate="print"/>
            <a:stretch>
              <a:fillRect/>
            </a:stretch>
          </p:blipFill>
          <p:spPr>
            <a:xfrm>
              <a:off x="3764280" y="2823972"/>
              <a:ext cx="219456" cy="324612"/>
            </a:xfrm>
            <a:prstGeom prst="rect">
              <a:avLst/>
            </a:prstGeom>
          </p:spPr>
        </p:pic>
        <p:pic>
          <p:nvPicPr>
            <p:cNvPr id="99" name="object 99"/>
            <p:cNvPicPr/>
            <p:nvPr/>
          </p:nvPicPr>
          <p:blipFill>
            <a:blip r:embed="rId4" cstate="print"/>
            <a:stretch>
              <a:fillRect/>
            </a:stretch>
          </p:blipFill>
          <p:spPr>
            <a:xfrm>
              <a:off x="3717036" y="3168395"/>
              <a:ext cx="118872" cy="97536"/>
            </a:xfrm>
            <a:prstGeom prst="rect">
              <a:avLst/>
            </a:prstGeom>
          </p:spPr>
        </p:pic>
        <p:pic>
          <p:nvPicPr>
            <p:cNvPr id="100" name="object 100"/>
            <p:cNvPicPr/>
            <p:nvPr/>
          </p:nvPicPr>
          <p:blipFill>
            <a:blip r:embed="rId3" cstate="print"/>
            <a:stretch>
              <a:fillRect/>
            </a:stretch>
          </p:blipFill>
          <p:spPr>
            <a:xfrm>
              <a:off x="3630168" y="3287267"/>
              <a:ext cx="117348" cy="97536"/>
            </a:xfrm>
            <a:prstGeom prst="rect">
              <a:avLst/>
            </a:prstGeom>
          </p:spPr>
        </p:pic>
        <p:pic>
          <p:nvPicPr>
            <p:cNvPr id="101" name="object 101"/>
            <p:cNvPicPr/>
            <p:nvPr/>
          </p:nvPicPr>
          <p:blipFill>
            <a:blip r:embed="rId10" cstate="print"/>
            <a:stretch>
              <a:fillRect/>
            </a:stretch>
          </p:blipFill>
          <p:spPr>
            <a:xfrm>
              <a:off x="3526536" y="3523488"/>
              <a:ext cx="176784" cy="214884"/>
            </a:xfrm>
            <a:prstGeom prst="rect">
              <a:avLst/>
            </a:prstGeom>
          </p:spPr>
        </p:pic>
        <p:pic>
          <p:nvPicPr>
            <p:cNvPr id="102" name="object 102"/>
            <p:cNvPicPr/>
            <p:nvPr/>
          </p:nvPicPr>
          <p:blipFill>
            <a:blip r:embed="rId8" cstate="print"/>
            <a:stretch>
              <a:fillRect/>
            </a:stretch>
          </p:blipFill>
          <p:spPr>
            <a:xfrm>
              <a:off x="3547871" y="3761232"/>
              <a:ext cx="118872" cy="99060"/>
            </a:xfrm>
            <a:prstGeom prst="rect">
              <a:avLst/>
            </a:prstGeom>
          </p:spPr>
        </p:pic>
        <p:pic>
          <p:nvPicPr>
            <p:cNvPr id="103" name="object 103"/>
            <p:cNvPicPr/>
            <p:nvPr/>
          </p:nvPicPr>
          <p:blipFill>
            <a:blip r:embed="rId11" cstate="print"/>
            <a:stretch>
              <a:fillRect/>
            </a:stretch>
          </p:blipFill>
          <p:spPr>
            <a:xfrm>
              <a:off x="3537203" y="3881627"/>
              <a:ext cx="117348" cy="97536"/>
            </a:xfrm>
            <a:prstGeom prst="rect">
              <a:avLst/>
            </a:prstGeom>
          </p:spPr>
        </p:pic>
        <p:pic>
          <p:nvPicPr>
            <p:cNvPr id="104" name="object 104"/>
            <p:cNvPicPr/>
            <p:nvPr/>
          </p:nvPicPr>
          <p:blipFill>
            <a:blip r:embed="rId6" cstate="print"/>
            <a:stretch>
              <a:fillRect/>
            </a:stretch>
          </p:blipFill>
          <p:spPr>
            <a:xfrm>
              <a:off x="3221736" y="4104132"/>
              <a:ext cx="118872" cy="97536"/>
            </a:xfrm>
            <a:prstGeom prst="rect">
              <a:avLst/>
            </a:prstGeom>
          </p:spPr>
        </p:pic>
        <p:pic>
          <p:nvPicPr>
            <p:cNvPr id="105" name="object 105"/>
            <p:cNvPicPr/>
            <p:nvPr/>
          </p:nvPicPr>
          <p:blipFill>
            <a:blip r:embed="rId12" cstate="print"/>
            <a:stretch>
              <a:fillRect/>
            </a:stretch>
          </p:blipFill>
          <p:spPr>
            <a:xfrm>
              <a:off x="3195828" y="4226052"/>
              <a:ext cx="134112" cy="211836"/>
            </a:xfrm>
            <a:prstGeom prst="rect">
              <a:avLst/>
            </a:prstGeom>
          </p:spPr>
        </p:pic>
        <p:pic>
          <p:nvPicPr>
            <p:cNvPr id="106" name="object 106"/>
            <p:cNvPicPr/>
            <p:nvPr/>
          </p:nvPicPr>
          <p:blipFill>
            <a:blip r:embed="rId6" cstate="print"/>
            <a:stretch>
              <a:fillRect/>
            </a:stretch>
          </p:blipFill>
          <p:spPr>
            <a:xfrm>
              <a:off x="3104387" y="4462272"/>
              <a:ext cx="118872" cy="97535"/>
            </a:xfrm>
            <a:prstGeom prst="rect">
              <a:avLst/>
            </a:prstGeom>
          </p:spPr>
        </p:pic>
        <p:pic>
          <p:nvPicPr>
            <p:cNvPr id="107" name="object 107"/>
            <p:cNvPicPr/>
            <p:nvPr/>
          </p:nvPicPr>
          <p:blipFill>
            <a:blip r:embed="rId6" cstate="print"/>
            <a:stretch>
              <a:fillRect/>
            </a:stretch>
          </p:blipFill>
          <p:spPr>
            <a:xfrm>
              <a:off x="3029712" y="4579620"/>
              <a:ext cx="118871" cy="97536"/>
            </a:xfrm>
            <a:prstGeom prst="rect">
              <a:avLst/>
            </a:prstGeom>
          </p:spPr>
        </p:pic>
        <p:pic>
          <p:nvPicPr>
            <p:cNvPr id="108" name="object 108"/>
            <p:cNvPicPr/>
            <p:nvPr/>
          </p:nvPicPr>
          <p:blipFill>
            <a:blip r:embed="rId13" cstate="print"/>
            <a:stretch>
              <a:fillRect/>
            </a:stretch>
          </p:blipFill>
          <p:spPr>
            <a:xfrm>
              <a:off x="2880359" y="4704588"/>
              <a:ext cx="249935" cy="208787"/>
            </a:xfrm>
            <a:prstGeom prst="rect">
              <a:avLst/>
            </a:prstGeom>
          </p:spPr>
        </p:pic>
        <p:sp>
          <p:nvSpPr>
            <p:cNvPr id="109" name="object 109"/>
            <p:cNvSpPr/>
            <p:nvPr/>
          </p:nvSpPr>
          <p:spPr>
            <a:xfrm>
              <a:off x="2019300" y="3985260"/>
              <a:ext cx="105410" cy="105410"/>
            </a:xfrm>
            <a:custGeom>
              <a:avLst/>
              <a:gdLst/>
              <a:ahLst/>
              <a:cxnLst/>
              <a:rect l="l" t="t" r="r" b="b"/>
              <a:pathLst>
                <a:path w="105410" h="105410">
                  <a:moveTo>
                    <a:pt x="52577" y="0"/>
                  </a:moveTo>
                  <a:lnTo>
                    <a:pt x="0" y="105156"/>
                  </a:lnTo>
                  <a:lnTo>
                    <a:pt x="105156" y="105156"/>
                  </a:lnTo>
                  <a:lnTo>
                    <a:pt x="52577" y="0"/>
                  </a:lnTo>
                  <a:close/>
                </a:path>
              </a:pathLst>
            </a:custGeom>
            <a:solidFill>
              <a:srgbClr val="7D757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10" name="object 110"/>
            <p:cNvSpPr/>
            <p:nvPr/>
          </p:nvSpPr>
          <p:spPr>
            <a:xfrm>
              <a:off x="4053840" y="2106168"/>
              <a:ext cx="120650" cy="104139"/>
            </a:xfrm>
            <a:custGeom>
              <a:avLst/>
              <a:gdLst/>
              <a:ahLst/>
              <a:cxnLst/>
              <a:rect l="l" t="t" r="r" b="b"/>
              <a:pathLst>
                <a:path w="120650" h="104139">
                  <a:moveTo>
                    <a:pt x="120396" y="0"/>
                  </a:moveTo>
                  <a:lnTo>
                    <a:pt x="0" y="0"/>
                  </a:lnTo>
                  <a:lnTo>
                    <a:pt x="0" y="103632"/>
                  </a:lnTo>
                  <a:lnTo>
                    <a:pt x="120396" y="103632"/>
                  </a:lnTo>
                  <a:lnTo>
                    <a:pt x="120396" y="0"/>
                  </a:lnTo>
                  <a:close/>
                </a:path>
              </a:pathLst>
            </a:custGeom>
            <a:solidFill>
              <a:srgbClr val="772A2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11" name="object 111"/>
            <p:cNvSpPr/>
            <p:nvPr/>
          </p:nvSpPr>
          <p:spPr>
            <a:xfrm>
              <a:off x="1219200" y="2225040"/>
              <a:ext cx="2976880" cy="102235"/>
            </a:xfrm>
            <a:custGeom>
              <a:avLst/>
              <a:gdLst/>
              <a:ahLst/>
              <a:cxnLst/>
              <a:rect l="l" t="t" r="r" b="b"/>
              <a:pathLst>
                <a:path w="2976879" h="102235">
                  <a:moveTo>
                    <a:pt x="2976372" y="0"/>
                  </a:moveTo>
                  <a:lnTo>
                    <a:pt x="0" y="0"/>
                  </a:lnTo>
                  <a:lnTo>
                    <a:pt x="0" y="102108"/>
                  </a:lnTo>
                  <a:lnTo>
                    <a:pt x="2976372" y="102108"/>
                  </a:lnTo>
                  <a:lnTo>
                    <a:pt x="2976372" y="0"/>
                  </a:lnTo>
                  <a:close/>
                </a:path>
              </a:pathLst>
            </a:custGeom>
            <a:solidFill>
              <a:srgbClr val="1DCE9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12" name="object 112"/>
            <p:cNvSpPr/>
            <p:nvPr/>
          </p:nvSpPr>
          <p:spPr>
            <a:xfrm>
              <a:off x="1897380" y="3400043"/>
              <a:ext cx="307975" cy="692150"/>
            </a:xfrm>
            <a:custGeom>
              <a:avLst/>
              <a:gdLst/>
              <a:ahLst/>
              <a:cxnLst/>
              <a:rect l="l" t="t" r="r" b="b"/>
              <a:pathLst>
                <a:path w="307975" h="692150">
                  <a:moveTo>
                    <a:pt x="120396" y="588264"/>
                  </a:moveTo>
                  <a:lnTo>
                    <a:pt x="0" y="588264"/>
                  </a:lnTo>
                  <a:lnTo>
                    <a:pt x="0" y="691896"/>
                  </a:lnTo>
                  <a:lnTo>
                    <a:pt x="120396" y="691896"/>
                  </a:lnTo>
                  <a:lnTo>
                    <a:pt x="120396" y="588264"/>
                  </a:lnTo>
                  <a:close/>
                </a:path>
                <a:path w="307975" h="692150">
                  <a:moveTo>
                    <a:pt x="307848" y="0"/>
                  </a:moveTo>
                  <a:lnTo>
                    <a:pt x="185928" y="0"/>
                  </a:lnTo>
                  <a:lnTo>
                    <a:pt x="185928" y="103632"/>
                  </a:lnTo>
                  <a:lnTo>
                    <a:pt x="307848" y="103632"/>
                  </a:lnTo>
                  <a:lnTo>
                    <a:pt x="307848" y="0"/>
                  </a:lnTo>
                  <a:close/>
                </a:path>
              </a:pathLst>
            </a:custGeom>
            <a:solidFill>
              <a:srgbClr val="772A2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13" name="object 113"/>
            <p:cNvSpPr/>
            <p:nvPr/>
          </p:nvSpPr>
          <p:spPr>
            <a:xfrm>
              <a:off x="816863" y="5268467"/>
              <a:ext cx="5453380" cy="76835"/>
            </a:xfrm>
            <a:custGeom>
              <a:avLst/>
              <a:gdLst/>
              <a:ahLst/>
              <a:cxnLst/>
              <a:rect l="l" t="t" r="r" b="b"/>
              <a:pathLst>
                <a:path w="5453380" h="76835">
                  <a:moveTo>
                    <a:pt x="0" y="4571"/>
                  </a:moveTo>
                  <a:lnTo>
                    <a:pt x="0" y="73786"/>
                  </a:lnTo>
                </a:path>
                <a:path w="5453380" h="76835">
                  <a:moveTo>
                    <a:pt x="5452872" y="0"/>
                  </a:moveTo>
                  <a:lnTo>
                    <a:pt x="5452872" y="69214"/>
                  </a:lnTo>
                </a:path>
                <a:path w="5453380" h="76835">
                  <a:moveTo>
                    <a:pt x="681228" y="4571"/>
                  </a:moveTo>
                  <a:lnTo>
                    <a:pt x="681228" y="73786"/>
                  </a:lnTo>
                </a:path>
                <a:path w="5453380" h="76835">
                  <a:moveTo>
                    <a:pt x="1363980" y="7619"/>
                  </a:moveTo>
                  <a:lnTo>
                    <a:pt x="1363980" y="76834"/>
                  </a:lnTo>
                </a:path>
                <a:path w="5453380" h="76835">
                  <a:moveTo>
                    <a:pt x="2045208" y="4571"/>
                  </a:moveTo>
                  <a:lnTo>
                    <a:pt x="2045208" y="73786"/>
                  </a:lnTo>
                </a:path>
                <a:path w="5453380" h="76835">
                  <a:moveTo>
                    <a:pt x="2726436" y="4571"/>
                  </a:moveTo>
                  <a:lnTo>
                    <a:pt x="2726436" y="73786"/>
                  </a:lnTo>
                </a:path>
                <a:path w="5453380" h="76835">
                  <a:moveTo>
                    <a:pt x="4771644" y="4571"/>
                  </a:moveTo>
                  <a:lnTo>
                    <a:pt x="4771644" y="73786"/>
                  </a:lnTo>
                </a:path>
                <a:path w="5453380" h="76835">
                  <a:moveTo>
                    <a:pt x="4088891" y="4571"/>
                  </a:moveTo>
                  <a:lnTo>
                    <a:pt x="4088891" y="73786"/>
                  </a:lnTo>
                </a:path>
                <a:path w="5453380" h="76835">
                  <a:moveTo>
                    <a:pt x="3407664" y="4571"/>
                  </a:moveTo>
                  <a:lnTo>
                    <a:pt x="3407664" y="73786"/>
                  </a:lnTo>
                </a:path>
              </a:pathLst>
            </a:custGeom>
            <a:ln w="12700">
              <a:solidFill>
                <a:srgbClr val="58535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14" name="object 114"/>
            <p:cNvSpPr/>
            <p:nvPr/>
          </p:nvSpPr>
          <p:spPr>
            <a:xfrm>
              <a:off x="1313687" y="2342388"/>
              <a:ext cx="2740660" cy="104139"/>
            </a:xfrm>
            <a:custGeom>
              <a:avLst/>
              <a:gdLst/>
              <a:ahLst/>
              <a:cxnLst/>
              <a:rect l="l" t="t" r="r" b="b"/>
              <a:pathLst>
                <a:path w="2740660" h="104139">
                  <a:moveTo>
                    <a:pt x="2740152" y="0"/>
                  </a:moveTo>
                  <a:lnTo>
                    <a:pt x="0" y="0"/>
                  </a:lnTo>
                  <a:lnTo>
                    <a:pt x="0" y="103632"/>
                  </a:lnTo>
                  <a:lnTo>
                    <a:pt x="2740152" y="103632"/>
                  </a:lnTo>
                  <a:lnTo>
                    <a:pt x="2740152" y="0"/>
                  </a:lnTo>
                  <a:close/>
                </a:path>
              </a:pathLst>
            </a:custGeom>
            <a:solidFill>
              <a:srgbClr val="1DCE9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115" name="object 115"/>
            <p:cNvPicPr/>
            <p:nvPr/>
          </p:nvPicPr>
          <p:blipFill>
            <a:blip r:embed="rId14" cstate="print"/>
            <a:stretch>
              <a:fillRect/>
            </a:stretch>
          </p:blipFill>
          <p:spPr>
            <a:xfrm>
              <a:off x="4125467" y="4131564"/>
              <a:ext cx="117348" cy="99060"/>
            </a:xfrm>
            <a:prstGeom prst="rect">
              <a:avLst/>
            </a:prstGeom>
          </p:spPr>
        </p:pic>
      </p:grpSp>
      <p:sp>
        <p:nvSpPr>
          <p:cNvPr id="116" name="object 116"/>
          <p:cNvSpPr txBox="1"/>
          <p:nvPr/>
        </p:nvSpPr>
        <p:spPr>
          <a:xfrm>
            <a:off x="4233417" y="2999358"/>
            <a:ext cx="2372995" cy="1299845"/>
          </a:xfrm>
          <a:prstGeom prst="rect">
            <a:avLst/>
          </a:prstGeom>
        </p:spPr>
        <p:txBody>
          <a:bodyPr vert="horz" wrap="square" lIns="0" tIns="13335" rIns="0" bIns="0" rtlCol="0">
            <a:spAutoFit/>
          </a:bodyPr>
          <a:lstStyle/>
          <a:p>
            <a:pPr marL="106045" marR="0" lvl="0" indent="0" algn="l" defTabSz="914400" rtl="0" eaLnBrk="1" fontAlgn="auto" latinLnBrk="0" hangingPunct="1">
              <a:lnSpc>
                <a:spcPct val="100000"/>
              </a:lnSpc>
              <a:spcBef>
                <a:spcPts val="105"/>
              </a:spcBef>
              <a:spcAft>
                <a:spcPts val="0"/>
              </a:spcAft>
              <a:buClrTx/>
              <a:buSzTx/>
              <a:buFontTx/>
              <a:buNone/>
              <a:tabLst>
                <a:tab pos="654685" algn="l"/>
                <a:tab pos="1201420" algn="l"/>
              </a:tabLst>
              <a:defRPr/>
            </a:pPr>
            <a:r>
              <a:rPr kumimoji="0" sz="1400" b="0" i="0" u="none" strike="noStrike" kern="0" cap="none" spc="-25" normalizeH="0" baseline="0" noProof="0" dirty="0">
                <a:ln>
                  <a:noFill/>
                </a:ln>
                <a:solidFill>
                  <a:srgbClr val="585353"/>
                </a:solidFill>
                <a:effectLst/>
                <a:uLnTx/>
                <a:uFillTx/>
                <a:latin typeface="Trebuchet MS"/>
                <a:ea typeface="+mn-ea"/>
                <a:cs typeface="Trebuchet MS"/>
              </a:rPr>
              <a:t>CMR</a:t>
            </a:r>
            <a:r>
              <a:rPr kumimoji="0" sz="1400" b="0" i="0" u="none" strike="noStrike" kern="0" cap="none" spc="0" normalizeH="0" baseline="0" noProof="0" dirty="0">
                <a:ln>
                  <a:noFill/>
                </a:ln>
                <a:solidFill>
                  <a:srgbClr val="585353"/>
                </a:solidFill>
                <a:effectLst/>
                <a:uLnTx/>
                <a:uFillTx/>
                <a:latin typeface="Trebuchet MS"/>
                <a:ea typeface="+mn-ea"/>
                <a:cs typeface="Trebuchet MS"/>
              </a:rPr>
              <a:t>	</a:t>
            </a:r>
            <a:r>
              <a:rPr kumimoji="0" sz="1400" b="0" i="0" u="none" strike="noStrike" kern="0" cap="none" spc="-25" normalizeH="0" baseline="0" noProof="0" dirty="0">
                <a:ln>
                  <a:noFill/>
                </a:ln>
                <a:solidFill>
                  <a:srgbClr val="585353"/>
                </a:solidFill>
                <a:effectLst/>
                <a:uLnTx/>
                <a:uFillTx/>
                <a:latin typeface="Trebuchet MS"/>
                <a:ea typeface="+mn-ea"/>
                <a:cs typeface="Trebuchet MS"/>
              </a:rPr>
              <a:t>PR</a:t>
            </a:r>
            <a:r>
              <a:rPr kumimoji="0" sz="1400" b="0" i="0" u="none" strike="noStrike" kern="0" cap="none" spc="0" normalizeH="0" baseline="0" noProof="0" dirty="0">
                <a:ln>
                  <a:noFill/>
                </a:ln>
                <a:solidFill>
                  <a:srgbClr val="585353"/>
                </a:solidFill>
                <a:effectLst/>
                <a:uLnTx/>
                <a:uFillTx/>
                <a:latin typeface="Trebuchet MS"/>
                <a:ea typeface="+mn-ea"/>
                <a:cs typeface="Trebuchet MS"/>
              </a:rPr>
              <a:t>	</a:t>
            </a:r>
            <a:r>
              <a:rPr kumimoji="0" sz="1400" b="0" i="0" u="none" strike="noStrike" kern="0" cap="none" spc="-25" normalizeH="0" baseline="0" noProof="0" dirty="0">
                <a:ln>
                  <a:noFill/>
                </a:ln>
                <a:solidFill>
                  <a:srgbClr val="585353"/>
                </a:solidFill>
                <a:effectLst/>
                <a:uLnTx/>
                <a:uFillTx/>
                <a:latin typeface="Trebuchet MS"/>
                <a:ea typeface="+mn-ea"/>
                <a:cs typeface="Trebuchet MS"/>
              </a:rPr>
              <a:t>PD</a:t>
            </a:r>
            <a:endParaRPr kumimoji="0" sz="1400" b="0" i="0" u="none" strike="noStrike" kern="0" cap="none" spc="0" normalizeH="0" baseline="0" noProof="0">
              <a:ln>
                <a:noFill/>
              </a:ln>
              <a:solidFill>
                <a:sysClr val="windowText" lastClr="000000"/>
              </a:solidFill>
              <a:effectLst/>
              <a:uLnTx/>
              <a:uFillTx/>
              <a:latin typeface="Trebuchet MS"/>
              <a:ea typeface="+mn-ea"/>
              <a:cs typeface="Trebuchet MS"/>
            </a:endParaRPr>
          </a:p>
          <a:p>
            <a:pPr marL="76200" marR="0" lvl="0" indent="0" algn="l" defTabSz="914400" rtl="0" eaLnBrk="1" fontAlgn="auto" latinLnBrk="0" hangingPunct="1">
              <a:lnSpc>
                <a:spcPct val="100000"/>
              </a:lnSpc>
              <a:spcBef>
                <a:spcPts val="80"/>
              </a:spcBef>
              <a:spcAft>
                <a:spcPts val="0"/>
              </a:spcAft>
              <a:buClrTx/>
              <a:buSzTx/>
              <a:buFontTx/>
              <a:buNone/>
              <a:tabLst/>
              <a:defRPr/>
            </a:pPr>
            <a:r>
              <a:rPr kumimoji="0" sz="1400" b="0" i="0" u="none" strike="noStrike" kern="0" cap="none" spc="-10" normalizeH="0" baseline="0" noProof="0" dirty="0">
                <a:ln>
                  <a:noFill/>
                </a:ln>
                <a:solidFill>
                  <a:srgbClr val="585353"/>
                </a:solidFill>
                <a:effectLst/>
                <a:uLnTx/>
                <a:uFillTx/>
                <a:latin typeface="Trebuchet MS"/>
                <a:ea typeface="+mn-ea"/>
                <a:cs typeface="Trebuchet MS"/>
              </a:rPr>
              <a:t>Death</a:t>
            </a:r>
            <a:r>
              <a:rPr kumimoji="0" sz="1350" b="0" i="0" u="none" strike="noStrike" kern="0" cap="none" spc="-15" normalizeH="0" baseline="24691" noProof="0" dirty="0">
                <a:ln>
                  <a:noFill/>
                </a:ln>
                <a:solidFill>
                  <a:srgbClr val="585353"/>
                </a:solidFill>
                <a:effectLst/>
                <a:uLnTx/>
                <a:uFillTx/>
                <a:latin typeface="Trebuchet MS"/>
                <a:ea typeface="+mn-ea"/>
                <a:cs typeface="Trebuchet MS"/>
              </a:rPr>
              <a:t>a</a:t>
            </a:r>
            <a:endParaRPr kumimoji="0" sz="1350" b="0" i="0" u="none" strike="noStrike" kern="0" cap="none" spc="0" normalizeH="0" baseline="24691" noProof="0">
              <a:ln>
                <a:noFill/>
              </a:ln>
              <a:solidFill>
                <a:sysClr val="windowText" lastClr="000000"/>
              </a:solidFill>
              <a:effectLst/>
              <a:uLnTx/>
              <a:uFillTx/>
              <a:latin typeface="Trebuchet MS"/>
              <a:ea typeface="+mn-ea"/>
              <a:cs typeface="Trebuchet MS"/>
            </a:endParaRPr>
          </a:p>
          <a:p>
            <a:pPr marL="76200" marR="30480" lvl="0" indent="40005" algn="l" defTabSz="914400" rtl="0" eaLnBrk="1" fontAlgn="auto" latinLnBrk="0" hangingPunct="1">
              <a:lnSpc>
                <a:spcPts val="2170"/>
              </a:lnSpc>
              <a:spcBef>
                <a:spcPts val="90"/>
              </a:spcBef>
              <a:spcAft>
                <a:spcPts val="0"/>
              </a:spcAft>
              <a:buClrTx/>
              <a:buSzTx/>
              <a:buFontTx/>
              <a:buNone/>
              <a:tabLst/>
              <a:defRPr/>
            </a:pPr>
            <a:r>
              <a:rPr kumimoji="0" sz="1400" b="0" i="0" u="none" strike="noStrike" kern="0" cap="none" spc="0" normalizeH="0" baseline="0" noProof="0" dirty="0">
                <a:ln>
                  <a:noFill/>
                </a:ln>
                <a:solidFill>
                  <a:srgbClr val="585353"/>
                </a:solidFill>
                <a:effectLst/>
                <a:uLnTx/>
                <a:uFillTx/>
                <a:latin typeface="Trebuchet MS"/>
                <a:ea typeface="+mn-ea"/>
                <a:cs typeface="Trebuchet MS"/>
              </a:rPr>
              <a:t>No</a:t>
            </a:r>
            <a:r>
              <a:rPr kumimoji="0" sz="1400" b="0" i="0" u="none" strike="noStrike" kern="0" cap="none" spc="-30" normalizeH="0" baseline="0" noProof="0" dirty="0">
                <a:ln>
                  <a:noFill/>
                </a:ln>
                <a:solidFill>
                  <a:srgbClr val="585353"/>
                </a:solidFill>
                <a:effectLst/>
                <a:uLnTx/>
                <a:uFillTx/>
                <a:latin typeface="Trebuchet MS"/>
                <a:ea typeface="+mn-ea"/>
                <a:cs typeface="Trebuchet MS"/>
              </a:rPr>
              <a:t> </a:t>
            </a:r>
            <a:r>
              <a:rPr kumimoji="0" sz="1400" b="0" i="0" u="none" strike="noStrike" kern="0" cap="none" spc="0" normalizeH="0" baseline="0" noProof="0" dirty="0">
                <a:ln>
                  <a:noFill/>
                </a:ln>
                <a:solidFill>
                  <a:srgbClr val="585353"/>
                </a:solidFill>
                <a:effectLst/>
                <a:uLnTx/>
                <a:uFillTx/>
                <a:latin typeface="Trebuchet MS"/>
                <a:ea typeface="+mn-ea"/>
                <a:cs typeface="Trebuchet MS"/>
              </a:rPr>
              <a:t>response</a:t>
            </a:r>
            <a:r>
              <a:rPr kumimoji="0" sz="1400" b="0" i="0" u="none" strike="noStrike" kern="0" cap="none" spc="-30" normalizeH="0" baseline="0" noProof="0" dirty="0">
                <a:ln>
                  <a:noFill/>
                </a:ln>
                <a:solidFill>
                  <a:srgbClr val="585353"/>
                </a:solidFill>
                <a:effectLst/>
                <a:uLnTx/>
                <a:uFillTx/>
                <a:latin typeface="Trebuchet MS"/>
                <a:ea typeface="+mn-ea"/>
                <a:cs typeface="Trebuchet MS"/>
              </a:rPr>
              <a:t> </a:t>
            </a:r>
            <a:r>
              <a:rPr kumimoji="0" sz="1400" b="0" i="0" u="none" strike="noStrike" kern="0" cap="none" spc="-10" normalizeH="0" baseline="0" noProof="0" dirty="0">
                <a:ln>
                  <a:noFill/>
                </a:ln>
                <a:solidFill>
                  <a:srgbClr val="585353"/>
                </a:solidFill>
                <a:effectLst/>
                <a:uLnTx/>
                <a:uFillTx/>
                <a:latin typeface="Trebuchet MS"/>
                <a:ea typeface="+mn-ea"/>
                <a:cs typeface="Trebuchet MS"/>
              </a:rPr>
              <a:t>assessment </a:t>
            </a:r>
            <a:r>
              <a:rPr kumimoji="0" sz="1400" b="0" i="0" u="none" strike="noStrike" kern="0" cap="none" spc="0" normalizeH="0" baseline="0" noProof="0" dirty="0">
                <a:ln>
                  <a:noFill/>
                </a:ln>
                <a:solidFill>
                  <a:srgbClr val="585353"/>
                </a:solidFill>
                <a:effectLst/>
                <a:uLnTx/>
                <a:uFillTx/>
                <a:latin typeface="Trebuchet MS"/>
                <a:ea typeface="+mn-ea"/>
                <a:cs typeface="Trebuchet MS"/>
              </a:rPr>
              <a:t>New</a:t>
            </a:r>
            <a:r>
              <a:rPr kumimoji="0" sz="1400" b="0" i="0" u="none" strike="noStrike" kern="0" cap="none" spc="-35" normalizeH="0" baseline="0" noProof="0" dirty="0">
                <a:ln>
                  <a:noFill/>
                </a:ln>
                <a:solidFill>
                  <a:srgbClr val="585353"/>
                </a:solidFill>
                <a:effectLst/>
                <a:uLnTx/>
                <a:uFillTx/>
                <a:latin typeface="Trebuchet MS"/>
                <a:ea typeface="+mn-ea"/>
                <a:cs typeface="Trebuchet MS"/>
              </a:rPr>
              <a:t> </a:t>
            </a:r>
            <a:r>
              <a:rPr kumimoji="0" sz="1400" b="0" i="0" u="none" strike="noStrike" kern="0" cap="none" spc="-10" normalizeH="0" baseline="0" noProof="0" dirty="0">
                <a:ln>
                  <a:noFill/>
                </a:ln>
                <a:solidFill>
                  <a:srgbClr val="585353"/>
                </a:solidFill>
                <a:effectLst/>
                <a:uLnTx/>
                <a:uFillTx/>
                <a:latin typeface="Trebuchet MS"/>
                <a:ea typeface="+mn-ea"/>
                <a:cs typeface="Trebuchet MS"/>
              </a:rPr>
              <a:t>anti-</a:t>
            </a:r>
            <a:r>
              <a:rPr kumimoji="0" sz="1400" b="0" i="0" u="none" strike="noStrike" kern="0" cap="none" spc="0" normalizeH="0" baseline="0" noProof="0" dirty="0">
                <a:ln>
                  <a:noFill/>
                </a:ln>
                <a:solidFill>
                  <a:srgbClr val="585353"/>
                </a:solidFill>
                <a:effectLst/>
                <a:uLnTx/>
                <a:uFillTx/>
                <a:latin typeface="Trebuchet MS"/>
                <a:ea typeface="+mn-ea"/>
                <a:cs typeface="Trebuchet MS"/>
              </a:rPr>
              <a:t>lymphoma</a:t>
            </a:r>
            <a:r>
              <a:rPr kumimoji="0" sz="1400" b="0" i="0" u="none" strike="noStrike" kern="0" cap="none" spc="-35" normalizeH="0" baseline="0" noProof="0" dirty="0">
                <a:ln>
                  <a:noFill/>
                </a:ln>
                <a:solidFill>
                  <a:srgbClr val="585353"/>
                </a:solidFill>
                <a:effectLst/>
                <a:uLnTx/>
                <a:uFillTx/>
                <a:latin typeface="Trebuchet MS"/>
                <a:ea typeface="+mn-ea"/>
                <a:cs typeface="Trebuchet MS"/>
              </a:rPr>
              <a:t> </a:t>
            </a:r>
            <a:r>
              <a:rPr kumimoji="0" sz="1400" b="0" i="0" u="none" strike="noStrike" kern="0" cap="none" spc="-10" normalizeH="0" baseline="0" noProof="0" dirty="0">
                <a:ln>
                  <a:noFill/>
                </a:ln>
                <a:solidFill>
                  <a:srgbClr val="585353"/>
                </a:solidFill>
                <a:effectLst/>
                <a:uLnTx/>
                <a:uFillTx/>
                <a:latin typeface="Trebuchet MS"/>
                <a:ea typeface="+mn-ea"/>
                <a:cs typeface="Trebuchet MS"/>
              </a:rPr>
              <a:t>therapy</a:t>
            </a:r>
            <a:endParaRPr kumimoji="0" sz="1400" b="0" i="0" u="none" strike="noStrike" kern="0" cap="none" spc="0" normalizeH="0" baseline="0" noProof="0">
              <a:ln>
                <a:noFill/>
              </a:ln>
              <a:solidFill>
                <a:sysClr val="windowText" lastClr="000000"/>
              </a:solidFill>
              <a:effectLst/>
              <a:uLnTx/>
              <a:uFillTx/>
              <a:latin typeface="Trebuchet MS"/>
              <a:ea typeface="+mn-ea"/>
              <a:cs typeface="Trebuchet MS"/>
            </a:endParaRPr>
          </a:p>
          <a:p>
            <a:pPr marL="56515" marR="0" lvl="0" indent="0" algn="l" defTabSz="914400" rtl="0" eaLnBrk="1" fontAlgn="auto" latinLnBrk="0" hangingPunct="1">
              <a:lnSpc>
                <a:spcPct val="100000"/>
              </a:lnSpc>
              <a:spcBef>
                <a:spcPts val="475"/>
              </a:spcBef>
              <a:spcAft>
                <a:spcPts val="0"/>
              </a:spcAft>
              <a:buClrTx/>
              <a:buSzTx/>
              <a:buFontTx/>
              <a:buNone/>
              <a:tabLst/>
              <a:defRPr/>
            </a:pPr>
            <a:r>
              <a:rPr kumimoji="0" sz="1400" b="0" i="0" u="none" strike="noStrike" kern="0" cap="none" spc="0" normalizeH="0" baseline="0" noProof="0" dirty="0">
                <a:ln>
                  <a:noFill/>
                </a:ln>
                <a:solidFill>
                  <a:srgbClr val="585353"/>
                </a:solidFill>
                <a:effectLst/>
                <a:uLnTx/>
                <a:uFillTx/>
                <a:latin typeface="Trebuchet MS"/>
                <a:ea typeface="+mn-ea"/>
                <a:cs typeface="Trebuchet MS"/>
              </a:rPr>
              <a:t>Ongoing</a:t>
            </a:r>
            <a:r>
              <a:rPr kumimoji="0" sz="1400" b="0" i="0" u="none" strike="noStrike" kern="0" cap="none" spc="-40" normalizeH="0" baseline="0" noProof="0" dirty="0">
                <a:ln>
                  <a:noFill/>
                </a:ln>
                <a:solidFill>
                  <a:srgbClr val="585353"/>
                </a:solidFill>
                <a:effectLst/>
                <a:uLnTx/>
                <a:uFillTx/>
                <a:latin typeface="Trebuchet MS"/>
                <a:ea typeface="+mn-ea"/>
                <a:cs typeface="Trebuchet MS"/>
              </a:rPr>
              <a:t> </a:t>
            </a:r>
            <a:r>
              <a:rPr kumimoji="0" sz="1400" b="0" i="0" u="none" strike="noStrike" kern="0" cap="none" spc="-10" normalizeH="0" baseline="0" noProof="0" dirty="0">
                <a:ln>
                  <a:noFill/>
                </a:ln>
                <a:solidFill>
                  <a:srgbClr val="585353"/>
                </a:solidFill>
                <a:effectLst/>
                <a:uLnTx/>
                <a:uFillTx/>
                <a:latin typeface="Trebuchet MS"/>
                <a:ea typeface="+mn-ea"/>
                <a:cs typeface="Trebuchet MS"/>
              </a:rPr>
              <a:t>response</a:t>
            </a:r>
            <a:endParaRPr kumimoji="0" sz="1400" b="0" i="0" u="none" strike="noStrike" kern="0" cap="none" spc="0" normalizeH="0" baseline="0" noProof="0">
              <a:ln>
                <a:noFill/>
              </a:ln>
              <a:solidFill>
                <a:sysClr val="windowText" lastClr="000000"/>
              </a:solidFill>
              <a:effectLst/>
              <a:uLnTx/>
              <a:uFillTx/>
              <a:latin typeface="Trebuchet MS"/>
              <a:ea typeface="+mn-ea"/>
              <a:cs typeface="Trebuchet MS"/>
            </a:endParaRPr>
          </a:p>
        </p:txBody>
      </p:sp>
      <p:sp>
        <p:nvSpPr>
          <p:cNvPr id="117" name="object 117"/>
          <p:cNvSpPr txBox="1"/>
          <p:nvPr/>
        </p:nvSpPr>
        <p:spPr>
          <a:xfrm>
            <a:off x="787400" y="5351145"/>
            <a:ext cx="2123440" cy="14795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tab pos="693420" algn="l"/>
                <a:tab pos="1374775" algn="l"/>
                <a:tab pos="2056130" algn="l"/>
              </a:tabLst>
              <a:defRPr/>
            </a:pPr>
            <a:r>
              <a:rPr kumimoji="0" sz="800" b="0" i="0" u="none" strike="noStrike" kern="0" cap="none" spc="-50" normalizeH="0" baseline="0" noProof="0" dirty="0">
                <a:ln>
                  <a:noFill/>
                </a:ln>
                <a:solidFill>
                  <a:srgbClr val="585353"/>
                </a:solidFill>
                <a:effectLst/>
                <a:uLnTx/>
                <a:uFillTx/>
                <a:latin typeface="Trebuchet MS"/>
                <a:ea typeface="+mn-ea"/>
                <a:cs typeface="Trebuchet MS"/>
              </a:rPr>
              <a:t>0</a:t>
            </a:r>
            <a:r>
              <a:rPr kumimoji="0" sz="800" b="0" i="0" u="none" strike="noStrike" kern="0" cap="none" spc="0" normalizeH="0" baseline="0" noProof="0" dirty="0">
                <a:ln>
                  <a:noFill/>
                </a:ln>
                <a:solidFill>
                  <a:srgbClr val="585353"/>
                </a:solidFill>
                <a:effectLst/>
                <a:uLnTx/>
                <a:uFillTx/>
                <a:latin typeface="Trebuchet MS"/>
                <a:ea typeface="+mn-ea"/>
                <a:cs typeface="Trebuchet MS"/>
              </a:rPr>
              <a:t>	</a:t>
            </a:r>
            <a:r>
              <a:rPr kumimoji="0" sz="800" b="0" i="0" u="none" strike="noStrike" kern="0" cap="none" spc="-50" normalizeH="0" baseline="0" noProof="0" dirty="0">
                <a:ln>
                  <a:noFill/>
                </a:ln>
                <a:solidFill>
                  <a:srgbClr val="585353"/>
                </a:solidFill>
                <a:effectLst/>
                <a:uLnTx/>
                <a:uFillTx/>
                <a:latin typeface="Trebuchet MS"/>
                <a:ea typeface="+mn-ea"/>
                <a:cs typeface="Trebuchet MS"/>
              </a:rPr>
              <a:t>3</a:t>
            </a:r>
            <a:r>
              <a:rPr kumimoji="0" sz="800" b="0" i="0" u="none" strike="noStrike" kern="0" cap="none" spc="0" normalizeH="0" baseline="0" noProof="0" dirty="0">
                <a:ln>
                  <a:noFill/>
                </a:ln>
                <a:solidFill>
                  <a:srgbClr val="585353"/>
                </a:solidFill>
                <a:effectLst/>
                <a:uLnTx/>
                <a:uFillTx/>
                <a:latin typeface="Trebuchet MS"/>
                <a:ea typeface="+mn-ea"/>
                <a:cs typeface="Trebuchet MS"/>
              </a:rPr>
              <a:t>	</a:t>
            </a:r>
            <a:r>
              <a:rPr kumimoji="0" sz="800" b="0" i="0" u="none" strike="noStrike" kern="0" cap="none" spc="-50" normalizeH="0" baseline="0" noProof="0" dirty="0">
                <a:ln>
                  <a:noFill/>
                </a:ln>
                <a:solidFill>
                  <a:srgbClr val="585353"/>
                </a:solidFill>
                <a:effectLst/>
                <a:uLnTx/>
                <a:uFillTx/>
                <a:latin typeface="Trebuchet MS"/>
                <a:ea typeface="+mn-ea"/>
                <a:cs typeface="Trebuchet MS"/>
              </a:rPr>
              <a:t>6</a:t>
            </a:r>
            <a:r>
              <a:rPr kumimoji="0" sz="800" b="0" i="0" u="none" strike="noStrike" kern="0" cap="none" spc="0" normalizeH="0" baseline="0" noProof="0" dirty="0">
                <a:ln>
                  <a:noFill/>
                </a:ln>
                <a:solidFill>
                  <a:srgbClr val="585353"/>
                </a:solidFill>
                <a:effectLst/>
                <a:uLnTx/>
                <a:uFillTx/>
                <a:latin typeface="Trebuchet MS"/>
                <a:ea typeface="+mn-ea"/>
                <a:cs typeface="Trebuchet MS"/>
              </a:rPr>
              <a:t>	</a:t>
            </a:r>
            <a:r>
              <a:rPr kumimoji="0" sz="800" b="0" i="0" u="none" strike="noStrike" kern="0" cap="none" spc="-50" normalizeH="0" baseline="0" noProof="0" dirty="0">
                <a:ln>
                  <a:noFill/>
                </a:ln>
                <a:solidFill>
                  <a:srgbClr val="585353"/>
                </a:solidFill>
                <a:effectLst/>
                <a:uLnTx/>
                <a:uFillTx/>
                <a:latin typeface="Trebuchet MS"/>
                <a:ea typeface="+mn-ea"/>
                <a:cs typeface="Trebuchet MS"/>
              </a:rPr>
              <a:t>9</a:t>
            </a:r>
            <a:endParaRPr kumimoji="0" sz="800" b="0" i="0" u="none" strike="noStrike" kern="0" cap="none" spc="0" normalizeH="0" baseline="0" noProof="0">
              <a:ln>
                <a:noFill/>
              </a:ln>
              <a:solidFill>
                <a:sysClr val="windowText" lastClr="000000"/>
              </a:solidFill>
              <a:effectLst/>
              <a:uLnTx/>
              <a:uFillTx/>
              <a:latin typeface="Trebuchet MS"/>
              <a:ea typeface="+mn-ea"/>
              <a:cs typeface="Trebuchet MS"/>
            </a:endParaRPr>
          </a:p>
        </p:txBody>
      </p:sp>
      <p:grpSp>
        <p:nvGrpSpPr>
          <p:cNvPr id="118" name="object 118"/>
          <p:cNvGrpSpPr/>
          <p:nvPr/>
        </p:nvGrpSpPr>
        <p:grpSpPr>
          <a:xfrm>
            <a:off x="1595627" y="3282696"/>
            <a:ext cx="2672080" cy="1873250"/>
            <a:chOff x="1595627" y="3282696"/>
            <a:chExt cx="2672080" cy="1873250"/>
          </a:xfrm>
        </p:grpSpPr>
        <p:pic>
          <p:nvPicPr>
            <p:cNvPr id="119" name="object 119"/>
            <p:cNvPicPr/>
            <p:nvPr/>
          </p:nvPicPr>
          <p:blipFill>
            <a:blip r:embed="rId15" cstate="print"/>
            <a:stretch>
              <a:fillRect/>
            </a:stretch>
          </p:blipFill>
          <p:spPr>
            <a:xfrm>
              <a:off x="4131563" y="3285744"/>
              <a:ext cx="135636" cy="118871"/>
            </a:xfrm>
            <a:prstGeom prst="rect">
              <a:avLst/>
            </a:prstGeom>
          </p:spPr>
        </p:pic>
        <p:pic>
          <p:nvPicPr>
            <p:cNvPr id="120" name="object 120"/>
            <p:cNvPicPr/>
            <p:nvPr/>
          </p:nvPicPr>
          <p:blipFill>
            <a:blip r:embed="rId16" cstate="print"/>
            <a:stretch>
              <a:fillRect/>
            </a:stretch>
          </p:blipFill>
          <p:spPr>
            <a:xfrm>
              <a:off x="1595627" y="5036820"/>
              <a:ext cx="135635" cy="118872"/>
            </a:xfrm>
            <a:prstGeom prst="rect">
              <a:avLst/>
            </a:prstGeom>
          </p:spPr>
        </p:pic>
        <p:pic>
          <p:nvPicPr>
            <p:cNvPr id="121" name="object 121"/>
            <p:cNvPicPr/>
            <p:nvPr/>
          </p:nvPicPr>
          <p:blipFill>
            <a:blip r:embed="rId16" cstate="print"/>
            <a:stretch>
              <a:fillRect/>
            </a:stretch>
          </p:blipFill>
          <p:spPr>
            <a:xfrm>
              <a:off x="1821179" y="4920996"/>
              <a:ext cx="135636" cy="118872"/>
            </a:xfrm>
            <a:prstGeom prst="rect">
              <a:avLst/>
            </a:prstGeom>
          </p:spPr>
        </p:pic>
        <p:pic>
          <p:nvPicPr>
            <p:cNvPr id="122" name="object 122"/>
            <p:cNvPicPr/>
            <p:nvPr/>
          </p:nvPicPr>
          <p:blipFill>
            <a:blip r:embed="rId17" cstate="print"/>
            <a:stretch>
              <a:fillRect/>
            </a:stretch>
          </p:blipFill>
          <p:spPr>
            <a:xfrm>
              <a:off x="3528060" y="3401568"/>
              <a:ext cx="134112" cy="117348"/>
            </a:xfrm>
            <a:prstGeom prst="rect">
              <a:avLst/>
            </a:prstGeom>
          </p:spPr>
        </p:pic>
        <p:sp>
          <p:nvSpPr>
            <p:cNvPr id="123" name="object 123"/>
            <p:cNvSpPr/>
            <p:nvPr/>
          </p:nvSpPr>
          <p:spPr>
            <a:xfrm>
              <a:off x="2281427" y="3282696"/>
              <a:ext cx="1304925" cy="104139"/>
            </a:xfrm>
            <a:custGeom>
              <a:avLst/>
              <a:gdLst/>
              <a:ahLst/>
              <a:cxnLst/>
              <a:rect l="l" t="t" r="r" b="b"/>
              <a:pathLst>
                <a:path w="1304925" h="104139">
                  <a:moveTo>
                    <a:pt x="1304544" y="0"/>
                  </a:moveTo>
                  <a:lnTo>
                    <a:pt x="0" y="0"/>
                  </a:lnTo>
                  <a:lnTo>
                    <a:pt x="0" y="103632"/>
                  </a:lnTo>
                  <a:lnTo>
                    <a:pt x="1304544" y="103632"/>
                  </a:lnTo>
                  <a:lnTo>
                    <a:pt x="1304544" y="0"/>
                  </a:lnTo>
                  <a:close/>
                </a:path>
              </a:pathLst>
            </a:custGeom>
            <a:solidFill>
              <a:srgbClr val="1DCE9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124" name="object 124"/>
          <p:cNvSpPr txBox="1"/>
          <p:nvPr/>
        </p:nvSpPr>
        <p:spPr>
          <a:xfrm>
            <a:off x="3949700" y="4684902"/>
            <a:ext cx="353695" cy="23939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400" b="0" i="0" u="none" strike="noStrike" kern="0" cap="none" spc="-25" normalizeH="0" baseline="0" noProof="0" dirty="0">
                <a:ln>
                  <a:noFill/>
                </a:ln>
                <a:solidFill>
                  <a:srgbClr val="585353"/>
                </a:solidFill>
                <a:effectLst/>
                <a:uLnTx/>
                <a:uFillTx/>
                <a:latin typeface="Trebuchet MS"/>
                <a:ea typeface="+mn-ea"/>
                <a:cs typeface="Trebuchet MS"/>
              </a:rPr>
              <a:t>GCB</a:t>
            </a:r>
            <a:endParaRPr kumimoji="0" sz="1400" b="0" i="0" u="none" strike="noStrike" kern="0" cap="none" spc="0" normalizeH="0" baseline="0" noProof="0">
              <a:ln>
                <a:noFill/>
              </a:ln>
              <a:solidFill>
                <a:sysClr val="windowText" lastClr="000000"/>
              </a:solidFill>
              <a:effectLst/>
              <a:uLnTx/>
              <a:uFillTx/>
              <a:latin typeface="Trebuchet MS"/>
              <a:ea typeface="+mn-ea"/>
              <a:cs typeface="Trebuchet MS"/>
            </a:endParaRPr>
          </a:p>
        </p:txBody>
      </p:sp>
      <p:grpSp>
        <p:nvGrpSpPr>
          <p:cNvPr id="125" name="object 125"/>
          <p:cNvGrpSpPr/>
          <p:nvPr/>
        </p:nvGrpSpPr>
        <p:grpSpPr>
          <a:xfrm>
            <a:off x="3776471" y="4742688"/>
            <a:ext cx="873760" cy="125095"/>
            <a:chOff x="3776471" y="4742688"/>
            <a:chExt cx="873760" cy="125095"/>
          </a:xfrm>
        </p:grpSpPr>
        <p:sp>
          <p:nvSpPr>
            <p:cNvPr id="126" name="object 126"/>
            <p:cNvSpPr/>
            <p:nvPr/>
          </p:nvSpPr>
          <p:spPr>
            <a:xfrm>
              <a:off x="3776471" y="4745736"/>
              <a:ext cx="142240" cy="121920"/>
            </a:xfrm>
            <a:custGeom>
              <a:avLst/>
              <a:gdLst/>
              <a:ahLst/>
              <a:cxnLst/>
              <a:rect l="l" t="t" r="r" b="b"/>
              <a:pathLst>
                <a:path w="142239" h="121920">
                  <a:moveTo>
                    <a:pt x="141732" y="0"/>
                  </a:moveTo>
                  <a:lnTo>
                    <a:pt x="0" y="0"/>
                  </a:lnTo>
                  <a:lnTo>
                    <a:pt x="0" y="121919"/>
                  </a:lnTo>
                  <a:lnTo>
                    <a:pt x="141732" y="121919"/>
                  </a:lnTo>
                  <a:lnTo>
                    <a:pt x="141732" y="0"/>
                  </a:lnTo>
                  <a:close/>
                </a:path>
              </a:pathLst>
            </a:custGeom>
            <a:solidFill>
              <a:srgbClr val="00AF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27" name="object 127"/>
            <p:cNvSpPr/>
            <p:nvPr/>
          </p:nvSpPr>
          <p:spPr>
            <a:xfrm>
              <a:off x="4507991" y="4742688"/>
              <a:ext cx="142240" cy="121920"/>
            </a:xfrm>
            <a:custGeom>
              <a:avLst/>
              <a:gdLst/>
              <a:ahLst/>
              <a:cxnLst/>
              <a:rect l="l" t="t" r="r" b="b"/>
              <a:pathLst>
                <a:path w="142239" h="121920">
                  <a:moveTo>
                    <a:pt x="141732" y="0"/>
                  </a:moveTo>
                  <a:lnTo>
                    <a:pt x="0" y="0"/>
                  </a:lnTo>
                  <a:lnTo>
                    <a:pt x="0" y="121919"/>
                  </a:lnTo>
                  <a:lnTo>
                    <a:pt x="141732" y="121919"/>
                  </a:lnTo>
                  <a:lnTo>
                    <a:pt x="141732" y="0"/>
                  </a:lnTo>
                  <a:close/>
                </a:path>
              </a:pathLst>
            </a:custGeom>
            <a:solidFill>
              <a:srgbClr val="FCA97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128" name="object 128"/>
          <p:cNvSpPr txBox="1"/>
          <p:nvPr/>
        </p:nvSpPr>
        <p:spPr>
          <a:xfrm>
            <a:off x="4688204" y="4682185"/>
            <a:ext cx="727710" cy="240029"/>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1400" b="0" i="0" u="none" strike="noStrike" kern="0" cap="none" spc="-10" normalizeH="0" baseline="0" noProof="0" dirty="0">
                <a:ln>
                  <a:noFill/>
                </a:ln>
                <a:solidFill>
                  <a:srgbClr val="585353"/>
                </a:solidFill>
                <a:effectLst/>
                <a:uLnTx/>
                <a:uFillTx/>
                <a:latin typeface="Trebuchet MS"/>
                <a:ea typeface="+mn-ea"/>
                <a:cs typeface="Trebuchet MS"/>
              </a:rPr>
              <a:t>Non-</a:t>
            </a:r>
            <a:r>
              <a:rPr kumimoji="0" sz="1400" b="0" i="0" u="none" strike="noStrike" kern="0" cap="none" spc="-25" normalizeH="0" baseline="0" noProof="0" dirty="0">
                <a:ln>
                  <a:noFill/>
                </a:ln>
                <a:solidFill>
                  <a:srgbClr val="585353"/>
                </a:solidFill>
                <a:effectLst/>
                <a:uLnTx/>
                <a:uFillTx/>
                <a:latin typeface="Trebuchet MS"/>
                <a:ea typeface="+mn-ea"/>
                <a:cs typeface="Trebuchet MS"/>
              </a:rPr>
              <a:t>GCB</a:t>
            </a:r>
            <a:endParaRPr kumimoji="0" sz="1400" b="0" i="0" u="none" strike="noStrike" kern="0" cap="none" spc="0" normalizeH="0" baseline="0" noProof="0">
              <a:ln>
                <a:noFill/>
              </a:ln>
              <a:solidFill>
                <a:sysClr val="windowText" lastClr="000000"/>
              </a:solidFill>
              <a:effectLst/>
              <a:uLnTx/>
              <a:uFillTx/>
              <a:latin typeface="Trebuchet MS"/>
              <a:ea typeface="+mn-ea"/>
              <a:cs typeface="Trebuchet MS"/>
            </a:endParaRPr>
          </a:p>
        </p:txBody>
      </p:sp>
      <p:sp>
        <p:nvSpPr>
          <p:cNvPr id="129" name="object 129"/>
          <p:cNvSpPr txBox="1"/>
          <p:nvPr/>
        </p:nvSpPr>
        <p:spPr>
          <a:xfrm>
            <a:off x="5726938" y="4688840"/>
            <a:ext cx="751840" cy="23939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400" b="0" i="0" u="none" strike="noStrike" kern="0" cap="none" spc="-10" normalizeH="0" baseline="0" noProof="0" dirty="0">
                <a:ln>
                  <a:noFill/>
                </a:ln>
                <a:solidFill>
                  <a:srgbClr val="585353"/>
                </a:solidFill>
                <a:effectLst/>
                <a:uLnTx/>
                <a:uFillTx/>
                <a:latin typeface="Trebuchet MS"/>
                <a:ea typeface="+mn-ea"/>
                <a:cs typeface="Trebuchet MS"/>
              </a:rPr>
              <a:t>Unknown</a:t>
            </a:r>
            <a:endParaRPr kumimoji="0" sz="1400" b="0" i="0" u="none" strike="noStrike" kern="0" cap="none" spc="0" normalizeH="0" baseline="0" noProof="0">
              <a:ln>
                <a:noFill/>
              </a:ln>
              <a:solidFill>
                <a:sysClr val="windowText" lastClr="000000"/>
              </a:solidFill>
              <a:effectLst/>
              <a:uLnTx/>
              <a:uFillTx/>
              <a:latin typeface="Trebuchet MS"/>
              <a:ea typeface="+mn-ea"/>
              <a:cs typeface="Trebuchet MS"/>
            </a:endParaRPr>
          </a:p>
        </p:txBody>
      </p:sp>
      <p:grpSp>
        <p:nvGrpSpPr>
          <p:cNvPr id="130" name="object 130"/>
          <p:cNvGrpSpPr/>
          <p:nvPr/>
        </p:nvGrpSpPr>
        <p:grpSpPr>
          <a:xfrm>
            <a:off x="646048" y="1278508"/>
            <a:ext cx="5048250" cy="3872865"/>
            <a:chOff x="646048" y="1278508"/>
            <a:chExt cx="5048250" cy="3872865"/>
          </a:xfrm>
        </p:grpSpPr>
        <p:sp>
          <p:nvSpPr>
            <p:cNvPr id="131" name="object 131"/>
            <p:cNvSpPr/>
            <p:nvPr/>
          </p:nvSpPr>
          <p:spPr>
            <a:xfrm>
              <a:off x="5545835" y="4748783"/>
              <a:ext cx="142240" cy="121920"/>
            </a:xfrm>
            <a:custGeom>
              <a:avLst/>
              <a:gdLst/>
              <a:ahLst/>
              <a:cxnLst/>
              <a:rect l="l" t="t" r="r" b="b"/>
              <a:pathLst>
                <a:path w="142239" h="121920">
                  <a:moveTo>
                    <a:pt x="0" y="121919"/>
                  </a:moveTo>
                  <a:lnTo>
                    <a:pt x="141732" y="121919"/>
                  </a:lnTo>
                  <a:lnTo>
                    <a:pt x="141732" y="0"/>
                  </a:lnTo>
                  <a:lnTo>
                    <a:pt x="0" y="0"/>
                  </a:lnTo>
                  <a:lnTo>
                    <a:pt x="0" y="121919"/>
                  </a:lnTo>
                  <a:close/>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32" name="object 132"/>
            <p:cNvSpPr/>
            <p:nvPr/>
          </p:nvSpPr>
          <p:spPr>
            <a:xfrm>
              <a:off x="646937" y="1279397"/>
              <a:ext cx="143510" cy="104139"/>
            </a:xfrm>
            <a:custGeom>
              <a:avLst/>
              <a:gdLst/>
              <a:ahLst/>
              <a:cxnLst/>
              <a:rect l="l" t="t" r="r" b="b"/>
              <a:pathLst>
                <a:path w="143509" h="104140">
                  <a:moveTo>
                    <a:pt x="143256" y="0"/>
                  </a:moveTo>
                  <a:lnTo>
                    <a:pt x="0" y="0"/>
                  </a:lnTo>
                  <a:lnTo>
                    <a:pt x="0" y="103632"/>
                  </a:lnTo>
                  <a:lnTo>
                    <a:pt x="143256" y="103632"/>
                  </a:lnTo>
                  <a:lnTo>
                    <a:pt x="143256" y="0"/>
                  </a:lnTo>
                  <a:close/>
                </a:path>
              </a:pathLst>
            </a:custGeom>
            <a:solidFill>
              <a:srgbClr val="00AF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33" name="object 133"/>
            <p:cNvSpPr/>
            <p:nvPr/>
          </p:nvSpPr>
          <p:spPr>
            <a:xfrm>
              <a:off x="646937" y="1279397"/>
              <a:ext cx="143510" cy="104139"/>
            </a:xfrm>
            <a:custGeom>
              <a:avLst/>
              <a:gdLst/>
              <a:ahLst/>
              <a:cxnLst/>
              <a:rect l="l" t="t" r="r" b="b"/>
              <a:pathLst>
                <a:path w="143509" h="104140">
                  <a:moveTo>
                    <a:pt x="0" y="103632"/>
                  </a:moveTo>
                  <a:lnTo>
                    <a:pt x="143256" y="103632"/>
                  </a:lnTo>
                  <a:lnTo>
                    <a:pt x="143256" y="0"/>
                  </a:lnTo>
                  <a:lnTo>
                    <a:pt x="0" y="0"/>
                  </a:lnTo>
                  <a:lnTo>
                    <a:pt x="0" y="103632"/>
                  </a:lnTo>
                  <a:close/>
                </a:path>
              </a:pathLst>
            </a:custGeom>
            <a:ln w="3175">
              <a:solidFill>
                <a:srgbClr val="00AFE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34" name="object 134"/>
            <p:cNvSpPr/>
            <p:nvPr/>
          </p:nvSpPr>
          <p:spPr>
            <a:xfrm>
              <a:off x="646937" y="1631441"/>
              <a:ext cx="143510" cy="105410"/>
            </a:xfrm>
            <a:custGeom>
              <a:avLst/>
              <a:gdLst/>
              <a:ahLst/>
              <a:cxnLst/>
              <a:rect l="l" t="t" r="r" b="b"/>
              <a:pathLst>
                <a:path w="143509" h="105410">
                  <a:moveTo>
                    <a:pt x="143256" y="0"/>
                  </a:moveTo>
                  <a:lnTo>
                    <a:pt x="0" y="0"/>
                  </a:lnTo>
                  <a:lnTo>
                    <a:pt x="0" y="105155"/>
                  </a:lnTo>
                  <a:lnTo>
                    <a:pt x="143256" y="105155"/>
                  </a:lnTo>
                  <a:lnTo>
                    <a:pt x="143256" y="0"/>
                  </a:lnTo>
                  <a:close/>
                </a:path>
              </a:pathLst>
            </a:custGeom>
            <a:solidFill>
              <a:srgbClr val="00AF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35" name="object 135"/>
            <p:cNvSpPr/>
            <p:nvPr/>
          </p:nvSpPr>
          <p:spPr>
            <a:xfrm>
              <a:off x="646937" y="1631441"/>
              <a:ext cx="143510" cy="105410"/>
            </a:xfrm>
            <a:custGeom>
              <a:avLst/>
              <a:gdLst/>
              <a:ahLst/>
              <a:cxnLst/>
              <a:rect l="l" t="t" r="r" b="b"/>
              <a:pathLst>
                <a:path w="143509" h="105410">
                  <a:moveTo>
                    <a:pt x="0" y="105155"/>
                  </a:moveTo>
                  <a:lnTo>
                    <a:pt x="143256" y="105155"/>
                  </a:lnTo>
                  <a:lnTo>
                    <a:pt x="143256" y="0"/>
                  </a:lnTo>
                  <a:lnTo>
                    <a:pt x="0" y="0"/>
                  </a:lnTo>
                  <a:lnTo>
                    <a:pt x="0" y="105155"/>
                  </a:lnTo>
                  <a:close/>
                </a:path>
              </a:pathLst>
            </a:custGeom>
            <a:ln w="3175">
              <a:solidFill>
                <a:srgbClr val="00AFE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36" name="object 136"/>
            <p:cNvSpPr/>
            <p:nvPr/>
          </p:nvSpPr>
          <p:spPr>
            <a:xfrm>
              <a:off x="646937" y="2219705"/>
              <a:ext cx="143510" cy="104139"/>
            </a:xfrm>
            <a:custGeom>
              <a:avLst/>
              <a:gdLst/>
              <a:ahLst/>
              <a:cxnLst/>
              <a:rect l="l" t="t" r="r" b="b"/>
              <a:pathLst>
                <a:path w="143509" h="104139">
                  <a:moveTo>
                    <a:pt x="143256" y="0"/>
                  </a:moveTo>
                  <a:lnTo>
                    <a:pt x="0" y="0"/>
                  </a:lnTo>
                  <a:lnTo>
                    <a:pt x="0" y="103632"/>
                  </a:lnTo>
                  <a:lnTo>
                    <a:pt x="143256" y="103632"/>
                  </a:lnTo>
                  <a:lnTo>
                    <a:pt x="143256" y="0"/>
                  </a:lnTo>
                  <a:close/>
                </a:path>
              </a:pathLst>
            </a:custGeom>
            <a:solidFill>
              <a:srgbClr val="00AF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37" name="object 137"/>
            <p:cNvSpPr/>
            <p:nvPr/>
          </p:nvSpPr>
          <p:spPr>
            <a:xfrm>
              <a:off x="646937" y="2219705"/>
              <a:ext cx="143510" cy="104139"/>
            </a:xfrm>
            <a:custGeom>
              <a:avLst/>
              <a:gdLst/>
              <a:ahLst/>
              <a:cxnLst/>
              <a:rect l="l" t="t" r="r" b="b"/>
              <a:pathLst>
                <a:path w="143509" h="104139">
                  <a:moveTo>
                    <a:pt x="0" y="103632"/>
                  </a:moveTo>
                  <a:lnTo>
                    <a:pt x="143256" y="103632"/>
                  </a:lnTo>
                  <a:lnTo>
                    <a:pt x="143256" y="0"/>
                  </a:lnTo>
                  <a:lnTo>
                    <a:pt x="0" y="0"/>
                  </a:lnTo>
                  <a:lnTo>
                    <a:pt x="0" y="103632"/>
                  </a:lnTo>
                  <a:close/>
                </a:path>
              </a:pathLst>
            </a:custGeom>
            <a:ln w="3175">
              <a:solidFill>
                <a:srgbClr val="00AFE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38" name="object 138"/>
            <p:cNvSpPr/>
            <p:nvPr/>
          </p:nvSpPr>
          <p:spPr>
            <a:xfrm>
              <a:off x="646937" y="2337053"/>
              <a:ext cx="143510" cy="104139"/>
            </a:xfrm>
            <a:custGeom>
              <a:avLst/>
              <a:gdLst/>
              <a:ahLst/>
              <a:cxnLst/>
              <a:rect l="l" t="t" r="r" b="b"/>
              <a:pathLst>
                <a:path w="143509" h="104139">
                  <a:moveTo>
                    <a:pt x="143256" y="0"/>
                  </a:moveTo>
                  <a:lnTo>
                    <a:pt x="0" y="0"/>
                  </a:lnTo>
                  <a:lnTo>
                    <a:pt x="0" y="103632"/>
                  </a:lnTo>
                  <a:lnTo>
                    <a:pt x="143256" y="103632"/>
                  </a:lnTo>
                  <a:lnTo>
                    <a:pt x="143256" y="0"/>
                  </a:lnTo>
                  <a:close/>
                </a:path>
              </a:pathLst>
            </a:custGeom>
            <a:solidFill>
              <a:srgbClr val="00AF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39" name="object 139"/>
            <p:cNvSpPr/>
            <p:nvPr/>
          </p:nvSpPr>
          <p:spPr>
            <a:xfrm>
              <a:off x="646937" y="2337053"/>
              <a:ext cx="143510" cy="104139"/>
            </a:xfrm>
            <a:custGeom>
              <a:avLst/>
              <a:gdLst/>
              <a:ahLst/>
              <a:cxnLst/>
              <a:rect l="l" t="t" r="r" b="b"/>
              <a:pathLst>
                <a:path w="143509" h="104139">
                  <a:moveTo>
                    <a:pt x="0" y="103632"/>
                  </a:moveTo>
                  <a:lnTo>
                    <a:pt x="143256" y="103632"/>
                  </a:lnTo>
                  <a:lnTo>
                    <a:pt x="143256" y="0"/>
                  </a:lnTo>
                  <a:lnTo>
                    <a:pt x="0" y="0"/>
                  </a:lnTo>
                  <a:lnTo>
                    <a:pt x="0" y="103632"/>
                  </a:lnTo>
                  <a:close/>
                </a:path>
              </a:pathLst>
            </a:custGeom>
            <a:ln w="3175">
              <a:solidFill>
                <a:srgbClr val="00AFE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40" name="object 140"/>
            <p:cNvSpPr/>
            <p:nvPr/>
          </p:nvSpPr>
          <p:spPr>
            <a:xfrm>
              <a:off x="646937" y="2571750"/>
              <a:ext cx="143510" cy="105410"/>
            </a:xfrm>
            <a:custGeom>
              <a:avLst/>
              <a:gdLst/>
              <a:ahLst/>
              <a:cxnLst/>
              <a:rect l="l" t="t" r="r" b="b"/>
              <a:pathLst>
                <a:path w="143509" h="105410">
                  <a:moveTo>
                    <a:pt x="143256" y="0"/>
                  </a:moveTo>
                  <a:lnTo>
                    <a:pt x="0" y="0"/>
                  </a:lnTo>
                  <a:lnTo>
                    <a:pt x="0" y="105155"/>
                  </a:lnTo>
                  <a:lnTo>
                    <a:pt x="143256" y="105155"/>
                  </a:lnTo>
                  <a:lnTo>
                    <a:pt x="143256" y="0"/>
                  </a:lnTo>
                  <a:close/>
                </a:path>
              </a:pathLst>
            </a:custGeom>
            <a:solidFill>
              <a:srgbClr val="00AF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41" name="object 141"/>
            <p:cNvSpPr/>
            <p:nvPr/>
          </p:nvSpPr>
          <p:spPr>
            <a:xfrm>
              <a:off x="646937" y="2571750"/>
              <a:ext cx="143510" cy="105410"/>
            </a:xfrm>
            <a:custGeom>
              <a:avLst/>
              <a:gdLst/>
              <a:ahLst/>
              <a:cxnLst/>
              <a:rect l="l" t="t" r="r" b="b"/>
              <a:pathLst>
                <a:path w="143509" h="105410">
                  <a:moveTo>
                    <a:pt x="0" y="105155"/>
                  </a:moveTo>
                  <a:lnTo>
                    <a:pt x="143256" y="105155"/>
                  </a:lnTo>
                  <a:lnTo>
                    <a:pt x="143256" y="0"/>
                  </a:lnTo>
                  <a:lnTo>
                    <a:pt x="0" y="0"/>
                  </a:lnTo>
                  <a:lnTo>
                    <a:pt x="0" y="105155"/>
                  </a:lnTo>
                  <a:close/>
                </a:path>
              </a:pathLst>
            </a:custGeom>
            <a:ln w="3175">
              <a:solidFill>
                <a:srgbClr val="00AFE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42" name="object 142"/>
            <p:cNvSpPr/>
            <p:nvPr/>
          </p:nvSpPr>
          <p:spPr>
            <a:xfrm>
              <a:off x="646937" y="2925317"/>
              <a:ext cx="143510" cy="104139"/>
            </a:xfrm>
            <a:custGeom>
              <a:avLst/>
              <a:gdLst/>
              <a:ahLst/>
              <a:cxnLst/>
              <a:rect l="l" t="t" r="r" b="b"/>
              <a:pathLst>
                <a:path w="143509" h="104139">
                  <a:moveTo>
                    <a:pt x="143256" y="0"/>
                  </a:moveTo>
                  <a:lnTo>
                    <a:pt x="0" y="0"/>
                  </a:lnTo>
                  <a:lnTo>
                    <a:pt x="0" y="103632"/>
                  </a:lnTo>
                  <a:lnTo>
                    <a:pt x="143256" y="103632"/>
                  </a:lnTo>
                  <a:lnTo>
                    <a:pt x="143256" y="0"/>
                  </a:lnTo>
                  <a:close/>
                </a:path>
              </a:pathLst>
            </a:custGeom>
            <a:solidFill>
              <a:srgbClr val="00AF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43" name="object 143"/>
            <p:cNvSpPr/>
            <p:nvPr/>
          </p:nvSpPr>
          <p:spPr>
            <a:xfrm>
              <a:off x="646937" y="2925317"/>
              <a:ext cx="143510" cy="104139"/>
            </a:xfrm>
            <a:custGeom>
              <a:avLst/>
              <a:gdLst/>
              <a:ahLst/>
              <a:cxnLst/>
              <a:rect l="l" t="t" r="r" b="b"/>
              <a:pathLst>
                <a:path w="143509" h="104139">
                  <a:moveTo>
                    <a:pt x="0" y="103632"/>
                  </a:moveTo>
                  <a:lnTo>
                    <a:pt x="143256" y="103632"/>
                  </a:lnTo>
                  <a:lnTo>
                    <a:pt x="143256" y="0"/>
                  </a:lnTo>
                  <a:lnTo>
                    <a:pt x="0" y="0"/>
                  </a:lnTo>
                  <a:lnTo>
                    <a:pt x="0" y="103632"/>
                  </a:lnTo>
                  <a:close/>
                </a:path>
              </a:pathLst>
            </a:custGeom>
            <a:ln w="3175">
              <a:solidFill>
                <a:srgbClr val="00AFE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44" name="object 144"/>
            <p:cNvSpPr/>
            <p:nvPr/>
          </p:nvSpPr>
          <p:spPr>
            <a:xfrm>
              <a:off x="646937" y="3042666"/>
              <a:ext cx="143510" cy="104139"/>
            </a:xfrm>
            <a:custGeom>
              <a:avLst/>
              <a:gdLst/>
              <a:ahLst/>
              <a:cxnLst/>
              <a:rect l="l" t="t" r="r" b="b"/>
              <a:pathLst>
                <a:path w="143509" h="104139">
                  <a:moveTo>
                    <a:pt x="143256" y="0"/>
                  </a:moveTo>
                  <a:lnTo>
                    <a:pt x="0" y="0"/>
                  </a:lnTo>
                  <a:lnTo>
                    <a:pt x="0" y="103632"/>
                  </a:lnTo>
                  <a:lnTo>
                    <a:pt x="143256" y="103632"/>
                  </a:lnTo>
                  <a:lnTo>
                    <a:pt x="143256" y="0"/>
                  </a:lnTo>
                  <a:close/>
                </a:path>
              </a:pathLst>
            </a:custGeom>
            <a:solidFill>
              <a:srgbClr val="00AF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45" name="object 145"/>
            <p:cNvSpPr/>
            <p:nvPr/>
          </p:nvSpPr>
          <p:spPr>
            <a:xfrm>
              <a:off x="646937" y="3042666"/>
              <a:ext cx="143510" cy="104139"/>
            </a:xfrm>
            <a:custGeom>
              <a:avLst/>
              <a:gdLst/>
              <a:ahLst/>
              <a:cxnLst/>
              <a:rect l="l" t="t" r="r" b="b"/>
              <a:pathLst>
                <a:path w="143509" h="104139">
                  <a:moveTo>
                    <a:pt x="0" y="103632"/>
                  </a:moveTo>
                  <a:lnTo>
                    <a:pt x="143256" y="103632"/>
                  </a:lnTo>
                  <a:lnTo>
                    <a:pt x="143256" y="0"/>
                  </a:lnTo>
                  <a:lnTo>
                    <a:pt x="0" y="0"/>
                  </a:lnTo>
                  <a:lnTo>
                    <a:pt x="0" y="103632"/>
                  </a:lnTo>
                  <a:close/>
                </a:path>
              </a:pathLst>
            </a:custGeom>
            <a:ln w="3175">
              <a:solidFill>
                <a:srgbClr val="00AFE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46" name="object 146"/>
            <p:cNvSpPr/>
            <p:nvPr/>
          </p:nvSpPr>
          <p:spPr>
            <a:xfrm>
              <a:off x="646937" y="3160013"/>
              <a:ext cx="143510" cy="104139"/>
            </a:xfrm>
            <a:custGeom>
              <a:avLst/>
              <a:gdLst/>
              <a:ahLst/>
              <a:cxnLst/>
              <a:rect l="l" t="t" r="r" b="b"/>
              <a:pathLst>
                <a:path w="143509" h="104139">
                  <a:moveTo>
                    <a:pt x="143256" y="0"/>
                  </a:moveTo>
                  <a:lnTo>
                    <a:pt x="0" y="0"/>
                  </a:lnTo>
                  <a:lnTo>
                    <a:pt x="0" y="103632"/>
                  </a:lnTo>
                  <a:lnTo>
                    <a:pt x="143256" y="103632"/>
                  </a:lnTo>
                  <a:lnTo>
                    <a:pt x="143256" y="0"/>
                  </a:lnTo>
                  <a:close/>
                </a:path>
              </a:pathLst>
            </a:custGeom>
            <a:solidFill>
              <a:srgbClr val="00AF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47" name="object 147"/>
            <p:cNvSpPr/>
            <p:nvPr/>
          </p:nvSpPr>
          <p:spPr>
            <a:xfrm>
              <a:off x="646937" y="3160013"/>
              <a:ext cx="143510" cy="104139"/>
            </a:xfrm>
            <a:custGeom>
              <a:avLst/>
              <a:gdLst/>
              <a:ahLst/>
              <a:cxnLst/>
              <a:rect l="l" t="t" r="r" b="b"/>
              <a:pathLst>
                <a:path w="143509" h="104139">
                  <a:moveTo>
                    <a:pt x="0" y="103632"/>
                  </a:moveTo>
                  <a:lnTo>
                    <a:pt x="143256" y="103632"/>
                  </a:lnTo>
                  <a:lnTo>
                    <a:pt x="143256" y="0"/>
                  </a:lnTo>
                  <a:lnTo>
                    <a:pt x="0" y="0"/>
                  </a:lnTo>
                  <a:lnTo>
                    <a:pt x="0" y="103632"/>
                  </a:lnTo>
                  <a:close/>
                </a:path>
              </a:pathLst>
            </a:custGeom>
            <a:ln w="3175">
              <a:solidFill>
                <a:srgbClr val="00AFE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48" name="object 148"/>
            <p:cNvSpPr/>
            <p:nvPr/>
          </p:nvSpPr>
          <p:spPr>
            <a:xfrm>
              <a:off x="646937" y="3394710"/>
              <a:ext cx="143510" cy="104139"/>
            </a:xfrm>
            <a:custGeom>
              <a:avLst/>
              <a:gdLst/>
              <a:ahLst/>
              <a:cxnLst/>
              <a:rect l="l" t="t" r="r" b="b"/>
              <a:pathLst>
                <a:path w="143509" h="104139">
                  <a:moveTo>
                    <a:pt x="143256" y="0"/>
                  </a:moveTo>
                  <a:lnTo>
                    <a:pt x="0" y="0"/>
                  </a:lnTo>
                  <a:lnTo>
                    <a:pt x="0" y="103632"/>
                  </a:lnTo>
                  <a:lnTo>
                    <a:pt x="143256" y="103632"/>
                  </a:lnTo>
                  <a:lnTo>
                    <a:pt x="143256" y="0"/>
                  </a:lnTo>
                  <a:close/>
                </a:path>
              </a:pathLst>
            </a:custGeom>
            <a:solidFill>
              <a:srgbClr val="00AF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49" name="object 149"/>
            <p:cNvSpPr/>
            <p:nvPr/>
          </p:nvSpPr>
          <p:spPr>
            <a:xfrm>
              <a:off x="646937" y="3394710"/>
              <a:ext cx="143510" cy="104139"/>
            </a:xfrm>
            <a:custGeom>
              <a:avLst/>
              <a:gdLst/>
              <a:ahLst/>
              <a:cxnLst/>
              <a:rect l="l" t="t" r="r" b="b"/>
              <a:pathLst>
                <a:path w="143509" h="104139">
                  <a:moveTo>
                    <a:pt x="0" y="103632"/>
                  </a:moveTo>
                  <a:lnTo>
                    <a:pt x="143256" y="103632"/>
                  </a:lnTo>
                  <a:lnTo>
                    <a:pt x="143256" y="0"/>
                  </a:lnTo>
                  <a:lnTo>
                    <a:pt x="0" y="0"/>
                  </a:lnTo>
                  <a:lnTo>
                    <a:pt x="0" y="103632"/>
                  </a:lnTo>
                  <a:close/>
                </a:path>
              </a:pathLst>
            </a:custGeom>
            <a:ln w="3175">
              <a:solidFill>
                <a:srgbClr val="00AFE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50" name="object 150"/>
            <p:cNvSpPr/>
            <p:nvPr/>
          </p:nvSpPr>
          <p:spPr>
            <a:xfrm>
              <a:off x="646937" y="3512057"/>
              <a:ext cx="143510" cy="104139"/>
            </a:xfrm>
            <a:custGeom>
              <a:avLst/>
              <a:gdLst/>
              <a:ahLst/>
              <a:cxnLst/>
              <a:rect l="l" t="t" r="r" b="b"/>
              <a:pathLst>
                <a:path w="143509" h="104139">
                  <a:moveTo>
                    <a:pt x="143256" y="0"/>
                  </a:moveTo>
                  <a:lnTo>
                    <a:pt x="0" y="0"/>
                  </a:lnTo>
                  <a:lnTo>
                    <a:pt x="0" y="103632"/>
                  </a:lnTo>
                  <a:lnTo>
                    <a:pt x="143256" y="103632"/>
                  </a:lnTo>
                  <a:lnTo>
                    <a:pt x="143256" y="0"/>
                  </a:lnTo>
                  <a:close/>
                </a:path>
              </a:pathLst>
            </a:custGeom>
            <a:solidFill>
              <a:srgbClr val="00AF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51" name="object 151"/>
            <p:cNvSpPr/>
            <p:nvPr/>
          </p:nvSpPr>
          <p:spPr>
            <a:xfrm>
              <a:off x="646937" y="3512057"/>
              <a:ext cx="143510" cy="104139"/>
            </a:xfrm>
            <a:custGeom>
              <a:avLst/>
              <a:gdLst/>
              <a:ahLst/>
              <a:cxnLst/>
              <a:rect l="l" t="t" r="r" b="b"/>
              <a:pathLst>
                <a:path w="143509" h="104139">
                  <a:moveTo>
                    <a:pt x="0" y="103632"/>
                  </a:moveTo>
                  <a:lnTo>
                    <a:pt x="143256" y="103632"/>
                  </a:lnTo>
                  <a:lnTo>
                    <a:pt x="143256" y="0"/>
                  </a:lnTo>
                  <a:lnTo>
                    <a:pt x="0" y="0"/>
                  </a:lnTo>
                  <a:lnTo>
                    <a:pt x="0" y="103632"/>
                  </a:lnTo>
                  <a:close/>
                </a:path>
              </a:pathLst>
            </a:custGeom>
            <a:ln w="3175">
              <a:solidFill>
                <a:srgbClr val="00AFE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52" name="object 152"/>
            <p:cNvSpPr/>
            <p:nvPr/>
          </p:nvSpPr>
          <p:spPr>
            <a:xfrm>
              <a:off x="646937" y="3748277"/>
              <a:ext cx="143510" cy="104139"/>
            </a:xfrm>
            <a:custGeom>
              <a:avLst/>
              <a:gdLst/>
              <a:ahLst/>
              <a:cxnLst/>
              <a:rect l="l" t="t" r="r" b="b"/>
              <a:pathLst>
                <a:path w="143509" h="104139">
                  <a:moveTo>
                    <a:pt x="143256" y="0"/>
                  </a:moveTo>
                  <a:lnTo>
                    <a:pt x="0" y="0"/>
                  </a:lnTo>
                  <a:lnTo>
                    <a:pt x="0" y="103632"/>
                  </a:lnTo>
                  <a:lnTo>
                    <a:pt x="143256" y="103632"/>
                  </a:lnTo>
                  <a:lnTo>
                    <a:pt x="143256" y="0"/>
                  </a:lnTo>
                  <a:close/>
                </a:path>
              </a:pathLst>
            </a:custGeom>
            <a:solidFill>
              <a:srgbClr val="00AF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53" name="object 153"/>
            <p:cNvSpPr/>
            <p:nvPr/>
          </p:nvSpPr>
          <p:spPr>
            <a:xfrm>
              <a:off x="646937" y="3748277"/>
              <a:ext cx="143510" cy="104139"/>
            </a:xfrm>
            <a:custGeom>
              <a:avLst/>
              <a:gdLst/>
              <a:ahLst/>
              <a:cxnLst/>
              <a:rect l="l" t="t" r="r" b="b"/>
              <a:pathLst>
                <a:path w="143509" h="104139">
                  <a:moveTo>
                    <a:pt x="0" y="103632"/>
                  </a:moveTo>
                  <a:lnTo>
                    <a:pt x="143256" y="103632"/>
                  </a:lnTo>
                  <a:lnTo>
                    <a:pt x="143256" y="0"/>
                  </a:lnTo>
                  <a:lnTo>
                    <a:pt x="0" y="0"/>
                  </a:lnTo>
                  <a:lnTo>
                    <a:pt x="0" y="103632"/>
                  </a:lnTo>
                  <a:close/>
                </a:path>
              </a:pathLst>
            </a:custGeom>
            <a:ln w="3175">
              <a:solidFill>
                <a:srgbClr val="00AFE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54" name="object 154"/>
            <p:cNvSpPr/>
            <p:nvPr/>
          </p:nvSpPr>
          <p:spPr>
            <a:xfrm>
              <a:off x="646937" y="4100322"/>
              <a:ext cx="143510" cy="104139"/>
            </a:xfrm>
            <a:custGeom>
              <a:avLst/>
              <a:gdLst/>
              <a:ahLst/>
              <a:cxnLst/>
              <a:rect l="l" t="t" r="r" b="b"/>
              <a:pathLst>
                <a:path w="143509" h="104139">
                  <a:moveTo>
                    <a:pt x="143256" y="0"/>
                  </a:moveTo>
                  <a:lnTo>
                    <a:pt x="0" y="0"/>
                  </a:lnTo>
                  <a:lnTo>
                    <a:pt x="0" y="103631"/>
                  </a:lnTo>
                  <a:lnTo>
                    <a:pt x="143256" y="103631"/>
                  </a:lnTo>
                  <a:lnTo>
                    <a:pt x="143256" y="0"/>
                  </a:lnTo>
                  <a:close/>
                </a:path>
              </a:pathLst>
            </a:custGeom>
            <a:solidFill>
              <a:srgbClr val="00AF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55" name="object 155"/>
            <p:cNvSpPr/>
            <p:nvPr/>
          </p:nvSpPr>
          <p:spPr>
            <a:xfrm>
              <a:off x="646937" y="4100322"/>
              <a:ext cx="143510" cy="104139"/>
            </a:xfrm>
            <a:custGeom>
              <a:avLst/>
              <a:gdLst/>
              <a:ahLst/>
              <a:cxnLst/>
              <a:rect l="l" t="t" r="r" b="b"/>
              <a:pathLst>
                <a:path w="143509" h="104139">
                  <a:moveTo>
                    <a:pt x="0" y="103631"/>
                  </a:moveTo>
                  <a:lnTo>
                    <a:pt x="143256" y="103631"/>
                  </a:lnTo>
                  <a:lnTo>
                    <a:pt x="143256" y="0"/>
                  </a:lnTo>
                  <a:lnTo>
                    <a:pt x="0" y="0"/>
                  </a:lnTo>
                  <a:lnTo>
                    <a:pt x="0" y="103631"/>
                  </a:lnTo>
                  <a:close/>
                </a:path>
              </a:pathLst>
            </a:custGeom>
            <a:ln w="3175">
              <a:solidFill>
                <a:srgbClr val="00AFE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56" name="object 156"/>
            <p:cNvSpPr/>
            <p:nvPr/>
          </p:nvSpPr>
          <p:spPr>
            <a:xfrm>
              <a:off x="646937" y="4217669"/>
              <a:ext cx="143510" cy="104139"/>
            </a:xfrm>
            <a:custGeom>
              <a:avLst/>
              <a:gdLst/>
              <a:ahLst/>
              <a:cxnLst/>
              <a:rect l="l" t="t" r="r" b="b"/>
              <a:pathLst>
                <a:path w="143509" h="104139">
                  <a:moveTo>
                    <a:pt x="143256" y="0"/>
                  </a:moveTo>
                  <a:lnTo>
                    <a:pt x="0" y="0"/>
                  </a:lnTo>
                  <a:lnTo>
                    <a:pt x="0" y="103631"/>
                  </a:lnTo>
                  <a:lnTo>
                    <a:pt x="143256" y="103631"/>
                  </a:lnTo>
                  <a:lnTo>
                    <a:pt x="143256" y="0"/>
                  </a:lnTo>
                  <a:close/>
                </a:path>
              </a:pathLst>
            </a:custGeom>
            <a:solidFill>
              <a:srgbClr val="00AF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57" name="object 157"/>
            <p:cNvSpPr/>
            <p:nvPr/>
          </p:nvSpPr>
          <p:spPr>
            <a:xfrm>
              <a:off x="646937" y="4217669"/>
              <a:ext cx="143510" cy="104139"/>
            </a:xfrm>
            <a:custGeom>
              <a:avLst/>
              <a:gdLst/>
              <a:ahLst/>
              <a:cxnLst/>
              <a:rect l="l" t="t" r="r" b="b"/>
              <a:pathLst>
                <a:path w="143509" h="104139">
                  <a:moveTo>
                    <a:pt x="0" y="103631"/>
                  </a:moveTo>
                  <a:lnTo>
                    <a:pt x="143256" y="103631"/>
                  </a:lnTo>
                  <a:lnTo>
                    <a:pt x="143256" y="0"/>
                  </a:lnTo>
                  <a:lnTo>
                    <a:pt x="0" y="0"/>
                  </a:lnTo>
                  <a:lnTo>
                    <a:pt x="0" y="103631"/>
                  </a:lnTo>
                  <a:close/>
                </a:path>
              </a:pathLst>
            </a:custGeom>
            <a:ln w="3175">
              <a:solidFill>
                <a:srgbClr val="00AFE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58" name="object 158"/>
            <p:cNvSpPr/>
            <p:nvPr/>
          </p:nvSpPr>
          <p:spPr>
            <a:xfrm>
              <a:off x="646937" y="4335017"/>
              <a:ext cx="143510" cy="104139"/>
            </a:xfrm>
            <a:custGeom>
              <a:avLst/>
              <a:gdLst/>
              <a:ahLst/>
              <a:cxnLst/>
              <a:rect l="l" t="t" r="r" b="b"/>
              <a:pathLst>
                <a:path w="143509" h="104139">
                  <a:moveTo>
                    <a:pt x="143256" y="0"/>
                  </a:moveTo>
                  <a:lnTo>
                    <a:pt x="0" y="0"/>
                  </a:lnTo>
                  <a:lnTo>
                    <a:pt x="0" y="103631"/>
                  </a:lnTo>
                  <a:lnTo>
                    <a:pt x="143256" y="103631"/>
                  </a:lnTo>
                  <a:lnTo>
                    <a:pt x="143256" y="0"/>
                  </a:lnTo>
                  <a:close/>
                </a:path>
              </a:pathLst>
            </a:custGeom>
            <a:solidFill>
              <a:srgbClr val="00AF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59" name="object 159"/>
            <p:cNvSpPr/>
            <p:nvPr/>
          </p:nvSpPr>
          <p:spPr>
            <a:xfrm>
              <a:off x="646937" y="4335017"/>
              <a:ext cx="143510" cy="104139"/>
            </a:xfrm>
            <a:custGeom>
              <a:avLst/>
              <a:gdLst/>
              <a:ahLst/>
              <a:cxnLst/>
              <a:rect l="l" t="t" r="r" b="b"/>
              <a:pathLst>
                <a:path w="143509" h="104139">
                  <a:moveTo>
                    <a:pt x="0" y="103631"/>
                  </a:moveTo>
                  <a:lnTo>
                    <a:pt x="143256" y="103631"/>
                  </a:lnTo>
                  <a:lnTo>
                    <a:pt x="143256" y="0"/>
                  </a:lnTo>
                  <a:lnTo>
                    <a:pt x="0" y="0"/>
                  </a:lnTo>
                  <a:lnTo>
                    <a:pt x="0" y="103631"/>
                  </a:lnTo>
                  <a:close/>
                </a:path>
              </a:pathLst>
            </a:custGeom>
            <a:ln w="3175">
              <a:solidFill>
                <a:srgbClr val="00AFE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60" name="object 160"/>
            <p:cNvSpPr/>
            <p:nvPr/>
          </p:nvSpPr>
          <p:spPr>
            <a:xfrm>
              <a:off x="646937" y="4452366"/>
              <a:ext cx="143510" cy="104139"/>
            </a:xfrm>
            <a:custGeom>
              <a:avLst/>
              <a:gdLst/>
              <a:ahLst/>
              <a:cxnLst/>
              <a:rect l="l" t="t" r="r" b="b"/>
              <a:pathLst>
                <a:path w="143509" h="104139">
                  <a:moveTo>
                    <a:pt x="143256" y="0"/>
                  </a:moveTo>
                  <a:lnTo>
                    <a:pt x="0" y="0"/>
                  </a:lnTo>
                  <a:lnTo>
                    <a:pt x="0" y="103631"/>
                  </a:lnTo>
                  <a:lnTo>
                    <a:pt x="143256" y="103631"/>
                  </a:lnTo>
                  <a:lnTo>
                    <a:pt x="143256" y="0"/>
                  </a:lnTo>
                  <a:close/>
                </a:path>
              </a:pathLst>
            </a:custGeom>
            <a:solidFill>
              <a:srgbClr val="00AF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61" name="object 161"/>
            <p:cNvSpPr/>
            <p:nvPr/>
          </p:nvSpPr>
          <p:spPr>
            <a:xfrm>
              <a:off x="646937" y="4452366"/>
              <a:ext cx="143510" cy="104139"/>
            </a:xfrm>
            <a:custGeom>
              <a:avLst/>
              <a:gdLst/>
              <a:ahLst/>
              <a:cxnLst/>
              <a:rect l="l" t="t" r="r" b="b"/>
              <a:pathLst>
                <a:path w="143509" h="104139">
                  <a:moveTo>
                    <a:pt x="0" y="103631"/>
                  </a:moveTo>
                  <a:lnTo>
                    <a:pt x="143256" y="103631"/>
                  </a:lnTo>
                  <a:lnTo>
                    <a:pt x="143256" y="0"/>
                  </a:lnTo>
                  <a:lnTo>
                    <a:pt x="0" y="0"/>
                  </a:lnTo>
                  <a:lnTo>
                    <a:pt x="0" y="103631"/>
                  </a:lnTo>
                  <a:close/>
                </a:path>
              </a:pathLst>
            </a:custGeom>
            <a:ln w="3175">
              <a:solidFill>
                <a:srgbClr val="00AFE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62" name="object 162"/>
            <p:cNvSpPr/>
            <p:nvPr/>
          </p:nvSpPr>
          <p:spPr>
            <a:xfrm>
              <a:off x="646937" y="4569713"/>
              <a:ext cx="143510" cy="105410"/>
            </a:xfrm>
            <a:custGeom>
              <a:avLst/>
              <a:gdLst/>
              <a:ahLst/>
              <a:cxnLst/>
              <a:rect l="l" t="t" r="r" b="b"/>
              <a:pathLst>
                <a:path w="143509" h="105410">
                  <a:moveTo>
                    <a:pt x="143256" y="0"/>
                  </a:moveTo>
                  <a:lnTo>
                    <a:pt x="0" y="0"/>
                  </a:lnTo>
                  <a:lnTo>
                    <a:pt x="0" y="105156"/>
                  </a:lnTo>
                  <a:lnTo>
                    <a:pt x="143256" y="105156"/>
                  </a:lnTo>
                  <a:lnTo>
                    <a:pt x="143256" y="0"/>
                  </a:lnTo>
                  <a:close/>
                </a:path>
              </a:pathLst>
            </a:custGeom>
            <a:solidFill>
              <a:srgbClr val="00AF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63" name="object 163"/>
            <p:cNvSpPr/>
            <p:nvPr/>
          </p:nvSpPr>
          <p:spPr>
            <a:xfrm>
              <a:off x="646937" y="4569713"/>
              <a:ext cx="143510" cy="105410"/>
            </a:xfrm>
            <a:custGeom>
              <a:avLst/>
              <a:gdLst/>
              <a:ahLst/>
              <a:cxnLst/>
              <a:rect l="l" t="t" r="r" b="b"/>
              <a:pathLst>
                <a:path w="143509" h="105410">
                  <a:moveTo>
                    <a:pt x="0" y="105156"/>
                  </a:moveTo>
                  <a:lnTo>
                    <a:pt x="143256" y="105156"/>
                  </a:lnTo>
                  <a:lnTo>
                    <a:pt x="143256" y="0"/>
                  </a:lnTo>
                  <a:lnTo>
                    <a:pt x="0" y="0"/>
                  </a:lnTo>
                  <a:lnTo>
                    <a:pt x="0" y="105156"/>
                  </a:lnTo>
                  <a:close/>
                </a:path>
              </a:pathLst>
            </a:custGeom>
            <a:ln w="3175">
              <a:solidFill>
                <a:srgbClr val="00AFE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64" name="object 164"/>
            <p:cNvSpPr/>
            <p:nvPr/>
          </p:nvSpPr>
          <p:spPr>
            <a:xfrm>
              <a:off x="646937" y="4805933"/>
              <a:ext cx="143510" cy="104139"/>
            </a:xfrm>
            <a:custGeom>
              <a:avLst/>
              <a:gdLst/>
              <a:ahLst/>
              <a:cxnLst/>
              <a:rect l="l" t="t" r="r" b="b"/>
              <a:pathLst>
                <a:path w="143509" h="104139">
                  <a:moveTo>
                    <a:pt x="143256" y="0"/>
                  </a:moveTo>
                  <a:lnTo>
                    <a:pt x="0" y="0"/>
                  </a:lnTo>
                  <a:lnTo>
                    <a:pt x="0" y="103631"/>
                  </a:lnTo>
                  <a:lnTo>
                    <a:pt x="143256" y="103631"/>
                  </a:lnTo>
                  <a:lnTo>
                    <a:pt x="143256" y="0"/>
                  </a:lnTo>
                  <a:close/>
                </a:path>
              </a:pathLst>
            </a:custGeom>
            <a:solidFill>
              <a:srgbClr val="00AF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65" name="object 165"/>
            <p:cNvSpPr/>
            <p:nvPr/>
          </p:nvSpPr>
          <p:spPr>
            <a:xfrm>
              <a:off x="646937" y="4805933"/>
              <a:ext cx="143510" cy="104139"/>
            </a:xfrm>
            <a:custGeom>
              <a:avLst/>
              <a:gdLst/>
              <a:ahLst/>
              <a:cxnLst/>
              <a:rect l="l" t="t" r="r" b="b"/>
              <a:pathLst>
                <a:path w="143509" h="104139">
                  <a:moveTo>
                    <a:pt x="0" y="103631"/>
                  </a:moveTo>
                  <a:lnTo>
                    <a:pt x="143256" y="103631"/>
                  </a:lnTo>
                  <a:lnTo>
                    <a:pt x="143256" y="0"/>
                  </a:lnTo>
                  <a:lnTo>
                    <a:pt x="0" y="0"/>
                  </a:lnTo>
                  <a:lnTo>
                    <a:pt x="0" y="103631"/>
                  </a:lnTo>
                  <a:close/>
                </a:path>
              </a:pathLst>
            </a:custGeom>
            <a:ln w="3175">
              <a:solidFill>
                <a:srgbClr val="00AFE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66" name="object 166"/>
            <p:cNvSpPr/>
            <p:nvPr/>
          </p:nvSpPr>
          <p:spPr>
            <a:xfrm>
              <a:off x="646937" y="1396745"/>
              <a:ext cx="143510" cy="104139"/>
            </a:xfrm>
            <a:custGeom>
              <a:avLst/>
              <a:gdLst/>
              <a:ahLst/>
              <a:cxnLst/>
              <a:rect l="l" t="t" r="r" b="b"/>
              <a:pathLst>
                <a:path w="143509" h="104140">
                  <a:moveTo>
                    <a:pt x="143256" y="0"/>
                  </a:moveTo>
                  <a:lnTo>
                    <a:pt x="0" y="0"/>
                  </a:lnTo>
                  <a:lnTo>
                    <a:pt x="0" y="103632"/>
                  </a:lnTo>
                  <a:lnTo>
                    <a:pt x="143256" y="103632"/>
                  </a:lnTo>
                  <a:lnTo>
                    <a:pt x="143256" y="0"/>
                  </a:lnTo>
                  <a:close/>
                </a:path>
              </a:pathLst>
            </a:custGeom>
            <a:solidFill>
              <a:srgbClr val="FCA97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67" name="object 167"/>
            <p:cNvSpPr/>
            <p:nvPr/>
          </p:nvSpPr>
          <p:spPr>
            <a:xfrm>
              <a:off x="646937" y="1396745"/>
              <a:ext cx="143510" cy="104139"/>
            </a:xfrm>
            <a:custGeom>
              <a:avLst/>
              <a:gdLst/>
              <a:ahLst/>
              <a:cxnLst/>
              <a:rect l="l" t="t" r="r" b="b"/>
              <a:pathLst>
                <a:path w="143509" h="104140">
                  <a:moveTo>
                    <a:pt x="0" y="103632"/>
                  </a:moveTo>
                  <a:lnTo>
                    <a:pt x="143256" y="103632"/>
                  </a:lnTo>
                  <a:lnTo>
                    <a:pt x="143256" y="0"/>
                  </a:lnTo>
                  <a:lnTo>
                    <a:pt x="0" y="0"/>
                  </a:lnTo>
                  <a:lnTo>
                    <a:pt x="0" y="103632"/>
                  </a:lnTo>
                  <a:close/>
                </a:path>
              </a:pathLst>
            </a:custGeom>
            <a:ln w="3175">
              <a:solidFill>
                <a:srgbClr val="FCA97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68" name="object 168"/>
            <p:cNvSpPr/>
            <p:nvPr/>
          </p:nvSpPr>
          <p:spPr>
            <a:xfrm>
              <a:off x="646937" y="1514093"/>
              <a:ext cx="143510" cy="104139"/>
            </a:xfrm>
            <a:custGeom>
              <a:avLst/>
              <a:gdLst/>
              <a:ahLst/>
              <a:cxnLst/>
              <a:rect l="l" t="t" r="r" b="b"/>
              <a:pathLst>
                <a:path w="143509" h="104140">
                  <a:moveTo>
                    <a:pt x="143256" y="0"/>
                  </a:moveTo>
                  <a:lnTo>
                    <a:pt x="0" y="0"/>
                  </a:lnTo>
                  <a:lnTo>
                    <a:pt x="0" y="103632"/>
                  </a:lnTo>
                  <a:lnTo>
                    <a:pt x="143256" y="103632"/>
                  </a:lnTo>
                  <a:lnTo>
                    <a:pt x="143256" y="0"/>
                  </a:lnTo>
                  <a:close/>
                </a:path>
              </a:pathLst>
            </a:custGeom>
            <a:solidFill>
              <a:srgbClr val="FCA97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69" name="object 169"/>
            <p:cNvSpPr/>
            <p:nvPr/>
          </p:nvSpPr>
          <p:spPr>
            <a:xfrm>
              <a:off x="646937" y="1514093"/>
              <a:ext cx="143510" cy="104139"/>
            </a:xfrm>
            <a:custGeom>
              <a:avLst/>
              <a:gdLst/>
              <a:ahLst/>
              <a:cxnLst/>
              <a:rect l="l" t="t" r="r" b="b"/>
              <a:pathLst>
                <a:path w="143509" h="104140">
                  <a:moveTo>
                    <a:pt x="0" y="103632"/>
                  </a:moveTo>
                  <a:lnTo>
                    <a:pt x="143256" y="103632"/>
                  </a:lnTo>
                  <a:lnTo>
                    <a:pt x="143256" y="0"/>
                  </a:lnTo>
                  <a:lnTo>
                    <a:pt x="0" y="0"/>
                  </a:lnTo>
                  <a:lnTo>
                    <a:pt x="0" y="103632"/>
                  </a:lnTo>
                  <a:close/>
                </a:path>
              </a:pathLst>
            </a:custGeom>
            <a:ln w="3175">
              <a:solidFill>
                <a:srgbClr val="FCA97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70" name="object 170"/>
            <p:cNvSpPr/>
            <p:nvPr/>
          </p:nvSpPr>
          <p:spPr>
            <a:xfrm>
              <a:off x="646937" y="1748789"/>
              <a:ext cx="143510" cy="105410"/>
            </a:xfrm>
            <a:custGeom>
              <a:avLst/>
              <a:gdLst/>
              <a:ahLst/>
              <a:cxnLst/>
              <a:rect l="l" t="t" r="r" b="b"/>
              <a:pathLst>
                <a:path w="143509" h="105410">
                  <a:moveTo>
                    <a:pt x="143256" y="0"/>
                  </a:moveTo>
                  <a:lnTo>
                    <a:pt x="0" y="0"/>
                  </a:lnTo>
                  <a:lnTo>
                    <a:pt x="0" y="105155"/>
                  </a:lnTo>
                  <a:lnTo>
                    <a:pt x="143256" y="105155"/>
                  </a:lnTo>
                  <a:lnTo>
                    <a:pt x="143256" y="0"/>
                  </a:lnTo>
                  <a:close/>
                </a:path>
              </a:pathLst>
            </a:custGeom>
            <a:solidFill>
              <a:srgbClr val="FCA97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71" name="object 171"/>
            <p:cNvSpPr/>
            <p:nvPr/>
          </p:nvSpPr>
          <p:spPr>
            <a:xfrm>
              <a:off x="646937" y="1748789"/>
              <a:ext cx="143510" cy="105410"/>
            </a:xfrm>
            <a:custGeom>
              <a:avLst/>
              <a:gdLst/>
              <a:ahLst/>
              <a:cxnLst/>
              <a:rect l="l" t="t" r="r" b="b"/>
              <a:pathLst>
                <a:path w="143509" h="105410">
                  <a:moveTo>
                    <a:pt x="0" y="105155"/>
                  </a:moveTo>
                  <a:lnTo>
                    <a:pt x="143256" y="105155"/>
                  </a:lnTo>
                  <a:lnTo>
                    <a:pt x="143256" y="0"/>
                  </a:lnTo>
                  <a:lnTo>
                    <a:pt x="0" y="0"/>
                  </a:lnTo>
                  <a:lnTo>
                    <a:pt x="0" y="105155"/>
                  </a:lnTo>
                  <a:close/>
                </a:path>
              </a:pathLst>
            </a:custGeom>
            <a:ln w="3175">
              <a:solidFill>
                <a:srgbClr val="FCA97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72" name="object 172"/>
            <p:cNvSpPr/>
            <p:nvPr/>
          </p:nvSpPr>
          <p:spPr>
            <a:xfrm>
              <a:off x="646937" y="1985009"/>
              <a:ext cx="143510" cy="104139"/>
            </a:xfrm>
            <a:custGeom>
              <a:avLst/>
              <a:gdLst/>
              <a:ahLst/>
              <a:cxnLst/>
              <a:rect l="l" t="t" r="r" b="b"/>
              <a:pathLst>
                <a:path w="143509" h="104139">
                  <a:moveTo>
                    <a:pt x="143256" y="0"/>
                  </a:moveTo>
                  <a:lnTo>
                    <a:pt x="0" y="0"/>
                  </a:lnTo>
                  <a:lnTo>
                    <a:pt x="0" y="103632"/>
                  </a:lnTo>
                  <a:lnTo>
                    <a:pt x="143256" y="103632"/>
                  </a:lnTo>
                  <a:lnTo>
                    <a:pt x="143256" y="0"/>
                  </a:lnTo>
                  <a:close/>
                </a:path>
              </a:pathLst>
            </a:custGeom>
            <a:solidFill>
              <a:srgbClr val="FCA97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73" name="object 173"/>
            <p:cNvSpPr/>
            <p:nvPr/>
          </p:nvSpPr>
          <p:spPr>
            <a:xfrm>
              <a:off x="646937" y="1985009"/>
              <a:ext cx="143510" cy="104139"/>
            </a:xfrm>
            <a:custGeom>
              <a:avLst/>
              <a:gdLst/>
              <a:ahLst/>
              <a:cxnLst/>
              <a:rect l="l" t="t" r="r" b="b"/>
              <a:pathLst>
                <a:path w="143509" h="104139">
                  <a:moveTo>
                    <a:pt x="0" y="103632"/>
                  </a:moveTo>
                  <a:lnTo>
                    <a:pt x="143256" y="103632"/>
                  </a:lnTo>
                  <a:lnTo>
                    <a:pt x="143256" y="0"/>
                  </a:lnTo>
                  <a:lnTo>
                    <a:pt x="0" y="0"/>
                  </a:lnTo>
                  <a:lnTo>
                    <a:pt x="0" y="103632"/>
                  </a:lnTo>
                  <a:close/>
                </a:path>
              </a:pathLst>
            </a:custGeom>
            <a:ln w="3175">
              <a:solidFill>
                <a:srgbClr val="FCA97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74" name="object 174"/>
            <p:cNvSpPr/>
            <p:nvPr/>
          </p:nvSpPr>
          <p:spPr>
            <a:xfrm>
              <a:off x="646937" y="2102358"/>
              <a:ext cx="143510" cy="104139"/>
            </a:xfrm>
            <a:custGeom>
              <a:avLst/>
              <a:gdLst/>
              <a:ahLst/>
              <a:cxnLst/>
              <a:rect l="l" t="t" r="r" b="b"/>
              <a:pathLst>
                <a:path w="143509" h="104139">
                  <a:moveTo>
                    <a:pt x="143256" y="0"/>
                  </a:moveTo>
                  <a:lnTo>
                    <a:pt x="0" y="0"/>
                  </a:lnTo>
                  <a:lnTo>
                    <a:pt x="0" y="103632"/>
                  </a:lnTo>
                  <a:lnTo>
                    <a:pt x="143256" y="103632"/>
                  </a:lnTo>
                  <a:lnTo>
                    <a:pt x="143256" y="0"/>
                  </a:lnTo>
                  <a:close/>
                </a:path>
              </a:pathLst>
            </a:custGeom>
            <a:solidFill>
              <a:srgbClr val="FCA97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75" name="object 175"/>
            <p:cNvSpPr/>
            <p:nvPr/>
          </p:nvSpPr>
          <p:spPr>
            <a:xfrm>
              <a:off x="646937" y="2102358"/>
              <a:ext cx="143510" cy="104139"/>
            </a:xfrm>
            <a:custGeom>
              <a:avLst/>
              <a:gdLst/>
              <a:ahLst/>
              <a:cxnLst/>
              <a:rect l="l" t="t" r="r" b="b"/>
              <a:pathLst>
                <a:path w="143509" h="104139">
                  <a:moveTo>
                    <a:pt x="0" y="103632"/>
                  </a:moveTo>
                  <a:lnTo>
                    <a:pt x="143256" y="103632"/>
                  </a:lnTo>
                  <a:lnTo>
                    <a:pt x="143256" y="0"/>
                  </a:lnTo>
                  <a:lnTo>
                    <a:pt x="0" y="0"/>
                  </a:lnTo>
                  <a:lnTo>
                    <a:pt x="0" y="103632"/>
                  </a:lnTo>
                  <a:close/>
                </a:path>
              </a:pathLst>
            </a:custGeom>
            <a:ln w="3175">
              <a:solidFill>
                <a:srgbClr val="FCA97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76" name="object 176"/>
            <p:cNvSpPr/>
            <p:nvPr/>
          </p:nvSpPr>
          <p:spPr>
            <a:xfrm>
              <a:off x="646937" y="2454401"/>
              <a:ext cx="143510" cy="104139"/>
            </a:xfrm>
            <a:custGeom>
              <a:avLst/>
              <a:gdLst/>
              <a:ahLst/>
              <a:cxnLst/>
              <a:rect l="l" t="t" r="r" b="b"/>
              <a:pathLst>
                <a:path w="143509" h="104139">
                  <a:moveTo>
                    <a:pt x="143256" y="0"/>
                  </a:moveTo>
                  <a:lnTo>
                    <a:pt x="0" y="0"/>
                  </a:lnTo>
                  <a:lnTo>
                    <a:pt x="0" y="103632"/>
                  </a:lnTo>
                  <a:lnTo>
                    <a:pt x="143256" y="103632"/>
                  </a:lnTo>
                  <a:lnTo>
                    <a:pt x="143256" y="0"/>
                  </a:lnTo>
                  <a:close/>
                </a:path>
              </a:pathLst>
            </a:custGeom>
            <a:solidFill>
              <a:srgbClr val="FCA97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77" name="object 177"/>
            <p:cNvSpPr/>
            <p:nvPr/>
          </p:nvSpPr>
          <p:spPr>
            <a:xfrm>
              <a:off x="646937" y="2454401"/>
              <a:ext cx="143510" cy="104139"/>
            </a:xfrm>
            <a:custGeom>
              <a:avLst/>
              <a:gdLst/>
              <a:ahLst/>
              <a:cxnLst/>
              <a:rect l="l" t="t" r="r" b="b"/>
              <a:pathLst>
                <a:path w="143509" h="104139">
                  <a:moveTo>
                    <a:pt x="0" y="103632"/>
                  </a:moveTo>
                  <a:lnTo>
                    <a:pt x="143256" y="103632"/>
                  </a:lnTo>
                  <a:lnTo>
                    <a:pt x="143256" y="0"/>
                  </a:lnTo>
                  <a:lnTo>
                    <a:pt x="0" y="0"/>
                  </a:lnTo>
                  <a:lnTo>
                    <a:pt x="0" y="103632"/>
                  </a:lnTo>
                  <a:close/>
                </a:path>
              </a:pathLst>
            </a:custGeom>
            <a:ln w="3175">
              <a:solidFill>
                <a:srgbClr val="FCA97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78" name="object 178"/>
            <p:cNvSpPr/>
            <p:nvPr/>
          </p:nvSpPr>
          <p:spPr>
            <a:xfrm>
              <a:off x="646937" y="3629405"/>
              <a:ext cx="143510" cy="105410"/>
            </a:xfrm>
            <a:custGeom>
              <a:avLst/>
              <a:gdLst/>
              <a:ahLst/>
              <a:cxnLst/>
              <a:rect l="l" t="t" r="r" b="b"/>
              <a:pathLst>
                <a:path w="143509" h="105410">
                  <a:moveTo>
                    <a:pt x="143256" y="0"/>
                  </a:moveTo>
                  <a:lnTo>
                    <a:pt x="0" y="0"/>
                  </a:lnTo>
                  <a:lnTo>
                    <a:pt x="0" y="105156"/>
                  </a:lnTo>
                  <a:lnTo>
                    <a:pt x="143256" y="105156"/>
                  </a:lnTo>
                  <a:lnTo>
                    <a:pt x="143256" y="0"/>
                  </a:lnTo>
                  <a:close/>
                </a:path>
              </a:pathLst>
            </a:custGeom>
            <a:solidFill>
              <a:srgbClr val="FCA97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79" name="object 179"/>
            <p:cNvSpPr/>
            <p:nvPr/>
          </p:nvSpPr>
          <p:spPr>
            <a:xfrm>
              <a:off x="646937" y="3629405"/>
              <a:ext cx="143510" cy="105410"/>
            </a:xfrm>
            <a:custGeom>
              <a:avLst/>
              <a:gdLst/>
              <a:ahLst/>
              <a:cxnLst/>
              <a:rect l="l" t="t" r="r" b="b"/>
              <a:pathLst>
                <a:path w="143509" h="105410">
                  <a:moveTo>
                    <a:pt x="0" y="105156"/>
                  </a:moveTo>
                  <a:lnTo>
                    <a:pt x="143256" y="105156"/>
                  </a:lnTo>
                  <a:lnTo>
                    <a:pt x="143256" y="0"/>
                  </a:lnTo>
                  <a:lnTo>
                    <a:pt x="0" y="0"/>
                  </a:lnTo>
                  <a:lnTo>
                    <a:pt x="0" y="105156"/>
                  </a:lnTo>
                  <a:close/>
                </a:path>
              </a:pathLst>
            </a:custGeom>
            <a:ln w="3175">
              <a:solidFill>
                <a:srgbClr val="FCA97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80" name="object 180"/>
            <p:cNvSpPr/>
            <p:nvPr/>
          </p:nvSpPr>
          <p:spPr>
            <a:xfrm>
              <a:off x="646937" y="3865626"/>
              <a:ext cx="143510" cy="104139"/>
            </a:xfrm>
            <a:custGeom>
              <a:avLst/>
              <a:gdLst/>
              <a:ahLst/>
              <a:cxnLst/>
              <a:rect l="l" t="t" r="r" b="b"/>
              <a:pathLst>
                <a:path w="143509" h="104139">
                  <a:moveTo>
                    <a:pt x="143256" y="0"/>
                  </a:moveTo>
                  <a:lnTo>
                    <a:pt x="0" y="0"/>
                  </a:lnTo>
                  <a:lnTo>
                    <a:pt x="0" y="103631"/>
                  </a:lnTo>
                  <a:lnTo>
                    <a:pt x="143256" y="103631"/>
                  </a:lnTo>
                  <a:lnTo>
                    <a:pt x="143256" y="0"/>
                  </a:lnTo>
                  <a:close/>
                </a:path>
              </a:pathLst>
            </a:custGeom>
            <a:solidFill>
              <a:srgbClr val="FCA97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81" name="object 181"/>
            <p:cNvSpPr/>
            <p:nvPr/>
          </p:nvSpPr>
          <p:spPr>
            <a:xfrm>
              <a:off x="646937" y="3865626"/>
              <a:ext cx="143510" cy="104139"/>
            </a:xfrm>
            <a:custGeom>
              <a:avLst/>
              <a:gdLst/>
              <a:ahLst/>
              <a:cxnLst/>
              <a:rect l="l" t="t" r="r" b="b"/>
              <a:pathLst>
                <a:path w="143509" h="104139">
                  <a:moveTo>
                    <a:pt x="0" y="103631"/>
                  </a:moveTo>
                  <a:lnTo>
                    <a:pt x="143256" y="103631"/>
                  </a:lnTo>
                  <a:lnTo>
                    <a:pt x="143256" y="0"/>
                  </a:lnTo>
                  <a:lnTo>
                    <a:pt x="0" y="0"/>
                  </a:lnTo>
                  <a:lnTo>
                    <a:pt x="0" y="103631"/>
                  </a:lnTo>
                  <a:close/>
                </a:path>
              </a:pathLst>
            </a:custGeom>
            <a:ln w="3175">
              <a:solidFill>
                <a:srgbClr val="FCA97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82" name="object 182"/>
            <p:cNvSpPr/>
            <p:nvPr/>
          </p:nvSpPr>
          <p:spPr>
            <a:xfrm>
              <a:off x="646937" y="4688586"/>
              <a:ext cx="143510" cy="104139"/>
            </a:xfrm>
            <a:custGeom>
              <a:avLst/>
              <a:gdLst/>
              <a:ahLst/>
              <a:cxnLst/>
              <a:rect l="l" t="t" r="r" b="b"/>
              <a:pathLst>
                <a:path w="143509" h="104139">
                  <a:moveTo>
                    <a:pt x="143256" y="0"/>
                  </a:moveTo>
                  <a:lnTo>
                    <a:pt x="0" y="0"/>
                  </a:lnTo>
                  <a:lnTo>
                    <a:pt x="0" y="103631"/>
                  </a:lnTo>
                  <a:lnTo>
                    <a:pt x="143256" y="103631"/>
                  </a:lnTo>
                  <a:lnTo>
                    <a:pt x="143256" y="0"/>
                  </a:lnTo>
                  <a:close/>
                </a:path>
              </a:pathLst>
            </a:custGeom>
            <a:solidFill>
              <a:srgbClr val="FCA97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83" name="object 183"/>
            <p:cNvSpPr/>
            <p:nvPr/>
          </p:nvSpPr>
          <p:spPr>
            <a:xfrm>
              <a:off x="646937" y="4688586"/>
              <a:ext cx="143510" cy="104139"/>
            </a:xfrm>
            <a:custGeom>
              <a:avLst/>
              <a:gdLst/>
              <a:ahLst/>
              <a:cxnLst/>
              <a:rect l="l" t="t" r="r" b="b"/>
              <a:pathLst>
                <a:path w="143509" h="104139">
                  <a:moveTo>
                    <a:pt x="0" y="103631"/>
                  </a:moveTo>
                  <a:lnTo>
                    <a:pt x="143256" y="103631"/>
                  </a:lnTo>
                  <a:lnTo>
                    <a:pt x="143256" y="0"/>
                  </a:lnTo>
                  <a:lnTo>
                    <a:pt x="0" y="0"/>
                  </a:lnTo>
                  <a:lnTo>
                    <a:pt x="0" y="103631"/>
                  </a:lnTo>
                  <a:close/>
                </a:path>
              </a:pathLst>
            </a:custGeom>
            <a:ln w="3175">
              <a:solidFill>
                <a:srgbClr val="FCA97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84" name="object 184"/>
            <p:cNvSpPr/>
            <p:nvPr/>
          </p:nvSpPr>
          <p:spPr>
            <a:xfrm>
              <a:off x="646937" y="4923281"/>
              <a:ext cx="143510" cy="104139"/>
            </a:xfrm>
            <a:custGeom>
              <a:avLst/>
              <a:gdLst/>
              <a:ahLst/>
              <a:cxnLst/>
              <a:rect l="l" t="t" r="r" b="b"/>
              <a:pathLst>
                <a:path w="143509" h="104139">
                  <a:moveTo>
                    <a:pt x="143256" y="0"/>
                  </a:moveTo>
                  <a:lnTo>
                    <a:pt x="0" y="0"/>
                  </a:lnTo>
                  <a:lnTo>
                    <a:pt x="0" y="103632"/>
                  </a:lnTo>
                  <a:lnTo>
                    <a:pt x="143256" y="103632"/>
                  </a:lnTo>
                  <a:lnTo>
                    <a:pt x="143256" y="0"/>
                  </a:lnTo>
                  <a:close/>
                </a:path>
              </a:pathLst>
            </a:custGeom>
            <a:solidFill>
              <a:srgbClr val="FCA97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85" name="object 185"/>
            <p:cNvSpPr/>
            <p:nvPr/>
          </p:nvSpPr>
          <p:spPr>
            <a:xfrm>
              <a:off x="646937" y="4923281"/>
              <a:ext cx="143510" cy="104139"/>
            </a:xfrm>
            <a:custGeom>
              <a:avLst/>
              <a:gdLst/>
              <a:ahLst/>
              <a:cxnLst/>
              <a:rect l="l" t="t" r="r" b="b"/>
              <a:pathLst>
                <a:path w="143509" h="104139">
                  <a:moveTo>
                    <a:pt x="0" y="103632"/>
                  </a:moveTo>
                  <a:lnTo>
                    <a:pt x="143256" y="103632"/>
                  </a:lnTo>
                  <a:lnTo>
                    <a:pt x="143256" y="0"/>
                  </a:lnTo>
                  <a:lnTo>
                    <a:pt x="0" y="0"/>
                  </a:lnTo>
                  <a:lnTo>
                    <a:pt x="0" y="103632"/>
                  </a:lnTo>
                  <a:close/>
                </a:path>
              </a:pathLst>
            </a:custGeom>
            <a:ln w="3175">
              <a:solidFill>
                <a:srgbClr val="FCA97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86" name="object 186"/>
            <p:cNvSpPr/>
            <p:nvPr/>
          </p:nvSpPr>
          <p:spPr>
            <a:xfrm>
              <a:off x="648461" y="5045201"/>
              <a:ext cx="142240" cy="105410"/>
            </a:xfrm>
            <a:custGeom>
              <a:avLst/>
              <a:gdLst/>
              <a:ahLst/>
              <a:cxnLst/>
              <a:rect l="l" t="t" r="r" b="b"/>
              <a:pathLst>
                <a:path w="142240" h="105410">
                  <a:moveTo>
                    <a:pt x="141731" y="0"/>
                  </a:moveTo>
                  <a:lnTo>
                    <a:pt x="0" y="0"/>
                  </a:lnTo>
                  <a:lnTo>
                    <a:pt x="0" y="105156"/>
                  </a:lnTo>
                  <a:lnTo>
                    <a:pt x="141731" y="105156"/>
                  </a:lnTo>
                  <a:lnTo>
                    <a:pt x="141731" y="0"/>
                  </a:lnTo>
                  <a:close/>
                </a:path>
              </a:pathLst>
            </a:custGeom>
            <a:solidFill>
              <a:srgbClr val="FCA97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87" name="object 187"/>
            <p:cNvSpPr/>
            <p:nvPr/>
          </p:nvSpPr>
          <p:spPr>
            <a:xfrm>
              <a:off x="648461" y="5045201"/>
              <a:ext cx="142240" cy="105410"/>
            </a:xfrm>
            <a:custGeom>
              <a:avLst/>
              <a:gdLst/>
              <a:ahLst/>
              <a:cxnLst/>
              <a:rect l="l" t="t" r="r" b="b"/>
              <a:pathLst>
                <a:path w="142240" h="105410">
                  <a:moveTo>
                    <a:pt x="0" y="105156"/>
                  </a:moveTo>
                  <a:lnTo>
                    <a:pt x="141731" y="105156"/>
                  </a:lnTo>
                  <a:lnTo>
                    <a:pt x="141731" y="0"/>
                  </a:lnTo>
                  <a:lnTo>
                    <a:pt x="0" y="0"/>
                  </a:lnTo>
                  <a:lnTo>
                    <a:pt x="0" y="105156"/>
                  </a:lnTo>
                  <a:close/>
                </a:path>
              </a:pathLst>
            </a:custGeom>
            <a:ln w="3175">
              <a:solidFill>
                <a:srgbClr val="FCA97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88" name="object 188"/>
            <p:cNvSpPr/>
            <p:nvPr/>
          </p:nvSpPr>
          <p:spPr>
            <a:xfrm>
              <a:off x="646937" y="1867661"/>
              <a:ext cx="143510" cy="2219325"/>
            </a:xfrm>
            <a:custGeom>
              <a:avLst/>
              <a:gdLst/>
              <a:ahLst/>
              <a:cxnLst/>
              <a:rect l="l" t="t" r="r" b="b"/>
              <a:pathLst>
                <a:path w="143509" h="2219325">
                  <a:moveTo>
                    <a:pt x="0" y="103632"/>
                  </a:moveTo>
                  <a:lnTo>
                    <a:pt x="143256" y="103632"/>
                  </a:lnTo>
                  <a:lnTo>
                    <a:pt x="143256" y="0"/>
                  </a:lnTo>
                  <a:lnTo>
                    <a:pt x="0" y="0"/>
                  </a:lnTo>
                  <a:lnTo>
                    <a:pt x="0" y="103632"/>
                  </a:lnTo>
                  <a:close/>
                </a:path>
                <a:path w="143509" h="2219325">
                  <a:moveTo>
                    <a:pt x="0" y="926591"/>
                  </a:moveTo>
                  <a:lnTo>
                    <a:pt x="143256" y="926591"/>
                  </a:lnTo>
                  <a:lnTo>
                    <a:pt x="143256" y="821436"/>
                  </a:lnTo>
                  <a:lnTo>
                    <a:pt x="0" y="821436"/>
                  </a:lnTo>
                  <a:lnTo>
                    <a:pt x="0" y="926591"/>
                  </a:lnTo>
                  <a:close/>
                </a:path>
                <a:path w="143509" h="2219325">
                  <a:moveTo>
                    <a:pt x="0" y="1043939"/>
                  </a:moveTo>
                  <a:lnTo>
                    <a:pt x="143256" y="1043939"/>
                  </a:lnTo>
                  <a:lnTo>
                    <a:pt x="143256" y="940307"/>
                  </a:lnTo>
                  <a:lnTo>
                    <a:pt x="0" y="940307"/>
                  </a:lnTo>
                  <a:lnTo>
                    <a:pt x="0" y="1043939"/>
                  </a:lnTo>
                  <a:close/>
                </a:path>
                <a:path w="143509" h="2219325">
                  <a:moveTo>
                    <a:pt x="0" y="1513332"/>
                  </a:moveTo>
                  <a:lnTo>
                    <a:pt x="143256" y="1513332"/>
                  </a:lnTo>
                  <a:lnTo>
                    <a:pt x="143256" y="1409700"/>
                  </a:lnTo>
                  <a:lnTo>
                    <a:pt x="0" y="1409700"/>
                  </a:lnTo>
                  <a:lnTo>
                    <a:pt x="0" y="1513332"/>
                  </a:lnTo>
                  <a:close/>
                </a:path>
                <a:path w="143509" h="2219325">
                  <a:moveTo>
                    <a:pt x="0" y="2218944"/>
                  </a:moveTo>
                  <a:lnTo>
                    <a:pt x="143256" y="2218944"/>
                  </a:lnTo>
                  <a:lnTo>
                    <a:pt x="143256" y="2115312"/>
                  </a:lnTo>
                  <a:lnTo>
                    <a:pt x="0" y="2115312"/>
                  </a:lnTo>
                  <a:lnTo>
                    <a:pt x="0" y="2218944"/>
                  </a:lnTo>
                  <a:close/>
                </a:path>
              </a:pathLst>
            </a:custGeom>
            <a:ln w="3175">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189" name="object 189"/>
          <p:cNvSpPr txBox="1"/>
          <p:nvPr/>
        </p:nvSpPr>
        <p:spPr>
          <a:xfrm>
            <a:off x="340461" y="6016244"/>
            <a:ext cx="10994390" cy="299720"/>
          </a:xfrm>
          <a:prstGeom prst="rect">
            <a:avLst/>
          </a:prstGeom>
        </p:spPr>
        <p:txBody>
          <a:bodyPr vert="horz" wrap="square" lIns="0" tIns="12700" rIns="0" bIns="0" rtlCol="0">
            <a:spAutoFit/>
          </a:bodyPr>
          <a:lstStyle/>
          <a:p>
            <a:pPr marL="38100" marR="3048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0" cap="none" spc="0" normalizeH="0" baseline="27777" noProof="0" dirty="0">
                <a:ln>
                  <a:noFill/>
                </a:ln>
                <a:solidFill>
                  <a:srgbClr val="585353"/>
                </a:solidFill>
                <a:effectLst/>
                <a:uLnTx/>
                <a:uFillTx/>
                <a:latin typeface="Trebuchet MS"/>
                <a:ea typeface="+mn-ea"/>
                <a:cs typeface="Trebuchet MS"/>
              </a:rPr>
              <a:t>a</a:t>
            </a:r>
            <a:r>
              <a:rPr kumimoji="0" sz="900" b="0" i="0" u="none" strike="noStrike" kern="0" cap="none" spc="0" normalizeH="0" baseline="0" noProof="0" dirty="0">
                <a:ln>
                  <a:noFill/>
                </a:ln>
                <a:solidFill>
                  <a:srgbClr val="585353"/>
                </a:solidFill>
                <a:effectLst/>
                <a:uLnTx/>
                <a:uFillTx/>
                <a:latin typeface="Trebuchet MS"/>
                <a:ea typeface="+mn-ea"/>
                <a:cs typeface="Trebuchet MS"/>
              </a:rPr>
              <a:t>Two</a:t>
            </a:r>
            <a:r>
              <a:rPr kumimoji="0" sz="900" b="0" i="0" u="none" strike="noStrike" kern="0" cap="none" spc="-1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patients</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achieved</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CMR</a:t>
            </a:r>
            <a:r>
              <a:rPr kumimoji="0" sz="900" b="0" i="0" u="none" strike="noStrike" kern="0" cap="none" spc="-1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but</a:t>
            </a:r>
            <a:r>
              <a:rPr kumimoji="0" sz="900" b="0" i="0" u="none" strike="noStrike" kern="0" cap="none" spc="-2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did</a:t>
            </a:r>
            <a:r>
              <a:rPr kumimoji="0" sz="900" b="0" i="0" u="none" strike="noStrike" kern="0" cap="none" spc="-1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not</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have</a:t>
            </a:r>
            <a:r>
              <a:rPr kumimoji="0" sz="900" b="0" i="0" u="none" strike="noStrike" kern="0" cap="none" spc="-3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an</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EOT</a:t>
            </a:r>
            <a:r>
              <a:rPr kumimoji="0" sz="900" b="0" i="0" u="none" strike="noStrike" kern="0" cap="none" spc="-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efficacy assessment due</a:t>
            </a:r>
            <a:r>
              <a:rPr kumimoji="0" sz="900" b="0" i="0" u="none" strike="noStrike" kern="0" cap="none" spc="-3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to</a:t>
            </a:r>
            <a:r>
              <a:rPr kumimoji="0" sz="900" b="0" i="0" u="none" strike="noStrike" kern="0" cap="none" spc="-1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treatment</a:t>
            </a:r>
            <a:r>
              <a:rPr kumimoji="0" sz="900" b="0" i="0" u="none" strike="noStrike" kern="0" cap="none" spc="-1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unrelated</a:t>
            </a:r>
            <a:r>
              <a:rPr kumimoji="0" sz="900" b="0" i="0" u="none" strike="noStrike" kern="0" cap="none" spc="-2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death</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COVID-19</a:t>
            </a:r>
            <a:r>
              <a:rPr kumimoji="0" sz="900" b="0" i="0" u="none" strike="noStrike" kern="0" cap="none" spc="-3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and</a:t>
            </a:r>
            <a:r>
              <a:rPr kumimoji="0" sz="900" b="0" i="0" u="none" strike="noStrike" kern="0" cap="none" spc="-3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cardiac</a:t>
            </a:r>
            <a:r>
              <a:rPr kumimoji="0" sz="900" b="0" i="0" u="none" strike="noStrike" kern="0" cap="none" spc="1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arrest).</a:t>
            </a:r>
            <a:r>
              <a:rPr kumimoji="0" sz="900" b="0" i="0" u="none" strike="noStrike" kern="0" cap="none" spc="-3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27777" noProof="0" dirty="0">
                <a:ln>
                  <a:noFill/>
                </a:ln>
                <a:solidFill>
                  <a:srgbClr val="585353"/>
                </a:solidFill>
                <a:effectLst/>
                <a:uLnTx/>
                <a:uFillTx/>
                <a:latin typeface="Trebuchet MS"/>
                <a:ea typeface="+mn-ea"/>
                <a:cs typeface="Trebuchet MS"/>
              </a:rPr>
              <a:t>b</a:t>
            </a:r>
            <a:r>
              <a:rPr kumimoji="0" sz="900" b="0" i="0" u="none" strike="noStrike" kern="0" cap="none" spc="0" normalizeH="0" baseline="0" noProof="0" dirty="0">
                <a:ln>
                  <a:noFill/>
                </a:ln>
                <a:solidFill>
                  <a:srgbClr val="585353"/>
                </a:solidFill>
                <a:effectLst/>
                <a:uLnTx/>
                <a:uFillTx/>
                <a:latin typeface="Trebuchet MS"/>
                <a:ea typeface="+mn-ea"/>
                <a:cs typeface="Trebuchet MS"/>
              </a:rPr>
              <a:t>Defined</a:t>
            </a:r>
            <a:r>
              <a:rPr kumimoji="0" sz="900" b="0" i="0" u="none" strike="noStrike" kern="0" cap="none" spc="-1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as</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IPI</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10" normalizeH="0" baseline="0" noProof="0" dirty="0">
                <a:ln>
                  <a:noFill/>
                </a:ln>
                <a:solidFill>
                  <a:srgbClr val="585353"/>
                </a:solidFill>
                <a:effectLst/>
                <a:uLnTx/>
                <a:uFillTx/>
                <a:latin typeface="Trebuchet MS"/>
                <a:ea typeface="+mn-ea"/>
                <a:cs typeface="Trebuchet MS"/>
              </a:rPr>
              <a:t>3–</a:t>
            </a:r>
            <a:r>
              <a:rPr kumimoji="0" sz="900" b="0" i="0" u="none" strike="noStrike" kern="0" cap="none" spc="0" normalizeH="0" baseline="0" noProof="0" dirty="0">
                <a:ln>
                  <a:noFill/>
                </a:ln>
                <a:solidFill>
                  <a:srgbClr val="585353"/>
                </a:solidFill>
                <a:effectLst/>
                <a:uLnTx/>
                <a:uFillTx/>
                <a:latin typeface="Trebuchet MS"/>
                <a:ea typeface="+mn-ea"/>
                <a:cs typeface="Trebuchet MS"/>
              </a:rPr>
              <a:t>5</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or</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IPI</a:t>
            </a:r>
            <a:r>
              <a:rPr kumimoji="0" sz="900" b="0" i="0" u="none" strike="noStrike" kern="0" cap="none" spc="-15" normalizeH="0" baseline="0" noProof="0" dirty="0">
                <a:ln>
                  <a:noFill/>
                </a:ln>
                <a:solidFill>
                  <a:srgbClr val="585353"/>
                </a:solidFill>
                <a:effectLst/>
                <a:uLnTx/>
                <a:uFillTx/>
                <a:latin typeface="Trebuchet MS"/>
                <a:ea typeface="+mn-ea"/>
                <a:cs typeface="Trebuchet MS"/>
              </a:rPr>
              <a:t> </a:t>
            </a:r>
            <a:r>
              <a:rPr kumimoji="0" sz="900" b="0" i="0" u="none" strike="noStrike" kern="0" cap="none" spc="-10" normalizeH="0" baseline="0" noProof="0" dirty="0">
                <a:ln>
                  <a:noFill/>
                </a:ln>
                <a:solidFill>
                  <a:srgbClr val="585353"/>
                </a:solidFill>
                <a:effectLst/>
                <a:uLnTx/>
                <a:uFillTx/>
                <a:latin typeface="Trebuchet MS"/>
                <a:ea typeface="+mn-ea"/>
                <a:cs typeface="Trebuchet MS"/>
              </a:rPr>
              <a:t>1–</a:t>
            </a:r>
            <a:r>
              <a:rPr kumimoji="0" sz="900" b="0" i="0" u="none" strike="noStrike" kern="0" cap="none" spc="0" normalizeH="0" baseline="0" noProof="0" dirty="0">
                <a:ln>
                  <a:noFill/>
                </a:ln>
                <a:solidFill>
                  <a:srgbClr val="585353"/>
                </a:solidFill>
                <a:effectLst/>
                <a:uLnTx/>
                <a:uFillTx/>
                <a:latin typeface="Trebuchet MS"/>
                <a:ea typeface="+mn-ea"/>
                <a:cs typeface="Trebuchet MS"/>
              </a:rPr>
              <a:t>2</a:t>
            </a:r>
            <a:r>
              <a:rPr kumimoji="0" sz="900" b="0" i="0" u="none" strike="noStrike" kern="0" cap="none" spc="-2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with</a:t>
            </a:r>
            <a:r>
              <a:rPr kumimoji="0" sz="900" b="0" i="0" u="none" strike="noStrike" kern="0" cap="none" spc="-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a:t>
            </a:r>
            <a:r>
              <a:rPr kumimoji="0" sz="900" b="0" i="0" u="none" strike="noStrike" kern="0" cap="none" spc="-2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1</a:t>
            </a:r>
            <a:r>
              <a:rPr kumimoji="0" sz="900" b="0" i="0" u="none" strike="noStrike" kern="0" cap="none" spc="-1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lesion</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with</a:t>
            </a:r>
            <a:r>
              <a:rPr kumimoji="0" sz="900" b="0" i="0" u="none" strike="noStrike" kern="0" cap="none" spc="-1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a</a:t>
            </a:r>
            <a:r>
              <a:rPr kumimoji="0" sz="900" b="0" i="0" u="none" strike="noStrike" kern="0" cap="none" spc="-1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maximum diameter</a:t>
            </a:r>
            <a:r>
              <a:rPr kumimoji="0" sz="900" b="0" i="0" u="none" strike="noStrike" kern="0" cap="none" spc="-5" normalizeH="0" baseline="0" noProof="0" dirty="0">
                <a:ln>
                  <a:noFill/>
                </a:ln>
                <a:solidFill>
                  <a:srgbClr val="585353"/>
                </a:solidFill>
                <a:effectLst/>
                <a:uLnTx/>
                <a:uFillTx/>
                <a:latin typeface="Trebuchet MS"/>
                <a:ea typeface="+mn-ea"/>
                <a:cs typeface="Trebuchet MS"/>
              </a:rPr>
              <a:t> </a:t>
            </a:r>
            <a:r>
              <a:rPr kumimoji="0" sz="900" b="0" i="0" u="none" strike="noStrike" kern="0" cap="none" spc="-50" normalizeH="0" baseline="0" noProof="0" dirty="0">
                <a:ln>
                  <a:noFill/>
                </a:ln>
                <a:solidFill>
                  <a:srgbClr val="585353"/>
                </a:solidFill>
                <a:effectLst/>
                <a:uLnTx/>
                <a:uFillTx/>
                <a:latin typeface="Trebuchet MS"/>
                <a:ea typeface="+mn-ea"/>
                <a:cs typeface="Trebuchet MS"/>
              </a:rPr>
              <a:t>≥</a:t>
            </a:r>
            <a:r>
              <a:rPr kumimoji="0" sz="900" b="0" i="0" u="none" strike="noStrike" kern="0" cap="none" spc="50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7</a:t>
            </a:r>
            <a:r>
              <a:rPr kumimoji="0" sz="900" b="0" i="0" u="none" strike="noStrike" kern="0" cap="none" spc="-2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cm</a:t>
            </a:r>
            <a:r>
              <a:rPr kumimoji="0" sz="900" b="0" i="0" u="none" strike="noStrike" kern="0" cap="none" spc="-1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and/or</a:t>
            </a:r>
            <a:r>
              <a:rPr kumimoji="0" sz="900" b="0" i="0" u="none" strike="noStrike" kern="0" cap="none" spc="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screening</a:t>
            </a:r>
            <a:r>
              <a:rPr kumimoji="0" sz="900" b="0" i="0" u="none" strike="noStrike" kern="0" cap="none" spc="-2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LDH</a:t>
            </a:r>
            <a:r>
              <a:rPr kumimoji="0" sz="900" b="0" i="0" u="none" strike="noStrike" kern="0" cap="none" spc="-3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a:t>
            </a:r>
            <a:r>
              <a:rPr kumimoji="0" sz="900" b="0" i="0" u="none" strike="noStrike" kern="0" cap="none" spc="-1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1.3</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x</a:t>
            </a:r>
            <a:r>
              <a:rPr kumimoji="0" sz="900" b="0" i="0" u="none" strike="noStrike" kern="0" cap="none" spc="-1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ULN.</a:t>
            </a:r>
            <a:r>
              <a:rPr kumimoji="0" sz="900" b="0" i="0" u="none" strike="noStrike" kern="0" cap="none" spc="-3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COO,</a:t>
            </a:r>
            <a:r>
              <a:rPr kumimoji="0" sz="900" b="0" i="0" u="none" strike="noStrike" kern="0" cap="none" spc="-2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cell</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of</a:t>
            </a:r>
            <a:r>
              <a:rPr kumimoji="0" sz="900" b="0" i="0" u="none" strike="noStrike" kern="0" cap="none" spc="-1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origin;</a:t>
            </a:r>
            <a:r>
              <a:rPr kumimoji="0" sz="900" b="0" i="0" u="none" strike="noStrike" kern="0" cap="none" spc="-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CMR,</a:t>
            </a:r>
            <a:r>
              <a:rPr kumimoji="0" sz="900" b="0" i="0" u="none" strike="noStrike" kern="0" cap="none" spc="-2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complete</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metabolic</a:t>
            </a:r>
            <a:r>
              <a:rPr kumimoji="0" sz="900" b="0" i="0" u="none" strike="noStrike" kern="0" cap="none" spc="1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response;</a:t>
            </a:r>
            <a:r>
              <a:rPr kumimoji="0" sz="900" b="0" i="0" u="none" strike="noStrike" kern="0" cap="none" spc="-3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DOR,</a:t>
            </a:r>
            <a:r>
              <a:rPr kumimoji="0" sz="900" b="0" i="0" u="none" strike="noStrike" kern="0" cap="none" spc="-2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duration</a:t>
            </a:r>
            <a:r>
              <a:rPr kumimoji="0" sz="900" b="0" i="0" u="none" strike="noStrike" kern="0" cap="none" spc="-1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of</a:t>
            </a:r>
            <a:r>
              <a:rPr kumimoji="0" sz="900" b="0" i="0" u="none" strike="noStrike" kern="0" cap="none" spc="-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response;</a:t>
            </a:r>
            <a:r>
              <a:rPr kumimoji="0" sz="900" b="0" i="0" u="none" strike="noStrike" kern="0" cap="none" spc="-2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GCB,</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germinal</a:t>
            </a:r>
            <a:r>
              <a:rPr kumimoji="0" sz="900" b="0" i="0" u="none" strike="noStrike" kern="0" cap="none" spc="-1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center</a:t>
            </a:r>
            <a:r>
              <a:rPr kumimoji="0" sz="900" b="0" i="0" u="none" strike="noStrike" kern="0" cap="none" spc="-30" normalizeH="0" baseline="0" noProof="0" dirty="0">
                <a:ln>
                  <a:noFill/>
                </a:ln>
                <a:solidFill>
                  <a:srgbClr val="585353"/>
                </a:solidFill>
                <a:effectLst/>
                <a:uLnTx/>
                <a:uFillTx/>
                <a:latin typeface="Trebuchet MS"/>
                <a:ea typeface="+mn-ea"/>
                <a:cs typeface="Trebuchet MS"/>
              </a:rPr>
              <a:t> </a:t>
            </a:r>
            <a:r>
              <a:rPr kumimoji="0" sz="900" b="0" i="0" u="none" strike="noStrike" kern="0" cap="none" spc="-10" normalizeH="0" baseline="0" noProof="0" dirty="0">
                <a:ln>
                  <a:noFill/>
                </a:ln>
                <a:solidFill>
                  <a:srgbClr val="585353"/>
                </a:solidFill>
                <a:effectLst/>
                <a:uLnTx/>
                <a:uFillTx/>
                <a:latin typeface="Trebuchet MS"/>
                <a:ea typeface="+mn-ea"/>
                <a:cs typeface="Trebuchet MS"/>
              </a:rPr>
              <a:t>B-</a:t>
            </a:r>
            <a:r>
              <a:rPr kumimoji="0" sz="900" b="0" i="0" u="none" strike="noStrike" kern="0" cap="none" spc="0" normalizeH="0" baseline="0" noProof="0" dirty="0">
                <a:ln>
                  <a:noFill/>
                </a:ln>
                <a:solidFill>
                  <a:srgbClr val="585353"/>
                </a:solidFill>
                <a:effectLst/>
                <a:uLnTx/>
                <a:uFillTx/>
                <a:latin typeface="Trebuchet MS"/>
                <a:ea typeface="+mn-ea"/>
                <a:cs typeface="Trebuchet MS"/>
              </a:rPr>
              <a:t>cell;</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NR,</a:t>
            </a:r>
            <a:r>
              <a:rPr kumimoji="0" sz="900" b="0" i="0" u="none" strike="noStrike" kern="0" cap="none" spc="-2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not</a:t>
            </a:r>
            <a:r>
              <a:rPr kumimoji="0" sz="900" b="0" i="0" u="none" strike="noStrike" kern="0" cap="none" spc="-2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reached;</a:t>
            </a:r>
            <a:r>
              <a:rPr kumimoji="0" sz="900" b="0" i="0" u="none" strike="noStrike" kern="0" cap="none" spc="-2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OS,</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overall</a:t>
            </a:r>
            <a:r>
              <a:rPr kumimoji="0" sz="900" b="0" i="0" u="none" strike="noStrike" kern="0" cap="none" spc="-1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survival;</a:t>
            </a:r>
            <a:r>
              <a:rPr kumimoji="0" sz="900" b="0" i="0" u="none" strike="noStrike" kern="0" cap="none" spc="-2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PD,</a:t>
            </a:r>
            <a:r>
              <a:rPr kumimoji="0" sz="900" b="0" i="0" u="none" strike="noStrike" kern="0" cap="none" spc="-35" normalizeH="0" baseline="0" noProof="0" dirty="0">
                <a:ln>
                  <a:noFill/>
                </a:ln>
                <a:solidFill>
                  <a:srgbClr val="585353"/>
                </a:solidFill>
                <a:effectLst/>
                <a:uLnTx/>
                <a:uFillTx/>
                <a:latin typeface="Trebuchet MS"/>
                <a:ea typeface="+mn-ea"/>
                <a:cs typeface="Trebuchet MS"/>
              </a:rPr>
              <a:t> </a:t>
            </a:r>
            <a:r>
              <a:rPr kumimoji="0" sz="900" b="0" i="0" u="none" strike="noStrike" kern="0" cap="none" spc="-10" normalizeH="0" baseline="0" noProof="0" dirty="0">
                <a:ln>
                  <a:noFill/>
                </a:ln>
                <a:solidFill>
                  <a:srgbClr val="585353"/>
                </a:solidFill>
                <a:effectLst/>
                <a:uLnTx/>
                <a:uFillTx/>
                <a:latin typeface="Trebuchet MS"/>
                <a:ea typeface="+mn-ea"/>
                <a:cs typeface="Trebuchet MS"/>
              </a:rPr>
              <a:t>progressive</a:t>
            </a:r>
            <a:endParaRPr kumimoji="0" sz="900" b="0" i="0" u="none" strike="noStrike" kern="0" cap="none" spc="0" normalizeH="0" baseline="0" noProof="0">
              <a:ln>
                <a:noFill/>
              </a:ln>
              <a:solidFill>
                <a:sysClr val="windowText" lastClr="000000"/>
              </a:solidFill>
              <a:effectLst/>
              <a:uLnTx/>
              <a:uFillTx/>
              <a:latin typeface="Trebuchet MS"/>
              <a:ea typeface="+mn-ea"/>
              <a:cs typeface="Trebuchet MS"/>
            </a:endParaRPr>
          </a:p>
        </p:txBody>
      </p:sp>
      <p:sp>
        <p:nvSpPr>
          <p:cNvPr id="191" name="object 191"/>
          <p:cNvSpPr txBox="1"/>
          <p:nvPr/>
        </p:nvSpPr>
        <p:spPr>
          <a:xfrm>
            <a:off x="365861" y="6297540"/>
            <a:ext cx="7742555" cy="525780"/>
          </a:xfrm>
          <a:prstGeom prst="rect">
            <a:avLst/>
          </a:prstGeom>
        </p:spPr>
        <p:txBody>
          <a:bodyPr vert="horz" wrap="square" lIns="0" tIns="5715" rIns="0" bIns="0" rtlCol="0">
            <a:spAutoFit/>
          </a:bodyPr>
          <a:lstStyle/>
          <a:p>
            <a:pPr marL="12700" marR="0" lvl="0" indent="0" algn="l" defTabSz="914400" rtl="0" eaLnBrk="1" fontAlgn="auto" latinLnBrk="0" hangingPunct="1">
              <a:lnSpc>
                <a:spcPct val="100000"/>
              </a:lnSpc>
              <a:spcBef>
                <a:spcPts val="45"/>
              </a:spcBef>
              <a:spcAft>
                <a:spcPts val="0"/>
              </a:spcAft>
              <a:buClrTx/>
              <a:buSzTx/>
              <a:buFontTx/>
              <a:buNone/>
              <a:tabLst/>
              <a:defRPr/>
            </a:pPr>
            <a:r>
              <a:rPr kumimoji="0" sz="900" b="0" i="0" u="none" strike="noStrike" kern="0" cap="none" spc="0" normalizeH="0" baseline="0" noProof="0" dirty="0">
                <a:ln>
                  <a:noFill/>
                </a:ln>
                <a:solidFill>
                  <a:srgbClr val="585353"/>
                </a:solidFill>
                <a:effectLst/>
                <a:uLnTx/>
                <a:uFillTx/>
                <a:latin typeface="Trebuchet MS"/>
                <a:ea typeface="+mn-ea"/>
                <a:cs typeface="Trebuchet MS"/>
              </a:rPr>
              <a:t>disease;</a:t>
            </a:r>
            <a:r>
              <a:rPr kumimoji="0" sz="900" b="0" i="0" u="none" strike="noStrike" kern="0" cap="none" spc="-1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PFS,</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10" normalizeH="0" baseline="0" noProof="0" dirty="0">
                <a:ln>
                  <a:noFill/>
                </a:ln>
                <a:solidFill>
                  <a:srgbClr val="585353"/>
                </a:solidFill>
                <a:effectLst/>
                <a:uLnTx/>
                <a:uFillTx/>
                <a:latin typeface="Trebuchet MS"/>
                <a:ea typeface="+mn-ea"/>
                <a:cs typeface="Trebuchet MS"/>
              </a:rPr>
              <a:t>progression-</a:t>
            </a:r>
            <a:r>
              <a:rPr kumimoji="0" sz="900" b="0" i="0" u="none" strike="noStrike" kern="0" cap="none" spc="0" normalizeH="0" baseline="0" noProof="0" dirty="0">
                <a:ln>
                  <a:noFill/>
                </a:ln>
                <a:solidFill>
                  <a:srgbClr val="585353"/>
                </a:solidFill>
                <a:effectLst/>
                <a:uLnTx/>
                <a:uFillTx/>
                <a:latin typeface="Trebuchet MS"/>
                <a:ea typeface="+mn-ea"/>
                <a:cs typeface="Trebuchet MS"/>
              </a:rPr>
              <a:t>free</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survival;</a:t>
            </a:r>
            <a:r>
              <a:rPr kumimoji="0" sz="900" b="0" i="0" u="none" strike="noStrike" kern="0" cap="none" spc="-1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PR,</a:t>
            </a:r>
            <a:r>
              <a:rPr kumimoji="0" sz="900" b="0" i="0" u="none" strike="noStrike" kern="0" cap="none" spc="-3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partial</a:t>
            </a:r>
            <a:r>
              <a:rPr kumimoji="0" sz="900" b="0" i="0" u="none" strike="noStrike" kern="0" cap="none" spc="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response;</a:t>
            </a:r>
            <a:r>
              <a:rPr kumimoji="0" sz="900" b="0" i="0" u="none" strike="noStrike" kern="0" cap="none" spc="-2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R-CHOP,</a:t>
            </a:r>
            <a:r>
              <a:rPr kumimoji="0" sz="900" b="0" i="0" u="none" strike="noStrike" kern="0" cap="none" spc="-4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rituximab, cyclophosphamide,</a:t>
            </a:r>
            <a:r>
              <a:rPr kumimoji="0" sz="900" b="0" i="0" u="none" strike="noStrike" kern="0" cap="none" spc="5" normalizeH="0" baseline="0" noProof="0" dirty="0">
                <a:ln>
                  <a:noFill/>
                </a:ln>
                <a:solidFill>
                  <a:srgbClr val="585353"/>
                </a:solidFill>
                <a:effectLst/>
                <a:uLnTx/>
                <a:uFillTx/>
                <a:latin typeface="Trebuchet MS"/>
                <a:ea typeface="+mn-ea"/>
                <a:cs typeface="Trebuchet MS"/>
              </a:rPr>
              <a:t> </a:t>
            </a:r>
            <a:r>
              <a:rPr kumimoji="0" sz="900" b="0" i="0" u="none" strike="noStrike" kern="0" cap="none" spc="-10" normalizeH="0" baseline="0" noProof="0" dirty="0">
                <a:ln>
                  <a:noFill/>
                </a:ln>
                <a:solidFill>
                  <a:srgbClr val="585353"/>
                </a:solidFill>
                <a:effectLst/>
                <a:uLnTx/>
                <a:uFillTx/>
                <a:latin typeface="Trebuchet MS"/>
                <a:ea typeface="+mn-ea"/>
                <a:cs typeface="Trebuchet MS"/>
              </a:rPr>
              <a:t>doxorubicin,</a:t>
            </a:r>
            <a:r>
              <a:rPr kumimoji="0" sz="900" b="0" i="0" u="none" strike="noStrike" kern="0" cap="none" spc="-1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vincristine, and</a:t>
            </a:r>
            <a:r>
              <a:rPr kumimoji="0" sz="900" b="0" i="0" u="none" strike="noStrike" kern="0" cap="none" spc="-15" normalizeH="0" baseline="0" noProof="0" dirty="0">
                <a:ln>
                  <a:noFill/>
                </a:ln>
                <a:solidFill>
                  <a:srgbClr val="585353"/>
                </a:solidFill>
                <a:effectLst/>
                <a:uLnTx/>
                <a:uFillTx/>
                <a:latin typeface="Trebuchet MS"/>
                <a:ea typeface="+mn-ea"/>
                <a:cs typeface="Trebuchet MS"/>
              </a:rPr>
              <a:t> </a:t>
            </a:r>
            <a:r>
              <a:rPr kumimoji="0" sz="900" b="0" i="0" u="none" strike="noStrike" kern="0" cap="none" spc="-10" normalizeH="0" baseline="0" noProof="0" dirty="0">
                <a:ln>
                  <a:noFill/>
                </a:ln>
                <a:solidFill>
                  <a:srgbClr val="585353"/>
                </a:solidFill>
                <a:effectLst/>
                <a:uLnTx/>
                <a:uFillTx/>
                <a:latin typeface="Trebuchet MS"/>
                <a:ea typeface="+mn-ea"/>
                <a:cs typeface="Trebuchet MS"/>
              </a:rPr>
              <a:t>prednisone.</a:t>
            </a:r>
            <a:endParaRPr kumimoji="0" sz="900" b="0" i="0" u="none" strike="noStrike" kern="0" cap="none" spc="0" normalizeH="0" baseline="0" noProof="0" dirty="0">
              <a:ln>
                <a:noFill/>
              </a:ln>
              <a:solidFill>
                <a:sysClr val="windowText" lastClr="000000"/>
              </a:solidFill>
              <a:effectLst/>
              <a:uLnTx/>
              <a:uFillTx/>
              <a:latin typeface="Trebuchet MS"/>
              <a:ea typeface="+mn-ea"/>
              <a:cs typeface="Trebuchet MS"/>
            </a:endParaRPr>
          </a:p>
          <a:p>
            <a:pPr marL="12700" marR="0" lvl="0" indent="0" algn="l" defTabSz="914400" rtl="0" eaLnBrk="1" fontAlgn="auto" latinLnBrk="0" hangingPunct="1">
              <a:lnSpc>
                <a:spcPct val="100000"/>
              </a:lnSpc>
              <a:spcBef>
                <a:spcPts val="0"/>
              </a:spcBef>
              <a:spcAft>
                <a:spcPts val="0"/>
              </a:spcAft>
              <a:buClrTx/>
              <a:buSzTx/>
              <a:buFontTx/>
              <a:buNone/>
              <a:tabLst/>
              <a:defRPr/>
            </a:pPr>
            <a:r>
              <a:rPr kumimoji="0" sz="900" b="0" i="0" u="none" strike="noStrike" kern="0" cap="none" spc="0" normalizeH="0" baseline="0" noProof="0" dirty="0">
                <a:ln>
                  <a:noFill/>
                </a:ln>
                <a:solidFill>
                  <a:srgbClr val="585353"/>
                </a:solidFill>
                <a:effectLst/>
                <a:uLnTx/>
                <a:uFillTx/>
                <a:latin typeface="Trebuchet MS"/>
                <a:ea typeface="+mn-ea"/>
                <a:cs typeface="Trebuchet MS"/>
              </a:rPr>
              <a:t>1.</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Amzallag</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A,</a:t>
            </a:r>
            <a:r>
              <a:rPr kumimoji="0" sz="900" b="0" i="0" u="none" strike="noStrike" kern="0" cap="none" spc="-4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et</a:t>
            </a:r>
            <a:r>
              <a:rPr kumimoji="0" sz="900" b="0" i="0" u="none" strike="noStrike" kern="0" cap="none" spc="-2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al.</a:t>
            </a:r>
            <a:r>
              <a:rPr kumimoji="0" sz="900" b="0" i="0" u="none" strike="noStrike" kern="0" cap="none" spc="-1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Oral</a:t>
            </a:r>
            <a:r>
              <a:rPr kumimoji="0" sz="900" b="0" i="0" u="none" strike="noStrike" kern="0" cap="none" spc="-3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presentation</a:t>
            </a:r>
            <a:r>
              <a:rPr kumimoji="0" sz="900" b="0" i="0" u="none" strike="noStrike" kern="0" cap="none" spc="-1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at</a:t>
            </a:r>
            <a:r>
              <a:rPr kumimoji="0" sz="900" b="0" i="0" u="none" strike="noStrike" kern="0" cap="none" spc="-1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the</a:t>
            </a:r>
            <a:r>
              <a:rPr kumimoji="0" sz="900" b="0" i="0" u="none" strike="noStrike" kern="0" cap="none" spc="-3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American</a:t>
            </a:r>
            <a:r>
              <a:rPr kumimoji="0" sz="900" b="0" i="0" u="none" strike="noStrike" kern="0" cap="none" spc="-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Society</a:t>
            </a:r>
            <a:r>
              <a:rPr kumimoji="0" sz="900" b="0" i="0" u="none" strike="noStrike" kern="0" cap="none" spc="-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of</a:t>
            </a:r>
            <a:r>
              <a:rPr kumimoji="0" sz="900" b="0" i="0" u="none" strike="noStrike" kern="0" cap="none" spc="-1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Hematology</a:t>
            </a:r>
            <a:r>
              <a:rPr kumimoji="0" sz="900" b="0" i="0" u="none" strike="noStrike" kern="0" cap="none" spc="-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ASH)</a:t>
            </a:r>
            <a:r>
              <a:rPr kumimoji="0" sz="900" b="0" i="0" u="none" strike="noStrike" kern="0" cap="none" spc="-4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Annual</a:t>
            </a:r>
            <a:r>
              <a:rPr kumimoji="0" sz="900" b="0" i="0" u="none" strike="noStrike" kern="0" cap="none" spc="-3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Meeting;</a:t>
            </a:r>
            <a:r>
              <a:rPr kumimoji="0" sz="900" b="0" i="0" u="none" strike="noStrike" kern="0" cap="none" spc="-3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December</a:t>
            </a:r>
            <a:r>
              <a:rPr kumimoji="0" sz="900" b="0" i="0" u="none" strike="noStrike" kern="0" cap="none" spc="-3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6-9,</a:t>
            </a:r>
            <a:r>
              <a:rPr kumimoji="0" sz="900" b="0" i="0" u="none" strike="noStrike" kern="0" cap="none" spc="-2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2024;</a:t>
            </a:r>
            <a:r>
              <a:rPr kumimoji="0" sz="900" b="0" i="0" u="none" strike="noStrike" kern="0" cap="none" spc="-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Orlando,</a:t>
            </a:r>
            <a:r>
              <a:rPr kumimoji="0" sz="900" b="0" i="0" u="none" strike="noStrike" kern="0" cap="none" spc="-3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FL.</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Abstract</a:t>
            </a:r>
            <a:r>
              <a:rPr kumimoji="0" sz="900" b="0" i="0" u="none" strike="noStrike" kern="0" cap="none" spc="-15" normalizeH="0" baseline="0" noProof="0" dirty="0">
                <a:ln>
                  <a:noFill/>
                </a:ln>
                <a:solidFill>
                  <a:srgbClr val="585353"/>
                </a:solidFill>
                <a:effectLst/>
                <a:uLnTx/>
                <a:uFillTx/>
                <a:latin typeface="Trebuchet MS"/>
                <a:ea typeface="+mn-ea"/>
                <a:cs typeface="Trebuchet MS"/>
              </a:rPr>
              <a:t> </a:t>
            </a:r>
            <a:r>
              <a:rPr kumimoji="0" sz="900" b="0" i="0" u="none" strike="noStrike" kern="0" cap="none" spc="-20" normalizeH="0" baseline="0" noProof="0" dirty="0">
                <a:ln>
                  <a:noFill/>
                </a:ln>
                <a:solidFill>
                  <a:srgbClr val="585353"/>
                </a:solidFill>
                <a:effectLst/>
                <a:uLnTx/>
                <a:uFillTx/>
                <a:latin typeface="Trebuchet MS"/>
                <a:ea typeface="+mn-ea"/>
                <a:cs typeface="Trebuchet MS"/>
              </a:rPr>
              <a:t>579.</a:t>
            </a:r>
            <a:endParaRPr kumimoji="0" sz="900" b="0" i="0" u="none" strike="noStrike" kern="0" cap="none" spc="0" normalizeH="0" baseline="0" noProof="0" dirty="0">
              <a:ln>
                <a:noFill/>
              </a:ln>
              <a:solidFill>
                <a:sysClr val="windowText" lastClr="000000"/>
              </a:solidFill>
              <a:effectLst/>
              <a:uLnTx/>
              <a:uFillTx/>
              <a:latin typeface="Trebuchet MS"/>
              <a:ea typeface="+mn-ea"/>
              <a:cs typeface="Trebuchet MS"/>
            </a:endParaRPr>
          </a:p>
          <a:p>
            <a:pPr marL="4144645" marR="0" lvl="0" indent="0" algn="l" defTabSz="914400" rtl="0" eaLnBrk="1" fontAlgn="auto" latinLnBrk="0" hangingPunct="1">
              <a:lnSpc>
                <a:spcPct val="100000"/>
              </a:lnSpc>
              <a:spcBef>
                <a:spcPts val="484"/>
              </a:spcBef>
              <a:spcAft>
                <a:spcPts val="0"/>
              </a:spcAft>
              <a:buClrTx/>
              <a:buSzTx/>
              <a:buFontTx/>
              <a:buNone/>
              <a:tabLst/>
              <a:defRPr/>
            </a:pPr>
            <a:r>
              <a:rPr kumimoji="0" sz="1100" b="0" i="0" u="none" strike="noStrike" kern="0" cap="none" spc="0" normalizeH="0" baseline="0" noProof="0" dirty="0">
                <a:ln>
                  <a:noFill/>
                </a:ln>
                <a:solidFill>
                  <a:srgbClr val="585353"/>
                </a:solidFill>
                <a:effectLst/>
                <a:uLnTx/>
                <a:uFillTx/>
                <a:latin typeface="Trebuchet MS"/>
                <a:ea typeface="+mn-ea"/>
                <a:cs typeface="Trebuchet MS"/>
              </a:rPr>
              <a:t>Nowakowski</a:t>
            </a:r>
            <a:r>
              <a:rPr kumimoji="0" sz="1100" b="0" i="0" u="none" strike="noStrike" kern="0" cap="none" spc="-30" normalizeH="0" baseline="0" noProof="0" dirty="0">
                <a:ln>
                  <a:noFill/>
                </a:ln>
                <a:solidFill>
                  <a:srgbClr val="585353"/>
                </a:solidFill>
                <a:effectLst/>
                <a:uLnTx/>
                <a:uFillTx/>
                <a:latin typeface="Trebuchet MS"/>
                <a:ea typeface="+mn-ea"/>
                <a:cs typeface="Trebuchet MS"/>
              </a:rPr>
              <a:t> </a:t>
            </a:r>
            <a:r>
              <a:rPr kumimoji="0" sz="1100" b="0" i="0" u="none" strike="noStrike" kern="0" cap="none" spc="0" normalizeH="0" baseline="0" noProof="0" dirty="0">
                <a:ln>
                  <a:noFill/>
                </a:ln>
                <a:solidFill>
                  <a:srgbClr val="585353"/>
                </a:solidFill>
                <a:effectLst/>
                <a:uLnTx/>
                <a:uFillTx/>
                <a:latin typeface="Trebuchet MS"/>
                <a:ea typeface="+mn-ea"/>
                <a:cs typeface="Trebuchet MS"/>
              </a:rPr>
              <a:t>GS,</a:t>
            </a:r>
            <a:r>
              <a:rPr kumimoji="0" sz="1100" b="0" i="0" u="none" strike="noStrike" kern="0" cap="none" spc="-15" normalizeH="0" baseline="0" noProof="0" dirty="0">
                <a:ln>
                  <a:noFill/>
                </a:ln>
                <a:solidFill>
                  <a:srgbClr val="585353"/>
                </a:solidFill>
                <a:effectLst/>
                <a:uLnTx/>
                <a:uFillTx/>
                <a:latin typeface="Trebuchet MS"/>
                <a:ea typeface="+mn-ea"/>
                <a:cs typeface="Trebuchet MS"/>
              </a:rPr>
              <a:t> </a:t>
            </a:r>
            <a:r>
              <a:rPr kumimoji="0" sz="1100" b="0" i="0" u="none" strike="noStrike" kern="0" cap="none" spc="0" normalizeH="0" baseline="0" noProof="0" dirty="0">
                <a:ln>
                  <a:noFill/>
                </a:ln>
                <a:solidFill>
                  <a:srgbClr val="585353"/>
                </a:solidFill>
                <a:effectLst/>
                <a:uLnTx/>
                <a:uFillTx/>
                <a:latin typeface="Trebuchet MS"/>
                <a:ea typeface="+mn-ea"/>
                <a:cs typeface="Trebuchet MS"/>
              </a:rPr>
              <a:t>et</a:t>
            </a:r>
            <a:r>
              <a:rPr kumimoji="0" sz="1100" b="0" i="0" u="none" strike="noStrike" kern="0" cap="none" spc="-20" normalizeH="0" baseline="0" noProof="0" dirty="0">
                <a:ln>
                  <a:noFill/>
                </a:ln>
                <a:solidFill>
                  <a:srgbClr val="585353"/>
                </a:solidFill>
                <a:effectLst/>
                <a:uLnTx/>
                <a:uFillTx/>
                <a:latin typeface="Trebuchet MS"/>
                <a:ea typeface="+mn-ea"/>
                <a:cs typeface="Trebuchet MS"/>
              </a:rPr>
              <a:t> </a:t>
            </a:r>
            <a:r>
              <a:rPr kumimoji="0" sz="1100" b="0" i="0" u="none" strike="noStrike" kern="0" cap="none" spc="0" normalizeH="0" baseline="0" noProof="0" dirty="0">
                <a:ln>
                  <a:noFill/>
                </a:ln>
                <a:solidFill>
                  <a:srgbClr val="585353"/>
                </a:solidFill>
                <a:effectLst/>
                <a:uLnTx/>
                <a:uFillTx/>
                <a:latin typeface="Trebuchet MS"/>
                <a:ea typeface="+mn-ea"/>
                <a:cs typeface="Trebuchet MS"/>
              </a:rPr>
              <a:t>al.</a:t>
            </a:r>
            <a:r>
              <a:rPr kumimoji="0" sz="1100" b="0" i="0" u="none" strike="noStrike" kern="0" cap="none" spc="-20" normalizeH="0" baseline="0" noProof="0" dirty="0">
                <a:ln>
                  <a:noFill/>
                </a:ln>
                <a:solidFill>
                  <a:srgbClr val="585353"/>
                </a:solidFill>
                <a:effectLst/>
                <a:uLnTx/>
                <a:uFillTx/>
                <a:latin typeface="Trebuchet MS"/>
                <a:ea typeface="+mn-ea"/>
                <a:cs typeface="Trebuchet MS"/>
              </a:rPr>
              <a:t> </a:t>
            </a:r>
            <a:r>
              <a:rPr kumimoji="0" sz="1100" b="0" i="0" u="none" strike="noStrike" kern="0" cap="none" spc="0" normalizeH="0" baseline="0" noProof="0" dirty="0">
                <a:ln>
                  <a:noFill/>
                </a:ln>
                <a:solidFill>
                  <a:srgbClr val="585353"/>
                </a:solidFill>
                <a:effectLst/>
                <a:uLnTx/>
                <a:uFillTx/>
                <a:latin typeface="Trebuchet MS"/>
                <a:ea typeface="+mn-ea"/>
                <a:cs typeface="Trebuchet MS"/>
              </a:rPr>
              <a:t>ICML</a:t>
            </a:r>
            <a:r>
              <a:rPr kumimoji="0" sz="1100" b="0" i="0" u="none" strike="noStrike" kern="0" cap="none" spc="-40" normalizeH="0" baseline="0" noProof="0" dirty="0">
                <a:ln>
                  <a:noFill/>
                </a:ln>
                <a:solidFill>
                  <a:srgbClr val="585353"/>
                </a:solidFill>
                <a:effectLst/>
                <a:uLnTx/>
                <a:uFillTx/>
                <a:latin typeface="Trebuchet MS"/>
                <a:ea typeface="+mn-ea"/>
                <a:cs typeface="Trebuchet MS"/>
              </a:rPr>
              <a:t> </a:t>
            </a:r>
            <a:r>
              <a:rPr kumimoji="0" sz="1100" b="0" i="0" u="none" strike="noStrike" kern="0" cap="none" spc="0" normalizeH="0" baseline="0" noProof="0" dirty="0">
                <a:ln>
                  <a:noFill/>
                </a:ln>
                <a:solidFill>
                  <a:srgbClr val="585353"/>
                </a:solidFill>
                <a:effectLst/>
                <a:uLnTx/>
                <a:uFillTx/>
                <a:latin typeface="Trebuchet MS"/>
                <a:ea typeface="+mn-ea"/>
                <a:cs typeface="Trebuchet MS"/>
              </a:rPr>
              <a:t>2025</a:t>
            </a:r>
            <a:r>
              <a:rPr kumimoji="0" sz="1100" b="0" i="0" u="none" strike="noStrike" kern="0" cap="none" spc="-20" normalizeH="0" baseline="0" noProof="0" dirty="0">
                <a:ln>
                  <a:noFill/>
                </a:ln>
                <a:solidFill>
                  <a:srgbClr val="585353"/>
                </a:solidFill>
                <a:effectLst/>
                <a:uLnTx/>
                <a:uFillTx/>
                <a:latin typeface="Trebuchet MS"/>
                <a:ea typeface="+mn-ea"/>
                <a:cs typeface="Trebuchet MS"/>
              </a:rPr>
              <a:t> </a:t>
            </a:r>
            <a:r>
              <a:rPr kumimoji="0" sz="1100" b="0" i="0" u="none" strike="noStrike" kern="0" cap="none" spc="0" normalizeH="0" baseline="0" noProof="0" dirty="0">
                <a:ln>
                  <a:noFill/>
                </a:ln>
                <a:solidFill>
                  <a:srgbClr val="585353"/>
                </a:solidFill>
                <a:effectLst/>
                <a:uLnTx/>
                <a:uFillTx/>
                <a:latin typeface="Trebuchet MS"/>
                <a:ea typeface="+mn-ea"/>
                <a:cs typeface="Trebuchet MS"/>
              </a:rPr>
              <a:t>[Abstract</a:t>
            </a:r>
            <a:r>
              <a:rPr kumimoji="0" sz="1100" b="0" i="0" u="none" strike="noStrike" kern="0" cap="none" spc="-15" normalizeH="0" baseline="0" noProof="0" dirty="0">
                <a:ln>
                  <a:noFill/>
                </a:ln>
                <a:solidFill>
                  <a:srgbClr val="585353"/>
                </a:solidFill>
                <a:effectLst/>
                <a:uLnTx/>
                <a:uFillTx/>
                <a:latin typeface="Trebuchet MS"/>
                <a:ea typeface="+mn-ea"/>
                <a:cs typeface="Trebuchet MS"/>
              </a:rPr>
              <a:t> </a:t>
            </a:r>
            <a:r>
              <a:rPr kumimoji="0" sz="1100" b="0" i="0" u="none" strike="noStrike" kern="0" cap="none" spc="-10" normalizeH="0" baseline="0" noProof="0" dirty="0">
                <a:ln>
                  <a:noFill/>
                </a:ln>
                <a:solidFill>
                  <a:srgbClr val="585353"/>
                </a:solidFill>
                <a:effectLst/>
                <a:uLnTx/>
                <a:uFillTx/>
                <a:latin typeface="Trebuchet MS"/>
                <a:ea typeface="+mn-ea"/>
                <a:cs typeface="Trebuchet MS"/>
              </a:rPr>
              <a:t>#OT04]</a:t>
            </a:r>
            <a:endParaRPr kumimoji="0" sz="1100" b="0" i="0" u="none" strike="noStrike" kern="0" cap="none" spc="0" normalizeH="0" baseline="0" noProof="0" dirty="0">
              <a:ln>
                <a:noFill/>
              </a:ln>
              <a:solidFill>
                <a:sysClr val="windowText" lastClr="000000"/>
              </a:solidFill>
              <a:effectLst/>
              <a:uLnTx/>
              <a:uFillTx/>
              <a:latin typeface="Trebuchet MS"/>
              <a:ea typeface="+mn-ea"/>
              <a:cs typeface="Trebuchet MS"/>
            </a:endParaRPr>
          </a:p>
        </p:txBody>
      </p:sp>
      <p:sp>
        <p:nvSpPr>
          <p:cNvPr id="190" name="object 190"/>
          <p:cNvSpPr txBox="1"/>
          <p:nvPr/>
        </p:nvSpPr>
        <p:spPr>
          <a:xfrm>
            <a:off x="7310755" y="4077970"/>
            <a:ext cx="4342130" cy="452755"/>
          </a:xfrm>
          <a:prstGeom prst="rect">
            <a:avLst/>
          </a:prstGeom>
        </p:spPr>
        <p:txBody>
          <a:bodyPr vert="horz" wrap="square" lIns="0" tIns="12700" rIns="0" bIns="0" rtlCol="0">
            <a:spAutoFit/>
          </a:bodyPr>
          <a:lstStyle/>
          <a:p>
            <a:pPr marL="67310" marR="5080" lvl="0" indent="-55244" algn="l" defTabSz="914400" rtl="0" eaLnBrk="1" fontAlgn="auto" latinLnBrk="0" hangingPunct="1">
              <a:lnSpc>
                <a:spcPct val="100000"/>
              </a:lnSpc>
              <a:spcBef>
                <a:spcPts val="100"/>
              </a:spcBef>
              <a:spcAft>
                <a:spcPts val="0"/>
              </a:spcAft>
              <a:buClrTx/>
              <a:buSzTx/>
              <a:buFontTx/>
              <a:buNone/>
              <a:tabLst/>
              <a:defRPr/>
            </a:pPr>
            <a:r>
              <a:rPr kumimoji="0" sz="1400" b="0" i="0" u="none" strike="noStrike" kern="0" cap="none" spc="0" normalizeH="0" baseline="0" noProof="0" dirty="0">
                <a:ln>
                  <a:noFill/>
                </a:ln>
                <a:solidFill>
                  <a:srgbClr val="585353"/>
                </a:solidFill>
                <a:effectLst/>
                <a:uLnTx/>
                <a:uFillTx/>
                <a:latin typeface="Trebuchet MS"/>
                <a:ea typeface="+mn-ea"/>
                <a:cs typeface="Trebuchet MS"/>
              </a:rPr>
              <a:t>At</a:t>
            </a:r>
            <a:r>
              <a:rPr kumimoji="0" sz="1400" b="0" i="0" u="none" strike="noStrike" kern="0" cap="none" spc="-30" normalizeH="0" baseline="0" noProof="0" dirty="0">
                <a:ln>
                  <a:noFill/>
                </a:ln>
                <a:solidFill>
                  <a:srgbClr val="585353"/>
                </a:solidFill>
                <a:effectLst/>
                <a:uLnTx/>
                <a:uFillTx/>
                <a:latin typeface="Trebuchet MS"/>
                <a:ea typeface="+mn-ea"/>
                <a:cs typeface="Trebuchet MS"/>
              </a:rPr>
              <a:t> </a:t>
            </a:r>
            <a:r>
              <a:rPr kumimoji="0" sz="1400" b="0" i="0" u="none" strike="noStrike" kern="0" cap="none" spc="0" normalizeH="0" baseline="0" noProof="0" dirty="0">
                <a:ln>
                  <a:noFill/>
                </a:ln>
                <a:solidFill>
                  <a:srgbClr val="585353"/>
                </a:solidFill>
                <a:effectLst/>
                <a:uLnTx/>
                <a:uFillTx/>
                <a:latin typeface="Trebuchet MS"/>
                <a:ea typeface="+mn-ea"/>
                <a:cs typeface="Trebuchet MS"/>
              </a:rPr>
              <a:t>data</a:t>
            </a:r>
            <a:r>
              <a:rPr kumimoji="0" sz="1400" b="0" i="0" u="none" strike="noStrike" kern="0" cap="none" spc="-25" normalizeH="0" baseline="0" noProof="0" dirty="0">
                <a:ln>
                  <a:noFill/>
                </a:ln>
                <a:solidFill>
                  <a:srgbClr val="585353"/>
                </a:solidFill>
                <a:effectLst/>
                <a:uLnTx/>
                <a:uFillTx/>
                <a:latin typeface="Trebuchet MS"/>
                <a:ea typeface="+mn-ea"/>
                <a:cs typeface="Trebuchet MS"/>
              </a:rPr>
              <a:t> </a:t>
            </a:r>
            <a:r>
              <a:rPr kumimoji="0" sz="1400" b="0" i="0" u="none" strike="noStrike" kern="0" cap="none" spc="0" normalizeH="0" baseline="0" noProof="0" dirty="0">
                <a:ln>
                  <a:noFill/>
                </a:ln>
                <a:solidFill>
                  <a:srgbClr val="585353"/>
                </a:solidFill>
                <a:effectLst/>
                <a:uLnTx/>
                <a:uFillTx/>
                <a:latin typeface="Trebuchet MS"/>
                <a:ea typeface="+mn-ea"/>
                <a:cs typeface="Trebuchet MS"/>
              </a:rPr>
              <a:t>cutoff</a:t>
            </a:r>
            <a:r>
              <a:rPr kumimoji="0" sz="1400" b="0" i="0" u="none" strike="noStrike" kern="0" cap="none" spc="-55" normalizeH="0" baseline="0" noProof="0" dirty="0">
                <a:ln>
                  <a:noFill/>
                </a:ln>
                <a:solidFill>
                  <a:srgbClr val="585353"/>
                </a:solidFill>
                <a:effectLst/>
                <a:uLnTx/>
                <a:uFillTx/>
                <a:latin typeface="Trebuchet MS"/>
                <a:ea typeface="+mn-ea"/>
                <a:cs typeface="Trebuchet MS"/>
              </a:rPr>
              <a:t> </a:t>
            </a:r>
            <a:r>
              <a:rPr kumimoji="0" sz="1400" b="0" i="0" u="none" strike="noStrike" kern="0" cap="none" spc="0" normalizeH="0" baseline="0" noProof="0" dirty="0">
                <a:ln>
                  <a:noFill/>
                </a:ln>
                <a:solidFill>
                  <a:srgbClr val="585353"/>
                </a:solidFill>
                <a:effectLst/>
                <a:uLnTx/>
                <a:uFillTx/>
                <a:latin typeface="Trebuchet MS"/>
                <a:ea typeface="+mn-ea"/>
                <a:cs typeface="Trebuchet MS"/>
              </a:rPr>
              <a:t>(June,</a:t>
            </a:r>
            <a:r>
              <a:rPr kumimoji="0" sz="1400" b="0" i="0" u="none" strike="noStrike" kern="0" cap="none" spc="-60" normalizeH="0" baseline="0" noProof="0" dirty="0">
                <a:ln>
                  <a:noFill/>
                </a:ln>
                <a:solidFill>
                  <a:srgbClr val="585353"/>
                </a:solidFill>
                <a:effectLst/>
                <a:uLnTx/>
                <a:uFillTx/>
                <a:latin typeface="Trebuchet MS"/>
                <a:ea typeface="+mn-ea"/>
                <a:cs typeface="Trebuchet MS"/>
              </a:rPr>
              <a:t> </a:t>
            </a:r>
            <a:r>
              <a:rPr kumimoji="0" sz="1400" b="0" i="0" u="none" strike="noStrike" kern="0" cap="none" spc="0" normalizeH="0" baseline="0" noProof="0" dirty="0">
                <a:ln>
                  <a:noFill/>
                </a:ln>
                <a:solidFill>
                  <a:srgbClr val="585353"/>
                </a:solidFill>
                <a:effectLst/>
                <a:uLnTx/>
                <a:uFillTx/>
                <a:latin typeface="Trebuchet MS"/>
                <a:ea typeface="+mn-ea"/>
                <a:cs typeface="Trebuchet MS"/>
              </a:rPr>
              <a:t>2024),</a:t>
            </a:r>
            <a:r>
              <a:rPr kumimoji="0" sz="1400" b="0" i="0" u="none" strike="noStrike" kern="0" cap="none" spc="-5" normalizeH="0" baseline="0" noProof="0" dirty="0">
                <a:ln>
                  <a:noFill/>
                </a:ln>
                <a:solidFill>
                  <a:srgbClr val="585353"/>
                </a:solidFill>
                <a:effectLst/>
                <a:uLnTx/>
                <a:uFillTx/>
                <a:latin typeface="Trebuchet MS"/>
                <a:ea typeface="+mn-ea"/>
                <a:cs typeface="Trebuchet MS"/>
              </a:rPr>
              <a:t> </a:t>
            </a:r>
            <a:r>
              <a:rPr kumimoji="0" sz="1400" b="0" i="0" u="none" strike="noStrike" kern="0" cap="none" spc="0" normalizeH="0" baseline="0" noProof="0" dirty="0">
                <a:ln>
                  <a:noFill/>
                </a:ln>
                <a:solidFill>
                  <a:srgbClr val="585353"/>
                </a:solidFill>
                <a:effectLst/>
                <a:uLnTx/>
                <a:uFillTx/>
                <a:latin typeface="Trebuchet MS"/>
                <a:ea typeface="+mn-ea"/>
                <a:cs typeface="Trebuchet MS"/>
              </a:rPr>
              <a:t>median</a:t>
            </a:r>
            <a:r>
              <a:rPr kumimoji="0" sz="1400" b="0" i="0" u="none" strike="noStrike" kern="0" cap="none" spc="-25" normalizeH="0" baseline="0" noProof="0" dirty="0">
                <a:ln>
                  <a:noFill/>
                </a:ln>
                <a:solidFill>
                  <a:srgbClr val="585353"/>
                </a:solidFill>
                <a:effectLst/>
                <a:uLnTx/>
                <a:uFillTx/>
                <a:latin typeface="Trebuchet MS"/>
                <a:ea typeface="+mn-ea"/>
                <a:cs typeface="Trebuchet MS"/>
              </a:rPr>
              <a:t> </a:t>
            </a:r>
            <a:r>
              <a:rPr kumimoji="0" sz="1400" b="0" i="0" u="none" strike="noStrike" kern="0" cap="none" spc="0" normalizeH="0" baseline="0" noProof="0" dirty="0">
                <a:ln>
                  <a:noFill/>
                </a:ln>
                <a:solidFill>
                  <a:srgbClr val="585353"/>
                </a:solidFill>
                <a:effectLst/>
                <a:uLnTx/>
                <a:uFillTx/>
                <a:latin typeface="Trebuchet MS"/>
                <a:ea typeface="+mn-ea"/>
                <a:cs typeface="Trebuchet MS"/>
              </a:rPr>
              <a:t>(range)</a:t>
            </a:r>
            <a:r>
              <a:rPr kumimoji="0" sz="1400" b="0" i="0" u="none" strike="noStrike" kern="0" cap="none" spc="-40" normalizeH="0" baseline="0" noProof="0" dirty="0">
                <a:ln>
                  <a:noFill/>
                </a:ln>
                <a:solidFill>
                  <a:srgbClr val="585353"/>
                </a:solidFill>
                <a:effectLst/>
                <a:uLnTx/>
                <a:uFillTx/>
                <a:latin typeface="Trebuchet MS"/>
                <a:ea typeface="+mn-ea"/>
                <a:cs typeface="Trebuchet MS"/>
              </a:rPr>
              <a:t> </a:t>
            </a:r>
            <a:r>
              <a:rPr kumimoji="0" sz="1400" b="0" i="0" u="none" strike="noStrike" kern="0" cap="none" spc="0" normalizeH="0" baseline="0" noProof="0" dirty="0">
                <a:ln>
                  <a:noFill/>
                </a:ln>
                <a:solidFill>
                  <a:srgbClr val="585353"/>
                </a:solidFill>
                <a:effectLst/>
                <a:uLnTx/>
                <a:uFillTx/>
                <a:latin typeface="Trebuchet MS"/>
                <a:ea typeface="+mn-ea"/>
                <a:cs typeface="Trebuchet MS"/>
              </a:rPr>
              <a:t>follow-</a:t>
            </a:r>
            <a:r>
              <a:rPr kumimoji="0" sz="1400" b="0" i="0" u="none" strike="noStrike" kern="0" cap="none" spc="-25" normalizeH="0" baseline="0" noProof="0" dirty="0">
                <a:ln>
                  <a:noFill/>
                </a:ln>
                <a:solidFill>
                  <a:srgbClr val="585353"/>
                </a:solidFill>
                <a:effectLst/>
                <a:uLnTx/>
                <a:uFillTx/>
                <a:latin typeface="Trebuchet MS"/>
                <a:ea typeface="+mn-ea"/>
                <a:cs typeface="Trebuchet MS"/>
              </a:rPr>
              <a:t>up </a:t>
            </a:r>
            <a:r>
              <a:rPr kumimoji="0" sz="1400" b="0" i="0" u="none" strike="noStrike" kern="0" cap="none" spc="0" normalizeH="0" baseline="0" noProof="0" dirty="0">
                <a:ln>
                  <a:noFill/>
                </a:ln>
                <a:solidFill>
                  <a:srgbClr val="585353"/>
                </a:solidFill>
                <a:effectLst/>
                <a:uLnTx/>
                <a:uFillTx/>
                <a:latin typeface="Trebuchet MS"/>
                <a:ea typeface="+mn-ea"/>
                <a:cs typeface="Trebuchet MS"/>
              </a:rPr>
              <a:t>was</a:t>
            </a:r>
            <a:r>
              <a:rPr kumimoji="0" sz="1400" b="0" i="0" u="none" strike="noStrike" kern="0" cap="none" spc="-20" normalizeH="0" baseline="0" noProof="0" dirty="0">
                <a:ln>
                  <a:noFill/>
                </a:ln>
                <a:solidFill>
                  <a:srgbClr val="585353"/>
                </a:solidFill>
                <a:effectLst/>
                <a:uLnTx/>
                <a:uFillTx/>
                <a:latin typeface="Trebuchet MS"/>
                <a:ea typeface="+mn-ea"/>
                <a:cs typeface="Trebuchet MS"/>
              </a:rPr>
              <a:t> </a:t>
            </a:r>
            <a:r>
              <a:rPr kumimoji="0" sz="1400" b="0" i="0" u="none" strike="noStrike" kern="0" cap="none" spc="0" normalizeH="0" baseline="0" noProof="0" dirty="0">
                <a:ln>
                  <a:noFill/>
                </a:ln>
                <a:solidFill>
                  <a:srgbClr val="585353"/>
                </a:solidFill>
                <a:effectLst/>
                <a:uLnTx/>
                <a:uFillTx/>
                <a:latin typeface="Trebuchet MS"/>
                <a:ea typeface="+mn-ea"/>
                <a:cs typeface="Trebuchet MS"/>
              </a:rPr>
              <a:t>14.3 </a:t>
            </a:r>
            <a:r>
              <a:rPr kumimoji="0" sz="1400" b="0" i="0" u="none" strike="noStrike" kern="0" cap="none" spc="-10" normalizeH="0" baseline="0" noProof="0" dirty="0">
                <a:ln>
                  <a:noFill/>
                </a:ln>
                <a:solidFill>
                  <a:srgbClr val="585353"/>
                </a:solidFill>
                <a:effectLst/>
                <a:uLnTx/>
                <a:uFillTx/>
                <a:latin typeface="Trebuchet MS"/>
                <a:ea typeface="+mn-ea"/>
                <a:cs typeface="Trebuchet MS"/>
              </a:rPr>
              <a:t>(0.7–</a:t>
            </a:r>
            <a:r>
              <a:rPr kumimoji="0" sz="1400" b="0" i="0" u="none" strike="noStrike" kern="0" cap="none" spc="0" normalizeH="0" baseline="0" noProof="0" dirty="0">
                <a:ln>
                  <a:noFill/>
                </a:ln>
                <a:solidFill>
                  <a:srgbClr val="585353"/>
                </a:solidFill>
                <a:effectLst/>
                <a:uLnTx/>
                <a:uFillTx/>
                <a:latin typeface="Trebuchet MS"/>
                <a:ea typeface="+mn-ea"/>
                <a:cs typeface="Trebuchet MS"/>
              </a:rPr>
              <a:t>24.2)</a:t>
            </a:r>
            <a:r>
              <a:rPr kumimoji="0" sz="1400" b="0" i="0" u="none" strike="noStrike" kern="0" cap="none" spc="-10" normalizeH="0" baseline="0" noProof="0" dirty="0">
                <a:ln>
                  <a:noFill/>
                </a:ln>
                <a:solidFill>
                  <a:srgbClr val="585353"/>
                </a:solidFill>
                <a:effectLst/>
                <a:uLnTx/>
                <a:uFillTx/>
                <a:latin typeface="Trebuchet MS"/>
                <a:ea typeface="+mn-ea"/>
                <a:cs typeface="Trebuchet MS"/>
              </a:rPr>
              <a:t> </a:t>
            </a:r>
            <a:r>
              <a:rPr kumimoji="0" sz="1400" b="0" i="0" u="none" strike="noStrike" kern="0" cap="none" spc="0" normalizeH="0" baseline="0" noProof="0" dirty="0">
                <a:ln>
                  <a:noFill/>
                </a:ln>
                <a:solidFill>
                  <a:srgbClr val="585353"/>
                </a:solidFill>
                <a:effectLst/>
                <a:uLnTx/>
                <a:uFillTx/>
                <a:latin typeface="Trebuchet MS"/>
                <a:ea typeface="+mn-ea"/>
                <a:cs typeface="Trebuchet MS"/>
              </a:rPr>
              <a:t>months</a:t>
            </a:r>
            <a:r>
              <a:rPr kumimoji="0" sz="1400" b="0" i="0" u="none" strike="noStrike" kern="0" cap="none" spc="-30" normalizeH="0" baseline="0" noProof="0" dirty="0">
                <a:ln>
                  <a:noFill/>
                </a:ln>
                <a:solidFill>
                  <a:srgbClr val="585353"/>
                </a:solidFill>
                <a:effectLst/>
                <a:uLnTx/>
                <a:uFillTx/>
                <a:latin typeface="Trebuchet MS"/>
                <a:ea typeface="+mn-ea"/>
                <a:cs typeface="Trebuchet MS"/>
              </a:rPr>
              <a:t> </a:t>
            </a:r>
            <a:r>
              <a:rPr kumimoji="0" sz="1400" b="0" i="0" u="none" strike="noStrike" kern="0" cap="none" spc="0" normalizeH="0" baseline="0" noProof="0" dirty="0">
                <a:ln>
                  <a:noFill/>
                </a:ln>
                <a:solidFill>
                  <a:srgbClr val="585353"/>
                </a:solidFill>
                <a:effectLst/>
                <a:uLnTx/>
                <a:uFillTx/>
                <a:latin typeface="Trebuchet MS"/>
                <a:ea typeface="+mn-ea"/>
                <a:cs typeface="Trebuchet MS"/>
              </a:rPr>
              <a:t>in</a:t>
            </a:r>
            <a:r>
              <a:rPr kumimoji="0" sz="1400" b="0" i="0" u="none" strike="noStrike" kern="0" cap="none" spc="-20" normalizeH="0" baseline="0" noProof="0" dirty="0">
                <a:ln>
                  <a:noFill/>
                </a:ln>
                <a:solidFill>
                  <a:srgbClr val="585353"/>
                </a:solidFill>
                <a:effectLst/>
                <a:uLnTx/>
                <a:uFillTx/>
                <a:latin typeface="Trebuchet MS"/>
                <a:ea typeface="+mn-ea"/>
                <a:cs typeface="Trebuchet MS"/>
              </a:rPr>
              <a:t> </a:t>
            </a:r>
            <a:r>
              <a:rPr kumimoji="0" sz="1400" b="0" i="0" u="none" strike="noStrike" kern="0" cap="none" spc="0" normalizeH="0" baseline="0" noProof="0" dirty="0">
                <a:ln>
                  <a:noFill/>
                </a:ln>
                <a:solidFill>
                  <a:srgbClr val="585353"/>
                </a:solidFill>
                <a:effectLst/>
                <a:uLnTx/>
                <a:uFillTx/>
                <a:latin typeface="Trebuchet MS"/>
                <a:ea typeface="+mn-ea"/>
                <a:cs typeface="Trebuchet MS"/>
              </a:rPr>
              <a:t>the</a:t>
            </a:r>
            <a:r>
              <a:rPr kumimoji="0" sz="1400" b="0" i="0" u="none" strike="noStrike" kern="0" cap="none" spc="-25" normalizeH="0" baseline="0" noProof="0" dirty="0">
                <a:ln>
                  <a:noFill/>
                </a:ln>
                <a:solidFill>
                  <a:srgbClr val="585353"/>
                </a:solidFill>
                <a:effectLst/>
                <a:uLnTx/>
                <a:uFillTx/>
                <a:latin typeface="Trebuchet MS"/>
                <a:ea typeface="+mn-ea"/>
                <a:cs typeface="Trebuchet MS"/>
              </a:rPr>
              <a:t> </a:t>
            </a:r>
            <a:r>
              <a:rPr kumimoji="0" sz="1400" b="0" i="0" u="none" strike="noStrike" kern="0" cap="none" spc="0" normalizeH="0" baseline="0" noProof="0" dirty="0">
                <a:ln>
                  <a:noFill/>
                </a:ln>
                <a:solidFill>
                  <a:srgbClr val="585353"/>
                </a:solidFill>
                <a:effectLst/>
                <a:uLnTx/>
                <a:uFillTx/>
                <a:latin typeface="Trebuchet MS"/>
                <a:ea typeface="+mn-ea"/>
                <a:cs typeface="Trebuchet MS"/>
              </a:rPr>
              <a:t>overall</a:t>
            </a:r>
            <a:r>
              <a:rPr kumimoji="0" sz="1400" b="0" i="0" u="none" strike="noStrike" kern="0" cap="none" spc="-10" normalizeH="0" baseline="0" noProof="0" dirty="0">
                <a:ln>
                  <a:noFill/>
                </a:ln>
                <a:solidFill>
                  <a:srgbClr val="585353"/>
                </a:solidFill>
                <a:effectLst/>
                <a:uLnTx/>
                <a:uFillTx/>
                <a:latin typeface="Trebuchet MS"/>
                <a:ea typeface="+mn-ea"/>
                <a:cs typeface="Trebuchet MS"/>
              </a:rPr>
              <a:t> population</a:t>
            </a:r>
            <a:endParaRPr kumimoji="0" sz="1400" b="0" i="0" u="none" strike="noStrike" kern="0" cap="none" spc="0" normalizeH="0" baseline="0" noProof="0">
              <a:ln>
                <a:noFill/>
              </a:ln>
              <a:solidFill>
                <a:sysClr val="windowText" lastClr="000000"/>
              </a:solidFill>
              <a:effectLst/>
              <a:uLnTx/>
              <a:uFillTx/>
              <a:latin typeface="Trebuchet MS"/>
              <a:ea typeface="+mn-ea"/>
              <a:cs typeface="Trebuchet MS"/>
            </a:endParaRP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252984" y="1013460"/>
            <a:ext cx="11780520" cy="4525010"/>
            <a:chOff x="252984" y="1013460"/>
            <a:chExt cx="11780520" cy="4525010"/>
          </a:xfrm>
        </p:grpSpPr>
        <p:sp>
          <p:nvSpPr>
            <p:cNvPr id="3" name="object 3"/>
            <p:cNvSpPr/>
            <p:nvPr/>
          </p:nvSpPr>
          <p:spPr>
            <a:xfrm>
              <a:off x="252984" y="1013460"/>
              <a:ext cx="11780520" cy="4525010"/>
            </a:xfrm>
            <a:custGeom>
              <a:avLst/>
              <a:gdLst/>
              <a:ahLst/>
              <a:cxnLst/>
              <a:rect l="l" t="t" r="r" b="b"/>
              <a:pathLst>
                <a:path w="11780520" h="4525010">
                  <a:moveTo>
                    <a:pt x="11780520" y="0"/>
                  </a:moveTo>
                  <a:lnTo>
                    <a:pt x="0" y="0"/>
                  </a:lnTo>
                  <a:lnTo>
                    <a:pt x="0" y="4524756"/>
                  </a:lnTo>
                  <a:lnTo>
                    <a:pt x="11780520" y="4524756"/>
                  </a:lnTo>
                  <a:lnTo>
                    <a:pt x="11780520" y="0"/>
                  </a:lnTo>
                  <a:close/>
                </a:path>
              </a:pathLst>
            </a:custGeom>
            <a:solidFill>
              <a:srgbClr val="FFF6E7">
                <a:alpha val="5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 name="object 4"/>
            <p:cNvSpPr/>
            <p:nvPr/>
          </p:nvSpPr>
          <p:spPr>
            <a:xfrm>
              <a:off x="385571" y="1435608"/>
              <a:ext cx="2929255" cy="7620"/>
            </a:xfrm>
            <a:custGeom>
              <a:avLst/>
              <a:gdLst/>
              <a:ahLst/>
              <a:cxnLst/>
              <a:rect l="l" t="t" r="r" b="b"/>
              <a:pathLst>
                <a:path w="2929254" h="7619">
                  <a:moveTo>
                    <a:pt x="0" y="7620"/>
                  </a:moveTo>
                  <a:lnTo>
                    <a:pt x="2929128" y="7620"/>
                  </a:lnTo>
                  <a:lnTo>
                    <a:pt x="2929128" y="0"/>
                  </a:lnTo>
                  <a:lnTo>
                    <a:pt x="0" y="0"/>
                  </a:lnTo>
                  <a:lnTo>
                    <a:pt x="0" y="7620"/>
                  </a:lnTo>
                  <a:close/>
                </a:path>
              </a:pathLst>
            </a:custGeom>
            <a:solidFill>
              <a:srgbClr val="FDDDC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 name="object 5"/>
            <p:cNvSpPr/>
            <p:nvPr/>
          </p:nvSpPr>
          <p:spPr>
            <a:xfrm>
              <a:off x="5093207" y="4728972"/>
              <a:ext cx="5920740" cy="745490"/>
            </a:xfrm>
            <a:custGeom>
              <a:avLst/>
              <a:gdLst/>
              <a:ahLst/>
              <a:cxnLst/>
              <a:rect l="l" t="t" r="r" b="b"/>
              <a:pathLst>
                <a:path w="5920740" h="745489">
                  <a:moveTo>
                    <a:pt x="5700902" y="0"/>
                  </a:moveTo>
                  <a:lnTo>
                    <a:pt x="5700902" y="87248"/>
                  </a:lnTo>
                  <a:lnTo>
                    <a:pt x="0" y="87248"/>
                  </a:lnTo>
                  <a:lnTo>
                    <a:pt x="0" y="657986"/>
                  </a:lnTo>
                  <a:lnTo>
                    <a:pt x="5700902" y="657986"/>
                  </a:lnTo>
                  <a:lnTo>
                    <a:pt x="5700902" y="745235"/>
                  </a:lnTo>
                  <a:lnTo>
                    <a:pt x="5920740" y="372617"/>
                  </a:lnTo>
                  <a:lnTo>
                    <a:pt x="5700902"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 name="object 6"/>
            <p:cNvSpPr/>
            <p:nvPr/>
          </p:nvSpPr>
          <p:spPr>
            <a:xfrm>
              <a:off x="5093207" y="4728972"/>
              <a:ext cx="5920740" cy="745490"/>
            </a:xfrm>
            <a:custGeom>
              <a:avLst/>
              <a:gdLst/>
              <a:ahLst/>
              <a:cxnLst/>
              <a:rect l="l" t="t" r="r" b="b"/>
              <a:pathLst>
                <a:path w="5920740" h="745489">
                  <a:moveTo>
                    <a:pt x="0" y="87248"/>
                  </a:moveTo>
                  <a:lnTo>
                    <a:pt x="5700902" y="87248"/>
                  </a:lnTo>
                  <a:lnTo>
                    <a:pt x="5700902" y="0"/>
                  </a:lnTo>
                  <a:lnTo>
                    <a:pt x="5920740" y="372617"/>
                  </a:lnTo>
                  <a:lnTo>
                    <a:pt x="5700902" y="745235"/>
                  </a:lnTo>
                  <a:lnTo>
                    <a:pt x="5700902" y="657986"/>
                  </a:lnTo>
                  <a:lnTo>
                    <a:pt x="0" y="657986"/>
                  </a:lnTo>
                  <a:lnTo>
                    <a:pt x="0" y="87248"/>
                  </a:lnTo>
                  <a:close/>
                </a:path>
              </a:pathLst>
            </a:custGeom>
            <a:ln w="9525">
              <a:solidFill>
                <a:srgbClr val="58535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7" name="object 7" descr="$PPTXTitle"/>
          <p:cNvSpPr txBox="1">
            <a:spLocks noGrp="1"/>
          </p:cNvSpPr>
          <p:nvPr>
            <p:ph type="title"/>
          </p:nvPr>
        </p:nvSpPr>
        <p:spPr>
          <a:xfrm>
            <a:off x="386181" y="75438"/>
            <a:ext cx="11351260" cy="721351"/>
          </a:xfrm>
          <a:prstGeom prst="rect">
            <a:avLst/>
          </a:prstGeom>
        </p:spPr>
        <p:txBody>
          <a:bodyPr vert="horz" wrap="square" lIns="0" tIns="53975" rIns="0" bIns="0" rtlCol="0">
            <a:spAutoFit/>
          </a:bodyPr>
          <a:lstStyle/>
          <a:p>
            <a:pPr marL="38100" marR="5080">
              <a:lnSpc>
                <a:spcPts val="2590"/>
              </a:lnSpc>
              <a:spcBef>
                <a:spcPts val="425"/>
              </a:spcBef>
            </a:pPr>
            <a:r>
              <a:rPr spc="-10" dirty="0">
                <a:solidFill>
                  <a:srgbClr val="002060"/>
                </a:solidFill>
                <a:latin typeface="Calibri" panose="020F0502020204030204" pitchFamily="34" charset="0"/>
                <a:cs typeface="Calibri" panose="020F0502020204030204" pitchFamily="34" charset="0"/>
              </a:rPr>
              <a:t>GOLSEEK-</a:t>
            </a:r>
            <a:r>
              <a:rPr dirty="0">
                <a:solidFill>
                  <a:srgbClr val="002060"/>
                </a:solidFill>
                <a:latin typeface="Calibri" panose="020F0502020204030204" pitchFamily="34" charset="0"/>
                <a:cs typeface="Calibri" panose="020F0502020204030204" pitchFamily="34" charset="0"/>
              </a:rPr>
              <a:t>1</a:t>
            </a:r>
            <a:r>
              <a:rPr spc="-35" dirty="0">
                <a:solidFill>
                  <a:srgbClr val="002060"/>
                </a:solidFill>
                <a:latin typeface="Calibri" panose="020F0502020204030204" pitchFamily="34" charset="0"/>
                <a:cs typeface="Calibri" panose="020F0502020204030204" pitchFamily="34" charset="0"/>
              </a:rPr>
              <a:t> </a:t>
            </a:r>
            <a:r>
              <a:rPr dirty="0">
                <a:solidFill>
                  <a:srgbClr val="002060"/>
                </a:solidFill>
                <a:latin typeface="Calibri" panose="020F0502020204030204" pitchFamily="34" charset="0"/>
                <a:cs typeface="Calibri" panose="020F0502020204030204" pitchFamily="34" charset="0"/>
              </a:rPr>
              <a:t>(NCT06356129)</a:t>
            </a:r>
            <a:r>
              <a:rPr spc="5" dirty="0">
                <a:solidFill>
                  <a:srgbClr val="002060"/>
                </a:solidFill>
                <a:latin typeface="Calibri" panose="020F0502020204030204" pitchFamily="34" charset="0"/>
                <a:cs typeface="Calibri" panose="020F0502020204030204" pitchFamily="34" charset="0"/>
              </a:rPr>
              <a:t> </a:t>
            </a:r>
            <a:r>
              <a:rPr dirty="0">
                <a:solidFill>
                  <a:srgbClr val="002060"/>
                </a:solidFill>
                <a:latin typeface="Calibri" panose="020F0502020204030204" pitchFamily="34" charset="0"/>
                <a:cs typeface="Calibri" panose="020F0502020204030204" pitchFamily="34" charset="0"/>
              </a:rPr>
              <a:t>is</a:t>
            </a:r>
            <a:r>
              <a:rPr spc="-45" dirty="0">
                <a:solidFill>
                  <a:srgbClr val="002060"/>
                </a:solidFill>
                <a:latin typeface="Calibri" panose="020F0502020204030204" pitchFamily="34" charset="0"/>
                <a:cs typeface="Calibri" panose="020F0502020204030204" pitchFamily="34" charset="0"/>
              </a:rPr>
              <a:t> </a:t>
            </a:r>
            <a:r>
              <a:rPr dirty="0">
                <a:solidFill>
                  <a:srgbClr val="002060"/>
                </a:solidFill>
                <a:latin typeface="Calibri" panose="020F0502020204030204" pitchFamily="34" charset="0"/>
                <a:cs typeface="Calibri" panose="020F0502020204030204" pitchFamily="34" charset="0"/>
              </a:rPr>
              <a:t>a</a:t>
            </a:r>
            <a:r>
              <a:rPr spc="-55" dirty="0">
                <a:solidFill>
                  <a:srgbClr val="002060"/>
                </a:solidFill>
                <a:latin typeface="Calibri" panose="020F0502020204030204" pitchFamily="34" charset="0"/>
                <a:cs typeface="Calibri" panose="020F0502020204030204" pitchFamily="34" charset="0"/>
              </a:rPr>
              <a:t> </a:t>
            </a:r>
            <a:r>
              <a:rPr dirty="0">
                <a:solidFill>
                  <a:srgbClr val="002060"/>
                </a:solidFill>
                <a:latin typeface="Calibri" panose="020F0502020204030204" pitchFamily="34" charset="0"/>
                <a:cs typeface="Calibri" panose="020F0502020204030204" pitchFamily="34" charset="0"/>
              </a:rPr>
              <a:t>global,</a:t>
            </a:r>
            <a:r>
              <a:rPr spc="-85" dirty="0">
                <a:solidFill>
                  <a:srgbClr val="002060"/>
                </a:solidFill>
                <a:latin typeface="Calibri" panose="020F0502020204030204" pitchFamily="34" charset="0"/>
                <a:cs typeface="Calibri" panose="020F0502020204030204" pitchFamily="34" charset="0"/>
              </a:rPr>
              <a:t> </a:t>
            </a:r>
            <a:r>
              <a:rPr spc="-20" dirty="0">
                <a:solidFill>
                  <a:srgbClr val="002060"/>
                </a:solidFill>
                <a:latin typeface="Calibri" panose="020F0502020204030204" pitchFamily="34" charset="0"/>
                <a:cs typeface="Calibri" panose="020F0502020204030204" pitchFamily="34" charset="0"/>
              </a:rPr>
              <a:t>multicenter,</a:t>
            </a:r>
            <a:r>
              <a:rPr spc="-55" dirty="0">
                <a:solidFill>
                  <a:srgbClr val="002060"/>
                </a:solidFill>
                <a:latin typeface="Calibri" panose="020F0502020204030204" pitchFamily="34" charset="0"/>
                <a:cs typeface="Calibri" panose="020F0502020204030204" pitchFamily="34" charset="0"/>
              </a:rPr>
              <a:t> </a:t>
            </a:r>
            <a:r>
              <a:rPr dirty="0">
                <a:solidFill>
                  <a:srgbClr val="002060"/>
                </a:solidFill>
                <a:latin typeface="Calibri" panose="020F0502020204030204" pitchFamily="34" charset="0"/>
                <a:cs typeface="Calibri" panose="020F0502020204030204" pitchFamily="34" charset="0"/>
              </a:rPr>
              <a:t>randomized,</a:t>
            </a:r>
            <a:r>
              <a:rPr spc="-85" dirty="0">
                <a:solidFill>
                  <a:srgbClr val="002060"/>
                </a:solidFill>
                <a:latin typeface="Calibri" panose="020F0502020204030204" pitchFamily="34" charset="0"/>
                <a:cs typeface="Calibri" panose="020F0502020204030204" pitchFamily="34" charset="0"/>
              </a:rPr>
              <a:t> </a:t>
            </a:r>
            <a:r>
              <a:rPr dirty="0">
                <a:solidFill>
                  <a:srgbClr val="002060"/>
                </a:solidFill>
                <a:latin typeface="Calibri" panose="020F0502020204030204" pitchFamily="34" charset="0"/>
                <a:cs typeface="Calibri" panose="020F0502020204030204" pitchFamily="34" charset="0"/>
              </a:rPr>
              <a:t>Phase</a:t>
            </a:r>
            <a:r>
              <a:rPr spc="-45" dirty="0">
                <a:solidFill>
                  <a:srgbClr val="002060"/>
                </a:solidFill>
                <a:latin typeface="Calibri" panose="020F0502020204030204" pitchFamily="34" charset="0"/>
                <a:cs typeface="Calibri" panose="020F0502020204030204" pitchFamily="34" charset="0"/>
              </a:rPr>
              <a:t> </a:t>
            </a:r>
            <a:r>
              <a:rPr dirty="0">
                <a:solidFill>
                  <a:srgbClr val="002060"/>
                </a:solidFill>
                <a:latin typeface="Calibri" panose="020F0502020204030204" pitchFamily="34" charset="0"/>
                <a:cs typeface="Calibri" panose="020F0502020204030204" pitchFamily="34" charset="0"/>
              </a:rPr>
              <a:t>3</a:t>
            </a:r>
            <a:r>
              <a:rPr spc="-60" dirty="0">
                <a:solidFill>
                  <a:srgbClr val="002060"/>
                </a:solidFill>
                <a:latin typeface="Calibri" panose="020F0502020204030204" pitchFamily="34" charset="0"/>
                <a:cs typeface="Calibri" panose="020F0502020204030204" pitchFamily="34" charset="0"/>
              </a:rPr>
              <a:t> </a:t>
            </a:r>
            <a:r>
              <a:rPr spc="-10" dirty="0">
                <a:solidFill>
                  <a:srgbClr val="002060"/>
                </a:solidFill>
                <a:latin typeface="Calibri" panose="020F0502020204030204" pitchFamily="34" charset="0"/>
                <a:cs typeface="Calibri" panose="020F0502020204030204" pitchFamily="34" charset="0"/>
              </a:rPr>
              <a:t>study </a:t>
            </a:r>
            <a:r>
              <a:rPr dirty="0">
                <a:solidFill>
                  <a:srgbClr val="002060"/>
                </a:solidFill>
                <a:latin typeface="Calibri" panose="020F0502020204030204" pitchFamily="34" charset="0"/>
                <a:cs typeface="Calibri" panose="020F0502020204030204" pitchFamily="34" charset="0"/>
              </a:rPr>
              <a:t>of</a:t>
            </a:r>
            <a:r>
              <a:rPr spc="-10" dirty="0">
                <a:solidFill>
                  <a:srgbClr val="002060"/>
                </a:solidFill>
                <a:latin typeface="Calibri" panose="020F0502020204030204" pitchFamily="34" charset="0"/>
                <a:cs typeface="Calibri" panose="020F0502020204030204" pitchFamily="34" charset="0"/>
              </a:rPr>
              <a:t> </a:t>
            </a:r>
            <a:r>
              <a:rPr dirty="0">
                <a:solidFill>
                  <a:srgbClr val="002060"/>
                </a:solidFill>
                <a:latin typeface="Calibri" panose="020F0502020204030204" pitchFamily="34" charset="0"/>
                <a:cs typeface="Calibri" panose="020F0502020204030204" pitchFamily="34" charset="0"/>
              </a:rPr>
              <a:t>Golcadomide</a:t>
            </a:r>
            <a:r>
              <a:rPr spc="-15" dirty="0">
                <a:solidFill>
                  <a:srgbClr val="002060"/>
                </a:solidFill>
                <a:latin typeface="Calibri" panose="020F0502020204030204" pitchFamily="34" charset="0"/>
                <a:cs typeface="Calibri" panose="020F0502020204030204" pitchFamily="34" charset="0"/>
              </a:rPr>
              <a:t> </a:t>
            </a:r>
            <a:r>
              <a:rPr dirty="0">
                <a:solidFill>
                  <a:srgbClr val="002060"/>
                </a:solidFill>
                <a:latin typeface="Calibri" panose="020F0502020204030204" pitchFamily="34" charset="0"/>
                <a:cs typeface="Calibri" panose="020F0502020204030204" pitchFamily="34" charset="0"/>
              </a:rPr>
              <a:t>+</a:t>
            </a:r>
            <a:r>
              <a:rPr spc="-5" dirty="0">
                <a:solidFill>
                  <a:srgbClr val="002060"/>
                </a:solidFill>
                <a:latin typeface="Calibri" panose="020F0502020204030204" pitchFamily="34" charset="0"/>
                <a:cs typeface="Calibri" panose="020F0502020204030204" pitchFamily="34" charset="0"/>
              </a:rPr>
              <a:t> </a:t>
            </a:r>
            <a:r>
              <a:rPr spc="-20" dirty="0">
                <a:solidFill>
                  <a:srgbClr val="002060"/>
                </a:solidFill>
                <a:latin typeface="Calibri" panose="020F0502020204030204" pitchFamily="34" charset="0"/>
                <a:cs typeface="Calibri" panose="020F0502020204030204" pitchFamily="34" charset="0"/>
              </a:rPr>
              <a:t>R-</a:t>
            </a:r>
            <a:r>
              <a:rPr dirty="0">
                <a:solidFill>
                  <a:srgbClr val="002060"/>
                </a:solidFill>
                <a:latin typeface="Calibri" panose="020F0502020204030204" pitchFamily="34" charset="0"/>
                <a:cs typeface="Calibri" panose="020F0502020204030204" pitchFamily="34" charset="0"/>
              </a:rPr>
              <a:t>CHOP</a:t>
            </a:r>
            <a:r>
              <a:rPr spc="-60" dirty="0">
                <a:solidFill>
                  <a:srgbClr val="002060"/>
                </a:solidFill>
                <a:latin typeface="Calibri" panose="020F0502020204030204" pitchFamily="34" charset="0"/>
                <a:cs typeface="Calibri" panose="020F0502020204030204" pitchFamily="34" charset="0"/>
              </a:rPr>
              <a:t> </a:t>
            </a:r>
            <a:r>
              <a:rPr dirty="0">
                <a:solidFill>
                  <a:srgbClr val="002060"/>
                </a:solidFill>
                <a:latin typeface="Calibri" panose="020F0502020204030204" pitchFamily="34" charset="0"/>
                <a:cs typeface="Calibri" panose="020F0502020204030204" pitchFamily="34" charset="0"/>
              </a:rPr>
              <a:t>vs</a:t>
            </a:r>
            <a:r>
              <a:rPr spc="-10" dirty="0">
                <a:solidFill>
                  <a:srgbClr val="002060"/>
                </a:solidFill>
                <a:latin typeface="Calibri" panose="020F0502020204030204" pitchFamily="34" charset="0"/>
                <a:cs typeface="Calibri" panose="020F0502020204030204" pitchFamily="34" charset="0"/>
              </a:rPr>
              <a:t> R-</a:t>
            </a:r>
            <a:r>
              <a:rPr dirty="0">
                <a:solidFill>
                  <a:srgbClr val="002060"/>
                </a:solidFill>
                <a:latin typeface="Calibri" panose="020F0502020204030204" pitchFamily="34" charset="0"/>
                <a:cs typeface="Calibri" panose="020F0502020204030204" pitchFamily="34" charset="0"/>
              </a:rPr>
              <a:t>CHOP</a:t>
            </a:r>
            <a:r>
              <a:rPr spc="-60" dirty="0">
                <a:solidFill>
                  <a:srgbClr val="002060"/>
                </a:solidFill>
                <a:latin typeface="Calibri" panose="020F0502020204030204" pitchFamily="34" charset="0"/>
                <a:cs typeface="Calibri" panose="020F0502020204030204" pitchFamily="34" charset="0"/>
              </a:rPr>
              <a:t> </a:t>
            </a:r>
            <a:r>
              <a:rPr dirty="0">
                <a:solidFill>
                  <a:srgbClr val="002060"/>
                </a:solidFill>
                <a:latin typeface="Calibri" panose="020F0502020204030204" pitchFamily="34" charset="0"/>
                <a:cs typeface="Calibri" panose="020F0502020204030204" pitchFamily="34" charset="0"/>
              </a:rPr>
              <a:t>in</a:t>
            </a:r>
            <a:r>
              <a:rPr spc="-10" dirty="0">
                <a:solidFill>
                  <a:srgbClr val="002060"/>
                </a:solidFill>
                <a:latin typeface="Calibri" panose="020F0502020204030204" pitchFamily="34" charset="0"/>
                <a:cs typeface="Calibri" panose="020F0502020204030204" pitchFamily="34" charset="0"/>
              </a:rPr>
              <a:t> </a:t>
            </a:r>
            <a:r>
              <a:rPr dirty="0">
                <a:solidFill>
                  <a:srgbClr val="002060"/>
                </a:solidFill>
                <a:latin typeface="Calibri" panose="020F0502020204030204" pitchFamily="34" charset="0"/>
                <a:cs typeface="Calibri" panose="020F0502020204030204" pitchFamily="34" charset="0"/>
              </a:rPr>
              <a:t>previously</a:t>
            </a:r>
            <a:r>
              <a:rPr spc="-5" dirty="0">
                <a:solidFill>
                  <a:srgbClr val="002060"/>
                </a:solidFill>
                <a:latin typeface="Calibri" panose="020F0502020204030204" pitchFamily="34" charset="0"/>
                <a:cs typeface="Calibri" panose="020F0502020204030204" pitchFamily="34" charset="0"/>
              </a:rPr>
              <a:t> </a:t>
            </a:r>
            <a:r>
              <a:rPr dirty="0">
                <a:solidFill>
                  <a:srgbClr val="002060"/>
                </a:solidFill>
                <a:latin typeface="Calibri" panose="020F0502020204030204" pitchFamily="34" charset="0"/>
                <a:cs typeface="Calibri" panose="020F0502020204030204" pitchFamily="34" charset="0"/>
              </a:rPr>
              <a:t>untreated</a:t>
            </a:r>
            <a:r>
              <a:rPr spc="-30" dirty="0">
                <a:solidFill>
                  <a:srgbClr val="002060"/>
                </a:solidFill>
                <a:latin typeface="Calibri" panose="020F0502020204030204" pitchFamily="34" charset="0"/>
                <a:cs typeface="Calibri" panose="020F0502020204030204" pitchFamily="34" charset="0"/>
              </a:rPr>
              <a:t> </a:t>
            </a:r>
            <a:r>
              <a:rPr spc="-10" dirty="0">
                <a:solidFill>
                  <a:srgbClr val="002060"/>
                </a:solidFill>
                <a:latin typeface="Calibri" panose="020F0502020204030204" pitchFamily="34" charset="0"/>
                <a:cs typeface="Calibri" panose="020F0502020204030204" pitchFamily="34" charset="0"/>
              </a:rPr>
              <a:t>high-</a:t>
            </a:r>
            <a:r>
              <a:rPr dirty="0">
                <a:solidFill>
                  <a:srgbClr val="002060"/>
                </a:solidFill>
                <a:latin typeface="Calibri" panose="020F0502020204030204" pitchFamily="34" charset="0"/>
                <a:cs typeface="Calibri" panose="020F0502020204030204" pitchFamily="34" charset="0"/>
              </a:rPr>
              <a:t>risk</a:t>
            </a:r>
            <a:r>
              <a:rPr spc="-5" dirty="0">
                <a:solidFill>
                  <a:srgbClr val="002060"/>
                </a:solidFill>
                <a:latin typeface="Calibri" panose="020F0502020204030204" pitchFamily="34" charset="0"/>
                <a:cs typeface="Calibri" panose="020F0502020204030204" pitchFamily="34" charset="0"/>
              </a:rPr>
              <a:t> </a:t>
            </a:r>
            <a:r>
              <a:rPr spc="-20" dirty="0">
                <a:solidFill>
                  <a:srgbClr val="002060"/>
                </a:solidFill>
                <a:latin typeface="Calibri" panose="020F0502020204030204" pitchFamily="34" charset="0"/>
                <a:cs typeface="Calibri" panose="020F0502020204030204" pitchFamily="34" charset="0"/>
              </a:rPr>
              <a:t>LBCL</a:t>
            </a:r>
          </a:p>
        </p:txBody>
      </p:sp>
      <p:sp>
        <p:nvSpPr>
          <p:cNvPr id="8" name="object 8"/>
          <p:cNvSpPr txBox="1"/>
          <p:nvPr/>
        </p:nvSpPr>
        <p:spPr>
          <a:xfrm>
            <a:off x="6670293" y="4962525"/>
            <a:ext cx="2599055" cy="269240"/>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1600" b="1" i="0" u="none" strike="noStrike" kern="0" cap="none" spc="0" normalizeH="0" baseline="0" noProof="0" dirty="0">
                <a:ln>
                  <a:noFill/>
                </a:ln>
                <a:solidFill>
                  <a:srgbClr val="585353"/>
                </a:solidFill>
                <a:effectLst/>
                <a:uLnTx/>
                <a:uFillTx/>
                <a:latin typeface="Trebuchet MS"/>
                <a:ea typeface="+mn-ea"/>
                <a:cs typeface="Trebuchet MS"/>
              </a:rPr>
              <a:t>Study</a:t>
            </a:r>
            <a:r>
              <a:rPr kumimoji="0" sz="1600" b="1" i="0" u="none" strike="noStrike" kern="0" cap="none" spc="-15" normalizeH="0" baseline="0" noProof="0" dirty="0">
                <a:ln>
                  <a:noFill/>
                </a:ln>
                <a:solidFill>
                  <a:srgbClr val="585353"/>
                </a:solidFill>
                <a:effectLst/>
                <a:uLnTx/>
                <a:uFillTx/>
                <a:latin typeface="Trebuchet MS"/>
                <a:ea typeface="+mn-ea"/>
                <a:cs typeface="Trebuchet MS"/>
              </a:rPr>
              <a:t> </a:t>
            </a:r>
            <a:r>
              <a:rPr kumimoji="0" sz="1600" b="1" i="0" u="none" strike="noStrike" kern="0" cap="none" spc="-10" normalizeH="0" baseline="0" noProof="0" dirty="0">
                <a:ln>
                  <a:noFill/>
                </a:ln>
                <a:solidFill>
                  <a:srgbClr val="585353"/>
                </a:solidFill>
                <a:effectLst/>
                <a:uLnTx/>
                <a:uFillTx/>
                <a:latin typeface="Trebuchet MS"/>
                <a:ea typeface="+mn-ea"/>
                <a:cs typeface="Trebuchet MS"/>
              </a:rPr>
              <a:t>duration:</a:t>
            </a:r>
            <a:r>
              <a:rPr kumimoji="0" sz="1600" b="1" i="0" u="none" strike="noStrike" kern="0" cap="none" spc="-35" normalizeH="0" baseline="0" noProof="0" dirty="0">
                <a:ln>
                  <a:noFill/>
                </a:ln>
                <a:solidFill>
                  <a:srgbClr val="585353"/>
                </a:solidFill>
                <a:effectLst/>
                <a:uLnTx/>
                <a:uFillTx/>
                <a:latin typeface="Trebuchet MS"/>
                <a:ea typeface="+mn-ea"/>
                <a:cs typeface="Trebuchet MS"/>
              </a:rPr>
              <a:t> </a:t>
            </a:r>
            <a:r>
              <a:rPr kumimoji="0" sz="1600" b="0" i="0" u="none" strike="noStrike" kern="0" cap="none" spc="0" normalizeH="0" baseline="0" noProof="0" dirty="0">
                <a:ln>
                  <a:noFill/>
                </a:ln>
                <a:solidFill>
                  <a:srgbClr val="585353"/>
                </a:solidFill>
                <a:effectLst/>
                <a:uLnTx/>
                <a:uFillTx/>
                <a:latin typeface="Trebuchet MS"/>
                <a:ea typeface="+mn-ea"/>
                <a:cs typeface="Trebuchet MS"/>
              </a:rPr>
              <a:t>~67</a:t>
            </a:r>
            <a:r>
              <a:rPr kumimoji="0" sz="1600" b="0" i="0" u="none" strike="noStrike" kern="0" cap="none" spc="-25" normalizeH="0" baseline="0" noProof="0" dirty="0">
                <a:ln>
                  <a:noFill/>
                </a:ln>
                <a:solidFill>
                  <a:srgbClr val="585353"/>
                </a:solidFill>
                <a:effectLst/>
                <a:uLnTx/>
                <a:uFillTx/>
                <a:latin typeface="Trebuchet MS"/>
                <a:ea typeface="+mn-ea"/>
                <a:cs typeface="Trebuchet MS"/>
              </a:rPr>
              <a:t> </a:t>
            </a:r>
            <a:r>
              <a:rPr kumimoji="0" sz="1600" b="0" i="0" u="none" strike="noStrike" kern="0" cap="none" spc="-10" normalizeH="0" baseline="0" noProof="0" dirty="0">
                <a:ln>
                  <a:noFill/>
                </a:ln>
                <a:solidFill>
                  <a:srgbClr val="585353"/>
                </a:solidFill>
                <a:effectLst/>
                <a:uLnTx/>
                <a:uFillTx/>
                <a:latin typeface="Trebuchet MS"/>
                <a:ea typeface="+mn-ea"/>
                <a:cs typeface="Trebuchet MS"/>
              </a:rPr>
              <a:t>months</a:t>
            </a:r>
            <a:endParaRPr kumimoji="0" sz="1600" b="0" i="0" u="none" strike="noStrike" kern="0" cap="none" spc="0" normalizeH="0" baseline="0" noProof="0">
              <a:ln>
                <a:noFill/>
              </a:ln>
              <a:solidFill>
                <a:sysClr val="windowText" lastClr="000000"/>
              </a:solidFill>
              <a:effectLst/>
              <a:uLnTx/>
              <a:uFillTx/>
              <a:latin typeface="Trebuchet MS"/>
              <a:ea typeface="+mn-ea"/>
              <a:cs typeface="Trebuchet MS"/>
            </a:endParaRPr>
          </a:p>
        </p:txBody>
      </p:sp>
      <p:sp>
        <p:nvSpPr>
          <p:cNvPr id="9" name="object 9"/>
          <p:cNvSpPr/>
          <p:nvPr/>
        </p:nvSpPr>
        <p:spPr>
          <a:xfrm>
            <a:off x="5458967" y="3058667"/>
            <a:ext cx="2996565" cy="1346200"/>
          </a:xfrm>
          <a:custGeom>
            <a:avLst/>
            <a:gdLst/>
            <a:ahLst/>
            <a:cxnLst/>
            <a:rect l="l" t="t" r="r" b="b"/>
            <a:pathLst>
              <a:path w="2996565" h="1346200">
                <a:moveTo>
                  <a:pt x="2771902" y="0"/>
                </a:moveTo>
                <a:lnTo>
                  <a:pt x="224282" y="0"/>
                </a:lnTo>
                <a:lnTo>
                  <a:pt x="179093" y="4558"/>
                </a:lnTo>
                <a:lnTo>
                  <a:pt x="136999" y="17631"/>
                </a:lnTo>
                <a:lnTo>
                  <a:pt x="98902" y="38315"/>
                </a:lnTo>
                <a:lnTo>
                  <a:pt x="65706" y="65706"/>
                </a:lnTo>
                <a:lnTo>
                  <a:pt x="38315" y="98902"/>
                </a:lnTo>
                <a:lnTo>
                  <a:pt x="17631" y="136999"/>
                </a:lnTo>
                <a:lnTo>
                  <a:pt x="4558" y="179093"/>
                </a:lnTo>
                <a:lnTo>
                  <a:pt x="0" y="224282"/>
                </a:lnTo>
                <a:lnTo>
                  <a:pt x="0" y="1121410"/>
                </a:lnTo>
                <a:lnTo>
                  <a:pt x="4558" y="1166598"/>
                </a:lnTo>
                <a:lnTo>
                  <a:pt x="17631" y="1208692"/>
                </a:lnTo>
                <a:lnTo>
                  <a:pt x="38315" y="1246789"/>
                </a:lnTo>
                <a:lnTo>
                  <a:pt x="65706" y="1279985"/>
                </a:lnTo>
                <a:lnTo>
                  <a:pt x="98902" y="1307376"/>
                </a:lnTo>
                <a:lnTo>
                  <a:pt x="136999" y="1328060"/>
                </a:lnTo>
                <a:lnTo>
                  <a:pt x="179093" y="1341133"/>
                </a:lnTo>
                <a:lnTo>
                  <a:pt x="224282" y="1345692"/>
                </a:lnTo>
                <a:lnTo>
                  <a:pt x="2771902" y="1345692"/>
                </a:lnTo>
                <a:lnTo>
                  <a:pt x="2817090" y="1341133"/>
                </a:lnTo>
                <a:lnTo>
                  <a:pt x="2859184" y="1328060"/>
                </a:lnTo>
                <a:lnTo>
                  <a:pt x="2897281" y="1307376"/>
                </a:lnTo>
                <a:lnTo>
                  <a:pt x="2930477" y="1279985"/>
                </a:lnTo>
                <a:lnTo>
                  <a:pt x="2957868" y="1246789"/>
                </a:lnTo>
                <a:lnTo>
                  <a:pt x="2978552" y="1208692"/>
                </a:lnTo>
                <a:lnTo>
                  <a:pt x="2991625" y="1166598"/>
                </a:lnTo>
                <a:lnTo>
                  <a:pt x="2996184" y="1121410"/>
                </a:lnTo>
                <a:lnTo>
                  <a:pt x="2996184" y="224282"/>
                </a:lnTo>
                <a:lnTo>
                  <a:pt x="2991625" y="179093"/>
                </a:lnTo>
                <a:lnTo>
                  <a:pt x="2978552" y="136999"/>
                </a:lnTo>
                <a:lnTo>
                  <a:pt x="2957868" y="98902"/>
                </a:lnTo>
                <a:lnTo>
                  <a:pt x="2930477" y="65706"/>
                </a:lnTo>
                <a:lnTo>
                  <a:pt x="2897281" y="38315"/>
                </a:lnTo>
                <a:lnTo>
                  <a:pt x="2859184" y="17631"/>
                </a:lnTo>
                <a:lnTo>
                  <a:pt x="2817090" y="4558"/>
                </a:lnTo>
                <a:lnTo>
                  <a:pt x="2771902" y="0"/>
                </a:lnTo>
                <a:close/>
              </a:path>
            </a:pathLst>
          </a:custGeom>
          <a:solidFill>
            <a:srgbClr val="9D969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0" name="object 10"/>
          <p:cNvSpPr txBox="1"/>
          <p:nvPr/>
        </p:nvSpPr>
        <p:spPr>
          <a:xfrm>
            <a:off x="5669660" y="3346196"/>
            <a:ext cx="2665730" cy="760095"/>
          </a:xfrm>
          <a:prstGeom prst="rect">
            <a:avLst/>
          </a:prstGeom>
        </p:spPr>
        <p:txBody>
          <a:bodyPr vert="horz" wrap="square" lIns="0" tIns="13335" rIns="0" bIns="0" rtlCol="0">
            <a:spAutoFit/>
          </a:bodyPr>
          <a:lstStyle/>
          <a:p>
            <a:pPr marL="1905" marR="0" lvl="0" indent="0" algn="ctr" defTabSz="914400" rtl="0" eaLnBrk="1" fontAlgn="auto" latinLnBrk="0" hangingPunct="1">
              <a:lnSpc>
                <a:spcPts val="2370"/>
              </a:lnSpc>
              <a:spcBef>
                <a:spcPts val="105"/>
              </a:spcBef>
              <a:spcAft>
                <a:spcPts val="0"/>
              </a:spcAft>
              <a:buClrTx/>
              <a:buSzTx/>
              <a:buFontTx/>
              <a:buNone/>
              <a:tabLst/>
              <a:defRPr/>
            </a:pPr>
            <a:r>
              <a:rPr kumimoji="0" sz="2000" b="1" i="0" u="none" strike="noStrike" kern="0" cap="none" spc="0" normalizeH="0" baseline="0" noProof="0" dirty="0">
                <a:ln>
                  <a:noFill/>
                </a:ln>
                <a:solidFill>
                  <a:srgbClr val="FFFFFF"/>
                </a:solidFill>
                <a:effectLst/>
                <a:uLnTx/>
                <a:uFillTx/>
                <a:latin typeface="Trebuchet MS"/>
                <a:ea typeface="+mn-ea"/>
                <a:cs typeface="Trebuchet MS"/>
              </a:rPr>
              <a:t>Placebo</a:t>
            </a:r>
            <a:r>
              <a:rPr kumimoji="0" sz="2000" b="1" i="0" u="none" strike="noStrike" kern="0" cap="none" spc="-25" normalizeH="0" baseline="0" noProof="0" dirty="0">
                <a:ln>
                  <a:noFill/>
                </a:ln>
                <a:solidFill>
                  <a:srgbClr val="FFFFFF"/>
                </a:solidFill>
                <a:effectLst/>
                <a:uLnTx/>
                <a:uFillTx/>
                <a:latin typeface="Trebuchet MS"/>
                <a:ea typeface="+mn-ea"/>
                <a:cs typeface="Trebuchet MS"/>
              </a:rPr>
              <a:t> </a:t>
            </a:r>
            <a:r>
              <a:rPr kumimoji="0" sz="2000" b="1" i="0" u="none" strike="noStrike" kern="0" cap="none" spc="0" normalizeH="0" baseline="0" noProof="0" dirty="0">
                <a:ln>
                  <a:noFill/>
                </a:ln>
                <a:solidFill>
                  <a:srgbClr val="FFFFFF"/>
                </a:solidFill>
                <a:effectLst/>
                <a:uLnTx/>
                <a:uFillTx/>
                <a:latin typeface="Trebuchet MS"/>
                <a:ea typeface="+mn-ea"/>
                <a:cs typeface="Trebuchet MS"/>
              </a:rPr>
              <a:t>+</a:t>
            </a:r>
            <a:r>
              <a:rPr kumimoji="0" sz="2000" b="1" i="0" u="none" strike="noStrike" kern="0" cap="none" spc="-5" normalizeH="0" baseline="0" noProof="0" dirty="0">
                <a:ln>
                  <a:noFill/>
                </a:ln>
                <a:solidFill>
                  <a:srgbClr val="FFFFFF"/>
                </a:solidFill>
                <a:effectLst/>
                <a:uLnTx/>
                <a:uFillTx/>
                <a:latin typeface="Trebuchet MS"/>
                <a:ea typeface="+mn-ea"/>
                <a:cs typeface="Trebuchet MS"/>
              </a:rPr>
              <a:t> </a:t>
            </a:r>
            <a:r>
              <a:rPr kumimoji="0" sz="2000" b="1" i="0" u="none" strike="noStrike" kern="0" cap="none" spc="-20" normalizeH="0" baseline="0" noProof="0" dirty="0">
                <a:ln>
                  <a:noFill/>
                </a:ln>
                <a:solidFill>
                  <a:srgbClr val="FFFFFF"/>
                </a:solidFill>
                <a:effectLst/>
                <a:uLnTx/>
                <a:uFillTx/>
                <a:latin typeface="Trebuchet MS"/>
                <a:ea typeface="+mn-ea"/>
                <a:cs typeface="Trebuchet MS"/>
              </a:rPr>
              <a:t>R-CHOP</a:t>
            </a:r>
            <a:endParaRPr kumimoji="0" sz="2000" b="0" i="0" u="none" strike="noStrike" kern="0" cap="none" spc="0" normalizeH="0" baseline="0" noProof="0">
              <a:ln>
                <a:noFill/>
              </a:ln>
              <a:solidFill>
                <a:sysClr val="windowText" lastClr="000000"/>
              </a:solidFill>
              <a:effectLst/>
              <a:uLnTx/>
              <a:uFillTx/>
              <a:latin typeface="Trebuchet MS"/>
              <a:ea typeface="+mn-ea"/>
              <a:cs typeface="Trebuchet MS"/>
            </a:endParaRPr>
          </a:p>
          <a:p>
            <a:pPr marL="635" marR="0" lvl="0" indent="0" algn="ctr" defTabSz="914400" rtl="0" eaLnBrk="1" fontAlgn="auto" latinLnBrk="0" hangingPunct="1">
              <a:lnSpc>
                <a:spcPts val="1889"/>
              </a:lnSpc>
              <a:spcBef>
                <a:spcPts val="0"/>
              </a:spcBef>
              <a:spcAft>
                <a:spcPts val="0"/>
              </a:spcAft>
              <a:buClrTx/>
              <a:buSzTx/>
              <a:buFontTx/>
              <a:buNone/>
              <a:tabLst/>
              <a:defRPr/>
            </a:pPr>
            <a:r>
              <a:rPr kumimoji="0" sz="1600" b="0" i="0" u="none" strike="noStrike" kern="0" cap="none" spc="655" normalizeH="0" baseline="0" noProof="0" dirty="0">
                <a:ln>
                  <a:noFill/>
                </a:ln>
                <a:solidFill>
                  <a:srgbClr val="FFFFFF"/>
                </a:solidFill>
                <a:effectLst/>
                <a:uLnTx/>
                <a:uFillTx/>
                <a:latin typeface="Arial"/>
                <a:ea typeface="+mn-ea"/>
                <a:cs typeface="Arial"/>
              </a:rPr>
              <a:t>×</a:t>
            </a:r>
            <a:r>
              <a:rPr kumimoji="0" sz="1600" b="0" i="0" u="none" strike="noStrike" kern="0" cap="none" spc="40" normalizeH="0" baseline="0" noProof="0" dirty="0">
                <a:ln>
                  <a:noFill/>
                </a:ln>
                <a:solidFill>
                  <a:srgbClr val="FFFFFF"/>
                </a:solidFill>
                <a:effectLst/>
                <a:uLnTx/>
                <a:uFillTx/>
                <a:latin typeface="Arial"/>
                <a:ea typeface="+mn-ea"/>
                <a:cs typeface="Arial"/>
              </a:rPr>
              <a:t> </a:t>
            </a:r>
            <a:r>
              <a:rPr kumimoji="0" sz="1600" b="0" i="0" u="none" strike="noStrike" kern="0" cap="none" spc="0" normalizeH="0" baseline="0" noProof="0" dirty="0">
                <a:ln>
                  <a:noFill/>
                </a:ln>
                <a:solidFill>
                  <a:srgbClr val="FFFFFF"/>
                </a:solidFill>
                <a:effectLst/>
                <a:uLnTx/>
                <a:uFillTx/>
                <a:latin typeface="Trebuchet MS"/>
                <a:ea typeface="+mn-ea"/>
                <a:cs typeface="Trebuchet MS"/>
              </a:rPr>
              <a:t>6</a:t>
            </a:r>
            <a:r>
              <a:rPr kumimoji="0" sz="1600" b="0" i="0" u="none" strike="noStrike" kern="0" cap="none" spc="-10" normalizeH="0" baseline="0" noProof="0" dirty="0">
                <a:ln>
                  <a:noFill/>
                </a:ln>
                <a:solidFill>
                  <a:srgbClr val="FFFFFF"/>
                </a:solidFill>
                <a:effectLst/>
                <a:uLnTx/>
                <a:uFillTx/>
                <a:latin typeface="Trebuchet MS"/>
                <a:ea typeface="+mn-ea"/>
                <a:cs typeface="Trebuchet MS"/>
              </a:rPr>
              <a:t> cycles</a:t>
            </a:r>
            <a:endParaRPr kumimoji="0" sz="1600" b="0" i="0" u="none" strike="noStrike" kern="0" cap="none" spc="0" normalizeH="0" baseline="0" noProof="0">
              <a:ln>
                <a:noFill/>
              </a:ln>
              <a:solidFill>
                <a:sysClr val="windowText" lastClr="000000"/>
              </a:solidFill>
              <a:effectLst/>
              <a:uLnTx/>
              <a:uFillTx/>
              <a:latin typeface="Trebuchet MS"/>
              <a:ea typeface="+mn-ea"/>
              <a:cs typeface="Trebuchet MS"/>
            </a:endParaRPr>
          </a:p>
          <a:p>
            <a:pPr marL="0" marR="0" lvl="0" indent="0" algn="ctr" defTabSz="914400" rtl="0" eaLnBrk="1" fontAlgn="auto" latinLnBrk="0" hangingPunct="1">
              <a:lnSpc>
                <a:spcPct val="100000"/>
              </a:lnSpc>
              <a:spcBef>
                <a:spcPts val="75"/>
              </a:spcBef>
              <a:spcAft>
                <a:spcPts val="0"/>
              </a:spcAft>
              <a:buClrTx/>
              <a:buSzTx/>
              <a:buFontTx/>
              <a:buNone/>
              <a:tabLst/>
              <a:defRPr/>
            </a:pPr>
            <a:r>
              <a:rPr kumimoji="0" sz="1200" b="0" i="0" u="none" strike="noStrike" kern="0" cap="none" spc="0" normalizeH="0" baseline="0" noProof="0" dirty="0">
                <a:ln>
                  <a:noFill/>
                </a:ln>
                <a:solidFill>
                  <a:srgbClr val="FFFFFF"/>
                </a:solidFill>
                <a:effectLst/>
                <a:uLnTx/>
                <a:uFillTx/>
                <a:latin typeface="Trebuchet MS"/>
                <a:ea typeface="+mn-ea"/>
                <a:cs typeface="Trebuchet MS"/>
              </a:rPr>
              <a:t>(placebo</a:t>
            </a:r>
            <a:r>
              <a:rPr kumimoji="0" sz="1200" b="0" i="0" u="none" strike="noStrike" kern="0" cap="none" spc="-30" normalizeH="0" baseline="0" noProof="0" dirty="0">
                <a:ln>
                  <a:noFill/>
                </a:ln>
                <a:solidFill>
                  <a:srgbClr val="FFFFFF"/>
                </a:solidFill>
                <a:effectLst/>
                <a:uLnTx/>
                <a:uFillTx/>
                <a:latin typeface="Trebuchet MS"/>
                <a:ea typeface="+mn-ea"/>
                <a:cs typeface="Trebuchet MS"/>
              </a:rPr>
              <a:t> </a:t>
            </a:r>
            <a:r>
              <a:rPr kumimoji="0" sz="1200" b="0" i="0" u="none" strike="noStrike" kern="0" cap="none" spc="0" normalizeH="0" baseline="0" noProof="0" dirty="0">
                <a:ln>
                  <a:noFill/>
                </a:ln>
                <a:solidFill>
                  <a:srgbClr val="FFFFFF"/>
                </a:solidFill>
                <a:effectLst/>
                <a:uLnTx/>
                <a:uFillTx/>
                <a:latin typeface="Trebuchet MS"/>
                <a:ea typeface="+mn-ea"/>
                <a:cs typeface="Trebuchet MS"/>
              </a:rPr>
              <a:t>day</a:t>
            </a:r>
            <a:r>
              <a:rPr kumimoji="0" sz="1200" b="0" i="0" u="none" strike="noStrike" kern="0" cap="none" spc="-30" normalizeH="0" baseline="0" noProof="0" dirty="0">
                <a:ln>
                  <a:noFill/>
                </a:ln>
                <a:solidFill>
                  <a:srgbClr val="FFFFFF"/>
                </a:solidFill>
                <a:effectLst/>
                <a:uLnTx/>
                <a:uFillTx/>
                <a:latin typeface="Trebuchet MS"/>
                <a:ea typeface="+mn-ea"/>
                <a:cs typeface="Trebuchet MS"/>
              </a:rPr>
              <a:t> </a:t>
            </a:r>
            <a:r>
              <a:rPr kumimoji="0" sz="1200" b="0" i="0" u="none" strike="noStrike" kern="0" cap="none" spc="0" normalizeH="0" baseline="0" noProof="0" dirty="0">
                <a:ln>
                  <a:noFill/>
                </a:ln>
                <a:solidFill>
                  <a:srgbClr val="FFFFFF"/>
                </a:solidFill>
                <a:effectLst/>
                <a:uLnTx/>
                <a:uFillTx/>
                <a:latin typeface="Trebuchet MS"/>
                <a:ea typeface="+mn-ea"/>
                <a:cs typeface="Trebuchet MS"/>
              </a:rPr>
              <a:t>1–7</a:t>
            </a:r>
            <a:r>
              <a:rPr kumimoji="0" sz="1200" b="0" i="0" u="none" strike="noStrike" kern="0" cap="none" spc="-10" normalizeH="0" baseline="0" noProof="0" dirty="0">
                <a:ln>
                  <a:noFill/>
                </a:ln>
                <a:solidFill>
                  <a:srgbClr val="FFFFFF"/>
                </a:solidFill>
                <a:effectLst/>
                <a:uLnTx/>
                <a:uFillTx/>
                <a:latin typeface="Trebuchet MS"/>
                <a:ea typeface="+mn-ea"/>
                <a:cs typeface="Trebuchet MS"/>
              </a:rPr>
              <a:t> </a:t>
            </a:r>
            <a:r>
              <a:rPr kumimoji="0" sz="1200" b="0" i="0" u="none" strike="noStrike" kern="0" cap="none" spc="0" normalizeH="0" baseline="0" noProof="0" dirty="0">
                <a:ln>
                  <a:noFill/>
                </a:ln>
                <a:solidFill>
                  <a:srgbClr val="FFFFFF"/>
                </a:solidFill>
                <a:effectLst/>
                <a:uLnTx/>
                <a:uFillTx/>
                <a:latin typeface="Trebuchet MS"/>
                <a:ea typeface="+mn-ea"/>
                <a:cs typeface="Trebuchet MS"/>
              </a:rPr>
              <a:t>of</a:t>
            </a:r>
            <a:r>
              <a:rPr kumimoji="0" sz="1200" b="0" i="0" u="none" strike="noStrike" kern="0" cap="none" spc="-5" normalizeH="0" baseline="0" noProof="0" dirty="0">
                <a:ln>
                  <a:noFill/>
                </a:ln>
                <a:solidFill>
                  <a:srgbClr val="FFFFFF"/>
                </a:solidFill>
                <a:effectLst/>
                <a:uLnTx/>
                <a:uFillTx/>
                <a:latin typeface="Trebuchet MS"/>
                <a:ea typeface="+mn-ea"/>
                <a:cs typeface="Trebuchet MS"/>
              </a:rPr>
              <a:t> </a:t>
            </a:r>
            <a:r>
              <a:rPr kumimoji="0" sz="1200" b="0" i="0" u="none" strike="noStrike" kern="0" cap="none" spc="0" normalizeH="0" baseline="0" noProof="0" dirty="0">
                <a:ln>
                  <a:noFill/>
                </a:ln>
                <a:solidFill>
                  <a:srgbClr val="FFFFFF"/>
                </a:solidFill>
                <a:effectLst/>
                <a:uLnTx/>
                <a:uFillTx/>
                <a:latin typeface="Trebuchet MS"/>
                <a:ea typeface="+mn-ea"/>
                <a:cs typeface="Trebuchet MS"/>
              </a:rPr>
              <a:t>each</a:t>
            </a:r>
            <a:r>
              <a:rPr kumimoji="0" sz="1200" b="0" i="0" u="none" strike="noStrike" kern="0" cap="none" spc="-35" normalizeH="0" baseline="0" noProof="0" dirty="0">
                <a:ln>
                  <a:noFill/>
                </a:ln>
                <a:solidFill>
                  <a:srgbClr val="FFFFFF"/>
                </a:solidFill>
                <a:effectLst/>
                <a:uLnTx/>
                <a:uFillTx/>
                <a:latin typeface="Trebuchet MS"/>
                <a:ea typeface="+mn-ea"/>
                <a:cs typeface="Trebuchet MS"/>
              </a:rPr>
              <a:t> </a:t>
            </a:r>
            <a:r>
              <a:rPr kumimoji="0" sz="1200" b="0" i="0" u="none" strike="noStrike" kern="0" cap="none" spc="-10" normalizeH="0" baseline="0" noProof="0" dirty="0">
                <a:ln>
                  <a:noFill/>
                </a:ln>
                <a:solidFill>
                  <a:srgbClr val="FFFFFF"/>
                </a:solidFill>
                <a:effectLst/>
                <a:uLnTx/>
                <a:uFillTx/>
                <a:latin typeface="Trebuchet MS"/>
                <a:ea typeface="+mn-ea"/>
                <a:cs typeface="Trebuchet MS"/>
              </a:rPr>
              <a:t>21-</a:t>
            </a:r>
            <a:r>
              <a:rPr kumimoji="0" sz="1200" b="0" i="0" u="none" strike="noStrike" kern="0" cap="none" spc="0" normalizeH="0" baseline="0" noProof="0" dirty="0">
                <a:ln>
                  <a:noFill/>
                </a:ln>
                <a:solidFill>
                  <a:srgbClr val="FFFFFF"/>
                </a:solidFill>
                <a:effectLst/>
                <a:uLnTx/>
                <a:uFillTx/>
                <a:latin typeface="Trebuchet MS"/>
                <a:ea typeface="+mn-ea"/>
                <a:cs typeface="Trebuchet MS"/>
              </a:rPr>
              <a:t>day</a:t>
            </a:r>
            <a:r>
              <a:rPr kumimoji="0" sz="1200" b="0" i="0" u="none" strike="noStrike" kern="0" cap="none" spc="-20" normalizeH="0" baseline="0" noProof="0" dirty="0">
                <a:ln>
                  <a:noFill/>
                </a:ln>
                <a:solidFill>
                  <a:srgbClr val="FFFFFF"/>
                </a:solidFill>
                <a:effectLst/>
                <a:uLnTx/>
                <a:uFillTx/>
                <a:latin typeface="Trebuchet MS"/>
                <a:ea typeface="+mn-ea"/>
                <a:cs typeface="Trebuchet MS"/>
              </a:rPr>
              <a:t> </a:t>
            </a:r>
            <a:r>
              <a:rPr kumimoji="0" sz="1200" b="0" i="0" u="none" strike="noStrike" kern="0" cap="none" spc="-10" normalizeH="0" baseline="0" noProof="0" dirty="0">
                <a:ln>
                  <a:noFill/>
                </a:ln>
                <a:solidFill>
                  <a:srgbClr val="FFFFFF"/>
                </a:solidFill>
                <a:effectLst/>
                <a:uLnTx/>
                <a:uFillTx/>
                <a:latin typeface="Trebuchet MS"/>
                <a:ea typeface="+mn-ea"/>
                <a:cs typeface="Trebuchet MS"/>
              </a:rPr>
              <a:t>cycle)</a:t>
            </a:r>
            <a:endParaRPr kumimoji="0" sz="1200" b="0" i="0" u="none" strike="noStrike" kern="0" cap="none" spc="0" normalizeH="0" baseline="0" noProof="0">
              <a:ln>
                <a:noFill/>
              </a:ln>
              <a:solidFill>
                <a:sysClr val="windowText" lastClr="000000"/>
              </a:solidFill>
              <a:effectLst/>
              <a:uLnTx/>
              <a:uFillTx/>
              <a:latin typeface="Trebuchet MS"/>
              <a:ea typeface="+mn-ea"/>
              <a:cs typeface="Trebuchet MS"/>
            </a:endParaRPr>
          </a:p>
        </p:txBody>
      </p:sp>
      <p:sp>
        <p:nvSpPr>
          <p:cNvPr id="11" name="object 11"/>
          <p:cNvSpPr/>
          <p:nvPr/>
        </p:nvSpPr>
        <p:spPr>
          <a:xfrm>
            <a:off x="5458967" y="1581911"/>
            <a:ext cx="2996565" cy="1278890"/>
          </a:xfrm>
          <a:custGeom>
            <a:avLst/>
            <a:gdLst/>
            <a:ahLst/>
            <a:cxnLst/>
            <a:rect l="l" t="t" r="r" b="b"/>
            <a:pathLst>
              <a:path w="2996565" h="1278889">
                <a:moveTo>
                  <a:pt x="2783078" y="0"/>
                </a:moveTo>
                <a:lnTo>
                  <a:pt x="213106" y="0"/>
                </a:lnTo>
                <a:lnTo>
                  <a:pt x="164232" y="5626"/>
                </a:lnTo>
                <a:lnTo>
                  <a:pt x="119372" y="21654"/>
                </a:lnTo>
                <a:lnTo>
                  <a:pt x="79804" y="46806"/>
                </a:lnTo>
                <a:lnTo>
                  <a:pt x="46806" y="79804"/>
                </a:lnTo>
                <a:lnTo>
                  <a:pt x="21654" y="119372"/>
                </a:lnTo>
                <a:lnTo>
                  <a:pt x="5626" y="164232"/>
                </a:lnTo>
                <a:lnTo>
                  <a:pt x="0" y="213105"/>
                </a:lnTo>
                <a:lnTo>
                  <a:pt x="0" y="1065529"/>
                </a:lnTo>
                <a:lnTo>
                  <a:pt x="5626" y="1114403"/>
                </a:lnTo>
                <a:lnTo>
                  <a:pt x="21654" y="1159263"/>
                </a:lnTo>
                <a:lnTo>
                  <a:pt x="46806" y="1198831"/>
                </a:lnTo>
                <a:lnTo>
                  <a:pt x="79804" y="1231829"/>
                </a:lnTo>
                <a:lnTo>
                  <a:pt x="119372" y="1256981"/>
                </a:lnTo>
                <a:lnTo>
                  <a:pt x="164232" y="1273009"/>
                </a:lnTo>
                <a:lnTo>
                  <a:pt x="213106" y="1278636"/>
                </a:lnTo>
                <a:lnTo>
                  <a:pt x="2783078" y="1278636"/>
                </a:lnTo>
                <a:lnTo>
                  <a:pt x="2831951" y="1273009"/>
                </a:lnTo>
                <a:lnTo>
                  <a:pt x="2876811" y="1256981"/>
                </a:lnTo>
                <a:lnTo>
                  <a:pt x="2916379" y="1231829"/>
                </a:lnTo>
                <a:lnTo>
                  <a:pt x="2949377" y="1198831"/>
                </a:lnTo>
                <a:lnTo>
                  <a:pt x="2974529" y="1159263"/>
                </a:lnTo>
                <a:lnTo>
                  <a:pt x="2990557" y="1114403"/>
                </a:lnTo>
                <a:lnTo>
                  <a:pt x="2996184" y="1065529"/>
                </a:lnTo>
                <a:lnTo>
                  <a:pt x="2996184" y="213105"/>
                </a:lnTo>
                <a:lnTo>
                  <a:pt x="2990557" y="164232"/>
                </a:lnTo>
                <a:lnTo>
                  <a:pt x="2974529" y="119372"/>
                </a:lnTo>
                <a:lnTo>
                  <a:pt x="2949377" y="79804"/>
                </a:lnTo>
                <a:lnTo>
                  <a:pt x="2916379" y="46806"/>
                </a:lnTo>
                <a:lnTo>
                  <a:pt x="2876811" y="21654"/>
                </a:lnTo>
                <a:lnTo>
                  <a:pt x="2831951" y="5626"/>
                </a:lnTo>
                <a:lnTo>
                  <a:pt x="2783078" y="0"/>
                </a:lnTo>
                <a:close/>
              </a:path>
            </a:pathLst>
          </a:custGeom>
          <a:solidFill>
            <a:srgbClr val="0DB1C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2" name="object 12"/>
          <p:cNvSpPr txBox="1"/>
          <p:nvPr/>
        </p:nvSpPr>
        <p:spPr>
          <a:xfrm>
            <a:off x="5619115" y="1743532"/>
            <a:ext cx="2767965" cy="943610"/>
          </a:xfrm>
          <a:prstGeom prst="rect">
            <a:avLst/>
          </a:prstGeom>
        </p:spPr>
        <p:txBody>
          <a:bodyPr vert="horz" wrap="square" lIns="0" tIns="13335" rIns="0" bIns="0" rtlCol="0">
            <a:spAutoFit/>
          </a:bodyPr>
          <a:lstStyle/>
          <a:p>
            <a:pPr marL="0" marR="0" lvl="0" indent="0" algn="ctr" defTabSz="914400" rtl="0" eaLnBrk="1" fontAlgn="auto" latinLnBrk="0" hangingPunct="1">
              <a:lnSpc>
                <a:spcPts val="2375"/>
              </a:lnSpc>
              <a:spcBef>
                <a:spcPts val="105"/>
              </a:spcBef>
              <a:spcAft>
                <a:spcPts val="0"/>
              </a:spcAft>
              <a:buClrTx/>
              <a:buSzTx/>
              <a:buFontTx/>
              <a:buNone/>
              <a:tabLst/>
              <a:defRPr/>
            </a:pPr>
            <a:r>
              <a:rPr kumimoji="0" sz="2000" b="1" i="0" u="none" strike="noStrike" kern="0" cap="none" spc="0" normalizeH="0" baseline="0" noProof="0" dirty="0">
                <a:ln>
                  <a:noFill/>
                </a:ln>
                <a:solidFill>
                  <a:srgbClr val="FFFFFF"/>
                </a:solidFill>
                <a:effectLst/>
                <a:uLnTx/>
                <a:uFillTx/>
                <a:latin typeface="Trebuchet MS"/>
                <a:ea typeface="+mn-ea"/>
                <a:cs typeface="Trebuchet MS"/>
              </a:rPr>
              <a:t>Golcadomide</a:t>
            </a:r>
            <a:r>
              <a:rPr kumimoji="0" sz="2000" b="1" i="0" u="none" strike="noStrike" kern="0" cap="none" spc="-30" normalizeH="0" baseline="0" noProof="0" dirty="0">
                <a:ln>
                  <a:noFill/>
                </a:ln>
                <a:solidFill>
                  <a:srgbClr val="FFFFFF"/>
                </a:solidFill>
                <a:effectLst/>
                <a:uLnTx/>
                <a:uFillTx/>
                <a:latin typeface="Trebuchet MS"/>
                <a:ea typeface="+mn-ea"/>
                <a:cs typeface="Trebuchet MS"/>
              </a:rPr>
              <a:t> </a:t>
            </a:r>
            <a:r>
              <a:rPr kumimoji="0" sz="2000" b="1" i="0" u="none" strike="noStrike" kern="0" cap="none" spc="0" normalizeH="0" baseline="0" noProof="0" dirty="0">
                <a:ln>
                  <a:noFill/>
                </a:ln>
                <a:solidFill>
                  <a:srgbClr val="FFFFFF"/>
                </a:solidFill>
                <a:effectLst/>
                <a:uLnTx/>
                <a:uFillTx/>
                <a:latin typeface="Trebuchet MS"/>
                <a:ea typeface="+mn-ea"/>
                <a:cs typeface="Trebuchet MS"/>
              </a:rPr>
              <a:t>+</a:t>
            </a:r>
            <a:r>
              <a:rPr kumimoji="0" sz="2000" b="1" i="0" u="none" strike="noStrike" kern="0" cap="none" spc="-5" normalizeH="0" baseline="0" noProof="0" dirty="0">
                <a:ln>
                  <a:noFill/>
                </a:ln>
                <a:solidFill>
                  <a:srgbClr val="FFFFFF"/>
                </a:solidFill>
                <a:effectLst/>
                <a:uLnTx/>
                <a:uFillTx/>
                <a:latin typeface="Trebuchet MS"/>
                <a:ea typeface="+mn-ea"/>
                <a:cs typeface="Trebuchet MS"/>
              </a:rPr>
              <a:t> </a:t>
            </a:r>
            <a:r>
              <a:rPr kumimoji="0" sz="2000" b="1" i="0" u="none" strike="noStrike" kern="0" cap="none" spc="-20" normalizeH="0" baseline="0" noProof="0" dirty="0">
                <a:ln>
                  <a:noFill/>
                </a:ln>
                <a:solidFill>
                  <a:srgbClr val="FFFFFF"/>
                </a:solidFill>
                <a:effectLst/>
                <a:uLnTx/>
                <a:uFillTx/>
                <a:latin typeface="Trebuchet MS"/>
                <a:ea typeface="+mn-ea"/>
                <a:cs typeface="Trebuchet MS"/>
              </a:rPr>
              <a:t>R-CHOP</a:t>
            </a:r>
            <a:endParaRPr kumimoji="0" sz="2000" b="0" i="0" u="none" strike="noStrike" kern="0" cap="none" spc="0" normalizeH="0" baseline="0" noProof="0">
              <a:ln>
                <a:noFill/>
              </a:ln>
              <a:solidFill>
                <a:sysClr val="windowText" lastClr="000000"/>
              </a:solidFill>
              <a:effectLst/>
              <a:uLnTx/>
              <a:uFillTx/>
              <a:latin typeface="Trebuchet MS"/>
              <a:ea typeface="+mn-ea"/>
              <a:cs typeface="Trebuchet MS"/>
            </a:endParaRPr>
          </a:p>
          <a:p>
            <a:pPr marL="0" marR="0" lvl="0" indent="0" algn="ctr" defTabSz="914400" rtl="0" eaLnBrk="1" fontAlgn="auto" latinLnBrk="0" hangingPunct="1">
              <a:lnSpc>
                <a:spcPts val="1895"/>
              </a:lnSpc>
              <a:spcBef>
                <a:spcPts val="0"/>
              </a:spcBef>
              <a:spcAft>
                <a:spcPts val="0"/>
              </a:spcAft>
              <a:buClrTx/>
              <a:buSzTx/>
              <a:buFontTx/>
              <a:buNone/>
              <a:tabLst/>
              <a:defRPr/>
            </a:pPr>
            <a:r>
              <a:rPr kumimoji="0" sz="1600" b="0" i="0" u="none" strike="noStrike" kern="0" cap="none" spc="655" normalizeH="0" baseline="0" noProof="0" dirty="0">
                <a:ln>
                  <a:noFill/>
                </a:ln>
                <a:solidFill>
                  <a:srgbClr val="FFFFFF"/>
                </a:solidFill>
                <a:effectLst/>
                <a:uLnTx/>
                <a:uFillTx/>
                <a:latin typeface="Arial"/>
                <a:ea typeface="+mn-ea"/>
                <a:cs typeface="Arial"/>
              </a:rPr>
              <a:t>×</a:t>
            </a:r>
            <a:r>
              <a:rPr kumimoji="0" sz="1600" b="0" i="0" u="none" strike="noStrike" kern="0" cap="none" spc="40" normalizeH="0" baseline="0" noProof="0" dirty="0">
                <a:ln>
                  <a:noFill/>
                </a:ln>
                <a:solidFill>
                  <a:srgbClr val="FFFFFF"/>
                </a:solidFill>
                <a:effectLst/>
                <a:uLnTx/>
                <a:uFillTx/>
                <a:latin typeface="Arial"/>
                <a:ea typeface="+mn-ea"/>
                <a:cs typeface="Arial"/>
              </a:rPr>
              <a:t> </a:t>
            </a:r>
            <a:r>
              <a:rPr kumimoji="0" sz="1600" b="0" i="0" u="none" strike="noStrike" kern="0" cap="none" spc="0" normalizeH="0" baseline="0" noProof="0" dirty="0">
                <a:ln>
                  <a:noFill/>
                </a:ln>
                <a:solidFill>
                  <a:srgbClr val="FFFFFF"/>
                </a:solidFill>
                <a:effectLst/>
                <a:uLnTx/>
                <a:uFillTx/>
                <a:latin typeface="Trebuchet MS"/>
                <a:ea typeface="+mn-ea"/>
                <a:cs typeface="Trebuchet MS"/>
              </a:rPr>
              <a:t>6</a:t>
            </a:r>
            <a:r>
              <a:rPr kumimoji="0" sz="1600" b="0" i="0" u="none" strike="noStrike" kern="0" cap="none" spc="-10" normalizeH="0" baseline="0" noProof="0" dirty="0">
                <a:ln>
                  <a:noFill/>
                </a:ln>
                <a:solidFill>
                  <a:srgbClr val="FFFFFF"/>
                </a:solidFill>
                <a:effectLst/>
                <a:uLnTx/>
                <a:uFillTx/>
                <a:latin typeface="Trebuchet MS"/>
                <a:ea typeface="+mn-ea"/>
                <a:cs typeface="Trebuchet MS"/>
              </a:rPr>
              <a:t> cycles</a:t>
            </a:r>
            <a:endParaRPr kumimoji="0" sz="1600" b="0" i="0" u="none" strike="noStrike" kern="0" cap="none" spc="0" normalizeH="0" baseline="0" noProof="0">
              <a:ln>
                <a:noFill/>
              </a:ln>
              <a:solidFill>
                <a:sysClr val="windowText" lastClr="000000"/>
              </a:solidFill>
              <a:effectLst/>
              <a:uLnTx/>
              <a:uFillTx/>
              <a:latin typeface="Trebuchet MS"/>
              <a:ea typeface="+mn-ea"/>
              <a:cs typeface="Trebuchet MS"/>
            </a:endParaRPr>
          </a:p>
          <a:p>
            <a:pPr marL="1905" marR="0" lvl="0" indent="0" algn="ctr" defTabSz="914400" rtl="0" eaLnBrk="1" fontAlgn="auto" latinLnBrk="0" hangingPunct="1">
              <a:lnSpc>
                <a:spcPct val="100000"/>
              </a:lnSpc>
              <a:spcBef>
                <a:spcPts val="75"/>
              </a:spcBef>
              <a:spcAft>
                <a:spcPts val="0"/>
              </a:spcAft>
              <a:buClrTx/>
              <a:buSzTx/>
              <a:buFontTx/>
              <a:buNone/>
              <a:tabLst/>
              <a:defRPr/>
            </a:pPr>
            <a:r>
              <a:rPr kumimoji="0" sz="1200" b="0" i="0" u="none" strike="noStrike" kern="0" cap="none" spc="0" normalizeH="0" baseline="0" noProof="0" dirty="0">
                <a:ln>
                  <a:noFill/>
                </a:ln>
                <a:solidFill>
                  <a:srgbClr val="FFFFFF"/>
                </a:solidFill>
                <a:effectLst/>
                <a:uLnTx/>
                <a:uFillTx/>
                <a:latin typeface="Trebuchet MS"/>
                <a:ea typeface="+mn-ea"/>
                <a:cs typeface="Trebuchet MS"/>
              </a:rPr>
              <a:t>(golcadomide</a:t>
            </a:r>
            <a:r>
              <a:rPr kumimoji="0" sz="1200" b="0" i="0" u="none" strike="noStrike" kern="0" cap="none" spc="-60" normalizeH="0" baseline="0" noProof="0" dirty="0">
                <a:ln>
                  <a:noFill/>
                </a:ln>
                <a:solidFill>
                  <a:srgbClr val="FFFFFF"/>
                </a:solidFill>
                <a:effectLst/>
                <a:uLnTx/>
                <a:uFillTx/>
                <a:latin typeface="Trebuchet MS"/>
                <a:ea typeface="+mn-ea"/>
                <a:cs typeface="Trebuchet MS"/>
              </a:rPr>
              <a:t> </a:t>
            </a:r>
            <a:r>
              <a:rPr kumimoji="0" sz="1200" b="0" i="0" u="none" strike="noStrike" kern="0" cap="none" spc="0" normalizeH="0" baseline="0" noProof="0" dirty="0">
                <a:ln>
                  <a:noFill/>
                </a:ln>
                <a:solidFill>
                  <a:srgbClr val="FFFFFF"/>
                </a:solidFill>
                <a:effectLst/>
                <a:uLnTx/>
                <a:uFillTx/>
                <a:latin typeface="Trebuchet MS"/>
                <a:ea typeface="+mn-ea"/>
                <a:cs typeface="Trebuchet MS"/>
              </a:rPr>
              <a:t>0.4</a:t>
            </a:r>
            <a:r>
              <a:rPr kumimoji="0" sz="1200" b="0" i="0" u="none" strike="noStrike" kern="0" cap="none" spc="-25" normalizeH="0" baseline="0" noProof="0" dirty="0">
                <a:ln>
                  <a:noFill/>
                </a:ln>
                <a:solidFill>
                  <a:srgbClr val="FFFFFF"/>
                </a:solidFill>
                <a:effectLst/>
                <a:uLnTx/>
                <a:uFillTx/>
                <a:latin typeface="Trebuchet MS"/>
                <a:ea typeface="+mn-ea"/>
                <a:cs typeface="Trebuchet MS"/>
              </a:rPr>
              <a:t> mg</a:t>
            </a:r>
            <a:endParaRPr kumimoji="0" sz="1200" b="0" i="0" u="none" strike="noStrike" kern="0" cap="none" spc="0" normalizeH="0" baseline="0" noProof="0">
              <a:ln>
                <a:noFill/>
              </a:ln>
              <a:solidFill>
                <a:sysClr val="windowText" lastClr="000000"/>
              </a:solidFill>
              <a:effectLst/>
              <a:uLnTx/>
              <a:uFillTx/>
              <a:latin typeface="Trebuchet MS"/>
              <a:ea typeface="+mn-ea"/>
              <a:cs typeface="Trebuchet M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sz="1200" b="0" i="0" u="none" strike="noStrike" kern="0" cap="none" spc="0" normalizeH="0" baseline="0" noProof="0" dirty="0">
                <a:ln>
                  <a:noFill/>
                </a:ln>
                <a:solidFill>
                  <a:srgbClr val="FFFFFF"/>
                </a:solidFill>
                <a:effectLst/>
                <a:uLnTx/>
                <a:uFillTx/>
                <a:latin typeface="Trebuchet MS"/>
                <a:ea typeface="+mn-ea"/>
                <a:cs typeface="Trebuchet MS"/>
              </a:rPr>
              <a:t>day</a:t>
            </a:r>
            <a:r>
              <a:rPr kumimoji="0" sz="1200" b="0" i="0" u="none" strike="noStrike" kern="0" cap="none" spc="-25" normalizeH="0" baseline="0" noProof="0" dirty="0">
                <a:ln>
                  <a:noFill/>
                </a:ln>
                <a:solidFill>
                  <a:srgbClr val="FFFFFF"/>
                </a:solidFill>
                <a:effectLst/>
                <a:uLnTx/>
                <a:uFillTx/>
                <a:latin typeface="Trebuchet MS"/>
                <a:ea typeface="+mn-ea"/>
                <a:cs typeface="Trebuchet MS"/>
              </a:rPr>
              <a:t> </a:t>
            </a:r>
            <a:r>
              <a:rPr kumimoji="0" sz="1200" b="0" i="0" u="none" strike="noStrike" kern="0" cap="none" spc="-10" normalizeH="0" baseline="0" noProof="0" dirty="0">
                <a:ln>
                  <a:noFill/>
                </a:ln>
                <a:solidFill>
                  <a:srgbClr val="FFFFFF"/>
                </a:solidFill>
                <a:effectLst/>
                <a:uLnTx/>
                <a:uFillTx/>
                <a:latin typeface="Trebuchet MS"/>
                <a:ea typeface="+mn-ea"/>
                <a:cs typeface="Trebuchet MS"/>
              </a:rPr>
              <a:t>1-</a:t>
            </a:r>
            <a:r>
              <a:rPr kumimoji="0" sz="1200" b="0" i="0" u="none" strike="noStrike" kern="0" cap="none" spc="0" normalizeH="0" baseline="0" noProof="0" dirty="0">
                <a:ln>
                  <a:noFill/>
                </a:ln>
                <a:solidFill>
                  <a:srgbClr val="FFFFFF"/>
                </a:solidFill>
                <a:effectLst/>
                <a:uLnTx/>
                <a:uFillTx/>
                <a:latin typeface="Trebuchet MS"/>
                <a:ea typeface="+mn-ea"/>
                <a:cs typeface="Trebuchet MS"/>
              </a:rPr>
              <a:t>7</a:t>
            </a:r>
            <a:r>
              <a:rPr kumimoji="0" sz="1200" b="0" i="0" u="none" strike="noStrike" kern="0" cap="none" spc="-5" normalizeH="0" baseline="0" noProof="0" dirty="0">
                <a:ln>
                  <a:noFill/>
                </a:ln>
                <a:solidFill>
                  <a:srgbClr val="FFFFFF"/>
                </a:solidFill>
                <a:effectLst/>
                <a:uLnTx/>
                <a:uFillTx/>
                <a:latin typeface="Trebuchet MS"/>
                <a:ea typeface="+mn-ea"/>
                <a:cs typeface="Trebuchet MS"/>
              </a:rPr>
              <a:t> </a:t>
            </a:r>
            <a:r>
              <a:rPr kumimoji="0" sz="1200" b="0" i="0" u="none" strike="noStrike" kern="0" cap="none" spc="0" normalizeH="0" baseline="0" noProof="0" dirty="0">
                <a:ln>
                  <a:noFill/>
                </a:ln>
                <a:solidFill>
                  <a:srgbClr val="FFFFFF"/>
                </a:solidFill>
                <a:effectLst/>
                <a:uLnTx/>
                <a:uFillTx/>
                <a:latin typeface="Trebuchet MS"/>
                <a:ea typeface="+mn-ea"/>
                <a:cs typeface="Trebuchet MS"/>
              </a:rPr>
              <a:t>of</a:t>
            </a:r>
            <a:r>
              <a:rPr kumimoji="0" sz="1200" b="0" i="0" u="none" strike="noStrike" kern="0" cap="none" spc="5" normalizeH="0" baseline="0" noProof="0" dirty="0">
                <a:ln>
                  <a:noFill/>
                </a:ln>
                <a:solidFill>
                  <a:srgbClr val="FFFFFF"/>
                </a:solidFill>
                <a:effectLst/>
                <a:uLnTx/>
                <a:uFillTx/>
                <a:latin typeface="Trebuchet MS"/>
                <a:ea typeface="+mn-ea"/>
                <a:cs typeface="Trebuchet MS"/>
              </a:rPr>
              <a:t> </a:t>
            </a:r>
            <a:r>
              <a:rPr kumimoji="0" sz="1200" b="0" i="0" u="none" strike="noStrike" kern="0" cap="none" spc="0" normalizeH="0" baseline="0" noProof="0" dirty="0">
                <a:ln>
                  <a:noFill/>
                </a:ln>
                <a:solidFill>
                  <a:srgbClr val="FFFFFF"/>
                </a:solidFill>
                <a:effectLst/>
                <a:uLnTx/>
                <a:uFillTx/>
                <a:latin typeface="Trebuchet MS"/>
                <a:ea typeface="+mn-ea"/>
                <a:cs typeface="Trebuchet MS"/>
              </a:rPr>
              <a:t>each</a:t>
            </a:r>
            <a:r>
              <a:rPr kumimoji="0" sz="1200" b="0" i="0" u="none" strike="noStrike" kern="0" cap="none" spc="-20" normalizeH="0" baseline="0" noProof="0" dirty="0">
                <a:ln>
                  <a:noFill/>
                </a:ln>
                <a:solidFill>
                  <a:srgbClr val="FFFFFF"/>
                </a:solidFill>
                <a:effectLst/>
                <a:uLnTx/>
                <a:uFillTx/>
                <a:latin typeface="Trebuchet MS"/>
                <a:ea typeface="+mn-ea"/>
                <a:cs typeface="Trebuchet MS"/>
              </a:rPr>
              <a:t> </a:t>
            </a:r>
            <a:r>
              <a:rPr kumimoji="0" sz="1200" b="0" i="0" u="none" strike="noStrike" kern="0" cap="none" spc="-10" normalizeH="0" baseline="0" noProof="0" dirty="0">
                <a:ln>
                  <a:noFill/>
                </a:ln>
                <a:solidFill>
                  <a:srgbClr val="FFFFFF"/>
                </a:solidFill>
                <a:effectLst/>
                <a:uLnTx/>
                <a:uFillTx/>
                <a:latin typeface="Trebuchet MS"/>
                <a:ea typeface="+mn-ea"/>
                <a:cs typeface="Trebuchet MS"/>
              </a:rPr>
              <a:t>21-</a:t>
            </a:r>
            <a:r>
              <a:rPr kumimoji="0" sz="1200" b="0" i="0" u="none" strike="noStrike" kern="0" cap="none" spc="0" normalizeH="0" baseline="0" noProof="0" dirty="0">
                <a:ln>
                  <a:noFill/>
                </a:ln>
                <a:solidFill>
                  <a:srgbClr val="FFFFFF"/>
                </a:solidFill>
                <a:effectLst/>
                <a:uLnTx/>
                <a:uFillTx/>
                <a:latin typeface="Trebuchet MS"/>
                <a:ea typeface="+mn-ea"/>
                <a:cs typeface="Trebuchet MS"/>
              </a:rPr>
              <a:t>day</a:t>
            </a:r>
            <a:r>
              <a:rPr kumimoji="0" sz="1200" b="0" i="0" u="none" strike="noStrike" kern="0" cap="none" spc="-25" normalizeH="0" baseline="0" noProof="0" dirty="0">
                <a:ln>
                  <a:noFill/>
                </a:ln>
                <a:solidFill>
                  <a:srgbClr val="FFFFFF"/>
                </a:solidFill>
                <a:effectLst/>
                <a:uLnTx/>
                <a:uFillTx/>
                <a:latin typeface="Trebuchet MS"/>
                <a:ea typeface="+mn-ea"/>
                <a:cs typeface="Trebuchet MS"/>
              </a:rPr>
              <a:t> </a:t>
            </a:r>
            <a:r>
              <a:rPr kumimoji="0" sz="1200" b="0" i="0" u="none" strike="noStrike" kern="0" cap="none" spc="-10" normalizeH="0" baseline="0" noProof="0" dirty="0">
                <a:ln>
                  <a:noFill/>
                </a:ln>
                <a:solidFill>
                  <a:srgbClr val="FFFFFF"/>
                </a:solidFill>
                <a:effectLst/>
                <a:uLnTx/>
                <a:uFillTx/>
                <a:latin typeface="Trebuchet MS"/>
                <a:ea typeface="+mn-ea"/>
                <a:cs typeface="Trebuchet MS"/>
              </a:rPr>
              <a:t>cycle)</a:t>
            </a:r>
            <a:endParaRPr kumimoji="0" sz="1200" b="0" i="0" u="none" strike="noStrike" kern="0" cap="none" spc="0" normalizeH="0" baseline="0" noProof="0">
              <a:ln>
                <a:noFill/>
              </a:ln>
              <a:solidFill>
                <a:sysClr val="windowText" lastClr="000000"/>
              </a:solidFill>
              <a:effectLst/>
              <a:uLnTx/>
              <a:uFillTx/>
              <a:latin typeface="Trebuchet MS"/>
              <a:ea typeface="+mn-ea"/>
              <a:cs typeface="Trebuchet MS"/>
            </a:endParaRPr>
          </a:p>
        </p:txBody>
      </p:sp>
      <p:grpSp>
        <p:nvGrpSpPr>
          <p:cNvPr id="13" name="object 13"/>
          <p:cNvGrpSpPr/>
          <p:nvPr/>
        </p:nvGrpSpPr>
        <p:grpSpPr>
          <a:xfrm>
            <a:off x="8938069" y="1005649"/>
            <a:ext cx="3006090" cy="706120"/>
            <a:chOff x="8938069" y="1005649"/>
            <a:chExt cx="3006090" cy="706120"/>
          </a:xfrm>
        </p:grpSpPr>
        <p:sp>
          <p:nvSpPr>
            <p:cNvPr id="14" name="object 14"/>
            <p:cNvSpPr/>
            <p:nvPr/>
          </p:nvSpPr>
          <p:spPr>
            <a:xfrm>
              <a:off x="8942831" y="1010411"/>
              <a:ext cx="2996565" cy="696595"/>
            </a:xfrm>
            <a:custGeom>
              <a:avLst/>
              <a:gdLst/>
              <a:ahLst/>
              <a:cxnLst/>
              <a:rect l="l" t="t" r="r" b="b"/>
              <a:pathLst>
                <a:path w="2996565" h="696594">
                  <a:moveTo>
                    <a:pt x="2996183" y="0"/>
                  </a:moveTo>
                  <a:lnTo>
                    <a:pt x="0" y="0"/>
                  </a:lnTo>
                  <a:lnTo>
                    <a:pt x="0" y="696468"/>
                  </a:lnTo>
                  <a:lnTo>
                    <a:pt x="2996183" y="696468"/>
                  </a:lnTo>
                  <a:lnTo>
                    <a:pt x="2996183" y="0"/>
                  </a:lnTo>
                  <a:close/>
                </a:path>
              </a:pathLst>
            </a:custGeom>
            <a:solidFill>
              <a:srgbClr val="ACEEF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5" name="object 15"/>
            <p:cNvSpPr/>
            <p:nvPr/>
          </p:nvSpPr>
          <p:spPr>
            <a:xfrm>
              <a:off x="8942831" y="1010411"/>
              <a:ext cx="2996565" cy="696595"/>
            </a:xfrm>
            <a:custGeom>
              <a:avLst/>
              <a:gdLst/>
              <a:ahLst/>
              <a:cxnLst/>
              <a:rect l="l" t="t" r="r" b="b"/>
              <a:pathLst>
                <a:path w="2996565" h="696594">
                  <a:moveTo>
                    <a:pt x="0" y="696468"/>
                  </a:moveTo>
                  <a:lnTo>
                    <a:pt x="2996183" y="696468"/>
                  </a:lnTo>
                  <a:lnTo>
                    <a:pt x="2996183" y="0"/>
                  </a:lnTo>
                  <a:lnTo>
                    <a:pt x="0" y="0"/>
                  </a:lnTo>
                  <a:lnTo>
                    <a:pt x="0" y="696468"/>
                  </a:lnTo>
                  <a:close/>
                </a:path>
              </a:pathLst>
            </a:custGeom>
            <a:ln w="9525">
              <a:solidFill>
                <a:srgbClr val="85E6F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16" name="object 16"/>
          <p:cNvSpPr txBox="1"/>
          <p:nvPr/>
        </p:nvSpPr>
        <p:spPr>
          <a:xfrm>
            <a:off x="8997060" y="929488"/>
            <a:ext cx="2534285" cy="750570"/>
          </a:xfrm>
          <a:prstGeom prst="rect">
            <a:avLst/>
          </a:prstGeom>
        </p:spPr>
        <p:txBody>
          <a:bodyPr vert="horz" wrap="square" lIns="0" tIns="111125" rIns="0" bIns="0" rtlCol="0">
            <a:spAutoFit/>
          </a:bodyPr>
          <a:lstStyle/>
          <a:p>
            <a:pPr marL="718820" marR="0" lvl="0" indent="0" algn="l" defTabSz="914400" rtl="0" eaLnBrk="1" fontAlgn="auto" latinLnBrk="0" hangingPunct="1">
              <a:lnSpc>
                <a:spcPct val="100000"/>
              </a:lnSpc>
              <a:spcBef>
                <a:spcPts val="875"/>
              </a:spcBef>
              <a:spcAft>
                <a:spcPts val="0"/>
              </a:spcAft>
              <a:buClrTx/>
              <a:buSzTx/>
              <a:buFontTx/>
              <a:buNone/>
              <a:tabLst/>
              <a:defRPr/>
            </a:pPr>
            <a:r>
              <a:rPr kumimoji="0" sz="1400" b="1" i="0" u="none" strike="noStrike" kern="0" cap="none" spc="0" normalizeH="0" baseline="0" noProof="0" dirty="0">
                <a:ln>
                  <a:noFill/>
                </a:ln>
                <a:solidFill>
                  <a:srgbClr val="585353"/>
                </a:solidFill>
                <a:effectLst/>
                <a:uLnTx/>
                <a:uFillTx/>
                <a:latin typeface="Trebuchet MS"/>
                <a:ea typeface="+mn-ea"/>
                <a:cs typeface="Trebuchet MS"/>
              </a:rPr>
              <a:t>Primary</a:t>
            </a:r>
            <a:r>
              <a:rPr kumimoji="0" sz="1400" b="1" i="0" u="none" strike="noStrike" kern="0" cap="none" spc="-55" normalizeH="0" baseline="0" noProof="0" dirty="0">
                <a:ln>
                  <a:noFill/>
                </a:ln>
                <a:solidFill>
                  <a:srgbClr val="585353"/>
                </a:solidFill>
                <a:effectLst/>
                <a:uLnTx/>
                <a:uFillTx/>
                <a:latin typeface="Trebuchet MS"/>
                <a:ea typeface="+mn-ea"/>
                <a:cs typeface="Trebuchet MS"/>
              </a:rPr>
              <a:t> </a:t>
            </a:r>
            <a:r>
              <a:rPr kumimoji="0" sz="1400" b="1" i="0" u="none" strike="noStrike" kern="0" cap="none" spc="-10" normalizeH="0" baseline="0" noProof="0" dirty="0">
                <a:ln>
                  <a:noFill/>
                </a:ln>
                <a:solidFill>
                  <a:srgbClr val="585353"/>
                </a:solidFill>
                <a:effectLst/>
                <a:uLnTx/>
                <a:uFillTx/>
                <a:latin typeface="Trebuchet MS"/>
                <a:ea typeface="+mn-ea"/>
                <a:cs typeface="Trebuchet MS"/>
              </a:rPr>
              <a:t>endpoint</a:t>
            </a:r>
            <a:endParaRPr kumimoji="0" sz="1400" b="0" i="0" u="none" strike="noStrike" kern="0" cap="none" spc="0" normalizeH="0" baseline="0" noProof="0">
              <a:ln>
                <a:noFill/>
              </a:ln>
              <a:solidFill>
                <a:sysClr val="windowText" lastClr="000000"/>
              </a:solidFill>
              <a:effectLst/>
              <a:uLnTx/>
              <a:uFillTx/>
              <a:latin typeface="Trebuchet MS"/>
              <a:ea typeface="+mn-ea"/>
              <a:cs typeface="Trebuchet MS"/>
            </a:endParaRPr>
          </a:p>
          <a:p>
            <a:pPr marL="207010" marR="43180" lvl="0" indent="-169545" algn="l" defTabSz="914400" rtl="0" eaLnBrk="1" fontAlgn="auto" latinLnBrk="0" hangingPunct="1">
              <a:lnSpc>
                <a:spcPct val="100000"/>
              </a:lnSpc>
              <a:spcBef>
                <a:spcPts val="610"/>
              </a:spcBef>
              <a:spcAft>
                <a:spcPts val="0"/>
              </a:spcAft>
              <a:buClrTx/>
              <a:buSzTx/>
              <a:buFont typeface="Arial"/>
              <a:buChar char="•"/>
              <a:tabLst>
                <a:tab pos="210185" algn="l"/>
              </a:tabLst>
              <a:defRPr/>
            </a:pPr>
            <a:r>
              <a:rPr kumimoji="0" sz="1100" b="0" i="0" u="none" strike="noStrike" kern="0" cap="none" spc="0" normalizeH="0" baseline="0" noProof="0" dirty="0">
                <a:ln>
                  <a:noFill/>
                </a:ln>
                <a:solidFill>
                  <a:srgbClr val="585353"/>
                </a:solidFill>
                <a:effectLst/>
                <a:uLnTx/>
                <a:uFillTx/>
                <a:latin typeface="Trebuchet MS"/>
                <a:ea typeface="+mn-ea"/>
                <a:cs typeface="Trebuchet MS"/>
              </a:rPr>
              <a:t>PFS</a:t>
            </a:r>
            <a:r>
              <a:rPr kumimoji="0" sz="1100" b="0" i="0" u="none" strike="noStrike" kern="0" cap="none" spc="-25" normalizeH="0" baseline="0" noProof="0" dirty="0">
                <a:ln>
                  <a:noFill/>
                </a:ln>
                <a:solidFill>
                  <a:srgbClr val="585353"/>
                </a:solidFill>
                <a:effectLst/>
                <a:uLnTx/>
                <a:uFillTx/>
                <a:latin typeface="Trebuchet MS"/>
                <a:ea typeface="+mn-ea"/>
                <a:cs typeface="Trebuchet MS"/>
              </a:rPr>
              <a:t> </a:t>
            </a:r>
            <a:r>
              <a:rPr kumimoji="0" sz="1100" b="0" i="0" u="none" strike="noStrike" kern="0" cap="none" spc="0" normalizeH="0" baseline="0" noProof="0" dirty="0">
                <a:ln>
                  <a:noFill/>
                </a:ln>
                <a:solidFill>
                  <a:srgbClr val="585353"/>
                </a:solidFill>
                <a:effectLst/>
                <a:uLnTx/>
                <a:uFillTx/>
                <a:latin typeface="Trebuchet MS"/>
                <a:ea typeface="+mn-ea"/>
                <a:cs typeface="Trebuchet MS"/>
              </a:rPr>
              <a:t>by</a:t>
            </a:r>
            <a:r>
              <a:rPr kumimoji="0" sz="1100" b="0" i="0" u="none" strike="noStrike" kern="0" cap="none" spc="-25" normalizeH="0" baseline="0" noProof="0" dirty="0">
                <a:ln>
                  <a:noFill/>
                </a:ln>
                <a:solidFill>
                  <a:srgbClr val="585353"/>
                </a:solidFill>
                <a:effectLst/>
                <a:uLnTx/>
                <a:uFillTx/>
                <a:latin typeface="Trebuchet MS"/>
                <a:ea typeface="+mn-ea"/>
                <a:cs typeface="Trebuchet MS"/>
              </a:rPr>
              <a:t> </a:t>
            </a:r>
            <a:r>
              <a:rPr kumimoji="0" sz="1100" b="0" i="0" u="none" strike="noStrike" kern="0" cap="none" spc="0" normalizeH="0" baseline="0" noProof="0" dirty="0">
                <a:ln>
                  <a:noFill/>
                </a:ln>
                <a:solidFill>
                  <a:srgbClr val="585353"/>
                </a:solidFill>
                <a:effectLst/>
                <a:uLnTx/>
                <a:uFillTx/>
                <a:latin typeface="Trebuchet MS"/>
                <a:ea typeface="+mn-ea"/>
                <a:cs typeface="Trebuchet MS"/>
              </a:rPr>
              <a:t>investigator</a:t>
            </a:r>
            <a:r>
              <a:rPr kumimoji="0" sz="1100" b="0" i="0" u="none" strike="noStrike" kern="0" cap="none" spc="-20" normalizeH="0" baseline="0" noProof="0" dirty="0">
                <a:ln>
                  <a:noFill/>
                </a:ln>
                <a:solidFill>
                  <a:srgbClr val="585353"/>
                </a:solidFill>
                <a:effectLst/>
                <a:uLnTx/>
                <a:uFillTx/>
                <a:latin typeface="Trebuchet MS"/>
                <a:ea typeface="+mn-ea"/>
                <a:cs typeface="Trebuchet MS"/>
              </a:rPr>
              <a:t> </a:t>
            </a:r>
            <a:r>
              <a:rPr kumimoji="0" sz="1100" b="0" i="0" u="none" strike="noStrike" kern="0" cap="none" spc="0" normalizeH="0" baseline="0" noProof="0" dirty="0">
                <a:ln>
                  <a:noFill/>
                </a:ln>
                <a:solidFill>
                  <a:srgbClr val="585353"/>
                </a:solidFill>
                <a:effectLst/>
                <a:uLnTx/>
                <a:uFillTx/>
                <a:latin typeface="Trebuchet MS"/>
                <a:ea typeface="+mn-ea"/>
                <a:cs typeface="Trebuchet MS"/>
              </a:rPr>
              <a:t>based</a:t>
            </a:r>
            <a:r>
              <a:rPr kumimoji="0" sz="1100" b="0" i="0" u="none" strike="noStrike" kern="0" cap="none" spc="-10" normalizeH="0" baseline="0" noProof="0" dirty="0">
                <a:ln>
                  <a:noFill/>
                </a:ln>
                <a:solidFill>
                  <a:srgbClr val="585353"/>
                </a:solidFill>
                <a:effectLst/>
                <a:uLnTx/>
                <a:uFillTx/>
                <a:latin typeface="Trebuchet MS"/>
                <a:ea typeface="+mn-ea"/>
                <a:cs typeface="Trebuchet MS"/>
              </a:rPr>
              <a:t> </a:t>
            </a:r>
            <a:r>
              <a:rPr kumimoji="0" sz="1100" b="0" i="0" u="none" strike="noStrike" kern="0" cap="none" spc="0" normalizeH="0" baseline="0" noProof="0" dirty="0">
                <a:ln>
                  <a:noFill/>
                </a:ln>
                <a:solidFill>
                  <a:srgbClr val="585353"/>
                </a:solidFill>
                <a:effectLst/>
                <a:uLnTx/>
                <a:uFillTx/>
                <a:latin typeface="Trebuchet MS"/>
                <a:ea typeface="+mn-ea"/>
                <a:cs typeface="Trebuchet MS"/>
              </a:rPr>
              <a:t>on</a:t>
            </a:r>
            <a:r>
              <a:rPr kumimoji="0" sz="1100" b="0" i="0" u="none" strike="noStrike" kern="0" cap="none" spc="-25" normalizeH="0" baseline="0" noProof="0" dirty="0">
                <a:ln>
                  <a:noFill/>
                </a:ln>
                <a:solidFill>
                  <a:srgbClr val="585353"/>
                </a:solidFill>
                <a:effectLst/>
                <a:uLnTx/>
                <a:uFillTx/>
                <a:latin typeface="Trebuchet MS"/>
                <a:ea typeface="+mn-ea"/>
                <a:cs typeface="Trebuchet MS"/>
              </a:rPr>
              <a:t> </a:t>
            </a:r>
            <a:r>
              <a:rPr kumimoji="0" sz="1100" b="0" i="0" u="none" strike="noStrike" kern="0" cap="none" spc="-10" normalizeH="0" baseline="0" noProof="0" dirty="0">
                <a:ln>
                  <a:noFill/>
                </a:ln>
                <a:solidFill>
                  <a:srgbClr val="585353"/>
                </a:solidFill>
                <a:effectLst/>
                <a:uLnTx/>
                <a:uFillTx/>
                <a:latin typeface="Trebuchet MS"/>
                <a:ea typeface="+mn-ea"/>
                <a:cs typeface="Trebuchet MS"/>
              </a:rPr>
              <a:t>Lugano 	</a:t>
            </a:r>
            <a:r>
              <a:rPr kumimoji="0" sz="1100" b="0" i="0" u="none" strike="noStrike" kern="0" cap="none" spc="0" normalizeH="0" baseline="0" noProof="0" dirty="0">
                <a:ln>
                  <a:noFill/>
                </a:ln>
                <a:solidFill>
                  <a:srgbClr val="585353"/>
                </a:solidFill>
                <a:effectLst/>
                <a:uLnTx/>
                <a:uFillTx/>
                <a:latin typeface="Trebuchet MS"/>
                <a:ea typeface="+mn-ea"/>
                <a:cs typeface="Trebuchet MS"/>
              </a:rPr>
              <a:t>Response</a:t>
            </a:r>
            <a:r>
              <a:rPr kumimoji="0" sz="1100" b="0" i="0" u="none" strike="noStrike" kern="0" cap="none" spc="-40" normalizeH="0" baseline="0" noProof="0" dirty="0">
                <a:ln>
                  <a:noFill/>
                </a:ln>
                <a:solidFill>
                  <a:srgbClr val="585353"/>
                </a:solidFill>
                <a:effectLst/>
                <a:uLnTx/>
                <a:uFillTx/>
                <a:latin typeface="Trebuchet MS"/>
                <a:ea typeface="+mn-ea"/>
                <a:cs typeface="Trebuchet MS"/>
              </a:rPr>
              <a:t> </a:t>
            </a:r>
            <a:r>
              <a:rPr kumimoji="0" sz="1100" b="0" i="0" u="none" strike="noStrike" kern="0" cap="none" spc="-10" normalizeH="0" baseline="0" noProof="0" dirty="0">
                <a:ln>
                  <a:noFill/>
                </a:ln>
                <a:solidFill>
                  <a:srgbClr val="585353"/>
                </a:solidFill>
                <a:effectLst/>
                <a:uLnTx/>
                <a:uFillTx/>
                <a:latin typeface="Trebuchet MS"/>
                <a:ea typeface="+mn-ea"/>
                <a:cs typeface="Trebuchet MS"/>
              </a:rPr>
              <a:t>Criteria</a:t>
            </a:r>
            <a:r>
              <a:rPr kumimoji="0" sz="1050" b="0" i="0" u="none" strike="noStrike" kern="0" cap="none" spc="-15" normalizeH="0" baseline="27777" noProof="0" dirty="0">
                <a:ln>
                  <a:noFill/>
                </a:ln>
                <a:solidFill>
                  <a:srgbClr val="585353"/>
                </a:solidFill>
                <a:effectLst/>
                <a:uLnTx/>
                <a:uFillTx/>
                <a:latin typeface="Trebuchet MS"/>
                <a:ea typeface="+mn-ea"/>
                <a:cs typeface="Trebuchet MS"/>
              </a:rPr>
              <a:t>1</a:t>
            </a:r>
            <a:endParaRPr kumimoji="0" sz="1050" b="0" i="0" u="none" strike="noStrike" kern="0" cap="none" spc="0" normalizeH="0" baseline="27777" noProof="0">
              <a:ln>
                <a:noFill/>
              </a:ln>
              <a:solidFill>
                <a:sysClr val="windowText" lastClr="000000"/>
              </a:solidFill>
              <a:effectLst/>
              <a:uLnTx/>
              <a:uFillTx/>
              <a:latin typeface="Trebuchet MS"/>
              <a:ea typeface="+mn-ea"/>
              <a:cs typeface="Trebuchet MS"/>
            </a:endParaRPr>
          </a:p>
        </p:txBody>
      </p:sp>
      <p:grpSp>
        <p:nvGrpSpPr>
          <p:cNvPr id="17" name="object 17"/>
          <p:cNvGrpSpPr/>
          <p:nvPr/>
        </p:nvGrpSpPr>
        <p:grpSpPr>
          <a:xfrm>
            <a:off x="8936545" y="1760029"/>
            <a:ext cx="3006090" cy="2821305"/>
            <a:chOff x="8936545" y="1760029"/>
            <a:chExt cx="3006090" cy="2821305"/>
          </a:xfrm>
        </p:grpSpPr>
        <p:sp>
          <p:nvSpPr>
            <p:cNvPr id="18" name="object 18"/>
            <p:cNvSpPr/>
            <p:nvPr/>
          </p:nvSpPr>
          <p:spPr>
            <a:xfrm>
              <a:off x="8941307" y="1764792"/>
              <a:ext cx="2996565" cy="2811780"/>
            </a:xfrm>
            <a:custGeom>
              <a:avLst/>
              <a:gdLst/>
              <a:ahLst/>
              <a:cxnLst/>
              <a:rect l="l" t="t" r="r" b="b"/>
              <a:pathLst>
                <a:path w="2996565" h="2811779">
                  <a:moveTo>
                    <a:pt x="2996183" y="0"/>
                  </a:moveTo>
                  <a:lnTo>
                    <a:pt x="0" y="0"/>
                  </a:lnTo>
                  <a:lnTo>
                    <a:pt x="0" y="2811779"/>
                  </a:lnTo>
                  <a:lnTo>
                    <a:pt x="2996183" y="2811779"/>
                  </a:lnTo>
                  <a:lnTo>
                    <a:pt x="2996183" y="0"/>
                  </a:lnTo>
                  <a:close/>
                </a:path>
              </a:pathLst>
            </a:custGeom>
            <a:solidFill>
              <a:srgbClr val="DFC9C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9" name="object 19"/>
            <p:cNvSpPr/>
            <p:nvPr/>
          </p:nvSpPr>
          <p:spPr>
            <a:xfrm>
              <a:off x="8941307" y="1764792"/>
              <a:ext cx="2996565" cy="2811780"/>
            </a:xfrm>
            <a:custGeom>
              <a:avLst/>
              <a:gdLst/>
              <a:ahLst/>
              <a:cxnLst/>
              <a:rect l="l" t="t" r="r" b="b"/>
              <a:pathLst>
                <a:path w="2996565" h="2811779">
                  <a:moveTo>
                    <a:pt x="0" y="2811779"/>
                  </a:moveTo>
                  <a:lnTo>
                    <a:pt x="2996183" y="2811779"/>
                  </a:lnTo>
                  <a:lnTo>
                    <a:pt x="2996183" y="0"/>
                  </a:lnTo>
                  <a:lnTo>
                    <a:pt x="0" y="0"/>
                  </a:lnTo>
                  <a:lnTo>
                    <a:pt x="0" y="2811779"/>
                  </a:lnTo>
                  <a:close/>
                </a:path>
              </a:pathLst>
            </a:custGeom>
            <a:ln w="9525">
              <a:solidFill>
                <a:srgbClr val="CEAEA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20" name="object 20"/>
          <p:cNvSpPr txBox="1"/>
          <p:nvPr/>
        </p:nvSpPr>
        <p:spPr>
          <a:xfrm>
            <a:off x="9020682" y="1694535"/>
            <a:ext cx="2471420" cy="1253490"/>
          </a:xfrm>
          <a:prstGeom prst="rect">
            <a:avLst/>
          </a:prstGeom>
        </p:spPr>
        <p:txBody>
          <a:bodyPr vert="horz" wrap="square" lIns="0" tIns="111125" rIns="0" bIns="0" rtlCol="0">
            <a:spAutoFit/>
          </a:bodyPr>
          <a:lstStyle/>
          <a:p>
            <a:pPr marL="379730" marR="0" lvl="0" indent="0" algn="l" defTabSz="914400" rtl="0" eaLnBrk="1" fontAlgn="auto" latinLnBrk="0" hangingPunct="1">
              <a:lnSpc>
                <a:spcPct val="100000"/>
              </a:lnSpc>
              <a:spcBef>
                <a:spcPts val="875"/>
              </a:spcBef>
              <a:spcAft>
                <a:spcPts val="0"/>
              </a:spcAft>
              <a:buClrTx/>
              <a:buSzTx/>
              <a:buFontTx/>
              <a:buNone/>
              <a:tabLst/>
              <a:defRPr/>
            </a:pPr>
            <a:r>
              <a:rPr kumimoji="0" sz="1400" b="1" i="0" u="none" strike="noStrike" kern="0" cap="none" spc="0" normalizeH="0" baseline="0" noProof="0" dirty="0">
                <a:ln>
                  <a:noFill/>
                </a:ln>
                <a:solidFill>
                  <a:srgbClr val="585353"/>
                </a:solidFill>
                <a:effectLst/>
                <a:uLnTx/>
                <a:uFillTx/>
                <a:latin typeface="Trebuchet MS"/>
                <a:ea typeface="+mn-ea"/>
                <a:cs typeface="Trebuchet MS"/>
              </a:rPr>
              <a:t>Key</a:t>
            </a:r>
            <a:r>
              <a:rPr kumimoji="0" sz="1400" b="1" i="0" u="none" strike="noStrike" kern="0" cap="none" spc="-35" normalizeH="0" baseline="0" noProof="0" dirty="0">
                <a:ln>
                  <a:noFill/>
                </a:ln>
                <a:solidFill>
                  <a:srgbClr val="585353"/>
                </a:solidFill>
                <a:effectLst/>
                <a:uLnTx/>
                <a:uFillTx/>
                <a:latin typeface="Trebuchet MS"/>
                <a:ea typeface="+mn-ea"/>
                <a:cs typeface="Trebuchet MS"/>
              </a:rPr>
              <a:t> </a:t>
            </a:r>
            <a:r>
              <a:rPr kumimoji="0" sz="1400" b="1" i="0" u="none" strike="noStrike" kern="0" cap="none" spc="0" normalizeH="0" baseline="0" noProof="0" dirty="0">
                <a:ln>
                  <a:noFill/>
                </a:ln>
                <a:solidFill>
                  <a:srgbClr val="585353"/>
                </a:solidFill>
                <a:effectLst/>
                <a:uLnTx/>
                <a:uFillTx/>
                <a:latin typeface="Trebuchet MS"/>
                <a:ea typeface="+mn-ea"/>
                <a:cs typeface="Trebuchet MS"/>
              </a:rPr>
              <a:t>secondary</a:t>
            </a:r>
            <a:r>
              <a:rPr kumimoji="0" sz="1400" b="1" i="0" u="none" strike="noStrike" kern="0" cap="none" spc="-30" normalizeH="0" baseline="0" noProof="0" dirty="0">
                <a:ln>
                  <a:noFill/>
                </a:ln>
                <a:solidFill>
                  <a:srgbClr val="585353"/>
                </a:solidFill>
                <a:effectLst/>
                <a:uLnTx/>
                <a:uFillTx/>
                <a:latin typeface="Trebuchet MS"/>
                <a:ea typeface="+mn-ea"/>
                <a:cs typeface="Trebuchet MS"/>
              </a:rPr>
              <a:t> </a:t>
            </a:r>
            <a:r>
              <a:rPr kumimoji="0" sz="1400" b="1" i="0" u="none" strike="noStrike" kern="0" cap="none" spc="-10" normalizeH="0" baseline="0" noProof="0" dirty="0">
                <a:ln>
                  <a:noFill/>
                </a:ln>
                <a:solidFill>
                  <a:srgbClr val="585353"/>
                </a:solidFill>
                <a:effectLst/>
                <a:uLnTx/>
                <a:uFillTx/>
                <a:latin typeface="Trebuchet MS"/>
                <a:ea typeface="+mn-ea"/>
                <a:cs typeface="Trebuchet MS"/>
              </a:rPr>
              <a:t>endpoints</a:t>
            </a:r>
            <a:endParaRPr kumimoji="0" sz="1400" b="0" i="0" u="none" strike="noStrike" kern="0" cap="none" spc="0" normalizeH="0" baseline="0" noProof="0">
              <a:ln>
                <a:noFill/>
              </a:ln>
              <a:solidFill>
                <a:sysClr val="windowText" lastClr="000000"/>
              </a:solidFill>
              <a:effectLst/>
              <a:uLnTx/>
              <a:uFillTx/>
              <a:latin typeface="Trebuchet MS"/>
              <a:ea typeface="+mn-ea"/>
              <a:cs typeface="Trebuchet MS"/>
            </a:endParaRPr>
          </a:p>
          <a:p>
            <a:pPr marL="182245" marR="0" lvl="0" indent="-169545" algn="l" defTabSz="914400" rtl="0" eaLnBrk="1" fontAlgn="auto" latinLnBrk="0" hangingPunct="1">
              <a:lnSpc>
                <a:spcPct val="100000"/>
              </a:lnSpc>
              <a:spcBef>
                <a:spcPts val="610"/>
              </a:spcBef>
              <a:spcAft>
                <a:spcPts val="0"/>
              </a:spcAft>
              <a:buClrTx/>
              <a:buSzTx/>
              <a:buFont typeface="Arial"/>
              <a:buChar char="•"/>
              <a:tabLst>
                <a:tab pos="182245" algn="l"/>
              </a:tabLst>
              <a:defRPr/>
            </a:pPr>
            <a:r>
              <a:rPr kumimoji="0" sz="1100" b="0" i="0" u="none" strike="noStrike" kern="0" cap="none" spc="0" normalizeH="0" baseline="0" noProof="0" dirty="0">
                <a:ln>
                  <a:noFill/>
                </a:ln>
                <a:solidFill>
                  <a:srgbClr val="585353"/>
                </a:solidFill>
                <a:effectLst/>
                <a:uLnTx/>
                <a:uFillTx/>
                <a:latin typeface="Trebuchet MS"/>
                <a:ea typeface="+mn-ea"/>
                <a:cs typeface="Trebuchet MS"/>
              </a:rPr>
              <a:t>PFS</a:t>
            </a:r>
            <a:r>
              <a:rPr kumimoji="0" sz="1100" b="0" i="0" u="none" strike="noStrike" kern="0" cap="none" spc="20" normalizeH="0" baseline="0" noProof="0" dirty="0">
                <a:ln>
                  <a:noFill/>
                </a:ln>
                <a:solidFill>
                  <a:srgbClr val="585353"/>
                </a:solidFill>
                <a:effectLst/>
                <a:uLnTx/>
                <a:uFillTx/>
                <a:latin typeface="Trebuchet MS"/>
                <a:ea typeface="+mn-ea"/>
                <a:cs typeface="Trebuchet MS"/>
              </a:rPr>
              <a:t> </a:t>
            </a:r>
            <a:r>
              <a:rPr kumimoji="0" sz="1100" b="0" i="0" u="none" strike="noStrike" kern="0" cap="none" spc="-10" normalizeH="0" baseline="0" noProof="0" dirty="0">
                <a:ln>
                  <a:noFill/>
                </a:ln>
                <a:solidFill>
                  <a:srgbClr val="585353"/>
                </a:solidFill>
                <a:effectLst/>
                <a:uLnTx/>
                <a:uFillTx/>
                <a:latin typeface="Trebuchet MS"/>
                <a:ea typeface="+mn-ea"/>
                <a:cs typeface="Trebuchet MS"/>
              </a:rPr>
              <a:t>(non-high-</a:t>
            </a:r>
            <a:r>
              <a:rPr kumimoji="0" sz="1100" b="0" i="0" u="none" strike="noStrike" kern="0" cap="none" spc="0" normalizeH="0" baseline="0" noProof="0" dirty="0">
                <a:ln>
                  <a:noFill/>
                </a:ln>
                <a:solidFill>
                  <a:srgbClr val="585353"/>
                </a:solidFill>
                <a:effectLst/>
                <a:uLnTx/>
                <a:uFillTx/>
                <a:latin typeface="Trebuchet MS"/>
                <a:ea typeface="+mn-ea"/>
                <a:cs typeface="Trebuchet MS"/>
              </a:rPr>
              <a:t>grade</a:t>
            </a:r>
            <a:r>
              <a:rPr kumimoji="0" sz="1100" b="0" i="0" u="none" strike="noStrike" kern="0" cap="none" spc="-10" normalizeH="0" baseline="0" noProof="0" dirty="0">
                <a:ln>
                  <a:noFill/>
                </a:ln>
                <a:solidFill>
                  <a:srgbClr val="585353"/>
                </a:solidFill>
                <a:effectLst/>
                <a:uLnTx/>
                <a:uFillTx/>
                <a:latin typeface="Trebuchet MS"/>
                <a:ea typeface="+mn-ea"/>
                <a:cs typeface="Trebuchet MS"/>
              </a:rPr>
              <a:t> </a:t>
            </a:r>
            <a:r>
              <a:rPr kumimoji="0" sz="1100" b="0" i="0" u="none" strike="noStrike" kern="0" cap="none" spc="-20" normalizeH="0" baseline="0" noProof="0" dirty="0">
                <a:ln>
                  <a:noFill/>
                </a:ln>
                <a:solidFill>
                  <a:srgbClr val="585353"/>
                </a:solidFill>
                <a:effectLst/>
                <a:uLnTx/>
                <a:uFillTx/>
                <a:latin typeface="Trebuchet MS"/>
                <a:ea typeface="+mn-ea"/>
                <a:cs typeface="Trebuchet MS"/>
              </a:rPr>
              <a:t>BCL)</a:t>
            </a:r>
            <a:endParaRPr kumimoji="0" sz="1100" b="0" i="0" u="none" strike="noStrike" kern="0" cap="none" spc="0" normalizeH="0" baseline="0" noProof="0">
              <a:ln>
                <a:noFill/>
              </a:ln>
              <a:solidFill>
                <a:sysClr val="windowText" lastClr="000000"/>
              </a:solidFill>
              <a:effectLst/>
              <a:uLnTx/>
              <a:uFillTx/>
              <a:latin typeface="Trebuchet MS"/>
              <a:ea typeface="+mn-ea"/>
              <a:cs typeface="Trebuchet MS"/>
            </a:endParaRPr>
          </a:p>
          <a:p>
            <a:pPr marL="182245" marR="0" lvl="0" indent="-169545" algn="l" defTabSz="914400" rtl="0" eaLnBrk="1" fontAlgn="auto" latinLnBrk="0" hangingPunct="1">
              <a:lnSpc>
                <a:spcPct val="100000"/>
              </a:lnSpc>
              <a:spcBef>
                <a:spcPts val="0"/>
              </a:spcBef>
              <a:spcAft>
                <a:spcPts val="0"/>
              </a:spcAft>
              <a:buClrTx/>
              <a:buSzTx/>
              <a:buFont typeface="Arial"/>
              <a:buChar char="•"/>
              <a:tabLst>
                <a:tab pos="182245" algn="l"/>
              </a:tabLst>
              <a:defRPr/>
            </a:pPr>
            <a:r>
              <a:rPr kumimoji="0" sz="1100" b="0" i="0" u="none" strike="noStrike" kern="0" cap="none" spc="-25" normalizeH="0" baseline="0" noProof="0" dirty="0">
                <a:ln>
                  <a:noFill/>
                </a:ln>
                <a:solidFill>
                  <a:srgbClr val="585353"/>
                </a:solidFill>
                <a:effectLst/>
                <a:uLnTx/>
                <a:uFillTx/>
                <a:latin typeface="Trebuchet MS"/>
                <a:ea typeface="+mn-ea"/>
                <a:cs typeface="Trebuchet MS"/>
              </a:rPr>
              <a:t>OS</a:t>
            </a:r>
            <a:endParaRPr kumimoji="0" sz="1100" b="0" i="0" u="none" strike="noStrike" kern="0" cap="none" spc="0" normalizeH="0" baseline="0" noProof="0">
              <a:ln>
                <a:noFill/>
              </a:ln>
              <a:solidFill>
                <a:sysClr val="windowText" lastClr="000000"/>
              </a:solidFill>
              <a:effectLst/>
              <a:uLnTx/>
              <a:uFillTx/>
              <a:latin typeface="Trebuchet MS"/>
              <a:ea typeface="+mn-ea"/>
              <a:cs typeface="Trebuchet MS"/>
            </a:endParaRPr>
          </a:p>
          <a:p>
            <a:pPr marL="182245" marR="0" lvl="0" indent="-169545" algn="l" defTabSz="914400" rtl="0" eaLnBrk="1" fontAlgn="auto" latinLnBrk="0" hangingPunct="1">
              <a:lnSpc>
                <a:spcPct val="100000"/>
              </a:lnSpc>
              <a:spcBef>
                <a:spcPts val="0"/>
              </a:spcBef>
              <a:spcAft>
                <a:spcPts val="0"/>
              </a:spcAft>
              <a:buClrTx/>
              <a:buSzTx/>
              <a:buFont typeface="Arial"/>
              <a:buChar char="•"/>
              <a:tabLst>
                <a:tab pos="182245" algn="l"/>
              </a:tabLst>
              <a:defRPr/>
            </a:pPr>
            <a:r>
              <a:rPr kumimoji="0" sz="1100" b="0" i="0" u="none" strike="noStrike" kern="0" cap="none" spc="0" normalizeH="0" baseline="0" noProof="0" dirty="0">
                <a:ln>
                  <a:noFill/>
                </a:ln>
                <a:solidFill>
                  <a:srgbClr val="585353"/>
                </a:solidFill>
                <a:effectLst/>
                <a:uLnTx/>
                <a:uFillTx/>
                <a:latin typeface="Trebuchet MS"/>
                <a:ea typeface="+mn-ea"/>
                <a:cs typeface="Trebuchet MS"/>
              </a:rPr>
              <a:t>EFS</a:t>
            </a:r>
            <a:r>
              <a:rPr kumimoji="0" sz="1100" b="0" i="0" u="none" strike="noStrike" kern="0" cap="none" spc="-5" normalizeH="0" baseline="0" noProof="0" dirty="0">
                <a:ln>
                  <a:noFill/>
                </a:ln>
                <a:solidFill>
                  <a:srgbClr val="585353"/>
                </a:solidFill>
                <a:effectLst/>
                <a:uLnTx/>
                <a:uFillTx/>
                <a:latin typeface="Trebuchet MS"/>
                <a:ea typeface="+mn-ea"/>
                <a:cs typeface="Trebuchet MS"/>
              </a:rPr>
              <a:t> </a:t>
            </a:r>
            <a:r>
              <a:rPr kumimoji="0" sz="1100" b="0" i="0" u="none" strike="noStrike" kern="0" cap="none" spc="0" normalizeH="0" baseline="0" noProof="0" dirty="0">
                <a:ln>
                  <a:noFill/>
                </a:ln>
                <a:solidFill>
                  <a:srgbClr val="585353"/>
                </a:solidFill>
                <a:effectLst/>
                <a:uLnTx/>
                <a:uFillTx/>
                <a:latin typeface="Trebuchet MS"/>
                <a:ea typeface="+mn-ea"/>
                <a:cs typeface="Trebuchet MS"/>
              </a:rPr>
              <a:t>by</a:t>
            </a:r>
            <a:r>
              <a:rPr kumimoji="0" sz="1100" b="0" i="0" u="none" strike="noStrike" kern="0" cap="none" spc="-10" normalizeH="0" baseline="0" noProof="0" dirty="0">
                <a:ln>
                  <a:noFill/>
                </a:ln>
                <a:solidFill>
                  <a:srgbClr val="585353"/>
                </a:solidFill>
                <a:effectLst/>
                <a:uLnTx/>
                <a:uFillTx/>
                <a:latin typeface="Trebuchet MS"/>
                <a:ea typeface="+mn-ea"/>
                <a:cs typeface="Trebuchet MS"/>
              </a:rPr>
              <a:t> investigator</a:t>
            </a:r>
            <a:endParaRPr kumimoji="0" sz="1100" b="0" i="0" u="none" strike="noStrike" kern="0" cap="none" spc="0" normalizeH="0" baseline="0" noProof="0">
              <a:ln>
                <a:noFill/>
              </a:ln>
              <a:solidFill>
                <a:sysClr val="windowText" lastClr="000000"/>
              </a:solidFill>
              <a:effectLst/>
              <a:uLnTx/>
              <a:uFillTx/>
              <a:latin typeface="Trebuchet MS"/>
              <a:ea typeface="+mn-ea"/>
              <a:cs typeface="Trebuchet MS"/>
            </a:endParaRPr>
          </a:p>
          <a:p>
            <a:pPr marL="182245" marR="0" lvl="0" indent="-169545" algn="l" defTabSz="914400" rtl="0" eaLnBrk="1" fontAlgn="auto" latinLnBrk="0" hangingPunct="1">
              <a:lnSpc>
                <a:spcPct val="100000"/>
              </a:lnSpc>
              <a:spcBef>
                <a:spcPts val="0"/>
              </a:spcBef>
              <a:spcAft>
                <a:spcPts val="0"/>
              </a:spcAft>
              <a:buClrTx/>
              <a:buSzTx/>
              <a:buFont typeface="Arial"/>
              <a:buChar char="•"/>
              <a:tabLst>
                <a:tab pos="182245" algn="l"/>
              </a:tabLst>
              <a:defRPr/>
            </a:pPr>
            <a:r>
              <a:rPr kumimoji="0" sz="1100" b="0" i="0" u="none" strike="noStrike" kern="0" cap="none" spc="0" normalizeH="0" baseline="0" noProof="0" dirty="0">
                <a:ln>
                  <a:noFill/>
                </a:ln>
                <a:solidFill>
                  <a:srgbClr val="585353"/>
                </a:solidFill>
                <a:effectLst/>
                <a:uLnTx/>
                <a:uFillTx/>
                <a:latin typeface="Trebuchet MS"/>
                <a:ea typeface="+mn-ea"/>
                <a:cs typeface="Trebuchet MS"/>
              </a:rPr>
              <a:t>CMR</a:t>
            </a:r>
            <a:r>
              <a:rPr kumimoji="0" sz="1100" b="0" i="0" u="none" strike="noStrike" kern="0" cap="none" spc="-20" normalizeH="0" baseline="0" noProof="0" dirty="0">
                <a:ln>
                  <a:noFill/>
                </a:ln>
                <a:solidFill>
                  <a:srgbClr val="585353"/>
                </a:solidFill>
                <a:effectLst/>
                <a:uLnTx/>
                <a:uFillTx/>
                <a:latin typeface="Trebuchet MS"/>
                <a:ea typeface="+mn-ea"/>
                <a:cs typeface="Trebuchet MS"/>
              </a:rPr>
              <a:t> </a:t>
            </a:r>
            <a:r>
              <a:rPr kumimoji="0" sz="1100" b="0" i="0" u="none" strike="noStrike" kern="0" cap="none" spc="0" normalizeH="0" baseline="0" noProof="0" dirty="0">
                <a:ln>
                  <a:noFill/>
                </a:ln>
                <a:solidFill>
                  <a:srgbClr val="585353"/>
                </a:solidFill>
                <a:effectLst/>
                <a:uLnTx/>
                <a:uFillTx/>
                <a:latin typeface="Trebuchet MS"/>
                <a:ea typeface="+mn-ea"/>
                <a:cs typeface="Trebuchet MS"/>
              </a:rPr>
              <a:t>by</a:t>
            </a:r>
            <a:r>
              <a:rPr kumimoji="0" sz="1100" b="0" i="0" u="none" strike="noStrike" kern="0" cap="none" spc="-5" normalizeH="0" baseline="0" noProof="0" dirty="0">
                <a:ln>
                  <a:noFill/>
                </a:ln>
                <a:solidFill>
                  <a:srgbClr val="585353"/>
                </a:solidFill>
                <a:effectLst/>
                <a:uLnTx/>
                <a:uFillTx/>
                <a:latin typeface="Trebuchet MS"/>
                <a:ea typeface="+mn-ea"/>
                <a:cs typeface="Trebuchet MS"/>
              </a:rPr>
              <a:t> </a:t>
            </a:r>
            <a:r>
              <a:rPr kumimoji="0" sz="1100" b="0" i="0" u="none" strike="noStrike" kern="0" cap="none" spc="-20" normalizeH="0" baseline="0" noProof="0" dirty="0">
                <a:ln>
                  <a:noFill/>
                </a:ln>
                <a:solidFill>
                  <a:srgbClr val="585353"/>
                </a:solidFill>
                <a:effectLst/>
                <a:uLnTx/>
                <a:uFillTx/>
                <a:latin typeface="Trebuchet MS"/>
                <a:ea typeface="+mn-ea"/>
                <a:cs typeface="Trebuchet MS"/>
              </a:rPr>
              <a:t>IRAC</a:t>
            </a:r>
            <a:endParaRPr kumimoji="0" sz="1100" b="0" i="0" u="none" strike="noStrike" kern="0" cap="none" spc="0" normalizeH="0" baseline="0" noProof="0">
              <a:ln>
                <a:noFill/>
              </a:ln>
              <a:solidFill>
                <a:sysClr val="windowText" lastClr="000000"/>
              </a:solidFill>
              <a:effectLst/>
              <a:uLnTx/>
              <a:uFillTx/>
              <a:latin typeface="Trebuchet MS"/>
              <a:ea typeface="+mn-ea"/>
              <a:cs typeface="Trebuchet MS"/>
            </a:endParaRPr>
          </a:p>
          <a:p>
            <a:pPr marL="182245" marR="0" lvl="0" indent="-169545" algn="l" defTabSz="914400" rtl="0" eaLnBrk="1" fontAlgn="auto" latinLnBrk="0" hangingPunct="1">
              <a:lnSpc>
                <a:spcPct val="100000"/>
              </a:lnSpc>
              <a:spcBef>
                <a:spcPts val="0"/>
              </a:spcBef>
              <a:spcAft>
                <a:spcPts val="0"/>
              </a:spcAft>
              <a:buClrTx/>
              <a:buSzTx/>
              <a:buFont typeface="Arial"/>
              <a:buChar char="•"/>
              <a:tabLst>
                <a:tab pos="182245" algn="l"/>
              </a:tabLst>
              <a:defRPr/>
            </a:pPr>
            <a:r>
              <a:rPr kumimoji="0" sz="1100" b="0" i="0" u="none" strike="noStrike" kern="0" cap="none" spc="-10" normalizeH="0" baseline="0" noProof="0" dirty="0">
                <a:ln>
                  <a:noFill/>
                </a:ln>
                <a:solidFill>
                  <a:srgbClr val="585353"/>
                </a:solidFill>
                <a:effectLst/>
                <a:uLnTx/>
                <a:uFillTx/>
                <a:latin typeface="Trebuchet MS"/>
                <a:ea typeface="+mn-ea"/>
                <a:cs typeface="Trebuchet MS"/>
              </a:rPr>
              <a:t>MRD-</a:t>
            </a:r>
            <a:r>
              <a:rPr kumimoji="0" sz="1100" b="0" i="0" u="none" strike="noStrike" kern="0" cap="none" spc="0" normalizeH="0" baseline="0" noProof="0" dirty="0">
                <a:ln>
                  <a:noFill/>
                </a:ln>
                <a:solidFill>
                  <a:srgbClr val="585353"/>
                </a:solidFill>
                <a:effectLst/>
                <a:uLnTx/>
                <a:uFillTx/>
                <a:latin typeface="Trebuchet MS"/>
                <a:ea typeface="+mn-ea"/>
                <a:cs typeface="Trebuchet MS"/>
              </a:rPr>
              <a:t>negativity</a:t>
            </a:r>
            <a:r>
              <a:rPr kumimoji="0" sz="1100" b="0" i="0" u="none" strike="noStrike" kern="0" cap="none" spc="-10" normalizeH="0" baseline="0" noProof="0" dirty="0">
                <a:ln>
                  <a:noFill/>
                </a:ln>
                <a:solidFill>
                  <a:srgbClr val="585353"/>
                </a:solidFill>
                <a:effectLst/>
                <a:uLnTx/>
                <a:uFillTx/>
                <a:latin typeface="Trebuchet MS"/>
                <a:ea typeface="+mn-ea"/>
                <a:cs typeface="Trebuchet MS"/>
              </a:rPr>
              <a:t> </a:t>
            </a:r>
            <a:r>
              <a:rPr kumimoji="0" sz="1100" b="0" i="0" u="none" strike="noStrike" kern="0" cap="none" spc="0" normalizeH="0" baseline="0" noProof="0" dirty="0">
                <a:ln>
                  <a:noFill/>
                </a:ln>
                <a:solidFill>
                  <a:srgbClr val="585353"/>
                </a:solidFill>
                <a:effectLst/>
                <a:uLnTx/>
                <a:uFillTx/>
                <a:latin typeface="Trebuchet MS"/>
                <a:ea typeface="+mn-ea"/>
                <a:cs typeface="Trebuchet MS"/>
              </a:rPr>
              <a:t>rate</a:t>
            </a:r>
            <a:r>
              <a:rPr kumimoji="0" sz="1100" b="0" i="0" u="none" strike="noStrike" kern="0" cap="none" spc="10" normalizeH="0" baseline="0" noProof="0" dirty="0">
                <a:ln>
                  <a:noFill/>
                </a:ln>
                <a:solidFill>
                  <a:srgbClr val="585353"/>
                </a:solidFill>
                <a:effectLst/>
                <a:uLnTx/>
                <a:uFillTx/>
                <a:latin typeface="Trebuchet MS"/>
                <a:ea typeface="+mn-ea"/>
                <a:cs typeface="Trebuchet MS"/>
              </a:rPr>
              <a:t> </a:t>
            </a:r>
            <a:r>
              <a:rPr kumimoji="0" sz="1100" b="0" i="0" u="none" strike="noStrike" kern="0" cap="none" spc="-10" normalizeH="0" baseline="0" noProof="0" dirty="0">
                <a:ln>
                  <a:noFill/>
                </a:ln>
                <a:solidFill>
                  <a:srgbClr val="585353"/>
                </a:solidFill>
                <a:effectLst/>
                <a:uLnTx/>
                <a:uFillTx/>
                <a:latin typeface="Trebuchet MS"/>
                <a:ea typeface="+mn-ea"/>
                <a:cs typeface="Trebuchet MS"/>
              </a:rPr>
              <a:t>(PhaseED-</a:t>
            </a:r>
            <a:r>
              <a:rPr kumimoji="0" sz="1100" b="0" i="0" u="none" strike="noStrike" kern="0" cap="none" spc="-20" normalizeH="0" baseline="0" noProof="0" dirty="0">
                <a:ln>
                  <a:noFill/>
                </a:ln>
                <a:solidFill>
                  <a:srgbClr val="585353"/>
                </a:solidFill>
                <a:effectLst/>
                <a:uLnTx/>
                <a:uFillTx/>
                <a:latin typeface="Trebuchet MS"/>
                <a:ea typeface="+mn-ea"/>
                <a:cs typeface="Trebuchet MS"/>
              </a:rPr>
              <a:t>Seq)</a:t>
            </a:r>
            <a:endParaRPr kumimoji="0" sz="1100" b="0" i="0" u="none" strike="noStrike" kern="0" cap="none" spc="0" normalizeH="0" baseline="0" noProof="0">
              <a:ln>
                <a:noFill/>
              </a:ln>
              <a:solidFill>
                <a:sysClr val="windowText" lastClr="000000"/>
              </a:solidFill>
              <a:effectLst/>
              <a:uLnTx/>
              <a:uFillTx/>
              <a:latin typeface="Trebuchet MS"/>
              <a:ea typeface="+mn-ea"/>
              <a:cs typeface="Trebuchet MS"/>
            </a:endParaRPr>
          </a:p>
        </p:txBody>
      </p:sp>
      <p:sp>
        <p:nvSpPr>
          <p:cNvPr id="21" name="object 21"/>
          <p:cNvSpPr txBox="1"/>
          <p:nvPr/>
        </p:nvSpPr>
        <p:spPr>
          <a:xfrm>
            <a:off x="9020682" y="3087700"/>
            <a:ext cx="2458720" cy="1461135"/>
          </a:xfrm>
          <a:prstGeom prst="rect">
            <a:avLst/>
          </a:prstGeom>
        </p:spPr>
        <p:txBody>
          <a:bodyPr vert="horz" wrap="square" lIns="0" tIns="13335" rIns="0" bIns="0" rtlCol="0">
            <a:spAutoFit/>
          </a:bodyPr>
          <a:lstStyle/>
          <a:p>
            <a:pPr marL="379095" marR="0" lvl="0" indent="0" algn="ctr" defTabSz="914400" rtl="0" eaLnBrk="1" fontAlgn="auto" latinLnBrk="0" hangingPunct="1">
              <a:lnSpc>
                <a:spcPct val="100000"/>
              </a:lnSpc>
              <a:spcBef>
                <a:spcPts val="105"/>
              </a:spcBef>
              <a:spcAft>
                <a:spcPts val="0"/>
              </a:spcAft>
              <a:buClrTx/>
              <a:buSzTx/>
              <a:buFontTx/>
              <a:buNone/>
              <a:tabLst/>
              <a:defRPr/>
            </a:pPr>
            <a:r>
              <a:rPr kumimoji="0" sz="1400" b="1" i="0" u="none" strike="noStrike" kern="0" cap="none" spc="0" normalizeH="0" baseline="0" noProof="0" dirty="0">
                <a:ln>
                  <a:noFill/>
                </a:ln>
                <a:solidFill>
                  <a:srgbClr val="585353"/>
                </a:solidFill>
                <a:effectLst/>
                <a:uLnTx/>
                <a:uFillTx/>
                <a:latin typeface="Trebuchet MS"/>
                <a:ea typeface="+mn-ea"/>
                <a:cs typeface="Trebuchet MS"/>
              </a:rPr>
              <a:t>Other</a:t>
            </a:r>
            <a:r>
              <a:rPr kumimoji="0" sz="1400" b="1" i="0" u="none" strike="noStrike" kern="0" cap="none" spc="-10" normalizeH="0" baseline="0" noProof="0" dirty="0">
                <a:ln>
                  <a:noFill/>
                </a:ln>
                <a:solidFill>
                  <a:srgbClr val="585353"/>
                </a:solidFill>
                <a:effectLst/>
                <a:uLnTx/>
                <a:uFillTx/>
                <a:latin typeface="Trebuchet MS"/>
                <a:ea typeface="+mn-ea"/>
                <a:cs typeface="Trebuchet MS"/>
              </a:rPr>
              <a:t> </a:t>
            </a:r>
            <a:r>
              <a:rPr kumimoji="0" sz="1400" b="1" i="0" u="none" strike="noStrike" kern="0" cap="none" spc="0" normalizeH="0" baseline="0" noProof="0" dirty="0">
                <a:ln>
                  <a:noFill/>
                </a:ln>
                <a:solidFill>
                  <a:srgbClr val="585353"/>
                </a:solidFill>
                <a:effectLst/>
                <a:uLnTx/>
                <a:uFillTx/>
                <a:latin typeface="Trebuchet MS"/>
                <a:ea typeface="+mn-ea"/>
                <a:cs typeface="Trebuchet MS"/>
              </a:rPr>
              <a:t>(select)</a:t>
            </a:r>
            <a:r>
              <a:rPr kumimoji="0" sz="1400" b="1" i="0" u="none" strike="noStrike" kern="0" cap="none" spc="-35" normalizeH="0" baseline="0" noProof="0" dirty="0">
                <a:ln>
                  <a:noFill/>
                </a:ln>
                <a:solidFill>
                  <a:srgbClr val="585353"/>
                </a:solidFill>
                <a:effectLst/>
                <a:uLnTx/>
                <a:uFillTx/>
                <a:latin typeface="Trebuchet MS"/>
                <a:ea typeface="+mn-ea"/>
                <a:cs typeface="Trebuchet MS"/>
              </a:rPr>
              <a:t> </a:t>
            </a:r>
            <a:r>
              <a:rPr kumimoji="0" sz="1400" b="1" i="0" u="none" strike="noStrike" kern="0" cap="none" spc="-10" normalizeH="0" baseline="0" noProof="0" dirty="0">
                <a:ln>
                  <a:noFill/>
                </a:ln>
                <a:solidFill>
                  <a:srgbClr val="585353"/>
                </a:solidFill>
                <a:effectLst/>
                <a:uLnTx/>
                <a:uFillTx/>
                <a:latin typeface="Trebuchet MS"/>
                <a:ea typeface="+mn-ea"/>
                <a:cs typeface="Trebuchet MS"/>
              </a:rPr>
              <a:t>secondary</a:t>
            </a:r>
            <a:endParaRPr kumimoji="0" sz="1400" b="0" i="0" u="none" strike="noStrike" kern="0" cap="none" spc="0" normalizeH="0" baseline="0" noProof="0" dirty="0">
              <a:ln>
                <a:noFill/>
              </a:ln>
              <a:solidFill>
                <a:sysClr val="windowText" lastClr="000000"/>
              </a:solidFill>
              <a:effectLst/>
              <a:uLnTx/>
              <a:uFillTx/>
              <a:latin typeface="Trebuchet MS"/>
              <a:ea typeface="+mn-ea"/>
              <a:cs typeface="Trebuchet MS"/>
            </a:endParaRPr>
          </a:p>
          <a:p>
            <a:pPr marL="380365" marR="0" lvl="0" indent="0" algn="ctr" defTabSz="914400" rtl="0" eaLnBrk="1" fontAlgn="auto" latinLnBrk="0" hangingPunct="1">
              <a:lnSpc>
                <a:spcPct val="100000"/>
              </a:lnSpc>
              <a:spcBef>
                <a:spcPts val="5"/>
              </a:spcBef>
              <a:spcAft>
                <a:spcPts val="0"/>
              </a:spcAft>
              <a:buClrTx/>
              <a:buSzTx/>
              <a:buFontTx/>
              <a:buNone/>
              <a:tabLst/>
              <a:defRPr/>
            </a:pPr>
            <a:r>
              <a:rPr kumimoji="0" sz="1400" b="1" i="0" u="none" strike="noStrike" kern="0" cap="none" spc="-10" normalizeH="0" baseline="0" noProof="0" dirty="0">
                <a:ln>
                  <a:noFill/>
                </a:ln>
                <a:solidFill>
                  <a:srgbClr val="585353"/>
                </a:solidFill>
                <a:effectLst/>
                <a:uLnTx/>
                <a:uFillTx/>
                <a:latin typeface="Trebuchet MS"/>
                <a:ea typeface="+mn-ea"/>
                <a:cs typeface="Trebuchet MS"/>
              </a:rPr>
              <a:t>endpoints</a:t>
            </a:r>
            <a:endParaRPr kumimoji="0" sz="1400" b="0" i="0" u="none" strike="noStrike" kern="0" cap="none" spc="0" normalizeH="0" baseline="0" noProof="0" dirty="0">
              <a:ln>
                <a:noFill/>
              </a:ln>
              <a:solidFill>
                <a:sysClr val="windowText" lastClr="000000"/>
              </a:solidFill>
              <a:effectLst/>
              <a:uLnTx/>
              <a:uFillTx/>
              <a:latin typeface="Trebuchet MS"/>
              <a:ea typeface="+mn-ea"/>
              <a:cs typeface="Trebuchet MS"/>
            </a:endParaRPr>
          </a:p>
          <a:p>
            <a:pPr marL="182245" marR="0" lvl="0" indent="-169545" algn="l" defTabSz="914400" rtl="0" eaLnBrk="1" fontAlgn="auto" latinLnBrk="0" hangingPunct="1">
              <a:lnSpc>
                <a:spcPct val="100000"/>
              </a:lnSpc>
              <a:spcBef>
                <a:spcPts val="10"/>
              </a:spcBef>
              <a:spcAft>
                <a:spcPts val="0"/>
              </a:spcAft>
              <a:buClrTx/>
              <a:buSzTx/>
              <a:buFont typeface="Arial"/>
              <a:buChar char="•"/>
              <a:tabLst>
                <a:tab pos="182245" algn="l"/>
              </a:tabLst>
              <a:defRPr/>
            </a:pPr>
            <a:r>
              <a:rPr kumimoji="0" sz="1100" b="0" i="0" u="none" strike="noStrike" kern="0" cap="none" spc="0" normalizeH="0" baseline="0" noProof="0" dirty="0">
                <a:ln>
                  <a:noFill/>
                </a:ln>
                <a:solidFill>
                  <a:srgbClr val="585353"/>
                </a:solidFill>
                <a:effectLst/>
                <a:uLnTx/>
                <a:uFillTx/>
                <a:latin typeface="Trebuchet MS"/>
                <a:ea typeface="+mn-ea"/>
                <a:cs typeface="Trebuchet MS"/>
              </a:rPr>
              <a:t>PFS</a:t>
            </a:r>
            <a:r>
              <a:rPr kumimoji="0" sz="1100" b="0" i="0" u="none" strike="noStrike" kern="0" cap="none" spc="-5" normalizeH="0" baseline="0" noProof="0" dirty="0">
                <a:ln>
                  <a:noFill/>
                </a:ln>
                <a:solidFill>
                  <a:srgbClr val="585353"/>
                </a:solidFill>
                <a:effectLst/>
                <a:uLnTx/>
                <a:uFillTx/>
                <a:latin typeface="Trebuchet MS"/>
                <a:ea typeface="+mn-ea"/>
                <a:cs typeface="Trebuchet MS"/>
              </a:rPr>
              <a:t> </a:t>
            </a:r>
            <a:r>
              <a:rPr kumimoji="0" sz="1100" b="0" i="0" u="none" strike="noStrike" kern="0" cap="none" spc="0" normalizeH="0" baseline="0" noProof="0" dirty="0">
                <a:ln>
                  <a:noFill/>
                </a:ln>
                <a:solidFill>
                  <a:srgbClr val="585353"/>
                </a:solidFill>
                <a:effectLst/>
                <a:uLnTx/>
                <a:uFillTx/>
                <a:latin typeface="Trebuchet MS"/>
                <a:ea typeface="+mn-ea"/>
                <a:cs typeface="Trebuchet MS"/>
              </a:rPr>
              <a:t>by</a:t>
            </a:r>
            <a:r>
              <a:rPr kumimoji="0" sz="1100" b="0" i="0" u="none" strike="noStrike" kern="0" cap="none" spc="-10" normalizeH="0" baseline="0" noProof="0" dirty="0">
                <a:ln>
                  <a:noFill/>
                </a:ln>
                <a:solidFill>
                  <a:srgbClr val="585353"/>
                </a:solidFill>
                <a:effectLst/>
                <a:uLnTx/>
                <a:uFillTx/>
                <a:latin typeface="Trebuchet MS"/>
                <a:ea typeface="+mn-ea"/>
                <a:cs typeface="Trebuchet MS"/>
              </a:rPr>
              <a:t> </a:t>
            </a:r>
            <a:r>
              <a:rPr kumimoji="0" sz="1100" b="0" i="0" u="none" strike="noStrike" kern="0" cap="none" spc="-20" normalizeH="0" baseline="0" noProof="0" dirty="0">
                <a:ln>
                  <a:noFill/>
                </a:ln>
                <a:solidFill>
                  <a:srgbClr val="585353"/>
                </a:solidFill>
                <a:effectLst/>
                <a:uLnTx/>
                <a:uFillTx/>
                <a:latin typeface="Trebuchet MS"/>
                <a:ea typeface="+mn-ea"/>
                <a:cs typeface="Trebuchet MS"/>
              </a:rPr>
              <a:t>IRAC</a:t>
            </a:r>
            <a:endParaRPr kumimoji="0" sz="1100" b="0" i="0" u="none" strike="noStrike" kern="0" cap="none" spc="0" normalizeH="0" baseline="0" noProof="0" dirty="0">
              <a:ln>
                <a:noFill/>
              </a:ln>
              <a:solidFill>
                <a:sysClr val="windowText" lastClr="000000"/>
              </a:solidFill>
              <a:effectLst/>
              <a:uLnTx/>
              <a:uFillTx/>
              <a:latin typeface="Trebuchet MS"/>
              <a:ea typeface="+mn-ea"/>
              <a:cs typeface="Trebuchet MS"/>
            </a:endParaRPr>
          </a:p>
          <a:p>
            <a:pPr marL="182245" marR="0" lvl="0" indent="-169545" algn="l" defTabSz="914400" rtl="0" eaLnBrk="1" fontAlgn="auto" latinLnBrk="0" hangingPunct="1">
              <a:lnSpc>
                <a:spcPct val="100000"/>
              </a:lnSpc>
              <a:spcBef>
                <a:spcPts val="0"/>
              </a:spcBef>
              <a:spcAft>
                <a:spcPts val="0"/>
              </a:spcAft>
              <a:buClrTx/>
              <a:buSzTx/>
              <a:buFont typeface="Arial"/>
              <a:buChar char="•"/>
              <a:tabLst>
                <a:tab pos="182245" algn="l"/>
              </a:tabLst>
              <a:defRPr/>
            </a:pPr>
            <a:r>
              <a:rPr kumimoji="0" sz="1100" b="0" i="0" u="none" strike="noStrike" kern="0" cap="none" spc="0" normalizeH="0" baseline="0" noProof="0" dirty="0">
                <a:ln>
                  <a:noFill/>
                </a:ln>
                <a:solidFill>
                  <a:srgbClr val="585353"/>
                </a:solidFill>
                <a:effectLst/>
                <a:uLnTx/>
                <a:uFillTx/>
                <a:latin typeface="Trebuchet MS"/>
                <a:ea typeface="+mn-ea"/>
                <a:cs typeface="Trebuchet MS"/>
              </a:rPr>
              <a:t>OR</a:t>
            </a:r>
            <a:r>
              <a:rPr kumimoji="0" sz="1100" b="0" i="0" u="none" strike="noStrike" kern="0" cap="none" spc="-10" normalizeH="0" baseline="0" noProof="0" dirty="0">
                <a:ln>
                  <a:noFill/>
                </a:ln>
                <a:solidFill>
                  <a:srgbClr val="585353"/>
                </a:solidFill>
                <a:effectLst/>
                <a:uLnTx/>
                <a:uFillTx/>
                <a:latin typeface="Trebuchet MS"/>
                <a:ea typeface="+mn-ea"/>
                <a:cs typeface="Trebuchet MS"/>
              </a:rPr>
              <a:t> </a:t>
            </a:r>
            <a:r>
              <a:rPr kumimoji="0" sz="1100" b="0" i="0" u="none" strike="noStrike" kern="0" cap="none" spc="0" normalizeH="0" baseline="0" noProof="0" dirty="0">
                <a:ln>
                  <a:noFill/>
                </a:ln>
                <a:solidFill>
                  <a:srgbClr val="585353"/>
                </a:solidFill>
                <a:effectLst/>
                <a:uLnTx/>
                <a:uFillTx/>
                <a:latin typeface="Trebuchet MS"/>
                <a:ea typeface="+mn-ea"/>
                <a:cs typeface="Trebuchet MS"/>
              </a:rPr>
              <a:t>by</a:t>
            </a:r>
            <a:r>
              <a:rPr kumimoji="0" sz="1100" b="0" i="0" u="none" strike="noStrike" kern="0" cap="none" spc="-5" normalizeH="0" baseline="0" noProof="0" dirty="0">
                <a:ln>
                  <a:noFill/>
                </a:ln>
                <a:solidFill>
                  <a:srgbClr val="585353"/>
                </a:solidFill>
                <a:effectLst/>
                <a:uLnTx/>
                <a:uFillTx/>
                <a:latin typeface="Trebuchet MS"/>
                <a:ea typeface="+mn-ea"/>
                <a:cs typeface="Trebuchet MS"/>
              </a:rPr>
              <a:t> </a:t>
            </a:r>
            <a:r>
              <a:rPr kumimoji="0" sz="1100" b="0" i="0" u="none" strike="noStrike" kern="0" cap="none" spc="-10" normalizeH="0" baseline="0" noProof="0" dirty="0">
                <a:ln>
                  <a:noFill/>
                </a:ln>
                <a:solidFill>
                  <a:srgbClr val="585353"/>
                </a:solidFill>
                <a:effectLst/>
                <a:uLnTx/>
                <a:uFillTx/>
                <a:latin typeface="Trebuchet MS"/>
                <a:ea typeface="+mn-ea"/>
                <a:cs typeface="Trebuchet MS"/>
              </a:rPr>
              <a:t>investigator</a:t>
            </a:r>
            <a:endParaRPr kumimoji="0" sz="1100" b="0" i="0" u="none" strike="noStrike" kern="0" cap="none" spc="0" normalizeH="0" baseline="0" noProof="0" dirty="0">
              <a:ln>
                <a:noFill/>
              </a:ln>
              <a:solidFill>
                <a:sysClr val="windowText" lastClr="000000"/>
              </a:solidFill>
              <a:effectLst/>
              <a:uLnTx/>
              <a:uFillTx/>
              <a:latin typeface="Trebuchet MS"/>
              <a:ea typeface="+mn-ea"/>
              <a:cs typeface="Trebuchet MS"/>
            </a:endParaRPr>
          </a:p>
          <a:p>
            <a:pPr marL="182245" marR="0" lvl="0" indent="-169545" algn="l" defTabSz="914400" rtl="0" eaLnBrk="1" fontAlgn="auto" latinLnBrk="0" hangingPunct="1">
              <a:lnSpc>
                <a:spcPct val="100000"/>
              </a:lnSpc>
              <a:spcBef>
                <a:spcPts val="0"/>
              </a:spcBef>
              <a:spcAft>
                <a:spcPts val="0"/>
              </a:spcAft>
              <a:buClrTx/>
              <a:buSzTx/>
              <a:buFont typeface="Arial"/>
              <a:buChar char="•"/>
              <a:tabLst>
                <a:tab pos="182245" algn="l"/>
              </a:tabLst>
              <a:defRPr/>
            </a:pPr>
            <a:r>
              <a:rPr kumimoji="0" sz="1100" b="0" i="0" u="none" strike="noStrike" kern="0" cap="none" spc="0" normalizeH="0" baseline="0" noProof="0" dirty="0">
                <a:ln>
                  <a:noFill/>
                </a:ln>
                <a:solidFill>
                  <a:srgbClr val="585353"/>
                </a:solidFill>
                <a:effectLst/>
                <a:uLnTx/>
                <a:uFillTx/>
                <a:latin typeface="Trebuchet MS"/>
                <a:ea typeface="+mn-ea"/>
                <a:cs typeface="Trebuchet MS"/>
              </a:rPr>
              <a:t>CMR</a:t>
            </a:r>
            <a:r>
              <a:rPr kumimoji="0" sz="1100" b="0" i="0" u="none" strike="noStrike" kern="0" cap="none" spc="-10" normalizeH="0" baseline="0" noProof="0" dirty="0">
                <a:ln>
                  <a:noFill/>
                </a:ln>
                <a:solidFill>
                  <a:srgbClr val="585353"/>
                </a:solidFill>
                <a:effectLst/>
                <a:uLnTx/>
                <a:uFillTx/>
                <a:latin typeface="Trebuchet MS"/>
                <a:ea typeface="+mn-ea"/>
                <a:cs typeface="Trebuchet MS"/>
              </a:rPr>
              <a:t> </a:t>
            </a:r>
            <a:r>
              <a:rPr kumimoji="0" sz="1100" b="0" i="0" u="none" strike="noStrike" kern="0" cap="none" spc="0" normalizeH="0" baseline="0" noProof="0" dirty="0">
                <a:ln>
                  <a:noFill/>
                </a:ln>
                <a:solidFill>
                  <a:srgbClr val="585353"/>
                </a:solidFill>
                <a:effectLst/>
                <a:uLnTx/>
                <a:uFillTx/>
                <a:latin typeface="Trebuchet MS"/>
                <a:ea typeface="+mn-ea"/>
                <a:cs typeface="Trebuchet MS"/>
              </a:rPr>
              <a:t>by</a:t>
            </a:r>
            <a:r>
              <a:rPr kumimoji="0" sz="1100" b="0" i="0" u="none" strike="noStrike" kern="0" cap="none" spc="-5" normalizeH="0" baseline="0" noProof="0" dirty="0">
                <a:ln>
                  <a:noFill/>
                </a:ln>
                <a:solidFill>
                  <a:srgbClr val="585353"/>
                </a:solidFill>
                <a:effectLst/>
                <a:uLnTx/>
                <a:uFillTx/>
                <a:latin typeface="Trebuchet MS"/>
                <a:ea typeface="+mn-ea"/>
                <a:cs typeface="Trebuchet MS"/>
              </a:rPr>
              <a:t> </a:t>
            </a:r>
            <a:r>
              <a:rPr kumimoji="0" sz="1100" b="0" i="0" u="none" strike="noStrike" kern="0" cap="none" spc="-10" normalizeH="0" baseline="0" noProof="0" dirty="0">
                <a:ln>
                  <a:noFill/>
                </a:ln>
                <a:solidFill>
                  <a:srgbClr val="585353"/>
                </a:solidFill>
                <a:effectLst/>
                <a:uLnTx/>
                <a:uFillTx/>
                <a:latin typeface="Trebuchet MS"/>
                <a:ea typeface="+mn-ea"/>
                <a:cs typeface="Trebuchet MS"/>
              </a:rPr>
              <a:t>investigator</a:t>
            </a:r>
            <a:endParaRPr kumimoji="0" sz="1100" b="0" i="0" u="none" strike="noStrike" kern="0" cap="none" spc="0" normalizeH="0" baseline="0" noProof="0" dirty="0">
              <a:ln>
                <a:noFill/>
              </a:ln>
              <a:solidFill>
                <a:sysClr val="windowText" lastClr="000000"/>
              </a:solidFill>
              <a:effectLst/>
              <a:uLnTx/>
              <a:uFillTx/>
              <a:latin typeface="Trebuchet MS"/>
              <a:ea typeface="+mn-ea"/>
              <a:cs typeface="Trebuchet MS"/>
            </a:endParaRPr>
          </a:p>
          <a:p>
            <a:pPr marL="182245" marR="0" lvl="0" indent="-169545" algn="l" defTabSz="914400" rtl="0" eaLnBrk="1" fontAlgn="auto" latinLnBrk="0" hangingPunct="1">
              <a:lnSpc>
                <a:spcPct val="100000"/>
              </a:lnSpc>
              <a:spcBef>
                <a:spcPts val="0"/>
              </a:spcBef>
              <a:spcAft>
                <a:spcPts val="0"/>
              </a:spcAft>
              <a:buClrTx/>
              <a:buSzTx/>
              <a:buFont typeface="Arial"/>
              <a:buChar char="•"/>
              <a:tabLst>
                <a:tab pos="182245" algn="l"/>
              </a:tabLst>
              <a:defRPr/>
            </a:pPr>
            <a:r>
              <a:rPr kumimoji="0" sz="1100" b="0" i="0" u="none" strike="noStrike" kern="0" cap="none" spc="-25" normalizeH="0" baseline="0" noProof="0" dirty="0">
                <a:ln>
                  <a:noFill/>
                </a:ln>
                <a:solidFill>
                  <a:srgbClr val="585353"/>
                </a:solidFill>
                <a:effectLst/>
                <a:uLnTx/>
                <a:uFillTx/>
                <a:latin typeface="Trebuchet MS"/>
                <a:ea typeface="+mn-ea"/>
                <a:cs typeface="Trebuchet MS"/>
              </a:rPr>
              <a:t>DOR</a:t>
            </a:r>
            <a:endParaRPr kumimoji="0" sz="1100" b="0" i="0" u="none" strike="noStrike" kern="0" cap="none" spc="0" normalizeH="0" baseline="0" noProof="0" dirty="0">
              <a:ln>
                <a:noFill/>
              </a:ln>
              <a:solidFill>
                <a:sysClr val="windowText" lastClr="000000"/>
              </a:solidFill>
              <a:effectLst/>
              <a:uLnTx/>
              <a:uFillTx/>
              <a:latin typeface="Trebuchet MS"/>
              <a:ea typeface="+mn-ea"/>
              <a:cs typeface="Trebuchet MS"/>
            </a:endParaRPr>
          </a:p>
          <a:p>
            <a:pPr marL="182245" marR="0" lvl="0" indent="-169545" algn="l" defTabSz="914400" rtl="0" eaLnBrk="1" fontAlgn="auto" latinLnBrk="0" hangingPunct="1">
              <a:lnSpc>
                <a:spcPct val="100000"/>
              </a:lnSpc>
              <a:spcBef>
                <a:spcPts val="0"/>
              </a:spcBef>
              <a:spcAft>
                <a:spcPts val="0"/>
              </a:spcAft>
              <a:buClrTx/>
              <a:buSzTx/>
              <a:buFont typeface="Arial"/>
              <a:buChar char="•"/>
              <a:tabLst>
                <a:tab pos="182245" algn="l"/>
              </a:tabLst>
              <a:defRPr/>
            </a:pPr>
            <a:r>
              <a:rPr kumimoji="0" sz="1100" b="0" i="0" u="none" strike="noStrike" kern="0" cap="none" spc="-10" normalizeH="0" baseline="0" noProof="0" dirty="0">
                <a:ln>
                  <a:noFill/>
                </a:ln>
                <a:solidFill>
                  <a:srgbClr val="585353"/>
                </a:solidFill>
                <a:effectLst/>
                <a:uLnTx/>
                <a:uFillTx/>
                <a:latin typeface="Trebuchet MS"/>
                <a:ea typeface="+mn-ea"/>
                <a:cs typeface="Trebuchet MS"/>
              </a:rPr>
              <a:t>HRQoL</a:t>
            </a:r>
            <a:endParaRPr kumimoji="0" sz="1100" b="0" i="0" u="none" strike="noStrike" kern="0" cap="none" spc="0" normalizeH="0" baseline="0" noProof="0" dirty="0">
              <a:ln>
                <a:noFill/>
              </a:ln>
              <a:solidFill>
                <a:sysClr val="windowText" lastClr="000000"/>
              </a:solidFill>
              <a:effectLst/>
              <a:uLnTx/>
              <a:uFillTx/>
              <a:latin typeface="Trebuchet MS"/>
              <a:ea typeface="+mn-ea"/>
              <a:cs typeface="Trebuchet MS"/>
            </a:endParaRPr>
          </a:p>
          <a:p>
            <a:pPr marL="182245" marR="0" lvl="0" indent="-169545" algn="l" defTabSz="914400" rtl="0" eaLnBrk="1" fontAlgn="auto" latinLnBrk="0" hangingPunct="1">
              <a:lnSpc>
                <a:spcPct val="100000"/>
              </a:lnSpc>
              <a:spcBef>
                <a:spcPts val="0"/>
              </a:spcBef>
              <a:spcAft>
                <a:spcPts val="0"/>
              </a:spcAft>
              <a:buClrTx/>
              <a:buSzTx/>
              <a:buFont typeface="Arial"/>
              <a:buChar char="•"/>
              <a:tabLst>
                <a:tab pos="182245" algn="l"/>
              </a:tabLst>
              <a:defRPr/>
            </a:pPr>
            <a:r>
              <a:rPr kumimoji="0" sz="1100" b="0" i="0" u="none" strike="noStrike" kern="0" cap="none" spc="-10" normalizeH="0" baseline="0" noProof="0" dirty="0">
                <a:ln>
                  <a:noFill/>
                </a:ln>
                <a:solidFill>
                  <a:srgbClr val="585353"/>
                </a:solidFill>
                <a:effectLst/>
                <a:uLnTx/>
                <a:uFillTx/>
                <a:latin typeface="Trebuchet MS"/>
                <a:ea typeface="+mn-ea"/>
                <a:cs typeface="Trebuchet MS"/>
              </a:rPr>
              <a:t>Safety</a:t>
            </a:r>
            <a:endParaRPr kumimoji="0" sz="1100" b="0" i="0" u="none" strike="noStrike" kern="0" cap="none" spc="0" normalizeH="0" baseline="0" noProof="0" dirty="0">
              <a:ln>
                <a:noFill/>
              </a:ln>
              <a:solidFill>
                <a:sysClr val="windowText" lastClr="000000"/>
              </a:solidFill>
              <a:effectLst/>
              <a:uLnTx/>
              <a:uFillTx/>
              <a:latin typeface="Trebuchet MS"/>
              <a:ea typeface="+mn-ea"/>
              <a:cs typeface="Trebuchet MS"/>
            </a:endParaRPr>
          </a:p>
        </p:txBody>
      </p:sp>
      <p:grpSp>
        <p:nvGrpSpPr>
          <p:cNvPr id="22" name="object 22"/>
          <p:cNvGrpSpPr/>
          <p:nvPr/>
        </p:nvGrpSpPr>
        <p:grpSpPr>
          <a:xfrm>
            <a:off x="383857" y="900938"/>
            <a:ext cx="8659495" cy="4442460"/>
            <a:chOff x="383857" y="900938"/>
            <a:chExt cx="8659495" cy="4442460"/>
          </a:xfrm>
        </p:grpSpPr>
        <p:sp>
          <p:nvSpPr>
            <p:cNvPr id="23" name="object 23"/>
            <p:cNvSpPr/>
            <p:nvPr/>
          </p:nvSpPr>
          <p:spPr>
            <a:xfrm>
              <a:off x="8527541" y="1668018"/>
              <a:ext cx="502920" cy="504825"/>
            </a:xfrm>
            <a:custGeom>
              <a:avLst/>
              <a:gdLst/>
              <a:ahLst/>
              <a:cxnLst/>
              <a:rect l="l" t="t" r="r" b="b"/>
              <a:pathLst>
                <a:path w="502920" h="504825">
                  <a:moveTo>
                    <a:pt x="251459" y="0"/>
                  </a:moveTo>
                  <a:lnTo>
                    <a:pt x="206243" y="4062"/>
                  </a:lnTo>
                  <a:lnTo>
                    <a:pt x="163693" y="15777"/>
                  </a:lnTo>
                  <a:lnTo>
                    <a:pt x="124516" y="34431"/>
                  </a:lnTo>
                  <a:lnTo>
                    <a:pt x="89422" y="59312"/>
                  </a:lnTo>
                  <a:lnTo>
                    <a:pt x="59120" y="89710"/>
                  </a:lnTo>
                  <a:lnTo>
                    <a:pt x="34318" y="124911"/>
                  </a:lnTo>
                  <a:lnTo>
                    <a:pt x="15725" y="164205"/>
                  </a:lnTo>
                  <a:lnTo>
                    <a:pt x="4049" y="206879"/>
                  </a:lnTo>
                  <a:lnTo>
                    <a:pt x="0" y="252222"/>
                  </a:lnTo>
                  <a:lnTo>
                    <a:pt x="4049" y="297564"/>
                  </a:lnTo>
                  <a:lnTo>
                    <a:pt x="15725" y="340238"/>
                  </a:lnTo>
                  <a:lnTo>
                    <a:pt x="34318" y="379532"/>
                  </a:lnTo>
                  <a:lnTo>
                    <a:pt x="59120" y="414733"/>
                  </a:lnTo>
                  <a:lnTo>
                    <a:pt x="89422" y="445131"/>
                  </a:lnTo>
                  <a:lnTo>
                    <a:pt x="124516" y="470012"/>
                  </a:lnTo>
                  <a:lnTo>
                    <a:pt x="163693" y="488666"/>
                  </a:lnTo>
                  <a:lnTo>
                    <a:pt x="206243" y="500381"/>
                  </a:lnTo>
                  <a:lnTo>
                    <a:pt x="251459" y="504444"/>
                  </a:lnTo>
                  <a:lnTo>
                    <a:pt x="296676" y="500381"/>
                  </a:lnTo>
                  <a:lnTo>
                    <a:pt x="339226" y="488666"/>
                  </a:lnTo>
                  <a:lnTo>
                    <a:pt x="378403" y="470012"/>
                  </a:lnTo>
                  <a:lnTo>
                    <a:pt x="413497" y="445131"/>
                  </a:lnTo>
                  <a:lnTo>
                    <a:pt x="443799" y="414733"/>
                  </a:lnTo>
                  <a:lnTo>
                    <a:pt x="468601" y="379532"/>
                  </a:lnTo>
                  <a:lnTo>
                    <a:pt x="487194" y="340238"/>
                  </a:lnTo>
                  <a:lnTo>
                    <a:pt x="498870" y="297564"/>
                  </a:lnTo>
                  <a:lnTo>
                    <a:pt x="502919" y="252222"/>
                  </a:lnTo>
                  <a:lnTo>
                    <a:pt x="498870" y="206879"/>
                  </a:lnTo>
                  <a:lnTo>
                    <a:pt x="487194" y="164205"/>
                  </a:lnTo>
                  <a:lnTo>
                    <a:pt x="468601" y="124911"/>
                  </a:lnTo>
                  <a:lnTo>
                    <a:pt x="443799" y="89710"/>
                  </a:lnTo>
                  <a:lnTo>
                    <a:pt x="413497" y="59312"/>
                  </a:lnTo>
                  <a:lnTo>
                    <a:pt x="378403" y="34431"/>
                  </a:lnTo>
                  <a:lnTo>
                    <a:pt x="339226" y="15777"/>
                  </a:lnTo>
                  <a:lnTo>
                    <a:pt x="296676" y="4062"/>
                  </a:lnTo>
                  <a:lnTo>
                    <a:pt x="251459" y="0"/>
                  </a:lnTo>
                  <a:close/>
                </a:path>
              </a:pathLst>
            </a:custGeom>
            <a:solidFill>
              <a:srgbClr val="DFC9C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4" name="object 24"/>
            <p:cNvSpPr/>
            <p:nvPr/>
          </p:nvSpPr>
          <p:spPr>
            <a:xfrm>
              <a:off x="8527541" y="1668018"/>
              <a:ext cx="502920" cy="504825"/>
            </a:xfrm>
            <a:custGeom>
              <a:avLst/>
              <a:gdLst/>
              <a:ahLst/>
              <a:cxnLst/>
              <a:rect l="l" t="t" r="r" b="b"/>
              <a:pathLst>
                <a:path w="502920" h="504825">
                  <a:moveTo>
                    <a:pt x="0" y="252222"/>
                  </a:moveTo>
                  <a:lnTo>
                    <a:pt x="4049" y="206879"/>
                  </a:lnTo>
                  <a:lnTo>
                    <a:pt x="15725" y="164205"/>
                  </a:lnTo>
                  <a:lnTo>
                    <a:pt x="34318" y="124911"/>
                  </a:lnTo>
                  <a:lnTo>
                    <a:pt x="59120" y="89710"/>
                  </a:lnTo>
                  <a:lnTo>
                    <a:pt x="89422" y="59312"/>
                  </a:lnTo>
                  <a:lnTo>
                    <a:pt x="124516" y="34431"/>
                  </a:lnTo>
                  <a:lnTo>
                    <a:pt x="163693" y="15777"/>
                  </a:lnTo>
                  <a:lnTo>
                    <a:pt x="206243" y="4062"/>
                  </a:lnTo>
                  <a:lnTo>
                    <a:pt x="251459" y="0"/>
                  </a:lnTo>
                  <a:lnTo>
                    <a:pt x="296676" y="4062"/>
                  </a:lnTo>
                  <a:lnTo>
                    <a:pt x="339226" y="15777"/>
                  </a:lnTo>
                  <a:lnTo>
                    <a:pt x="378403" y="34431"/>
                  </a:lnTo>
                  <a:lnTo>
                    <a:pt x="413497" y="59312"/>
                  </a:lnTo>
                  <a:lnTo>
                    <a:pt x="443799" y="89710"/>
                  </a:lnTo>
                  <a:lnTo>
                    <a:pt x="468601" y="124911"/>
                  </a:lnTo>
                  <a:lnTo>
                    <a:pt x="487194" y="164205"/>
                  </a:lnTo>
                  <a:lnTo>
                    <a:pt x="498870" y="206879"/>
                  </a:lnTo>
                  <a:lnTo>
                    <a:pt x="502919" y="252222"/>
                  </a:lnTo>
                  <a:lnTo>
                    <a:pt x="498870" y="297564"/>
                  </a:lnTo>
                  <a:lnTo>
                    <a:pt x="487194" y="340238"/>
                  </a:lnTo>
                  <a:lnTo>
                    <a:pt x="468601" y="379532"/>
                  </a:lnTo>
                  <a:lnTo>
                    <a:pt x="443799" y="414733"/>
                  </a:lnTo>
                  <a:lnTo>
                    <a:pt x="413497" y="445131"/>
                  </a:lnTo>
                  <a:lnTo>
                    <a:pt x="378403" y="470012"/>
                  </a:lnTo>
                  <a:lnTo>
                    <a:pt x="339226" y="488666"/>
                  </a:lnTo>
                  <a:lnTo>
                    <a:pt x="296676" y="500381"/>
                  </a:lnTo>
                  <a:lnTo>
                    <a:pt x="251459" y="504444"/>
                  </a:lnTo>
                  <a:lnTo>
                    <a:pt x="206243" y="500381"/>
                  </a:lnTo>
                  <a:lnTo>
                    <a:pt x="163693" y="488666"/>
                  </a:lnTo>
                  <a:lnTo>
                    <a:pt x="124516" y="470012"/>
                  </a:lnTo>
                  <a:lnTo>
                    <a:pt x="89422" y="445131"/>
                  </a:lnTo>
                  <a:lnTo>
                    <a:pt x="59120" y="414733"/>
                  </a:lnTo>
                  <a:lnTo>
                    <a:pt x="34318" y="379532"/>
                  </a:lnTo>
                  <a:lnTo>
                    <a:pt x="15725" y="340238"/>
                  </a:lnTo>
                  <a:lnTo>
                    <a:pt x="4049" y="297564"/>
                  </a:lnTo>
                  <a:lnTo>
                    <a:pt x="0" y="252222"/>
                  </a:lnTo>
                  <a:close/>
                </a:path>
              </a:pathLst>
            </a:custGeom>
            <a:ln w="25400">
              <a:solidFill>
                <a:srgbClr val="CEAEA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5" name="object 25"/>
            <p:cNvSpPr/>
            <p:nvPr/>
          </p:nvSpPr>
          <p:spPr>
            <a:xfrm>
              <a:off x="8592655" y="1739262"/>
              <a:ext cx="352425" cy="352425"/>
            </a:xfrm>
            <a:custGeom>
              <a:avLst/>
              <a:gdLst/>
              <a:ahLst/>
              <a:cxnLst/>
              <a:rect l="l" t="t" r="r" b="b"/>
              <a:pathLst>
                <a:path w="352425" h="352425">
                  <a:moveTo>
                    <a:pt x="283052" y="239947"/>
                  </a:moveTo>
                  <a:lnTo>
                    <a:pt x="214853" y="239947"/>
                  </a:lnTo>
                  <a:lnTo>
                    <a:pt x="234466" y="259571"/>
                  </a:lnTo>
                  <a:lnTo>
                    <a:pt x="234055" y="265725"/>
                  </a:lnTo>
                  <a:lnTo>
                    <a:pt x="304896" y="349217"/>
                  </a:lnTo>
                  <a:lnTo>
                    <a:pt x="328966" y="352339"/>
                  </a:lnTo>
                  <a:lnTo>
                    <a:pt x="336990" y="349217"/>
                  </a:lnTo>
                  <a:lnTo>
                    <a:pt x="343230" y="342973"/>
                  </a:lnTo>
                  <a:lnTo>
                    <a:pt x="349743" y="332499"/>
                  </a:lnTo>
                  <a:lnTo>
                    <a:pt x="351867" y="320729"/>
                  </a:lnTo>
                  <a:lnTo>
                    <a:pt x="349561" y="309042"/>
                  </a:lnTo>
                  <a:lnTo>
                    <a:pt x="342785" y="298819"/>
                  </a:lnTo>
                  <a:lnTo>
                    <a:pt x="287065" y="243069"/>
                  </a:lnTo>
                  <a:lnTo>
                    <a:pt x="283052" y="239947"/>
                  </a:lnTo>
                  <a:close/>
                </a:path>
                <a:path w="352425" h="352425">
                  <a:moveTo>
                    <a:pt x="133725" y="0"/>
                  </a:moveTo>
                  <a:lnTo>
                    <a:pt x="91575" y="6850"/>
                  </a:lnTo>
                  <a:lnTo>
                    <a:pt x="54881" y="25903"/>
                  </a:lnTo>
                  <a:lnTo>
                    <a:pt x="25889" y="54911"/>
                  </a:lnTo>
                  <a:lnTo>
                    <a:pt x="6846" y="91625"/>
                  </a:lnTo>
                  <a:lnTo>
                    <a:pt x="72" y="133353"/>
                  </a:lnTo>
                  <a:lnTo>
                    <a:pt x="0" y="133799"/>
                  </a:lnTo>
                  <a:lnTo>
                    <a:pt x="6846" y="175973"/>
                  </a:lnTo>
                  <a:lnTo>
                    <a:pt x="25889" y="212688"/>
                  </a:lnTo>
                  <a:lnTo>
                    <a:pt x="54881" y="241695"/>
                  </a:lnTo>
                  <a:lnTo>
                    <a:pt x="91575" y="260749"/>
                  </a:lnTo>
                  <a:lnTo>
                    <a:pt x="133726" y="267599"/>
                  </a:lnTo>
                  <a:lnTo>
                    <a:pt x="155993" y="265725"/>
                  </a:lnTo>
                  <a:lnTo>
                    <a:pt x="177131" y="260296"/>
                  </a:lnTo>
                  <a:lnTo>
                    <a:pt x="196849" y="251606"/>
                  </a:lnTo>
                  <a:lnTo>
                    <a:pt x="214164" y="240393"/>
                  </a:lnTo>
                  <a:lnTo>
                    <a:pt x="133280" y="240393"/>
                  </a:lnTo>
                  <a:lnTo>
                    <a:pt x="91741" y="231947"/>
                  </a:lnTo>
                  <a:lnTo>
                    <a:pt x="57725" y="208950"/>
                  </a:lnTo>
                  <a:lnTo>
                    <a:pt x="34741" y="174915"/>
                  </a:lnTo>
                  <a:lnTo>
                    <a:pt x="26390" y="133799"/>
                  </a:lnTo>
                  <a:lnTo>
                    <a:pt x="26299" y="133353"/>
                  </a:lnTo>
                  <a:lnTo>
                    <a:pt x="34740" y="91792"/>
                  </a:lnTo>
                  <a:lnTo>
                    <a:pt x="57725" y="57756"/>
                  </a:lnTo>
                  <a:lnTo>
                    <a:pt x="91741" y="34760"/>
                  </a:lnTo>
                  <a:lnTo>
                    <a:pt x="133280" y="26313"/>
                  </a:lnTo>
                  <a:lnTo>
                    <a:pt x="212981" y="26314"/>
                  </a:lnTo>
                  <a:lnTo>
                    <a:pt x="212571" y="25903"/>
                  </a:lnTo>
                  <a:lnTo>
                    <a:pt x="175876" y="6850"/>
                  </a:lnTo>
                  <a:lnTo>
                    <a:pt x="133725" y="0"/>
                  </a:lnTo>
                  <a:close/>
                </a:path>
                <a:path w="352425" h="352425">
                  <a:moveTo>
                    <a:pt x="212981" y="26314"/>
                  </a:moveTo>
                  <a:lnTo>
                    <a:pt x="133280" y="26313"/>
                  </a:lnTo>
                  <a:lnTo>
                    <a:pt x="174818" y="34760"/>
                  </a:lnTo>
                  <a:lnTo>
                    <a:pt x="208835" y="57756"/>
                  </a:lnTo>
                  <a:lnTo>
                    <a:pt x="231707" y="91626"/>
                  </a:lnTo>
                  <a:lnTo>
                    <a:pt x="231819" y="91792"/>
                  </a:lnTo>
                  <a:lnTo>
                    <a:pt x="240261" y="133353"/>
                  </a:lnTo>
                  <a:lnTo>
                    <a:pt x="231820" y="174915"/>
                  </a:lnTo>
                  <a:lnTo>
                    <a:pt x="208835" y="208950"/>
                  </a:lnTo>
                  <a:lnTo>
                    <a:pt x="174819" y="231947"/>
                  </a:lnTo>
                  <a:lnTo>
                    <a:pt x="133280" y="240393"/>
                  </a:lnTo>
                  <a:lnTo>
                    <a:pt x="214164" y="240393"/>
                  </a:lnTo>
                  <a:lnTo>
                    <a:pt x="214853" y="239947"/>
                  </a:lnTo>
                  <a:lnTo>
                    <a:pt x="283052" y="239947"/>
                  </a:lnTo>
                  <a:lnTo>
                    <a:pt x="280929" y="238296"/>
                  </a:lnTo>
                  <a:lnTo>
                    <a:pt x="274083" y="235320"/>
                  </a:lnTo>
                  <a:lnTo>
                    <a:pt x="269766" y="234595"/>
                  </a:lnTo>
                  <a:lnTo>
                    <a:pt x="259429" y="234595"/>
                  </a:lnTo>
                  <a:lnTo>
                    <a:pt x="239815" y="214971"/>
                  </a:lnTo>
                  <a:lnTo>
                    <a:pt x="251468" y="197145"/>
                  </a:lnTo>
                  <a:lnTo>
                    <a:pt x="260153" y="177396"/>
                  </a:lnTo>
                  <a:lnTo>
                    <a:pt x="265578" y="156141"/>
                  </a:lnTo>
                  <a:lnTo>
                    <a:pt x="267452" y="133799"/>
                  </a:lnTo>
                  <a:lnTo>
                    <a:pt x="260632" y="91792"/>
                  </a:lnTo>
                  <a:lnTo>
                    <a:pt x="260605" y="91626"/>
                  </a:lnTo>
                  <a:lnTo>
                    <a:pt x="241562" y="54911"/>
                  </a:lnTo>
                  <a:lnTo>
                    <a:pt x="212981" y="26314"/>
                  </a:lnTo>
                  <a:close/>
                </a:path>
                <a:path w="352425" h="352425">
                  <a:moveTo>
                    <a:pt x="266818" y="234100"/>
                  </a:moveTo>
                  <a:lnTo>
                    <a:pt x="259429" y="234595"/>
                  </a:lnTo>
                  <a:lnTo>
                    <a:pt x="269766" y="234595"/>
                  </a:lnTo>
                  <a:lnTo>
                    <a:pt x="266818" y="234100"/>
                  </a:lnTo>
                  <a:close/>
                </a:path>
              </a:pathLst>
            </a:custGeom>
            <a:solidFill>
              <a:srgbClr val="58535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6" name="object 26"/>
            <p:cNvSpPr/>
            <p:nvPr/>
          </p:nvSpPr>
          <p:spPr>
            <a:xfrm>
              <a:off x="8592655" y="1739262"/>
              <a:ext cx="352425" cy="352425"/>
            </a:xfrm>
            <a:custGeom>
              <a:avLst/>
              <a:gdLst/>
              <a:ahLst/>
              <a:cxnLst/>
              <a:rect l="l" t="t" r="r" b="b"/>
              <a:pathLst>
                <a:path w="352425" h="352425">
                  <a:moveTo>
                    <a:pt x="342785" y="298819"/>
                  </a:moveTo>
                  <a:lnTo>
                    <a:pt x="287065" y="243069"/>
                  </a:lnTo>
                  <a:lnTo>
                    <a:pt x="280929" y="238296"/>
                  </a:lnTo>
                  <a:lnTo>
                    <a:pt x="274083" y="235320"/>
                  </a:lnTo>
                  <a:lnTo>
                    <a:pt x="266818" y="234100"/>
                  </a:lnTo>
                  <a:lnTo>
                    <a:pt x="259429" y="234595"/>
                  </a:lnTo>
                  <a:lnTo>
                    <a:pt x="239815" y="214971"/>
                  </a:lnTo>
                  <a:lnTo>
                    <a:pt x="251468" y="197145"/>
                  </a:lnTo>
                  <a:lnTo>
                    <a:pt x="260153" y="177396"/>
                  </a:lnTo>
                  <a:lnTo>
                    <a:pt x="265578" y="156141"/>
                  </a:lnTo>
                  <a:lnTo>
                    <a:pt x="267452" y="133799"/>
                  </a:lnTo>
                  <a:lnTo>
                    <a:pt x="260605" y="91626"/>
                  </a:lnTo>
                  <a:lnTo>
                    <a:pt x="241562" y="54911"/>
                  </a:lnTo>
                  <a:lnTo>
                    <a:pt x="212571" y="25903"/>
                  </a:lnTo>
                  <a:lnTo>
                    <a:pt x="175876" y="6850"/>
                  </a:lnTo>
                  <a:lnTo>
                    <a:pt x="133725" y="0"/>
                  </a:lnTo>
                  <a:lnTo>
                    <a:pt x="91575" y="6850"/>
                  </a:lnTo>
                  <a:lnTo>
                    <a:pt x="54881" y="25903"/>
                  </a:lnTo>
                  <a:lnTo>
                    <a:pt x="25889" y="54911"/>
                  </a:lnTo>
                  <a:lnTo>
                    <a:pt x="6846" y="91625"/>
                  </a:lnTo>
                  <a:lnTo>
                    <a:pt x="0" y="133799"/>
                  </a:lnTo>
                  <a:lnTo>
                    <a:pt x="6846" y="175973"/>
                  </a:lnTo>
                  <a:lnTo>
                    <a:pt x="25889" y="212688"/>
                  </a:lnTo>
                  <a:lnTo>
                    <a:pt x="54881" y="241695"/>
                  </a:lnTo>
                  <a:lnTo>
                    <a:pt x="91575" y="260748"/>
                  </a:lnTo>
                  <a:lnTo>
                    <a:pt x="133726" y="267599"/>
                  </a:lnTo>
                  <a:lnTo>
                    <a:pt x="155993" y="265725"/>
                  </a:lnTo>
                  <a:lnTo>
                    <a:pt x="177131" y="260296"/>
                  </a:lnTo>
                  <a:lnTo>
                    <a:pt x="196849" y="251606"/>
                  </a:lnTo>
                  <a:lnTo>
                    <a:pt x="214853" y="239947"/>
                  </a:lnTo>
                  <a:lnTo>
                    <a:pt x="234466" y="259571"/>
                  </a:lnTo>
                  <a:lnTo>
                    <a:pt x="298655" y="342973"/>
                  </a:lnTo>
                  <a:lnTo>
                    <a:pt x="304896" y="349217"/>
                  </a:lnTo>
                  <a:lnTo>
                    <a:pt x="312919" y="352339"/>
                  </a:lnTo>
                  <a:lnTo>
                    <a:pt x="320943" y="352339"/>
                  </a:lnTo>
                  <a:lnTo>
                    <a:pt x="328966" y="352339"/>
                  </a:lnTo>
                  <a:lnTo>
                    <a:pt x="336990" y="349217"/>
                  </a:lnTo>
                  <a:lnTo>
                    <a:pt x="343230" y="342973"/>
                  </a:lnTo>
                  <a:lnTo>
                    <a:pt x="349743" y="332499"/>
                  </a:lnTo>
                  <a:lnTo>
                    <a:pt x="351867" y="320729"/>
                  </a:lnTo>
                  <a:lnTo>
                    <a:pt x="349561" y="309042"/>
                  </a:lnTo>
                  <a:lnTo>
                    <a:pt x="342785" y="298819"/>
                  </a:lnTo>
                  <a:close/>
                </a:path>
              </a:pathLst>
            </a:custGeom>
            <a:ln w="5201">
              <a:solidFill>
                <a:srgbClr val="58535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27" name="object 27"/>
            <p:cNvPicPr/>
            <p:nvPr/>
          </p:nvPicPr>
          <p:blipFill>
            <a:blip r:embed="rId2" cstate="print"/>
            <a:stretch>
              <a:fillRect/>
            </a:stretch>
          </p:blipFill>
          <p:spPr>
            <a:xfrm>
              <a:off x="8616354" y="1762975"/>
              <a:ext cx="219163" cy="219281"/>
            </a:xfrm>
            <a:prstGeom prst="rect">
              <a:avLst/>
            </a:prstGeom>
          </p:spPr>
        </p:pic>
        <p:sp>
          <p:nvSpPr>
            <p:cNvPr id="28" name="object 28"/>
            <p:cNvSpPr/>
            <p:nvPr/>
          </p:nvSpPr>
          <p:spPr>
            <a:xfrm>
              <a:off x="8527541" y="913638"/>
              <a:ext cx="502920" cy="504825"/>
            </a:xfrm>
            <a:custGeom>
              <a:avLst/>
              <a:gdLst/>
              <a:ahLst/>
              <a:cxnLst/>
              <a:rect l="l" t="t" r="r" b="b"/>
              <a:pathLst>
                <a:path w="502920" h="504825">
                  <a:moveTo>
                    <a:pt x="251459" y="0"/>
                  </a:moveTo>
                  <a:lnTo>
                    <a:pt x="206243" y="4062"/>
                  </a:lnTo>
                  <a:lnTo>
                    <a:pt x="163693" y="15777"/>
                  </a:lnTo>
                  <a:lnTo>
                    <a:pt x="124516" y="34431"/>
                  </a:lnTo>
                  <a:lnTo>
                    <a:pt x="89422" y="59312"/>
                  </a:lnTo>
                  <a:lnTo>
                    <a:pt x="59120" y="89710"/>
                  </a:lnTo>
                  <a:lnTo>
                    <a:pt x="34318" y="124911"/>
                  </a:lnTo>
                  <a:lnTo>
                    <a:pt x="15725" y="164205"/>
                  </a:lnTo>
                  <a:lnTo>
                    <a:pt x="4049" y="206879"/>
                  </a:lnTo>
                  <a:lnTo>
                    <a:pt x="0" y="252222"/>
                  </a:lnTo>
                  <a:lnTo>
                    <a:pt x="4049" y="297564"/>
                  </a:lnTo>
                  <a:lnTo>
                    <a:pt x="15725" y="340238"/>
                  </a:lnTo>
                  <a:lnTo>
                    <a:pt x="34318" y="379532"/>
                  </a:lnTo>
                  <a:lnTo>
                    <a:pt x="59120" y="414733"/>
                  </a:lnTo>
                  <a:lnTo>
                    <a:pt x="89422" y="445131"/>
                  </a:lnTo>
                  <a:lnTo>
                    <a:pt x="124516" y="470012"/>
                  </a:lnTo>
                  <a:lnTo>
                    <a:pt x="163693" y="488666"/>
                  </a:lnTo>
                  <a:lnTo>
                    <a:pt x="206243" y="500381"/>
                  </a:lnTo>
                  <a:lnTo>
                    <a:pt x="251459" y="504444"/>
                  </a:lnTo>
                  <a:lnTo>
                    <a:pt x="296676" y="500381"/>
                  </a:lnTo>
                  <a:lnTo>
                    <a:pt x="339226" y="488666"/>
                  </a:lnTo>
                  <a:lnTo>
                    <a:pt x="378403" y="470012"/>
                  </a:lnTo>
                  <a:lnTo>
                    <a:pt x="413497" y="445131"/>
                  </a:lnTo>
                  <a:lnTo>
                    <a:pt x="443799" y="414733"/>
                  </a:lnTo>
                  <a:lnTo>
                    <a:pt x="468601" y="379532"/>
                  </a:lnTo>
                  <a:lnTo>
                    <a:pt x="487194" y="340238"/>
                  </a:lnTo>
                  <a:lnTo>
                    <a:pt x="498870" y="297564"/>
                  </a:lnTo>
                  <a:lnTo>
                    <a:pt x="502919" y="252222"/>
                  </a:lnTo>
                  <a:lnTo>
                    <a:pt x="498870" y="206879"/>
                  </a:lnTo>
                  <a:lnTo>
                    <a:pt x="487194" y="164205"/>
                  </a:lnTo>
                  <a:lnTo>
                    <a:pt x="468601" y="124911"/>
                  </a:lnTo>
                  <a:lnTo>
                    <a:pt x="443799" y="89710"/>
                  </a:lnTo>
                  <a:lnTo>
                    <a:pt x="413497" y="59312"/>
                  </a:lnTo>
                  <a:lnTo>
                    <a:pt x="378403" y="34431"/>
                  </a:lnTo>
                  <a:lnTo>
                    <a:pt x="339226" y="15777"/>
                  </a:lnTo>
                  <a:lnTo>
                    <a:pt x="296676" y="4062"/>
                  </a:lnTo>
                  <a:lnTo>
                    <a:pt x="251459" y="0"/>
                  </a:lnTo>
                  <a:close/>
                </a:path>
              </a:pathLst>
            </a:custGeom>
            <a:solidFill>
              <a:srgbClr val="ACEEF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9" name="object 29"/>
            <p:cNvSpPr/>
            <p:nvPr/>
          </p:nvSpPr>
          <p:spPr>
            <a:xfrm>
              <a:off x="8527541" y="913638"/>
              <a:ext cx="502920" cy="504825"/>
            </a:xfrm>
            <a:custGeom>
              <a:avLst/>
              <a:gdLst/>
              <a:ahLst/>
              <a:cxnLst/>
              <a:rect l="l" t="t" r="r" b="b"/>
              <a:pathLst>
                <a:path w="502920" h="504825">
                  <a:moveTo>
                    <a:pt x="0" y="252222"/>
                  </a:moveTo>
                  <a:lnTo>
                    <a:pt x="4049" y="206879"/>
                  </a:lnTo>
                  <a:lnTo>
                    <a:pt x="15725" y="164205"/>
                  </a:lnTo>
                  <a:lnTo>
                    <a:pt x="34318" y="124911"/>
                  </a:lnTo>
                  <a:lnTo>
                    <a:pt x="59120" y="89710"/>
                  </a:lnTo>
                  <a:lnTo>
                    <a:pt x="89422" y="59312"/>
                  </a:lnTo>
                  <a:lnTo>
                    <a:pt x="124516" y="34431"/>
                  </a:lnTo>
                  <a:lnTo>
                    <a:pt x="163693" y="15777"/>
                  </a:lnTo>
                  <a:lnTo>
                    <a:pt x="206243" y="4062"/>
                  </a:lnTo>
                  <a:lnTo>
                    <a:pt x="251459" y="0"/>
                  </a:lnTo>
                  <a:lnTo>
                    <a:pt x="296676" y="4062"/>
                  </a:lnTo>
                  <a:lnTo>
                    <a:pt x="339226" y="15777"/>
                  </a:lnTo>
                  <a:lnTo>
                    <a:pt x="378403" y="34431"/>
                  </a:lnTo>
                  <a:lnTo>
                    <a:pt x="413497" y="59312"/>
                  </a:lnTo>
                  <a:lnTo>
                    <a:pt x="443799" y="89710"/>
                  </a:lnTo>
                  <a:lnTo>
                    <a:pt x="468601" y="124911"/>
                  </a:lnTo>
                  <a:lnTo>
                    <a:pt x="487194" y="164205"/>
                  </a:lnTo>
                  <a:lnTo>
                    <a:pt x="498870" y="206879"/>
                  </a:lnTo>
                  <a:lnTo>
                    <a:pt x="502919" y="252222"/>
                  </a:lnTo>
                  <a:lnTo>
                    <a:pt x="498870" y="297564"/>
                  </a:lnTo>
                  <a:lnTo>
                    <a:pt x="487194" y="340238"/>
                  </a:lnTo>
                  <a:lnTo>
                    <a:pt x="468601" y="379532"/>
                  </a:lnTo>
                  <a:lnTo>
                    <a:pt x="443799" y="414733"/>
                  </a:lnTo>
                  <a:lnTo>
                    <a:pt x="413497" y="445131"/>
                  </a:lnTo>
                  <a:lnTo>
                    <a:pt x="378403" y="470012"/>
                  </a:lnTo>
                  <a:lnTo>
                    <a:pt x="339226" y="488666"/>
                  </a:lnTo>
                  <a:lnTo>
                    <a:pt x="296676" y="500381"/>
                  </a:lnTo>
                  <a:lnTo>
                    <a:pt x="251459" y="504444"/>
                  </a:lnTo>
                  <a:lnTo>
                    <a:pt x="206243" y="500381"/>
                  </a:lnTo>
                  <a:lnTo>
                    <a:pt x="163693" y="488666"/>
                  </a:lnTo>
                  <a:lnTo>
                    <a:pt x="124516" y="470012"/>
                  </a:lnTo>
                  <a:lnTo>
                    <a:pt x="89422" y="445131"/>
                  </a:lnTo>
                  <a:lnTo>
                    <a:pt x="59120" y="414733"/>
                  </a:lnTo>
                  <a:lnTo>
                    <a:pt x="34318" y="379532"/>
                  </a:lnTo>
                  <a:lnTo>
                    <a:pt x="15725" y="340238"/>
                  </a:lnTo>
                  <a:lnTo>
                    <a:pt x="4049" y="297564"/>
                  </a:lnTo>
                  <a:lnTo>
                    <a:pt x="0" y="252222"/>
                  </a:lnTo>
                  <a:close/>
                </a:path>
              </a:pathLst>
            </a:custGeom>
            <a:ln w="25400">
              <a:solidFill>
                <a:srgbClr val="85E6F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30" name="object 30"/>
            <p:cNvPicPr/>
            <p:nvPr/>
          </p:nvPicPr>
          <p:blipFill>
            <a:blip r:embed="rId3" cstate="print"/>
            <a:stretch>
              <a:fillRect/>
            </a:stretch>
          </p:blipFill>
          <p:spPr>
            <a:xfrm>
              <a:off x="8736163" y="987050"/>
              <a:ext cx="225373" cy="225056"/>
            </a:xfrm>
            <a:prstGeom prst="rect">
              <a:avLst/>
            </a:prstGeom>
          </p:spPr>
        </p:pic>
        <p:sp>
          <p:nvSpPr>
            <p:cNvPr id="31" name="object 31"/>
            <p:cNvSpPr/>
            <p:nvPr/>
          </p:nvSpPr>
          <p:spPr>
            <a:xfrm>
              <a:off x="8613112" y="1000288"/>
              <a:ext cx="335280" cy="335915"/>
            </a:xfrm>
            <a:custGeom>
              <a:avLst/>
              <a:gdLst/>
              <a:ahLst/>
              <a:cxnLst/>
              <a:rect l="l" t="t" r="r" b="b"/>
              <a:pathLst>
                <a:path w="335279" h="335915">
                  <a:moveTo>
                    <a:pt x="167596" y="0"/>
                  </a:moveTo>
                  <a:lnTo>
                    <a:pt x="123022" y="5985"/>
                  </a:lnTo>
                  <a:lnTo>
                    <a:pt x="82981" y="22881"/>
                  </a:lnTo>
                  <a:lnTo>
                    <a:pt x="49066" y="49093"/>
                  </a:lnTo>
                  <a:lnTo>
                    <a:pt x="22868" y="83027"/>
                  </a:lnTo>
                  <a:lnTo>
                    <a:pt x="5982" y="123090"/>
                  </a:lnTo>
                  <a:lnTo>
                    <a:pt x="0" y="167689"/>
                  </a:lnTo>
                  <a:lnTo>
                    <a:pt x="5982" y="212288"/>
                  </a:lnTo>
                  <a:lnTo>
                    <a:pt x="22869" y="252351"/>
                  </a:lnTo>
                  <a:lnTo>
                    <a:pt x="49066" y="286285"/>
                  </a:lnTo>
                  <a:lnTo>
                    <a:pt x="82982" y="312497"/>
                  </a:lnTo>
                  <a:lnTo>
                    <a:pt x="123023" y="329392"/>
                  </a:lnTo>
                  <a:lnTo>
                    <a:pt x="167597" y="335378"/>
                  </a:lnTo>
                  <a:lnTo>
                    <a:pt x="212171" y="329392"/>
                  </a:lnTo>
                  <a:lnTo>
                    <a:pt x="252212" y="312497"/>
                  </a:lnTo>
                  <a:lnTo>
                    <a:pt x="286128" y="286285"/>
                  </a:lnTo>
                  <a:lnTo>
                    <a:pt x="312325" y="252351"/>
                  </a:lnTo>
                  <a:lnTo>
                    <a:pt x="329211" y="212288"/>
                  </a:lnTo>
                  <a:lnTo>
                    <a:pt x="335194" y="167689"/>
                  </a:lnTo>
                  <a:lnTo>
                    <a:pt x="333891" y="146604"/>
                  </a:lnTo>
                  <a:lnTo>
                    <a:pt x="323844" y="107246"/>
                  </a:lnTo>
                  <a:lnTo>
                    <a:pt x="306526" y="97965"/>
                  </a:lnTo>
                  <a:lnTo>
                    <a:pt x="288884" y="95759"/>
                  </a:lnTo>
                  <a:lnTo>
                    <a:pt x="297195" y="112211"/>
                  </a:lnTo>
                  <a:lnTo>
                    <a:pt x="303439" y="129738"/>
                  </a:lnTo>
                  <a:lnTo>
                    <a:pt x="307367" y="148258"/>
                  </a:lnTo>
                  <a:lnTo>
                    <a:pt x="308731" y="167689"/>
                  </a:lnTo>
                  <a:lnTo>
                    <a:pt x="301505" y="212199"/>
                  </a:lnTo>
                  <a:lnTo>
                    <a:pt x="281408" y="250948"/>
                  </a:lnTo>
                  <a:lnTo>
                    <a:pt x="250810" y="281562"/>
                  </a:lnTo>
                  <a:lnTo>
                    <a:pt x="212083" y="301671"/>
                  </a:lnTo>
                  <a:lnTo>
                    <a:pt x="167597" y="308901"/>
                  </a:lnTo>
                  <a:lnTo>
                    <a:pt x="123111" y="301671"/>
                  </a:lnTo>
                  <a:lnTo>
                    <a:pt x="84384" y="281562"/>
                  </a:lnTo>
                  <a:lnTo>
                    <a:pt x="53786" y="250948"/>
                  </a:lnTo>
                  <a:lnTo>
                    <a:pt x="33688" y="212199"/>
                  </a:lnTo>
                  <a:lnTo>
                    <a:pt x="26462" y="167689"/>
                  </a:lnTo>
                  <a:lnTo>
                    <a:pt x="33688" y="123179"/>
                  </a:lnTo>
                  <a:lnTo>
                    <a:pt x="53786" y="84430"/>
                  </a:lnTo>
                  <a:lnTo>
                    <a:pt x="84384" y="53815"/>
                  </a:lnTo>
                  <a:lnTo>
                    <a:pt x="123111" y="33707"/>
                  </a:lnTo>
                  <a:lnTo>
                    <a:pt x="167597" y="26477"/>
                  </a:lnTo>
                  <a:lnTo>
                    <a:pt x="186830" y="27780"/>
                  </a:lnTo>
                  <a:lnTo>
                    <a:pt x="205361" y="31607"/>
                  </a:lnTo>
                  <a:lnTo>
                    <a:pt x="222982" y="37833"/>
                  </a:lnTo>
                  <a:lnTo>
                    <a:pt x="239487" y="46335"/>
                  </a:lnTo>
                  <a:lnTo>
                    <a:pt x="237282" y="28683"/>
                  </a:lnTo>
                  <a:lnTo>
                    <a:pt x="246544" y="19416"/>
                  </a:lnTo>
                  <a:lnTo>
                    <a:pt x="228192" y="11170"/>
                  </a:lnTo>
                  <a:lnTo>
                    <a:pt x="208889" y="5074"/>
                  </a:lnTo>
                  <a:lnTo>
                    <a:pt x="188677" y="1296"/>
                  </a:lnTo>
                  <a:lnTo>
                    <a:pt x="167596" y="0"/>
                  </a:lnTo>
                  <a:close/>
                </a:path>
              </a:pathLst>
            </a:custGeom>
            <a:solidFill>
              <a:srgbClr val="58535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32" name="object 32"/>
            <p:cNvPicPr/>
            <p:nvPr/>
          </p:nvPicPr>
          <p:blipFill>
            <a:blip r:embed="rId4" cstate="print"/>
            <a:stretch>
              <a:fillRect/>
            </a:stretch>
          </p:blipFill>
          <p:spPr>
            <a:xfrm>
              <a:off x="8674859" y="1062069"/>
              <a:ext cx="211701" cy="211818"/>
            </a:xfrm>
            <a:prstGeom prst="rect">
              <a:avLst/>
            </a:prstGeom>
          </p:spPr>
        </p:pic>
        <p:sp>
          <p:nvSpPr>
            <p:cNvPr id="33" name="object 33"/>
            <p:cNvSpPr/>
            <p:nvPr/>
          </p:nvSpPr>
          <p:spPr>
            <a:xfrm>
              <a:off x="6051041" y="4862322"/>
              <a:ext cx="467995" cy="467995"/>
            </a:xfrm>
            <a:custGeom>
              <a:avLst/>
              <a:gdLst/>
              <a:ahLst/>
              <a:cxnLst/>
              <a:rect l="l" t="t" r="r" b="b"/>
              <a:pathLst>
                <a:path w="467995" h="467995">
                  <a:moveTo>
                    <a:pt x="233934" y="0"/>
                  </a:moveTo>
                  <a:lnTo>
                    <a:pt x="186799" y="4754"/>
                  </a:lnTo>
                  <a:lnTo>
                    <a:pt x="142892" y="18389"/>
                  </a:lnTo>
                  <a:lnTo>
                    <a:pt x="103156" y="39962"/>
                  </a:lnTo>
                  <a:lnTo>
                    <a:pt x="68532" y="68532"/>
                  </a:lnTo>
                  <a:lnTo>
                    <a:pt x="39962" y="103156"/>
                  </a:lnTo>
                  <a:lnTo>
                    <a:pt x="18389" y="142892"/>
                  </a:lnTo>
                  <a:lnTo>
                    <a:pt x="4754" y="186799"/>
                  </a:lnTo>
                  <a:lnTo>
                    <a:pt x="0" y="233933"/>
                  </a:lnTo>
                  <a:lnTo>
                    <a:pt x="4754" y="281068"/>
                  </a:lnTo>
                  <a:lnTo>
                    <a:pt x="18389" y="324975"/>
                  </a:lnTo>
                  <a:lnTo>
                    <a:pt x="39962" y="364711"/>
                  </a:lnTo>
                  <a:lnTo>
                    <a:pt x="68532" y="399335"/>
                  </a:lnTo>
                  <a:lnTo>
                    <a:pt x="103156" y="427905"/>
                  </a:lnTo>
                  <a:lnTo>
                    <a:pt x="142892" y="449478"/>
                  </a:lnTo>
                  <a:lnTo>
                    <a:pt x="186799" y="463113"/>
                  </a:lnTo>
                  <a:lnTo>
                    <a:pt x="233934" y="467867"/>
                  </a:lnTo>
                  <a:lnTo>
                    <a:pt x="281068" y="463113"/>
                  </a:lnTo>
                  <a:lnTo>
                    <a:pt x="324975" y="449478"/>
                  </a:lnTo>
                  <a:lnTo>
                    <a:pt x="364711" y="427905"/>
                  </a:lnTo>
                  <a:lnTo>
                    <a:pt x="399335" y="399335"/>
                  </a:lnTo>
                  <a:lnTo>
                    <a:pt x="427905" y="364711"/>
                  </a:lnTo>
                  <a:lnTo>
                    <a:pt x="449478" y="324975"/>
                  </a:lnTo>
                  <a:lnTo>
                    <a:pt x="463113" y="281068"/>
                  </a:lnTo>
                  <a:lnTo>
                    <a:pt x="467867" y="233933"/>
                  </a:lnTo>
                  <a:lnTo>
                    <a:pt x="463113" y="186799"/>
                  </a:lnTo>
                  <a:lnTo>
                    <a:pt x="449478" y="142892"/>
                  </a:lnTo>
                  <a:lnTo>
                    <a:pt x="427905" y="103156"/>
                  </a:lnTo>
                  <a:lnTo>
                    <a:pt x="399335" y="68532"/>
                  </a:lnTo>
                  <a:lnTo>
                    <a:pt x="364711" y="39962"/>
                  </a:lnTo>
                  <a:lnTo>
                    <a:pt x="324975" y="18389"/>
                  </a:lnTo>
                  <a:lnTo>
                    <a:pt x="281068" y="4754"/>
                  </a:lnTo>
                  <a:lnTo>
                    <a:pt x="233934" y="0"/>
                  </a:lnTo>
                  <a:close/>
                </a:path>
              </a:pathLst>
            </a:custGeom>
            <a:solidFill>
              <a:srgbClr val="DEFFF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4" name="object 34"/>
            <p:cNvSpPr/>
            <p:nvPr/>
          </p:nvSpPr>
          <p:spPr>
            <a:xfrm>
              <a:off x="6051041" y="4862322"/>
              <a:ext cx="467995" cy="467995"/>
            </a:xfrm>
            <a:custGeom>
              <a:avLst/>
              <a:gdLst/>
              <a:ahLst/>
              <a:cxnLst/>
              <a:rect l="l" t="t" r="r" b="b"/>
              <a:pathLst>
                <a:path w="467995" h="467995">
                  <a:moveTo>
                    <a:pt x="0" y="233933"/>
                  </a:moveTo>
                  <a:lnTo>
                    <a:pt x="4754" y="186799"/>
                  </a:lnTo>
                  <a:lnTo>
                    <a:pt x="18389" y="142892"/>
                  </a:lnTo>
                  <a:lnTo>
                    <a:pt x="39962" y="103156"/>
                  </a:lnTo>
                  <a:lnTo>
                    <a:pt x="68532" y="68532"/>
                  </a:lnTo>
                  <a:lnTo>
                    <a:pt x="103156" y="39962"/>
                  </a:lnTo>
                  <a:lnTo>
                    <a:pt x="142892" y="18389"/>
                  </a:lnTo>
                  <a:lnTo>
                    <a:pt x="186799" y="4754"/>
                  </a:lnTo>
                  <a:lnTo>
                    <a:pt x="233934" y="0"/>
                  </a:lnTo>
                  <a:lnTo>
                    <a:pt x="281068" y="4754"/>
                  </a:lnTo>
                  <a:lnTo>
                    <a:pt x="324975" y="18389"/>
                  </a:lnTo>
                  <a:lnTo>
                    <a:pt x="364711" y="39962"/>
                  </a:lnTo>
                  <a:lnTo>
                    <a:pt x="399335" y="68532"/>
                  </a:lnTo>
                  <a:lnTo>
                    <a:pt x="427905" y="103156"/>
                  </a:lnTo>
                  <a:lnTo>
                    <a:pt x="449478" y="142892"/>
                  </a:lnTo>
                  <a:lnTo>
                    <a:pt x="463113" y="186799"/>
                  </a:lnTo>
                  <a:lnTo>
                    <a:pt x="467867" y="233933"/>
                  </a:lnTo>
                  <a:lnTo>
                    <a:pt x="463113" y="281068"/>
                  </a:lnTo>
                  <a:lnTo>
                    <a:pt x="449478" y="324975"/>
                  </a:lnTo>
                  <a:lnTo>
                    <a:pt x="427905" y="364711"/>
                  </a:lnTo>
                  <a:lnTo>
                    <a:pt x="399335" y="399335"/>
                  </a:lnTo>
                  <a:lnTo>
                    <a:pt x="364711" y="427905"/>
                  </a:lnTo>
                  <a:lnTo>
                    <a:pt x="324975" y="449478"/>
                  </a:lnTo>
                  <a:lnTo>
                    <a:pt x="281068" y="463113"/>
                  </a:lnTo>
                  <a:lnTo>
                    <a:pt x="233934" y="467867"/>
                  </a:lnTo>
                  <a:lnTo>
                    <a:pt x="186799" y="463113"/>
                  </a:lnTo>
                  <a:lnTo>
                    <a:pt x="142892" y="449478"/>
                  </a:lnTo>
                  <a:lnTo>
                    <a:pt x="103156" y="427905"/>
                  </a:lnTo>
                  <a:lnTo>
                    <a:pt x="68532" y="399335"/>
                  </a:lnTo>
                  <a:lnTo>
                    <a:pt x="39962" y="364711"/>
                  </a:lnTo>
                  <a:lnTo>
                    <a:pt x="18389" y="324975"/>
                  </a:lnTo>
                  <a:lnTo>
                    <a:pt x="4754" y="281068"/>
                  </a:lnTo>
                  <a:lnTo>
                    <a:pt x="0" y="233933"/>
                  </a:lnTo>
                  <a:close/>
                </a:path>
              </a:pathLst>
            </a:custGeom>
            <a:ln w="25400">
              <a:solidFill>
                <a:srgbClr val="9BFFD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5" name="object 35"/>
            <p:cNvSpPr/>
            <p:nvPr/>
          </p:nvSpPr>
          <p:spPr>
            <a:xfrm>
              <a:off x="6148260" y="4911381"/>
              <a:ext cx="270510" cy="360680"/>
            </a:xfrm>
            <a:custGeom>
              <a:avLst/>
              <a:gdLst/>
              <a:ahLst/>
              <a:cxnLst/>
              <a:rect l="l" t="t" r="r" b="b"/>
              <a:pathLst>
                <a:path w="270510" h="360679">
                  <a:moveTo>
                    <a:pt x="105676" y="282740"/>
                  </a:moveTo>
                  <a:lnTo>
                    <a:pt x="99301" y="276364"/>
                  </a:lnTo>
                  <a:lnTo>
                    <a:pt x="66446" y="309232"/>
                  </a:lnTo>
                  <a:lnTo>
                    <a:pt x="51612" y="294398"/>
                  </a:lnTo>
                  <a:lnTo>
                    <a:pt x="45250" y="300761"/>
                  </a:lnTo>
                  <a:lnTo>
                    <a:pt x="66446" y="321983"/>
                  </a:lnTo>
                  <a:lnTo>
                    <a:pt x="105676" y="282740"/>
                  </a:lnTo>
                  <a:close/>
                </a:path>
                <a:path w="270510" h="360679">
                  <a:moveTo>
                    <a:pt x="105676" y="228650"/>
                  </a:moveTo>
                  <a:lnTo>
                    <a:pt x="99301" y="222288"/>
                  </a:lnTo>
                  <a:lnTo>
                    <a:pt x="66446" y="255155"/>
                  </a:lnTo>
                  <a:lnTo>
                    <a:pt x="51612" y="240309"/>
                  </a:lnTo>
                  <a:lnTo>
                    <a:pt x="45250" y="246684"/>
                  </a:lnTo>
                  <a:lnTo>
                    <a:pt x="66446" y="267893"/>
                  </a:lnTo>
                  <a:lnTo>
                    <a:pt x="105676" y="228650"/>
                  </a:lnTo>
                  <a:close/>
                </a:path>
                <a:path w="270510" h="360679">
                  <a:moveTo>
                    <a:pt x="105676" y="174561"/>
                  </a:moveTo>
                  <a:lnTo>
                    <a:pt x="99301" y="168198"/>
                  </a:lnTo>
                  <a:lnTo>
                    <a:pt x="66446" y="201066"/>
                  </a:lnTo>
                  <a:lnTo>
                    <a:pt x="51612" y="186220"/>
                  </a:lnTo>
                  <a:lnTo>
                    <a:pt x="45250" y="192595"/>
                  </a:lnTo>
                  <a:lnTo>
                    <a:pt x="66446" y="213817"/>
                  </a:lnTo>
                  <a:lnTo>
                    <a:pt x="105676" y="174561"/>
                  </a:lnTo>
                  <a:close/>
                </a:path>
                <a:path w="270510" h="360679">
                  <a:moveTo>
                    <a:pt x="105676" y="120472"/>
                  </a:moveTo>
                  <a:lnTo>
                    <a:pt x="99301" y="114096"/>
                  </a:lnTo>
                  <a:lnTo>
                    <a:pt x="66446" y="146964"/>
                  </a:lnTo>
                  <a:lnTo>
                    <a:pt x="51612" y="132130"/>
                  </a:lnTo>
                  <a:lnTo>
                    <a:pt x="45250" y="138506"/>
                  </a:lnTo>
                  <a:lnTo>
                    <a:pt x="66446" y="159715"/>
                  </a:lnTo>
                  <a:lnTo>
                    <a:pt x="105676" y="120472"/>
                  </a:lnTo>
                  <a:close/>
                </a:path>
                <a:path w="270510" h="360679">
                  <a:moveTo>
                    <a:pt x="150901" y="29705"/>
                  </a:moveTo>
                  <a:lnTo>
                    <a:pt x="143852" y="22644"/>
                  </a:lnTo>
                  <a:lnTo>
                    <a:pt x="141897" y="22644"/>
                  </a:lnTo>
                  <a:lnTo>
                    <a:pt x="141897" y="34683"/>
                  </a:lnTo>
                  <a:lnTo>
                    <a:pt x="141897" y="42151"/>
                  </a:lnTo>
                  <a:lnTo>
                    <a:pt x="138874" y="45186"/>
                  </a:lnTo>
                  <a:lnTo>
                    <a:pt x="131406" y="45186"/>
                  </a:lnTo>
                  <a:lnTo>
                    <a:pt x="128384" y="42151"/>
                  </a:lnTo>
                  <a:lnTo>
                    <a:pt x="128346" y="36614"/>
                  </a:lnTo>
                  <a:lnTo>
                    <a:pt x="129006" y="34912"/>
                  </a:lnTo>
                  <a:lnTo>
                    <a:pt x="131432" y="32397"/>
                  </a:lnTo>
                  <a:lnTo>
                    <a:pt x="133108" y="31686"/>
                  </a:lnTo>
                  <a:lnTo>
                    <a:pt x="138887" y="31686"/>
                  </a:lnTo>
                  <a:lnTo>
                    <a:pt x="141897" y="34683"/>
                  </a:lnTo>
                  <a:lnTo>
                    <a:pt x="141897" y="22644"/>
                  </a:lnTo>
                  <a:lnTo>
                    <a:pt x="134696" y="22644"/>
                  </a:lnTo>
                  <a:lnTo>
                    <a:pt x="126123" y="22796"/>
                  </a:lnTo>
                  <a:lnTo>
                    <a:pt x="119418" y="29705"/>
                  </a:lnTo>
                  <a:lnTo>
                    <a:pt x="119392" y="47142"/>
                  </a:lnTo>
                  <a:lnTo>
                    <a:pt x="126453" y="54203"/>
                  </a:lnTo>
                  <a:lnTo>
                    <a:pt x="143852" y="54203"/>
                  </a:lnTo>
                  <a:lnTo>
                    <a:pt x="150901" y="47142"/>
                  </a:lnTo>
                  <a:lnTo>
                    <a:pt x="150901" y="45186"/>
                  </a:lnTo>
                  <a:lnTo>
                    <a:pt x="150901" y="31686"/>
                  </a:lnTo>
                  <a:lnTo>
                    <a:pt x="150901" y="29705"/>
                  </a:lnTo>
                  <a:close/>
                </a:path>
                <a:path w="270510" h="360679">
                  <a:moveTo>
                    <a:pt x="225234" y="293077"/>
                  </a:moveTo>
                  <a:lnTo>
                    <a:pt x="130644" y="293077"/>
                  </a:lnTo>
                  <a:lnTo>
                    <a:pt x="130644" y="302094"/>
                  </a:lnTo>
                  <a:lnTo>
                    <a:pt x="225234" y="302094"/>
                  </a:lnTo>
                  <a:lnTo>
                    <a:pt x="225234" y="293077"/>
                  </a:lnTo>
                  <a:close/>
                </a:path>
                <a:path w="270510" h="360679">
                  <a:moveTo>
                    <a:pt x="225234" y="238988"/>
                  </a:moveTo>
                  <a:lnTo>
                    <a:pt x="130644" y="238988"/>
                  </a:lnTo>
                  <a:lnTo>
                    <a:pt x="130644" y="248005"/>
                  </a:lnTo>
                  <a:lnTo>
                    <a:pt x="225234" y="248005"/>
                  </a:lnTo>
                  <a:lnTo>
                    <a:pt x="225234" y="238988"/>
                  </a:lnTo>
                  <a:close/>
                </a:path>
                <a:path w="270510" h="360679">
                  <a:moveTo>
                    <a:pt x="225234" y="184899"/>
                  </a:moveTo>
                  <a:lnTo>
                    <a:pt x="130644" y="184899"/>
                  </a:lnTo>
                  <a:lnTo>
                    <a:pt x="130644" y="193916"/>
                  </a:lnTo>
                  <a:lnTo>
                    <a:pt x="225234" y="193916"/>
                  </a:lnTo>
                  <a:lnTo>
                    <a:pt x="225234" y="184899"/>
                  </a:lnTo>
                  <a:close/>
                </a:path>
                <a:path w="270510" h="360679">
                  <a:moveTo>
                    <a:pt x="225234" y="130810"/>
                  </a:moveTo>
                  <a:lnTo>
                    <a:pt x="130644" y="130810"/>
                  </a:lnTo>
                  <a:lnTo>
                    <a:pt x="130644" y="139827"/>
                  </a:lnTo>
                  <a:lnTo>
                    <a:pt x="225234" y="139827"/>
                  </a:lnTo>
                  <a:lnTo>
                    <a:pt x="225234" y="130810"/>
                  </a:lnTo>
                  <a:close/>
                </a:path>
                <a:path w="270510" h="360679">
                  <a:moveTo>
                    <a:pt x="270281" y="49593"/>
                  </a:moveTo>
                  <a:lnTo>
                    <a:pt x="268859" y="42583"/>
                  </a:lnTo>
                  <a:lnTo>
                    <a:pt x="264998" y="36842"/>
                  </a:lnTo>
                  <a:lnTo>
                    <a:pt x="261277" y="34340"/>
                  </a:lnTo>
                  <a:lnTo>
                    <a:pt x="261277" y="44615"/>
                  </a:lnTo>
                  <a:lnTo>
                    <a:pt x="261277" y="347637"/>
                  </a:lnTo>
                  <a:lnTo>
                    <a:pt x="257238" y="351663"/>
                  </a:lnTo>
                  <a:lnTo>
                    <a:pt x="13042" y="351663"/>
                  </a:lnTo>
                  <a:lnTo>
                    <a:pt x="9017" y="347637"/>
                  </a:lnTo>
                  <a:lnTo>
                    <a:pt x="9017" y="44615"/>
                  </a:lnTo>
                  <a:lnTo>
                    <a:pt x="13042" y="40576"/>
                  </a:lnTo>
                  <a:lnTo>
                    <a:pt x="67576" y="40576"/>
                  </a:lnTo>
                  <a:lnTo>
                    <a:pt x="67576" y="85750"/>
                  </a:lnTo>
                  <a:lnTo>
                    <a:pt x="202704" y="85750"/>
                  </a:lnTo>
                  <a:lnTo>
                    <a:pt x="202704" y="76733"/>
                  </a:lnTo>
                  <a:lnTo>
                    <a:pt x="202704" y="40576"/>
                  </a:lnTo>
                  <a:lnTo>
                    <a:pt x="257238" y="40576"/>
                  </a:lnTo>
                  <a:lnTo>
                    <a:pt x="261277" y="44615"/>
                  </a:lnTo>
                  <a:lnTo>
                    <a:pt x="261277" y="34340"/>
                  </a:lnTo>
                  <a:lnTo>
                    <a:pt x="259270" y="32981"/>
                  </a:lnTo>
                  <a:lnTo>
                    <a:pt x="252260" y="31572"/>
                  </a:lnTo>
                  <a:lnTo>
                    <a:pt x="193700" y="31572"/>
                  </a:lnTo>
                  <a:lnTo>
                    <a:pt x="193700" y="40576"/>
                  </a:lnTo>
                  <a:lnTo>
                    <a:pt x="193700" y="76733"/>
                  </a:lnTo>
                  <a:lnTo>
                    <a:pt x="76581" y="76733"/>
                  </a:lnTo>
                  <a:lnTo>
                    <a:pt x="76581" y="40576"/>
                  </a:lnTo>
                  <a:lnTo>
                    <a:pt x="94602" y="40576"/>
                  </a:lnTo>
                  <a:lnTo>
                    <a:pt x="94602" y="15100"/>
                  </a:lnTo>
                  <a:lnTo>
                    <a:pt x="100647" y="9017"/>
                  </a:lnTo>
                  <a:lnTo>
                    <a:pt x="169633" y="9017"/>
                  </a:lnTo>
                  <a:lnTo>
                    <a:pt x="175679" y="15100"/>
                  </a:lnTo>
                  <a:lnTo>
                    <a:pt x="175679" y="40576"/>
                  </a:lnTo>
                  <a:lnTo>
                    <a:pt x="193700" y="40576"/>
                  </a:lnTo>
                  <a:lnTo>
                    <a:pt x="193700" y="31572"/>
                  </a:lnTo>
                  <a:lnTo>
                    <a:pt x="184696" y="31572"/>
                  </a:lnTo>
                  <a:lnTo>
                    <a:pt x="184696" y="22529"/>
                  </a:lnTo>
                  <a:lnTo>
                    <a:pt x="182918" y="13779"/>
                  </a:lnTo>
                  <a:lnTo>
                    <a:pt x="179705" y="9017"/>
                  </a:lnTo>
                  <a:lnTo>
                    <a:pt x="178092" y="6616"/>
                  </a:lnTo>
                  <a:lnTo>
                    <a:pt x="170929" y="1790"/>
                  </a:lnTo>
                  <a:lnTo>
                    <a:pt x="162166" y="0"/>
                  </a:lnTo>
                  <a:lnTo>
                    <a:pt x="108115" y="0"/>
                  </a:lnTo>
                  <a:lnTo>
                    <a:pt x="99352" y="1790"/>
                  </a:lnTo>
                  <a:lnTo>
                    <a:pt x="92189" y="6616"/>
                  </a:lnTo>
                  <a:lnTo>
                    <a:pt x="87363" y="13779"/>
                  </a:lnTo>
                  <a:lnTo>
                    <a:pt x="85585" y="22529"/>
                  </a:lnTo>
                  <a:lnTo>
                    <a:pt x="85585" y="31572"/>
                  </a:lnTo>
                  <a:lnTo>
                    <a:pt x="18021" y="31572"/>
                  </a:lnTo>
                  <a:lnTo>
                    <a:pt x="11010" y="32981"/>
                  </a:lnTo>
                  <a:lnTo>
                    <a:pt x="5283" y="36842"/>
                  </a:lnTo>
                  <a:lnTo>
                    <a:pt x="1422" y="42583"/>
                  </a:lnTo>
                  <a:lnTo>
                    <a:pt x="0" y="49593"/>
                  </a:lnTo>
                  <a:lnTo>
                    <a:pt x="0" y="342658"/>
                  </a:lnTo>
                  <a:lnTo>
                    <a:pt x="1422" y="349669"/>
                  </a:lnTo>
                  <a:lnTo>
                    <a:pt x="5283" y="355396"/>
                  </a:lnTo>
                  <a:lnTo>
                    <a:pt x="11010" y="359270"/>
                  </a:lnTo>
                  <a:lnTo>
                    <a:pt x="18021" y="360680"/>
                  </a:lnTo>
                  <a:lnTo>
                    <a:pt x="252260" y="360680"/>
                  </a:lnTo>
                  <a:lnTo>
                    <a:pt x="270281" y="342658"/>
                  </a:lnTo>
                  <a:lnTo>
                    <a:pt x="270281" y="49593"/>
                  </a:lnTo>
                  <a:close/>
                </a:path>
              </a:pathLst>
            </a:custGeom>
            <a:solidFill>
              <a:srgbClr val="00AC6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6" name="object 36"/>
            <p:cNvSpPr/>
            <p:nvPr/>
          </p:nvSpPr>
          <p:spPr>
            <a:xfrm>
              <a:off x="388620" y="1443228"/>
              <a:ext cx="2923540" cy="574675"/>
            </a:xfrm>
            <a:custGeom>
              <a:avLst/>
              <a:gdLst/>
              <a:ahLst/>
              <a:cxnLst/>
              <a:rect l="l" t="t" r="r" b="b"/>
              <a:pathLst>
                <a:path w="2923540" h="574675">
                  <a:moveTo>
                    <a:pt x="2923032" y="0"/>
                  </a:moveTo>
                  <a:lnTo>
                    <a:pt x="0" y="0"/>
                  </a:lnTo>
                  <a:lnTo>
                    <a:pt x="0" y="574548"/>
                  </a:lnTo>
                  <a:lnTo>
                    <a:pt x="2923032" y="574548"/>
                  </a:lnTo>
                  <a:lnTo>
                    <a:pt x="2923032" y="0"/>
                  </a:lnTo>
                  <a:close/>
                </a:path>
              </a:pathLst>
            </a:custGeom>
            <a:solidFill>
              <a:srgbClr val="58535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7" name="object 37"/>
            <p:cNvSpPr/>
            <p:nvPr/>
          </p:nvSpPr>
          <p:spPr>
            <a:xfrm>
              <a:off x="388620" y="1443228"/>
              <a:ext cx="2923540" cy="574675"/>
            </a:xfrm>
            <a:custGeom>
              <a:avLst/>
              <a:gdLst/>
              <a:ahLst/>
              <a:cxnLst/>
              <a:rect l="l" t="t" r="r" b="b"/>
              <a:pathLst>
                <a:path w="2923540" h="574675">
                  <a:moveTo>
                    <a:pt x="0" y="574548"/>
                  </a:moveTo>
                  <a:lnTo>
                    <a:pt x="2923032" y="574548"/>
                  </a:lnTo>
                  <a:lnTo>
                    <a:pt x="2923032" y="0"/>
                  </a:lnTo>
                  <a:lnTo>
                    <a:pt x="0" y="0"/>
                  </a:lnTo>
                  <a:lnTo>
                    <a:pt x="0" y="574548"/>
                  </a:lnTo>
                  <a:close/>
                </a:path>
              </a:pathLst>
            </a:custGeom>
            <a:ln w="9525">
              <a:solidFill>
                <a:srgbClr val="58535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38" name="object 38"/>
          <p:cNvSpPr txBox="1"/>
          <p:nvPr/>
        </p:nvSpPr>
        <p:spPr>
          <a:xfrm>
            <a:off x="385572" y="2017776"/>
            <a:ext cx="2929255" cy="2639695"/>
          </a:xfrm>
          <a:prstGeom prst="rect">
            <a:avLst/>
          </a:prstGeom>
          <a:solidFill>
            <a:srgbClr val="FDDDCA"/>
          </a:solidFill>
        </p:spPr>
        <p:txBody>
          <a:bodyPr vert="horz" wrap="square" lIns="0" tIns="85090" rIns="0" bIns="0" rtlCol="0">
            <a:spAutoFit/>
          </a:bodyPr>
          <a:lstStyle/>
          <a:p>
            <a:pPr marL="142240" marR="0" lvl="0" indent="0" algn="l" defTabSz="914400" rtl="0" eaLnBrk="1" fontAlgn="auto" latinLnBrk="0" hangingPunct="1">
              <a:lnSpc>
                <a:spcPct val="100000"/>
              </a:lnSpc>
              <a:spcBef>
                <a:spcPts val="670"/>
              </a:spcBef>
              <a:spcAft>
                <a:spcPts val="0"/>
              </a:spcAft>
              <a:buClrTx/>
              <a:buSzTx/>
              <a:buFontTx/>
              <a:buNone/>
              <a:tabLst/>
              <a:defRPr/>
            </a:pPr>
            <a:r>
              <a:rPr kumimoji="0" sz="1400" b="1" i="0" u="none" strike="noStrike" kern="0" cap="none" spc="0" normalizeH="0" baseline="0" noProof="0" dirty="0">
                <a:ln>
                  <a:noFill/>
                </a:ln>
                <a:solidFill>
                  <a:srgbClr val="585353"/>
                </a:solidFill>
                <a:effectLst/>
                <a:uLnTx/>
                <a:uFillTx/>
                <a:latin typeface="Trebuchet MS"/>
                <a:ea typeface="+mn-ea"/>
                <a:cs typeface="Trebuchet MS"/>
              </a:rPr>
              <a:t>Key</a:t>
            </a:r>
            <a:r>
              <a:rPr kumimoji="0" sz="1400" b="1" i="0" u="none" strike="noStrike" kern="0" cap="none" spc="-40" normalizeH="0" baseline="0" noProof="0" dirty="0">
                <a:ln>
                  <a:noFill/>
                </a:ln>
                <a:solidFill>
                  <a:srgbClr val="585353"/>
                </a:solidFill>
                <a:effectLst/>
                <a:uLnTx/>
                <a:uFillTx/>
                <a:latin typeface="Trebuchet MS"/>
                <a:ea typeface="+mn-ea"/>
                <a:cs typeface="Trebuchet MS"/>
              </a:rPr>
              <a:t> </a:t>
            </a:r>
            <a:r>
              <a:rPr kumimoji="0" sz="1400" b="1" i="0" u="none" strike="noStrike" kern="0" cap="none" spc="0" normalizeH="0" baseline="0" noProof="0" dirty="0">
                <a:ln>
                  <a:noFill/>
                </a:ln>
                <a:solidFill>
                  <a:srgbClr val="585353"/>
                </a:solidFill>
                <a:effectLst/>
                <a:uLnTx/>
                <a:uFillTx/>
                <a:latin typeface="Trebuchet MS"/>
                <a:ea typeface="+mn-ea"/>
                <a:cs typeface="Trebuchet MS"/>
              </a:rPr>
              <a:t>eligibility</a:t>
            </a:r>
            <a:r>
              <a:rPr kumimoji="0" sz="1400" b="1" i="0" u="none" strike="noStrike" kern="0" cap="none" spc="-70" normalizeH="0" baseline="0" noProof="0" dirty="0">
                <a:ln>
                  <a:noFill/>
                </a:ln>
                <a:solidFill>
                  <a:srgbClr val="585353"/>
                </a:solidFill>
                <a:effectLst/>
                <a:uLnTx/>
                <a:uFillTx/>
                <a:latin typeface="Trebuchet MS"/>
                <a:ea typeface="+mn-ea"/>
                <a:cs typeface="Trebuchet MS"/>
              </a:rPr>
              <a:t> </a:t>
            </a:r>
            <a:r>
              <a:rPr kumimoji="0" sz="1400" b="1" i="0" u="none" strike="noStrike" kern="0" cap="none" spc="-10" normalizeH="0" baseline="0" noProof="0" dirty="0">
                <a:ln>
                  <a:noFill/>
                </a:ln>
                <a:solidFill>
                  <a:srgbClr val="585353"/>
                </a:solidFill>
                <a:effectLst/>
                <a:uLnTx/>
                <a:uFillTx/>
                <a:latin typeface="Trebuchet MS"/>
                <a:ea typeface="+mn-ea"/>
                <a:cs typeface="Trebuchet MS"/>
              </a:rPr>
              <a:t>criteria</a:t>
            </a:r>
            <a:endParaRPr kumimoji="0" sz="1400" b="0" i="0" u="none" strike="noStrike" kern="0" cap="none" spc="0" normalizeH="0" baseline="0" noProof="0">
              <a:ln>
                <a:noFill/>
              </a:ln>
              <a:solidFill>
                <a:sysClr val="windowText" lastClr="000000"/>
              </a:solidFill>
              <a:effectLst/>
              <a:uLnTx/>
              <a:uFillTx/>
              <a:latin typeface="Trebuchet MS"/>
              <a:ea typeface="+mn-ea"/>
              <a:cs typeface="Trebuchet MS"/>
            </a:endParaRPr>
          </a:p>
          <a:p>
            <a:pPr marL="323215" marR="0" lvl="0" indent="-180975" algn="l" defTabSz="914400" rtl="0" eaLnBrk="1" fontAlgn="auto" latinLnBrk="0" hangingPunct="1">
              <a:lnSpc>
                <a:spcPct val="100000"/>
              </a:lnSpc>
              <a:spcBef>
                <a:spcPts val="605"/>
              </a:spcBef>
              <a:spcAft>
                <a:spcPts val="0"/>
              </a:spcAft>
              <a:buClrTx/>
              <a:buSzTx/>
              <a:buFont typeface="Arial"/>
              <a:buChar char="•"/>
              <a:tabLst>
                <a:tab pos="323215" algn="l"/>
              </a:tabLst>
              <a:defRPr/>
            </a:pPr>
            <a:r>
              <a:rPr kumimoji="0" sz="1200" b="0" i="0" u="none" strike="noStrike" kern="0" cap="none" spc="0" normalizeH="0" baseline="0" noProof="0" dirty="0">
                <a:ln>
                  <a:noFill/>
                </a:ln>
                <a:solidFill>
                  <a:srgbClr val="585353"/>
                </a:solidFill>
                <a:effectLst/>
                <a:uLnTx/>
                <a:uFillTx/>
                <a:latin typeface="Trebuchet MS"/>
                <a:ea typeface="+mn-ea"/>
                <a:cs typeface="Trebuchet MS"/>
              </a:rPr>
              <a:t>Age</a:t>
            </a:r>
            <a:r>
              <a:rPr kumimoji="0" sz="1200" b="0" i="0" u="none" strike="noStrike" kern="0" cap="none" spc="-15" normalizeH="0" baseline="0" noProof="0" dirty="0">
                <a:ln>
                  <a:noFill/>
                </a:ln>
                <a:solidFill>
                  <a:srgbClr val="585353"/>
                </a:solidFill>
                <a:effectLst/>
                <a:uLnTx/>
                <a:uFillTx/>
                <a:latin typeface="Trebuchet MS"/>
                <a:ea typeface="+mn-ea"/>
                <a:cs typeface="Trebuchet MS"/>
              </a:rPr>
              <a:t> </a:t>
            </a:r>
            <a:r>
              <a:rPr kumimoji="0" sz="1200" b="0" i="0" u="none" strike="noStrike" kern="0" cap="none" spc="-10" normalizeH="0" baseline="0" noProof="0" dirty="0">
                <a:ln>
                  <a:noFill/>
                </a:ln>
                <a:solidFill>
                  <a:srgbClr val="585353"/>
                </a:solidFill>
                <a:effectLst/>
                <a:uLnTx/>
                <a:uFillTx/>
                <a:latin typeface="Trebuchet MS"/>
                <a:ea typeface="+mn-ea"/>
                <a:cs typeface="Trebuchet MS"/>
              </a:rPr>
              <a:t>18–</a:t>
            </a:r>
            <a:r>
              <a:rPr kumimoji="0" sz="1200" b="0" i="0" u="none" strike="noStrike" kern="0" cap="none" spc="0" normalizeH="0" baseline="0" noProof="0" dirty="0">
                <a:ln>
                  <a:noFill/>
                </a:ln>
                <a:solidFill>
                  <a:srgbClr val="585353"/>
                </a:solidFill>
                <a:effectLst/>
                <a:uLnTx/>
                <a:uFillTx/>
                <a:latin typeface="Trebuchet MS"/>
                <a:ea typeface="+mn-ea"/>
                <a:cs typeface="Trebuchet MS"/>
              </a:rPr>
              <a:t>80</a:t>
            </a:r>
            <a:r>
              <a:rPr kumimoji="0" sz="1200" b="0" i="0" u="none" strike="noStrike" kern="0" cap="none" spc="-10" normalizeH="0" baseline="0" noProof="0" dirty="0">
                <a:ln>
                  <a:noFill/>
                </a:ln>
                <a:solidFill>
                  <a:srgbClr val="585353"/>
                </a:solidFill>
                <a:effectLst/>
                <a:uLnTx/>
                <a:uFillTx/>
                <a:latin typeface="Trebuchet MS"/>
                <a:ea typeface="+mn-ea"/>
                <a:cs typeface="Trebuchet MS"/>
              </a:rPr>
              <a:t> years</a:t>
            </a:r>
            <a:endParaRPr kumimoji="0" sz="1200" b="0" i="0" u="none" strike="noStrike" kern="0" cap="none" spc="0" normalizeH="0" baseline="0" noProof="0">
              <a:ln>
                <a:noFill/>
              </a:ln>
              <a:solidFill>
                <a:sysClr val="windowText" lastClr="000000"/>
              </a:solidFill>
              <a:effectLst/>
              <a:uLnTx/>
              <a:uFillTx/>
              <a:latin typeface="Trebuchet MS"/>
              <a:ea typeface="+mn-ea"/>
              <a:cs typeface="Trebuchet MS"/>
            </a:endParaRPr>
          </a:p>
          <a:p>
            <a:pPr marL="323215" marR="0" lvl="0" indent="-180975" algn="l" defTabSz="914400" rtl="0" eaLnBrk="1" fontAlgn="auto" latinLnBrk="0" hangingPunct="1">
              <a:lnSpc>
                <a:spcPct val="100000"/>
              </a:lnSpc>
              <a:spcBef>
                <a:spcPts val="0"/>
              </a:spcBef>
              <a:spcAft>
                <a:spcPts val="0"/>
              </a:spcAft>
              <a:buClrTx/>
              <a:buSzTx/>
              <a:buFont typeface="Arial"/>
              <a:buChar char="•"/>
              <a:tabLst>
                <a:tab pos="323215" algn="l"/>
              </a:tabLst>
              <a:defRPr/>
            </a:pPr>
            <a:r>
              <a:rPr kumimoji="0" sz="1200" b="0" i="0" u="none" strike="noStrike" kern="0" cap="none" spc="-10" normalizeH="0" baseline="0" noProof="0" dirty="0">
                <a:ln>
                  <a:noFill/>
                </a:ln>
                <a:solidFill>
                  <a:srgbClr val="585353"/>
                </a:solidFill>
                <a:effectLst/>
                <a:uLnTx/>
                <a:uFillTx/>
                <a:latin typeface="Trebuchet MS"/>
                <a:ea typeface="+mn-ea"/>
                <a:cs typeface="Trebuchet MS"/>
              </a:rPr>
              <a:t>Previously</a:t>
            </a:r>
            <a:r>
              <a:rPr kumimoji="0" sz="1200" b="0" i="0" u="none" strike="noStrike" kern="0" cap="none" spc="-35"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untreated</a:t>
            </a:r>
            <a:r>
              <a:rPr kumimoji="0" sz="1200" b="0" i="0" u="none" strike="noStrike" kern="0" cap="none" spc="-65"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LBCL</a:t>
            </a:r>
            <a:r>
              <a:rPr kumimoji="0" sz="1200" b="0" i="0" u="none" strike="noStrike" kern="0" cap="none" spc="-55"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by</a:t>
            </a:r>
            <a:r>
              <a:rPr kumimoji="0" sz="1200" b="0" i="0" u="none" strike="noStrike" kern="0" cap="none" spc="-30" normalizeH="0" baseline="0" noProof="0" dirty="0">
                <a:ln>
                  <a:noFill/>
                </a:ln>
                <a:solidFill>
                  <a:srgbClr val="585353"/>
                </a:solidFill>
                <a:effectLst/>
                <a:uLnTx/>
                <a:uFillTx/>
                <a:latin typeface="Trebuchet MS"/>
                <a:ea typeface="+mn-ea"/>
                <a:cs typeface="Trebuchet MS"/>
              </a:rPr>
              <a:t> </a:t>
            </a:r>
            <a:r>
              <a:rPr kumimoji="0" sz="1200" b="0" i="0" u="none" strike="noStrike" kern="0" cap="none" spc="-25" normalizeH="0" baseline="0" noProof="0" dirty="0">
                <a:ln>
                  <a:noFill/>
                </a:ln>
                <a:solidFill>
                  <a:srgbClr val="585353"/>
                </a:solidFill>
                <a:effectLst/>
                <a:uLnTx/>
                <a:uFillTx/>
                <a:latin typeface="Trebuchet MS"/>
                <a:ea typeface="+mn-ea"/>
                <a:cs typeface="Trebuchet MS"/>
              </a:rPr>
              <a:t>WHO</a:t>
            </a:r>
            <a:endParaRPr kumimoji="0" sz="1200" b="0" i="0" u="none" strike="noStrike" kern="0" cap="none" spc="0" normalizeH="0" baseline="0" noProof="0">
              <a:ln>
                <a:noFill/>
              </a:ln>
              <a:solidFill>
                <a:sysClr val="windowText" lastClr="000000"/>
              </a:solidFill>
              <a:effectLst/>
              <a:uLnTx/>
              <a:uFillTx/>
              <a:latin typeface="Trebuchet MS"/>
              <a:ea typeface="+mn-ea"/>
              <a:cs typeface="Trebuchet MS"/>
            </a:endParaRPr>
          </a:p>
          <a:p>
            <a:pPr marL="321945" marR="0" lvl="0" indent="0" algn="l" defTabSz="914400" rtl="0" eaLnBrk="1" fontAlgn="auto" latinLnBrk="0" hangingPunct="1">
              <a:lnSpc>
                <a:spcPct val="100000"/>
              </a:lnSpc>
              <a:spcBef>
                <a:spcPts val="0"/>
              </a:spcBef>
              <a:spcAft>
                <a:spcPts val="0"/>
              </a:spcAft>
              <a:buClrTx/>
              <a:buSzTx/>
              <a:buFontTx/>
              <a:buNone/>
              <a:tabLst/>
              <a:defRPr/>
            </a:pPr>
            <a:r>
              <a:rPr kumimoji="0" sz="1200" b="0" i="0" u="none" strike="noStrike" kern="0" cap="none" spc="0" normalizeH="0" baseline="0" noProof="0" dirty="0">
                <a:ln>
                  <a:noFill/>
                </a:ln>
                <a:solidFill>
                  <a:srgbClr val="585353"/>
                </a:solidFill>
                <a:effectLst/>
                <a:uLnTx/>
                <a:uFillTx/>
                <a:latin typeface="Trebuchet MS"/>
                <a:ea typeface="+mn-ea"/>
                <a:cs typeface="Trebuchet MS"/>
              </a:rPr>
              <a:t>2022</a:t>
            </a:r>
            <a:r>
              <a:rPr kumimoji="0" sz="1200" b="0" i="0" u="none" strike="noStrike" kern="0" cap="none" spc="-30" normalizeH="0" baseline="0" noProof="0" dirty="0">
                <a:ln>
                  <a:noFill/>
                </a:ln>
                <a:solidFill>
                  <a:srgbClr val="585353"/>
                </a:solidFill>
                <a:effectLst/>
                <a:uLnTx/>
                <a:uFillTx/>
                <a:latin typeface="Trebuchet MS"/>
                <a:ea typeface="+mn-ea"/>
                <a:cs typeface="Trebuchet MS"/>
              </a:rPr>
              <a:t> </a:t>
            </a:r>
            <a:r>
              <a:rPr kumimoji="0" sz="1200" b="0" i="0" u="none" strike="noStrike" kern="0" cap="none" spc="-10" normalizeH="0" baseline="0" noProof="0" dirty="0">
                <a:ln>
                  <a:noFill/>
                </a:ln>
                <a:solidFill>
                  <a:srgbClr val="585353"/>
                </a:solidFill>
                <a:effectLst/>
                <a:uLnTx/>
                <a:uFillTx/>
                <a:latin typeface="Trebuchet MS"/>
                <a:ea typeface="+mn-ea"/>
                <a:cs typeface="Trebuchet MS"/>
              </a:rPr>
              <a:t>classification</a:t>
            </a:r>
            <a:r>
              <a:rPr kumimoji="0" sz="1200" b="0" i="0" u="none" strike="noStrike" kern="0" cap="none" spc="-15" normalizeH="0" baseline="24305" noProof="0" dirty="0">
                <a:ln>
                  <a:noFill/>
                </a:ln>
                <a:solidFill>
                  <a:srgbClr val="585353"/>
                </a:solidFill>
                <a:effectLst/>
                <a:uLnTx/>
                <a:uFillTx/>
                <a:latin typeface="Trebuchet MS"/>
                <a:ea typeface="+mn-ea"/>
                <a:cs typeface="Trebuchet MS"/>
              </a:rPr>
              <a:t>a</a:t>
            </a:r>
            <a:endParaRPr kumimoji="0" sz="1200" b="0" i="0" u="none" strike="noStrike" kern="0" cap="none" spc="0" normalizeH="0" baseline="24305" noProof="0">
              <a:ln>
                <a:noFill/>
              </a:ln>
              <a:solidFill>
                <a:sysClr val="windowText" lastClr="000000"/>
              </a:solidFill>
              <a:effectLst/>
              <a:uLnTx/>
              <a:uFillTx/>
              <a:latin typeface="Trebuchet MS"/>
              <a:ea typeface="+mn-ea"/>
              <a:cs typeface="Trebuchet MS"/>
            </a:endParaRPr>
          </a:p>
          <a:p>
            <a:pPr marL="323215" marR="0" lvl="0" indent="-180975" algn="l" defTabSz="914400" rtl="0" eaLnBrk="1" fontAlgn="auto" latinLnBrk="0" hangingPunct="1">
              <a:lnSpc>
                <a:spcPct val="100000"/>
              </a:lnSpc>
              <a:spcBef>
                <a:spcPts val="5"/>
              </a:spcBef>
              <a:spcAft>
                <a:spcPts val="0"/>
              </a:spcAft>
              <a:buClrTx/>
              <a:buSzTx/>
              <a:buFont typeface="Arial"/>
              <a:buChar char="•"/>
              <a:tabLst>
                <a:tab pos="323215" algn="l"/>
              </a:tabLst>
              <a:defRPr/>
            </a:pPr>
            <a:r>
              <a:rPr kumimoji="0" sz="1200" b="0" i="0" u="none" strike="noStrike" kern="0" cap="none" spc="0" normalizeH="0" baseline="0" noProof="0" dirty="0">
                <a:ln>
                  <a:noFill/>
                </a:ln>
                <a:solidFill>
                  <a:srgbClr val="585353"/>
                </a:solidFill>
                <a:effectLst/>
                <a:uLnTx/>
                <a:uFillTx/>
                <a:latin typeface="Trebuchet MS"/>
                <a:ea typeface="+mn-ea"/>
                <a:cs typeface="Trebuchet MS"/>
              </a:rPr>
              <a:t>Ann</a:t>
            </a:r>
            <a:r>
              <a:rPr kumimoji="0" sz="1200" b="0" i="0" u="none" strike="noStrike" kern="0" cap="none" spc="-90"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Arbor</a:t>
            </a:r>
            <a:r>
              <a:rPr kumimoji="0" sz="1200" b="0" i="0" u="none" strike="noStrike" kern="0" cap="none" spc="-20"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stage</a:t>
            </a:r>
            <a:r>
              <a:rPr kumimoji="0" sz="1200" b="0" i="0" u="none" strike="noStrike" kern="0" cap="none" spc="-20" normalizeH="0" baseline="0" noProof="0" dirty="0">
                <a:ln>
                  <a:noFill/>
                </a:ln>
                <a:solidFill>
                  <a:srgbClr val="585353"/>
                </a:solidFill>
                <a:effectLst/>
                <a:uLnTx/>
                <a:uFillTx/>
                <a:latin typeface="Trebuchet MS"/>
                <a:ea typeface="+mn-ea"/>
                <a:cs typeface="Trebuchet MS"/>
              </a:rPr>
              <a:t> </a:t>
            </a:r>
            <a:r>
              <a:rPr kumimoji="0" sz="1200" b="0" i="0" u="none" strike="noStrike" kern="0" cap="none" spc="-10" normalizeH="0" baseline="0" noProof="0" dirty="0">
                <a:ln>
                  <a:noFill/>
                </a:ln>
                <a:solidFill>
                  <a:srgbClr val="585353"/>
                </a:solidFill>
                <a:effectLst/>
                <a:uLnTx/>
                <a:uFillTx/>
                <a:latin typeface="Trebuchet MS"/>
                <a:ea typeface="+mn-ea"/>
                <a:cs typeface="Trebuchet MS"/>
              </a:rPr>
              <a:t>II–</a:t>
            </a:r>
            <a:r>
              <a:rPr kumimoji="0" sz="1200" b="0" i="0" u="none" strike="noStrike" kern="0" cap="none" spc="0" normalizeH="0" baseline="0" noProof="0" dirty="0">
                <a:ln>
                  <a:noFill/>
                </a:ln>
                <a:solidFill>
                  <a:srgbClr val="585353"/>
                </a:solidFill>
                <a:effectLst/>
                <a:uLnTx/>
                <a:uFillTx/>
                <a:latin typeface="Trebuchet MS"/>
                <a:ea typeface="+mn-ea"/>
                <a:cs typeface="Trebuchet MS"/>
              </a:rPr>
              <a:t>IV</a:t>
            </a:r>
            <a:r>
              <a:rPr kumimoji="0" sz="1200" b="0" i="0" u="none" strike="noStrike" kern="0" cap="none" spc="-15" normalizeH="0" baseline="0" noProof="0" dirty="0">
                <a:ln>
                  <a:noFill/>
                </a:ln>
                <a:solidFill>
                  <a:srgbClr val="585353"/>
                </a:solidFill>
                <a:effectLst/>
                <a:uLnTx/>
                <a:uFillTx/>
                <a:latin typeface="Trebuchet MS"/>
                <a:ea typeface="+mn-ea"/>
                <a:cs typeface="Trebuchet MS"/>
              </a:rPr>
              <a:t> </a:t>
            </a:r>
            <a:r>
              <a:rPr kumimoji="0" sz="1200" b="0" i="0" u="none" strike="noStrike" kern="0" cap="none" spc="-10" normalizeH="0" baseline="0" noProof="0" dirty="0">
                <a:ln>
                  <a:noFill/>
                </a:ln>
                <a:solidFill>
                  <a:srgbClr val="585353"/>
                </a:solidFill>
                <a:effectLst/>
                <a:uLnTx/>
                <a:uFillTx/>
                <a:latin typeface="Trebuchet MS"/>
                <a:ea typeface="+mn-ea"/>
                <a:cs typeface="Trebuchet MS"/>
              </a:rPr>
              <a:t>disease</a:t>
            </a:r>
            <a:endParaRPr kumimoji="0" sz="1200" b="0" i="0" u="none" strike="noStrike" kern="0" cap="none" spc="0" normalizeH="0" baseline="0" noProof="0">
              <a:ln>
                <a:noFill/>
              </a:ln>
              <a:solidFill>
                <a:sysClr val="windowText" lastClr="000000"/>
              </a:solidFill>
              <a:effectLst/>
              <a:uLnTx/>
              <a:uFillTx/>
              <a:latin typeface="Trebuchet MS"/>
              <a:ea typeface="+mn-ea"/>
              <a:cs typeface="Trebuchet MS"/>
            </a:endParaRPr>
          </a:p>
          <a:p>
            <a:pPr marL="323215" marR="0" lvl="0" indent="-180975" algn="l" defTabSz="914400" rtl="0" eaLnBrk="1" fontAlgn="auto" latinLnBrk="0" hangingPunct="1">
              <a:lnSpc>
                <a:spcPct val="100000"/>
              </a:lnSpc>
              <a:spcBef>
                <a:spcPts val="0"/>
              </a:spcBef>
              <a:spcAft>
                <a:spcPts val="0"/>
              </a:spcAft>
              <a:buClrTx/>
              <a:buSzTx/>
              <a:buFont typeface="Arial"/>
              <a:buChar char="•"/>
              <a:tabLst>
                <a:tab pos="323215" algn="l"/>
              </a:tabLst>
              <a:defRPr/>
            </a:pPr>
            <a:r>
              <a:rPr kumimoji="0" sz="1200" b="0" i="0" u="none" strike="noStrike" kern="0" cap="none" spc="0" normalizeH="0" baseline="0" noProof="0" dirty="0">
                <a:ln>
                  <a:noFill/>
                </a:ln>
                <a:solidFill>
                  <a:srgbClr val="585353"/>
                </a:solidFill>
                <a:effectLst/>
                <a:uLnTx/>
                <a:uFillTx/>
                <a:latin typeface="Trebuchet MS"/>
                <a:ea typeface="+mn-ea"/>
                <a:cs typeface="Trebuchet MS"/>
              </a:rPr>
              <a:t>IPI</a:t>
            </a:r>
            <a:r>
              <a:rPr kumimoji="0" sz="1200" b="0" i="0" u="none" strike="noStrike" kern="0" cap="none" spc="-10" normalizeH="0" baseline="0" noProof="0" dirty="0">
                <a:ln>
                  <a:noFill/>
                </a:ln>
                <a:solidFill>
                  <a:srgbClr val="585353"/>
                </a:solidFill>
                <a:effectLst/>
                <a:uLnTx/>
                <a:uFillTx/>
                <a:latin typeface="Trebuchet MS"/>
                <a:ea typeface="+mn-ea"/>
                <a:cs typeface="Trebuchet MS"/>
              </a:rPr>
              <a:t> score</a:t>
            </a:r>
            <a:endParaRPr kumimoji="0" sz="1200" b="0" i="0" u="none" strike="noStrike" kern="0" cap="none" spc="0" normalizeH="0" baseline="0" noProof="0">
              <a:ln>
                <a:noFill/>
              </a:ln>
              <a:solidFill>
                <a:sysClr val="windowText" lastClr="000000"/>
              </a:solidFill>
              <a:effectLst/>
              <a:uLnTx/>
              <a:uFillTx/>
              <a:latin typeface="Trebuchet MS"/>
              <a:ea typeface="+mn-ea"/>
              <a:cs typeface="Trebuchet MS"/>
            </a:endParaRPr>
          </a:p>
          <a:p>
            <a:pPr marL="321945" marR="0" lvl="0" indent="0" algn="l" defTabSz="914400" rtl="0" eaLnBrk="1" fontAlgn="auto" latinLnBrk="0" hangingPunct="1">
              <a:lnSpc>
                <a:spcPts val="1415"/>
              </a:lnSpc>
              <a:spcBef>
                <a:spcPts val="0"/>
              </a:spcBef>
              <a:spcAft>
                <a:spcPts val="0"/>
              </a:spcAft>
              <a:buClrTx/>
              <a:buSzTx/>
              <a:buFontTx/>
              <a:buNone/>
              <a:tabLst/>
              <a:defRPr/>
            </a:pPr>
            <a:r>
              <a:rPr kumimoji="0" sz="1200" b="0" i="0" u="none" strike="noStrike" kern="0" cap="none" spc="0" normalizeH="0" baseline="0" noProof="0" dirty="0">
                <a:ln>
                  <a:noFill/>
                </a:ln>
                <a:solidFill>
                  <a:srgbClr val="585353"/>
                </a:solidFill>
                <a:effectLst/>
                <a:uLnTx/>
                <a:uFillTx/>
                <a:latin typeface="Arial"/>
                <a:ea typeface="+mn-ea"/>
                <a:cs typeface="Arial"/>
              </a:rPr>
              <a:t>–</a:t>
            </a:r>
            <a:r>
              <a:rPr kumimoji="0" sz="1200" b="0" i="0" u="none" strike="noStrike" kern="0" cap="none" spc="415" normalizeH="0" baseline="0" noProof="0" dirty="0">
                <a:ln>
                  <a:noFill/>
                </a:ln>
                <a:solidFill>
                  <a:srgbClr val="585353"/>
                </a:solidFill>
                <a:effectLst/>
                <a:uLnTx/>
                <a:uFillTx/>
                <a:latin typeface="Arial"/>
                <a:ea typeface="+mn-ea"/>
                <a:cs typeface="Arial"/>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a:t>
            </a:r>
            <a:r>
              <a:rPr kumimoji="0" sz="1200" b="0" i="0" u="none" strike="noStrike" kern="0" cap="none" spc="-10" normalizeH="0" baseline="0" noProof="0" dirty="0">
                <a:ln>
                  <a:noFill/>
                </a:ln>
                <a:solidFill>
                  <a:srgbClr val="585353"/>
                </a:solidFill>
                <a:effectLst/>
                <a:uLnTx/>
                <a:uFillTx/>
                <a:latin typeface="Trebuchet MS"/>
                <a:ea typeface="+mn-ea"/>
                <a:cs typeface="Trebuchet MS"/>
              </a:rPr>
              <a:t> </a:t>
            </a:r>
            <a:r>
              <a:rPr kumimoji="0" sz="1200" b="0" i="0" u="none" strike="noStrike" kern="0" cap="none" spc="-50" normalizeH="0" baseline="0" noProof="0" dirty="0">
                <a:ln>
                  <a:noFill/>
                </a:ln>
                <a:solidFill>
                  <a:srgbClr val="585353"/>
                </a:solidFill>
                <a:effectLst/>
                <a:uLnTx/>
                <a:uFillTx/>
                <a:latin typeface="Trebuchet MS"/>
                <a:ea typeface="+mn-ea"/>
                <a:cs typeface="Trebuchet MS"/>
              </a:rPr>
              <a:t>3</a:t>
            </a:r>
            <a:endParaRPr kumimoji="0" sz="1200" b="0" i="0" u="none" strike="noStrike" kern="0" cap="none" spc="0" normalizeH="0" baseline="0" noProof="0">
              <a:ln>
                <a:noFill/>
              </a:ln>
              <a:solidFill>
                <a:sysClr val="windowText" lastClr="000000"/>
              </a:solidFill>
              <a:effectLst/>
              <a:uLnTx/>
              <a:uFillTx/>
              <a:latin typeface="Trebuchet MS"/>
              <a:ea typeface="+mn-ea"/>
              <a:cs typeface="Trebuchet MS"/>
            </a:endParaRPr>
          </a:p>
          <a:p>
            <a:pPr marL="321945" marR="0" lvl="0" indent="0" algn="l" defTabSz="914400" rtl="0" eaLnBrk="1" fontAlgn="auto" latinLnBrk="0" hangingPunct="1">
              <a:lnSpc>
                <a:spcPts val="1415"/>
              </a:lnSpc>
              <a:spcBef>
                <a:spcPts val="0"/>
              </a:spcBef>
              <a:spcAft>
                <a:spcPts val="0"/>
              </a:spcAft>
              <a:buClrTx/>
              <a:buSzTx/>
              <a:buFontTx/>
              <a:buNone/>
              <a:tabLst/>
              <a:defRPr/>
            </a:pPr>
            <a:r>
              <a:rPr kumimoji="0" sz="1200" b="0" i="0" u="none" strike="noStrike" kern="0" cap="none" spc="0" normalizeH="0" baseline="0" noProof="0" dirty="0">
                <a:ln>
                  <a:noFill/>
                </a:ln>
                <a:solidFill>
                  <a:srgbClr val="585353"/>
                </a:solidFill>
                <a:effectLst/>
                <a:uLnTx/>
                <a:uFillTx/>
                <a:latin typeface="Arial"/>
                <a:ea typeface="+mn-ea"/>
                <a:cs typeface="Arial"/>
              </a:rPr>
              <a:t>–</a:t>
            </a:r>
            <a:r>
              <a:rPr kumimoji="0" sz="1200" b="0" i="0" u="none" strike="noStrike" kern="0" cap="none" spc="400" normalizeH="0" baseline="0" noProof="0" dirty="0">
                <a:ln>
                  <a:noFill/>
                </a:ln>
                <a:solidFill>
                  <a:srgbClr val="585353"/>
                </a:solidFill>
                <a:effectLst/>
                <a:uLnTx/>
                <a:uFillTx/>
                <a:latin typeface="Arial"/>
                <a:ea typeface="+mn-ea"/>
                <a:cs typeface="Arial"/>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1</a:t>
            </a:r>
            <a:r>
              <a:rPr kumimoji="0" sz="1200" b="0" i="0" u="none" strike="noStrike" kern="0" cap="none" spc="-15"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or</a:t>
            </a:r>
            <a:r>
              <a:rPr kumimoji="0" sz="1200" b="0" i="0" u="none" strike="noStrike" kern="0" cap="none" spc="-5"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2</a:t>
            </a:r>
            <a:r>
              <a:rPr kumimoji="0" sz="1200" b="0" i="0" u="none" strike="noStrike" kern="0" cap="none" spc="-15"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with</a:t>
            </a:r>
            <a:r>
              <a:rPr kumimoji="0" sz="1200" b="0" i="0" u="none" strike="noStrike" kern="0" cap="none" spc="-20"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LDH</a:t>
            </a:r>
            <a:r>
              <a:rPr kumimoji="0" sz="1200" b="0" i="0" u="none" strike="noStrike" kern="0" cap="none" spc="-5"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gt;</a:t>
            </a:r>
            <a:r>
              <a:rPr kumimoji="0" sz="1200" b="0" i="0" u="none" strike="noStrike" kern="0" cap="none" spc="-20"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1.3 </a:t>
            </a:r>
            <a:r>
              <a:rPr kumimoji="0" sz="1200" b="0" i="0" u="none" strike="noStrike" kern="0" cap="none" spc="495" normalizeH="0" baseline="0" noProof="0" dirty="0">
                <a:ln>
                  <a:noFill/>
                </a:ln>
                <a:solidFill>
                  <a:srgbClr val="585353"/>
                </a:solidFill>
                <a:effectLst/>
                <a:uLnTx/>
                <a:uFillTx/>
                <a:latin typeface="Arial"/>
                <a:ea typeface="+mn-ea"/>
                <a:cs typeface="Arial"/>
              </a:rPr>
              <a:t>×</a:t>
            </a:r>
            <a:r>
              <a:rPr kumimoji="0" sz="1200" b="0" i="0" u="none" strike="noStrike" kern="0" cap="none" spc="20" normalizeH="0" baseline="0" noProof="0" dirty="0">
                <a:ln>
                  <a:noFill/>
                </a:ln>
                <a:solidFill>
                  <a:srgbClr val="585353"/>
                </a:solidFill>
                <a:effectLst/>
                <a:uLnTx/>
                <a:uFillTx/>
                <a:latin typeface="Arial"/>
                <a:ea typeface="+mn-ea"/>
                <a:cs typeface="Arial"/>
              </a:rPr>
              <a:t> </a:t>
            </a:r>
            <a:r>
              <a:rPr kumimoji="0" sz="1200" b="0" i="0" u="none" strike="noStrike" kern="0" cap="none" spc="-25" normalizeH="0" baseline="0" noProof="0" dirty="0">
                <a:ln>
                  <a:noFill/>
                </a:ln>
                <a:solidFill>
                  <a:srgbClr val="585353"/>
                </a:solidFill>
                <a:effectLst/>
                <a:uLnTx/>
                <a:uFillTx/>
                <a:latin typeface="Trebuchet MS"/>
                <a:ea typeface="+mn-ea"/>
                <a:cs typeface="Trebuchet MS"/>
              </a:rPr>
              <a:t>ULN</a:t>
            </a:r>
            <a:endParaRPr kumimoji="0" sz="1200" b="0" i="0" u="none" strike="noStrike" kern="0" cap="none" spc="0" normalizeH="0" baseline="0" noProof="0">
              <a:ln>
                <a:noFill/>
              </a:ln>
              <a:solidFill>
                <a:sysClr val="windowText" lastClr="000000"/>
              </a:solidFill>
              <a:effectLst/>
              <a:uLnTx/>
              <a:uFillTx/>
              <a:latin typeface="Trebuchet MS"/>
              <a:ea typeface="+mn-ea"/>
              <a:cs typeface="Trebuchet MS"/>
            </a:endParaRPr>
          </a:p>
          <a:p>
            <a:pPr marL="501650" marR="0" lvl="0" indent="0" algn="l" defTabSz="914400" rtl="0" eaLnBrk="1" fontAlgn="auto" latinLnBrk="0" hangingPunct="1">
              <a:lnSpc>
                <a:spcPct val="100000"/>
              </a:lnSpc>
              <a:spcBef>
                <a:spcPts val="45"/>
              </a:spcBef>
              <a:spcAft>
                <a:spcPts val="0"/>
              </a:spcAft>
              <a:buClrTx/>
              <a:buSzTx/>
              <a:buFontTx/>
              <a:buNone/>
              <a:tabLst/>
              <a:defRPr/>
            </a:pPr>
            <a:r>
              <a:rPr kumimoji="0" sz="1200" b="0" i="0" u="none" strike="noStrike" kern="0" cap="none" spc="0" normalizeH="0" baseline="0" noProof="0" dirty="0">
                <a:ln>
                  <a:noFill/>
                </a:ln>
                <a:solidFill>
                  <a:srgbClr val="585353"/>
                </a:solidFill>
                <a:effectLst/>
                <a:uLnTx/>
                <a:uFillTx/>
                <a:latin typeface="Trebuchet MS"/>
                <a:ea typeface="+mn-ea"/>
                <a:cs typeface="Trebuchet MS"/>
              </a:rPr>
              <a:t>and/or</a:t>
            </a:r>
            <a:r>
              <a:rPr kumimoji="0" sz="1200" b="0" i="0" u="none" strike="noStrike" kern="0" cap="none" spc="-60"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bulky</a:t>
            </a:r>
            <a:r>
              <a:rPr kumimoji="0" sz="1200" b="0" i="0" u="none" strike="noStrike" kern="0" cap="none" spc="-25" normalizeH="0" baseline="0" noProof="0" dirty="0">
                <a:ln>
                  <a:noFill/>
                </a:ln>
                <a:solidFill>
                  <a:srgbClr val="585353"/>
                </a:solidFill>
                <a:effectLst/>
                <a:uLnTx/>
                <a:uFillTx/>
                <a:latin typeface="Trebuchet MS"/>
                <a:ea typeface="+mn-ea"/>
                <a:cs typeface="Trebuchet MS"/>
              </a:rPr>
              <a:t> </a:t>
            </a:r>
            <a:r>
              <a:rPr kumimoji="0" sz="1200" b="0" i="0" u="none" strike="noStrike" kern="0" cap="none" spc="-10" normalizeH="0" baseline="0" noProof="0" dirty="0">
                <a:ln>
                  <a:noFill/>
                </a:ln>
                <a:solidFill>
                  <a:srgbClr val="585353"/>
                </a:solidFill>
                <a:effectLst/>
                <a:uLnTx/>
                <a:uFillTx/>
                <a:latin typeface="Trebuchet MS"/>
                <a:ea typeface="+mn-ea"/>
                <a:cs typeface="Trebuchet MS"/>
              </a:rPr>
              <a:t>disease</a:t>
            </a:r>
            <a:r>
              <a:rPr kumimoji="0" sz="1200" b="0" i="0" u="none" strike="noStrike" kern="0" cap="none" spc="-15" normalizeH="0" baseline="24305" noProof="0" dirty="0">
                <a:ln>
                  <a:noFill/>
                </a:ln>
                <a:solidFill>
                  <a:srgbClr val="585353"/>
                </a:solidFill>
                <a:effectLst/>
                <a:uLnTx/>
                <a:uFillTx/>
                <a:latin typeface="Trebuchet MS"/>
                <a:ea typeface="+mn-ea"/>
                <a:cs typeface="Trebuchet MS"/>
              </a:rPr>
              <a:t>b</a:t>
            </a:r>
            <a:endParaRPr kumimoji="0" sz="1200" b="0" i="0" u="none" strike="noStrike" kern="0" cap="none" spc="0" normalizeH="0" baseline="24305" noProof="0">
              <a:ln>
                <a:noFill/>
              </a:ln>
              <a:solidFill>
                <a:sysClr val="windowText" lastClr="000000"/>
              </a:solidFill>
              <a:effectLst/>
              <a:uLnTx/>
              <a:uFillTx/>
              <a:latin typeface="Trebuchet MS"/>
              <a:ea typeface="+mn-ea"/>
              <a:cs typeface="Trebuchet MS"/>
            </a:endParaRPr>
          </a:p>
          <a:p>
            <a:pPr marL="321945" marR="561340" lvl="0" indent="-180340" algn="l" defTabSz="914400" rtl="0" eaLnBrk="1" fontAlgn="auto" latinLnBrk="0" hangingPunct="1">
              <a:lnSpc>
                <a:spcPct val="100000"/>
              </a:lnSpc>
              <a:spcBef>
                <a:spcPts val="0"/>
              </a:spcBef>
              <a:spcAft>
                <a:spcPts val="0"/>
              </a:spcAft>
              <a:buClrTx/>
              <a:buSzTx/>
              <a:buFont typeface="Arial"/>
              <a:buChar char="•"/>
              <a:tabLst>
                <a:tab pos="321945" algn="l"/>
              </a:tabLst>
              <a:defRPr/>
            </a:pPr>
            <a:r>
              <a:rPr kumimoji="0" sz="1200" b="0" i="0" u="none" strike="noStrike" kern="0" cap="none" spc="0" normalizeH="0" baseline="0" noProof="0" dirty="0">
                <a:ln>
                  <a:noFill/>
                </a:ln>
                <a:solidFill>
                  <a:srgbClr val="585353"/>
                </a:solidFill>
                <a:effectLst/>
                <a:uLnTx/>
                <a:uFillTx/>
                <a:latin typeface="Trebuchet MS"/>
                <a:ea typeface="+mn-ea"/>
                <a:cs typeface="Trebuchet MS"/>
              </a:rPr>
              <a:t>Measurable</a:t>
            </a:r>
            <a:r>
              <a:rPr kumimoji="0" sz="1200" b="0" i="0" u="none" strike="noStrike" kern="0" cap="none" spc="-65"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disease</a:t>
            </a:r>
            <a:r>
              <a:rPr kumimoji="0" sz="1200" b="0" i="0" u="none" strike="noStrike" kern="0" cap="none" spc="-60"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by</a:t>
            </a:r>
            <a:r>
              <a:rPr kumimoji="0" sz="1200" b="0" i="0" u="none" strike="noStrike" kern="0" cap="none" spc="-25" normalizeH="0" baseline="0" noProof="0" dirty="0">
                <a:ln>
                  <a:noFill/>
                </a:ln>
                <a:solidFill>
                  <a:srgbClr val="585353"/>
                </a:solidFill>
                <a:effectLst/>
                <a:uLnTx/>
                <a:uFillTx/>
                <a:latin typeface="Trebuchet MS"/>
                <a:ea typeface="+mn-ea"/>
                <a:cs typeface="Trebuchet MS"/>
              </a:rPr>
              <a:t> </a:t>
            </a:r>
            <a:r>
              <a:rPr kumimoji="0" sz="1200" b="0" i="0" u="none" strike="noStrike" kern="0" cap="none" spc="-10" normalizeH="0" baseline="0" noProof="0" dirty="0">
                <a:ln>
                  <a:noFill/>
                </a:ln>
                <a:solidFill>
                  <a:srgbClr val="585353"/>
                </a:solidFill>
                <a:effectLst/>
                <a:uLnTx/>
                <a:uFillTx/>
                <a:latin typeface="Trebuchet MS"/>
                <a:ea typeface="+mn-ea"/>
                <a:cs typeface="Trebuchet MS"/>
              </a:rPr>
              <a:t>Lugano classification</a:t>
            </a:r>
            <a:r>
              <a:rPr kumimoji="0" sz="1200" b="0" i="0" u="none" strike="noStrike" kern="0" cap="none" spc="-15" normalizeH="0" baseline="24305" noProof="0" dirty="0">
                <a:ln>
                  <a:noFill/>
                </a:ln>
                <a:solidFill>
                  <a:srgbClr val="585353"/>
                </a:solidFill>
                <a:effectLst/>
                <a:uLnTx/>
                <a:uFillTx/>
                <a:latin typeface="Trebuchet MS"/>
                <a:ea typeface="+mn-ea"/>
                <a:cs typeface="Trebuchet MS"/>
              </a:rPr>
              <a:t>c</a:t>
            </a:r>
            <a:endParaRPr kumimoji="0" sz="1200" b="0" i="0" u="none" strike="noStrike" kern="0" cap="none" spc="0" normalizeH="0" baseline="24305" noProof="0">
              <a:ln>
                <a:noFill/>
              </a:ln>
              <a:solidFill>
                <a:sysClr val="windowText" lastClr="000000"/>
              </a:solidFill>
              <a:effectLst/>
              <a:uLnTx/>
              <a:uFillTx/>
              <a:latin typeface="Trebuchet MS"/>
              <a:ea typeface="+mn-ea"/>
              <a:cs typeface="Trebuchet MS"/>
            </a:endParaRPr>
          </a:p>
          <a:p>
            <a:pPr marL="323215" marR="0" lvl="0" indent="-180975" algn="l" defTabSz="914400" rtl="0" eaLnBrk="1" fontAlgn="auto" latinLnBrk="0" hangingPunct="1">
              <a:lnSpc>
                <a:spcPct val="100000"/>
              </a:lnSpc>
              <a:spcBef>
                <a:spcPts val="0"/>
              </a:spcBef>
              <a:spcAft>
                <a:spcPts val="0"/>
              </a:spcAft>
              <a:buClrTx/>
              <a:buSzTx/>
              <a:buFont typeface="Arial"/>
              <a:buChar char="•"/>
              <a:tabLst>
                <a:tab pos="323215" algn="l"/>
              </a:tabLst>
              <a:defRPr/>
            </a:pPr>
            <a:r>
              <a:rPr kumimoji="0" sz="1200" b="0" i="0" u="none" strike="noStrike" kern="0" cap="none" spc="0" normalizeH="0" baseline="0" noProof="0" dirty="0">
                <a:ln>
                  <a:noFill/>
                </a:ln>
                <a:solidFill>
                  <a:srgbClr val="585353"/>
                </a:solidFill>
                <a:effectLst/>
                <a:uLnTx/>
                <a:uFillTx/>
                <a:latin typeface="Trebuchet MS"/>
                <a:ea typeface="+mn-ea"/>
                <a:cs typeface="Trebuchet MS"/>
              </a:rPr>
              <a:t>No</a:t>
            </a:r>
            <a:r>
              <a:rPr kumimoji="0" sz="1200" b="0" i="0" u="none" strike="noStrike" kern="0" cap="none" spc="-20"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other</a:t>
            </a:r>
            <a:r>
              <a:rPr kumimoji="0" sz="1200" b="0" i="0" u="none" strike="noStrike" kern="0" cap="none" spc="-45"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lymphoma</a:t>
            </a:r>
            <a:r>
              <a:rPr kumimoji="0" sz="1200" b="0" i="0" u="none" strike="noStrike" kern="0" cap="none" spc="-40" normalizeH="0" baseline="0" noProof="0" dirty="0">
                <a:ln>
                  <a:noFill/>
                </a:ln>
                <a:solidFill>
                  <a:srgbClr val="585353"/>
                </a:solidFill>
                <a:effectLst/>
                <a:uLnTx/>
                <a:uFillTx/>
                <a:latin typeface="Trebuchet MS"/>
                <a:ea typeface="+mn-ea"/>
                <a:cs typeface="Trebuchet MS"/>
              </a:rPr>
              <a:t> </a:t>
            </a:r>
            <a:r>
              <a:rPr kumimoji="0" sz="1200" b="0" i="0" u="none" strike="noStrike" kern="0" cap="none" spc="-10" normalizeH="0" baseline="0" noProof="0" dirty="0">
                <a:ln>
                  <a:noFill/>
                </a:ln>
                <a:solidFill>
                  <a:srgbClr val="585353"/>
                </a:solidFill>
                <a:effectLst/>
                <a:uLnTx/>
                <a:uFillTx/>
                <a:latin typeface="Trebuchet MS"/>
                <a:ea typeface="+mn-ea"/>
                <a:cs typeface="Trebuchet MS"/>
              </a:rPr>
              <a:t>subtypes</a:t>
            </a:r>
            <a:endParaRPr kumimoji="0" sz="1200" b="0" i="0" u="none" strike="noStrike" kern="0" cap="none" spc="0" normalizeH="0" baseline="0" noProof="0">
              <a:ln>
                <a:noFill/>
              </a:ln>
              <a:solidFill>
                <a:sysClr val="windowText" lastClr="000000"/>
              </a:solidFill>
              <a:effectLst/>
              <a:uLnTx/>
              <a:uFillTx/>
              <a:latin typeface="Trebuchet MS"/>
              <a:ea typeface="+mn-ea"/>
              <a:cs typeface="Trebuchet MS"/>
            </a:endParaRPr>
          </a:p>
          <a:p>
            <a:pPr marL="322580" marR="0" lvl="0" indent="-180340" algn="l" defTabSz="914400" rtl="0" eaLnBrk="1" fontAlgn="auto" latinLnBrk="0" hangingPunct="1">
              <a:lnSpc>
                <a:spcPct val="100000"/>
              </a:lnSpc>
              <a:spcBef>
                <a:spcPts val="0"/>
              </a:spcBef>
              <a:spcAft>
                <a:spcPts val="0"/>
              </a:spcAft>
              <a:buClrTx/>
              <a:buSzTx/>
              <a:buFont typeface="Arial"/>
              <a:buChar char="•"/>
              <a:tabLst>
                <a:tab pos="322580" algn="l"/>
              </a:tabLst>
              <a:defRPr/>
            </a:pPr>
            <a:r>
              <a:rPr kumimoji="0" sz="1200" b="0" i="0" u="none" strike="noStrike" kern="0" cap="none" spc="0" normalizeH="0" baseline="0" noProof="0" dirty="0">
                <a:ln>
                  <a:noFill/>
                </a:ln>
                <a:solidFill>
                  <a:srgbClr val="585353"/>
                </a:solidFill>
                <a:effectLst/>
                <a:uLnTx/>
                <a:uFillTx/>
                <a:latin typeface="Trebuchet MS"/>
                <a:ea typeface="+mn-ea"/>
                <a:cs typeface="Trebuchet MS"/>
              </a:rPr>
              <a:t>No</a:t>
            </a:r>
            <a:r>
              <a:rPr kumimoji="0" sz="1200" b="0" i="0" u="none" strike="noStrike" kern="0" cap="none" spc="-15"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lymphoma</a:t>
            </a:r>
            <a:r>
              <a:rPr kumimoji="0" sz="1200" b="0" i="0" u="none" strike="noStrike" kern="0" cap="none" spc="-25"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involvement</a:t>
            </a:r>
            <a:r>
              <a:rPr kumimoji="0" sz="1200" b="0" i="0" u="none" strike="noStrike" kern="0" cap="none" spc="-50" normalizeH="0" baseline="0" noProof="0" dirty="0">
                <a:ln>
                  <a:noFill/>
                </a:ln>
                <a:solidFill>
                  <a:srgbClr val="585353"/>
                </a:solidFill>
                <a:effectLst/>
                <a:uLnTx/>
                <a:uFillTx/>
                <a:latin typeface="Trebuchet MS"/>
                <a:ea typeface="+mn-ea"/>
                <a:cs typeface="Trebuchet MS"/>
              </a:rPr>
              <a:t> </a:t>
            </a:r>
            <a:r>
              <a:rPr kumimoji="0" sz="1200" b="0" i="0" u="none" strike="noStrike" kern="0" cap="none" spc="0" normalizeH="0" baseline="0" noProof="0" dirty="0">
                <a:ln>
                  <a:noFill/>
                </a:ln>
                <a:solidFill>
                  <a:srgbClr val="585353"/>
                </a:solidFill>
                <a:effectLst/>
                <a:uLnTx/>
                <a:uFillTx/>
                <a:latin typeface="Trebuchet MS"/>
                <a:ea typeface="+mn-ea"/>
                <a:cs typeface="Trebuchet MS"/>
              </a:rPr>
              <a:t>in</a:t>
            </a:r>
            <a:r>
              <a:rPr kumimoji="0" sz="1200" b="0" i="0" u="none" strike="noStrike" kern="0" cap="none" spc="-35" normalizeH="0" baseline="0" noProof="0" dirty="0">
                <a:ln>
                  <a:noFill/>
                </a:ln>
                <a:solidFill>
                  <a:srgbClr val="585353"/>
                </a:solidFill>
                <a:effectLst/>
                <a:uLnTx/>
                <a:uFillTx/>
                <a:latin typeface="Trebuchet MS"/>
                <a:ea typeface="+mn-ea"/>
                <a:cs typeface="Trebuchet MS"/>
              </a:rPr>
              <a:t> </a:t>
            </a:r>
            <a:r>
              <a:rPr kumimoji="0" sz="1200" b="0" i="0" u="none" strike="noStrike" kern="0" cap="none" spc="-25" normalizeH="0" baseline="0" noProof="0" dirty="0">
                <a:ln>
                  <a:noFill/>
                </a:ln>
                <a:solidFill>
                  <a:srgbClr val="585353"/>
                </a:solidFill>
                <a:effectLst/>
                <a:uLnTx/>
                <a:uFillTx/>
                <a:latin typeface="Trebuchet MS"/>
                <a:ea typeface="+mn-ea"/>
                <a:cs typeface="Trebuchet MS"/>
              </a:rPr>
              <a:t>CNS</a:t>
            </a:r>
            <a:endParaRPr kumimoji="0" sz="1200" b="0" i="0" u="none" strike="noStrike" kern="0" cap="none" spc="0" normalizeH="0" baseline="0" noProof="0">
              <a:ln>
                <a:noFill/>
              </a:ln>
              <a:solidFill>
                <a:sysClr val="windowText" lastClr="000000"/>
              </a:solidFill>
              <a:effectLst/>
              <a:uLnTx/>
              <a:uFillTx/>
              <a:latin typeface="Trebuchet MS"/>
              <a:ea typeface="+mn-ea"/>
              <a:cs typeface="Trebuchet MS"/>
            </a:endParaRPr>
          </a:p>
        </p:txBody>
      </p:sp>
      <p:sp>
        <p:nvSpPr>
          <p:cNvPr id="39" name="object 39"/>
          <p:cNvSpPr txBox="1"/>
          <p:nvPr/>
        </p:nvSpPr>
        <p:spPr>
          <a:xfrm>
            <a:off x="393382" y="1497838"/>
            <a:ext cx="2914015" cy="452755"/>
          </a:xfrm>
          <a:prstGeom prst="rect">
            <a:avLst/>
          </a:prstGeom>
        </p:spPr>
        <p:txBody>
          <a:bodyPr vert="horz" wrap="square" lIns="0" tIns="13335" rIns="0" bIns="0" rtlCol="0">
            <a:spAutoFit/>
          </a:bodyPr>
          <a:lstStyle/>
          <a:p>
            <a:pPr marL="0" marR="0" lvl="0" indent="0" algn="ctr" defTabSz="914400" rtl="0" eaLnBrk="1" fontAlgn="auto" latinLnBrk="0" hangingPunct="1">
              <a:lnSpc>
                <a:spcPct val="100000"/>
              </a:lnSpc>
              <a:spcBef>
                <a:spcPts val="105"/>
              </a:spcBef>
              <a:spcAft>
                <a:spcPts val="0"/>
              </a:spcAft>
              <a:buClrTx/>
              <a:buSzTx/>
              <a:buFontTx/>
              <a:buNone/>
              <a:tabLst/>
              <a:defRPr/>
            </a:pPr>
            <a:r>
              <a:rPr kumimoji="0" sz="1400" b="0" i="0" u="none" strike="noStrike" kern="0" cap="none" spc="-10" normalizeH="0" baseline="0" noProof="0" dirty="0">
                <a:ln>
                  <a:noFill/>
                </a:ln>
                <a:solidFill>
                  <a:srgbClr val="FFFFFF"/>
                </a:solidFill>
                <a:effectLst/>
                <a:uLnTx/>
                <a:uFillTx/>
                <a:latin typeface="Trebuchet MS"/>
                <a:ea typeface="+mn-ea"/>
                <a:cs typeface="Trebuchet MS"/>
              </a:rPr>
              <a:t>Patients</a:t>
            </a:r>
            <a:endParaRPr kumimoji="0" sz="1400" b="0" i="0" u="none" strike="noStrike" kern="0" cap="none" spc="0" normalizeH="0" baseline="0" noProof="0">
              <a:ln>
                <a:noFill/>
              </a:ln>
              <a:solidFill>
                <a:sysClr val="windowText" lastClr="000000"/>
              </a:solidFill>
              <a:effectLst/>
              <a:uLnTx/>
              <a:uFillTx/>
              <a:latin typeface="Trebuchet MS"/>
              <a:ea typeface="+mn-ea"/>
              <a:cs typeface="Trebuchet M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sz="1400" b="0" i="0" u="none" strike="noStrike" kern="0" cap="none" spc="0" normalizeH="0" baseline="0" noProof="0" dirty="0">
                <a:ln>
                  <a:noFill/>
                </a:ln>
                <a:solidFill>
                  <a:srgbClr val="FFFFFF"/>
                </a:solidFill>
                <a:effectLst/>
                <a:uLnTx/>
                <a:uFillTx/>
                <a:latin typeface="Trebuchet MS"/>
                <a:ea typeface="+mn-ea"/>
                <a:cs typeface="Trebuchet MS"/>
              </a:rPr>
              <a:t>N</a:t>
            </a:r>
            <a:r>
              <a:rPr kumimoji="0" sz="1400" b="0" i="0" u="none" strike="noStrike" kern="0" cap="none" spc="-20" normalizeH="0" baseline="0" noProof="0" dirty="0">
                <a:ln>
                  <a:noFill/>
                </a:ln>
                <a:solidFill>
                  <a:srgbClr val="FFFFFF"/>
                </a:solidFill>
                <a:effectLst/>
                <a:uLnTx/>
                <a:uFillTx/>
                <a:latin typeface="Trebuchet MS"/>
                <a:ea typeface="+mn-ea"/>
                <a:cs typeface="Trebuchet MS"/>
              </a:rPr>
              <a:t> </a:t>
            </a:r>
            <a:r>
              <a:rPr kumimoji="0" sz="1400" b="0" i="0" u="none" strike="noStrike" kern="0" cap="none" spc="0" normalizeH="0" baseline="0" noProof="0" dirty="0">
                <a:ln>
                  <a:noFill/>
                </a:ln>
                <a:solidFill>
                  <a:srgbClr val="FFFFFF"/>
                </a:solidFill>
                <a:effectLst/>
                <a:uLnTx/>
                <a:uFillTx/>
                <a:latin typeface="Trebuchet MS"/>
                <a:ea typeface="+mn-ea"/>
                <a:cs typeface="Trebuchet MS"/>
              </a:rPr>
              <a:t>≈</a:t>
            </a:r>
            <a:r>
              <a:rPr kumimoji="0" sz="1400" b="0" i="0" u="none" strike="noStrike" kern="0" cap="none" spc="-5" normalizeH="0" baseline="0" noProof="0" dirty="0">
                <a:ln>
                  <a:noFill/>
                </a:ln>
                <a:solidFill>
                  <a:srgbClr val="FFFFFF"/>
                </a:solidFill>
                <a:effectLst/>
                <a:uLnTx/>
                <a:uFillTx/>
                <a:latin typeface="Trebuchet MS"/>
                <a:ea typeface="+mn-ea"/>
                <a:cs typeface="Trebuchet MS"/>
              </a:rPr>
              <a:t> </a:t>
            </a:r>
            <a:r>
              <a:rPr kumimoji="0" sz="1400" b="0" i="0" u="none" strike="noStrike" kern="0" cap="none" spc="-25" normalizeH="0" baseline="0" noProof="0" dirty="0">
                <a:ln>
                  <a:noFill/>
                </a:ln>
                <a:solidFill>
                  <a:srgbClr val="FFFFFF"/>
                </a:solidFill>
                <a:effectLst/>
                <a:uLnTx/>
                <a:uFillTx/>
                <a:latin typeface="Trebuchet MS"/>
                <a:ea typeface="+mn-ea"/>
                <a:cs typeface="Trebuchet MS"/>
              </a:rPr>
              <a:t>850</a:t>
            </a:r>
            <a:endParaRPr kumimoji="0" sz="1400" b="0" i="0" u="none" strike="noStrike" kern="0" cap="none" spc="0" normalizeH="0" baseline="0" noProof="0">
              <a:ln>
                <a:noFill/>
              </a:ln>
              <a:solidFill>
                <a:sysClr val="windowText" lastClr="000000"/>
              </a:solidFill>
              <a:effectLst/>
              <a:uLnTx/>
              <a:uFillTx/>
              <a:latin typeface="Trebuchet MS"/>
              <a:ea typeface="+mn-ea"/>
              <a:cs typeface="Trebuchet MS"/>
            </a:endParaRPr>
          </a:p>
        </p:txBody>
      </p:sp>
      <p:grpSp>
        <p:nvGrpSpPr>
          <p:cNvPr id="40" name="object 40"/>
          <p:cNvGrpSpPr/>
          <p:nvPr/>
        </p:nvGrpSpPr>
        <p:grpSpPr>
          <a:xfrm>
            <a:off x="4872990" y="2218182"/>
            <a:ext cx="587375" cy="1548765"/>
            <a:chOff x="4872990" y="2218182"/>
            <a:chExt cx="587375" cy="1548765"/>
          </a:xfrm>
        </p:grpSpPr>
        <p:sp>
          <p:nvSpPr>
            <p:cNvPr id="41" name="object 41"/>
            <p:cNvSpPr/>
            <p:nvPr/>
          </p:nvSpPr>
          <p:spPr>
            <a:xfrm>
              <a:off x="4872990" y="2218182"/>
              <a:ext cx="577850" cy="846455"/>
            </a:xfrm>
            <a:custGeom>
              <a:avLst/>
              <a:gdLst/>
              <a:ahLst/>
              <a:cxnLst/>
              <a:rect l="l" t="t" r="r" b="b"/>
              <a:pathLst>
                <a:path w="577850" h="846455">
                  <a:moveTo>
                    <a:pt x="249555" y="827277"/>
                  </a:moveTo>
                  <a:lnTo>
                    <a:pt x="0" y="827277"/>
                  </a:lnTo>
                  <a:lnTo>
                    <a:pt x="0" y="846327"/>
                  </a:lnTo>
                  <a:lnTo>
                    <a:pt x="264287" y="846327"/>
                  </a:lnTo>
                  <a:lnTo>
                    <a:pt x="268605" y="842009"/>
                  </a:lnTo>
                  <a:lnTo>
                    <a:pt x="268605" y="836802"/>
                  </a:lnTo>
                  <a:lnTo>
                    <a:pt x="249555" y="836802"/>
                  </a:lnTo>
                  <a:lnTo>
                    <a:pt x="249555" y="827277"/>
                  </a:lnTo>
                  <a:close/>
                </a:path>
                <a:path w="577850" h="846455">
                  <a:moveTo>
                    <a:pt x="501142" y="28575"/>
                  </a:moveTo>
                  <a:lnTo>
                    <a:pt x="253746" y="28575"/>
                  </a:lnTo>
                  <a:lnTo>
                    <a:pt x="249555" y="32892"/>
                  </a:lnTo>
                  <a:lnTo>
                    <a:pt x="249555" y="836802"/>
                  </a:lnTo>
                  <a:lnTo>
                    <a:pt x="259080" y="827277"/>
                  </a:lnTo>
                  <a:lnTo>
                    <a:pt x="268605" y="827277"/>
                  </a:lnTo>
                  <a:lnTo>
                    <a:pt x="268605" y="47625"/>
                  </a:lnTo>
                  <a:lnTo>
                    <a:pt x="259080" y="47625"/>
                  </a:lnTo>
                  <a:lnTo>
                    <a:pt x="268605" y="38100"/>
                  </a:lnTo>
                  <a:lnTo>
                    <a:pt x="501142" y="38100"/>
                  </a:lnTo>
                  <a:lnTo>
                    <a:pt x="501142" y="28575"/>
                  </a:lnTo>
                  <a:close/>
                </a:path>
                <a:path w="577850" h="846455">
                  <a:moveTo>
                    <a:pt x="268605" y="827277"/>
                  </a:moveTo>
                  <a:lnTo>
                    <a:pt x="259080" y="827277"/>
                  </a:lnTo>
                  <a:lnTo>
                    <a:pt x="249555" y="836802"/>
                  </a:lnTo>
                  <a:lnTo>
                    <a:pt x="268605" y="836802"/>
                  </a:lnTo>
                  <a:lnTo>
                    <a:pt x="268605" y="827277"/>
                  </a:lnTo>
                  <a:close/>
                </a:path>
                <a:path w="577850" h="846455">
                  <a:moveTo>
                    <a:pt x="501142" y="0"/>
                  </a:moveTo>
                  <a:lnTo>
                    <a:pt x="501142" y="76200"/>
                  </a:lnTo>
                  <a:lnTo>
                    <a:pt x="558292" y="47625"/>
                  </a:lnTo>
                  <a:lnTo>
                    <a:pt x="513842" y="47625"/>
                  </a:lnTo>
                  <a:lnTo>
                    <a:pt x="513842" y="28575"/>
                  </a:lnTo>
                  <a:lnTo>
                    <a:pt x="558292" y="28575"/>
                  </a:lnTo>
                  <a:lnTo>
                    <a:pt x="501142" y="0"/>
                  </a:lnTo>
                  <a:close/>
                </a:path>
                <a:path w="577850" h="846455">
                  <a:moveTo>
                    <a:pt x="268605" y="38100"/>
                  </a:moveTo>
                  <a:lnTo>
                    <a:pt x="259080" y="47625"/>
                  </a:lnTo>
                  <a:lnTo>
                    <a:pt x="268605" y="47625"/>
                  </a:lnTo>
                  <a:lnTo>
                    <a:pt x="268605" y="38100"/>
                  </a:lnTo>
                  <a:close/>
                </a:path>
                <a:path w="577850" h="846455">
                  <a:moveTo>
                    <a:pt x="501142" y="38100"/>
                  </a:moveTo>
                  <a:lnTo>
                    <a:pt x="268605" y="38100"/>
                  </a:lnTo>
                  <a:lnTo>
                    <a:pt x="268605" y="47625"/>
                  </a:lnTo>
                  <a:lnTo>
                    <a:pt x="501142" y="47625"/>
                  </a:lnTo>
                  <a:lnTo>
                    <a:pt x="501142" y="38100"/>
                  </a:lnTo>
                  <a:close/>
                </a:path>
                <a:path w="577850" h="846455">
                  <a:moveTo>
                    <a:pt x="558292" y="28575"/>
                  </a:moveTo>
                  <a:lnTo>
                    <a:pt x="513842" y="28575"/>
                  </a:lnTo>
                  <a:lnTo>
                    <a:pt x="513842" y="47625"/>
                  </a:lnTo>
                  <a:lnTo>
                    <a:pt x="558292" y="47625"/>
                  </a:lnTo>
                  <a:lnTo>
                    <a:pt x="577342" y="38100"/>
                  </a:lnTo>
                  <a:lnTo>
                    <a:pt x="558292" y="28575"/>
                  </a:lnTo>
                  <a:close/>
                </a:path>
              </a:pathLst>
            </a:custGeom>
            <a:solidFill>
              <a:srgbClr val="56525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2" name="object 42"/>
            <p:cNvSpPr/>
            <p:nvPr/>
          </p:nvSpPr>
          <p:spPr>
            <a:xfrm>
              <a:off x="5130165" y="3052953"/>
              <a:ext cx="330200" cy="713740"/>
            </a:xfrm>
            <a:custGeom>
              <a:avLst/>
              <a:gdLst/>
              <a:ahLst/>
              <a:cxnLst/>
              <a:rect l="l" t="t" r="r" b="b"/>
              <a:pathLst>
                <a:path w="330200" h="713739">
                  <a:moveTo>
                    <a:pt x="253492" y="637413"/>
                  </a:moveTo>
                  <a:lnTo>
                    <a:pt x="253492" y="713613"/>
                  </a:lnTo>
                  <a:lnTo>
                    <a:pt x="310642" y="685038"/>
                  </a:lnTo>
                  <a:lnTo>
                    <a:pt x="266192" y="685038"/>
                  </a:lnTo>
                  <a:lnTo>
                    <a:pt x="266192" y="665988"/>
                  </a:lnTo>
                  <a:lnTo>
                    <a:pt x="310642" y="665988"/>
                  </a:lnTo>
                  <a:lnTo>
                    <a:pt x="253492" y="637413"/>
                  </a:lnTo>
                  <a:close/>
                </a:path>
                <a:path w="330200" h="713739">
                  <a:moveTo>
                    <a:pt x="19050" y="0"/>
                  </a:moveTo>
                  <a:lnTo>
                    <a:pt x="0" y="0"/>
                  </a:lnTo>
                  <a:lnTo>
                    <a:pt x="0" y="680720"/>
                  </a:lnTo>
                  <a:lnTo>
                    <a:pt x="4318" y="685038"/>
                  </a:lnTo>
                  <a:lnTo>
                    <a:pt x="253492" y="685038"/>
                  </a:lnTo>
                  <a:lnTo>
                    <a:pt x="253492" y="675513"/>
                  </a:lnTo>
                  <a:lnTo>
                    <a:pt x="19050" y="675513"/>
                  </a:lnTo>
                  <a:lnTo>
                    <a:pt x="9525" y="665988"/>
                  </a:lnTo>
                  <a:lnTo>
                    <a:pt x="19050" y="665988"/>
                  </a:lnTo>
                  <a:lnTo>
                    <a:pt x="19050" y="0"/>
                  </a:lnTo>
                  <a:close/>
                </a:path>
                <a:path w="330200" h="713739">
                  <a:moveTo>
                    <a:pt x="310642" y="665988"/>
                  </a:moveTo>
                  <a:lnTo>
                    <a:pt x="266192" y="665988"/>
                  </a:lnTo>
                  <a:lnTo>
                    <a:pt x="266192" y="685038"/>
                  </a:lnTo>
                  <a:lnTo>
                    <a:pt x="310642" y="685038"/>
                  </a:lnTo>
                  <a:lnTo>
                    <a:pt x="329692" y="675513"/>
                  </a:lnTo>
                  <a:lnTo>
                    <a:pt x="310642" y="665988"/>
                  </a:lnTo>
                  <a:close/>
                </a:path>
                <a:path w="330200" h="713739">
                  <a:moveTo>
                    <a:pt x="19050" y="665988"/>
                  </a:moveTo>
                  <a:lnTo>
                    <a:pt x="9525" y="665988"/>
                  </a:lnTo>
                  <a:lnTo>
                    <a:pt x="19050" y="675513"/>
                  </a:lnTo>
                  <a:lnTo>
                    <a:pt x="19050" y="665988"/>
                  </a:lnTo>
                  <a:close/>
                </a:path>
                <a:path w="330200" h="713739">
                  <a:moveTo>
                    <a:pt x="253492" y="665988"/>
                  </a:moveTo>
                  <a:lnTo>
                    <a:pt x="19050" y="665988"/>
                  </a:lnTo>
                  <a:lnTo>
                    <a:pt x="19050" y="675513"/>
                  </a:lnTo>
                  <a:lnTo>
                    <a:pt x="253492" y="675513"/>
                  </a:lnTo>
                  <a:lnTo>
                    <a:pt x="253492" y="665988"/>
                  </a:lnTo>
                  <a:close/>
                </a:path>
              </a:pathLst>
            </a:custGeom>
            <a:solidFill>
              <a:srgbClr val="58535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43" name="object 43"/>
          <p:cNvSpPr txBox="1"/>
          <p:nvPr/>
        </p:nvSpPr>
        <p:spPr>
          <a:xfrm>
            <a:off x="3579621" y="1578102"/>
            <a:ext cx="1717039" cy="103251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1" i="0" u="none" strike="noStrike" kern="0" cap="none" spc="0" normalizeH="0" baseline="0" noProof="0" dirty="0">
                <a:ln>
                  <a:noFill/>
                </a:ln>
                <a:solidFill>
                  <a:srgbClr val="585353"/>
                </a:solidFill>
                <a:effectLst/>
                <a:uLnTx/>
                <a:uFillTx/>
                <a:latin typeface="Trebuchet MS"/>
                <a:ea typeface="+mn-ea"/>
                <a:cs typeface="Trebuchet MS"/>
              </a:rPr>
              <a:t>Stratified</a:t>
            </a:r>
            <a:r>
              <a:rPr kumimoji="0" sz="1200" b="1" i="0" u="none" strike="noStrike" kern="0" cap="none" spc="-85" normalizeH="0" baseline="0" noProof="0" dirty="0">
                <a:ln>
                  <a:noFill/>
                </a:ln>
                <a:solidFill>
                  <a:srgbClr val="585353"/>
                </a:solidFill>
                <a:effectLst/>
                <a:uLnTx/>
                <a:uFillTx/>
                <a:latin typeface="Trebuchet MS"/>
                <a:ea typeface="+mn-ea"/>
                <a:cs typeface="Trebuchet MS"/>
              </a:rPr>
              <a:t> </a:t>
            </a:r>
            <a:r>
              <a:rPr kumimoji="0" sz="1200" b="1" i="0" u="none" strike="noStrike" kern="0" cap="none" spc="-25" normalizeH="0" baseline="0" noProof="0" dirty="0">
                <a:ln>
                  <a:noFill/>
                </a:ln>
                <a:solidFill>
                  <a:srgbClr val="585353"/>
                </a:solidFill>
                <a:effectLst/>
                <a:uLnTx/>
                <a:uFillTx/>
                <a:latin typeface="Trebuchet MS"/>
                <a:ea typeface="+mn-ea"/>
                <a:cs typeface="Trebuchet MS"/>
              </a:rPr>
              <a:t>by</a:t>
            </a:r>
            <a:r>
              <a:rPr kumimoji="0" sz="1200" b="0" i="0" u="none" strike="noStrike" kern="0" cap="none" spc="-25" normalizeH="0" baseline="0" noProof="0" dirty="0">
                <a:ln>
                  <a:noFill/>
                </a:ln>
                <a:solidFill>
                  <a:srgbClr val="585353"/>
                </a:solidFill>
                <a:effectLst/>
                <a:uLnTx/>
                <a:uFillTx/>
                <a:latin typeface="Trebuchet MS"/>
                <a:ea typeface="+mn-ea"/>
                <a:cs typeface="Trebuchet MS"/>
              </a:rPr>
              <a:t>:</a:t>
            </a:r>
            <a:endParaRPr kumimoji="0" sz="1200" b="0" i="0" u="none" strike="noStrike" kern="0" cap="none" spc="0" normalizeH="0" baseline="0" noProof="0">
              <a:ln>
                <a:noFill/>
              </a:ln>
              <a:solidFill>
                <a:sysClr val="windowText" lastClr="000000"/>
              </a:solidFill>
              <a:effectLst/>
              <a:uLnTx/>
              <a:uFillTx/>
              <a:latin typeface="Trebuchet MS"/>
              <a:ea typeface="+mn-ea"/>
              <a:cs typeface="Trebuchet MS"/>
            </a:endParaRPr>
          </a:p>
          <a:p>
            <a:pPr marL="120650" marR="0" lvl="0" indent="-107950" algn="l" defTabSz="914400" rtl="0" eaLnBrk="1" fontAlgn="auto" latinLnBrk="0" hangingPunct="1">
              <a:lnSpc>
                <a:spcPct val="100000"/>
              </a:lnSpc>
              <a:spcBef>
                <a:spcPts val="0"/>
              </a:spcBef>
              <a:spcAft>
                <a:spcPts val="0"/>
              </a:spcAft>
              <a:buClrTx/>
              <a:buSzTx/>
              <a:buFont typeface="Arial"/>
              <a:buChar char="•"/>
              <a:tabLst>
                <a:tab pos="120650" algn="l"/>
              </a:tabLst>
              <a:defRPr/>
            </a:pPr>
            <a:r>
              <a:rPr kumimoji="0" sz="1200" b="1" i="0" u="none" strike="noStrike" kern="0" cap="none" spc="0" normalizeH="0" baseline="0" noProof="0" dirty="0">
                <a:ln>
                  <a:noFill/>
                </a:ln>
                <a:solidFill>
                  <a:srgbClr val="585353"/>
                </a:solidFill>
                <a:effectLst/>
                <a:uLnTx/>
                <a:uFillTx/>
                <a:latin typeface="Trebuchet MS"/>
                <a:ea typeface="+mn-ea"/>
                <a:cs typeface="Trebuchet MS"/>
              </a:rPr>
              <a:t>IPI</a:t>
            </a:r>
            <a:r>
              <a:rPr kumimoji="0" sz="1200" b="1" i="0" u="none" strike="noStrike" kern="0" cap="none" spc="-15" normalizeH="0" baseline="0" noProof="0" dirty="0">
                <a:ln>
                  <a:noFill/>
                </a:ln>
                <a:solidFill>
                  <a:srgbClr val="585353"/>
                </a:solidFill>
                <a:effectLst/>
                <a:uLnTx/>
                <a:uFillTx/>
                <a:latin typeface="Trebuchet MS"/>
                <a:ea typeface="+mn-ea"/>
                <a:cs typeface="Trebuchet MS"/>
              </a:rPr>
              <a:t> </a:t>
            </a:r>
            <a:r>
              <a:rPr kumimoji="0" sz="1200" b="1" i="0" u="none" strike="noStrike" kern="0" cap="none" spc="-10" normalizeH="0" baseline="0" noProof="0" dirty="0">
                <a:ln>
                  <a:noFill/>
                </a:ln>
                <a:solidFill>
                  <a:srgbClr val="585353"/>
                </a:solidFill>
                <a:effectLst/>
                <a:uLnTx/>
                <a:uFillTx/>
                <a:latin typeface="Trebuchet MS"/>
                <a:ea typeface="+mn-ea"/>
                <a:cs typeface="Trebuchet MS"/>
              </a:rPr>
              <a:t>score</a:t>
            </a:r>
            <a:endParaRPr kumimoji="0" sz="1200" b="0" i="0" u="none" strike="noStrike" kern="0" cap="none" spc="0" normalizeH="0" baseline="0" noProof="0">
              <a:ln>
                <a:noFill/>
              </a:ln>
              <a:solidFill>
                <a:sysClr val="windowText" lastClr="000000"/>
              </a:solidFill>
              <a:effectLst/>
              <a:uLnTx/>
              <a:uFillTx/>
              <a:latin typeface="Trebuchet MS"/>
              <a:ea typeface="+mn-ea"/>
              <a:cs typeface="Trebuchet MS"/>
            </a:endParaRPr>
          </a:p>
          <a:p>
            <a:pPr marL="289560" marR="0" lvl="1" indent="-168910" algn="l" defTabSz="914400" rtl="0" eaLnBrk="1" fontAlgn="auto" latinLnBrk="0" hangingPunct="1">
              <a:lnSpc>
                <a:spcPct val="100000"/>
              </a:lnSpc>
              <a:spcBef>
                <a:spcPts val="5"/>
              </a:spcBef>
              <a:spcAft>
                <a:spcPts val="0"/>
              </a:spcAft>
              <a:buClrTx/>
              <a:buSzTx/>
              <a:buFont typeface="Arial"/>
              <a:buChar char="–"/>
              <a:tabLst>
                <a:tab pos="289560" algn="l"/>
              </a:tabLst>
              <a:defRPr/>
            </a:pPr>
            <a:r>
              <a:rPr kumimoji="0" sz="1000" b="0" i="0" u="none" strike="noStrike" kern="0" cap="none" spc="0" normalizeH="0" baseline="0" noProof="0" dirty="0">
                <a:ln>
                  <a:noFill/>
                </a:ln>
                <a:solidFill>
                  <a:srgbClr val="585353"/>
                </a:solidFill>
                <a:effectLst/>
                <a:uLnTx/>
                <a:uFillTx/>
                <a:latin typeface="Trebuchet MS"/>
                <a:ea typeface="+mn-ea"/>
                <a:cs typeface="Trebuchet MS"/>
              </a:rPr>
              <a:t>IPI</a:t>
            </a:r>
            <a:r>
              <a:rPr kumimoji="0" sz="1000" b="0" i="0" u="none" strike="noStrike" kern="0" cap="none" spc="-15" normalizeH="0" baseline="0" noProof="0" dirty="0">
                <a:ln>
                  <a:noFill/>
                </a:ln>
                <a:solidFill>
                  <a:srgbClr val="585353"/>
                </a:solidFill>
                <a:effectLst/>
                <a:uLnTx/>
                <a:uFillTx/>
                <a:latin typeface="Trebuchet MS"/>
                <a:ea typeface="+mn-ea"/>
                <a:cs typeface="Trebuchet MS"/>
              </a:rPr>
              <a:t> </a:t>
            </a:r>
            <a:r>
              <a:rPr kumimoji="0" sz="1000" b="0" i="0" u="none" strike="noStrike" kern="0" cap="none" spc="-10" normalizeH="0" baseline="0" noProof="0" dirty="0">
                <a:ln>
                  <a:noFill/>
                </a:ln>
                <a:solidFill>
                  <a:srgbClr val="585353"/>
                </a:solidFill>
                <a:effectLst/>
                <a:uLnTx/>
                <a:uFillTx/>
                <a:latin typeface="Trebuchet MS"/>
                <a:ea typeface="+mn-ea"/>
                <a:cs typeface="Trebuchet MS"/>
              </a:rPr>
              <a:t>1-</a:t>
            </a:r>
            <a:r>
              <a:rPr kumimoji="0" sz="1000" b="0" i="0" u="none" strike="noStrike" kern="0" cap="none" spc="0" normalizeH="0" baseline="0" noProof="0" dirty="0">
                <a:ln>
                  <a:noFill/>
                </a:ln>
                <a:solidFill>
                  <a:srgbClr val="585353"/>
                </a:solidFill>
                <a:effectLst/>
                <a:uLnTx/>
                <a:uFillTx/>
                <a:latin typeface="Trebuchet MS"/>
                <a:ea typeface="+mn-ea"/>
                <a:cs typeface="Trebuchet MS"/>
              </a:rPr>
              <a:t>2</a:t>
            </a:r>
            <a:r>
              <a:rPr kumimoji="0" sz="1000" b="0" i="0" u="none" strike="noStrike" kern="0" cap="none" spc="-30" normalizeH="0" baseline="0" noProof="0" dirty="0">
                <a:ln>
                  <a:noFill/>
                </a:ln>
                <a:solidFill>
                  <a:srgbClr val="585353"/>
                </a:solidFill>
                <a:effectLst/>
                <a:uLnTx/>
                <a:uFillTx/>
                <a:latin typeface="Trebuchet MS"/>
                <a:ea typeface="+mn-ea"/>
                <a:cs typeface="Trebuchet MS"/>
              </a:rPr>
              <a:t> </a:t>
            </a:r>
            <a:r>
              <a:rPr kumimoji="0" sz="1000" b="0" i="0" u="none" strike="noStrike" kern="0" cap="none" spc="0" normalizeH="0" baseline="0" noProof="0" dirty="0">
                <a:ln>
                  <a:noFill/>
                </a:ln>
                <a:solidFill>
                  <a:srgbClr val="585353"/>
                </a:solidFill>
                <a:effectLst/>
                <a:uLnTx/>
                <a:uFillTx/>
                <a:latin typeface="Trebuchet MS"/>
                <a:ea typeface="+mn-ea"/>
                <a:cs typeface="Trebuchet MS"/>
              </a:rPr>
              <a:t>(with</a:t>
            </a:r>
            <a:r>
              <a:rPr kumimoji="0" sz="1000" b="0" i="0" u="none" strike="noStrike" kern="0" cap="none" spc="-5" normalizeH="0" baseline="0" noProof="0" dirty="0">
                <a:ln>
                  <a:noFill/>
                </a:ln>
                <a:solidFill>
                  <a:srgbClr val="585353"/>
                </a:solidFill>
                <a:effectLst/>
                <a:uLnTx/>
                <a:uFillTx/>
                <a:latin typeface="Trebuchet MS"/>
                <a:ea typeface="+mn-ea"/>
                <a:cs typeface="Trebuchet MS"/>
              </a:rPr>
              <a:t> </a:t>
            </a:r>
            <a:r>
              <a:rPr kumimoji="0" sz="1000" b="0" i="0" u="none" strike="noStrike" kern="0" cap="none" spc="0" normalizeH="0" baseline="0" noProof="0" dirty="0">
                <a:ln>
                  <a:noFill/>
                </a:ln>
                <a:solidFill>
                  <a:srgbClr val="585353"/>
                </a:solidFill>
                <a:effectLst/>
                <a:uLnTx/>
                <a:uFillTx/>
                <a:latin typeface="Trebuchet MS"/>
                <a:ea typeface="+mn-ea"/>
                <a:cs typeface="Trebuchet MS"/>
              </a:rPr>
              <a:t>risk</a:t>
            </a:r>
            <a:r>
              <a:rPr kumimoji="0" sz="1000" b="0" i="0" u="none" strike="noStrike" kern="0" cap="none" spc="-35" normalizeH="0" baseline="0" noProof="0" dirty="0">
                <a:ln>
                  <a:noFill/>
                </a:ln>
                <a:solidFill>
                  <a:srgbClr val="585353"/>
                </a:solidFill>
                <a:effectLst/>
                <a:uLnTx/>
                <a:uFillTx/>
                <a:latin typeface="Trebuchet MS"/>
                <a:ea typeface="+mn-ea"/>
                <a:cs typeface="Trebuchet MS"/>
              </a:rPr>
              <a:t> </a:t>
            </a:r>
            <a:r>
              <a:rPr kumimoji="0" sz="1000" b="0" i="0" u="none" strike="noStrike" kern="0" cap="none" spc="-10" normalizeH="0" baseline="0" noProof="0" dirty="0">
                <a:ln>
                  <a:noFill/>
                </a:ln>
                <a:solidFill>
                  <a:srgbClr val="585353"/>
                </a:solidFill>
                <a:effectLst/>
                <a:uLnTx/>
                <a:uFillTx/>
                <a:latin typeface="Trebuchet MS"/>
                <a:ea typeface="+mn-ea"/>
                <a:cs typeface="Trebuchet MS"/>
              </a:rPr>
              <a:t>factors)</a:t>
            </a:r>
            <a:endParaRPr kumimoji="0" sz="1000" b="0" i="0" u="none" strike="noStrike" kern="0" cap="none" spc="0" normalizeH="0" baseline="0" noProof="0">
              <a:ln>
                <a:noFill/>
              </a:ln>
              <a:solidFill>
                <a:sysClr val="windowText" lastClr="000000"/>
              </a:solidFill>
              <a:effectLst/>
              <a:uLnTx/>
              <a:uFillTx/>
              <a:latin typeface="Trebuchet MS"/>
              <a:ea typeface="+mn-ea"/>
              <a:cs typeface="Trebuchet MS"/>
            </a:endParaRPr>
          </a:p>
          <a:p>
            <a:pPr marL="291465" marR="0" lvl="0" indent="0" algn="l" defTabSz="914400" rtl="0" eaLnBrk="1" fontAlgn="auto" latinLnBrk="0" hangingPunct="1">
              <a:lnSpc>
                <a:spcPts val="1195"/>
              </a:lnSpc>
              <a:spcBef>
                <a:spcPts val="0"/>
              </a:spcBef>
              <a:spcAft>
                <a:spcPts val="0"/>
              </a:spcAft>
              <a:buClrTx/>
              <a:buSzTx/>
              <a:buFontTx/>
              <a:buNone/>
              <a:tabLst/>
              <a:defRPr/>
            </a:pPr>
            <a:r>
              <a:rPr kumimoji="0" sz="1000" b="0" i="0" u="none" strike="noStrike" kern="0" cap="none" spc="0" normalizeH="0" baseline="0" noProof="0" dirty="0">
                <a:ln>
                  <a:noFill/>
                </a:ln>
                <a:solidFill>
                  <a:srgbClr val="585353"/>
                </a:solidFill>
                <a:effectLst/>
                <a:uLnTx/>
                <a:uFillTx/>
                <a:latin typeface="Trebuchet MS"/>
                <a:ea typeface="+mn-ea"/>
                <a:cs typeface="Trebuchet MS"/>
              </a:rPr>
              <a:t>+</a:t>
            </a:r>
            <a:r>
              <a:rPr kumimoji="0" sz="1000" b="0" i="0" u="none" strike="noStrike" kern="0" cap="none" spc="-5" normalizeH="0" baseline="0" noProof="0" dirty="0">
                <a:ln>
                  <a:noFill/>
                </a:ln>
                <a:solidFill>
                  <a:srgbClr val="585353"/>
                </a:solidFill>
                <a:effectLst/>
                <a:uLnTx/>
                <a:uFillTx/>
                <a:latin typeface="Trebuchet MS"/>
                <a:ea typeface="+mn-ea"/>
                <a:cs typeface="Trebuchet MS"/>
              </a:rPr>
              <a:t> </a:t>
            </a:r>
            <a:r>
              <a:rPr kumimoji="0" sz="1000" b="0" i="0" u="none" strike="noStrike" kern="0" cap="none" spc="0" normalizeH="0" baseline="0" noProof="0" dirty="0">
                <a:ln>
                  <a:noFill/>
                </a:ln>
                <a:solidFill>
                  <a:srgbClr val="585353"/>
                </a:solidFill>
                <a:effectLst/>
                <a:uLnTx/>
                <a:uFillTx/>
                <a:latin typeface="Trebuchet MS"/>
                <a:ea typeface="+mn-ea"/>
                <a:cs typeface="Trebuchet MS"/>
              </a:rPr>
              <a:t>IPI</a:t>
            </a:r>
            <a:r>
              <a:rPr kumimoji="0" sz="1000" b="0" i="0" u="none" strike="noStrike" kern="0" cap="none" spc="-10" normalizeH="0" baseline="0" noProof="0" dirty="0">
                <a:ln>
                  <a:noFill/>
                </a:ln>
                <a:solidFill>
                  <a:srgbClr val="585353"/>
                </a:solidFill>
                <a:effectLst/>
                <a:uLnTx/>
                <a:uFillTx/>
                <a:latin typeface="Trebuchet MS"/>
                <a:ea typeface="+mn-ea"/>
                <a:cs typeface="Trebuchet MS"/>
              </a:rPr>
              <a:t> </a:t>
            </a:r>
            <a:r>
              <a:rPr kumimoji="0" sz="1000" b="0" i="0" u="none" strike="noStrike" kern="0" cap="none" spc="0" normalizeH="0" baseline="0" noProof="0" dirty="0">
                <a:ln>
                  <a:noFill/>
                </a:ln>
                <a:solidFill>
                  <a:srgbClr val="585353"/>
                </a:solidFill>
                <a:effectLst/>
                <a:uLnTx/>
                <a:uFillTx/>
                <a:latin typeface="Trebuchet MS"/>
                <a:ea typeface="+mn-ea"/>
                <a:cs typeface="Trebuchet MS"/>
              </a:rPr>
              <a:t>3</a:t>
            </a:r>
            <a:r>
              <a:rPr kumimoji="0" sz="1000" b="0" i="0" u="none" strike="noStrike" kern="0" cap="none" spc="-5" normalizeH="0" baseline="0" noProof="0" dirty="0">
                <a:ln>
                  <a:noFill/>
                </a:ln>
                <a:solidFill>
                  <a:srgbClr val="585353"/>
                </a:solidFill>
                <a:effectLst/>
                <a:uLnTx/>
                <a:uFillTx/>
                <a:latin typeface="Trebuchet MS"/>
                <a:ea typeface="+mn-ea"/>
                <a:cs typeface="Trebuchet MS"/>
              </a:rPr>
              <a:t> </a:t>
            </a:r>
            <a:r>
              <a:rPr kumimoji="0" sz="1000" b="0" i="0" u="none" strike="noStrike" kern="0" cap="none" spc="0" normalizeH="0" baseline="0" noProof="0" dirty="0">
                <a:ln>
                  <a:noFill/>
                </a:ln>
                <a:solidFill>
                  <a:srgbClr val="585353"/>
                </a:solidFill>
                <a:effectLst/>
                <a:uLnTx/>
                <a:uFillTx/>
                <a:latin typeface="Trebuchet MS"/>
                <a:ea typeface="+mn-ea"/>
                <a:cs typeface="Trebuchet MS"/>
              </a:rPr>
              <a:t>vs</a:t>
            </a:r>
            <a:r>
              <a:rPr kumimoji="0" sz="1000" b="0" i="0" u="none" strike="noStrike" kern="0" cap="none" spc="-15" normalizeH="0" baseline="0" noProof="0" dirty="0">
                <a:ln>
                  <a:noFill/>
                </a:ln>
                <a:solidFill>
                  <a:srgbClr val="585353"/>
                </a:solidFill>
                <a:effectLst/>
                <a:uLnTx/>
                <a:uFillTx/>
                <a:latin typeface="Trebuchet MS"/>
                <a:ea typeface="+mn-ea"/>
                <a:cs typeface="Trebuchet MS"/>
              </a:rPr>
              <a:t> </a:t>
            </a:r>
            <a:r>
              <a:rPr kumimoji="0" sz="1000" b="0" i="0" u="none" strike="noStrike" kern="0" cap="none" spc="0" normalizeH="0" baseline="0" noProof="0" dirty="0">
                <a:ln>
                  <a:noFill/>
                </a:ln>
                <a:solidFill>
                  <a:srgbClr val="585353"/>
                </a:solidFill>
                <a:effectLst/>
                <a:uLnTx/>
                <a:uFillTx/>
                <a:latin typeface="Trebuchet MS"/>
                <a:ea typeface="+mn-ea"/>
                <a:cs typeface="Trebuchet MS"/>
              </a:rPr>
              <a:t>IPI </a:t>
            </a:r>
            <a:r>
              <a:rPr kumimoji="0" sz="1000" b="0" i="0" u="none" strike="noStrike" kern="0" cap="none" spc="-10" normalizeH="0" baseline="0" noProof="0" dirty="0">
                <a:ln>
                  <a:noFill/>
                </a:ln>
                <a:solidFill>
                  <a:srgbClr val="585353"/>
                </a:solidFill>
                <a:effectLst/>
                <a:uLnTx/>
                <a:uFillTx/>
                <a:latin typeface="Trebuchet MS"/>
                <a:ea typeface="+mn-ea"/>
                <a:cs typeface="Trebuchet MS"/>
              </a:rPr>
              <a:t>4-</a:t>
            </a:r>
            <a:r>
              <a:rPr kumimoji="0" sz="1000" b="0" i="0" u="none" strike="noStrike" kern="0" cap="none" spc="-50" normalizeH="0" baseline="0" noProof="0" dirty="0">
                <a:ln>
                  <a:noFill/>
                </a:ln>
                <a:solidFill>
                  <a:srgbClr val="585353"/>
                </a:solidFill>
                <a:effectLst/>
                <a:uLnTx/>
                <a:uFillTx/>
                <a:latin typeface="Trebuchet MS"/>
                <a:ea typeface="+mn-ea"/>
                <a:cs typeface="Trebuchet MS"/>
              </a:rPr>
              <a:t>5</a:t>
            </a:r>
            <a:endParaRPr kumimoji="0" sz="1000" b="0" i="0" u="none" strike="noStrike" kern="0" cap="none" spc="0" normalizeH="0" baseline="0" noProof="0">
              <a:ln>
                <a:noFill/>
              </a:ln>
              <a:solidFill>
                <a:sysClr val="windowText" lastClr="000000"/>
              </a:solidFill>
              <a:effectLst/>
              <a:uLnTx/>
              <a:uFillTx/>
              <a:latin typeface="Trebuchet MS"/>
              <a:ea typeface="+mn-ea"/>
              <a:cs typeface="Trebuchet MS"/>
            </a:endParaRPr>
          </a:p>
          <a:p>
            <a:pPr marL="120650" marR="0" lvl="0" indent="-107950" algn="l" defTabSz="914400" rtl="0" eaLnBrk="1" fontAlgn="auto" latinLnBrk="0" hangingPunct="1">
              <a:lnSpc>
                <a:spcPts val="1435"/>
              </a:lnSpc>
              <a:spcBef>
                <a:spcPts val="0"/>
              </a:spcBef>
              <a:spcAft>
                <a:spcPts val="0"/>
              </a:spcAft>
              <a:buClrTx/>
              <a:buSzTx/>
              <a:buFont typeface="Arial"/>
              <a:buChar char="•"/>
              <a:tabLst>
                <a:tab pos="120650" algn="l"/>
              </a:tabLst>
              <a:defRPr/>
            </a:pPr>
            <a:r>
              <a:rPr kumimoji="0" sz="1200" b="1" i="0" u="none" strike="noStrike" kern="0" cap="none" spc="0" normalizeH="0" baseline="0" noProof="0" dirty="0">
                <a:ln>
                  <a:noFill/>
                </a:ln>
                <a:solidFill>
                  <a:srgbClr val="585353"/>
                </a:solidFill>
                <a:effectLst/>
                <a:uLnTx/>
                <a:uFillTx/>
                <a:latin typeface="Trebuchet MS"/>
                <a:ea typeface="+mn-ea"/>
                <a:cs typeface="Trebuchet MS"/>
              </a:rPr>
              <a:t>Bulky</a:t>
            </a:r>
            <a:r>
              <a:rPr kumimoji="0" sz="1200" b="1" i="0" u="none" strike="noStrike" kern="0" cap="none" spc="-30" normalizeH="0" baseline="0" noProof="0" dirty="0">
                <a:ln>
                  <a:noFill/>
                </a:ln>
                <a:solidFill>
                  <a:srgbClr val="585353"/>
                </a:solidFill>
                <a:effectLst/>
                <a:uLnTx/>
                <a:uFillTx/>
                <a:latin typeface="Trebuchet MS"/>
                <a:ea typeface="+mn-ea"/>
                <a:cs typeface="Trebuchet MS"/>
              </a:rPr>
              <a:t> </a:t>
            </a:r>
            <a:r>
              <a:rPr kumimoji="0" sz="1200" b="1" i="0" u="none" strike="noStrike" kern="0" cap="none" spc="-10" normalizeH="0" baseline="0" noProof="0" dirty="0">
                <a:ln>
                  <a:noFill/>
                </a:ln>
                <a:solidFill>
                  <a:srgbClr val="585353"/>
                </a:solidFill>
                <a:effectLst/>
                <a:uLnTx/>
                <a:uFillTx/>
                <a:latin typeface="Trebuchet MS"/>
                <a:ea typeface="+mn-ea"/>
                <a:cs typeface="Trebuchet MS"/>
              </a:rPr>
              <a:t>disease</a:t>
            </a:r>
            <a:endParaRPr kumimoji="0" sz="1200" b="0" i="0" u="none" strike="noStrike" kern="0" cap="none" spc="0" normalizeH="0" baseline="0" noProof="0">
              <a:ln>
                <a:noFill/>
              </a:ln>
              <a:solidFill>
                <a:sysClr val="windowText" lastClr="000000"/>
              </a:solidFill>
              <a:effectLst/>
              <a:uLnTx/>
              <a:uFillTx/>
              <a:latin typeface="Trebuchet MS"/>
              <a:ea typeface="+mn-ea"/>
              <a:cs typeface="Trebuchet MS"/>
            </a:endParaRPr>
          </a:p>
          <a:p>
            <a:pPr marL="289560" marR="0" lvl="1" indent="-168910" algn="l" defTabSz="914400" rtl="0" eaLnBrk="1" fontAlgn="auto" latinLnBrk="0" hangingPunct="1">
              <a:lnSpc>
                <a:spcPct val="100000"/>
              </a:lnSpc>
              <a:spcBef>
                <a:spcPts val="10"/>
              </a:spcBef>
              <a:spcAft>
                <a:spcPts val="0"/>
              </a:spcAft>
              <a:buClrTx/>
              <a:buSzTx/>
              <a:buFont typeface="Arial"/>
              <a:buChar char="–"/>
              <a:tabLst>
                <a:tab pos="289560" algn="l"/>
              </a:tabLst>
              <a:defRPr/>
            </a:pPr>
            <a:r>
              <a:rPr kumimoji="0" sz="1000" b="0" i="0" u="none" strike="noStrike" kern="0" cap="none" spc="0" normalizeH="0" baseline="0" noProof="0" dirty="0">
                <a:ln>
                  <a:noFill/>
                </a:ln>
                <a:solidFill>
                  <a:srgbClr val="585353"/>
                </a:solidFill>
                <a:effectLst/>
                <a:uLnTx/>
                <a:uFillTx/>
                <a:latin typeface="Trebuchet MS"/>
                <a:ea typeface="+mn-ea"/>
                <a:cs typeface="Trebuchet MS"/>
              </a:rPr>
              <a:t>≥</a:t>
            </a:r>
            <a:r>
              <a:rPr kumimoji="0" sz="1000" b="0" i="0" u="none" strike="noStrike" kern="0" cap="none" spc="-5" normalizeH="0" baseline="0" noProof="0" dirty="0">
                <a:ln>
                  <a:noFill/>
                </a:ln>
                <a:solidFill>
                  <a:srgbClr val="585353"/>
                </a:solidFill>
                <a:effectLst/>
                <a:uLnTx/>
                <a:uFillTx/>
                <a:latin typeface="Trebuchet MS"/>
                <a:ea typeface="+mn-ea"/>
                <a:cs typeface="Trebuchet MS"/>
              </a:rPr>
              <a:t> </a:t>
            </a:r>
            <a:r>
              <a:rPr kumimoji="0" sz="1000" b="0" i="0" u="none" strike="noStrike" kern="0" cap="none" spc="0" normalizeH="0" baseline="0" noProof="0" dirty="0">
                <a:ln>
                  <a:noFill/>
                </a:ln>
                <a:solidFill>
                  <a:srgbClr val="585353"/>
                </a:solidFill>
                <a:effectLst/>
                <a:uLnTx/>
                <a:uFillTx/>
                <a:latin typeface="Trebuchet MS"/>
                <a:ea typeface="+mn-ea"/>
                <a:cs typeface="Trebuchet MS"/>
              </a:rPr>
              <a:t>7</a:t>
            </a:r>
            <a:r>
              <a:rPr kumimoji="0" sz="1000" b="0" i="0" u="none" strike="noStrike" kern="0" cap="none" spc="-15" normalizeH="0" baseline="0" noProof="0" dirty="0">
                <a:ln>
                  <a:noFill/>
                </a:ln>
                <a:solidFill>
                  <a:srgbClr val="585353"/>
                </a:solidFill>
                <a:effectLst/>
                <a:uLnTx/>
                <a:uFillTx/>
                <a:latin typeface="Trebuchet MS"/>
                <a:ea typeface="+mn-ea"/>
                <a:cs typeface="Trebuchet MS"/>
              </a:rPr>
              <a:t> </a:t>
            </a:r>
            <a:r>
              <a:rPr kumimoji="0" sz="1000" b="0" i="0" u="none" strike="noStrike" kern="0" cap="none" spc="0" normalizeH="0" baseline="0" noProof="0" dirty="0">
                <a:ln>
                  <a:noFill/>
                </a:ln>
                <a:solidFill>
                  <a:srgbClr val="585353"/>
                </a:solidFill>
                <a:effectLst/>
                <a:uLnTx/>
                <a:uFillTx/>
                <a:latin typeface="Trebuchet MS"/>
                <a:ea typeface="+mn-ea"/>
                <a:cs typeface="Trebuchet MS"/>
              </a:rPr>
              <a:t>vs</a:t>
            </a:r>
            <a:r>
              <a:rPr kumimoji="0" sz="1000" b="0" i="0" u="none" strike="noStrike" kern="0" cap="none" spc="-15" normalizeH="0" baseline="0" noProof="0" dirty="0">
                <a:ln>
                  <a:noFill/>
                </a:ln>
                <a:solidFill>
                  <a:srgbClr val="585353"/>
                </a:solidFill>
                <a:effectLst/>
                <a:uLnTx/>
                <a:uFillTx/>
                <a:latin typeface="Trebuchet MS"/>
                <a:ea typeface="+mn-ea"/>
                <a:cs typeface="Trebuchet MS"/>
              </a:rPr>
              <a:t> </a:t>
            </a:r>
            <a:r>
              <a:rPr kumimoji="0" sz="1000" b="0" i="0" u="none" strike="noStrike" kern="0" cap="none" spc="0" normalizeH="0" baseline="0" noProof="0" dirty="0">
                <a:ln>
                  <a:noFill/>
                </a:ln>
                <a:solidFill>
                  <a:srgbClr val="585353"/>
                </a:solidFill>
                <a:effectLst/>
                <a:uLnTx/>
                <a:uFillTx/>
                <a:latin typeface="Trebuchet MS"/>
                <a:ea typeface="+mn-ea"/>
                <a:cs typeface="Trebuchet MS"/>
              </a:rPr>
              <a:t>&lt;</a:t>
            </a:r>
            <a:r>
              <a:rPr kumimoji="0" sz="1000" b="0" i="0" u="none" strike="noStrike" kern="0" cap="none" spc="-5" normalizeH="0" baseline="0" noProof="0" dirty="0">
                <a:ln>
                  <a:noFill/>
                </a:ln>
                <a:solidFill>
                  <a:srgbClr val="585353"/>
                </a:solidFill>
                <a:effectLst/>
                <a:uLnTx/>
                <a:uFillTx/>
                <a:latin typeface="Trebuchet MS"/>
                <a:ea typeface="+mn-ea"/>
                <a:cs typeface="Trebuchet MS"/>
              </a:rPr>
              <a:t> </a:t>
            </a:r>
            <a:r>
              <a:rPr kumimoji="0" sz="1000" b="0" i="0" u="none" strike="noStrike" kern="0" cap="none" spc="0" normalizeH="0" baseline="0" noProof="0" dirty="0">
                <a:ln>
                  <a:noFill/>
                </a:ln>
                <a:solidFill>
                  <a:srgbClr val="585353"/>
                </a:solidFill>
                <a:effectLst/>
                <a:uLnTx/>
                <a:uFillTx/>
                <a:latin typeface="Trebuchet MS"/>
                <a:ea typeface="+mn-ea"/>
                <a:cs typeface="Trebuchet MS"/>
              </a:rPr>
              <a:t>7</a:t>
            </a:r>
            <a:r>
              <a:rPr kumimoji="0" sz="1000" b="0" i="0" u="none" strike="noStrike" kern="0" cap="none" spc="-5" normalizeH="0" baseline="0" noProof="0" dirty="0">
                <a:ln>
                  <a:noFill/>
                </a:ln>
                <a:solidFill>
                  <a:srgbClr val="585353"/>
                </a:solidFill>
                <a:effectLst/>
                <a:uLnTx/>
                <a:uFillTx/>
                <a:latin typeface="Trebuchet MS"/>
                <a:ea typeface="+mn-ea"/>
                <a:cs typeface="Trebuchet MS"/>
              </a:rPr>
              <a:t> </a:t>
            </a:r>
            <a:r>
              <a:rPr kumimoji="0" sz="1000" b="0" i="0" u="none" strike="noStrike" kern="0" cap="none" spc="-25" normalizeH="0" baseline="0" noProof="0" dirty="0">
                <a:ln>
                  <a:noFill/>
                </a:ln>
                <a:solidFill>
                  <a:srgbClr val="585353"/>
                </a:solidFill>
                <a:effectLst/>
                <a:uLnTx/>
                <a:uFillTx/>
                <a:latin typeface="Trebuchet MS"/>
                <a:ea typeface="+mn-ea"/>
                <a:cs typeface="Trebuchet MS"/>
              </a:rPr>
              <a:t>cm</a:t>
            </a:r>
            <a:endParaRPr kumimoji="0" sz="1000" b="0" i="0" u="none" strike="noStrike" kern="0" cap="none" spc="0" normalizeH="0" baseline="0" noProof="0">
              <a:ln>
                <a:noFill/>
              </a:ln>
              <a:solidFill>
                <a:sysClr val="windowText" lastClr="000000"/>
              </a:solidFill>
              <a:effectLst/>
              <a:uLnTx/>
              <a:uFillTx/>
              <a:latin typeface="Trebuchet MS"/>
              <a:ea typeface="+mn-ea"/>
              <a:cs typeface="Trebuchet MS"/>
            </a:endParaRPr>
          </a:p>
        </p:txBody>
      </p:sp>
      <p:grpSp>
        <p:nvGrpSpPr>
          <p:cNvPr id="44" name="object 44"/>
          <p:cNvGrpSpPr/>
          <p:nvPr/>
        </p:nvGrpSpPr>
        <p:grpSpPr>
          <a:xfrm>
            <a:off x="455676" y="1475232"/>
            <a:ext cx="4459605" cy="4081145"/>
            <a:chOff x="455676" y="1475232"/>
            <a:chExt cx="4459605" cy="4081145"/>
          </a:xfrm>
        </p:grpSpPr>
        <p:sp>
          <p:nvSpPr>
            <p:cNvPr id="45" name="object 45"/>
            <p:cNvSpPr/>
            <p:nvPr/>
          </p:nvSpPr>
          <p:spPr>
            <a:xfrm>
              <a:off x="4219955" y="2688336"/>
              <a:ext cx="695325" cy="722630"/>
            </a:xfrm>
            <a:custGeom>
              <a:avLst/>
              <a:gdLst/>
              <a:ahLst/>
              <a:cxnLst/>
              <a:rect l="l" t="t" r="r" b="b"/>
              <a:pathLst>
                <a:path w="695325" h="722629">
                  <a:moveTo>
                    <a:pt x="347472" y="0"/>
                  </a:moveTo>
                  <a:lnTo>
                    <a:pt x="300323" y="3296"/>
                  </a:lnTo>
                  <a:lnTo>
                    <a:pt x="255102" y="12899"/>
                  </a:lnTo>
                  <a:lnTo>
                    <a:pt x="212222" y="28378"/>
                  </a:lnTo>
                  <a:lnTo>
                    <a:pt x="172099" y="49304"/>
                  </a:lnTo>
                  <a:lnTo>
                    <a:pt x="135144" y="75246"/>
                  </a:lnTo>
                  <a:lnTo>
                    <a:pt x="101774" y="105775"/>
                  </a:lnTo>
                  <a:lnTo>
                    <a:pt x="72402" y="140460"/>
                  </a:lnTo>
                  <a:lnTo>
                    <a:pt x="47441" y="178872"/>
                  </a:lnTo>
                  <a:lnTo>
                    <a:pt x="27306" y="220581"/>
                  </a:lnTo>
                  <a:lnTo>
                    <a:pt x="12412" y="265156"/>
                  </a:lnTo>
                  <a:lnTo>
                    <a:pt x="3172" y="312168"/>
                  </a:lnTo>
                  <a:lnTo>
                    <a:pt x="0" y="361188"/>
                  </a:lnTo>
                  <a:lnTo>
                    <a:pt x="3172" y="410207"/>
                  </a:lnTo>
                  <a:lnTo>
                    <a:pt x="12412" y="457219"/>
                  </a:lnTo>
                  <a:lnTo>
                    <a:pt x="27306" y="501794"/>
                  </a:lnTo>
                  <a:lnTo>
                    <a:pt x="47441" y="543503"/>
                  </a:lnTo>
                  <a:lnTo>
                    <a:pt x="72402" y="581915"/>
                  </a:lnTo>
                  <a:lnTo>
                    <a:pt x="101774" y="616600"/>
                  </a:lnTo>
                  <a:lnTo>
                    <a:pt x="135144" y="647129"/>
                  </a:lnTo>
                  <a:lnTo>
                    <a:pt x="172099" y="673071"/>
                  </a:lnTo>
                  <a:lnTo>
                    <a:pt x="212222" y="693997"/>
                  </a:lnTo>
                  <a:lnTo>
                    <a:pt x="255102" y="709476"/>
                  </a:lnTo>
                  <a:lnTo>
                    <a:pt x="300323" y="719079"/>
                  </a:lnTo>
                  <a:lnTo>
                    <a:pt x="347472" y="722376"/>
                  </a:lnTo>
                  <a:lnTo>
                    <a:pt x="394620" y="719079"/>
                  </a:lnTo>
                  <a:lnTo>
                    <a:pt x="439841" y="709476"/>
                  </a:lnTo>
                  <a:lnTo>
                    <a:pt x="482721" y="693997"/>
                  </a:lnTo>
                  <a:lnTo>
                    <a:pt x="522844" y="673071"/>
                  </a:lnTo>
                  <a:lnTo>
                    <a:pt x="559799" y="647129"/>
                  </a:lnTo>
                  <a:lnTo>
                    <a:pt x="593169" y="616600"/>
                  </a:lnTo>
                  <a:lnTo>
                    <a:pt x="622541" y="581915"/>
                  </a:lnTo>
                  <a:lnTo>
                    <a:pt x="647502" y="543503"/>
                  </a:lnTo>
                  <a:lnTo>
                    <a:pt x="667637" y="501794"/>
                  </a:lnTo>
                  <a:lnTo>
                    <a:pt x="682531" y="457219"/>
                  </a:lnTo>
                  <a:lnTo>
                    <a:pt x="691771" y="410207"/>
                  </a:lnTo>
                  <a:lnTo>
                    <a:pt x="694944" y="361188"/>
                  </a:lnTo>
                  <a:lnTo>
                    <a:pt x="691771" y="312168"/>
                  </a:lnTo>
                  <a:lnTo>
                    <a:pt x="682531" y="265156"/>
                  </a:lnTo>
                  <a:lnTo>
                    <a:pt x="667637" y="220581"/>
                  </a:lnTo>
                  <a:lnTo>
                    <a:pt x="647502" y="178872"/>
                  </a:lnTo>
                  <a:lnTo>
                    <a:pt x="622541" y="140460"/>
                  </a:lnTo>
                  <a:lnTo>
                    <a:pt x="593169" y="105775"/>
                  </a:lnTo>
                  <a:lnTo>
                    <a:pt x="559799" y="75246"/>
                  </a:lnTo>
                  <a:lnTo>
                    <a:pt x="522844" y="49304"/>
                  </a:lnTo>
                  <a:lnTo>
                    <a:pt x="482721" y="28378"/>
                  </a:lnTo>
                  <a:lnTo>
                    <a:pt x="439841" y="12899"/>
                  </a:lnTo>
                  <a:lnTo>
                    <a:pt x="394620" y="3296"/>
                  </a:lnTo>
                  <a:lnTo>
                    <a:pt x="347472" y="0"/>
                  </a:lnTo>
                  <a:close/>
                </a:path>
              </a:pathLst>
            </a:custGeom>
            <a:solidFill>
              <a:srgbClr val="58535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6" name="object 46"/>
            <p:cNvSpPr/>
            <p:nvPr/>
          </p:nvSpPr>
          <p:spPr>
            <a:xfrm>
              <a:off x="1154430" y="4921758"/>
              <a:ext cx="614680" cy="614680"/>
            </a:xfrm>
            <a:custGeom>
              <a:avLst/>
              <a:gdLst/>
              <a:ahLst/>
              <a:cxnLst/>
              <a:rect l="l" t="t" r="r" b="b"/>
              <a:pathLst>
                <a:path w="614680" h="614679">
                  <a:moveTo>
                    <a:pt x="307085" y="0"/>
                  </a:moveTo>
                  <a:lnTo>
                    <a:pt x="261719" y="3330"/>
                  </a:lnTo>
                  <a:lnTo>
                    <a:pt x="218415" y="13006"/>
                  </a:lnTo>
                  <a:lnTo>
                    <a:pt x="177649" y="28550"/>
                  </a:lnTo>
                  <a:lnTo>
                    <a:pt x="139898" y="49487"/>
                  </a:lnTo>
                  <a:lnTo>
                    <a:pt x="105636" y="75341"/>
                  </a:lnTo>
                  <a:lnTo>
                    <a:pt x="75341" y="105636"/>
                  </a:lnTo>
                  <a:lnTo>
                    <a:pt x="49487" y="139898"/>
                  </a:lnTo>
                  <a:lnTo>
                    <a:pt x="28550" y="177649"/>
                  </a:lnTo>
                  <a:lnTo>
                    <a:pt x="13006" y="218415"/>
                  </a:lnTo>
                  <a:lnTo>
                    <a:pt x="3330" y="261719"/>
                  </a:lnTo>
                  <a:lnTo>
                    <a:pt x="0" y="307086"/>
                  </a:lnTo>
                  <a:lnTo>
                    <a:pt x="3330" y="352452"/>
                  </a:lnTo>
                  <a:lnTo>
                    <a:pt x="13006" y="395756"/>
                  </a:lnTo>
                  <a:lnTo>
                    <a:pt x="28550" y="436522"/>
                  </a:lnTo>
                  <a:lnTo>
                    <a:pt x="49487" y="474273"/>
                  </a:lnTo>
                  <a:lnTo>
                    <a:pt x="75341" y="508535"/>
                  </a:lnTo>
                  <a:lnTo>
                    <a:pt x="105636" y="538830"/>
                  </a:lnTo>
                  <a:lnTo>
                    <a:pt x="139898" y="564684"/>
                  </a:lnTo>
                  <a:lnTo>
                    <a:pt x="177649" y="585621"/>
                  </a:lnTo>
                  <a:lnTo>
                    <a:pt x="218415" y="601165"/>
                  </a:lnTo>
                  <a:lnTo>
                    <a:pt x="261719" y="610841"/>
                  </a:lnTo>
                  <a:lnTo>
                    <a:pt x="307085" y="614172"/>
                  </a:lnTo>
                  <a:lnTo>
                    <a:pt x="352452" y="610841"/>
                  </a:lnTo>
                  <a:lnTo>
                    <a:pt x="395756" y="601165"/>
                  </a:lnTo>
                  <a:lnTo>
                    <a:pt x="436522" y="585621"/>
                  </a:lnTo>
                  <a:lnTo>
                    <a:pt x="474273" y="564684"/>
                  </a:lnTo>
                  <a:lnTo>
                    <a:pt x="508535" y="538830"/>
                  </a:lnTo>
                  <a:lnTo>
                    <a:pt x="538830" y="508535"/>
                  </a:lnTo>
                  <a:lnTo>
                    <a:pt x="564684" y="474273"/>
                  </a:lnTo>
                  <a:lnTo>
                    <a:pt x="585621" y="436522"/>
                  </a:lnTo>
                  <a:lnTo>
                    <a:pt x="601165" y="395756"/>
                  </a:lnTo>
                  <a:lnTo>
                    <a:pt x="610841" y="352452"/>
                  </a:lnTo>
                  <a:lnTo>
                    <a:pt x="614171" y="307086"/>
                  </a:lnTo>
                  <a:lnTo>
                    <a:pt x="610841" y="261719"/>
                  </a:lnTo>
                  <a:lnTo>
                    <a:pt x="601165" y="218415"/>
                  </a:lnTo>
                  <a:lnTo>
                    <a:pt x="585621" y="177649"/>
                  </a:lnTo>
                  <a:lnTo>
                    <a:pt x="564684" y="139898"/>
                  </a:lnTo>
                  <a:lnTo>
                    <a:pt x="538830" y="105636"/>
                  </a:lnTo>
                  <a:lnTo>
                    <a:pt x="508535" y="75341"/>
                  </a:lnTo>
                  <a:lnTo>
                    <a:pt x="474273" y="49487"/>
                  </a:lnTo>
                  <a:lnTo>
                    <a:pt x="436522" y="28550"/>
                  </a:lnTo>
                  <a:lnTo>
                    <a:pt x="395756" y="13006"/>
                  </a:lnTo>
                  <a:lnTo>
                    <a:pt x="352452" y="3330"/>
                  </a:lnTo>
                  <a:lnTo>
                    <a:pt x="307085" y="0"/>
                  </a:lnTo>
                  <a:close/>
                </a:path>
              </a:pathLst>
            </a:custGeom>
            <a:solidFill>
              <a:srgbClr val="FFEDE4"/>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7" name="object 47"/>
            <p:cNvSpPr/>
            <p:nvPr/>
          </p:nvSpPr>
          <p:spPr>
            <a:xfrm>
              <a:off x="1154430" y="4921758"/>
              <a:ext cx="614680" cy="614680"/>
            </a:xfrm>
            <a:custGeom>
              <a:avLst/>
              <a:gdLst/>
              <a:ahLst/>
              <a:cxnLst/>
              <a:rect l="l" t="t" r="r" b="b"/>
              <a:pathLst>
                <a:path w="614680" h="614679">
                  <a:moveTo>
                    <a:pt x="0" y="307086"/>
                  </a:moveTo>
                  <a:lnTo>
                    <a:pt x="3330" y="261719"/>
                  </a:lnTo>
                  <a:lnTo>
                    <a:pt x="13006" y="218415"/>
                  </a:lnTo>
                  <a:lnTo>
                    <a:pt x="28550" y="177649"/>
                  </a:lnTo>
                  <a:lnTo>
                    <a:pt x="49487" y="139898"/>
                  </a:lnTo>
                  <a:lnTo>
                    <a:pt x="75341" y="105636"/>
                  </a:lnTo>
                  <a:lnTo>
                    <a:pt x="105636" y="75341"/>
                  </a:lnTo>
                  <a:lnTo>
                    <a:pt x="139898" y="49487"/>
                  </a:lnTo>
                  <a:lnTo>
                    <a:pt x="177649" y="28550"/>
                  </a:lnTo>
                  <a:lnTo>
                    <a:pt x="218415" y="13006"/>
                  </a:lnTo>
                  <a:lnTo>
                    <a:pt x="261719" y="3330"/>
                  </a:lnTo>
                  <a:lnTo>
                    <a:pt x="307085" y="0"/>
                  </a:lnTo>
                  <a:lnTo>
                    <a:pt x="352452" y="3330"/>
                  </a:lnTo>
                  <a:lnTo>
                    <a:pt x="395756" y="13006"/>
                  </a:lnTo>
                  <a:lnTo>
                    <a:pt x="436522" y="28550"/>
                  </a:lnTo>
                  <a:lnTo>
                    <a:pt x="474273" y="49487"/>
                  </a:lnTo>
                  <a:lnTo>
                    <a:pt x="508535" y="75341"/>
                  </a:lnTo>
                  <a:lnTo>
                    <a:pt x="538830" y="105636"/>
                  </a:lnTo>
                  <a:lnTo>
                    <a:pt x="564684" y="139898"/>
                  </a:lnTo>
                  <a:lnTo>
                    <a:pt x="585621" y="177649"/>
                  </a:lnTo>
                  <a:lnTo>
                    <a:pt x="601165" y="218415"/>
                  </a:lnTo>
                  <a:lnTo>
                    <a:pt x="610841" y="261719"/>
                  </a:lnTo>
                  <a:lnTo>
                    <a:pt x="614171" y="307086"/>
                  </a:lnTo>
                  <a:lnTo>
                    <a:pt x="610841" y="352452"/>
                  </a:lnTo>
                  <a:lnTo>
                    <a:pt x="601165" y="395756"/>
                  </a:lnTo>
                  <a:lnTo>
                    <a:pt x="585621" y="436522"/>
                  </a:lnTo>
                  <a:lnTo>
                    <a:pt x="564684" y="474273"/>
                  </a:lnTo>
                  <a:lnTo>
                    <a:pt x="538830" y="508535"/>
                  </a:lnTo>
                  <a:lnTo>
                    <a:pt x="508535" y="538830"/>
                  </a:lnTo>
                  <a:lnTo>
                    <a:pt x="474273" y="564684"/>
                  </a:lnTo>
                  <a:lnTo>
                    <a:pt x="436522" y="585621"/>
                  </a:lnTo>
                  <a:lnTo>
                    <a:pt x="395756" y="601165"/>
                  </a:lnTo>
                  <a:lnTo>
                    <a:pt x="352452" y="610841"/>
                  </a:lnTo>
                  <a:lnTo>
                    <a:pt x="307085" y="614172"/>
                  </a:lnTo>
                  <a:lnTo>
                    <a:pt x="261719" y="610841"/>
                  </a:lnTo>
                  <a:lnTo>
                    <a:pt x="218415" y="601165"/>
                  </a:lnTo>
                  <a:lnTo>
                    <a:pt x="177649" y="585621"/>
                  </a:lnTo>
                  <a:lnTo>
                    <a:pt x="139898" y="564684"/>
                  </a:lnTo>
                  <a:lnTo>
                    <a:pt x="105636" y="538830"/>
                  </a:lnTo>
                  <a:lnTo>
                    <a:pt x="75341" y="508535"/>
                  </a:lnTo>
                  <a:lnTo>
                    <a:pt x="49487" y="474273"/>
                  </a:lnTo>
                  <a:lnTo>
                    <a:pt x="28550" y="436522"/>
                  </a:lnTo>
                  <a:lnTo>
                    <a:pt x="13006" y="395756"/>
                  </a:lnTo>
                  <a:lnTo>
                    <a:pt x="3330" y="352452"/>
                  </a:lnTo>
                  <a:lnTo>
                    <a:pt x="0" y="307086"/>
                  </a:lnTo>
                  <a:close/>
                </a:path>
              </a:pathLst>
            </a:custGeom>
            <a:ln w="25400">
              <a:solidFill>
                <a:srgbClr val="FDDD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8" name="object 48"/>
            <p:cNvSpPr/>
            <p:nvPr/>
          </p:nvSpPr>
          <p:spPr>
            <a:xfrm>
              <a:off x="1209865" y="4984534"/>
              <a:ext cx="506095" cy="505459"/>
            </a:xfrm>
            <a:custGeom>
              <a:avLst/>
              <a:gdLst/>
              <a:ahLst/>
              <a:cxnLst/>
              <a:rect l="l" t="t" r="r" b="b"/>
              <a:pathLst>
                <a:path w="506094" h="505460">
                  <a:moveTo>
                    <a:pt x="152882" y="93662"/>
                  </a:moveTo>
                  <a:lnTo>
                    <a:pt x="152222" y="92329"/>
                  </a:lnTo>
                  <a:lnTo>
                    <a:pt x="141566" y="81699"/>
                  </a:lnTo>
                  <a:lnTo>
                    <a:pt x="137579" y="81699"/>
                  </a:lnTo>
                  <a:lnTo>
                    <a:pt x="121602" y="97650"/>
                  </a:lnTo>
                  <a:lnTo>
                    <a:pt x="121602" y="101625"/>
                  </a:lnTo>
                  <a:lnTo>
                    <a:pt x="132918" y="112928"/>
                  </a:lnTo>
                  <a:lnTo>
                    <a:pt x="132918" y="119570"/>
                  </a:lnTo>
                  <a:lnTo>
                    <a:pt x="143573" y="119570"/>
                  </a:lnTo>
                  <a:lnTo>
                    <a:pt x="146227" y="116916"/>
                  </a:lnTo>
                  <a:lnTo>
                    <a:pt x="146227" y="106286"/>
                  </a:lnTo>
                  <a:lnTo>
                    <a:pt x="152882" y="106286"/>
                  </a:lnTo>
                  <a:lnTo>
                    <a:pt x="152882" y="93662"/>
                  </a:lnTo>
                  <a:close/>
                </a:path>
                <a:path w="506094" h="505460">
                  <a:moveTo>
                    <a:pt x="505599" y="252425"/>
                  </a:moveTo>
                  <a:lnTo>
                    <a:pt x="503224" y="225958"/>
                  </a:lnTo>
                  <a:lnTo>
                    <a:pt x="501548" y="207251"/>
                  </a:lnTo>
                  <a:lnTo>
                    <a:pt x="501535" y="207060"/>
                  </a:lnTo>
                  <a:lnTo>
                    <a:pt x="498119" y="194627"/>
                  </a:lnTo>
                  <a:lnTo>
                    <a:pt x="495744" y="185991"/>
                  </a:lnTo>
                  <a:lnTo>
                    <a:pt x="489902" y="164731"/>
                  </a:lnTo>
                  <a:lnTo>
                    <a:pt x="489788" y="164312"/>
                  </a:lnTo>
                  <a:lnTo>
                    <a:pt x="481152" y="146138"/>
                  </a:lnTo>
                  <a:lnTo>
                    <a:pt x="477507" y="138480"/>
                  </a:lnTo>
                  <a:lnTo>
                    <a:pt x="477507" y="245783"/>
                  </a:lnTo>
                  <a:lnTo>
                    <a:pt x="477469" y="255079"/>
                  </a:lnTo>
                  <a:lnTo>
                    <a:pt x="473506" y="297827"/>
                  </a:lnTo>
                  <a:lnTo>
                    <a:pt x="460654" y="340118"/>
                  </a:lnTo>
                  <a:lnTo>
                    <a:pt x="439966" y="378472"/>
                  </a:lnTo>
                  <a:lnTo>
                    <a:pt x="439877" y="378637"/>
                  </a:lnTo>
                  <a:lnTo>
                    <a:pt x="412343" y="412026"/>
                  </a:lnTo>
                  <a:lnTo>
                    <a:pt x="378917" y="439610"/>
                  </a:lnTo>
                  <a:lnTo>
                    <a:pt x="340550" y="460476"/>
                  </a:lnTo>
                  <a:lnTo>
                    <a:pt x="298157" y="473671"/>
                  </a:lnTo>
                  <a:lnTo>
                    <a:pt x="252704" y="478282"/>
                  </a:lnTo>
                  <a:lnTo>
                    <a:pt x="207264" y="473671"/>
                  </a:lnTo>
                  <a:lnTo>
                    <a:pt x="164884" y="460476"/>
                  </a:lnTo>
                  <a:lnTo>
                    <a:pt x="126492" y="439610"/>
                  </a:lnTo>
                  <a:lnTo>
                    <a:pt x="93002" y="412026"/>
                  </a:lnTo>
                  <a:lnTo>
                    <a:pt x="65214" y="378472"/>
                  </a:lnTo>
                  <a:lnTo>
                    <a:pt x="44297" y="340118"/>
                  </a:lnTo>
                  <a:lnTo>
                    <a:pt x="31064" y="297827"/>
                  </a:lnTo>
                  <a:lnTo>
                    <a:pt x="26504" y="253085"/>
                  </a:lnTo>
                  <a:lnTo>
                    <a:pt x="26441" y="252425"/>
                  </a:lnTo>
                  <a:lnTo>
                    <a:pt x="31038" y="207251"/>
                  </a:lnTo>
                  <a:lnTo>
                    <a:pt x="44297" y="164731"/>
                  </a:lnTo>
                  <a:lnTo>
                    <a:pt x="65214" y="126377"/>
                  </a:lnTo>
                  <a:lnTo>
                    <a:pt x="92900" y="92913"/>
                  </a:lnTo>
                  <a:lnTo>
                    <a:pt x="126428" y="65278"/>
                  </a:lnTo>
                  <a:lnTo>
                    <a:pt x="164858" y="44386"/>
                  </a:lnTo>
                  <a:lnTo>
                    <a:pt x="207251" y="31178"/>
                  </a:lnTo>
                  <a:lnTo>
                    <a:pt x="252704" y="26568"/>
                  </a:lnTo>
                  <a:lnTo>
                    <a:pt x="276783" y="27800"/>
                  </a:lnTo>
                  <a:lnTo>
                    <a:pt x="322427" y="37490"/>
                  </a:lnTo>
                  <a:lnTo>
                    <a:pt x="296633" y="65760"/>
                  </a:lnTo>
                  <a:lnTo>
                    <a:pt x="291249" y="62750"/>
                  </a:lnTo>
                  <a:lnTo>
                    <a:pt x="278003" y="56121"/>
                  </a:lnTo>
                  <a:lnTo>
                    <a:pt x="261251" y="49504"/>
                  </a:lnTo>
                  <a:lnTo>
                    <a:pt x="245389" y="46494"/>
                  </a:lnTo>
                  <a:lnTo>
                    <a:pt x="230225" y="48399"/>
                  </a:lnTo>
                  <a:lnTo>
                    <a:pt x="213448" y="53225"/>
                  </a:lnTo>
                  <a:lnTo>
                    <a:pt x="197662" y="59664"/>
                  </a:lnTo>
                  <a:lnTo>
                    <a:pt x="185496" y="66421"/>
                  </a:lnTo>
                  <a:lnTo>
                    <a:pt x="177634" y="74676"/>
                  </a:lnTo>
                  <a:lnTo>
                    <a:pt x="179425" y="80378"/>
                  </a:lnTo>
                  <a:lnTo>
                    <a:pt x="179501" y="80619"/>
                  </a:lnTo>
                  <a:lnTo>
                    <a:pt x="185864" y="84455"/>
                  </a:lnTo>
                  <a:lnTo>
                    <a:pt x="191477" y="86347"/>
                  </a:lnTo>
                  <a:lnTo>
                    <a:pt x="216103" y="86347"/>
                  </a:lnTo>
                  <a:lnTo>
                    <a:pt x="219913" y="84455"/>
                  </a:lnTo>
                  <a:lnTo>
                    <a:pt x="222758" y="80378"/>
                  </a:lnTo>
                  <a:lnTo>
                    <a:pt x="230085" y="69075"/>
                  </a:lnTo>
                  <a:lnTo>
                    <a:pt x="231419" y="67094"/>
                  </a:lnTo>
                  <a:lnTo>
                    <a:pt x="233413" y="66421"/>
                  </a:lnTo>
                  <a:lnTo>
                    <a:pt x="246049" y="66421"/>
                  </a:lnTo>
                  <a:lnTo>
                    <a:pt x="232041" y="89750"/>
                  </a:lnTo>
                  <a:lnTo>
                    <a:pt x="228752" y="95656"/>
                  </a:lnTo>
                  <a:lnTo>
                    <a:pt x="222097" y="99644"/>
                  </a:lnTo>
                  <a:lnTo>
                    <a:pt x="194144" y="99644"/>
                  </a:lnTo>
                  <a:lnTo>
                    <a:pt x="191477" y="100304"/>
                  </a:lnTo>
                  <a:lnTo>
                    <a:pt x="189484" y="101625"/>
                  </a:lnTo>
                  <a:lnTo>
                    <a:pt x="172847" y="112928"/>
                  </a:lnTo>
                  <a:lnTo>
                    <a:pt x="155549" y="112928"/>
                  </a:lnTo>
                  <a:lnTo>
                    <a:pt x="152882" y="115582"/>
                  </a:lnTo>
                  <a:lnTo>
                    <a:pt x="152882" y="130200"/>
                  </a:lnTo>
                  <a:lnTo>
                    <a:pt x="150228" y="132854"/>
                  </a:lnTo>
                  <a:lnTo>
                    <a:pt x="135585" y="132854"/>
                  </a:lnTo>
                  <a:lnTo>
                    <a:pt x="131584" y="134848"/>
                  </a:lnTo>
                  <a:lnTo>
                    <a:pt x="128930" y="138836"/>
                  </a:lnTo>
                  <a:lnTo>
                    <a:pt x="120942" y="151447"/>
                  </a:lnTo>
                  <a:lnTo>
                    <a:pt x="119608" y="154114"/>
                  </a:lnTo>
                  <a:lnTo>
                    <a:pt x="119608" y="163410"/>
                  </a:lnTo>
                  <a:lnTo>
                    <a:pt x="122275" y="166065"/>
                  </a:lnTo>
                  <a:lnTo>
                    <a:pt x="152222" y="166065"/>
                  </a:lnTo>
                  <a:lnTo>
                    <a:pt x="153555" y="165404"/>
                  </a:lnTo>
                  <a:lnTo>
                    <a:pt x="178168" y="140830"/>
                  </a:lnTo>
                  <a:lnTo>
                    <a:pt x="181495" y="139496"/>
                  </a:lnTo>
                  <a:lnTo>
                    <a:pt x="190817" y="139496"/>
                  </a:lnTo>
                  <a:lnTo>
                    <a:pt x="193484" y="141490"/>
                  </a:lnTo>
                  <a:lnTo>
                    <a:pt x="194144" y="144805"/>
                  </a:lnTo>
                  <a:lnTo>
                    <a:pt x="198132" y="161417"/>
                  </a:lnTo>
                  <a:lnTo>
                    <a:pt x="198805" y="164071"/>
                  </a:lnTo>
                  <a:lnTo>
                    <a:pt x="201472" y="166725"/>
                  </a:lnTo>
                  <a:lnTo>
                    <a:pt x="210121" y="166725"/>
                  </a:lnTo>
                  <a:lnTo>
                    <a:pt x="212775" y="164071"/>
                  </a:lnTo>
                  <a:lnTo>
                    <a:pt x="212775" y="140830"/>
                  </a:lnTo>
                  <a:lnTo>
                    <a:pt x="213448" y="139496"/>
                  </a:lnTo>
                  <a:lnTo>
                    <a:pt x="214782" y="138163"/>
                  </a:lnTo>
                  <a:lnTo>
                    <a:pt x="219430" y="132854"/>
                  </a:lnTo>
                  <a:lnTo>
                    <a:pt x="224764" y="148132"/>
                  </a:lnTo>
                  <a:lnTo>
                    <a:pt x="225425" y="150787"/>
                  </a:lnTo>
                  <a:lnTo>
                    <a:pt x="228092" y="152781"/>
                  </a:lnTo>
                  <a:lnTo>
                    <a:pt x="238734" y="152781"/>
                  </a:lnTo>
                  <a:lnTo>
                    <a:pt x="240068" y="152120"/>
                  </a:lnTo>
                  <a:lnTo>
                    <a:pt x="245389" y="146799"/>
                  </a:lnTo>
                  <a:lnTo>
                    <a:pt x="246722" y="146138"/>
                  </a:lnTo>
                  <a:lnTo>
                    <a:pt x="256705" y="146138"/>
                  </a:lnTo>
                  <a:lnTo>
                    <a:pt x="259359" y="148793"/>
                  </a:lnTo>
                  <a:lnTo>
                    <a:pt x="259359" y="163410"/>
                  </a:lnTo>
                  <a:lnTo>
                    <a:pt x="262026" y="166065"/>
                  </a:lnTo>
                  <a:lnTo>
                    <a:pt x="294640" y="166065"/>
                  </a:lnTo>
                  <a:lnTo>
                    <a:pt x="297967" y="170713"/>
                  </a:lnTo>
                  <a:lnTo>
                    <a:pt x="295973" y="174701"/>
                  </a:lnTo>
                  <a:lnTo>
                    <a:pt x="293966" y="180682"/>
                  </a:lnTo>
                  <a:lnTo>
                    <a:pt x="292646" y="183997"/>
                  </a:lnTo>
                  <a:lnTo>
                    <a:pt x="289979" y="185991"/>
                  </a:lnTo>
                  <a:lnTo>
                    <a:pt x="286651" y="185331"/>
                  </a:lnTo>
                  <a:lnTo>
                    <a:pt x="254711" y="180022"/>
                  </a:lnTo>
                  <a:lnTo>
                    <a:pt x="250050" y="180022"/>
                  </a:lnTo>
                  <a:lnTo>
                    <a:pt x="222758" y="185331"/>
                  </a:lnTo>
                  <a:lnTo>
                    <a:pt x="220103" y="185991"/>
                  </a:lnTo>
                  <a:lnTo>
                    <a:pt x="218109" y="185331"/>
                  </a:lnTo>
                  <a:lnTo>
                    <a:pt x="215442" y="184670"/>
                  </a:lnTo>
                  <a:lnTo>
                    <a:pt x="206540" y="181394"/>
                  </a:lnTo>
                  <a:lnTo>
                    <a:pt x="194640" y="177444"/>
                  </a:lnTo>
                  <a:lnTo>
                    <a:pt x="182499" y="174117"/>
                  </a:lnTo>
                  <a:lnTo>
                    <a:pt x="172847" y="172707"/>
                  </a:lnTo>
                  <a:lnTo>
                    <a:pt x="126580" y="181394"/>
                  </a:lnTo>
                  <a:lnTo>
                    <a:pt x="126873" y="181394"/>
                  </a:lnTo>
                  <a:lnTo>
                    <a:pt x="103225" y="201777"/>
                  </a:lnTo>
                  <a:lnTo>
                    <a:pt x="94335" y="225958"/>
                  </a:lnTo>
                  <a:lnTo>
                    <a:pt x="92989" y="245783"/>
                  </a:lnTo>
                  <a:lnTo>
                    <a:pt x="95770" y="264261"/>
                  </a:lnTo>
                  <a:lnTo>
                    <a:pt x="103720" y="278993"/>
                  </a:lnTo>
                  <a:lnTo>
                    <a:pt x="116293" y="288759"/>
                  </a:lnTo>
                  <a:lnTo>
                    <a:pt x="132918" y="292277"/>
                  </a:lnTo>
                  <a:lnTo>
                    <a:pt x="155676" y="292925"/>
                  </a:lnTo>
                  <a:lnTo>
                    <a:pt x="177177" y="298424"/>
                  </a:lnTo>
                  <a:lnTo>
                    <a:pt x="193192" y="314147"/>
                  </a:lnTo>
                  <a:lnTo>
                    <a:pt x="199466" y="345427"/>
                  </a:lnTo>
                  <a:lnTo>
                    <a:pt x="199466" y="394589"/>
                  </a:lnTo>
                  <a:lnTo>
                    <a:pt x="202133" y="401891"/>
                  </a:lnTo>
                  <a:lnTo>
                    <a:pt x="207454" y="407873"/>
                  </a:lnTo>
                  <a:lnTo>
                    <a:pt x="226758" y="431114"/>
                  </a:lnTo>
                  <a:lnTo>
                    <a:pt x="230746" y="435775"/>
                  </a:lnTo>
                  <a:lnTo>
                    <a:pt x="236067" y="438429"/>
                  </a:lnTo>
                  <a:lnTo>
                    <a:pt x="263359" y="438429"/>
                  </a:lnTo>
                  <a:lnTo>
                    <a:pt x="268681" y="436435"/>
                  </a:lnTo>
                  <a:lnTo>
                    <a:pt x="272008" y="432447"/>
                  </a:lnTo>
                  <a:lnTo>
                    <a:pt x="291312" y="413181"/>
                  </a:lnTo>
                  <a:lnTo>
                    <a:pt x="308610" y="378637"/>
                  </a:lnTo>
                  <a:lnTo>
                    <a:pt x="311937" y="368681"/>
                  </a:lnTo>
                  <a:lnTo>
                    <a:pt x="311937" y="328155"/>
                  </a:lnTo>
                  <a:lnTo>
                    <a:pt x="313931" y="322846"/>
                  </a:lnTo>
                  <a:lnTo>
                    <a:pt x="317931" y="319519"/>
                  </a:lnTo>
                  <a:lnTo>
                    <a:pt x="355866" y="281660"/>
                  </a:lnTo>
                  <a:lnTo>
                    <a:pt x="355866" y="276339"/>
                  </a:lnTo>
                  <a:lnTo>
                    <a:pt x="352539" y="274345"/>
                  </a:lnTo>
                  <a:lnTo>
                    <a:pt x="345948" y="270154"/>
                  </a:lnTo>
                  <a:lnTo>
                    <a:pt x="329819" y="257733"/>
                  </a:lnTo>
                  <a:lnTo>
                    <a:pt x="309575" y="237350"/>
                  </a:lnTo>
                  <a:lnTo>
                    <a:pt x="290639" y="209245"/>
                  </a:lnTo>
                  <a:lnTo>
                    <a:pt x="288645" y="204597"/>
                  </a:lnTo>
                  <a:lnTo>
                    <a:pt x="291312" y="199288"/>
                  </a:lnTo>
                  <a:lnTo>
                    <a:pt x="299300" y="199288"/>
                  </a:lnTo>
                  <a:lnTo>
                    <a:pt x="337223" y="248437"/>
                  </a:lnTo>
                  <a:lnTo>
                    <a:pt x="341884" y="254419"/>
                  </a:lnTo>
                  <a:lnTo>
                    <a:pt x="350532" y="255079"/>
                  </a:lnTo>
                  <a:lnTo>
                    <a:pt x="356527" y="250431"/>
                  </a:lnTo>
                  <a:lnTo>
                    <a:pt x="378485" y="231838"/>
                  </a:lnTo>
                  <a:lnTo>
                    <a:pt x="381812" y="229171"/>
                  </a:lnTo>
                  <a:lnTo>
                    <a:pt x="381812" y="223202"/>
                  </a:lnTo>
                  <a:lnTo>
                    <a:pt x="377825" y="221208"/>
                  </a:lnTo>
                  <a:lnTo>
                    <a:pt x="357860" y="209245"/>
                  </a:lnTo>
                  <a:lnTo>
                    <a:pt x="355193" y="207251"/>
                  </a:lnTo>
                  <a:lnTo>
                    <a:pt x="353860" y="203936"/>
                  </a:lnTo>
                  <a:lnTo>
                    <a:pt x="355193" y="200609"/>
                  </a:lnTo>
                  <a:lnTo>
                    <a:pt x="355866" y="199288"/>
                  </a:lnTo>
                  <a:lnTo>
                    <a:pt x="357860" y="195961"/>
                  </a:lnTo>
                  <a:lnTo>
                    <a:pt x="361848" y="194627"/>
                  </a:lnTo>
                  <a:lnTo>
                    <a:pt x="365175" y="196621"/>
                  </a:lnTo>
                  <a:lnTo>
                    <a:pt x="389140" y="211239"/>
                  </a:lnTo>
                  <a:lnTo>
                    <a:pt x="391134" y="212572"/>
                  </a:lnTo>
                  <a:lnTo>
                    <a:pt x="393801" y="213233"/>
                  </a:lnTo>
                  <a:lnTo>
                    <a:pt x="408432" y="213233"/>
                  </a:lnTo>
                  <a:lnTo>
                    <a:pt x="413092" y="216547"/>
                  </a:lnTo>
                  <a:lnTo>
                    <a:pt x="415086" y="221208"/>
                  </a:lnTo>
                  <a:lnTo>
                    <a:pt x="434390" y="265049"/>
                  </a:lnTo>
                  <a:lnTo>
                    <a:pt x="436384" y="269697"/>
                  </a:lnTo>
                  <a:lnTo>
                    <a:pt x="441045" y="273024"/>
                  </a:lnTo>
                  <a:lnTo>
                    <a:pt x="452361" y="273024"/>
                  </a:lnTo>
                  <a:lnTo>
                    <a:pt x="457682" y="267703"/>
                  </a:lnTo>
                  <a:lnTo>
                    <a:pt x="457682" y="241134"/>
                  </a:lnTo>
                  <a:lnTo>
                    <a:pt x="458317" y="239217"/>
                  </a:lnTo>
                  <a:lnTo>
                    <a:pt x="460349" y="237807"/>
                  </a:lnTo>
                  <a:lnTo>
                    <a:pt x="475513" y="225958"/>
                  </a:lnTo>
                  <a:lnTo>
                    <a:pt x="475665" y="225958"/>
                  </a:lnTo>
                  <a:lnTo>
                    <a:pt x="476440" y="231838"/>
                  </a:lnTo>
                  <a:lnTo>
                    <a:pt x="476529" y="232448"/>
                  </a:lnTo>
                  <a:lnTo>
                    <a:pt x="477151" y="239217"/>
                  </a:lnTo>
                  <a:lnTo>
                    <a:pt x="477507" y="245783"/>
                  </a:lnTo>
                  <a:lnTo>
                    <a:pt x="477507" y="138480"/>
                  </a:lnTo>
                  <a:lnTo>
                    <a:pt x="446151" y="89750"/>
                  </a:lnTo>
                  <a:lnTo>
                    <a:pt x="415683" y="59334"/>
                  </a:lnTo>
                  <a:lnTo>
                    <a:pt x="380390" y="34442"/>
                  </a:lnTo>
                  <a:lnTo>
                    <a:pt x="363766" y="26568"/>
                  </a:lnTo>
                  <a:lnTo>
                    <a:pt x="340982" y="15773"/>
                  </a:lnTo>
                  <a:lnTo>
                    <a:pt x="298196" y="4064"/>
                  </a:lnTo>
                  <a:lnTo>
                    <a:pt x="252704" y="0"/>
                  </a:lnTo>
                  <a:lnTo>
                    <a:pt x="207225" y="4064"/>
                  </a:lnTo>
                  <a:lnTo>
                    <a:pt x="164426" y="15773"/>
                  </a:lnTo>
                  <a:lnTo>
                    <a:pt x="125031" y="34442"/>
                  </a:lnTo>
                  <a:lnTo>
                    <a:pt x="89738" y="59334"/>
                  </a:lnTo>
                  <a:lnTo>
                    <a:pt x="59270" y="89750"/>
                  </a:lnTo>
                  <a:lnTo>
                    <a:pt x="34328" y="124980"/>
                  </a:lnTo>
                  <a:lnTo>
                    <a:pt x="15748" y="164071"/>
                  </a:lnTo>
                  <a:lnTo>
                    <a:pt x="3886" y="207060"/>
                  </a:lnTo>
                  <a:lnTo>
                    <a:pt x="0" y="250431"/>
                  </a:lnTo>
                  <a:lnTo>
                    <a:pt x="63" y="255079"/>
                  </a:lnTo>
                  <a:lnTo>
                    <a:pt x="3886" y="297827"/>
                  </a:lnTo>
                  <a:lnTo>
                    <a:pt x="15519" y="340118"/>
                  </a:lnTo>
                  <a:lnTo>
                    <a:pt x="15633" y="340537"/>
                  </a:lnTo>
                  <a:lnTo>
                    <a:pt x="34328" y="379869"/>
                  </a:lnTo>
                  <a:lnTo>
                    <a:pt x="59270" y="415099"/>
                  </a:lnTo>
                  <a:lnTo>
                    <a:pt x="89738" y="445516"/>
                  </a:lnTo>
                  <a:lnTo>
                    <a:pt x="125031" y="470408"/>
                  </a:lnTo>
                  <a:lnTo>
                    <a:pt x="164426" y="489077"/>
                  </a:lnTo>
                  <a:lnTo>
                    <a:pt x="207225" y="500786"/>
                  </a:lnTo>
                  <a:lnTo>
                    <a:pt x="252704" y="504850"/>
                  </a:lnTo>
                  <a:lnTo>
                    <a:pt x="298196" y="500786"/>
                  </a:lnTo>
                  <a:lnTo>
                    <a:pt x="340982" y="489077"/>
                  </a:lnTo>
                  <a:lnTo>
                    <a:pt x="363766" y="478282"/>
                  </a:lnTo>
                  <a:lnTo>
                    <a:pt x="380390" y="470408"/>
                  </a:lnTo>
                  <a:lnTo>
                    <a:pt x="415683" y="445516"/>
                  </a:lnTo>
                  <a:lnTo>
                    <a:pt x="446151" y="415099"/>
                  </a:lnTo>
                  <a:lnTo>
                    <a:pt x="471093" y="379869"/>
                  </a:lnTo>
                  <a:lnTo>
                    <a:pt x="489788" y="340537"/>
                  </a:lnTo>
                  <a:lnTo>
                    <a:pt x="501357" y="298424"/>
                  </a:lnTo>
                  <a:lnTo>
                    <a:pt x="501408" y="298246"/>
                  </a:lnTo>
                  <a:lnTo>
                    <a:pt x="501523" y="297827"/>
                  </a:lnTo>
                  <a:lnTo>
                    <a:pt x="505358" y="255079"/>
                  </a:lnTo>
                  <a:lnTo>
                    <a:pt x="505421" y="254419"/>
                  </a:lnTo>
                  <a:lnTo>
                    <a:pt x="505536" y="253085"/>
                  </a:lnTo>
                  <a:lnTo>
                    <a:pt x="505599" y="252425"/>
                  </a:lnTo>
                  <a:close/>
                </a:path>
              </a:pathLst>
            </a:custGeom>
            <a:solidFill>
              <a:srgbClr val="FB6B1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9" name="object 49"/>
            <p:cNvSpPr/>
            <p:nvPr/>
          </p:nvSpPr>
          <p:spPr>
            <a:xfrm>
              <a:off x="663702" y="4929378"/>
              <a:ext cx="614680" cy="614680"/>
            </a:xfrm>
            <a:custGeom>
              <a:avLst/>
              <a:gdLst/>
              <a:ahLst/>
              <a:cxnLst/>
              <a:rect l="l" t="t" r="r" b="b"/>
              <a:pathLst>
                <a:path w="614680" h="614679">
                  <a:moveTo>
                    <a:pt x="307086" y="0"/>
                  </a:moveTo>
                  <a:lnTo>
                    <a:pt x="261707" y="3330"/>
                  </a:lnTo>
                  <a:lnTo>
                    <a:pt x="218396" y="13006"/>
                  </a:lnTo>
                  <a:lnTo>
                    <a:pt x="177627" y="28550"/>
                  </a:lnTo>
                  <a:lnTo>
                    <a:pt x="139875" y="49487"/>
                  </a:lnTo>
                  <a:lnTo>
                    <a:pt x="105616" y="75341"/>
                  </a:lnTo>
                  <a:lnTo>
                    <a:pt x="75324" y="105636"/>
                  </a:lnTo>
                  <a:lnTo>
                    <a:pt x="49474" y="139898"/>
                  </a:lnTo>
                  <a:lnTo>
                    <a:pt x="28541" y="177649"/>
                  </a:lnTo>
                  <a:lnTo>
                    <a:pt x="13001" y="218415"/>
                  </a:lnTo>
                  <a:lnTo>
                    <a:pt x="3329" y="261719"/>
                  </a:lnTo>
                  <a:lnTo>
                    <a:pt x="0" y="307086"/>
                  </a:lnTo>
                  <a:lnTo>
                    <a:pt x="3329" y="352452"/>
                  </a:lnTo>
                  <a:lnTo>
                    <a:pt x="13001" y="395756"/>
                  </a:lnTo>
                  <a:lnTo>
                    <a:pt x="28541" y="436522"/>
                  </a:lnTo>
                  <a:lnTo>
                    <a:pt x="49474" y="474273"/>
                  </a:lnTo>
                  <a:lnTo>
                    <a:pt x="75324" y="508535"/>
                  </a:lnTo>
                  <a:lnTo>
                    <a:pt x="105616" y="538830"/>
                  </a:lnTo>
                  <a:lnTo>
                    <a:pt x="139875" y="564684"/>
                  </a:lnTo>
                  <a:lnTo>
                    <a:pt x="177627" y="585621"/>
                  </a:lnTo>
                  <a:lnTo>
                    <a:pt x="218396" y="601165"/>
                  </a:lnTo>
                  <a:lnTo>
                    <a:pt x="261707" y="610841"/>
                  </a:lnTo>
                  <a:lnTo>
                    <a:pt x="307086" y="614172"/>
                  </a:lnTo>
                  <a:lnTo>
                    <a:pt x="352464" y="610841"/>
                  </a:lnTo>
                  <a:lnTo>
                    <a:pt x="395775" y="601165"/>
                  </a:lnTo>
                  <a:lnTo>
                    <a:pt x="436544" y="585621"/>
                  </a:lnTo>
                  <a:lnTo>
                    <a:pt x="474296" y="564684"/>
                  </a:lnTo>
                  <a:lnTo>
                    <a:pt x="508555" y="538830"/>
                  </a:lnTo>
                  <a:lnTo>
                    <a:pt x="538847" y="508535"/>
                  </a:lnTo>
                  <a:lnTo>
                    <a:pt x="564697" y="474273"/>
                  </a:lnTo>
                  <a:lnTo>
                    <a:pt x="585630" y="436522"/>
                  </a:lnTo>
                  <a:lnTo>
                    <a:pt x="601170" y="395756"/>
                  </a:lnTo>
                  <a:lnTo>
                    <a:pt x="610842" y="352452"/>
                  </a:lnTo>
                  <a:lnTo>
                    <a:pt x="614172" y="307086"/>
                  </a:lnTo>
                  <a:lnTo>
                    <a:pt x="610842" y="261719"/>
                  </a:lnTo>
                  <a:lnTo>
                    <a:pt x="601170" y="218415"/>
                  </a:lnTo>
                  <a:lnTo>
                    <a:pt x="585630" y="177649"/>
                  </a:lnTo>
                  <a:lnTo>
                    <a:pt x="564697" y="139898"/>
                  </a:lnTo>
                  <a:lnTo>
                    <a:pt x="538847" y="105636"/>
                  </a:lnTo>
                  <a:lnTo>
                    <a:pt x="508555" y="75341"/>
                  </a:lnTo>
                  <a:lnTo>
                    <a:pt x="474296" y="49487"/>
                  </a:lnTo>
                  <a:lnTo>
                    <a:pt x="436544" y="28550"/>
                  </a:lnTo>
                  <a:lnTo>
                    <a:pt x="395775" y="13006"/>
                  </a:lnTo>
                  <a:lnTo>
                    <a:pt x="352464" y="3330"/>
                  </a:lnTo>
                  <a:lnTo>
                    <a:pt x="307086" y="0"/>
                  </a:lnTo>
                  <a:close/>
                </a:path>
              </a:pathLst>
            </a:custGeom>
            <a:solidFill>
              <a:srgbClr val="FFEDE4"/>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0" name="object 50"/>
            <p:cNvSpPr/>
            <p:nvPr/>
          </p:nvSpPr>
          <p:spPr>
            <a:xfrm>
              <a:off x="663702" y="4929378"/>
              <a:ext cx="614680" cy="614680"/>
            </a:xfrm>
            <a:custGeom>
              <a:avLst/>
              <a:gdLst/>
              <a:ahLst/>
              <a:cxnLst/>
              <a:rect l="l" t="t" r="r" b="b"/>
              <a:pathLst>
                <a:path w="614680" h="614679">
                  <a:moveTo>
                    <a:pt x="0" y="307086"/>
                  </a:moveTo>
                  <a:lnTo>
                    <a:pt x="3329" y="261719"/>
                  </a:lnTo>
                  <a:lnTo>
                    <a:pt x="13001" y="218415"/>
                  </a:lnTo>
                  <a:lnTo>
                    <a:pt x="28541" y="177649"/>
                  </a:lnTo>
                  <a:lnTo>
                    <a:pt x="49474" y="139898"/>
                  </a:lnTo>
                  <a:lnTo>
                    <a:pt x="75324" y="105636"/>
                  </a:lnTo>
                  <a:lnTo>
                    <a:pt x="105616" y="75341"/>
                  </a:lnTo>
                  <a:lnTo>
                    <a:pt x="139875" y="49487"/>
                  </a:lnTo>
                  <a:lnTo>
                    <a:pt x="177627" y="28550"/>
                  </a:lnTo>
                  <a:lnTo>
                    <a:pt x="218396" y="13006"/>
                  </a:lnTo>
                  <a:lnTo>
                    <a:pt x="261707" y="3330"/>
                  </a:lnTo>
                  <a:lnTo>
                    <a:pt x="307086" y="0"/>
                  </a:lnTo>
                  <a:lnTo>
                    <a:pt x="352464" y="3330"/>
                  </a:lnTo>
                  <a:lnTo>
                    <a:pt x="395775" y="13006"/>
                  </a:lnTo>
                  <a:lnTo>
                    <a:pt x="436544" y="28550"/>
                  </a:lnTo>
                  <a:lnTo>
                    <a:pt x="474296" y="49487"/>
                  </a:lnTo>
                  <a:lnTo>
                    <a:pt x="508555" y="75341"/>
                  </a:lnTo>
                  <a:lnTo>
                    <a:pt x="538847" y="105636"/>
                  </a:lnTo>
                  <a:lnTo>
                    <a:pt x="564697" y="139898"/>
                  </a:lnTo>
                  <a:lnTo>
                    <a:pt x="585630" y="177649"/>
                  </a:lnTo>
                  <a:lnTo>
                    <a:pt x="601170" y="218415"/>
                  </a:lnTo>
                  <a:lnTo>
                    <a:pt x="610842" y="261719"/>
                  </a:lnTo>
                  <a:lnTo>
                    <a:pt x="614172" y="307086"/>
                  </a:lnTo>
                  <a:lnTo>
                    <a:pt x="610842" y="352452"/>
                  </a:lnTo>
                  <a:lnTo>
                    <a:pt x="601170" y="395756"/>
                  </a:lnTo>
                  <a:lnTo>
                    <a:pt x="585630" y="436522"/>
                  </a:lnTo>
                  <a:lnTo>
                    <a:pt x="564697" y="474273"/>
                  </a:lnTo>
                  <a:lnTo>
                    <a:pt x="538847" y="508535"/>
                  </a:lnTo>
                  <a:lnTo>
                    <a:pt x="508555" y="538830"/>
                  </a:lnTo>
                  <a:lnTo>
                    <a:pt x="474296" y="564684"/>
                  </a:lnTo>
                  <a:lnTo>
                    <a:pt x="436544" y="585621"/>
                  </a:lnTo>
                  <a:lnTo>
                    <a:pt x="395775" y="601165"/>
                  </a:lnTo>
                  <a:lnTo>
                    <a:pt x="352464" y="610841"/>
                  </a:lnTo>
                  <a:lnTo>
                    <a:pt x="307086" y="614172"/>
                  </a:lnTo>
                  <a:lnTo>
                    <a:pt x="261707" y="610841"/>
                  </a:lnTo>
                  <a:lnTo>
                    <a:pt x="218396" y="601165"/>
                  </a:lnTo>
                  <a:lnTo>
                    <a:pt x="177627" y="585621"/>
                  </a:lnTo>
                  <a:lnTo>
                    <a:pt x="139875" y="564684"/>
                  </a:lnTo>
                  <a:lnTo>
                    <a:pt x="105616" y="538830"/>
                  </a:lnTo>
                  <a:lnTo>
                    <a:pt x="75324" y="508535"/>
                  </a:lnTo>
                  <a:lnTo>
                    <a:pt x="49474" y="474273"/>
                  </a:lnTo>
                  <a:lnTo>
                    <a:pt x="28541" y="436522"/>
                  </a:lnTo>
                  <a:lnTo>
                    <a:pt x="13001" y="395756"/>
                  </a:lnTo>
                  <a:lnTo>
                    <a:pt x="3329" y="352452"/>
                  </a:lnTo>
                  <a:lnTo>
                    <a:pt x="0" y="307086"/>
                  </a:lnTo>
                  <a:close/>
                </a:path>
              </a:pathLst>
            </a:custGeom>
            <a:ln w="25400">
              <a:solidFill>
                <a:srgbClr val="FDDD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51" name="object 51"/>
            <p:cNvPicPr/>
            <p:nvPr/>
          </p:nvPicPr>
          <p:blipFill>
            <a:blip r:embed="rId5" cstate="print"/>
            <a:stretch>
              <a:fillRect/>
            </a:stretch>
          </p:blipFill>
          <p:spPr>
            <a:xfrm>
              <a:off x="873945" y="5026237"/>
              <a:ext cx="191719" cy="108039"/>
            </a:xfrm>
            <a:prstGeom prst="rect">
              <a:avLst/>
            </a:prstGeom>
          </p:spPr>
        </p:pic>
        <p:sp>
          <p:nvSpPr>
            <p:cNvPr id="52" name="object 52"/>
            <p:cNvSpPr/>
            <p:nvPr/>
          </p:nvSpPr>
          <p:spPr>
            <a:xfrm>
              <a:off x="772576" y="5080808"/>
              <a:ext cx="396875" cy="287020"/>
            </a:xfrm>
            <a:custGeom>
              <a:avLst/>
              <a:gdLst/>
              <a:ahLst/>
              <a:cxnLst/>
              <a:rect l="l" t="t" r="r" b="b"/>
              <a:pathLst>
                <a:path w="396875" h="287020">
                  <a:moveTo>
                    <a:pt x="396661" y="99219"/>
                  </a:moveTo>
                  <a:lnTo>
                    <a:pt x="0" y="99219"/>
                  </a:lnTo>
                  <a:lnTo>
                    <a:pt x="0" y="286635"/>
                  </a:lnTo>
                  <a:lnTo>
                    <a:pt x="159766" y="286635"/>
                  </a:lnTo>
                  <a:lnTo>
                    <a:pt x="159766" y="237025"/>
                  </a:lnTo>
                  <a:lnTo>
                    <a:pt x="22036" y="237025"/>
                  </a:lnTo>
                  <a:lnTo>
                    <a:pt x="22036" y="192927"/>
                  </a:lnTo>
                  <a:lnTo>
                    <a:pt x="396661" y="192927"/>
                  </a:lnTo>
                  <a:lnTo>
                    <a:pt x="396661" y="170878"/>
                  </a:lnTo>
                  <a:lnTo>
                    <a:pt x="22036" y="170878"/>
                  </a:lnTo>
                  <a:lnTo>
                    <a:pt x="22036" y="126780"/>
                  </a:lnTo>
                  <a:lnTo>
                    <a:pt x="396661" y="126780"/>
                  </a:lnTo>
                  <a:lnTo>
                    <a:pt x="396661" y="99219"/>
                  </a:lnTo>
                  <a:close/>
                </a:path>
                <a:path w="396875" h="287020">
                  <a:moveTo>
                    <a:pt x="264440" y="192927"/>
                  </a:moveTo>
                  <a:lnTo>
                    <a:pt x="198330" y="192927"/>
                  </a:lnTo>
                  <a:lnTo>
                    <a:pt x="215977" y="195924"/>
                  </a:lnTo>
                  <a:lnTo>
                    <a:pt x="227942" y="203676"/>
                  </a:lnTo>
                  <a:lnTo>
                    <a:pt x="234742" y="214321"/>
                  </a:lnTo>
                  <a:lnTo>
                    <a:pt x="236894" y="226000"/>
                  </a:lnTo>
                  <a:lnTo>
                    <a:pt x="236894" y="286635"/>
                  </a:lnTo>
                  <a:lnTo>
                    <a:pt x="396661" y="286635"/>
                  </a:lnTo>
                  <a:lnTo>
                    <a:pt x="396661" y="237025"/>
                  </a:lnTo>
                  <a:lnTo>
                    <a:pt x="264440" y="237025"/>
                  </a:lnTo>
                  <a:lnTo>
                    <a:pt x="264440" y="192927"/>
                  </a:lnTo>
                  <a:close/>
                </a:path>
                <a:path w="396875" h="287020">
                  <a:moveTo>
                    <a:pt x="88146" y="192927"/>
                  </a:moveTo>
                  <a:lnTo>
                    <a:pt x="66110" y="192927"/>
                  </a:lnTo>
                  <a:lnTo>
                    <a:pt x="66110" y="237025"/>
                  </a:lnTo>
                  <a:lnTo>
                    <a:pt x="88146" y="237025"/>
                  </a:lnTo>
                  <a:lnTo>
                    <a:pt x="88146" y="192927"/>
                  </a:lnTo>
                  <a:close/>
                </a:path>
                <a:path w="396875" h="287020">
                  <a:moveTo>
                    <a:pt x="198330" y="192927"/>
                  </a:moveTo>
                  <a:lnTo>
                    <a:pt x="132220" y="192927"/>
                  </a:lnTo>
                  <a:lnTo>
                    <a:pt x="132220" y="237025"/>
                  </a:lnTo>
                  <a:lnTo>
                    <a:pt x="159766" y="237025"/>
                  </a:lnTo>
                  <a:lnTo>
                    <a:pt x="159766" y="226000"/>
                  </a:lnTo>
                  <a:lnTo>
                    <a:pt x="161918" y="214321"/>
                  </a:lnTo>
                  <a:lnTo>
                    <a:pt x="168718" y="203676"/>
                  </a:lnTo>
                  <a:lnTo>
                    <a:pt x="180683" y="195924"/>
                  </a:lnTo>
                  <a:lnTo>
                    <a:pt x="198330" y="192927"/>
                  </a:lnTo>
                  <a:close/>
                </a:path>
                <a:path w="396875" h="287020">
                  <a:moveTo>
                    <a:pt x="330550" y="192927"/>
                  </a:moveTo>
                  <a:lnTo>
                    <a:pt x="308514" y="192927"/>
                  </a:lnTo>
                  <a:lnTo>
                    <a:pt x="308514" y="237025"/>
                  </a:lnTo>
                  <a:lnTo>
                    <a:pt x="330550" y="237025"/>
                  </a:lnTo>
                  <a:lnTo>
                    <a:pt x="330550" y="192927"/>
                  </a:lnTo>
                  <a:close/>
                </a:path>
                <a:path w="396875" h="287020">
                  <a:moveTo>
                    <a:pt x="396661" y="192927"/>
                  </a:moveTo>
                  <a:lnTo>
                    <a:pt x="374624" y="192927"/>
                  </a:lnTo>
                  <a:lnTo>
                    <a:pt x="374624" y="237025"/>
                  </a:lnTo>
                  <a:lnTo>
                    <a:pt x="396661" y="237025"/>
                  </a:lnTo>
                  <a:lnTo>
                    <a:pt x="396661" y="192927"/>
                  </a:lnTo>
                  <a:close/>
                </a:path>
                <a:path w="396875" h="287020">
                  <a:moveTo>
                    <a:pt x="88146" y="126780"/>
                  </a:moveTo>
                  <a:lnTo>
                    <a:pt x="66110" y="126780"/>
                  </a:lnTo>
                  <a:lnTo>
                    <a:pt x="66110" y="170878"/>
                  </a:lnTo>
                  <a:lnTo>
                    <a:pt x="88146" y="170878"/>
                  </a:lnTo>
                  <a:lnTo>
                    <a:pt x="88146" y="126780"/>
                  </a:lnTo>
                  <a:close/>
                </a:path>
                <a:path w="396875" h="287020">
                  <a:moveTo>
                    <a:pt x="264440" y="126780"/>
                  </a:moveTo>
                  <a:lnTo>
                    <a:pt x="132220" y="126780"/>
                  </a:lnTo>
                  <a:lnTo>
                    <a:pt x="132220" y="170878"/>
                  </a:lnTo>
                  <a:lnTo>
                    <a:pt x="159766" y="170878"/>
                  </a:lnTo>
                  <a:lnTo>
                    <a:pt x="159766" y="148829"/>
                  </a:lnTo>
                  <a:lnTo>
                    <a:pt x="264440" y="148829"/>
                  </a:lnTo>
                  <a:lnTo>
                    <a:pt x="264440" y="126780"/>
                  </a:lnTo>
                  <a:close/>
                </a:path>
                <a:path w="396875" h="287020">
                  <a:moveTo>
                    <a:pt x="264440" y="148829"/>
                  </a:moveTo>
                  <a:lnTo>
                    <a:pt x="236894" y="148829"/>
                  </a:lnTo>
                  <a:lnTo>
                    <a:pt x="236894" y="170878"/>
                  </a:lnTo>
                  <a:lnTo>
                    <a:pt x="264440" y="170878"/>
                  </a:lnTo>
                  <a:lnTo>
                    <a:pt x="264440" y="148829"/>
                  </a:lnTo>
                  <a:close/>
                </a:path>
                <a:path w="396875" h="287020">
                  <a:moveTo>
                    <a:pt x="330550" y="126780"/>
                  </a:moveTo>
                  <a:lnTo>
                    <a:pt x="308514" y="126780"/>
                  </a:lnTo>
                  <a:lnTo>
                    <a:pt x="308514" y="170878"/>
                  </a:lnTo>
                  <a:lnTo>
                    <a:pt x="330550" y="170878"/>
                  </a:lnTo>
                  <a:lnTo>
                    <a:pt x="330550" y="126780"/>
                  </a:lnTo>
                  <a:close/>
                </a:path>
                <a:path w="396875" h="287020">
                  <a:moveTo>
                    <a:pt x="396661" y="126780"/>
                  </a:moveTo>
                  <a:lnTo>
                    <a:pt x="374624" y="126780"/>
                  </a:lnTo>
                  <a:lnTo>
                    <a:pt x="374624" y="170878"/>
                  </a:lnTo>
                  <a:lnTo>
                    <a:pt x="396661" y="170878"/>
                  </a:lnTo>
                  <a:lnTo>
                    <a:pt x="396661" y="126780"/>
                  </a:lnTo>
                  <a:close/>
                </a:path>
                <a:path w="396875" h="287020">
                  <a:moveTo>
                    <a:pt x="198330" y="0"/>
                  </a:moveTo>
                  <a:lnTo>
                    <a:pt x="132220" y="66146"/>
                  </a:lnTo>
                  <a:lnTo>
                    <a:pt x="132220" y="99219"/>
                  </a:lnTo>
                  <a:lnTo>
                    <a:pt x="188964" y="99219"/>
                  </a:lnTo>
                  <a:lnTo>
                    <a:pt x="181803" y="92053"/>
                  </a:lnTo>
                  <a:lnTo>
                    <a:pt x="181803" y="73312"/>
                  </a:lnTo>
                  <a:lnTo>
                    <a:pt x="188964" y="66146"/>
                  </a:lnTo>
                  <a:lnTo>
                    <a:pt x="264440" y="66146"/>
                  </a:lnTo>
                  <a:lnTo>
                    <a:pt x="198330" y="0"/>
                  </a:lnTo>
                  <a:close/>
                </a:path>
                <a:path w="396875" h="287020">
                  <a:moveTo>
                    <a:pt x="264440" y="66146"/>
                  </a:moveTo>
                  <a:lnTo>
                    <a:pt x="207696" y="66146"/>
                  </a:lnTo>
                  <a:lnTo>
                    <a:pt x="214858" y="73312"/>
                  </a:lnTo>
                  <a:lnTo>
                    <a:pt x="214858" y="92053"/>
                  </a:lnTo>
                  <a:lnTo>
                    <a:pt x="207696" y="99219"/>
                  </a:lnTo>
                  <a:lnTo>
                    <a:pt x="264440" y="99219"/>
                  </a:lnTo>
                  <a:lnTo>
                    <a:pt x="264440" y="66146"/>
                  </a:lnTo>
                  <a:close/>
                </a:path>
              </a:pathLst>
            </a:custGeom>
            <a:solidFill>
              <a:srgbClr val="FB6B1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3" name="object 53"/>
            <p:cNvSpPr/>
            <p:nvPr/>
          </p:nvSpPr>
          <p:spPr>
            <a:xfrm>
              <a:off x="455676" y="1475232"/>
              <a:ext cx="504825" cy="504825"/>
            </a:xfrm>
            <a:custGeom>
              <a:avLst/>
              <a:gdLst/>
              <a:ahLst/>
              <a:cxnLst/>
              <a:rect l="l" t="t" r="r" b="b"/>
              <a:pathLst>
                <a:path w="504825" h="504825">
                  <a:moveTo>
                    <a:pt x="252222" y="0"/>
                  </a:moveTo>
                  <a:lnTo>
                    <a:pt x="206886" y="4062"/>
                  </a:lnTo>
                  <a:lnTo>
                    <a:pt x="164215" y="15777"/>
                  </a:lnTo>
                  <a:lnTo>
                    <a:pt x="124922" y="34431"/>
                  </a:lnTo>
                  <a:lnTo>
                    <a:pt x="89720" y="59312"/>
                  </a:lnTo>
                  <a:lnTo>
                    <a:pt x="59321" y="89710"/>
                  </a:lnTo>
                  <a:lnTo>
                    <a:pt x="34436" y="124911"/>
                  </a:lnTo>
                  <a:lnTo>
                    <a:pt x="15780" y="164205"/>
                  </a:lnTo>
                  <a:lnTo>
                    <a:pt x="4063" y="206879"/>
                  </a:lnTo>
                  <a:lnTo>
                    <a:pt x="0" y="252221"/>
                  </a:lnTo>
                  <a:lnTo>
                    <a:pt x="4063" y="297564"/>
                  </a:lnTo>
                  <a:lnTo>
                    <a:pt x="15780" y="340238"/>
                  </a:lnTo>
                  <a:lnTo>
                    <a:pt x="34436" y="379532"/>
                  </a:lnTo>
                  <a:lnTo>
                    <a:pt x="59321" y="414733"/>
                  </a:lnTo>
                  <a:lnTo>
                    <a:pt x="89720" y="445131"/>
                  </a:lnTo>
                  <a:lnTo>
                    <a:pt x="124922" y="470012"/>
                  </a:lnTo>
                  <a:lnTo>
                    <a:pt x="164215" y="488666"/>
                  </a:lnTo>
                  <a:lnTo>
                    <a:pt x="206886" y="500381"/>
                  </a:lnTo>
                  <a:lnTo>
                    <a:pt x="252222" y="504443"/>
                  </a:lnTo>
                  <a:lnTo>
                    <a:pt x="297557" y="500381"/>
                  </a:lnTo>
                  <a:lnTo>
                    <a:pt x="340228" y="488666"/>
                  </a:lnTo>
                  <a:lnTo>
                    <a:pt x="379521" y="470012"/>
                  </a:lnTo>
                  <a:lnTo>
                    <a:pt x="414723" y="445131"/>
                  </a:lnTo>
                  <a:lnTo>
                    <a:pt x="445122" y="414733"/>
                  </a:lnTo>
                  <a:lnTo>
                    <a:pt x="470007" y="379532"/>
                  </a:lnTo>
                  <a:lnTo>
                    <a:pt x="488663" y="340238"/>
                  </a:lnTo>
                  <a:lnTo>
                    <a:pt x="500380" y="297564"/>
                  </a:lnTo>
                  <a:lnTo>
                    <a:pt x="504443" y="252221"/>
                  </a:lnTo>
                  <a:lnTo>
                    <a:pt x="500380" y="206879"/>
                  </a:lnTo>
                  <a:lnTo>
                    <a:pt x="488663" y="164205"/>
                  </a:lnTo>
                  <a:lnTo>
                    <a:pt x="470007" y="124911"/>
                  </a:lnTo>
                  <a:lnTo>
                    <a:pt x="445122" y="89710"/>
                  </a:lnTo>
                  <a:lnTo>
                    <a:pt x="414723" y="59312"/>
                  </a:lnTo>
                  <a:lnTo>
                    <a:pt x="379521" y="34431"/>
                  </a:lnTo>
                  <a:lnTo>
                    <a:pt x="340228" y="15777"/>
                  </a:lnTo>
                  <a:lnTo>
                    <a:pt x="297557" y="4062"/>
                  </a:lnTo>
                  <a:lnTo>
                    <a:pt x="252222" y="0"/>
                  </a:lnTo>
                  <a:close/>
                </a:path>
              </a:pathLst>
            </a:custGeom>
            <a:solidFill>
              <a:srgbClr val="FDDDC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54" name="object 54"/>
            <p:cNvPicPr/>
            <p:nvPr/>
          </p:nvPicPr>
          <p:blipFill>
            <a:blip r:embed="rId6" cstate="print"/>
            <a:stretch>
              <a:fillRect/>
            </a:stretch>
          </p:blipFill>
          <p:spPr>
            <a:xfrm>
              <a:off x="504237" y="1610949"/>
              <a:ext cx="398165" cy="248516"/>
            </a:xfrm>
            <a:prstGeom prst="rect">
              <a:avLst/>
            </a:prstGeom>
          </p:spPr>
        </p:pic>
        <p:sp>
          <p:nvSpPr>
            <p:cNvPr id="55" name="object 55"/>
            <p:cNvSpPr/>
            <p:nvPr/>
          </p:nvSpPr>
          <p:spPr>
            <a:xfrm>
              <a:off x="3398520" y="2663952"/>
              <a:ext cx="797560" cy="745490"/>
            </a:xfrm>
            <a:custGeom>
              <a:avLst/>
              <a:gdLst/>
              <a:ahLst/>
              <a:cxnLst/>
              <a:rect l="l" t="t" r="r" b="b"/>
              <a:pathLst>
                <a:path w="797560" h="745489">
                  <a:moveTo>
                    <a:pt x="577214" y="0"/>
                  </a:moveTo>
                  <a:lnTo>
                    <a:pt x="577214" y="87249"/>
                  </a:lnTo>
                  <a:lnTo>
                    <a:pt x="0" y="87249"/>
                  </a:lnTo>
                  <a:lnTo>
                    <a:pt x="0" y="657987"/>
                  </a:lnTo>
                  <a:lnTo>
                    <a:pt x="577214" y="657987"/>
                  </a:lnTo>
                  <a:lnTo>
                    <a:pt x="577214" y="745236"/>
                  </a:lnTo>
                  <a:lnTo>
                    <a:pt x="797051" y="372618"/>
                  </a:lnTo>
                  <a:lnTo>
                    <a:pt x="577214"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6" name="object 56"/>
            <p:cNvSpPr/>
            <p:nvPr/>
          </p:nvSpPr>
          <p:spPr>
            <a:xfrm>
              <a:off x="3398520" y="2663952"/>
              <a:ext cx="797560" cy="745490"/>
            </a:xfrm>
            <a:custGeom>
              <a:avLst/>
              <a:gdLst/>
              <a:ahLst/>
              <a:cxnLst/>
              <a:rect l="l" t="t" r="r" b="b"/>
              <a:pathLst>
                <a:path w="797560" h="745489">
                  <a:moveTo>
                    <a:pt x="0" y="87249"/>
                  </a:moveTo>
                  <a:lnTo>
                    <a:pt x="577214" y="87249"/>
                  </a:lnTo>
                  <a:lnTo>
                    <a:pt x="577214" y="0"/>
                  </a:lnTo>
                  <a:lnTo>
                    <a:pt x="797051" y="372618"/>
                  </a:lnTo>
                  <a:lnTo>
                    <a:pt x="577214" y="745236"/>
                  </a:lnTo>
                  <a:lnTo>
                    <a:pt x="577214" y="657987"/>
                  </a:lnTo>
                  <a:lnTo>
                    <a:pt x="0" y="657987"/>
                  </a:lnTo>
                  <a:lnTo>
                    <a:pt x="0" y="87249"/>
                  </a:lnTo>
                  <a:close/>
                </a:path>
              </a:pathLst>
            </a:custGeom>
            <a:ln w="9525">
              <a:solidFill>
                <a:srgbClr val="58535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57" name="object 57"/>
          <p:cNvSpPr txBox="1"/>
          <p:nvPr/>
        </p:nvSpPr>
        <p:spPr>
          <a:xfrm>
            <a:off x="3425316" y="2773807"/>
            <a:ext cx="1337310" cy="462280"/>
          </a:xfrm>
          <a:prstGeom prst="rect">
            <a:avLst/>
          </a:prstGeom>
        </p:spPr>
        <p:txBody>
          <a:bodyPr vert="horz" wrap="square" lIns="0" tIns="12700" rIns="0" bIns="0" rtlCol="0">
            <a:spAutoFit/>
          </a:bodyPr>
          <a:lstStyle/>
          <a:p>
            <a:pPr marL="38100" marR="0" lvl="0" indent="0" algn="l" defTabSz="914400" rtl="0" eaLnBrk="1" fontAlgn="auto" latinLnBrk="0" hangingPunct="1">
              <a:lnSpc>
                <a:spcPts val="1839"/>
              </a:lnSpc>
              <a:spcBef>
                <a:spcPts val="100"/>
              </a:spcBef>
              <a:spcAft>
                <a:spcPts val="0"/>
              </a:spcAft>
              <a:buClrTx/>
              <a:buSzTx/>
              <a:buFontTx/>
              <a:buNone/>
              <a:tabLst>
                <a:tab pos="1071880" algn="l"/>
              </a:tabLst>
              <a:defRPr/>
            </a:pPr>
            <a:r>
              <a:rPr kumimoji="0" sz="1100" b="0" i="0" u="none" strike="noStrike" kern="0" cap="none" spc="-10" normalizeH="0" baseline="0" noProof="0" dirty="0">
                <a:ln>
                  <a:noFill/>
                </a:ln>
                <a:solidFill>
                  <a:srgbClr val="585353"/>
                </a:solidFill>
                <a:effectLst/>
                <a:uLnTx/>
                <a:uFillTx/>
                <a:latin typeface="Trebuchet MS"/>
                <a:ea typeface="+mn-ea"/>
                <a:cs typeface="Trebuchet MS"/>
              </a:rPr>
              <a:t>Screening:</a:t>
            </a:r>
            <a:r>
              <a:rPr kumimoji="0" sz="1100" b="0" i="0" u="none" strike="noStrike" kern="0" cap="none" spc="0" normalizeH="0" baseline="0" noProof="0" dirty="0">
                <a:ln>
                  <a:noFill/>
                </a:ln>
                <a:solidFill>
                  <a:srgbClr val="585353"/>
                </a:solidFill>
                <a:effectLst/>
                <a:uLnTx/>
                <a:uFillTx/>
                <a:latin typeface="Trebuchet MS"/>
                <a:ea typeface="+mn-ea"/>
                <a:cs typeface="Trebuchet MS"/>
              </a:rPr>
              <a:t>	</a:t>
            </a:r>
            <a:r>
              <a:rPr kumimoji="0" sz="1800" b="1" i="0" u="none" strike="noStrike" kern="0" cap="none" spc="-50" normalizeH="0" baseline="0" noProof="0" dirty="0">
                <a:ln>
                  <a:noFill/>
                </a:ln>
                <a:solidFill>
                  <a:srgbClr val="FFFFFF"/>
                </a:solidFill>
                <a:effectLst/>
                <a:uLnTx/>
                <a:uFillTx/>
                <a:latin typeface="Trebuchet MS"/>
                <a:ea typeface="+mn-ea"/>
                <a:cs typeface="Trebuchet MS"/>
              </a:rPr>
              <a:t>R</a:t>
            </a:r>
            <a:endParaRPr kumimoji="0" sz="1800" b="0" i="0" u="none" strike="noStrike" kern="0" cap="none" spc="0" normalizeH="0" baseline="0" noProof="0">
              <a:ln>
                <a:noFill/>
              </a:ln>
              <a:solidFill>
                <a:sysClr val="windowText" lastClr="000000"/>
              </a:solidFill>
              <a:effectLst/>
              <a:uLnTx/>
              <a:uFillTx/>
              <a:latin typeface="Trebuchet MS"/>
              <a:ea typeface="+mn-ea"/>
              <a:cs typeface="Trebuchet MS"/>
            </a:endParaRPr>
          </a:p>
          <a:p>
            <a:pPr marL="60960" marR="0" lvl="0" indent="0" algn="l" defTabSz="914400" rtl="0" eaLnBrk="1" fontAlgn="auto" latinLnBrk="0" hangingPunct="1">
              <a:lnSpc>
                <a:spcPts val="1600"/>
              </a:lnSpc>
              <a:spcBef>
                <a:spcPts val="0"/>
              </a:spcBef>
              <a:spcAft>
                <a:spcPts val="0"/>
              </a:spcAft>
              <a:buClrTx/>
              <a:buSzTx/>
              <a:buFontTx/>
              <a:buNone/>
              <a:tabLst>
                <a:tab pos="986155" algn="l"/>
              </a:tabLst>
              <a:defRPr/>
            </a:pPr>
            <a:r>
              <a:rPr kumimoji="0" sz="1100" b="0" i="0" u="none" strike="noStrike" kern="0" cap="none" spc="0" normalizeH="0" baseline="0" noProof="0" dirty="0">
                <a:ln>
                  <a:noFill/>
                </a:ln>
                <a:solidFill>
                  <a:srgbClr val="585353"/>
                </a:solidFill>
                <a:effectLst/>
                <a:uLnTx/>
                <a:uFillTx/>
                <a:latin typeface="Trebuchet MS"/>
                <a:ea typeface="+mn-ea"/>
                <a:cs typeface="Trebuchet MS"/>
              </a:rPr>
              <a:t>≤ 4 </a:t>
            </a:r>
            <a:r>
              <a:rPr kumimoji="0" sz="1100" b="0" i="0" u="none" strike="noStrike" kern="0" cap="none" spc="-10" normalizeH="0" baseline="0" noProof="0" dirty="0">
                <a:ln>
                  <a:noFill/>
                </a:ln>
                <a:solidFill>
                  <a:srgbClr val="585353"/>
                </a:solidFill>
                <a:effectLst/>
                <a:uLnTx/>
                <a:uFillTx/>
                <a:latin typeface="Trebuchet MS"/>
                <a:ea typeface="+mn-ea"/>
                <a:cs typeface="Trebuchet MS"/>
              </a:rPr>
              <a:t>weeks</a:t>
            </a:r>
            <a:r>
              <a:rPr kumimoji="0" sz="1100" b="0" i="0" u="none" strike="noStrike" kern="0" cap="none" spc="0" normalizeH="0" baseline="0" noProof="0" dirty="0">
                <a:ln>
                  <a:noFill/>
                </a:ln>
                <a:solidFill>
                  <a:srgbClr val="585353"/>
                </a:solidFill>
                <a:effectLst/>
                <a:uLnTx/>
                <a:uFillTx/>
                <a:latin typeface="Trebuchet MS"/>
                <a:ea typeface="+mn-ea"/>
                <a:cs typeface="Trebuchet MS"/>
              </a:rPr>
              <a:t>	</a:t>
            </a:r>
            <a:r>
              <a:rPr kumimoji="0" sz="2400" b="1" i="0" u="none" strike="noStrike" kern="0" cap="none" spc="-37" normalizeH="0" baseline="-20833" noProof="0" dirty="0">
                <a:ln>
                  <a:noFill/>
                </a:ln>
                <a:solidFill>
                  <a:srgbClr val="FFFFFF"/>
                </a:solidFill>
                <a:effectLst/>
                <a:uLnTx/>
                <a:uFillTx/>
                <a:latin typeface="Trebuchet MS"/>
                <a:ea typeface="+mn-ea"/>
                <a:cs typeface="Trebuchet MS"/>
              </a:rPr>
              <a:t>1:1</a:t>
            </a:r>
            <a:endParaRPr kumimoji="0" sz="2400" b="0" i="0" u="none" strike="noStrike" kern="0" cap="none" spc="0" normalizeH="0" baseline="-20833" noProof="0">
              <a:ln>
                <a:noFill/>
              </a:ln>
              <a:solidFill>
                <a:sysClr val="windowText" lastClr="000000"/>
              </a:solidFill>
              <a:effectLst/>
              <a:uLnTx/>
              <a:uFillTx/>
              <a:latin typeface="Trebuchet MS"/>
              <a:ea typeface="+mn-ea"/>
              <a:cs typeface="Trebuchet MS"/>
            </a:endParaRPr>
          </a:p>
        </p:txBody>
      </p:sp>
      <p:sp>
        <p:nvSpPr>
          <p:cNvPr id="60" name="object 60"/>
          <p:cNvSpPr txBox="1"/>
          <p:nvPr/>
        </p:nvSpPr>
        <p:spPr>
          <a:xfrm>
            <a:off x="4498340" y="6634706"/>
            <a:ext cx="3195955" cy="188595"/>
          </a:xfrm>
          <a:prstGeom prst="rect">
            <a:avLst/>
          </a:prstGeom>
        </p:spPr>
        <p:txBody>
          <a:bodyPr vert="horz" wrap="square" lIns="0" tIns="4445" rIns="0" bIns="0" rtlCol="0">
            <a:spAutoFit/>
          </a:bodyPr>
          <a:lstStyle/>
          <a:p>
            <a:pPr marL="12700" marR="0" lvl="0" indent="0" algn="l" defTabSz="914400" rtl="0" eaLnBrk="1" fontAlgn="auto" latinLnBrk="0" hangingPunct="1">
              <a:lnSpc>
                <a:spcPct val="100000"/>
              </a:lnSpc>
              <a:spcBef>
                <a:spcPts val="35"/>
              </a:spcBef>
              <a:spcAft>
                <a:spcPts val="0"/>
              </a:spcAft>
              <a:buClrTx/>
              <a:buSzTx/>
              <a:buFontTx/>
              <a:buNone/>
              <a:tabLst/>
              <a:defRPr/>
            </a:pPr>
            <a:r>
              <a:rPr kumimoji="0" sz="1100" b="0" i="0" u="none" strike="noStrike" kern="0" cap="none" spc="0" normalizeH="0" baseline="0" noProof="0" dirty="0">
                <a:ln>
                  <a:noFill/>
                </a:ln>
                <a:solidFill>
                  <a:srgbClr val="585353"/>
                </a:solidFill>
                <a:effectLst/>
                <a:uLnTx/>
                <a:uFillTx/>
                <a:latin typeface="Trebuchet MS"/>
                <a:ea typeface="+mn-ea"/>
                <a:cs typeface="Trebuchet MS"/>
              </a:rPr>
              <a:t>Nowakowski</a:t>
            </a:r>
            <a:r>
              <a:rPr kumimoji="0" sz="1100" b="0" i="0" u="none" strike="noStrike" kern="0" cap="none" spc="-30" normalizeH="0" baseline="0" noProof="0" dirty="0">
                <a:ln>
                  <a:noFill/>
                </a:ln>
                <a:solidFill>
                  <a:srgbClr val="585353"/>
                </a:solidFill>
                <a:effectLst/>
                <a:uLnTx/>
                <a:uFillTx/>
                <a:latin typeface="Trebuchet MS"/>
                <a:ea typeface="+mn-ea"/>
                <a:cs typeface="Trebuchet MS"/>
              </a:rPr>
              <a:t> </a:t>
            </a:r>
            <a:r>
              <a:rPr kumimoji="0" sz="1100" b="0" i="0" u="none" strike="noStrike" kern="0" cap="none" spc="0" normalizeH="0" baseline="0" noProof="0" dirty="0">
                <a:ln>
                  <a:noFill/>
                </a:ln>
                <a:solidFill>
                  <a:srgbClr val="585353"/>
                </a:solidFill>
                <a:effectLst/>
                <a:uLnTx/>
                <a:uFillTx/>
                <a:latin typeface="Trebuchet MS"/>
                <a:ea typeface="+mn-ea"/>
                <a:cs typeface="Trebuchet MS"/>
              </a:rPr>
              <a:t>GS,</a:t>
            </a:r>
            <a:r>
              <a:rPr kumimoji="0" sz="1100" b="0" i="0" u="none" strike="noStrike" kern="0" cap="none" spc="-15" normalizeH="0" baseline="0" noProof="0" dirty="0">
                <a:ln>
                  <a:noFill/>
                </a:ln>
                <a:solidFill>
                  <a:srgbClr val="585353"/>
                </a:solidFill>
                <a:effectLst/>
                <a:uLnTx/>
                <a:uFillTx/>
                <a:latin typeface="Trebuchet MS"/>
                <a:ea typeface="+mn-ea"/>
                <a:cs typeface="Trebuchet MS"/>
              </a:rPr>
              <a:t> </a:t>
            </a:r>
            <a:r>
              <a:rPr kumimoji="0" sz="1100" b="0" i="0" u="none" strike="noStrike" kern="0" cap="none" spc="0" normalizeH="0" baseline="0" noProof="0" dirty="0">
                <a:ln>
                  <a:noFill/>
                </a:ln>
                <a:solidFill>
                  <a:srgbClr val="585353"/>
                </a:solidFill>
                <a:effectLst/>
                <a:uLnTx/>
                <a:uFillTx/>
                <a:latin typeface="Trebuchet MS"/>
                <a:ea typeface="+mn-ea"/>
                <a:cs typeface="Trebuchet MS"/>
              </a:rPr>
              <a:t>et</a:t>
            </a:r>
            <a:r>
              <a:rPr kumimoji="0" sz="1100" b="0" i="0" u="none" strike="noStrike" kern="0" cap="none" spc="-20" normalizeH="0" baseline="0" noProof="0" dirty="0">
                <a:ln>
                  <a:noFill/>
                </a:ln>
                <a:solidFill>
                  <a:srgbClr val="585353"/>
                </a:solidFill>
                <a:effectLst/>
                <a:uLnTx/>
                <a:uFillTx/>
                <a:latin typeface="Trebuchet MS"/>
                <a:ea typeface="+mn-ea"/>
                <a:cs typeface="Trebuchet MS"/>
              </a:rPr>
              <a:t> </a:t>
            </a:r>
            <a:r>
              <a:rPr kumimoji="0" sz="1100" b="0" i="0" u="none" strike="noStrike" kern="0" cap="none" spc="0" normalizeH="0" baseline="0" noProof="0" dirty="0">
                <a:ln>
                  <a:noFill/>
                </a:ln>
                <a:solidFill>
                  <a:srgbClr val="585353"/>
                </a:solidFill>
                <a:effectLst/>
                <a:uLnTx/>
                <a:uFillTx/>
                <a:latin typeface="Trebuchet MS"/>
                <a:ea typeface="+mn-ea"/>
                <a:cs typeface="Trebuchet MS"/>
              </a:rPr>
              <a:t>al.</a:t>
            </a:r>
            <a:r>
              <a:rPr kumimoji="0" sz="1100" b="0" i="0" u="none" strike="noStrike" kern="0" cap="none" spc="-20" normalizeH="0" baseline="0" noProof="0" dirty="0">
                <a:ln>
                  <a:noFill/>
                </a:ln>
                <a:solidFill>
                  <a:srgbClr val="585353"/>
                </a:solidFill>
                <a:effectLst/>
                <a:uLnTx/>
                <a:uFillTx/>
                <a:latin typeface="Trebuchet MS"/>
                <a:ea typeface="+mn-ea"/>
                <a:cs typeface="Trebuchet MS"/>
              </a:rPr>
              <a:t> </a:t>
            </a:r>
            <a:r>
              <a:rPr kumimoji="0" sz="1100" b="0" i="0" u="none" strike="noStrike" kern="0" cap="none" spc="0" normalizeH="0" baseline="0" noProof="0" dirty="0">
                <a:ln>
                  <a:noFill/>
                </a:ln>
                <a:solidFill>
                  <a:srgbClr val="585353"/>
                </a:solidFill>
                <a:effectLst/>
                <a:uLnTx/>
                <a:uFillTx/>
                <a:latin typeface="Trebuchet MS"/>
                <a:ea typeface="+mn-ea"/>
                <a:cs typeface="Trebuchet MS"/>
              </a:rPr>
              <a:t>ICML</a:t>
            </a:r>
            <a:r>
              <a:rPr kumimoji="0" sz="1100" b="0" i="0" u="none" strike="noStrike" kern="0" cap="none" spc="-40" normalizeH="0" baseline="0" noProof="0" dirty="0">
                <a:ln>
                  <a:noFill/>
                </a:ln>
                <a:solidFill>
                  <a:srgbClr val="585353"/>
                </a:solidFill>
                <a:effectLst/>
                <a:uLnTx/>
                <a:uFillTx/>
                <a:latin typeface="Trebuchet MS"/>
                <a:ea typeface="+mn-ea"/>
                <a:cs typeface="Trebuchet MS"/>
              </a:rPr>
              <a:t> </a:t>
            </a:r>
            <a:r>
              <a:rPr kumimoji="0" sz="1100" b="0" i="0" u="none" strike="noStrike" kern="0" cap="none" spc="0" normalizeH="0" baseline="0" noProof="0" dirty="0">
                <a:ln>
                  <a:noFill/>
                </a:ln>
                <a:solidFill>
                  <a:srgbClr val="585353"/>
                </a:solidFill>
                <a:effectLst/>
                <a:uLnTx/>
                <a:uFillTx/>
                <a:latin typeface="Trebuchet MS"/>
                <a:ea typeface="+mn-ea"/>
                <a:cs typeface="Trebuchet MS"/>
              </a:rPr>
              <a:t>2025</a:t>
            </a:r>
            <a:r>
              <a:rPr kumimoji="0" sz="1100" b="0" i="0" u="none" strike="noStrike" kern="0" cap="none" spc="-20" normalizeH="0" baseline="0" noProof="0" dirty="0">
                <a:ln>
                  <a:noFill/>
                </a:ln>
                <a:solidFill>
                  <a:srgbClr val="585353"/>
                </a:solidFill>
                <a:effectLst/>
                <a:uLnTx/>
                <a:uFillTx/>
                <a:latin typeface="Trebuchet MS"/>
                <a:ea typeface="+mn-ea"/>
                <a:cs typeface="Trebuchet MS"/>
              </a:rPr>
              <a:t> </a:t>
            </a:r>
            <a:r>
              <a:rPr kumimoji="0" sz="1100" b="0" i="0" u="none" strike="noStrike" kern="0" cap="none" spc="0" normalizeH="0" baseline="0" noProof="0" dirty="0">
                <a:ln>
                  <a:noFill/>
                </a:ln>
                <a:solidFill>
                  <a:srgbClr val="585353"/>
                </a:solidFill>
                <a:effectLst/>
                <a:uLnTx/>
                <a:uFillTx/>
                <a:latin typeface="Trebuchet MS"/>
                <a:ea typeface="+mn-ea"/>
                <a:cs typeface="Trebuchet MS"/>
              </a:rPr>
              <a:t>[Abstract</a:t>
            </a:r>
            <a:r>
              <a:rPr kumimoji="0" sz="1100" b="0" i="0" u="none" strike="noStrike" kern="0" cap="none" spc="-15" normalizeH="0" baseline="0" noProof="0" dirty="0">
                <a:ln>
                  <a:noFill/>
                </a:ln>
                <a:solidFill>
                  <a:srgbClr val="585353"/>
                </a:solidFill>
                <a:effectLst/>
                <a:uLnTx/>
                <a:uFillTx/>
                <a:latin typeface="Trebuchet MS"/>
                <a:ea typeface="+mn-ea"/>
                <a:cs typeface="Trebuchet MS"/>
              </a:rPr>
              <a:t> </a:t>
            </a:r>
            <a:r>
              <a:rPr kumimoji="0" sz="1100" b="0" i="0" u="none" strike="noStrike" kern="0" cap="none" spc="-10" normalizeH="0" baseline="0" noProof="0" dirty="0">
                <a:ln>
                  <a:noFill/>
                </a:ln>
                <a:solidFill>
                  <a:srgbClr val="585353"/>
                </a:solidFill>
                <a:effectLst/>
                <a:uLnTx/>
                <a:uFillTx/>
                <a:latin typeface="Trebuchet MS"/>
                <a:ea typeface="+mn-ea"/>
                <a:cs typeface="Trebuchet MS"/>
              </a:rPr>
              <a:t>#OT04]</a:t>
            </a:r>
            <a:endParaRPr kumimoji="0" sz="1100" b="0" i="0" u="none" strike="noStrike" kern="0" cap="none" spc="0" normalizeH="0" baseline="0" noProof="0">
              <a:ln>
                <a:noFill/>
              </a:ln>
              <a:solidFill>
                <a:sysClr val="windowText" lastClr="000000"/>
              </a:solidFill>
              <a:effectLst/>
              <a:uLnTx/>
              <a:uFillTx/>
              <a:latin typeface="Trebuchet MS"/>
              <a:ea typeface="+mn-ea"/>
              <a:cs typeface="Trebuchet MS"/>
            </a:endParaRPr>
          </a:p>
        </p:txBody>
      </p:sp>
      <p:sp>
        <p:nvSpPr>
          <p:cNvPr id="58" name="object 58"/>
          <p:cNvSpPr txBox="1"/>
          <p:nvPr/>
        </p:nvSpPr>
        <p:spPr>
          <a:xfrm>
            <a:off x="1821307" y="4702302"/>
            <a:ext cx="1307465" cy="812165"/>
          </a:xfrm>
          <a:prstGeom prst="rect">
            <a:avLst/>
          </a:prstGeom>
        </p:spPr>
        <p:txBody>
          <a:bodyPr vert="horz" wrap="square" lIns="0" tIns="50800" rIns="0" bIns="0" rtlCol="0">
            <a:spAutoFit/>
          </a:bodyPr>
          <a:lstStyle/>
          <a:p>
            <a:pPr marL="12700" marR="5080" lvl="0" indent="10160" algn="l" defTabSz="914400" rtl="0" eaLnBrk="1" fontAlgn="auto" latinLnBrk="0" hangingPunct="1">
              <a:lnSpc>
                <a:spcPts val="1870"/>
              </a:lnSpc>
              <a:spcBef>
                <a:spcPts val="400"/>
              </a:spcBef>
              <a:spcAft>
                <a:spcPts val="0"/>
              </a:spcAft>
              <a:buClrTx/>
              <a:buSzTx/>
              <a:buFontTx/>
              <a:buNone/>
              <a:tabLst/>
              <a:defRPr/>
            </a:pPr>
            <a:r>
              <a:rPr kumimoji="0" sz="1800" b="1" i="0" u="none" strike="noStrike" kern="0" cap="none" spc="0" normalizeH="0" baseline="0" noProof="0" dirty="0">
                <a:ln>
                  <a:noFill/>
                </a:ln>
                <a:solidFill>
                  <a:srgbClr val="585353"/>
                </a:solidFill>
                <a:effectLst/>
                <a:uLnTx/>
                <a:uFillTx/>
                <a:latin typeface="Trebuchet MS"/>
                <a:ea typeface="+mn-ea"/>
                <a:cs typeface="Trebuchet MS"/>
              </a:rPr>
              <a:t>Planned:</a:t>
            </a:r>
            <a:r>
              <a:rPr kumimoji="0" sz="1800" b="1" i="0" u="none" strike="noStrike" kern="0" cap="none" spc="-114" normalizeH="0" baseline="0" noProof="0" dirty="0">
                <a:ln>
                  <a:noFill/>
                </a:ln>
                <a:solidFill>
                  <a:srgbClr val="585353"/>
                </a:solidFill>
                <a:effectLst/>
                <a:uLnTx/>
                <a:uFillTx/>
                <a:latin typeface="Trebuchet MS"/>
                <a:ea typeface="+mn-ea"/>
                <a:cs typeface="Trebuchet MS"/>
              </a:rPr>
              <a:t> </a:t>
            </a:r>
            <a:r>
              <a:rPr kumimoji="0" sz="1800" b="1" i="0" u="none" strike="noStrike" kern="0" cap="none" spc="-25" normalizeH="0" baseline="0" noProof="0" dirty="0">
                <a:ln>
                  <a:noFill/>
                </a:ln>
                <a:solidFill>
                  <a:srgbClr val="585353"/>
                </a:solidFill>
                <a:effectLst/>
                <a:uLnTx/>
                <a:uFillTx/>
                <a:latin typeface="Trebuchet MS"/>
                <a:ea typeface="+mn-ea"/>
                <a:cs typeface="Trebuchet MS"/>
              </a:rPr>
              <a:t>39 </a:t>
            </a:r>
            <a:r>
              <a:rPr kumimoji="0" sz="1800" b="0" i="0" u="none" strike="noStrike" kern="0" cap="none" spc="-10" normalizeH="0" baseline="0" noProof="0" dirty="0">
                <a:ln>
                  <a:noFill/>
                </a:ln>
                <a:solidFill>
                  <a:srgbClr val="585353"/>
                </a:solidFill>
                <a:effectLst/>
                <a:uLnTx/>
                <a:uFillTx/>
                <a:latin typeface="Trebuchet MS"/>
                <a:ea typeface="+mn-ea"/>
                <a:cs typeface="Trebuchet MS"/>
              </a:rPr>
              <a:t>countries</a:t>
            </a:r>
            <a:endParaRPr kumimoji="0" sz="1800" b="0" i="0" u="none" strike="noStrike" kern="0" cap="none" spc="0" normalizeH="0" baseline="0" noProof="0">
              <a:ln>
                <a:noFill/>
              </a:ln>
              <a:solidFill>
                <a:sysClr val="windowText" lastClr="000000"/>
              </a:solidFill>
              <a:effectLst/>
              <a:uLnTx/>
              <a:uFillTx/>
              <a:latin typeface="Trebuchet MS"/>
              <a:ea typeface="+mn-ea"/>
              <a:cs typeface="Trebuchet MS"/>
            </a:endParaRPr>
          </a:p>
          <a:p>
            <a:pPr marL="12700" marR="0" lvl="0" indent="0" algn="l" defTabSz="914400" rtl="0" eaLnBrk="1" fontAlgn="auto" latinLnBrk="0" hangingPunct="1">
              <a:lnSpc>
                <a:spcPts val="2150"/>
              </a:lnSpc>
              <a:spcBef>
                <a:spcPts val="0"/>
              </a:spcBef>
              <a:spcAft>
                <a:spcPts val="0"/>
              </a:spcAft>
              <a:buClrTx/>
              <a:buSzTx/>
              <a:buFontTx/>
              <a:buNone/>
              <a:tabLst/>
              <a:defRPr/>
            </a:pPr>
            <a:r>
              <a:rPr kumimoji="0" sz="1800" b="1" i="0" u="none" strike="noStrike" kern="0" cap="none" spc="0" normalizeH="0" baseline="0" noProof="0" dirty="0">
                <a:ln>
                  <a:noFill/>
                </a:ln>
                <a:solidFill>
                  <a:srgbClr val="585353"/>
                </a:solidFill>
                <a:effectLst/>
                <a:uLnTx/>
                <a:uFillTx/>
                <a:latin typeface="Trebuchet MS"/>
                <a:ea typeface="+mn-ea"/>
                <a:cs typeface="Trebuchet MS"/>
              </a:rPr>
              <a:t>319</a:t>
            </a:r>
            <a:r>
              <a:rPr kumimoji="0" sz="1800" b="1" i="0" u="none" strike="noStrike" kern="0" cap="none" spc="-25" normalizeH="0" baseline="0" noProof="0" dirty="0">
                <a:ln>
                  <a:noFill/>
                </a:ln>
                <a:solidFill>
                  <a:srgbClr val="585353"/>
                </a:solidFill>
                <a:effectLst/>
                <a:uLnTx/>
                <a:uFillTx/>
                <a:latin typeface="Trebuchet MS"/>
                <a:ea typeface="+mn-ea"/>
                <a:cs typeface="Trebuchet MS"/>
              </a:rPr>
              <a:t> </a:t>
            </a:r>
            <a:r>
              <a:rPr kumimoji="0" sz="1800" b="0" i="0" u="none" strike="noStrike" kern="0" cap="none" spc="-10" normalizeH="0" baseline="0" noProof="0" dirty="0">
                <a:ln>
                  <a:noFill/>
                </a:ln>
                <a:solidFill>
                  <a:srgbClr val="585353"/>
                </a:solidFill>
                <a:effectLst/>
                <a:uLnTx/>
                <a:uFillTx/>
                <a:latin typeface="Trebuchet MS"/>
                <a:ea typeface="+mn-ea"/>
                <a:cs typeface="Trebuchet MS"/>
              </a:rPr>
              <a:t>sites</a:t>
            </a:r>
            <a:endParaRPr kumimoji="0" sz="1800" b="0" i="0" u="none" strike="noStrike" kern="0" cap="none" spc="0" normalizeH="0" baseline="0" noProof="0">
              <a:ln>
                <a:noFill/>
              </a:ln>
              <a:solidFill>
                <a:sysClr val="windowText" lastClr="000000"/>
              </a:solidFill>
              <a:effectLst/>
              <a:uLnTx/>
              <a:uFillTx/>
              <a:latin typeface="Trebuchet MS"/>
              <a:ea typeface="+mn-ea"/>
              <a:cs typeface="Trebuchet MS"/>
            </a:endParaRPr>
          </a:p>
        </p:txBody>
      </p:sp>
      <p:sp>
        <p:nvSpPr>
          <p:cNvPr id="59" name="object 59"/>
          <p:cNvSpPr txBox="1"/>
          <p:nvPr/>
        </p:nvSpPr>
        <p:spPr>
          <a:xfrm>
            <a:off x="340461" y="5741923"/>
            <a:ext cx="11427460" cy="848360"/>
          </a:xfrm>
          <a:prstGeom prst="rect">
            <a:avLst/>
          </a:prstGeom>
        </p:spPr>
        <p:txBody>
          <a:bodyPr vert="horz" wrap="square" lIns="0" tIns="12700" rIns="0" bIns="0" rtlCol="0">
            <a:spAutoFit/>
          </a:bodyPr>
          <a:lstStyle/>
          <a:p>
            <a:pPr marL="381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0" cap="none" spc="0" normalizeH="0" baseline="27777" noProof="0" dirty="0">
                <a:ln>
                  <a:noFill/>
                </a:ln>
                <a:solidFill>
                  <a:srgbClr val="585353"/>
                </a:solidFill>
                <a:effectLst/>
                <a:uLnTx/>
                <a:uFillTx/>
                <a:latin typeface="Trebuchet MS"/>
                <a:ea typeface="+mn-ea"/>
                <a:cs typeface="Trebuchet MS"/>
              </a:rPr>
              <a:t>a</a:t>
            </a:r>
            <a:r>
              <a:rPr kumimoji="0" sz="900" b="0" i="0" u="none" strike="noStrike" kern="0" cap="none" spc="0" normalizeH="0" baseline="0" noProof="0" dirty="0">
                <a:ln>
                  <a:noFill/>
                </a:ln>
                <a:solidFill>
                  <a:srgbClr val="585353"/>
                </a:solidFill>
                <a:effectLst/>
                <a:uLnTx/>
                <a:uFillTx/>
                <a:latin typeface="Trebuchet MS"/>
                <a:ea typeface="+mn-ea"/>
                <a:cs typeface="Trebuchet MS"/>
              </a:rPr>
              <a:t>Includes</a:t>
            </a:r>
            <a:r>
              <a:rPr kumimoji="0" sz="900" b="0" i="0" u="none" strike="noStrike" kern="0" cap="none" spc="-3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DLBCL</a:t>
            </a:r>
            <a:r>
              <a:rPr kumimoji="0" sz="900" b="0" i="0" u="none" strike="noStrike" kern="0" cap="none" spc="-3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including</a:t>
            </a:r>
            <a:r>
              <a:rPr kumimoji="0" sz="900" b="0" i="0" u="none" strike="noStrike" kern="0" cap="none" spc="-2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GCB</a:t>
            </a:r>
            <a:r>
              <a:rPr kumimoji="0" sz="900" b="0" i="0" u="none" strike="noStrike" kern="0" cap="none" spc="-1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and</a:t>
            </a:r>
            <a:r>
              <a:rPr kumimoji="0" sz="900" b="0" i="0" u="none" strike="noStrike" kern="0" cap="none" spc="-1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ABC</a:t>
            </a:r>
            <a:r>
              <a:rPr kumimoji="0" sz="900" b="0" i="0" u="none" strike="noStrike" kern="0" cap="none" spc="-1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types,</a:t>
            </a:r>
            <a:r>
              <a:rPr kumimoji="0" sz="900" b="0" i="0" u="none" strike="noStrike" kern="0" cap="none" spc="-2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or</a:t>
            </a:r>
            <a:r>
              <a:rPr kumimoji="0" sz="900" b="0" i="0" u="none" strike="noStrike" kern="0" cap="none" spc="-1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not</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specified);</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high-grade</a:t>
            </a:r>
            <a:r>
              <a:rPr kumimoji="0" sz="900" b="0" i="0" u="none" strike="noStrike" kern="0" cap="none" spc="-4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BCL</a:t>
            </a:r>
            <a:r>
              <a:rPr kumimoji="0" sz="900" b="0" i="0" u="none" strike="noStrike" kern="0" cap="none" spc="-1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including</a:t>
            </a:r>
            <a:r>
              <a:rPr kumimoji="0" sz="900" b="0" i="0" u="none" strike="noStrike" kern="0" cap="none" spc="-5" normalizeH="0" baseline="0" noProof="0" dirty="0">
                <a:ln>
                  <a:noFill/>
                </a:ln>
                <a:solidFill>
                  <a:srgbClr val="585353"/>
                </a:solidFill>
                <a:effectLst/>
                <a:uLnTx/>
                <a:uFillTx/>
                <a:latin typeface="Trebuchet MS"/>
                <a:ea typeface="+mn-ea"/>
                <a:cs typeface="Trebuchet MS"/>
              </a:rPr>
              <a:t> </a:t>
            </a:r>
            <a:r>
              <a:rPr kumimoji="0" sz="900" b="0" i="1" u="none" strike="noStrike" kern="0" cap="none" spc="0" normalizeH="0" baseline="0" noProof="0" dirty="0">
                <a:ln>
                  <a:noFill/>
                </a:ln>
                <a:solidFill>
                  <a:srgbClr val="585353"/>
                </a:solidFill>
                <a:effectLst/>
                <a:uLnTx/>
                <a:uFillTx/>
                <a:latin typeface="Trebuchet MS"/>
                <a:ea typeface="+mn-ea"/>
                <a:cs typeface="Trebuchet MS"/>
              </a:rPr>
              <a:t>MYC</a:t>
            </a:r>
            <a:r>
              <a:rPr kumimoji="0" sz="900" b="0" i="1" u="none" strike="noStrike" kern="0" cap="none" spc="-2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and</a:t>
            </a:r>
            <a:r>
              <a:rPr kumimoji="0" sz="900" b="0" i="0" u="none" strike="noStrike" kern="0" cap="none" spc="-15" normalizeH="0" baseline="0" noProof="0" dirty="0">
                <a:ln>
                  <a:noFill/>
                </a:ln>
                <a:solidFill>
                  <a:srgbClr val="585353"/>
                </a:solidFill>
                <a:effectLst/>
                <a:uLnTx/>
                <a:uFillTx/>
                <a:latin typeface="Trebuchet MS"/>
                <a:ea typeface="+mn-ea"/>
                <a:cs typeface="Trebuchet MS"/>
              </a:rPr>
              <a:t> </a:t>
            </a:r>
            <a:r>
              <a:rPr kumimoji="0" sz="900" b="0" i="1" u="none" strike="noStrike" kern="0" cap="none" spc="0" normalizeH="0" baseline="0" noProof="0" dirty="0">
                <a:ln>
                  <a:noFill/>
                </a:ln>
                <a:solidFill>
                  <a:srgbClr val="585353"/>
                </a:solidFill>
                <a:effectLst/>
                <a:uLnTx/>
                <a:uFillTx/>
                <a:latin typeface="Trebuchet MS"/>
                <a:ea typeface="+mn-ea"/>
                <a:cs typeface="Trebuchet MS"/>
              </a:rPr>
              <a:t>BCL2</a:t>
            </a:r>
            <a:r>
              <a:rPr kumimoji="0" sz="900" b="0" i="1" u="none" strike="noStrike" kern="0" cap="none" spc="-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rearrangements,</a:t>
            </a:r>
            <a:r>
              <a:rPr kumimoji="0" sz="900" b="0" i="0" u="none" strike="noStrike" kern="0" cap="none" spc="-2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or</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not</a:t>
            </a:r>
            <a:r>
              <a:rPr kumimoji="0" sz="900" b="0" i="0" u="none" strike="noStrike" kern="0" cap="none" spc="-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specified);</a:t>
            </a:r>
            <a:r>
              <a:rPr kumimoji="0" sz="900" b="0" i="0" u="none" strike="noStrike" kern="0" cap="none" spc="-2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T-</a:t>
            </a:r>
            <a:r>
              <a:rPr kumimoji="0" sz="900" b="0" i="0" u="none" strike="noStrike" kern="0" cap="none" spc="-10" normalizeH="0" baseline="0" noProof="0" dirty="0">
                <a:ln>
                  <a:noFill/>
                </a:ln>
                <a:solidFill>
                  <a:srgbClr val="585353"/>
                </a:solidFill>
                <a:effectLst/>
                <a:uLnTx/>
                <a:uFillTx/>
                <a:latin typeface="Trebuchet MS"/>
                <a:ea typeface="+mn-ea"/>
                <a:cs typeface="Trebuchet MS"/>
              </a:rPr>
              <a:t>cell/histiocyte/rich</a:t>
            </a:r>
            <a:r>
              <a:rPr kumimoji="0" sz="900" b="0" i="0" u="none" strike="noStrike" kern="0" cap="none" spc="3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LBCL;</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10" normalizeH="0" baseline="0" noProof="0" dirty="0">
                <a:ln>
                  <a:noFill/>
                </a:ln>
                <a:solidFill>
                  <a:srgbClr val="585353"/>
                </a:solidFill>
                <a:effectLst/>
                <a:uLnTx/>
                <a:uFillTx/>
                <a:latin typeface="Trebuchet MS"/>
                <a:ea typeface="+mn-ea"/>
                <a:cs typeface="Trebuchet MS"/>
              </a:rPr>
              <a:t>Epstein-</a:t>
            </a:r>
            <a:r>
              <a:rPr kumimoji="0" sz="900" b="0" i="0" u="none" strike="noStrike" kern="0" cap="none" spc="0" normalizeH="0" baseline="0" noProof="0" dirty="0">
                <a:ln>
                  <a:noFill/>
                </a:ln>
                <a:solidFill>
                  <a:srgbClr val="585353"/>
                </a:solidFill>
                <a:effectLst/>
                <a:uLnTx/>
                <a:uFillTx/>
                <a:latin typeface="Trebuchet MS"/>
                <a:ea typeface="+mn-ea"/>
                <a:cs typeface="Trebuchet MS"/>
              </a:rPr>
              <a:t>Barr</a:t>
            </a:r>
            <a:r>
              <a:rPr kumimoji="0" sz="900" b="0" i="0" u="none" strike="noStrike" kern="0" cap="none" spc="-10" normalizeH="0" baseline="0" noProof="0" dirty="0">
                <a:ln>
                  <a:noFill/>
                </a:ln>
                <a:solidFill>
                  <a:srgbClr val="585353"/>
                </a:solidFill>
                <a:effectLst/>
                <a:uLnTx/>
                <a:uFillTx/>
                <a:latin typeface="Trebuchet MS"/>
                <a:ea typeface="+mn-ea"/>
                <a:cs typeface="Trebuchet MS"/>
              </a:rPr>
              <a:t> virus-</a:t>
            </a:r>
            <a:r>
              <a:rPr kumimoji="0" sz="900" b="0" i="0" u="none" strike="noStrike" kern="0" cap="none" spc="0" normalizeH="0" baseline="0" noProof="0" dirty="0">
                <a:ln>
                  <a:noFill/>
                </a:ln>
                <a:solidFill>
                  <a:srgbClr val="585353"/>
                </a:solidFill>
                <a:effectLst/>
                <a:uLnTx/>
                <a:uFillTx/>
                <a:latin typeface="Trebuchet MS"/>
                <a:ea typeface="+mn-ea"/>
                <a:cs typeface="Trebuchet MS"/>
              </a:rPr>
              <a:t>positive DLBCL;</a:t>
            </a:r>
            <a:r>
              <a:rPr kumimoji="0" sz="900" b="0" i="0" u="none" strike="noStrike" kern="0" cap="none" spc="-3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27777" noProof="0" dirty="0">
                <a:ln>
                  <a:noFill/>
                </a:ln>
                <a:solidFill>
                  <a:srgbClr val="585353"/>
                </a:solidFill>
                <a:effectLst/>
                <a:uLnTx/>
                <a:uFillTx/>
                <a:latin typeface="Trebuchet MS"/>
                <a:ea typeface="+mn-ea"/>
                <a:cs typeface="Trebuchet MS"/>
              </a:rPr>
              <a:t>b</a:t>
            </a:r>
            <a:r>
              <a:rPr kumimoji="0" sz="900" b="0" i="0" u="none" strike="noStrike" kern="0" cap="none" spc="0" normalizeH="0" baseline="0" noProof="0" dirty="0">
                <a:ln>
                  <a:noFill/>
                </a:ln>
                <a:solidFill>
                  <a:srgbClr val="585353"/>
                </a:solidFill>
                <a:effectLst/>
                <a:uLnTx/>
                <a:uFillTx/>
                <a:latin typeface="Trebuchet MS"/>
                <a:ea typeface="+mn-ea"/>
                <a:cs typeface="Trebuchet MS"/>
              </a:rPr>
              <a:t>Single</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lesion</a:t>
            </a:r>
            <a:r>
              <a:rPr kumimoji="0" sz="900" b="0" i="0" u="none" strike="noStrike" kern="0" cap="none" spc="-5" normalizeH="0" baseline="0" noProof="0" dirty="0">
                <a:ln>
                  <a:noFill/>
                </a:ln>
                <a:solidFill>
                  <a:srgbClr val="585353"/>
                </a:solidFill>
                <a:effectLst/>
                <a:uLnTx/>
                <a:uFillTx/>
                <a:latin typeface="Trebuchet MS"/>
                <a:ea typeface="+mn-ea"/>
                <a:cs typeface="Trebuchet MS"/>
              </a:rPr>
              <a:t> </a:t>
            </a:r>
            <a:r>
              <a:rPr kumimoji="0" sz="900" b="0" i="0" u="none" strike="noStrike" kern="0" cap="none" spc="-25" normalizeH="0" baseline="0" noProof="0" dirty="0">
                <a:ln>
                  <a:noFill/>
                </a:ln>
                <a:solidFill>
                  <a:srgbClr val="585353"/>
                </a:solidFill>
                <a:effectLst/>
                <a:uLnTx/>
                <a:uFillTx/>
                <a:latin typeface="Trebuchet MS"/>
                <a:ea typeface="+mn-ea"/>
                <a:cs typeface="Trebuchet MS"/>
              </a:rPr>
              <a:t>of</a:t>
            </a:r>
            <a:endParaRPr kumimoji="0" sz="900" b="0" i="0" u="none" strike="noStrike" kern="0" cap="none" spc="0" normalizeH="0" baseline="0" noProof="0">
              <a:ln>
                <a:noFill/>
              </a:ln>
              <a:solidFill>
                <a:sysClr val="windowText" lastClr="000000"/>
              </a:solidFill>
              <a:effectLst/>
              <a:uLnTx/>
              <a:uFillTx/>
              <a:latin typeface="Trebuchet MS"/>
              <a:ea typeface="+mn-ea"/>
              <a:cs typeface="Trebuchet MS"/>
            </a:endParaRPr>
          </a:p>
          <a:p>
            <a:pPr marL="38100" marR="38735" lvl="0" indent="0" algn="l" defTabSz="914400" rtl="0" eaLnBrk="1" fontAlgn="auto" latinLnBrk="0" hangingPunct="1">
              <a:lnSpc>
                <a:spcPct val="100000"/>
              </a:lnSpc>
              <a:spcBef>
                <a:spcPts val="0"/>
              </a:spcBef>
              <a:spcAft>
                <a:spcPts val="0"/>
              </a:spcAft>
              <a:buClrTx/>
              <a:buSzTx/>
              <a:buFontTx/>
              <a:buNone/>
              <a:tabLst/>
              <a:defRPr/>
            </a:pPr>
            <a:r>
              <a:rPr kumimoji="0" sz="900" b="0" i="0" u="none" strike="noStrike" kern="0" cap="none" spc="0" normalizeH="0" baseline="0" noProof="0" dirty="0">
                <a:ln>
                  <a:noFill/>
                </a:ln>
                <a:solidFill>
                  <a:srgbClr val="585353"/>
                </a:solidFill>
                <a:effectLst/>
                <a:uLnTx/>
                <a:uFillTx/>
                <a:latin typeface="Trebuchet MS"/>
                <a:ea typeface="+mn-ea"/>
                <a:cs typeface="Trebuchet MS"/>
              </a:rPr>
              <a:t>≥</a:t>
            </a:r>
            <a:r>
              <a:rPr kumimoji="0" sz="900" b="0" i="0" u="none" strike="noStrike" kern="0" cap="none" spc="-2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7</a:t>
            </a:r>
            <a:r>
              <a:rPr kumimoji="0" sz="900" b="0" i="0" u="none" strike="noStrike" kern="0" cap="none" spc="-1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cm;</a:t>
            </a:r>
            <a:r>
              <a:rPr kumimoji="0" sz="900" b="0" i="0" u="none" strike="noStrike" kern="0" cap="none" spc="-1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27777" noProof="0" dirty="0">
                <a:ln>
                  <a:noFill/>
                </a:ln>
                <a:solidFill>
                  <a:srgbClr val="585353"/>
                </a:solidFill>
                <a:effectLst/>
                <a:uLnTx/>
                <a:uFillTx/>
                <a:latin typeface="Trebuchet MS"/>
                <a:ea typeface="+mn-ea"/>
                <a:cs typeface="Trebuchet MS"/>
              </a:rPr>
              <a:t>c</a:t>
            </a:r>
            <a:r>
              <a:rPr kumimoji="0" sz="900" b="0" i="0" u="none" strike="noStrike" kern="0" cap="none" spc="0" normalizeH="0" baseline="0" noProof="0" dirty="0">
                <a:ln>
                  <a:noFill/>
                </a:ln>
                <a:solidFill>
                  <a:srgbClr val="585353"/>
                </a:solidFill>
                <a:effectLst/>
                <a:uLnTx/>
                <a:uFillTx/>
                <a:latin typeface="Trebuchet MS"/>
                <a:ea typeface="+mn-ea"/>
                <a:cs typeface="Trebuchet MS"/>
              </a:rPr>
              <a:t>≥1</a:t>
            </a:r>
            <a:r>
              <a:rPr kumimoji="0" sz="900" b="0" i="0" u="none" strike="noStrike" kern="0" cap="none" spc="-15" normalizeH="0" baseline="0" noProof="0" dirty="0">
                <a:ln>
                  <a:noFill/>
                </a:ln>
                <a:solidFill>
                  <a:srgbClr val="585353"/>
                </a:solidFill>
                <a:effectLst/>
                <a:uLnTx/>
                <a:uFillTx/>
                <a:latin typeface="Trebuchet MS"/>
                <a:ea typeface="+mn-ea"/>
                <a:cs typeface="Trebuchet MS"/>
              </a:rPr>
              <a:t> </a:t>
            </a:r>
            <a:r>
              <a:rPr kumimoji="0" sz="900" b="0" i="0" u="none" strike="noStrike" kern="0" cap="none" spc="-10" normalizeH="0" baseline="0" noProof="0" dirty="0">
                <a:ln>
                  <a:noFill/>
                </a:ln>
                <a:solidFill>
                  <a:srgbClr val="585353"/>
                </a:solidFill>
                <a:effectLst/>
                <a:uLnTx/>
                <a:uFillTx/>
                <a:latin typeface="Trebuchet MS"/>
                <a:ea typeface="+mn-ea"/>
                <a:cs typeface="Trebuchet MS"/>
              </a:rPr>
              <a:t>FDG-</a:t>
            </a:r>
            <a:r>
              <a:rPr kumimoji="0" sz="900" b="0" i="0" u="none" strike="noStrike" kern="0" cap="none" spc="0" normalizeH="0" baseline="0" noProof="0" dirty="0">
                <a:ln>
                  <a:noFill/>
                </a:ln>
                <a:solidFill>
                  <a:srgbClr val="585353"/>
                </a:solidFill>
                <a:effectLst/>
                <a:uLnTx/>
                <a:uFillTx/>
                <a:latin typeface="Trebuchet MS"/>
                <a:ea typeface="+mn-ea"/>
                <a:cs typeface="Trebuchet MS"/>
              </a:rPr>
              <a:t>avid</a:t>
            </a:r>
            <a:r>
              <a:rPr kumimoji="0" sz="900" b="0" i="0" u="none" strike="noStrike" kern="0" cap="none" spc="-1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lesion</a:t>
            </a:r>
            <a:r>
              <a:rPr kumimoji="0" sz="900" b="0" i="0" u="none" strike="noStrike" kern="0" cap="none" spc="-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for</a:t>
            </a:r>
            <a:r>
              <a:rPr kumimoji="0" sz="900" b="0" i="0" u="none" strike="noStrike" kern="0" cap="none" spc="-15" normalizeH="0" baseline="0" noProof="0" dirty="0">
                <a:ln>
                  <a:noFill/>
                </a:ln>
                <a:solidFill>
                  <a:srgbClr val="585353"/>
                </a:solidFill>
                <a:effectLst/>
                <a:uLnTx/>
                <a:uFillTx/>
                <a:latin typeface="Trebuchet MS"/>
                <a:ea typeface="+mn-ea"/>
                <a:cs typeface="Trebuchet MS"/>
              </a:rPr>
              <a:t> </a:t>
            </a:r>
            <a:r>
              <a:rPr kumimoji="0" sz="900" b="0" i="0" u="none" strike="noStrike" kern="0" cap="none" spc="-10" normalizeH="0" baseline="0" noProof="0" dirty="0">
                <a:ln>
                  <a:noFill/>
                </a:ln>
                <a:solidFill>
                  <a:srgbClr val="585353"/>
                </a:solidFill>
                <a:effectLst/>
                <a:uLnTx/>
                <a:uFillTx/>
                <a:latin typeface="Trebuchet MS"/>
                <a:ea typeface="+mn-ea"/>
                <a:cs typeface="Trebuchet MS"/>
              </a:rPr>
              <a:t>FDG-</a:t>
            </a:r>
            <a:r>
              <a:rPr kumimoji="0" sz="900" b="0" i="0" u="none" strike="noStrike" kern="0" cap="none" spc="0" normalizeH="0" baseline="0" noProof="0" dirty="0">
                <a:ln>
                  <a:noFill/>
                </a:ln>
                <a:solidFill>
                  <a:srgbClr val="585353"/>
                </a:solidFill>
                <a:effectLst/>
                <a:uLnTx/>
                <a:uFillTx/>
                <a:latin typeface="Trebuchet MS"/>
                <a:ea typeface="+mn-ea"/>
                <a:cs typeface="Trebuchet MS"/>
              </a:rPr>
              <a:t>avid</a:t>
            </a:r>
            <a:r>
              <a:rPr kumimoji="0" sz="900" b="0" i="0" u="none" strike="noStrike" kern="0" cap="none" spc="-1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subtype</a:t>
            </a:r>
            <a:r>
              <a:rPr kumimoji="0" sz="900" b="0" i="0" u="none" strike="noStrike" kern="0" cap="none" spc="-3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and</a:t>
            </a:r>
            <a:r>
              <a:rPr kumimoji="0" sz="900" b="0" i="0" u="none" strike="noStrike" kern="0" cap="none" spc="-1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1</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bi-dimensionally measurable</a:t>
            </a:r>
            <a:r>
              <a:rPr kumimoji="0" sz="900" b="0" i="0" u="none" strike="noStrike" kern="0" cap="none" spc="-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gt;</a:t>
            </a:r>
            <a:r>
              <a:rPr kumimoji="0" sz="900" b="0" i="0" u="none" strike="noStrike" kern="0" cap="none" spc="-3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1.5</a:t>
            </a:r>
            <a:r>
              <a:rPr kumimoji="0" sz="900" b="0" i="0" u="none" strike="noStrike" kern="0" cap="none" spc="-1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cm</a:t>
            </a:r>
            <a:r>
              <a:rPr kumimoji="0" sz="900" b="0" i="0" u="none" strike="noStrike" kern="0" cap="none" spc="-1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in</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longest</a:t>
            </a:r>
            <a:r>
              <a:rPr kumimoji="0" sz="900" b="0" i="0" u="none" strike="noStrike" kern="0" cap="none" spc="-1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diameter)</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disease,</a:t>
            </a:r>
            <a:r>
              <a:rPr kumimoji="0" sz="900" b="0" i="0" u="none" strike="noStrike" kern="0" cap="none" spc="-1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by</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CT</a:t>
            </a:r>
            <a:r>
              <a:rPr kumimoji="0" sz="900" b="0" i="0" u="none" strike="noStrike" kern="0" cap="none" spc="-2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or</a:t>
            </a:r>
            <a:r>
              <a:rPr kumimoji="0" sz="900" b="0" i="0" u="none" strike="noStrike" kern="0" cap="none" spc="-1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MRI.</a:t>
            </a:r>
            <a:r>
              <a:rPr kumimoji="0" sz="900" b="0" i="0" u="none" strike="noStrike" kern="0" cap="none" spc="0" normalizeH="0" baseline="27777" noProof="0" dirty="0">
                <a:ln>
                  <a:noFill/>
                </a:ln>
                <a:solidFill>
                  <a:srgbClr val="585353"/>
                </a:solidFill>
                <a:effectLst/>
                <a:uLnTx/>
                <a:uFillTx/>
                <a:latin typeface="Trebuchet MS"/>
                <a:ea typeface="+mn-ea"/>
                <a:cs typeface="Trebuchet MS"/>
              </a:rPr>
              <a:t>10</a:t>
            </a:r>
            <a:r>
              <a:rPr kumimoji="0" sz="900" b="0" i="0" u="none" strike="noStrike" kern="0" cap="none" spc="89" normalizeH="0" baseline="27777"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ABC,</a:t>
            </a:r>
            <a:r>
              <a:rPr kumimoji="0" sz="900" b="0" i="0" u="none" strike="noStrike" kern="0" cap="none" spc="-2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activated</a:t>
            </a:r>
            <a:r>
              <a:rPr kumimoji="0" sz="900" b="0" i="0" u="none" strike="noStrike" kern="0" cap="none" spc="-5" normalizeH="0" baseline="0" noProof="0" dirty="0">
                <a:ln>
                  <a:noFill/>
                </a:ln>
                <a:solidFill>
                  <a:srgbClr val="585353"/>
                </a:solidFill>
                <a:effectLst/>
                <a:uLnTx/>
                <a:uFillTx/>
                <a:latin typeface="Trebuchet MS"/>
                <a:ea typeface="+mn-ea"/>
                <a:cs typeface="Trebuchet MS"/>
              </a:rPr>
              <a:t> </a:t>
            </a:r>
            <a:r>
              <a:rPr kumimoji="0" sz="900" b="0" i="0" u="none" strike="noStrike" kern="0" cap="none" spc="-10" normalizeH="0" baseline="0" noProof="0" dirty="0">
                <a:ln>
                  <a:noFill/>
                </a:ln>
                <a:solidFill>
                  <a:srgbClr val="585353"/>
                </a:solidFill>
                <a:effectLst/>
                <a:uLnTx/>
                <a:uFillTx/>
                <a:latin typeface="Trebuchet MS"/>
                <a:ea typeface="+mn-ea"/>
                <a:cs typeface="Trebuchet MS"/>
              </a:rPr>
              <a:t>B-</a:t>
            </a:r>
            <a:r>
              <a:rPr kumimoji="0" sz="900" b="0" i="0" u="none" strike="noStrike" kern="0" cap="none" spc="0" normalizeH="0" baseline="0" noProof="0" dirty="0">
                <a:ln>
                  <a:noFill/>
                </a:ln>
                <a:solidFill>
                  <a:srgbClr val="585353"/>
                </a:solidFill>
                <a:effectLst/>
                <a:uLnTx/>
                <a:uFillTx/>
                <a:latin typeface="Trebuchet MS"/>
                <a:ea typeface="+mn-ea"/>
                <a:cs typeface="Trebuchet MS"/>
              </a:rPr>
              <a:t>cell;</a:t>
            </a:r>
            <a:r>
              <a:rPr kumimoji="0" sz="900" b="0" i="0" u="none" strike="noStrike" kern="0" cap="none" spc="-2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BCL,</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10" normalizeH="0" baseline="0" noProof="0" dirty="0">
                <a:ln>
                  <a:noFill/>
                </a:ln>
                <a:solidFill>
                  <a:srgbClr val="585353"/>
                </a:solidFill>
                <a:effectLst/>
                <a:uLnTx/>
                <a:uFillTx/>
                <a:latin typeface="Trebuchet MS"/>
                <a:ea typeface="+mn-ea"/>
                <a:cs typeface="Trebuchet MS"/>
              </a:rPr>
              <a:t>B-</a:t>
            </a:r>
            <a:r>
              <a:rPr kumimoji="0" sz="900" b="0" i="0" u="none" strike="noStrike" kern="0" cap="none" spc="0" normalizeH="0" baseline="0" noProof="0" dirty="0">
                <a:ln>
                  <a:noFill/>
                </a:ln>
                <a:solidFill>
                  <a:srgbClr val="585353"/>
                </a:solidFill>
                <a:effectLst/>
                <a:uLnTx/>
                <a:uFillTx/>
                <a:latin typeface="Trebuchet MS"/>
                <a:ea typeface="+mn-ea"/>
                <a:cs typeface="Trebuchet MS"/>
              </a:rPr>
              <a:t>cell</a:t>
            </a:r>
            <a:r>
              <a:rPr kumimoji="0" sz="900" b="0" i="0" u="none" strike="noStrike" kern="0" cap="none" spc="-2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lymphoma; CMR,</a:t>
            </a:r>
            <a:r>
              <a:rPr kumimoji="0" sz="900" b="0" i="0" u="none" strike="noStrike" kern="0" cap="none" spc="-3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complete</a:t>
            </a:r>
            <a:r>
              <a:rPr kumimoji="0" sz="900" b="0" i="0" u="none" strike="noStrike" kern="0" cap="none" spc="-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metabolic </a:t>
            </a:r>
            <a:r>
              <a:rPr kumimoji="0" sz="900" b="0" i="0" u="none" strike="noStrike" kern="0" cap="none" spc="-10" normalizeH="0" baseline="0" noProof="0" dirty="0">
                <a:ln>
                  <a:noFill/>
                </a:ln>
                <a:solidFill>
                  <a:srgbClr val="585353"/>
                </a:solidFill>
                <a:effectLst/>
                <a:uLnTx/>
                <a:uFillTx/>
                <a:latin typeface="Trebuchet MS"/>
                <a:ea typeface="+mn-ea"/>
                <a:cs typeface="Trebuchet MS"/>
              </a:rPr>
              <a:t>rate; </a:t>
            </a:r>
            <a:r>
              <a:rPr kumimoji="0" sz="900" b="0" i="0" u="none" strike="noStrike" kern="0" cap="none" spc="0" normalizeH="0" baseline="0" noProof="0" dirty="0">
                <a:ln>
                  <a:noFill/>
                </a:ln>
                <a:solidFill>
                  <a:srgbClr val="585353"/>
                </a:solidFill>
                <a:effectLst/>
                <a:uLnTx/>
                <a:uFillTx/>
                <a:latin typeface="Trebuchet MS"/>
                <a:ea typeface="+mn-ea"/>
                <a:cs typeface="Trebuchet MS"/>
              </a:rPr>
              <a:t>CNS,</a:t>
            </a:r>
            <a:r>
              <a:rPr kumimoji="0" sz="900" b="0" i="0" u="none" strike="noStrike" kern="0" cap="none" spc="-4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central</a:t>
            </a:r>
            <a:r>
              <a:rPr kumimoji="0" sz="900" b="0" i="0" u="none" strike="noStrike" kern="0" cap="none" spc="-1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nervous</a:t>
            </a:r>
            <a:r>
              <a:rPr kumimoji="0" sz="900" b="0" i="0" u="none" strike="noStrike" kern="0" cap="none" spc="-3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system;</a:t>
            </a:r>
            <a:r>
              <a:rPr kumimoji="0" sz="900" b="0" i="0" u="none" strike="noStrike" kern="0" cap="none" spc="-10" normalizeH="0" baseline="0" noProof="0" dirty="0">
                <a:ln>
                  <a:noFill/>
                </a:ln>
                <a:solidFill>
                  <a:srgbClr val="585353"/>
                </a:solidFill>
                <a:effectLst/>
                <a:uLnTx/>
                <a:uFillTx/>
                <a:latin typeface="Trebuchet MS"/>
                <a:ea typeface="+mn-ea"/>
                <a:cs typeface="Trebuchet MS"/>
              </a:rPr>
              <a:t> </a:t>
            </a:r>
            <a:r>
              <a:rPr kumimoji="0" sz="900" b="0" i="0" u="none" strike="noStrike" kern="0" cap="none" spc="-45" normalizeH="0" baseline="0" noProof="0" dirty="0">
                <a:ln>
                  <a:noFill/>
                </a:ln>
                <a:solidFill>
                  <a:srgbClr val="585353"/>
                </a:solidFill>
                <a:effectLst/>
                <a:uLnTx/>
                <a:uFillTx/>
                <a:latin typeface="Trebuchet MS"/>
                <a:ea typeface="+mn-ea"/>
                <a:cs typeface="Trebuchet MS"/>
              </a:rPr>
              <a:t>CT,</a:t>
            </a:r>
            <a:r>
              <a:rPr kumimoji="0" sz="900" b="0" i="0" u="none" strike="noStrike" kern="0" cap="none" spc="-2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computed</a:t>
            </a:r>
            <a:r>
              <a:rPr kumimoji="0" sz="900" b="0" i="0" u="none" strike="noStrike" kern="0" cap="none" spc="-1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tomography; DLBCL,</a:t>
            </a:r>
            <a:r>
              <a:rPr kumimoji="0" sz="900" b="0" i="0" u="none" strike="noStrike" kern="0" cap="none" spc="-3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diffuse</a:t>
            </a:r>
            <a:r>
              <a:rPr kumimoji="0" sz="900" b="0" i="0" u="none" strike="noStrike" kern="0" cap="none" spc="-2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large</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B-cell</a:t>
            </a:r>
            <a:r>
              <a:rPr kumimoji="0" sz="900" b="0" i="0" u="none" strike="noStrike" kern="0" cap="none" spc="-3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lymphoma;</a:t>
            </a:r>
            <a:r>
              <a:rPr kumimoji="0" sz="900" b="0" i="0" u="none" strike="noStrike" kern="0" cap="none" spc="-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DOR,</a:t>
            </a:r>
            <a:r>
              <a:rPr kumimoji="0" sz="900" b="0" i="0" u="none" strike="noStrike" kern="0" cap="none" spc="-3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duration</a:t>
            </a:r>
            <a:r>
              <a:rPr kumimoji="0" sz="900" b="0" i="0" u="none" strike="noStrike" kern="0" cap="none" spc="-1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of</a:t>
            </a:r>
            <a:r>
              <a:rPr kumimoji="0" sz="900" b="0" i="0" u="none" strike="noStrike" kern="0" cap="none" spc="-1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response;</a:t>
            </a:r>
            <a:r>
              <a:rPr kumimoji="0" sz="900" b="0" i="0" u="none" strike="noStrike" kern="0" cap="none" spc="-3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EFS,</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event-free</a:t>
            </a:r>
            <a:r>
              <a:rPr kumimoji="0" sz="900" b="0" i="0" u="none" strike="noStrike" kern="0" cap="none" spc="-5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survival;</a:t>
            </a:r>
            <a:r>
              <a:rPr kumimoji="0" sz="900" b="0" i="0" u="none" strike="noStrike" kern="0" cap="none" spc="-1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FDG,</a:t>
            </a:r>
            <a:r>
              <a:rPr kumimoji="0" sz="900" b="0" i="0" u="none" strike="noStrike" kern="0" cap="none" spc="-30" normalizeH="0" baseline="0" noProof="0" dirty="0">
                <a:ln>
                  <a:noFill/>
                </a:ln>
                <a:solidFill>
                  <a:srgbClr val="585353"/>
                </a:solidFill>
                <a:effectLst/>
                <a:uLnTx/>
                <a:uFillTx/>
                <a:latin typeface="Trebuchet MS"/>
                <a:ea typeface="+mn-ea"/>
                <a:cs typeface="Trebuchet MS"/>
              </a:rPr>
              <a:t> </a:t>
            </a:r>
            <a:r>
              <a:rPr kumimoji="0" sz="900" b="0" i="0" u="none" strike="noStrike" kern="0" cap="none" spc="-10" normalizeH="0" baseline="0" noProof="0" dirty="0">
                <a:ln>
                  <a:noFill/>
                </a:ln>
                <a:solidFill>
                  <a:srgbClr val="585353"/>
                </a:solidFill>
                <a:effectLst/>
                <a:uLnTx/>
                <a:uFillTx/>
                <a:latin typeface="Trebuchet MS"/>
                <a:ea typeface="+mn-ea"/>
                <a:cs typeface="Trebuchet MS"/>
              </a:rPr>
              <a:t>fluorodeoxyglucose;</a:t>
            </a:r>
            <a:r>
              <a:rPr kumimoji="0" sz="900" b="0" i="0" u="none" strike="noStrike" kern="0" cap="none" spc="-1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GCB,</a:t>
            </a:r>
            <a:r>
              <a:rPr kumimoji="0" sz="900" b="0" i="0" u="none" strike="noStrike" kern="0" cap="none" spc="-3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germinal</a:t>
            </a:r>
            <a:r>
              <a:rPr kumimoji="0" sz="900" b="0" i="0" u="none" strike="noStrike" kern="0" cap="none" spc="-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center</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10" normalizeH="0" baseline="0" noProof="0" dirty="0">
                <a:ln>
                  <a:noFill/>
                </a:ln>
                <a:solidFill>
                  <a:srgbClr val="585353"/>
                </a:solidFill>
                <a:effectLst/>
                <a:uLnTx/>
                <a:uFillTx/>
                <a:latin typeface="Trebuchet MS"/>
                <a:ea typeface="+mn-ea"/>
                <a:cs typeface="Trebuchet MS"/>
              </a:rPr>
              <a:t>B-</a:t>
            </a:r>
            <a:r>
              <a:rPr kumimoji="0" sz="900" b="0" i="0" u="none" strike="noStrike" kern="0" cap="none" spc="0" normalizeH="0" baseline="0" noProof="0" dirty="0">
                <a:ln>
                  <a:noFill/>
                </a:ln>
                <a:solidFill>
                  <a:srgbClr val="585353"/>
                </a:solidFill>
                <a:effectLst/>
                <a:uLnTx/>
                <a:uFillTx/>
                <a:latin typeface="Trebuchet MS"/>
                <a:ea typeface="+mn-ea"/>
                <a:cs typeface="Trebuchet MS"/>
              </a:rPr>
              <a:t>cell;</a:t>
            </a:r>
            <a:r>
              <a:rPr kumimoji="0" sz="900" b="0" i="0" u="none" strike="noStrike" kern="0" cap="none" spc="-3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HRQoL,</a:t>
            </a:r>
            <a:r>
              <a:rPr kumimoji="0" sz="900" b="0" i="0" u="none" strike="noStrike" kern="0" cap="none" spc="-30" normalizeH="0" baseline="0" noProof="0" dirty="0">
                <a:ln>
                  <a:noFill/>
                </a:ln>
                <a:solidFill>
                  <a:srgbClr val="585353"/>
                </a:solidFill>
                <a:effectLst/>
                <a:uLnTx/>
                <a:uFillTx/>
                <a:latin typeface="Trebuchet MS"/>
                <a:ea typeface="+mn-ea"/>
                <a:cs typeface="Trebuchet MS"/>
              </a:rPr>
              <a:t> </a:t>
            </a:r>
            <a:r>
              <a:rPr kumimoji="0" sz="900" b="0" i="0" u="none" strike="noStrike" kern="0" cap="none" spc="-10" normalizeH="0" baseline="0" noProof="0" dirty="0">
                <a:ln>
                  <a:noFill/>
                </a:ln>
                <a:solidFill>
                  <a:srgbClr val="585353"/>
                </a:solidFill>
                <a:effectLst/>
                <a:uLnTx/>
                <a:uFillTx/>
                <a:latin typeface="Trebuchet MS"/>
                <a:ea typeface="+mn-ea"/>
                <a:cs typeface="Trebuchet MS"/>
              </a:rPr>
              <a:t>health-</a:t>
            </a:r>
            <a:r>
              <a:rPr kumimoji="0" sz="900" b="0" i="0" u="none" strike="noStrike" kern="0" cap="none" spc="0" normalizeH="0" baseline="0" noProof="0" dirty="0">
                <a:ln>
                  <a:noFill/>
                </a:ln>
                <a:solidFill>
                  <a:srgbClr val="585353"/>
                </a:solidFill>
                <a:effectLst/>
                <a:uLnTx/>
                <a:uFillTx/>
                <a:latin typeface="Trebuchet MS"/>
                <a:ea typeface="+mn-ea"/>
                <a:cs typeface="Trebuchet MS"/>
              </a:rPr>
              <a:t>related</a:t>
            </a:r>
            <a:r>
              <a:rPr kumimoji="0" sz="900" b="0" i="0" u="none" strike="noStrike" kern="0" cap="none" spc="-3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quality</a:t>
            </a:r>
            <a:r>
              <a:rPr kumimoji="0" sz="900" b="0" i="0" u="none" strike="noStrike" kern="0" cap="none" spc="-2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of</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life;</a:t>
            </a:r>
            <a:r>
              <a:rPr kumimoji="0" sz="900" b="0" i="0" u="none" strike="noStrike" kern="0" cap="none" spc="-3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IPI,</a:t>
            </a:r>
            <a:r>
              <a:rPr kumimoji="0" sz="900" b="0" i="0" u="none" strike="noStrike" kern="0" cap="none" spc="-5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International</a:t>
            </a:r>
            <a:r>
              <a:rPr kumimoji="0" sz="900" b="0" i="0" u="none" strike="noStrike" kern="0" cap="none" spc="-1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Prognostic</a:t>
            </a:r>
            <a:r>
              <a:rPr kumimoji="0" sz="900" b="0" i="0" u="none" strike="noStrike" kern="0" cap="none" spc="-1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Index;</a:t>
            </a:r>
            <a:r>
              <a:rPr kumimoji="0" sz="900" b="0" i="0" u="none" strike="noStrike" kern="0" cap="none" spc="-6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IRAC,</a:t>
            </a:r>
            <a:r>
              <a:rPr kumimoji="0" sz="900" b="0" i="0" u="none" strike="noStrike" kern="0" cap="none" spc="-4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Independent</a:t>
            </a:r>
            <a:r>
              <a:rPr kumimoji="0" sz="900" b="0" i="0" u="none" strike="noStrike" kern="0" cap="none" spc="-6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Radiology</a:t>
            </a:r>
            <a:r>
              <a:rPr kumimoji="0" sz="900" b="0" i="0" u="none" strike="noStrike" kern="0" cap="none" spc="-1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Adjudication</a:t>
            </a:r>
            <a:r>
              <a:rPr kumimoji="0" sz="900" b="0" i="0" u="none" strike="noStrike" kern="0" cap="none" spc="-2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Committee;</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LBCL,</a:t>
            </a:r>
            <a:r>
              <a:rPr kumimoji="0" sz="900" b="0" i="0" u="none" strike="noStrike" kern="0" cap="none" spc="-4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large</a:t>
            </a:r>
            <a:r>
              <a:rPr kumimoji="0" sz="900" b="0" i="0" u="none" strike="noStrike" kern="0" cap="none" spc="-3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B-cell</a:t>
            </a:r>
            <a:r>
              <a:rPr kumimoji="0" sz="900" b="0" i="0" u="none" strike="noStrike" kern="0" cap="none" spc="-5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lymphoma;</a:t>
            </a:r>
            <a:r>
              <a:rPr kumimoji="0" sz="900" b="0" i="0" u="none" strike="noStrike" kern="0" cap="none" spc="-1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LDH,</a:t>
            </a:r>
            <a:r>
              <a:rPr kumimoji="0" sz="900" b="0" i="0" u="none" strike="noStrike" kern="0" cap="none" spc="-4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lactate</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dehydrogenase;</a:t>
            </a:r>
            <a:r>
              <a:rPr kumimoji="0" sz="900" b="0" i="0" u="none" strike="noStrike" kern="0" cap="none" spc="-4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MRD,</a:t>
            </a:r>
            <a:r>
              <a:rPr kumimoji="0" sz="900" b="0" i="0" u="none" strike="noStrike" kern="0" cap="none" spc="-4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minimal residual</a:t>
            </a:r>
            <a:r>
              <a:rPr kumimoji="0" sz="900" b="0" i="0" u="none" strike="noStrike" kern="0" cap="none" spc="-3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disease;</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MRI,</a:t>
            </a:r>
            <a:r>
              <a:rPr kumimoji="0" sz="900" b="0" i="0" u="none" strike="noStrike" kern="0" cap="none" spc="-40" normalizeH="0" baseline="0" noProof="0" dirty="0">
                <a:ln>
                  <a:noFill/>
                </a:ln>
                <a:solidFill>
                  <a:srgbClr val="585353"/>
                </a:solidFill>
                <a:effectLst/>
                <a:uLnTx/>
                <a:uFillTx/>
                <a:latin typeface="Trebuchet MS"/>
                <a:ea typeface="+mn-ea"/>
                <a:cs typeface="Trebuchet MS"/>
              </a:rPr>
              <a:t> </a:t>
            </a:r>
            <a:r>
              <a:rPr kumimoji="0" sz="900" b="0" i="0" u="none" strike="noStrike" kern="0" cap="none" spc="-10" normalizeH="0" baseline="0" noProof="0" dirty="0">
                <a:ln>
                  <a:noFill/>
                </a:ln>
                <a:solidFill>
                  <a:srgbClr val="585353"/>
                </a:solidFill>
                <a:effectLst/>
                <a:uLnTx/>
                <a:uFillTx/>
                <a:latin typeface="Trebuchet MS"/>
                <a:ea typeface="+mn-ea"/>
                <a:cs typeface="Trebuchet MS"/>
              </a:rPr>
              <a:t>magnetic </a:t>
            </a:r>
            <a:r>
              <a:rPr kumimoji="0" sz="900" b="0" i="0" u="none" strike="noStrike" kern="0" cap="none" spc="0" normalizeH="0" baseline="0" noProof="0" dirty="0">
                <a:ln>
                  <a:noFill/>
                </a:ln>
                <a:solidFill>
                  <a:srgbClr val="585353"/>
                </a:solidFill>
                <a:effectLst/>
                <a:uLnTx/>
                <a:uFillTx/>
                <a:latin typeface="Trebuchet MS"/>
                <a:ea typeface="+mn-ea"/>
                <a:cs typeface="Trebuchet MS"/>
              </a:rPr>
              <a:t>resonance</a:t>
            </a:r>
            <a:r>
              <a:rPr kumimoji="0" sz="900" b="0" i="0" u="none" strike="noStrike" kern="0" cap="none" spc="-2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imaging; OR,</a:t>
            </a:r>
            <a:r>
              <a:rPr kumimoji="0" sz="900" b="0" i="0" u="none" strike="noStrike" kern="0" cap="none" spc="-2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overall</a:t>
            </a:r>
            <a:r>
              <a:rPr kumimoji="0" sz="900" b="0" i="0" u="none" strike="noStrike" kern="0" cap="none" spc="-2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response;</a:t>
            </a:r>
            <a:r>
              <a:rPr kumimoji="0" sz="900" b="0" i="0" u="none" strike="noStrike" kern="0" cap="none" spc="-2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OS,</a:t>
            </a:r>
            <a:r>
              <a:rPr kumimoji="0" sz="900" b="0" i="0" u="none" strike="noStrike" kern="0" cap="none" spc="-2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overall</a:t>
            </a:r>
            <a:r>
              <a:rPr kumimoji="0" sz="900" b="0" i="0" u="none" strike="noStrike" kern="0" cap="none" spc="-2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survival;</a:t>
            </a:r>
            <a:r>
              <a:rPr kumimoji="0" sz="900" b="0" i="0" u="none" strike="noStrike" kern="0" cap="none" spc="-1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PFS,</a:t>
            </a:r>
            <a:r>
              <a:rPr kumimoji="0" sz="900" b="0" i="0" u="none" strike="noStrike" kern="0" cap="none" spc="-30" normalizeH="0" baseline="0" noProof="0" dirty="0">
                <a:ln>
                  <a:noFill/>
                </a:ln>
                <a:solidFill>
                  <a:srgbClr val="585353"/>
                </a:solidFill>
                <a:effectLst/>
                <a:uLnTx/>
                <a:uFillTx/>
                <a:latin typeface="Trebuchet MS"/>
                <a:ea typeface="+mn-ea"/>
                <a:cs typeface="Trebuchet MS"/>
              </a:rPr>
              <a:t> </a:t>
            </a:r>
            <a:r>
              <a:rPr kumimoji="0" sz="900" b="0" i="0" u="none" strike="noStrike" kern="0" cap="none" spc="-10" normalizeH="0" baseline="0" noProof="0" dirty="0">
                <a:ln>
                  <a:noFill/>
                </a:ln>
                <a:solidFill>
                  <a:srgbClr val="585353"/>
                </a:solidFill>
                <a:effectLst/>
                <a:uLnTx/>
                <a:uFillTx/>
                <a:latin typeface="Trebuchet MS"/>
                <a:ea typeface="+mn-ea"/>
                <a:cs typeface="Trebuchet MS"/>
              </a:rPr>
              <a:t>progression-</a:t>
            </a:r>
            <a:r>
              <a:rPr kumimoji="0" sz="900" b="0" i="0" u="none" strike="noStrike" kern="0" cap="none" spc="0" normalizeH="0" baseline="0" noProof="0" dirty="0">
                <a:ln>
                  <a:noFill/>
                </a:ln>
                <a:solidFill>
                  <a:srgbClr val="585353"/>
                </a:solidFill>
                <a:effectLst/>
                <a:uLnTx/>
                <a:uFillTx/>
                <a:latin typeface="Trebuchet MS"/>
                <a:ea typeface="+mn-ea"/>
                <a:cs typeface="Trebuchet MS"/>
              </a:rPr>
              <a:t>free</a:t>
            </a:r>
            <a:r>
              <a:rPr kumimoji="0" sz="900" b="0" i="0" u="none" strike="noStrike" kern="0" cap="none" spc="-2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survival;</a:t>
            </a:r>
            <a:r>
              <a:rPr kumimoji="0" sz="900" b="0" i="0" u="none" strike="noStrike" kern="0" cap="none" spc="-3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R-CHOP,</a:t>
            </a:r>
            <a:r>
              <a:rPr kumimoji="0" sz="900" b="0" i="0" u="none" strike="noStrike" kern="0" cap="none" spc="-3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rituximab,</a:t>
            </a:r>
            <a:r>
              <a:rPr kumimoji="0" sz="900" b="0" i="0" u="none" strike="noStrike" kern="0" cap="none" spc="-5" normalizeH="0" baseline="0" noProof="0" dirty="0">
                <a:ln>
                  <a:noFill/>
                </a:ln>
                <a:solidFill>
                  <a:srgbClr val="585353"/>
                </a:solidFill>
                <a:effectLst/>
                <a:uLnTx/>
                <a:uFillTx/>
                <a:latin typeface="Trebuchet MS"/>
                <a:ea typeface="+mn-ea"/>
                <a:cs typeface="Trebuchet MS"/>
              </a:rPr>
              <a:t> </a:t>
            </a:r>
            <a:r>
              <a:rPr kumimoji="0" sz="900" b="0" i="0" u="none" strike="noStrike" kern="0" cap="none" spc="-10" normalizeH="0" baseline="0" noProof="0" dirty="0">
                <a:ln>
                  <a:noFill/>
                </a:ln>
                <a:solidFill>
                  <a:srgbClr val="585353"/>
                </a:solidFill>
                <a:effectLst/>
                <a:uLnTx/>
                <a:uFillTx/>
                <a:latin typeface="Trebuchet MS"/>
                <a:ea typeface="+mn-ea"/>
                <a:cs typeface="Trebuchet MS"/>
              </a:rPr>
              <a:t>cyclophosphamide,</a:t>
            </a:r>
            <a:r>
              <a:rPr kumimoji="0" sz="900" b="0" i="0" u="none" strike="noStrike" kern="0" cap="none" spc="0" normalizeH="0" baseline="0" noProof="0" dirty="0">
                <a:ln>
                  <a:noFill/>
                </a:ln>
                <a:solidFill>
                  <a:srgbClr val="585353"/>
                </a:solidFill>
                <a:effectLst/>
                <a:uLnTx/>
                <a:uFillTx/>
                <a:latin typeface="Trebuchet MS"/>
                <a:ea typeface="+mn-ea"/>
                <a:cs typeface="Trebuchet MS"/>
              </a:rPr>
              <a:t> doxorubicin,</a:t>
            </a:r>
            <a:r>
              <a:rPr kumimoji="0" sz="900" b="0" i="0" u="none" strike="noStrike" kern="0" cap="none" spc="-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vincristine,</a:t>
            </a:r>
            <a:r>
              <a:rPr kumimoji="0" sz="900" b="0" i="0" u="none" strike="noStrike" kern="0" cap="none" spc="-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prednisone;</a:t>
            </a:r>
            <a:r>
              <a:rPr kumimoji="0" sz="900" b="0" i="0" u="none" strike="noStrike" kern="0" cap="none" spc="-2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Tx,</a:t>
            </a:r>
            <a:r>
              <a:rPr kumimoji="0" sz="900" b="0" i="0" u="none" strike="noStrike" kern="0" cap="none" spc="-4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treatment;</a:t>
            </a:r>
            <a:r>
              <a:rPr kumimoji="0" sz="900" b="0" i="0" u="none" strike="noStrike" kern="0" cap="none" spc="-1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ULN,</a:t>
            </a:r>
            <a:r>
              <a:rPr kumimoji="0" sz="900" b="0" i="0" u="none" strike="noStrike" kern="0" cap="none" spc="-3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upper</a:t>
            </a:r>
            <a:r>
              <a:rPr kumimoji="0" sz="900" b="0" i="0" u="none" strike="noStrike" kern="0" cap="none" spc="-3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limit of</a:t>
            </a:r>
            <a:r>
              <a:rPr kumimoji="0" sz="900" b="0" i="0" u="none" strike="noStrike" kern="0" cap="none" spc="-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normal;</a:t>
            </a:r>
            <a:r>
              <a:rPr kumimoji="0" sz="900" b="0" i="0" u="none" strike="noStrike" kern="0" cap="none" spc="-20" normalizeH="0" baseline="0" noProof="0" dirty="0">
                <a:ln>
                  <a:noFill/>
                </a:ln>
                <a:solidFill>
                  <a:srgbClr val="585353"/>
                </a:solidFill>
                <a:effectLst/>
                <a:uLnTx/>
                <a:uFillTx/>
                <a:latin typeface="Trebuchet MS"/>
                <a:ea typeface="+mn-ea"/>
                <a:cs typeface="Trebuchet MS"/>
              </a:rPr>
              <a:t> WHO, </a:t>
            </a:r>
            <a:r>
              <a:rPr kumimoji="0" sz="900" b="0" i="0" u="none" strike="noStrike" kern="0" cap="none" spc="0" normalizeH="0" baseline="0" noProof="0" dirty="0">
                <a:ln>
                  <a:noFill/>
                </a:ln>
                <a:solidFill>
                  <a:srgbClr val="585353"/>
                </a:solidFill>
                <a:effectLst/>
                <a:uLnTx/>
                <a:uFillTx/>
                <a:latin typeface="Trebuchet MS"/>
                <a:ea typeface="+mn-ea"/>
                <a:cs typeface="Trebuchet MS"/>
              </a:rPr>
              <a:t>World</a:t>
            </a:r>
            <a:r>
              <a:rPr kumimoji="0" sz="900" b="0" i="0" u="none" strike="noStrike" kern="0" cap="none" spc="-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Health </a:t>
            </a:r>
            <a:r>
              <a:rPr kumimoji="0" sz="900" b="0" i="0" u="none" strike="noStrike" kern="0" cap="none" spc="-10" normalizeH="0" baseline="0" noProof="0" dirty="0">
                <a:ln>
                  <a:noFill/>
                </a:ln>
                <a:solidFill>
                  <a:srgbClr val="585353"/>
                </a:solidFill>
                <a:effectLst/>
                <a:uLnTx/>
                <a:uFillTx/>
                <a:latin typeface="Trebuchet MS"/>
                <a:ea typeface="+mn-ea"/>
                <a:cs typeface="Trebuchet MS"/>
              </a:rPr>
              <a:t>Organization.</a:t>
            </a:r>
            <a:r>
              <a:rPr kumimoji="0" sz="900" b="0" i="0" u="none" strike="noStrike" kern="0" cap="none" spc="1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1. Cheson</a:t>
            </a:r>
            <a:r>
              <a:rPr kumimoji="0" sz="900" b="0" i="0" u="none" strike="noStrike" kern="0" cap="none" spc="-5"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BD,</a:t>
            </a:r>
            <a:r>
              <a:rPr kumimoji="0" sz="900" b="0" i="0" u="none" strike="noStrike" kern="0" cap="none" spc="-10" normalizeH="0" baseline="0" noProof="0" dirty="0">
                <a:ln>
                  <a:noFill/>
                </a:ln>
                <a:solidFill>
                  <a:srgbClr val="585353"/>
                </a:solidFill>
                <a:effectLst/>
                <a:uLnTx/>
                <a:uFillTx/>
                <a:latin typeface="Trebuchet MS"/>
                <a:ea typeface="+mn-ea"/>
                <a:cs typeface="Trebuchet MS"/>
              </a:rPr>
              <a:t> </a:t>
            </a:r>
            <a:r>
              <a:rPr kumimoji="0" sz="900" b="0" i="0" u="none" strike="noStrike" kern="0" cap="none" spc="0" normalizeH="0" baseline="0" noProof="0" dirty="0">
                <a:ln>
                  <a:noFill/>
                </a:ln>
                <a:solidFill>
                  <a:srgbClr val="585353"/>
                </a:solidFill>
                <a:effectLst/>
                <a:uLnTx/>
                <a:uFillTx/>
                <a:latin typeface="Trebuchet MS"/>
                <a:ea typeface="+mn-ea"/>
                <a:cs typeface="Trebuchet MS"/>
              </a:rPr>
              <a:t>et al.</a:t>
            </a:r>
            <a:r>
              <a:rPr kumimoji="0" sz="900" b="0" i="0" u="none" strike="noStrike" kern="0" cap="none" spc="-10" normalizeH="0" baseline="0" noProof="0" dirty="0">
                <a:ln>
                  <a:noFill/>
                </a:ln>
                <a:solidFill>
                  <a:srgbClr val="585353"/>
                </a:solidFill>
                <a:effectLst/>
                <a:uLnTx/>
                <a:uFillTx/>
                <a:latin typeface="Trebuchet MS"/>
                <a:ea typeface="+mn-ea"/>
                <a:cs typeface="Trebuchet MS"/>
              </a:rPr>
              <a:t> </a:t>
            </a:r>
            <a:r>
              <a:rPr kumimoji="0" sz="900" b="0" i="1" u="none" strike="noStrike" kern="0" cap="none" spc="0" normalizeH="0" baseline="0" noProof="0" dirty="0">
                <a:ln>
                  <a:noFill/>
                </a:ln>
                <a:solidFill>
                  <a:srgbClr val="585353"/>
                </a:solidFill>
                <a:effectLst/>
                <a:uLnTx/>
                <a:uFillTx/>
                <a:latin typeface="Trebuchet MS"/>
                <a:ea typeface="+mn-ea"/>
                <a:cs typeface="Trebuchet MS"/>
              </a:rPr>
              <a:t>J Clin</a:t>
            </a:r>
            <a:r>
              <a:rPr kumimoji="0" sz="900" b="0" i="1" u="none" strike="noStrike" kern="0" cap="none" spc="-20" normalizeH="0" baseline="0" noProof="0" dirty="0">
                <a:ln>
                  <a:noFill/>
                </a:ln>
                <a:solidFill>
                  <a:srgbClr val="585353"/>
                </a:solidFill>
                <a:effectLst/>
                <a:uLnTx/>
                <a:uFillTx/>
                <a:latin typeface="Trebuchet MS"/>
                <a:ea typeface="+mn-ea"/>
                <a:cs typeface="Trebuchet MS"/>
              </a:rPr>
              <a:t> </a:t>
            </a:r>
            <a:r>
              <a:rPr kumimoji="0" sz="900" b="0" i="1" u="none" strike="noStrike" kern="0" cap="none" spc="0" normalizeH="0" baseline="0" noProof="0" dirty="0">
                <a:ln>
                  <a:noFill/>
                </a:ln>
                <a:solidFill>
                  <a:srgbClr val="585353"/>
                </a:solidFill>
                <a:effectLst/>
                <a:uLnTx/>
                <a:uFillTx/>
                <a:latin typeface="Trebuchet MS"/>
                <a:ea typeface="+mn-ea"/>
                <a:cs typeface="Trebuchet MS"/>
              </a:rPr>
              <a:t>Oncol </a:t>
            </a:r>
            <a:r>
              <a:rPr kumimoji="0" sz="900" b="0" i="0" u="none" strike="noStrike" kern="0" cap="none" spc="-10" normalizeH="0" baseline="0" noProof="0" dirty="0">
                <a:ln>
                  <a:noFill/>
                </a:ln>
                <a:solidFill>
                  <a:srgbClr val="585353"/>
                </a:solidFill>
                <a:effectLst/>
                <a:uLnTx/>
                <a:uFillTx/>
                <a:latin typeface="Trebuchet MS"/>
                <a:ea typeface="+mn-ea"/>
                <a:cs typeface="Trebuchet MS"/>
              </a:rPr>
              <a:t>2014;32:3059–3068.</a:t>
            </a:r>
            <a:endParaRPr kumimoji="0" sz="900" b="0" i="0" u="none" strike="noStrike" kern="0" cap="none" spc="0" normalizeH="0" baseline="0" noProof="0">
              <a:ln>
                <a:noFill/>
              </a:ln>
              <a:solidFill>
                <a:sysClr val="windowText" lastClr="000000"/>
              </a:solidFill>
              <a:effectLst/>
              <a:uLnTx/>
              <a:uFillTx/>
              <a:latin typeface="Trebuchet MS"/>
              <a:ea typeface="+mn-ea"/>
              <a:cs typeface="Trebuchet MS"/>
            </a:endParaRP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449CF6-ADB2-A57D-09A1-6A8D328544F6}"/>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8B12E4E8-A38C-6919-7A9E-D64D84EBB2D1}"/>
              </a:ext>
            </a:extLst>
          </p:cNvPr>
          <p:cNvSpPr/>
          <p:nvPr/>
        </p:nvSpPr>
        <p:spPr bwMode="auto">
          <a:xfrm>
            <a:off x="684426" y="2665946"/>
            <a:ext cx="10731324" cy="804672"/>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FFFFFF"/>
              </a:solidFill>
              <a:effectLst/>
              <a:uLnTx/>
              <a:uFillTx/>
              <a:latin typeface="Times New Roman" pitchFamily="18" charset="0"/>
              <a:ea typeface="MS PGothic" charset="0"/>
              <a:cs typeface="+mn-cs"/>
            </a:endParaRPr>
          </a:p>
        </p:txBody>
      </p:sp>
      <p:sp>
        <p:nvSpPr>
          <p:cNvPr id="2" name="Title 1">
            <a:extLst>
              <a:ext uri="{FF2B5EF4-FFF2-40B4-BE49-F238E27FC236}">
                <a16:creationId xmlns:a16="http://schemas.microsoft.com/office/drawing/2014/main" id="{2D67C79F-3918-F909-0E5B-7D753D144A59}"/>
              </a:ext>
            </a:extLst>
          </p:cNvPr>
          <p:cNvSpPr>
            <a:spLocks noGrp="1"/>
          </p:cNvSpPr>
          <p:nvPr>
            <p:ph type="title"/>
          </p:nvPr>
        </p:nvSpPr>
        <p:spPr>
          <a:xfrm>
            <a:off x="462987" y="83127"/>
            <a:ext cx="11262167" cy="1061462"/>
          </a:xfrm>
        </p:spPr>
        <p:txBody>
          <a:bodyPr>
            <a:noAutofit/>
          </a:bodyPr>
          <a:lstStyle/>
          <a:p>
            <a:pPr>
              <a:lnSpc>
                <a:spcPct val="100000"/>
              </a:lnSpc>
            </a:pPr>
            <a:r>
              <a:rPr lang="en-US" sz="2800" dirty="0"/>
              <a:t>Keynote Session: </a:t>
            </a:r>
            <a:br>
              <a:rPr lang="en-US" sz="2800" dirty="0"/>
            </a:br>
            <a:r>
              <a:rPr lang="en-US" sz="2800" dirty="0"/>
              <a:t>Diffuse Large B-Cell Lymphoma and Follicular Lymphoma</a:t>
            </a:r>
            <a:endParaRPr lang="en-US" sz="2800" dirty="0">
              <a:solidFill>
                <a:srgbClr val="0070C0"/>
              </a:solidFill>
            </a:endParaRPr>
          </a:p>
        </p:txBody>
      </p:sp>
      <p:sp>
        <p:nvSpPr>
          <p:cNvPr id="7" name="Content Placeholder 6">
            <a:extLst>
              <a:ext uri="{FF2B5EF4-FFF2-40B4-BE49-F238E27FC236}">
                <a16:creationId xmlns:a16="http://schemas.microsoft.com/office/drawing/2014/main" id="{18C8DD91-DDC3-DB6B-683C-A7DEC6BA50B7}"/>
              </a:ext>
            </a:extLst>
          </p:cNvPr>
          <p:cNvSpPr>
            <a:spLocks noGrp="1"/>
          </p:cNvSpPr>
          <p:nvPr>
            <p:ph idx="1"/>
          </p:nvPr>
        </p:nvSpPr>
        <p:spPr>
          <a:xfrm>
            <a:off x="462987" y="1144587"/>
            <a:ext cx="11262167" cy="5257800"/>
          </a:xfrm>
        </p:spPr>
        <p:txBody>
          <a:bodyPr lIns="365760" tIns="274320" rIns="365760">
            <a:noAutofit/>
          </a:bodyPr>
          <a:lstStyle/>
          <a:p>
            <a:pPr>
              <a:lnSpc>
                <a:spcPct val="100000"/>
              </a:lnSpc>
              <a:spcBef>
                <a:spcPts val="1200"/>
              </a:spcBef>
            </a:pPr>
            <a:r>
              <a:rPr lang="en-US" sz="2200" dirty="0">
                <a:solidFill>
                  <a:srgbClr val="002656"/>
                </a:solidFill>
              </a:rPr>
              <a:t>Part 1 - Diffuse Large B-Cell Lymphoma:</a:t>
            </a:r>
          </a:p>
          <a:p>
            <a:pPr marL="457200" lvl="1" indent="0">
              <a:lnSpc>
                <a:spcPct val="100000"/>
              </a:lnSpc>
              <a:spcBef>
                <a:spcPts val="1200"/>
              </a:spcBef>
              <a:buNone/>
            </a:pPr>
            <a:r>
              <a:rPr lang="en-US" sz="2200" b="1" dirty="0"/>
              <a:t>Antibody-Drug Conjugates and Other Novel Strategies in the Management of DLBCL</a:t>
            </a:r>
            <a:r>
              <a:rPr lang="en-US" sz="2200" dirty="0"/>
              <a:t> — </a:t>
            </a:r>
            <a:r>
              <a:rPr lang="en-US" sz="2200" b="0" dirty="0"/>
              <a:t>Prof Salles</a:t>
            </a:r>
          </a:p>
          <a:p>
            <a:pPr marL="457200" lvl="1" indent="0">
              <a:lnSpc>
                <a:spcPct val="100000"/>
              </a:lnSpc>
              <a:spcBef>
                <a:spcPts val="1200"/>
              </a:spcBef>
              <a:buNone/>
            </a:pPr>
            <a:r>
              <a:rPr lang="en-US" sz="2200" b="1" dirty="0">
                <a:solidFill>
                  <a:schemeClr val="bg1"/>
                </a:solidFill>
              </a:rPr>
              <a:t>Current and Future Role of Monoclonal and Bispecific Antibodies in the Management of DLBCL </a:t>
            </a:r>
            <a:r>
              <a:rPr lang="en-US" sz="2200" dirty="0">
                <a:solidFill>
                  <a:schemeClr val="bg1"/>
                </a:solidFill>
              </a:rPr>
              <a:t>— </a:t>
            </a:r>
            <a:r>
              <a:rPr lang="en-US" sz="2200" b="0" dirty="0">
                <a:solidFill>
                  <a:schemeClr val="bg1"/>
                </a:solidFill>
              </a:rPr>
              <a:t>Dr Patel</a:t>
            </a:r>
          </a:p>
          <a:p>
            <a:pPr marL="457200" lvl="1" indent="0">
              <a:lnSpc>
                <a:spcPct val="100000"/>
              </a:lnSpc>
              <a:spcBef>
                <a:spcPts val="1200"/>
              </a:spcBef>
              <a:buNone/>
            </a:pPr>
            <a:r>
              <a:rPr lang="en-US" sz="2200" b="1" dirty="0"/>
              <a:t>Chimeric Antigen Receptor (CAR) T-Cell Therapy for DLBCL</a:t>
            </a:r>
            <a:r>
              <a:rPr lang="en-US" sz="2200" dirty="0"/>
              <a:t> — </a:t>
            </a:r>
            <a:r>
              <a:rPr lang="en-US" sz="2200" b="0" dirty="0"/>
              <a:t>Dr Kamdar </a:t>
            </a:r>
          </a:p>
          <a:p>
            <a:pPr>
              <a:lnSpc>
                <a:spcPct val="100000"/>
              </a:lnSpc>
              <a:spcBef>
                <a:spcPts val="1200"/>
              </a:spcBef>
            </a:pPr>
            <a:r>
              <a:rPr lang="en-US" sz="2200" dirty="0">
                <a:solidFill>
                  <a:srgbClr val="002656"/>
                </a:solidFill>
              </a:rPr>
              <a:t>Part 2 – Follicular Lymphoma:</a:t>
            </a:r>
            <a:endParaRPr lang="en-US" sz="2200" dirty="0"/>
          </a:p>
          <a:p>
            <a:pPr marL="457200" lvl="1" indent="0">
              <a:lnSpc>
                <a:spcPct val="100000"/>
              </a:lnSpc>
              <a:spcBef>
                <a:spcPts val="1200"/>
              </a:spcBef>
              <a:buNone/>
            </a:pPr>
            <a:r>
              <a:rPr lang="en-US" sz="2200" b="1" dirty="0"/>
              <a:t>CAR T-Cell Therapy for FL </a:t>
            </a:r>
            <a:r>
              <a:rPr lang="en-US" sz="2200" dirty="0"/>
              <a:t>— </a:t>
            </a:r>
            <a:r>
              <a:rPr lang="en-US" sz="2200" b="0" dirty="0"/>
              <a:t>Prof Salles </a:t>
            </a:r>
          </a:p>
          <a:p>
            <a:pPr marL="457200" lvl="1" indent="0">
              <a:lnSpc>
                <a:spcPct val="100000"/>
              </a:lnSpc>
              <a:spcBef>
                <a:spcPts val="1200"/>
              </a:spcBef>
              <a:buNone/>
            </a:pPr>
            <a:r>
              <a:rPr lang="en-US" sz="2200" b="1" dirty="0"/>
              <a:t>Other Approved and Emerging Novel Therapies for FL — </a:t>
            </a:r>
            <a:r>
              <a:rPr lang="en-US" sz="2200" dirty="0"/>
              <a:t>Dr Patel</a:t>
            </a:r>
          </a:p>
          <a:p>
            <a:pPr marL="457200" lvl="1" indent="0">
              <a:lnSpc>
                <a:spcPct val="100000"/>
              </a:lnSpc>
              <a:spcBef>
                <a:spcPts val="1200"/>
              </a:spcBef>
              <a:buNone/>
            </a:pPr>
            <a:r>
              <a:rPr lang="en-US" sz="2200" b="1" dirty="0"/>
              <a:t>Integrating Bispecific Antibodies into the Management of FL </a:t>
            </a:r>
            <a:r>
              <a:rPr lang="en-US" sz="2200" dirty="0"/>
              <a:t>— </a:t>
            </a:r>
            <a:r>
              <a:rPr lang="en-US" sz="2200" b="0" dirty="0"/>
              <a:t>Dr Kamdar </a:t>
            </a:r>
          </a:p>
        </p:txBody>
      </p:sp>
    </p:spTree>
    <p:extLst>
      <p:ext uri="{BB962C8B-B14F-4D97-AF65-F5344CB8AC3E}">
        <p14:creationId xmlns:p14="http://schemas.microsoft.com/office/powerpoint/2010/main" val="8967170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1C40857-CCEE-E882-4751-BE88652D499A}"/>
              </a:ext>
            </a:extLst>
          </p:cNvPr>
          <p:cNvSpPr>
            <a:spLocks noGrp="1"/>
          </p:cNvSpPr>
          <p:nvPr>
            <p:ph type="body" sz="quarter" idx="10"/>
          </p:nvPr>
        </p:nvSpPr>
        <p:spPr/>
        <p:txBody>
          <a:bodyPr/>
          <a:lstStyle/>
          <a:p>
            <a:r>
              <a:rPr lang="en-US" dirty="0"/>
              <a:t>Current and Future Role of Bispecific and Monoclonal Antibodies in DLBCL  </a:t>
            </a:r>
            <a:endParaRPr lang="en-US" b="0" dirty="0"/>
          </a:p>
        </p:txBody>
      </p:sp>
      <p:sp>
        <p:nvSpPr>
          <p:cNvPr id="4" name="Text Placeholder 3">
            <a:extLst>
              <a:ext uri="{FF2B5EF4-FFF2-40B4-BE49-F238E27FC236}">
                <a16:creationId xmlns:a16="http://schemas.microsoft.com/office/drawing/2014/main" id="{90D223A5-59A8-E11A-5DC4-ABA2556D09B5}"/>
              </a:ext>
            </a:extLst>
          </p:cNvPr>
          <p:cNvSpPr txBox="1">
            <a:spLocks/>
          </p:cNvSpPr>
          <p:nvPr/>
        </p:nvSpPr>
        <p:spPr>
          <a:xfrm>
            <a:off x="421341" y="4294720"/>
            <a:ext cx="2970788" cy="94095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400" b="0" kern="1200">
                <a:solidFill>
                  <a:schemeClr val="accent6"/>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637592"/>
                </a:solidFill>
                <a:effectLst/>
                <a:uLnTx/>
                <a:uFillTx/>
                <a:latin typeface="Arial" panose="020B0604020202020204"/>
                <a:ea typeface="+mn-ea"/>
                <a:cs typeface="+mn-cs"/>
              </a:rPr>
              <a:t>Krish Patel, MD</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637592"/>
                </a:solidFill>
                <a:effectLst/>
                <a:uLnTx/>
                <a:uFillTx/>
                <a:latin typeface="Arial" panose="020B0604020202020204"/>
                <a:ea typeface="+mn-ea"/>
                <a:cs typeface="+mn-cs"/>
              </a:rPr>
              <a:t>Director, Lymphoma Research</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637592"/>
                </a:solidFill>
                <a:effectLst/>
                <a:uLnTx/>
                <a:uFillTx/>
                <a:latin typeface="Arial" panose="020B0604020202020204"/>
                <a:ea typeface="+mn-ea"/>
                <a:cs typeface="+mn-cs"/>
              </a:rPr>
              <a:t>April 24, 2026</a:t>
            </a:r>
          </a:p>
        </p:txBody>
      </p:sp>
    </p:spTree>
    <p:extLst>
      <p:ext uri="{BB962C8B-B14F-4D97-AF65-F5344CB8AC3E}">
        <p14:creationId xmlns:p14="http://schemas.microsoft.com/office/powerpoint/2010/main" val="262713754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5" name="Title 1">
            <a:extLst>
              <a:ext uri="{FF2B5EF4-FFF2-40B4-BE49-F238E27FC236}">
                <a16:creationId xmlns:a16="http://schemas.microsoft.com/office/drawing/2014/main" id="{42B91C6D-B018-DD10-6218-F0D662C93846}"/>
              </a:ext>
            </a:extLst>
          </p:cNvPr>
          <p:cNvSpPr>
            <a:spLocks noGrp="1"/>
          </p:cNvSpPr>
          <p:nvPr>
            <p:ph type="title"/>
          </p:nvPr>
        </p:nvSpPr>
        <p:spPr/>
        <p:txBody>
          <a:bodyPr/>
          <a:lstStyle/>
          <a:p>
            <a:r>
              <a:rPr lang="en-US" b="1" dirty="0"/>
              <a:t>Disclosures</a:t>
            </a:r>
          </a:p>
        </p:txBody>
      </p:sp>
      <p:graphicFrame>
        <p:nvGraphicFramePr>
          <p:cNvPr id="4" name="Table 3">
            <a:extLst>
              <a:ext uri="{FF2B5EF4-FFF2-40B4-BE49-F238E27FC236}">
                <a16:creationId xmlns:a16="http://schemas.microsoft.com/office/drawing/2014/main" id="{9F6A9C01-943C-2CE2-FA05-F54A0847CDDD}"/>
              </a:ext>
            </a:extLst>
          </p:cNvPr>
          <p:cNvGraphicFramePr>
            <a:graphicFrameLocks noGrp="1"/>
          </p:cNvGraphicFramePr>
          <p:nvPr/>
        </p:nvGraphicFramePr>
        <p:xfrm>
          <a:off x="421340" y="1400628"/>
          <a:ext cx="11233631" cy="4441371"/>
        </p:xfrm>
        <a:graphic>
          <a:graphicData uri="http://schemas.openxmlformats.org/drawingml/2006/table">
            <a:tbl>
              <a:tblPr firstRow="1" bandRow="1">
                <a:tableStyleId>{5C22544A-7EE6-4342-B048-85BDC9FD1C3A}</a:tableStyleId>
              </a:tblPr>
              <a:tblGrid>
                <a:gridCol w="2829860">
                  <a:extLst>
                    <a:ext uri="{9D8B030D-6E8A-4147-A177-3AD203B41FA5}">
                      <a16:colId xmlns:a16="http://schemas.microsoft.com/office/drawing/2014/main" val="20000"/>
                    </a:ext>
                  </a:extLst>
                </a:gridCol>
                <a:gridCol w="8403771">
                  <a:extLst>
                    <a:ext uri="{9D8B030D-6E8A-4147-A177-3AD203B41FA5}">
                      <a16:colId xmlns:a16="http://schemas.microsoft.com/office/drawing/2014/main" val="20001"/>
                    </a:ext>
                  </a:extLst>
                </a:gridCol>
              </a:tblGrid>
              <a:tr h="1355487">
                <a:tc>
                  <a:txBody>
                    <a:bodyPr/>
                    <a:lstStyle/>
                    <a:p>
                      <a:r>
                        <a:rPr lang="en-US" sz="1800" b="1" dirty="0">
                          <a:solidFill>
                            <a:schemeClr val="tx1"/>
                          </a:solidFill>
                        </a:rPr>
                        <a:t>Advisory Committees (All Paid to Institution)</a:t>
                      </a:r>
                    </a:p>
                  </a:txBody>
                  <a:tcPr marL="91430" marR="91430" marT="45705" marB="4570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b="0" dirty="0">
                          <a:solidFill>
                            <a:schemeClr val="tx1"/>
                          </a:solidFill>
                        </a:rPr>
                        <a:t>AbbVie Inc, AstraZeneca Pharmaceuticals LP, Bristol Myers Squibb, Genentech, a member of the Roche Group, Janssen Biotech Inc, Loxo Oncology Inc, a wholly owned subsidiary of Eli Lilly &amp; Company, Lyell, Merck</a:t>
                      </a:r>
                    </a:p>
                  </a:txBody>
                  <a:tcPr marL="91430" marR="91430" marT="45705" marB="4570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1542942">
                <a:tc>
                  <a:txBody>
                    <a:bodyPr/>
                    <a:lstStyle/>
                    <a:p>
                      <a:r>
                        <a:rPr lang="en-US" sz="1800" b="1" dirty="0">
                          <a:solidFill>
                            <a:schemeClr val="tx1"/>
                          </a:solidFill>
                        </a:rPr>
                        <a:t>Consulting Agreements (All Paid to Institution)</a:t>
                      </a:r>
                    </a:p>
                  </a:txBody>
                  <a:tcPr marL="91430" marR="91430" marT="45705" marB="4570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b="0" dirty="0">
                          <a:solidFill>
                            <a:schemeClr val="tx1"/>
                          </a:solidFill>
                        </a:rPr>
                        <a:t>AbbVie Inc, Adaptive Biotechnologies Corporation, AstraZeneca Pharmaceuticals LP, Bristol Myers Squibb, Genentech, a member of the Roche Group, Janssen Biotech Inc, Loxo Oncology Inc, a wholly owned subsidiary of Eli Lilly &amp; Company, Lyell, Merck, Pfizer Inc, Sanofi</a:t>
                      </a:r>
                    </a:p>
                  </a:txBody>
                  <a:tcPr marL="91430" marR="91430" marT="45705" marB="4570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1542942">
                <a:tc>
                  <a:txBody>
                    <a:bodyPr/>
                    <a:lstStyle/>
                    <a:p>
                      <a:r>
                        <a:rPr lang="en-US" sz="1800" b="1" dirty="0">
                          <a:solidFill>
                            <a:schemeClr val="tx1"/>
                          </a:solidFill>
                        </a:rPr>
                        <a:t>Contracted Research (All Paid to Institution)</a:t>
                      </a:r>
                    </a:p>
                  </a:txBody>
                  <a:tcPr marL="91430" marR="91430" marT="45705" marB="4570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b="0" dirty="0">
                          <a:solidFill>
                            <a:schemeClr val="tx1"/>
                          </a:solidFill>
                        </a:rPr>
                        <a:t>AbbVie Inc, AstraZeneca Pharmaceuticals LP, Bristol Myers Squibb, Genentech, a member of the Roche Group, Immunome, Janssen Biotech Inc, Loxo Oncology Inc, a wholly owned subsidiary of Eli Lilly &amp; Company, Lyell, Merck</a:t>
                      </a:r>
                    </a:p>
                  </a:txBody>
                  <a:tcPr marL="91430" marR="91430" marT="45705" marB="4570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89786675"/>
                  </a:ext>
                </a:extLst>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7D1D2CE-FC2D-0A64-E5B2-B6AB356DEB35}"/>
              </a:ext>
            </a:extLst>
          </p:cNvPr>
          <p:cNvSpPr>
            <a:spLocks noGrp="1"/>
          </p:cNvSpPr>
          <p:nvPr>
            <p:ph type="title"/>
          </p:nvPr>
        </p:nvSpPr>
        <p:spPr/>
        <p:txBody>
          <a:bodyPr/>
          <a:lstStyle/>
          <a:p>
            <a:pPr algn="ctr"/>
            <a:r>
              <a:rPr lang="en-US" dirty="0"/>
              <a:t>A decade of change: DLBCL circa 2016 </a:t>
            </a:r>
          </a:p>
        </p:txBody>
      </p:sp>
      <p:sp>
        <p:nvSpPr>
          <p:cNvPr id="18" name="Rounded Rectangle 17">
            <a:extLst>
              <a:ext uri="{FF2B5EF4-FFF2-40B4-BE49-F238E27FC236}">
                <a16:creationId xmlns:a16="http://schemas.microsoft.com/office/drawing/2014/main" id="{49748E1D-4430-82E0-1028-C3F5CC717115}"/>
              </a:ext>
            </a:extLst>
          </p:cNvPr>
          <p:cNvSpPr/>
          <p:nvPr/>
        </p:nvSpPr>
        <p:spPr>
          <a:xfrm>
            <a:off x="1677234" y="3942335"/>
            <a:ext cx="3688590" cy="854038"/>
          </a:xfrm>
          <a:prstGeom prst="round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Gill Sans MT" panose="020B0502020104020203" pitchFamily="34" charset="77"/>
                <a:ea typeface="+mn-ea"/>
                <a:cs typeface="+mn-cs"/>
              </a:rPr>
              <a:t>Rituximab +/-Benda/CVP/CHOP x6</a:t>
            </a:r>
          </a:p>
        </p:txBody>
      </p:sp>
      <p:sp>
        <p:nvSpPr>
          <p:cNvPr id="19" name="Rounded Rectangle 18">
            <a:extLst>
              <a:ext uri="{FF2B5EF4-FFF2-40B4-BE49-F238E27FC236}">
                <a16:creationId xmlns:a16="http://schemas.microsoft.com/office/drawing/2014/main" id="{0F44EF7B-F314-1113-A58F-60873DA39FDD}"/>
              </a:ext>
            </a:extLst>
          </p:cNvPr>
          <p:cNvSpPr/>
          <p:nvPr/>
        </p:nvSpPr>
        <p:spPr>
          <a:xfrm>
            <a:off x="5920616" y="3930576"/>
            <a:ext cx="1666352" cy="854110"/>
          </a:xfrm>
          <a:prstGeom prst="round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Gill Sans MT" panose="020B0502020104020203" pitchFamily="34" charset="77"/>
                <a:ea typeface="+mn-ea"/>
                <a:cs typeface="+mn-cs"/>
              </a:rPr>
              <a:t>Platinum CIT +/- AutoHSCT</a:t>
            </a:r>
          </a:p>
        </p:txBody>
      </p:sp>
      <p:sp>
        <p:nvSpPr>
          <p:cNvPr id="20" name="Rounded Rectangle 19">
            <a:extLst>
              <a:ext uri="{FF2B5EF4-FFF2-40B4-BE49-F238E27FC236}">
                <a16:creationId xmlns:a16="http://schemas.microsoft.com/office/drawing/2014/main" id="{C1446E3E-A254-4AC3-1C87-C12134058C44}"/>
              </a:ext>
            </a:extLst>
          </p:cNvPr>
          <p:cNvSpPr/>
          <p:nvPr/>
        </p:nvSpPr>
        <p:spPr>
          <a:xfrm>
            <a:off x="7825992" y="3930576"/>
            <a:ext cx="1666352" cy="854110"/>
          </a:xfrm>
          <a:prstGeom prst="round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Gill Sans MT" panose="020B0502020104020203" pitchFamily="34" charset="77"/>
                <a:ea typeface="+mn-ea"/>
                <a:cs typeface="+mn-cs"/>
              </a:rPr>
              <a:t>CIT +/- AlloHSCT</a:t>
            </a:r>
          </a:p>
        </p:txBody>
      </p:sp>
      <p:cxnSp>
        <p:nvCxnSpPr>
          <p:cNvPr id="21" name="Straight Arrow Connector 20">
            <a:extLst>
              <a:ext uri="{FF2B5EF4-FFF2-40B4-BE49-F238E27FC236}">
                <a16:creationId xmlns:a16="http://schemas.microsoft.com/office/drawing/2014/main" id="{8BCD7FE6-E368-8A32-4679-8D02B2C96CF3}"/>
              </a:ext>
            </a:extLst>
          </p:cNvPr>
          <p:cNvCxnSpPr/>
          <p:nvPr/>
        </p:nvCxnSpPr>
        <p:spPr>
          <a:xfrm>
            <a:off x="5463791" y="4376047"/>
            <a:ext cx="21269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D6D79B2F-71E6-8E96-1A95-4EBA11FFDEA2}"/>
              </a:ext>
            </a:extLst>
          </p:cNvPr>
          <p:cNvCxnSpPr/>
          <p:nvPr/>
        </p:nvCxnSpPr>
        <p:spPr>
          <a:xfrm>
            <a:off x="7521193" y="4369354"/>
            <a:ext cx="21269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B2A96FE2-47E9-5B44-7D94-36865B5B1044}"/>
              </a:ext>
            </a:extLst>
          </p:cNvPr>
          <p:cNvSpPr txBox="1"/>
          <p:nvPr/>
        </p:nvSpPr>
        <p:spPr>
          <a:xfrm>
            <a:off x="3276123" y="3561244"/>
            <a:ext cx="69762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85698"/>
                </a:solidFill>
                <a:effectLst/>
                <a:uLnTx/>
                <a:uFillTx/>
                <a:latin typeface="Arial" panose="020B0604020202020204"/>
                <a:ea typeface="+mn-ea"/>
                <a:cs typeface="+mn-cs"/>
              </a:rPr>
              <a:t>1L/2L</a:t>
            </a:r>
          </a:p>
        </p:txBody>
      </p:sp>
      <p:sp>
        <p:nvSpPr>
          <p:cNvPr id="25" name="TextBox 24">
            <a:extLst>
              <a:ext uri="{FF2B5EF4-FFF2-40B4-BE49-F238E27FC236}">
                <a16:creationId xmlns:a16="http://schemas.microsoft.com/office/drawing/2014/main" id="{9D447459-BBE8-2874-A93E-EBE5A4497917}"/>
              </a:ext>
            </a:extLst>
          </p:cNvPr>
          <p:cNvSpPr txBox="1"/>
          <p:nvPr/>
        </p:nvSpPr>
        <p:spPr>
          <a:xfrm>
            <a:off x="6546844" y="3529433"/>
            <a:ext cx="412292"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85698"/>
                </a:solidFill>
                <a:effectLst/>
                <a:uLnTx/>
                <a:uFillTx/>
                <a:latin typeface="Arial" panose="020B0604020202020204"/>
                <a:ea typeface="+mn-ea"/>
                <a:cs typeface="+mn-cs"/>
              </a:rPr>
              <a:t>3L</a:t>
            </a:r>
          </a:p>
        </p:txBody>
      </p:sp>
      <p:sp>
        <p:nvSpPr>
          <p:cNvPr id="26" name="Rounded Rectangle 25">
            <a:extLst>
              <a:ext uri="{FF2B5EF4-FFF2-40B4-BE49-F238E27FC236}">
                <a16:creationId xmlns:a16="http://schemas.microsoft.com/office/drawing/2014/main" id="{02CA4CC8-D74B-D3E8-D9DC-92E8D5BB7D6D}"/>
              </a:ext>
            </a:extLst>
          </p:cNvPr>
          <p:cNvSpPr/>
          <p:nvPr/>
        </p:nvSpPr>
        <p:spPr>
          <a:xfrm>
            <a:off x="3074794" y="4938791"/>
            <a:ext cx="2291030" cy="854110"/>
          </a:xfrm>
          <a:prstGeom prst="round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Gill Sans MT" panose="020B0502020104020203" pitchFamily="34" charset="77"/>
                <a:ea typeface="+mn-ea"/>
                <a:cs typeface="+mn-cs"/>
              </a:rPr>
              <a:t>Radioimmunotherapy</a:t>
            </a:r>
          </a:p>
        </p:txBody>
      </p:sp>
      <p:sp>
        <p:nvSpPr>
          <p:cNvPr id="27" name="TextBox 26">
            <a:extLst>
              <a:ext uri="{FF2B5EF4-FFF2-40B4-BE49-F238E27FC236}">
                <a16:creationId xmlns:a16="http://schemas.microsoft.com/office/drawing/2014/main" id="{0D1A4779-2DE0-E78A-08E8-730D4E9D7147}"/>
              </a:ext>
            </a:extLst>
          </p:cNvPr>
          <p:cNvSpPr txBox="1"/>
          <p:nvPr/>
        </p:nvSpPr>
        <p:spPr>
          <a:xfrm>
            <a:off x="8384894" y="3534456"/>
            <a:ext cx="532518"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85698"/>
                </a:solidFill>
                <a:effectLst/>
                <a:uLnTx/>
                <a:uFillTx/>
                <a:latin typeface="Arial" panose="020B0604020202020204"/>
                <a:ea typeface="+mn-ea"/>
                <a:cs typeface="+mn-cs"/>
              </a:rPr>
              <a:t>4L+</a:t>
            </a:r>
          </a:p>
        </p:txBody>
      </p:sp>
      <p:sp>
        <p:nvSpPr>
          <p:cNvPr id="28" name="TextBox 27">
            <a:extLst>
              <a:ext uri="{FF2B5EF4-FFF2-40B4-BE49-F238E27FC236}">
                <a16:creationId xmlns:a16="http://schemas.microsoft.com/office/drawing/2014/main" id="{24548F2D-5A32-3F6A-9210-71033F54E608}"/>
              </a:ext>
            </a:extLst>
          </p:cNvPr>
          <p:cNvSpPr txBox="1"/>
          <p:nvPr/>
        </p:nvSpPr>
        <p:spPr>
          <a:xfrm>
            <a:off x="705096" y="4034465"/>
            <a:ext cx="97716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85698"/>
                </a:solidFill>
                <a:effectLst/>
                <a:uLnTx/>
                <a:uFillTx/>
                <a:latin typeface="Gill Sans MT" panose="020B0502020104020203" pitchFamily="34" charset="77"/>
                <a:ea typeface="+mn-ea"/>
                <a:cs typeface="+mn-cs"/>
              </a:rPr>
              <a:t>FL (2014)</a:t>
            </a:r>
          </a:p>
        </p:txBody>
      </p:sp>
      <p:sp>
        <p:nvSpPr>
          <p:cNvPr id="30" name="TextBox 29">
            <a:extLst>
              <a:ext uri="{FF2B5EF4-FFF2-40B4-BE49-F238E27FC236}">
                <a16:creationId xmlns:a16="http://schemas.microsoft.com/office/drawing/2014/main" id="{3D96DEEE-6B11-34CC-644E-439B5C815ABE}"/>
              </a:ext>
            </a:extLst>
          </p:cNvPr>
          <p:cNvSpPr txBox="1"/>
          <p:nvPr/>
        </p:nvSpPr>
        <p:spPr>
          <a:xfrm>
            <a:off x="8100552" y="6459018"/>
            <a:ext cx="2783583"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85698"/>
                </a:solidFill>
                <a:effectLst/>
                <a:uLnTx/>
                <a:uFillTx/>
                <a:latin typeface="Gill Sans MT" panose="020B0502020104020203" pitchFamily="34" charset="77"/>
                <a:ea typeface="+mn-ea"/>
                <a:cs typeface="+mn-cs"/>
              </a:rPr>
              <a:t>Adapted from NCCN Guidelines V1.2016</a:t>
            </a:r>
          </a:p>
        </p:txBody>
      </p:sp>
      <p:sp>
        <p:nvSpPr>
          <p:cNvPr id="2" name="Rounded Rectangle 1">
            <a:extLst>
              <a:ext uri="{FF2B5EF4-FFF2-40B4-BE49-F238E27FC236}">
                <a16:creationId xmlns:a16="http://schemas.microsoft.com/office/drawing/2014/main" id="{5FDE3345-2533-F6DD-A5F9-90BDC38359E1}"/>
              </a:ext>
            </a:extLst>
          </p:cNvPr>
          <p:cNvSpPr/>
          <p:nvPr/>
        </p:nvSpPr>
        <p:spPr>
          <a:xfrm>
            <a:off x="500743" y="3429000"/>
            <a:ext cx="10853057" cy="2772398"/>
          </a:xfrm>
          <a:prstGeom prst="round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 name="Rounded Rectangle 7">
            <a:extLst>
              <a:ext uri="{FF2B5EF4-FFF2-40B4-BE49-F238E27FC236}">
                <a16:creationId xmlns:a16="http://schemas.microsoft.com/office/drawing/2014/main" id="{301CC3F0-CF56-375D-BC81-B29925792F6E}"/>
              </a:ext>
            </a:extLst>
          </p:cNvPr>
          <p:cNvSpPr/>
          <p:nvPr/>
        </p:nvSpPr>
        <p:spPr>
          <a:xfrm>
            <a:off x="1728314" y="2929096"/>
            <a:ext cx="1666351" cy="85411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rPr>
              <a:t>RCHOP x6</a:t>
            </a:r>
          </a:p>
        </p:txBody>
      </p:sp>
      <p:sp>
        <p:nvSpPr>
          <p:cNvPr id="9" name="Rounded Rectangle 8">
            <a:extLst>
              <a:ext uri="{FF2B5EF4-FFF2-40B4-BE49-F238E27FC236}">
                <a16:creationId xmlns:a16="http://schemas.microsoft.com/office/drawing/2014/main" id="{88EB2C6D-9797-17BA-658F-F83EAF8FF81E}"/>
              </a:ext>
            </a:extLst>
          </p:cNvPr>
          <p:cNvSpPr/>
          <p:nvPr/>
        </p:nvSpPr>
        <p:spPr>
          <a:xfrm>
            <a:off x="3811675" y="2929096"/>
            <a:ext cx="1666352" cy="85411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rPr>
              <a:t>Platinum CIT +/- AutoHSCT</a:t>
            </a:r>
          </a:p>
        </p:txBody>
      </p:sp>
      <p:sp>
        <p:nvSpPr>
          <p:cNvPr id="10" name="Rounded Rectangle 9">
            <a:extLst>
              <a:ext uri="{FF2B5EF4-FFF2-40B4-BE49-F238E27FC236}">
                <a16:creationId xmlns:a16="http://schemas.microsoft.com/office/drawing/2014/main" id="{0235079E-FAB2-489B-709C-4BF04C38BAC9}"/>
              </a:ext>
            </a:extLst>
          </p:cNvPr>
          <p:cNvSpPr/>
          <p:nvPr/>
        </p:nvSpPr>
        <p:spPr>
          <a:xfrm>
            <a:off x="5874935" y="2929096"/>
            <a:ext cx="1666352" cy="85411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rPr>
              <a:t>CIT +/- AlloHSCT</a:t>
            </a:r>
          </a:p>
        </p:txBody>
      </p:sp>
      <p:cxnSp>
        <p:nvCxnSpPr>
          <p:cNvPr id="12" name="Straight Arrow Connector 11">
            <a:extLst>
              <a:ext uri="{FF2B5EF4-FFF2-40B4-BE49-F238E27FC236}">
                <a16:creationId xmlns:a16="http://schemas.microsoft.com/office/drawing/2014/main" id="{FCC0044D-2E0B-9A59-36C2-2C838EBBCA08}"/>
              </a:ext>
            </a:extLst>
          </p:cNvPr>
          <p:cNvCxnSpPr/>
          <p:nvPr/>
        </p:nvCxnSpPr>
        <p:spPr>
          <a:xfrm>
            <a:off x="3496825" y="3356151"/>
            <a:ext cx="21269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B309783F-AEC1-A902-072A-93C374E7DB41}"/>
              </a:ext>
            </a:extLst>
          </p:cNvPr>
          <p:cNvCxnSpPr/>
          <p:nvPr/>
        </p:nvCxnSpPr>
        <p:spPr>
          <a:xfrm>
            <a:off x="5570136" y="3367874"/>
            <a:ext cx="21269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3650B7A0-CBFD-4214-8BD0-D8D89B2097FC}"/>
              </a:ext>
            </a:extLst>
          </p:cNvPr>
          <p:cNvSpPr txBox="1"/>
          <p:nvPr/>
        </p:nvSpPr>
        <p:spPr>
          <a:xfrm>
            <a:off x="2354541" y="2559764"/>
            <a:ext cx="412292"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85698"/>
                </a:solidFill>
                <a:effectLst/>
                <a:uLnTx/>
                <a:uFillTx/>
                <a:latin typeface="Arial" panose="020B0604020202020204"/>
                <a:ea typeface="+mn-ea"/>
                <a:cs typeface="+mn-cs"/>
              </a:rPr>
              <a:t>1L</a:t>
            </a:r>
          </a:p>
        </p:txBody>
      </p:sp>
      <p:sp>
        <p:nvSpPr>
          <p:cNvPr id="15" name="TextBox 14">
            <a:extLst>
              <a:ext uri="{FF2B5EF4-FFF2-40B4-BE49-F238E27FC236}">
                <a16:creationId xmlns:a16="http://schemas.microsoft.com/office/drawing/2014/main" id="{7F6FF44E-88FA-512B-E28E-9A297EC5E522}"/>
              </a:ext>
            </a:extLst>
          </p:cNvPr>
          <p:cNvSpPr txBox="1"/>
          <p:nvPr/>
        </p:nvSpPr>
        <p:spPr>
          <a:xfrm>
            <a:off x="4437903" y="2559872"/>
            <a:ext cx="412292"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85698"/>
                </a:solidFill>
                <a:effectLst/>
                <a:uLnTx/>
                <a:uFillTx/>
                <a:latin typeface="Arial" panose="020B0604020202020204"/>
                <a:ea typeface="+mn-ea"/>
                <a:cs typeface="+mn-cs"/>
              </a:rPr>
              <a:t>2L</a:t>
            </a:r>
          </a:p>
        </p:txBody>
      </p:sp>
      <p:sp>
        <p:nvSpPr>
          <p:cNvPr id="16" name="TextBox 15">
            <a:extLst>
              <a:ext uri="{FF2B5EF4-FFF2-40B4-BE49-F238E27FC236}">
                <a16:creationId xmlns:a16="http://schemas.microsoft.com/office/drawing/2014/main" id="{B9D5CDEA-9123-8A67-0844-E7DA4F264AC7}"/>
              </a:ext>
            </a:extLst>
          </p:cNvPr>
          <p:cNvSpPr txBox="1"/>
          <p:nvPr/>
        </p:nvSpPr>
        <p:spPr>
          <a:xfrm>
            <a:off x="6479518" y="2559764"/>
            <a:ext cx="532518"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85698"/>
                </a:solidFill>
                <a:effectLst/>
                <a:uLnTx/>
                <a:uFillTx/>
                <a:latin typeface="Arial" panose="020B0604020202020204"/>
                <a:ea typeface="+mn-ea"/>
                <a:cs typeface="+mn-cs"/>
              </a:rPr>
              <a:t>3L+</a:t>
            </a:r>
          </a:p>
        </p:txBody>
      </p:sp>
      <p:sp>
        <p:nvSpPr>
          <p:cNvPr id="17" name="TextBox 16">
            <a:extLst>
              <a:ext uri="{FF2B5EF4-FFF2-40B4-BE49-F238E27FC236}">
                <a16:creationId xmlns:a16="http://schemas.microsoft.com/office/drawing/2014/main" id="{012B1B5D-B46D-9EB4-710F-8704E1C7BFD8}"/>
              </a:ext>
            </a:extLst>
          </p:cNvPr>
          <p:cNvSpPr txBox="1"/>
          <p:nvPr/>
        </p:nvSpPr>
        <p:spPr>
          <a:xfrm>
            <a:off x="705096" y="3036990"/>
            <a:ext cx="977163"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85698"/>
                </a:solidFill>
                <a:effectLst/>
                <a:uLnTx/>
                <a:uFillTx/>
                <a:latin typeface="Arial" panose="020B0604020202020204"/>
                <a:ea typeface="+mn-ea"/>
                <a:cs typeface="+mn-cs"/>
              </a:rPr>
              <a:t>DLBCL (2014)</a:t>
            </a:r>
          </a:p>
        </p:txBody>
      </p:sp>
      <p:sp>
        <p:nvSpPr>
          <p:cNvPr id="29" name="TextBox 28">
            <a:extLst>
              <a:ext uri="{FF2B5EF4-FFF2-40B4-BE49-F238E27FC236}">
                <a16:creationId xmlns:a16="http://schemas.microsoft.com/office/drawing/2014/main" id="{EC2C3BEA-1093-7C4D-C589-1072E5CE3DC3}"/>
              </a:ext>
            </a:extLst>
          </p:cNvPr>
          <p:cNvSpPr txBox="1"/>
          <p:nvPr/>
        </p:nvSpPr>
        <p:spPr>
          <a:xfrm>
            <a:off x="7975175" y="3160101"/>
            <a:ext cx="3518912"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0000"/>
                </a:solidFill>
                <a:effectLst/>
                <a:uLnTx/>
                <a:uFillTx/>
                <a:latin typeface="Arial" panose="020B0604020202020204"/>
                <a:ea typeface="+mn-ea"/>
                <a:cs typeface="+mn-cs"/>
              </a:rPr>
              <a:t>Limited tools of the trade (R- chemo)</a:t>
            </a:r>
          </a:p>
        </p:txBody>
      </p:sp>
    </p:spTree>
    <p:extLst>
      <p:ext uri="{BB962C8B-B14F-4D97-AF65-F5344CB8AC3E}">
        <p14:creationId xmlns:p14="http://schemas.microsoft.com/office/powerpoint/2010/main" val="345521220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7D1D2CE-FC2D-0A64-E5B2-B6AB356DEB35}"/>
              </a:ext>
            </a:extLst>
          </p:cNvPr>
          <p:cNvSpPr>
            <a:spLocks noGrp="1"/>
          </p:cNvSpPr>
          <p:nvPr>
            <p:ph type="title"/>
          </p:nvPr>
        </p:nvSpPr>
        <p:spPr>
          <a:xfrm>
            <a:off x="838200" y="365126"/>
            <a:ext cx="10515600" cy="671055"/>
          </a:xfrm>
        </p:spPr>
        <p:txBody>
          <a:bodyPr>
            <a:normAutofit/>
          </a:bodyPr>
          <a:lstStyle/>
          <a:p>
            <a:pPr algn="ctr"/>
            <a:r>
              <a:rPr lang="en-US" dirty="0"/>
              <a:t>Lymphoma Circa 2026</a:t>
            </a:r>
          </a:p>
        </p:txBody>
      </p:sp>
      <p:sp>
        <p:nvSpPr>
          <p:cNvPr id="8" name="Rounded Rectangle 7">
            <a:extLst>
              <a:ext uri="{FF2B5EF4-FFF2-40B4-BE49-F238E27FC236}">
                <a16:creationId xmlns:a16="http://schemas.microsoft.com/office/drawing/2014/main" id="{301CC3F0-CF56-375D-BC81-B29925792F6E}"/>
              </a:ext>
            </a:extLst>
          </p:cNvPr>
          <p:cNvSpPr/>
          <p:nvPr/>
        </p:nvSpPr>
        <p:spPr>
          <a:xfrm>
            <a:off x="1115366" y="2039817"/>
            <a:ext cx="1666351" cy="507493"/>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Gill Sans MT" panose="020B0502020104020203" pitchFamily="34" charset="77"/>
                <a:ea typeface="+mn-ea"/>
                <a:cs typeface="+mn-cs"/>
              </a:rPr>
              <a:t>RCHOP x6</a:t>
            </a:r>
          </a:p>
        </p:txBody>
      </p:sp>
      <p:sp>
        <p:nvSpPr>
          <p:cNvPr id="9" name="Rounded Rectangle 8">
            <a:extLst>
              <a:ext uri="{FF2B5EF4-FFF2-40B4-BE49-F238E27FC236}">
                <a16:creationId xmlns:a16="http://schemas.microsoft.com/office/drawing/2014/main" id="{88EB2C6D-9797-17BA-658F-F83EAF8FF81E}"/>
              </a:ext>
            </a:extLst>
          </p:cNvPr>
          <p:cNvSpPr/>
          <p:nvPr/>
        </p:nvSpPr>
        <p:spPr>
          <a:xfrm>
            <a:off x="3201241" y="2039811"/>
            <a:ext cx="1666352" cy="507499"/>
          </a:xfrm>
          <a:prstGeom prst="roundRect">
            <a:avLst/>
          </a:prstGeom>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85698"/>
                </a:solidFill>
                <a:effectLst/>
                <a:uLnTx/>
                <a:uFillTx/>
                <a:latin typeface="Gill Sans MT" panose="020B0502020104020203" pitchFamily="34" charset="77"/>
                <a:ea typeface="+mn-ea"/>
                <a:cs typeface="+mn-cs"/>
              </a:rPr>
              <a:t>CD19 CAR 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85698"/>
                </a:solidFill>
                <a:effectLst/>
                <a:uLnTx/>
                <a:uFillTx/>
                <a:latin typeface="Gill Sans MT" panose="020B0502020104020203" pitchFamily="34" charset="77"/>
                <a:ea typeface="+mn-ea"/>
                <a:cs typeface="+mn-cs"/>
              </a:rPr>
              <a:t>(early relapse)</a:t>
            </a:r>
          </a:p>
        </p:txBody>
      </p:sp>
      <p:sp>
        <p:nvSpPr>
          <p:cNvPr id="10" name="Rounded Rectangle 9">
            <a:extLst>
              <a:ext uri="{FF2B5EF4-FFF2-40B4-BE49-F238E27FC236}">
                <a16:creationId xmlns:a16="http://schemas.microsoft.com/office/drawing/2014/main" id="{0235079E-FAB2-489B-709C-4BF04C38BAC9}"/>
              </a:ext>
            </a:extLst>
          </p:cNvPr>
          <p:cNvSpPr/>
          <p:nvPr/>
        </p:nvSpPr>
        <p:spPr>
          <a:xfrm>
            <a:off x="9944591" y="1823414"/>
            <a:ext cx="1883137" cy="645424"/>
          </a:xfrm>
          <a:prstGeom prst="roundRect">
            <a:avLst/>
          </a:prstGeom>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85698"/>
                </a:solidFill>
                <a:effectLst/>
                <a:uLnTx/>
                <a:uFillTx/>
                <a:latin typeface="Gill Sans MT" panose="020B0502020104020203" pitchFamily="34" charset="77"/>
                <a:ea typeface="+mn-ea"/>
                <a:cs typeface="+mn-cs"/>
              </a:rPr>
              <a:t>CD19 ADC (Lonca-T)</a:t>
            </a:r>
          </a:p>
        </p:txBody>
      </p:sp>
      <p:cxnSp>
        <p:nvCxnSpPr>
          <p:cNvPr id="12" name="Straight Arrow Connector 11">
            <a:extLst>
              <a:ext uri="{FF2B5EF4-FFF2-40B4-BE49-F238E27FC236}">
                <a16:creationId xmlns:a16="http://schemas.microsoft.com/office/drawing/2014/main" id="{FCC0044D-2E0B-9A59-36C2-2C838EBBCA08}"/>
              </a:ext>
            </a:extLst>
          </p:cNvPr>
          <p:cNvCxnSpPr/>
          <p:nvPr/>
        </p:nvCxnSpPr>
        <p:spPr>
          <a:xfrm>
            <a:off x="2863780" y="2572435"/>
            <a:ext cx="21269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B309783F-AEC1-A902-072A-93C374E7DB41}"/>
              </a:ext>
            </a:extLst>
          </p:cNvPr>
          <p:cNvCxnSpPr/>
          <p:nvPr/>
        </p:nvCxnSpPr>
        <p:spPr>
          <a:xfrm>
            <a:off x="10027417" y="3171985"/>
            <a:ext cx="21269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3650B7A0-CBFD-4214-8BD0-D8D89B2097FC}"/>
              </a:ext>
            </a:extLst>
          </p:cNvPr>
          <p:cNvSpPr txBox="1"/>
          <p:nvPr/>
        </p:nvSpPr>
        <p:spPr>
          <a:xfrm>
            <a:off x="1741593" y="1358989"/>
            <a:ext cx="388248"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85698"/>
                </a:solidFill>
                <a:effectLst/>
                <a:uLnTx/>
                <a:uFillTx/>
                <a:latin typeface="Gill Sans MT" panose="020B0502020104020203" pitchFamily="34" charset="77"/>
                <a:ea typeface="+mn-ea"/>
                <a:cs typeface="+mn-cs"/>
              </a:rPr>
              <a:t>1L</a:t>
            </a:r>
          </a:p>
        </p:txBody>
      </p:sp>
      <p:sp>
        <p:nvSpPr>
          <p:cNvPr id="15" name="TextBox 14">
            <a:extLst>
              <a:ext uri="{FF2B5EF4-FFF2-40B4-BE49-F238E27FC236}">
                <a16:creationId xmlns:a16="http://schemas.microsoft.com/office/drawing/2014/main" id="{7F6FF44E-88FA-512B-E28E-9A297EC5E522}"/>
              </a:ext>
            </a:extLst>
          </p:cNvPr>
          <p:cNvSpPr txBox="1"/>
          <p:nvPr/>
        </p:nvSpPr>
        <p:spPr>
          <a:xfrm>
            <a:off x="3195132" y="1231890"/>
            <a:ext cx="1669047" cy="5847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85698"/>
                </a:solidFill>
                <a:effectLst/>
                <a:uLnTx/>
                <a:uFillTx/>
                <a:latin typeface="Gill Sans MT" panose="020B0502020104020203" pitchFamily="34" charset="77"/>
                <a:ea typeface="+mn-ea"/>
                <a:cs typeface="+mn-cs"/>
              </a:rPr>
              <a:t>2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85698"/>
                </a:solidFill>
                <a:effectLst/>
                <a:uLnTx/>
                <a:uFillTx/>
                <a:latin typeface="Gill Sans MT" panose="020B0502020104020203" pitchFamily="34" charset="77"/>
                <a:ea typeface="+mn-ea"/>
                <a:cs typeface="+mn-cs"/>
              </a:rPr>
              <a:t>Transplant Eligible</a:t>
            </a:r>
          </a:p>
        </p:txBody>
      </p:sp>
      <p:sp>
        <p:nvSpPr>
          <p:cNvPr id="16" name="TextBox 15">
            <a:extLst>
              <a:ext uri="{FF2B5EF4-FFF2-40B4-BE49-F238E27FC236}">
                <a16:creationId xmlns:a16="http://schemas.microsoft.com/office/drawing/2014/main" id="{B9D5CDEA-9123-8A67-0844-E7DA4F264AC7}"/>
              </a:ext>
            </a:extLst>
          </p:cNvPr>
          <p:cNvSpPr txBox="1"/>
          <p:nvPr/>
        </p:nvSpPr>
        <p:spPr>
          <a:xfrm>
            <a:off x="9585214" y="1288121"/>
            <a:ext cx="508473"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85698"/>
                </a:solidFill>
                <a:effectLst/>
                <a:uLnTx/>
                <a:uFillTx/>
                <a:latin typeface="Gill Sans MT" panose="020B0502020104020203" pitchFamily="34" charset="77"/>
                <a:ea typeface="+mn-ea"/>
                <a:cs typeface="+mn-cs"/>
              </a:rPr>
              <a:t>3L+</a:t>
            </a:r>
          </a:p>
        </p:txBody>
      </p:sp>
      <p:sp>
        <p:nvSpPr>
          <p:cNvPr id="17" name="TextBox 16">
            <a:extLst>
              <a:ext uri="{FF2B5EF4-FFF2-40B4-BE49-F238E27FC236}">
                <a16:creationId xmlns:a16="http://schemas.microsoft.com/office/drawing/2014/main" id="{012B1B5D-B46D-9EB4-710F-8704E1C7BFD8}"/>
              </a:ext>
            </a:extLst>
          </p:cNvPr>
          <p:cNvSpPr txBox="1"/>
          <p:nvPr/>
        </p:nvSpPr>
        <p:spPr>
          <a:xfrm>
            <a:off x="87123" y="1979527"/>
            <a:ext cx="977163"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85698"/>
                </a:solidFill>
                <a:effectLst/>
                <a:uLnTx/>
                <a:uFillTx/>
                <a:latin typeface="Gill Sans MT" panose="020B0502020104020203" pitchFamily="34" charset="77"/>
                <a:ea typeface="+mn-ea"/>
                <a:cs typeface="+mn-cs"/>
              </a:rPr>
              <a:t>DLBCL (2026)</a:t>
            </a:r>
          </a:p>
        </p:txBody>
      </p:sp>
      <p:sp>
        <p:nvSpPr>
          <p:cNvPr id="2" name="Rounded Rectangle 1">
            <a:extLst>
              <a:ext uri="{FF2B5EF4-FFF2-40B4-BE49-F238E27FC236}">
                <a16:creationId xmlns:a16="http://schemas.microsoft.com/office/drawing/2014/main" id="{BE879CE5-E1A2-23F9-9462-4FC2AD448BDD}"/>
              </a:ext>
            </a:extLst>
          </p:cNvPr>
          <p:cNvSpPr/>
          <p:nvPr/>
        </p:nvSpPr>
        <p:spPr>
          <a:xfrm>
            <a:off x="1115365" y="2674541"/>
            <a:ext cx="1666351" cy="507492"/>
          </a:xfrm>
          <a:prstGeom prst="roundRect">
            <a:avLst/>
          </a:prstGeom>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85698"/>
                </a:solidFill>
                <a:effectLst/>
                <a:uLnTx/>
                <a:uFillTx/>
                <a:latin typeface="Gill Sans MT" panose="020B0502020104020203" pitchFamily="34" charset="77"/>
                <a:ea typeface="+mn-ea"/>
                <a:cs typeface="+mn-cs"/>
              </a:rPr>
              <a:t>Pola-RCHP x6</a:t>
            </a:r>
          </a:p>
        </p:txBody>
      </p:sp>
      <p:sp>
        <p:nvSpPr>
          <p:cNvPr id="4" name="Rounded Rectangle 3">
            <a:extLst>
              <a:ext uri="{FF2B5EF4-FFF2-40B4-BE49-F238E27FC236}">
                <a16:creationId xmlns:a16="http://schemas.microsoft.com/office/drawing/2014/main" id="{9B4C122A-60B7-FA89-BB0E-BEAF34F94343}"/>
              </a:ext>
            </a:extLst>
          </p:cNvPr>
          <p:cNvSpPr/>
          <p:nvPr/>
        </p:nvSpPr>
        <p:spPr>
          <a:xfrm>
            <a:off x="5512348" y="1875673"/>
            <a:ext cx="1804431" cy="507505"/>
          </a:xfrm>
          <a:prstGeom prst="roundRect">
            <a:avLst/>
          </a:prstGeom>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85698"/>
                </a:solidFill>
                <a:effectLst/>
                <a:uLnTx/>
                <a:uFillTx/>
                <a:latin typeface="Gill Sans MT" panose="020B0502020104020203" pitchFamily="34" charset="77"/>
                <a:ea typeface="+mn-ea"/>
                <a:cs typeface="+mn-cs"/>
              </a:rPr>
              <a:t>CD19 CAR 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85698"/>
                </a:solidFill>
                <a:effectLst/>
                <a:uLnTx/>
                <a:uFillTx/>
                <a:latin typeface="Gill Sans MT" panose="020B0502020104020203" pitchFamily="34" charset="77"/>
                <a:ea typeface="+mn-ea"/>
                <a:cs typeface="+mn-cs"/>
              </a:rPr>
              <a:t>(liso-cel)</a:t>
            </a:r>
          </a:p>
        </p:txBody>
      </p:sp>
      <p:sp>
        <p:nvSpPr>
          <p:cNvPr id="5" name="Rounded Rectangle 4">
            <a:extLst>
              <a:ext uri="{FF2B5EF4-FFF2-40B4-BE49-F238E27FC236}">
                <a16:creationId xmlns:a16="http://schemas.microsoft.com/office/drawing/2014/main" id="{BCE5FBEA-2639-75BD-0797-945DED549691}"/>
              </a:ext>
            </a:extLst>
          </p:cNvPr>
          <p:cNvSpPr/>
          <p:nvPr/>
        </p:nvSpPr>
        <p:spPr>
          <a:xfrm>
            <a:off x="3201241" y="2646079"/>
            <a:ext cx="1666351" cy="88932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Gill Sans MT" panose="020B0502020104020203" pitchFamily="34" charset="77"/>
                <a:ea typeface="+mn-ea"/>
                <a:cs typeface="+mn-cs"/>
              </a:rPr>
              <a:t>Platinum CIT +/- AutoHSC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Gill Sans MT" panose="020B0502020104020203" pitchFamily="34" charset="77"/>
                <a:ea typeface="+mn-ea"/>
                <a:cs typeface="+mn-cs"/>
              </a:rPr>
              <a:t>(late relapse)</a:t>
            </a:r>
          </a:p>
        </p:txBody>
      </p:sp>
      <p:sp>
        <p:nvSpPr>
          <p:cNvPr id="11" name="TextBox 10">
            <a:extLst>
              <a:ext uri="{FF2B5EF4-FFF2-40B4-BE49-F238E27FC236}">
                <a16:creationId xmlns:a16="http://schemas.microsoft.com/office/drawing/2014/main" id="{52CCB5C6-F3B5-5DC3-82F3-DA918CB720A5}"/>
              </a:ext>
            </a:extLst>
          </p:cNvPr>
          <p:cNvSpPr txBox="1"/>
          <p:nvPr/>
        </p:nvSpPr>
        <p:spPr>
          <a:xfrm>
            <a:off x="5463688" y="1234708"/>
            <a:ext cx="1818125" cy="5847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85698"/>
                </a:solidFill>
                <a:effectLst/>
                <a:uLnTx/>
                <a:uFillTx/>
                <a:latin typeface="Gill Sans MT" panose="020B0502020104020203" pitchFamily="34" charset="77"/>
                <a:ea typeface="+mn-ea"/>
                <a:cs typeface="+mn-cs"/>
              </a:rPr>
              <a:t>2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85698"/>
                </a:solidFill>
                <a:effectLst/>
                <a:uLnTx/>
                <a:uFillTx/>
                <a:latin typeface="Gill Sans MT" panose="020B0502020104020203" pitchFamily="34" charset="77"/>
                <a:ea typeface="+mn-ea"/>
                <a:cs typeface="+mn-cs"/>
              </a:rPr>
              <a:t>Transplant Ineligible</a:t>
            </a:r>
          </a:p>
        </p:txBody>
      </p:sp>
      <p:sp>
        <p:nvSpPr>
          <p:cNvPr id="24" name="Rounded Rectangle 23">
            <a:extLst>
              <a:ext uri="{FF2B5EF4-FFF2-40B4-BE49-F238E27FC236}">
                <a16:creationId xmlns:a16="http://schemas.microsoft.com/office/drawing/2014/main" id="{EE130267-7730-750E-6199-B8E61DAE24C9}"/>
              </a:ext>
            </a:extLst>
          </p:cNvPr>
          <p:cNvSpPr/>
          <p:nvPr/>
        </p:nvSpPr>
        <p:spPr>
          <a:xfrm>
            <a:off x="5512347" y="2430838"/>
            <a:ext cx="1804432" cy="507505"/>
          </a:xfrm>
          <a:prstGeom prst="roundRect">
            <a:avLst/>
          </a:prstGeom>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85698"/>
                </a:solidFill>
                <a:effectLst/>
                <a:uLnTx/>
                <a:uFillTx/>
                <a:latin typeface="Gill Sans MT" panose="020B0502020104020203" pitchFamily="34" charset="77"/>
                <a:ea typeface="+mn-ea"/>
                <a:cs typeface="+mn-cs"/>
              </a:rPr>
              <a:t>CD19 mAb (tafa) + Lenalidomide</a:t>
            </a:r>
          </a:p>
        </p:txBody>
      </p:sp>
      <p:sp>
        <p:nvSpPr>
          <p:cNvPr id="29" name="Rounded Rectangle 28">
            <a:extLst>
              <a:ext uri="{FF2B5EF4-FFF2-40B4-BE49-F238E27FC236}">
                <a16:creationId xmlns:a16="http://schemas.microsoft.com/office/drawing/2014/main" id="{E3A70EED-B0C2-21B4-5D86-D322E88A3AAA}"/>
              </a:ext>
            </a:extLst>
          </p:cNvPr>
          <p:cNvSpPr/>
          <p:nvPr/>
        </p:nvSpPr>
        <p:spPr>
          <a:xfrm>
            <a:off x="5512347" y="2968917"/>
            <a:ext cx="1804433" cy="507505"/>
          </a:xfrm>
          <a:prstGeom prst="roundRect">
            <a:avLst/>
          </a:prstGeom>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85698"/>
                </a:solidFill>
                <a:effectLst/>
                <a:uLnTx/>
                <a:uFillTx/>
                <a:latin typeface="Gill Sans MT" panose="020B0502020104020203" pitchFamily="34" charset="77"/>
                <a:ea typeface="+mn-ea"/>
                <a:cs typeface="+mn-cs"/>
              </a:rPr>
              <a:t>CD3 x CD20 bsAb  + CIT</a:t>
            </a:r>
          </a:p>
        </p:txBody>
      </p:sp>
      <p:sp>
        <p:nvSpPr>
          <p:cNvPr id="30" name="TextBox 29">
            <a:extLst>
              <a:ext uri="{FF2B5EF4-FFF2-40B4-BE49-F238E27FC236}">
                <a16:creationId xmlns:a16="http://schemas.microsoft.com/office/drawing/2014/main" id="{EFB138C2-302B-37CF-2E78-0083BEC46AE5}"/>
              </a:ext>
            </a:extLst>
          </p:cNvPr>
          <p:cNvSpPr txBox="1"/>
          <p:nvPr/>
        </p:nvSpPr>
        <p:spPr>
          <a:xfrm>
            <a:off x="7265630" y="3103174"/>
            <a:ext cx="269626"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85698"/>
                </a:solidFill>
                <a:effectLst/>
                <a:uLnTx/>
                <a:uFillTx/>
                <a:latin typeface="Gill Sans MT" panose="020B0502020104020203" pitchFamily="34" charset="77"/>
                <a:ea typeface="+mn-ea"/>
                <a:cs typeface="+mn-cs"/>
              </a:rPr>
              <a:t>*</a:t>
            </a:r>
          </a:p>
        </p:txBody>
      </p:sp>
      <p:sp>
        <p:nvSpPr>
          <p:cNvPr id="32" name="TextBox 31">
            <a:extLst>
              <a:ext uri="{FF2B5EF4-FFF2-40B4-BE49-F238E27FC236}">
                <a16:creationId xmlns:a16="http://schemas.microsoft.com/office/drawing/2014/main" id="{63FCCE5B-BF05-9F90-88D7-D66EE432CE23}"/>
              </a:ext>
            </a:extLst>
          </p:cNvPr>
          <p:cNvSpPr txBox="1"/>
          <p:nvPr/>
        </p:nvSpPr>
        <p:spPr>
          <a:xfrm>
            <a:off x="4971578" y="2418301"/>
            <a:ext cx="434734"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85698"/>
                </a:solidFill>
                <a:effectLst/>
                <a:uLnTx/>
                <a:uFillTx/>
                <a:latin typeface="Gill Sans MT" panose="020B0502020104020203" pitchFamily="34" charset="77"/>
                <a:ea typeface="+mn-ea"/>
                <a:cs typeface="+mn-cs"/>
              </a:rPr>
              <a:t>Or</a:t>
            </a:r>
          </a:p>
        </p:txBody>
      </p:sp>
      <p:cxnSp>
        <p:nvCxnSpPr>
          <p:cNvPr id="34" name="Straight Arrow Connector 33">
            <a:extLst>
              <a:ext uri="{FF2B5EF4-FFF2-40B4-BE49-F238E27FC236}">
                <a16:creationId xmlns:a16="http://schemas.microsoft.com/office/drawing/2014/main" id="{D91BC56C-73AA-A41C-36D3-A8A0B06DFB87}"/>
              </a:ext>
            </a:extLst>
          </p:cNvPr>
          <p:cNvCxnSpPr/>
          <p:nvPr/>
        </p:nvCxnSpPr>
        <p:spPr>
          <a:xfrm>
            <a:off x="7487697" y="2604699"/>
            <a:ext cx="21269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Rounded Rectangle 35">
            <a:extLst>
              <a:ext uri="{FF2B5EF4-FFF2-40B4-BE49-F238E27FC236}">
                <a16:creationId xmlns:a16="http://schemas.microsoft.com/office/drawing/2014/main" id="{88182AC6-8281-DFA2-B25D-C5A7DEFD12A7}"/>
              </a:ext>
            </a:extLst>
          </p:cNvPr>
          <p:cNvSpPr/>
          <p:nvPr/>
        </p:nvSpPr>
        <p:spPr>
          <a:xfrm>
            <a:off x="9953609" y="2575713"/>
            <a:ext cx="1874119" cy="911921"/>
          </a:xfrm>
          <a:prstGeom prst="roundRect">
            <a:avLst/>
          </a:prstGeom>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85698"/>
                </a:solidFill>
                <a:effectLst/>
                <a:uLnTx/>
                <a:uFillTx/>
                <a:latin typeface="Gill Sans MT" panose="020B0502020104020203" pitchFamily="34" charset="77"/>
                <a:ea typeface="+mn-ea"/>
                <a:cs typeface="+mn-cs"/>
              </a:rPr>
              <a:t>CD30 ADC (BV) + Lenalidomide-Rituxmab</a:t>
            </a:r>
          </a:p>
        </p:txBody>
      </p:sp>
      <p:sp>
        <p:nvSpPr>
          <p:cNvPr id="38" name="Rounded Rectangle 37">
            <a:extLst>
              <a:ext uri="{FF2B5EF4-FFF2-40B4-BE49-F238E27FC236}">
                <a16:creationId xmlns:a16="http://schemas.microsoft.com/office/drawing/2014/main" id="{01D6881A-BEF4-6413-EBE1-C6F7ECDE8B83}"/>
              </a:ext>
            </a:extLst>
          </p:cNvPr>
          <p:cNvSpPr/>
          <p:nvPr/>
        </p:nvSpPr>
        <p:spPr>
          <a:xfrm>
            <a:off x="7858716" y="1823414"/>
            <a:ext cx="1922896" cy="507505"/>
          </a:xfrm>
          <a:prstGeom prst="roundRect">
            <a:avLst/>
          </a:prstGeom>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85698"/>
                </a:solidFill>
                <a:effectLst/>
                <a:uLnTx/>
                <a:uFillTx/>
                <a:latin typeface="Gill Sans MT" panose="020B0502020104020203" pitchFamily="34" charset="77"/>
                <a:ea typeface="+mn-ea"/>
                <a:cs typeface="+mn-cs"/>
              </a:rPr>
              <a:t>CD19 CAR T</a:t>
            </a:r>
          </a:p>
        </p:txBody>
      </p:sp>
      <p:sp>
        <p:nvSpPr>
          <p:cNvPr id="39" name="Rounded Rectangle 38">
            <a:extLst>
              <a:ext uri="{FF2B5EF4-FFF2-40B4-BE49-F238E27FC236}">
                <a16:creationId xmlns:a16="http://schemas.microsoft.com/office/drawing/2014/main" id="{5AE96FA3-77A4-46A5-D453-78DE5335C436}"/>
              </a:ext>
            </a:extLst>
          </p:cNvPr>
          <p:cNvSpPr/>
          <p:nvPr/>
        </p:nvSpPr>
        <p:spPr>
          <a:xfrm>
            <a:off x="7878595" y="2580775"/>
            <a:ext cx="1883138" cy="616784"/>
          </a:xfrm>
          <a:prstGeom prst="roundRect">
            <a:avLst/>
          </a:prstGeom>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85698"/>
                </a:solidFill>
                <a:effectLst/>
                <a:uLnTx/>
                <a:uFillTx/>
                <a:latin typeface="Gill Sans MT" panose="020B0502020104020203" pitchFamily="34" charset="77"/>
                <a:ea typeface="+mn-ea"/>
                <a:cs typeface="+mn-cs"/>
              </a:rPr>
              <a:t>CD 3 x CD20 bsAb (glofit, epco)</a:t>
            </a:r>
          </a:p>
        </p:txBody>
      </p:sp>
      <p:sp>
        <p:nvSpPr>
          <p:cNvPr id="45" name="TextBox 44">
            <a:extLst>
              <a:ext uri="{FF2B5EF4-FFF2-40B4-BE49-F238E27FC236}">
                <a16:creationId xmlns:a16="http://schemas.microsoft.com/office/drawing/2014/main" id="{479D7EBB-D847-752C-4267-AFD3D0990DA4}"/>
              </a:ext>
            </a:extLst>
          </p:cNvPr>
          <p:cNvSpPr txBox="1"/>
          <p:nvPr/>
        </p:nvSpPr>
        <p:spPr>
          <a:xfrm>
            <a:off x="6528835" y="6492874"/>
            <a:ext cx="3711272"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285698"/>
                </a:solidFill>
                <a:effectLst/>
                <a:uLnTx/>
                <a:uFillTx/>
                <a:latin typeface="Gill Sans MT" panose="020B0502020104020203" pitchFamily="34" charset="77"/>
                <a:ea typeface="+mn-ea"/>
                <a:cs typeface="+mn-cs"/>
              </a:rPr>
              <a:t>Adapted from NCCN Guidelines v 3.2026.  *Not FDA approved</a:t>
            </a:r>
          </a:p>
        </p:txBody>
      </p:sp>
      <p:sp>
        <p:nvSpPr>
          <p:cNvPr id="3" name="Rounded Rectangle 2">
            <a:extLst>
              <a:ext uri="{FF2B5EF4-FFF2-40B4-BE49-F238E27FC236}">
                <a16:creationId xmlns:a16="http://schemas.microsoft.com/office/drawing/2014/main" id="{4FFF5083-6CB7-1A79-A32B-24EA4169C620}"/>
              </a:ext>
            </a:extLst>
          </p:cNvPr>
          <p:cNvSpPr/>
          <p:nvPr/>
        </p:nvSpPr>
        <p:spPr>
          <a:xfrm>
            <a:off x="5512347" y="3535399"/>
            <a:ext cx="1804433" cy="507505"/>
          </a:xfrm>
          <a:prstGeom prst="roundRect">
            <a:avLst/>
          </a:prstGeom>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85698"/>
                </a:solidFill>
                <a:effectLst/>
                <a:uLnTx/>
                <a:uFillTx/>
                <a:latin typeface="Gill Sans MT" panose="020B0502020104020203" pitchFamily="34" charset="77"/>
                <a:ea typeface="+mn-ea"/>
                <a:cs typeface="+mn-cs"/>
              </a:rPr>
              <a:t>Mosun + Pola</a:t>
            </a:r>
          </a:p>
        </p:txBody>
      </p:sp>
      <p:sp>
        <p:nvSpPr>
          <p:cNvPr id="6" name="TextBox 5">
            <a:extLst>
              <a:ext uri="{FF2B5EF4-FFF2-40B4-BE49-F238E27FC236}">
                <a16:creationId xmlns:a16="http://schemas.microsoft.com/office/drawing/2014/main" id="{5D1AEDD5-6306-50BA-9568-1B2732923612}"/>
              </a:ext>
            </a:extLst>
          </p:cNvPr>
          <p:cNvSpPr txBox="1"/>
          <p:nvPr/>
        </p:nvSpPr>
        <p:spPr>
          <a:xfrm>
            <a:off x="7265629" y="3508123"/>
            <a:ext cx="269626"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85698"/>
                </a:solidFill>
                <a:effectLst/>
                <a:uLnTx/>
                <a:uFillTx/>
                <a:latin typeface="Gill Sans MT" panose="020B0502020104020203" pitchFamily="34" charset="77"/>
                <a:ea typeface="+mn-ea"/>
                <a:cs typeface="+mn-cs"/>
              </a:rPr>
              <a:t>*</a:t>
            </a:r>
          </a:p>
        </p:txBody>
      </p:sp>
      <p:sp>
        <p:nvSpPr>
          <p:cNvPr id="27" name="Rounded Rectangle 26">
            <a:extLst>
              <a:ext uri="{FF2B5EF4-FFF2-40B4-BE49-F238E27FC236}">
                <a16:creationId xmlns:a16="http://schemas.microsoft.com/office/drawing/2014/main" id="{2F67BB71-0E2D-0E5F-8B09-5515B431E611}"/>
              </a:ext>
            </a:extLst>
          </p:cNvPr>
          <p:cNvSpPr/>
          <p:nvPr/>
        </p:nvSpPr>
        <p:spPr>
          <a:xfrm>
            <a:off x="5512346" y="4106058"/>
            <a:ext cx="1804433" cy="507505"/>
          </a:xfrm>
          <a:prstGeom prst="roundRect">
            <a:avLst/>
          </a:prstGeom>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85698"/>
                </a:solidFill>
                <a:effectLst/>
                <a:uLnTx/>
                <a:uFillTx/>
                <a:latin typeface="Gill Sans MT" panose="020B0502020104020203" pitchFamily="34" charset="77"/>
                <a:ea typeface="+mn-ea"/>
                <a:cs typeface="+mn-cs"/>
              </a:rPr>
              <a:t>Pola + R+ CIT</a:t>
            </a:r>
          </a:p>
        </p:txBody>
      </p:sp>
      <p:sp>
        <p:nvSpPr>
          <p:cNvPr id="31" name="Rounded Rectangle 30">
            <a:extLst>
              <a:ext uri="{FF2B5EF4-FFF2-40B4-BE49-F238E27FC236}">
                <a16:creationId xmlns:a16="http://schemas.microsoft.com/office/drawing/2014/main" id="{F681E9D7-529D-A582-DB49-616AEE45F9A2}"/>
              </a:ext>
            </a:extLst>
          </p:cNvPr>
          <p:cNvSpPr/>
          <p:nvPr/>
        </p:nvSpPr>
        <p:spPr>
          <a:xfrm>
            <a:off x="5512346" y="4670602"/>
            <a:ext cx="1804433" cy="738556"/>
          </a:xfrm>
          <a:prstGeom prst="roundRect">
            <a:avLst/>
          </a:prstGeom>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85698"/>
                </a:solidFill>
                <a:effectLst/>
                <a:uLnTx/>
                <a:uFillTx/>
                <a:latin typeface="Gill Sans MT" panose="020B0502020104020203" pitchFamily="34" charset="77"/>
                <a:ea typeface="+mn-ea"/>
                <a:cs typeface="+mn-cs"/>
              </a:rPr>
              <a:t>Pola +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85698"/>
                </a:solidFill>
                <a:effectLst/>
                <a:uLnTx/>
                <a:uFillTx/>
                <a:latin typeface="Gill Sans MT" panose="020B0502020104020203" pitchFamily="34" charset="77"/>
                <a:ea typeface="+mn-ea"/>
                <a:cs typeface="+mn-cs"/>
              </a:rPr>
              <a:t>CD 3 x CD20 bsAB (Glofit)</a:t>
            </a:r>
          </a:p>
        </p:txBody>
      </p:sp>
      <p:sp>
        <p:nvSpPr>
          <p:cNvPr id="33" name="TextBox 32">
            <a:extLst>
              <a:ext uri="{FF2B5EF4-FFF2-40B4-BE49-F238E27FC236}">
                <a16:creationId xmlns:a16="http://schemas.microsoft.com/office/drawing/2014/main" id="{5BC49D37-452E-FC8B-4F48-C9ED069930F7}"/>
              </a:ext>
            </a:extLst>
          </p:cNvPr>
          <p:cNvSpPr txBox="1"/>
          <p:nvPr/>
        </p:nvSpPr>
        <p:spPr>
          <a:xfrm>
            <a:off x="7301707" y="4173218"/>
            <a:ext cx="269626"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85698"/>
                </a:solidFill>
                <a:effectLst/>
                <a:uLnTx/>
                <a:uFillTx/>
                <a:latin typeface="Gill Sans MT" panose="020B0502020104020203" pitchFamily="34" charset="77"/>
                <a:ea typeface="+mn-ea"/>
                <a:cs typeface="+mn-cs"/>
              </a:rPr>
              <a:t>*</a:t>
            </a:r>
          </a:p>
        </p:txBody>
      </p:sp>
      <p:sp>
        <p:nvSpPr>
          <p:cNvPr id="37" name="TextBox 36">
            <a:extLst>
              <a:ext uri="{FF2B5EF4-FFF2-40B4-BE49-F238E27FC236}">
                <a16:creationId xmlns:a16="http://schemas.microsoft.com/office/drawing/2014/main" id="{F39F9485-3351-FFAA-930E-A8FDAEBF500A}"/>
              </a:ext>
            </a:extLst>
          </p:cNvPr>
          <p:cNvSpPr txBox="1"/>
          <p:nvPr/>
        </p:nvSpPr>
        <p:spPr>
          <a:xfrm>
            <a:off x="7301707" y="4741897"/>
            <a:ext cx="269626"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85698"/>
                </a:solidFill>
                <a:effectLst/>
                <a:uLnTx/>
                <a:uFillTx/>
                <a:latin typeface="Gill Sans MT" panose="020B0502020104020203" pitchFamily="34" charset="77"/>
                <a:ea typeface="+mn-ea"/>
                <a:cs typeface="+mn-cs"/>
              </a:rPr>
              <a:t>*</a:t>
            </a:r>
          </a:p>
        </p:txBody>
      </p:sp>
      <p:sp>
        <p:nvSpPr>
          <p:cNvPr id="40" name="TextBox 39">
            <a:extLst>
              <a:ext uri="{FF2B5EF4-FFF2-40B4-BE49-F238E27FC236}">
                <a16:creationId xmlns:a16="http://schemas.microsoft.com/office/drawing/2014/main" id="{F9457681-ECDF-4647-18F9-63CA4EA30860}"/>
              </a:ext>
            </a:extLst>
          </p:cNvPr>
          <p:cNvSpPr txBox="1"/>
          <p:nvPr/>
        </p:nvSpPr>
        <p:spPr>
          <a:xfrm>
            <a:off x="838200" y="4741897"/>
            <a:ext cx="343555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85698"/>
                </a:solidFill>
                <a:effectLst/>
                <a:uLnTx/>
                <a:uFillTx/>
                <a:latin typeface="Arial" panose="020B0604020202020204"/>
                <a:ea typeface="+mn-ea"/>
                <a:cs typeface="+mn-cs"/>
              </a:rPr>
              <a:t>Numerous BsAb combos in 2L+</a:t>
            </a:r>
          </a:p>
        </p:txBody>
      </p:sp>
    </p:spTree>
    <p:extLst>
      <p:ext uri="{BB962C8B-B14F-4D97-AF65-F5344CB8AC3E}">
        <p14:creationId xmlns:p14="http://schemas.microsoft.com/office/powerpoint/2010/main" val="315950819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0"/>
            <a:ext cx="6095847" cy="6857828"/>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 name="TextBox 3"/>
          <p:cNvSpPr txBox="1"/>
          <p:nvPr/>
        </p:nvSpPr>
        <p:spPr>
          <a:xfrm>
            <a:off x="255733" y="6575796"/>
            <a:ext cx="5584379" cy="166520"/>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82" b="0" i="0" u="none" strike="noStrike" kern="1200" cap="none" spc="0" normalizeH="0" baseline="0" noProof="0" dirty="0">
                <a:ln>
                  <a:noFill/>
                </a:ln>
                <a:solidFill>
                  <a:srgbClr val="637592"/>
                </a:solidFill>
                <a:effectLst/>
                <a:uLnTx/>
                <a:uFillTx/>
                <a:latin typeface="Times New Roman"/>
                <a:ea typeface="+mn-ea"/>
                <a:cs typeface="+mn-cs"/>
              </a:rPr>
              <a:t>Minson A &amp; Dickinson M, Haematologica 2025</a:t>
            </a:r>
            <a:endParaRPr kumimoji="0" lang="en-US" sz="1082" b="0" i="0" u="none" strike="noStrike" kern="1200" cap="none" spc="0" normalizeH="0" baseline="0" noProof="0" dirty="0">
              <a:ln>
                <a:noFill/>
              </a:ln>
              <a:solidFill>
                <a:srgbClr val="637592"/>
              </a:solidFill>
              <a:effectLst/>
              <a:uLnTx/>
              <a:uFillTx/>
              <a:latin typeface="Times New Roman"/>
              <a:ea typeface="+mn-ea"/>
              <a:cs typeface="+mn-cs"/>
              <a:hlinkClick r:id="rId2" tooltip="New bispecific antibodies in diffuse large B-cell lym..."/>
            </a:endParaRPr>
          </a:p>
        </p:txBody>
      </p:sp>
      <p:sp>
        <p:nvSpPr>
          <p:cNvPr id="5" name="TextBox 4"/>
          <p:cNvSpPr txBox="1"/>
          <p:nvPr/>
        </p:nvSpPr>
        <p:spPr>
          <a:xfrm>
            <a:off x="1898976" y="282032"/>
            <a:ext cx="9073823" cy="361766"/>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351" b="1" i="0" u="none" strike="noStrike" kern="1200" cap="none" spc="0" normalizeH="0" baseline="0" noProof="0" dirty="0">
                <a:ln>
                  <a:noFill/>
                </a:ln>
                <a:solidFill>
                  <a:srgbClr val="285698"/>
                </a:solidFill>
                <a:effectLst/>
                <a:uLnTx/>
                <a:uFillTx/>
                <a:latin typeface="Arial"/>
                <a:ea typeface="+mn-ea"/>
                <a:cs typeface="+mn-cs"/>
              </a:rPr>
              <a:t>DLBCL Treatment Landscape Transformed by Bispecifics</a:t>
            </a:r>
          </a:p>
        </p:txBody>
      </p:sp>
      <p:sp>
        <p:nvSpPr>
          <p:cNvPr id="6" name="TextBox 5"/>
          <p:cNvSpPr txBox="1"/>
          <p:nvPr/>
        </p:nvSpPr>
        <p:spPr>
          <a:xfrm>
            <a:off x="5638658" y="1735245"/>
            <a:ext cx="6313415" cy="3541226"/>
          </a:xfrm>
          <a:prstGeom prst="rect">
            <a:avLst/>
          </a:prstGeom>
          <a:noFill/>
        </p:spPr>
        <p:txBody>
          <a:bodyPr wrap="square" lIns="0" tIns="0" rIns="0" bIns="0">
            <a:spAutoFit/>
          </a:bodyPr>
          <a:lstStyle/>
          <a:p>
            <a:pPr marL="190495" marR="0" lvl="0" indent="-190495" algn="l" defTabSz="914400" rtl="0" eaLnBrk="1" fontAlgn="auto" latinLnBrk="0" hangingPunct="1">
              <a:lnSpc>
                <a:spcPts val="2028"/>
              </a:lnSpc>
              <a:spcBef>
                <a:spcPts val="1200"/>
              </a:spcBef>
              <a:spcAft>
                <a:spcPts val="0"/>
              </a:spcAft>
              <a:buClr>
                <a:srgbClr val="0089CA"/>
              </a:buClr>
              <a:buSzPct val="100000"/>
              <a:buFont typeface="Arial" charset="0"/>
              <a:buChar char="●"/>
              <a:tabLst/>
              <a:defRPr/>
            </a:pPr>
            <a:r>
              <a:rPr kumimoji="0" lang="en-US" sz="1600" b="0" i="0" u="none" strike="noStrike" kern="1200" cap="none" spc="0" normalizeH="0" baseline="0" noProof="0" dirty="0">
                <a:ln>
                  <a:noFill/>
                </a:ln>
                <a:solidFill>
                  <a:srgbClr val="637592"/>
                </a:solidFill>
                <a:effectLst/>
                <a:uLnTx/>
                <a:uFillTx/>
                <a:latin typeface="Arial" panose="020B0604020202020204"/>
                <a:ea typeface="+mn-ea"/>
                <a:cs typeface="Calibri" panose="020F0502020204030204" pitchFamily="34" charset="0"/>
              </a:rPr>
              <a:t>Epcoritamab and glofitamab approved globally for DLBCL in 3L+</a:t>
            </a:r>
          </a:p>
          <a:p>
            <a:pPr marL="190495" marR="0" lvl="0" indent="-190495" algn="l" defTabSz="914400" rtl="0" eaLnBrk="1" fontAlgn="auto" latinLnBrk="0" hangingPunct="1">
              <a:lnSpc>
                <a:spcPts val="2028"/>
              </a:lnSpc>
              <a:spcBef>
                <a:spcPts val="1200"/>
              </a:spcBef>
              <a:spcAft>
                <a:spcPts val="0"/>
              </a:spcAft>
              <a:buClr>
                <a:srgbClr val="0089CA"/>
              </a:buClr>
              <a:buSzPct val="100000"/>
              <a:buFont typeface="Arial" charset="0"/>
              <a:buChar char="●"/>
              <a:tabLst/>
              <a:defRPr/>
            </a:pPr>
            <a:endParaRPr kumimoji="0" lang="en-US" sz="1600" b="0" i="0" u="none" strike="noStrike" kern="1200" cap="none" spc="0" normalizeH="0" baseline="0" noProof="0" dirty="0">
              <a:ln>
                <a:noFill/>
              </a:ln>
              <a:solidFill>
                <a:srgbClr val="637592"/>
              </a:solidFill>
              <a:effectLst/>
              <a:uLnTx/>
              <a:uFillTx/>
              <a:latin typeface="Arial" panose="020B0604020202020204"/>
              <a:ea typeface="+mn-ea"/>
              <a:cs typeface="Calibri" panose="020F0502020204030204" pitchFamily="34" charset="0"/>
            </a:endParaRPr>
          </a:p>
          <a:p>
            <a:pPr marL="190495" marR="0" lvl="0" indent="-190495" algn="l" defTabSz="914400" rtl="0" eaLnBrk="1" fontAlgn="auto" latinLnBrk="0" hangingPunct="1">
              <a:lnSpc>
                <a:spcPts val="1367"/>
              </a:lnSpc>
              <a:spcBef>
                <a:spcPts val="1200"/>
              </a:spcBef>
              <a:spcAft>
                <a:spcPts val="0"/>
              </a:spcAft>
              <a:buClr>
                <a:srgbClr val="0089CA"/>
              </a:buClr>
              <a:buSzPct val="100000"/>
              <a:buFont typeface="Arial" charset="0"/>
              <a:buChar char="●"/>
              <a:tabLst/>
              <a:defRPr/>
            </a:pPr>
            <a:r>
              <a:rPr kumimoji="0" lang="en-US" sz="1600" b="0" i="0" u="none" strike="noStrike" kern="1200" cap="none" spc="0" normalizeH="0" baseline="0" noProof="0" dirty="0">
                <a:ln>
                  <a:noFill/>
                </a:ln>
                <a:solidFill>
                  <a:srgbClr val="637592"/>
                </a:solidFill>
                <a:effectLst/>
                <a:uLnTx/>
                <a:uFillTx/>
                <a:latin typeface="Arial" panose="020B0604020202020204"/>
                <a:ea typeface="+mn-ea"/>
                <a:cs typeface="Calibri" panose="020F0502020204030204" pitchFamily="34" charset="0"/>
              </a:rPr>
              <a:t>Odronextamab  received European approval in 3L+</a:t>
            </a:r>
          </a:p>
          <a:p>
            <a:pPr marL="190495" marR="0" lvl="0" indent="-190495" algn="l" defTabSz="914400" rtl="0" eaLnBrk="1" fontAlgn="auto" latinLnBrk="0" hangingPunct="1">
              <a:lnSpc>
                <a:spcPts val="1367"/>
              </a:lnSpc>
              <a:spcBef>
                <a:spcPts val="1200"/>
              </a:spcBef>
              <a:spcAft>
                <a:spcPts val="0"/>
              </a:spcAft>
              <a:buClr>
                <a:srgbClr val="0089CA"/>
              </a:buClr>
              <a:buSzPct val="100000"/>
              <a:buFont typeface="Arial" charset="0"/>
              <a:buChar char="●"/>
              <a:tabLst/>
              <a:defRPr/>
            </a:pPr>
            <a:endParaRPr kumimoji="0" lang="en-US" sz="1600" b="0" i="0" u="none" strike="noStrike" kern="1200" cap="none" spc="0" normalizeH="0" baseline="0" noProof="0" dirty="0">
              <a:ln>
                <a:noFill/>
              </a:ln>
              <a:solidFill>
                <a:srgbClr val="637592"/>
              </a:solidFill>
              <a:effectLst/>
              <a:uLnTx/>
              <a:uFillTx/>
              <a:latin typeface="Arial" panose="020B0604020202020204"/>
              <a:ea typeface="+mn-ea"/>
              <a:cs typeface="Calibri" panose="020F0502020204030204" pitchFamily="34" charset="0"/>
              <a:hlinkClick r:id="rId2" tooltip="New bispecific antibodies in diffuse large B-cell lym...">
                <a:extLst>
                  <a:ext uri="{A12FA001-AC4F-418D-AE19-62706E023703}">
                    <ahyp:hlinkClr xmlns:ahyp="http://schemas.microsoft.com/office/drawing/2018/hyperlinkcolor" val="tx"/>
                  </a:ext>
                </a:extLst>
              </a:hlinkClick>
            </a:endParaRPr>
          </a:p>
          <a:p>
            <a:pPr marL="190495" marR="0" lvl="0" indent="-190495" algn="l" defTabSz="914400" rtl="0" eaLnBrk="1" fontAlgn="auto" latinLnBrk="0" hangingPunct="1">
              <a:lnSpc>
                <a:spcPts val="1367"/>
              </a:lnSpc>
              <a:spcBef>
                <a:spcPts val="1200"/>
              </a:spcBef>
              <a:spcAft>
                <a:spcPts val="0"/>
              </a:spcAft>
              <a:buClr>
                <a:srgbClr val="0089CA"/>
              </a:buClr>
              <a:buSzPct val="100000"/>
              <a:buFont typeface="Arial" charset="0"/>
              <a:buChar char="●"/>
              <a:tabLst/>
              <a:defRPr/>
            </a:pPr>
            <a:r>
              <a:rPr kumimoji="0" lang="en-US" sz="1600" b="0" i="0" u="none" strike="noStrike" kern="1200" cap="none" spc="0" normalizeH="0" baseline="0" noProof="0" dirty="0">
                <a:ln>
                  <a:noFill/>
                </a:ln>
                <a:solidFill>
                  <a:srgbClr val="637592"/>
                </a:solidFill>
                <a:effectLst/>
                <a:uLnTx/>
                <a:uFillTx/>
                <a:latin typeface="Arial" panose="020B0604020202020204"/>
                <a:ea typeface="+mn-ea"/>
                <a:cs typeface="Calibri" panose="020F0502020204030204" pitchFamily="34" charset="0"/>
              </a:rPr>
              <a:t>Mosunetuzumab developed as combination partner with antibody-drug conjugates</a:t>
            </a:r>
          </a:p>
          <a:p>
            <a:pPr marL="190495" marR="0" lvl="0" indent="-190495" algn="l" defTabSz="914400" rtl="0" eaLnBrk="1" fontAlgn="auto" latinLnBrk="0" hangingPunct="1">
              <a:lnSpc>
                <a:spcPts val="1367"/>
              </a:lnSpc>
              <a:spcBef>
                <a:spcPts val="1200"/>
              </a:spcBef>
              <a:spcAft>
                <a:spcPts val="0"/>
              </a:spcAft>
              <a:buClr>
                <a:srgbClr val="0089CA"/>
              </a:buClr>
              <a:buSzPct val="100000"/>
              <a:buFont typeface="Arial" charset="0"/>
              <a:buChar char="●"/>
              <a:tabLst/>
              <a:defRPr/>
            </a:pPr>
            <a:endParaRPr kumimoji="0" lang="en-US" sz="1600" b="0" i="0" u="none" strike="noStrike" kern="1200" cap="none" spc="0" normalizeH="0" baseline="0" noProof="0" dirty="0">
              <a:ln>
                <a:noFill/>
              </a:ln>
              <a:solidFill>
                <a:srgbClr val="637592"/>
              </a:solidFill>
              <a:effectLst/>
              <a:uLnTx/>
              <a:uFillTx/>
              <a:latin typeface="Arial" panose="020B0604020202020204"/>
              <a:ea typeface="+mn-ea"/>
              <a:cs typeface="Calibri" panose="020F0502020204030204" pitchFamily="34" charset="0"/>
            </a:endParaRPr>
          </a:p>
          <a:p>
            <a:pPr marL="190495" marR="0" lvl="0" indent="-190495" algn="l" defTabSz="914400" rtl="0" eaLnBrk="1" fontAlgn="auto" latinLnBrk="0" hangingPunct="1">
              <a:lnSpc>
                <a:spcPts val="1367"/>
              </a:lnSpc>
              <a:spcBef>
                <a:spcPts val="1200"/>
              </a:spcBef>
              <a:spcAft>
                <a:spcPts val="0"/>
              </a:spcAft>
              <a:buClr>
                <a:srgbClr val="0089CA"/>
              </a:buClr>
              <a:buSzPct val="100000"/>
              <a:buFont typeface="Arial" charset="0"/>
              <a:buChar char="●"/>
              <a:tabLst/>
              <a:defRPr/>
            </a:pPr>
            <a:r>
              <a:rPr kumimoji="0" lang="en-US" sz="1600" b="0" i="0" u="none" strike="noStrike" kern="1200" cap="none" spc="0" normalizeH="0" baseline="0" noProof="0" dirty="0">
                <a:ln>
                  <a:noFill/>
                </a:ln>
                <a:solidFill>
                  <a:srgbClr val="637592"/>
                </a:solidFill>
                <a:effectLst/>
                <a:uLnTx/>
                <a:uFillTx/>
                <a:latin typeface="Arial" panose="020B0604020202020204"/>
                <a:ea typeface="+mn-ea"/>
                <a:cs typeface="Calibri" panose="020F0502020204030204" pitchFamily="34" charset="0"/>
              </a:rPr>
              <a:t>BsAb offer off-the-shelf immunotherapies that can be administered in community settings</a:t>
            </a:r>
          </a:p>
          <a:p>
            <a:pPr marL="190495" marR="0" lvl="0" indent="-190495" algn="l" defTabSz="914400" rtl="0" eaLnBrk="1" fontAlgn="auto" latinLnBrk="0" hangingPunct="1">
              <a:lnSpc>
                <a:spcPts val="1367"/>
              </a:lnSpc>
              <a:spcBef>
                <a:spcPts val="1200"/>
              </a:spcBef>
              <a:spcAft>
                <a:spcPts val="0"/>
              </a:spcAft>
              <a:buClr>
                <a:srgbClr val="0089CA"/>
              </a:buClr>
              <a:buSzPct val="100000"/>
              <a:buFont typeface="Arial" charset="0"/>
              <a:buChar char="●"/>
              <a:tabLst/>
              <a:defRPr/>
            </a:pPr>
            <a:endParaRPr kumimoji="0" lang="en-US" sz="1600" b="0" i="0" u="none" strike="noStrike" kern="1200" cap="none" spc="0" normalizeH="0" baseline="0" noProof="0" dirty="0">
              <a:ln>
                <a:noFill/>
              </a:ln>
              <a:solidFill>
                <a:srgbClr val="637592"/>
              </a:solidFill>
              <a:effectLst/>
              <a:uLnTx/>
              <a:uFillTx/>
              <a:latin typeface="Arial" panose="020B0604020202020204"/>
              <a:ea typeface="+mn-ea"/>
              <a:cs typeface="Calibri" panose="020F0502020204030204" pitchFamily="34" charset="0"/>
            </a:endParaRPr>
          </a:p>
          <a:p>
            <a:pPr marL="190495" marR="0" lvl="0" indent="-190495" algn="l" defTabSz="914400" rtl="0" eaLnBrk="1" fontAlgn="auto" latinLnBrk="0" hangingPunct="1">
              <a:lnSpc>
                <a:spcPts val="1367"/>
              </a:lnSpc>
              <a:spcBef>
                <a:spcPts val="1200"/>
              </a:spcBef>
              <a:spcAft>
                <a:spcPts val="0"/>
              </a:spcAft>
              <a:buClr>
                <a:srgbClr val="0089CA"/>
              </a:buClr>
              <a:buSzPct val="100000"/>
              <a:buFont typeface="Arial" charset="0"/>
              <a:buChar char="●"/>
              <a:tabLst/>
              <a:defRPr/>
            </a:pPr>
            <a:r>
              <a:rPr kumimoji="0" lang="en-US" sz="1600" b="0" i="0" u="none" strike="noStrike" kern="1200" cap="none" spc="0" normalizeH="0" baseline="0" noProof="0" dirty="0">
                <a:ln>
                  <a:noFill/>
                </a:ln>
                <a:solidFill>
                  <a:srgbClr val="637592"/>
                </a:solidFill>
                <a:effectLst/>
                <a:uLnTx/>
                <a:uFillTx/>
                <a:latin typeface="Arial" panose="020B0604020202020204"/>
                <a:ea typeface="+mn-ea"/>
                <a:cs typeface="Calibri" panose="020F0502020204030204" pitchFamily="34" charset="0"/>
              </a:rPr>
              <a:t>Potentially help to offset accessibility challenges of CAR-T, where CAR-T access is not feasible</a:t>
            </a:r>
          </a:p>
        </p:txBody>
      </p:sp>
      <p:graphicFrame>
        <p:nvGraphicFramePr>
          <p:cNvPr id="3" name="Chart 2"/>
          <p:cNvGraphicFramePr>
            <a:graphicFrameLocks noGrp="1"/>
          </p:cNvGraphicFramePr>
          <p:nvPr/>
        </p:nvGraphicFramePr>
        <p:xfrm>
          <a:off x="239927" y="930168"/>
          <a:ext cx="4832816" cy="5645628"/>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2"/>
          <p:cNvSpPr/>
          <p:nvPr/>
        </p:nvSpPr>
        <p:spPr>
          <a:xfrm>
            <a:off x="304800" y="1572225"/>
            <a:ext cx="4876800" cy="781794"/>
          </a:xfrm>
          <a:prstGeom prst="roundRect">
            <a:avLst>
              <a:gd name="adj" fmla="val 9746"/>
            </a:avLst>
          </a:prstGeom>
          <a:solidFill>
            <a:srgbClr val="E8F4F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4" name="Picture 3" descr="image.png"/>
          <p:cNvPicPr>
            <a:picLocks noChangeAspect="1"/>
          </p:cNvPicPr>
          <p:nvPr/>
        </p:nvPicPr>
        <p:blipFill>
          <a:blip r:embed="rId2"/>
          <a:stretch>
            <a:fillRect/>
          </a:stretch>
        </p:blipFill>
        <p:spPr>
          <a:xfrm>
            <a:off x="2552636" y="2430170"/>
            <a:ext cx="380990" cy="190495"/>
          </a:xfrm>
          <a:prstGeom prst="rect">
            <a:avLst/>
          </a:prstGeom>
        </p:spPr>
      </p:pic>
      <p:sp>
        <p:nvSpPr>
          <p:cNvPr id="5" name="Rounded Rectangle 4"/>
          <p:cNvSpPr/>
          <p:nvPr/>
        </p:nvSpPr>
        <p:spPr>
          <a:xfrm>
            <a:off x="304800" y="2849319"/>
            <a:ext cx="4876800" cy="781794"/>
          </a:xfrm>
          <a:prstGeom prst="roundRect">
            <a:avLst>
              <a:gd name="adj" fmla="val 9746"/>
            </a:avLst>
          </a:prstGeom>
          <a:solidFill>
            <a:srgbClr val="E8F4F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6" name="Picture 5" descr="image.png"/>
          <p:cNvPicPr>
            <a:picLocks noChangeAspect="1"/>
          </p:cNvPicPr>
          <p:nvPr/>
        </p:nvPicPr>
        <p:blipFill>
          <a:blip r:embed="rId3"/>
          <a:stretch>
            <a:fillRect/>
          </a:stretch>
        </p:blipFill>
        <p:spPr>
          <a:xfrm>
            <a:off x="2552636" y="3707232"/>
            <a:ext cx="380990" cy="190495"/>
          </a:xfrm>
          <a:prstGeom prst="rect">
            <a:avLst/>
          </a:prstGeom>
        </p:spPr>
      </p:pic>
      <p:sp>
        <p:nvSpPr>
          <p:cNvPr id="7" name="Rounded Rectangle 6"/>
          <p:cNvSpPr/>
          <p:nvPr/>
        </p:nvSpPr>
        <p:spPr>
          <a:xfrm>
            <a:off x="304800" y="4126413"/>
            <a:ext cx="4876800" cy="781794"/>
          </a:xfrm>
          <a:prstGeom prst="roundRect">
            <a:avLst>
              <a:gd name="adj" fmla="val 9746"/>
            </a:avLst>
          </a:prstGeom>
          <a:solidFill>
            <a:srgbClr val="E8F4F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8" name="Picture 7" descr="image.png"/>
          <p:cNvPicPr>
            <a:picLocks noChangeAspect="1"/>
          </p:cNvPicPr>
          <p:nvPr/>
        </p:nvPicPr>
        <p:blipFill>
          <a:blip r:embed="rId4"/>
          <a:stretch>
            <a:fillRect/>
          </a:stretch>
        </p:blipFill>
        <p:spPr>
          <a:xfrm>
            <a:off x="2552636" y="4984294"/>
            <a:ext cx="380990" cy="190495"/>
          </a:xfrm>
          <a:prstGeom prst="rect">
            <a:avLst/>
          </a:prstGeom>
        </p:spPr>
      </p:pic>
      <p:sp>
        <p:nvSpPr>
          <p:cNvPr id="9" name="Rounded Rectangle 8"/>
          <p:cNvSpPr/>
          <p:nvPr/>
        </p:nvSpPr>
        <p:spPr>
          <a:xfrm>
            <a:off x="304800" y="5403508"/>
            <a:ext cx="4876800" cy="781794"/>
          </a:xfrm>
          <a:prstGeom prst="roundRect">
            <a:avLst>
              <a:gd name="adj" fmla="val 9746"/>
            </a:avLst>
          </a:prstGeom>
          <a:solidFill>
            <a:srgbClr val="E8F4F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 name="TextBox 9"/>
          <p:cNvSpPr txBox="1"/>
          <p:nvPr/>
        </p:nvSpPr>
        <p:spPr>
          <a:xfrm>
            <a:off x="487548" y="1724593"/>
            <a:ext cx="737127" cy="219069"/>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27" b="1" i="0" u="none" strike="noStrike" kern="1200" cap="none" spc="0" normalizeH="0" baseline="0" noProof="0" dirty="0">
                <a:ln>
                  <a:noFill/>
                </a:ln>
                <a:solidFill>
                  <a:srgbClr val="0C233F"/>
                </a:solidFill>
                <a:effectLst/>
                <a:uLnTx/>
                <a:uFillTx/>
                <a:latin typeface="Arial"/>
                <a:ea typeface="+mn-ea"/>
                <a:cs typeface="+mn-cs"/>
              </a:rPr>
              <a:t>Binding</a:t>
            </a:r>
          </a:p>
        </p:txBody>
      </p:sp>
      <p:sp>
        <p:nvSpPr>
          <p:cNvPr id="11" name="TextBox 10"/>
          <p:cNvSpPr txBox="1"/>
          <p:nvPr/>
        </p:nvSpPr>
        <p:spPr>
          <a:xfrm>
            <a:off x="487548" y="2017926"/>
            <a:ext cx="3748440" cy="161920"/>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srgbClr val="0C233F"/>
                </a:solidFill>
                <a:effectLst/>
                <a:uLnTx/>
                <a:uFillTx/>
                <a:latin typeface="Microsoft YaHei"/>
                <a:ea typeface="+mn-ea"/>
                <a:cs typeface="+mn-cs"/>
              </a:rPr>
              <a:t>CD20×CD3 bispecific antibody binds both tumor and T-cell</a:t>
            </a:r>
          </a:p>
        </p:txBody>
      </p:sp>
      <p:sp>
        <p:nvSpPr>
          <p:cNvPr id="12" name="TextBox 11"/>
          <p:cNvSpPr txBox="1"/>
          <p:nvPr/>
        </p:nvSpPr>
        <p:spPr>
          <a:xfrm>
            <a:off x="487548" y="3001656"/>
            <a:ext cx="957685" cy="219069"/>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27" b="1" i="0" u="none" strike="noStrike" kern="1200" cap="none" spc="0" normalizeH="0" baseline="0" noProof="0" dirty="0">
                <a:ln>
                  <a:noFill/>
                </a:ln>
                <a:solidFill>
                  <a:srgbClr val="0C233F"/>
                </a:solidFill>
                <a:effectLst/>
                <a:uLnTx/>
                <a:uFillTx/>
                <a:latin typeface="Arial"/>
                <a:ea typeface="+mn-ea"/>
                <a:cs typeface="+mn-cs"/>
              </a:rPr>
              <a:t>Activation</a:t>
            </a:r>
          </a:p>
        </p:txBody>
      </p:sp>
      <p:sp>
        <p:nvSpPr>
          <p:cNvPr id="13" name="TextBox 12"/>
          <p:cNvSpPr txBox="1"/>
          <p:nvPr/>
        </p:nvSpPr>
        <p:spPr>
          <a:xfrm>
            <a:off x="487548" y="3294988"/>
            <a:ext cx="3859463" cy="161920"/>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16" b="0" i="0" u="none" strike="noStrike" kern="1200" cap="none" spc="0" normalizeH="0" baseline="0" noProof="0" dirty="0">
                <a:ln>
                  <a:noFill/>
                </a:ln>
                <a:solidFill>
                  <a:srgbClr val="0C233F"/>
                </a:solidFill>
                <a:effectLst/>
                <a:uLnTx/>
                <a:uFillTx/>
                <a:latin typeface="Arial"/>
                <a:ea typeface="+mn-ea"/>
                <a:cs typeface="+mn-cs"/>
              </a:rPr>
              <a:t>T-cell activation occurs independent of MHC-HLA interaction</a:t>
            </a:r>
          </a:p>
        </p:txBody>
      </p:sp>
      <p:sp>
        <p:nvSpPr>
          <p:cNvPr id="14" name="TextBox 13"/>
          <p:cNvSpPr txBox="1"/>
          <p:nvPr/>
        </p:nvSpPr>
        <p:spPr>
          <a:xfrm>
            <a:off x="487548" y="4278718"/>
            <a:ext cx="1001737" cy="219069"/>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27" b="1" i="0" u="none" strike="noStrike" kern="1200" cap="none" spc="0" normalizeH="0" baseline="0" noProof="0" dirty="0">
                <a:ln>
                  <a:noFill/>
                </a:ln>
                <a:solidFill>
                  <a:srgbClr val="0C233F"/>
                </a:solidFill>
                <a:effectLst/>
                <a:uLnTx/>
                <a:uFillTx/>
                <a:latin typeface="Arial"/>
                <a:ea typeface="+mn-ea"/>
                <a:cs typeface="+mn-cs"/>
              </a:rPr>
              <a:t>Expansion</a:t>
            </a:r>
          </a:p>
        </p:txBody>
      </p:sp>
      <p:sp>
        <p:nvSpPr>
          <p:cNvPr id="15" name="TextBox 14"/>
          <p:cNvSpPr txBox="1"/>
          <p:nvPr/>
        </p:nvSpPr>
        <p:spPr>
          <a:xfrm>
            <a:off x="487548" y="4572051"/>
            <a:ext cx="3471031" cy="161920"/>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16" b="0" i="0" u="none" strike="noStrike" kern="1200" cap="none" spc="0" normalizeH="0" baseline="0" noProof="0" dirty="0">
                <a:ln>
                  <a:noFill/>
                </a:ln>
                <a:solidFill>
                  <a:srgbClr val="0C233F"/>
                </a:solidFill>
                <a:effectLst/>
                <a:uLnTx/>
                <a:uFillTx/>
                <a:latin typeface="Arial"/>
                <a:ea typeface="+mn-ea"/>
                <a:cs typeface="+mn-cs"/>
              </a:rPr>
              <a:t>Redirected T-cells expand and proliferate at tumor site</a:t>
            </a:r>
          </a:p>
        </p:txBody>
      </p:sp>
      <p:sp>
        <p:nvSpPr>
          <p:cNvPr id="16" name="TextBox 15"/>
          <p:cNvSpPr txBox="1"/>
          <p:nvPr/>
        </p:nvSpPr>
        <p:spPr>
          <a:xfrm>
            <a:off x="487548" y="5555780"/>
            <a:ext cx="1133744" cy="219069"/>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27" b="1" i="0" u="none" strike="noStrike" kern="1200" cap="none" spc="0" normalizeH="0" baseline="0" noProof="0" dirty="0">
                <a:ln>
                  <a:noFill/>
                </a:ln>
                <a:solidFill>
                  <a:srgbClr val="0C233F"/>
                </a:solidFill>
                <a:effectLst/>
                <a:uLnTx/>
                <a:uFillTx/>
                <a:latin typeface="Arial"/>
                <a:ea typeface="+mn-ea"/>
                <a:cs typeface="+mn-cs"/>
              </a:rPr>
              <a:t>Cytotoxicity</a:t>
            </a:r>
          </a:p>
        </p:txBody>
      </p:sp>
      <p:sp>
        <p:nvSpPr>
          <p:cNvPr id="17" name="TextBox 16"/>
          <p:cNvSpPr txBox="1"/>
          <p:nvPr/>
        </p:nvSpPr>
        <p:spPr>
          <a:xfrm>
            <a:off x="487548" y="5849113"/>
            <a:ext cx="3187967" cy="161920"/>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16" b="0" i="0" u="none" strike="noStrike" kern="1200" cap="none" spc="0" normalizeH="0" baseline="0" noProof="0" dirty="0">
                <a:ln>
                  <a:noFill/>
                </a:ln>
                <a:solidFill>
                  <a:srgbClr val="0C233F"/>
                </a:solidFill>
                <a:effectLst/>
                <a:uLnTx/>
                <a:uFillTx/>
                <a:latin typeface="Arial"/>
                <a:ea typeface="+mn-ea"/>
                <a:cs typeface="+mn-cs"/>
              </a:rPr>
              <a:t>T-cell-mediated killing of CD20+ malignant B-cells</a:t>
            </a:r>
          </a:p>
        </p:txBody>
      </p:sp>
      <p:sp>
        <p:nvSpPr>
          <p:cNvPr id="18" name="TextBox 17"/>
          <p:cNvSpPr txBox="1"/>
          <p:nvPr/>
        </p:nvSpPr>
        <p:spPr>
          <a:xfrm>
            <a:off x="574286" y="451966"/>
            <a:ext cx="11465314" cy="490262"/>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186" b="1" i="0" u="none" strike="noStrike" kern="1200" cap="none" spc="0" normalizeH="0" baseline="0" noProof="0" dirty="0">
                <a:ln>
                  <a:noFill/>
                </a:ln>
                <a:solidFill>
                  <a:srgbClr val="285698"/>
                </a:solidFill>
                <a:effectLst/>
                <a:uLnTx/>
                <a:uFillTx/>
                <a:latin typeface="Microsoft YaHei"/>
                <a:ea typeface="+mn-ea"/>
                <a:cs typeface="+mn-cs"/>
              </a:rPr>
              <a:t>Mechanism of Action - CD20×CD3 Bispecific Antibodies</a:t>
            </a:r>
          </a:p>
        </p:txBody>
      </p:sp>
      <p:sp>
        <p:nvSpPr>
          <p:cNvPr id="19" name="TextBox 18"/>
          <p:cNvSpPr txBox="1"/>
          <p:nvPr/>
        </p:nvSpPr>
        <p:spPr>
          <a:xfrm>
            <a:off x="5364348" y="1770746"/>
            <a:ext cx="6400647" cy="3462486"/>
          </a:xfrm>
          <a:prstGeom prst="rect">
            <a:avLst/>
          </a:prstGeom>
          <a:noFill/>
        </p:spPr>
        <p:txBody>
          <a:bodyPr wrap="square" lIns="0" tIns="0" rIns="0" bIns="0">
            <a:spAutoFit/>
          </a:bodyPr>
          <a:lstStyle/>
          <a:p>
            <a:pPr marL="167576" marR="0" lvl="0" indent="-167576" algn="l" defTabSz="914400" rtl="0" eaLnBrk="1" fontAlgn="auto" latinLnBrk="0" hangingPunct="1">
              <a:lnSpc>
                <a:spcPts val="2028"/>
              </a:lnSpc>
              <a:spcBef>
                <a:spcPts val="0"/>
              </a:spcBef>
              <a:spcAft>
                <a:spcPts val="0"/>
              </a:spcAft>
              <a:buClr>
                <a:srgbClr val="0089CA"/>
              </a:buClr>
              <a:buSzPct val="100000"/>
              <a:buFont typeface="Arial" charset="0"/>
              <a:buChar char="●"/>
              <a:tabLst/>
              <a:defRPr/>
            </a:pPr>
            <a:r>
              <a:rPr kumimoji="0" lang="en-US" sz="1600" b="0" i="0" u="none" strike="noStrike" kern="1200" cap="none" spc="0" normalizeH="0" baseline="0" noProof="0" dirty="0">
                <a:ln>
                  <a:noFill/>
                </a:ln>
                <a:solidFill>
                  <a:srgbClr val="637592"/>
                </a:solidFill>
                <a:effectLst/>
                <a:uLnTx/>
                <a:uFillTx/>
                <a:latin typeface="Arial"/>
                <a:ea typeface="+mn-ea"/>
                <a:cs typeface="+mn-cs"/>
              </a:rPr>
              <a:t>Bispecific antibodies form trimeric complex with CD20+ B-cells and CD3+ T-cells for targeted cytotoxicity</a:t>
            </a:r>
          </a:p>
          <a:p>
            <a:pPr marL="167576" marR="0" lvl="0" indent="-167576" algn="l" defTabSz="914400" rtl="0" eaLnBrk="1" fontAlgn="auto" latinLnBrk="0" hangingPunct="1">
              <a:lnSpc>
                <a:spcPts val="2028"/>
              </a:lnSpc>
              <a:spcBef>
                <a:spcPts val="0"/>
              </a:spcBef>
              <a:spcAft>
                <a:spcPts val="0"/>
              </a:spcAft>
              <a:buClr>
                <a:srgbClr val="0089CA"/>
              </a:buClr>
              <a:buSzPct val="100000"/>
              <a:buFont typeface="Arial" charset="0"/>
              <a:buChar char="●"/>
              <a:tabLst/>
              <a:defRPr/>
            </a:pPr>
            <a:endParaRPr kumimoji="0" lang="en-US" sz="1600" b="0" i="0" u="none" strike="noStrike" kern="1200" cap="none" spc="0" normalizeH="0" baseline="0" noProof="0" dirty="0">
              <a:ln>
                <a:noFill/>
              </a:ln>
              <a:solidFill>
                <a:srgbClr val="637592"/>
              </a:solidFill>
              <a:effectLst/>
              <a:uLnTx/>
              <a:uFillTx/>
              <a:latin typeface="Arial"/>
              <a:ea typeface="+mn-ea"/>
              <a:cs typeface="+mn-cs"/>
            </a:endParaRPr>
          </a:p>
          <a:p>
            <a:pPr marL="167576" marR="0" lvl="0" indent="-167576" algn="l" defTabSz="914400" rtl="0" eaLnBrk="1" fontAlgn="auto" latinLnBrk="0" hangingPunct="1">
              <a:lnSpc>
                <a:spcPts val="2028"/>
              </a:lnSpc>
              <a:spcBef>
                <a:spcPts val="959"/>
              </a:spcBef>
              <a:spcAft>
                <a:spcPts val="0"/>
              </a:spcAft>
              <a:buClr>
                <a:srgbClr val="0089CA"/>
              </a:buClr>
              <a:buSzPct val="100000"/>
              <a:buFont typeface="Arial" charset="0"/>
              <a:buChar char="●"/>
              <a:tabLst/>
              <a:defRPr/>
            </a:pPr>
            <a:r>
              <a:rPr kumimoji="0" lang="en-US" sz="1600" b="0" i="0" u="none" strike="noStrike" kern="1200" cap="none" spc="0" normalizeH="0" baseline="0" noProof="0" dirty="0">
                <a:ln>
                  <a:noFill/>
                </a:ln>
                <a:solidFill>
                  <a:srgbClr val="637592"/>
                </a:solidFill>
                <a:effectLst/>
                <a:uLnTx/>
                <a:uFillTx/>
                <a:latin typeface="Arial"/>
                <a:ea typeface="+mn-ea"/>
                <a:cs typeface="+mn-cs"/>
              </a:rPr>
              <a:t>HLA-independent mechanism allows T-cell activation without antigen presentation, overcoming immune evasion in DLBCL</a:t>
            </a:r>
          </a:p>
          <a:p>
            <a:pPr marL="167576" marR="0" lvl="0" indent="-167576" algn="l" defTabSz="914400" rtl="0" eaLnBrk="1" fontAlgn="auto" latinLnBrk="0" hangingPunct="1">
              <a:lnSpc>
                <a:spcPts val="2028"/>
              </a:lnSpc>
              <a:spcBef>
                <a:spcPts val="959"/>
              </a:spcBef>
              <a:spcAft>
                <a:spcPts val="0"/>
              </a:spcAft>
              <a:buClr>
                <a:srgbClr val="0089CA"/>
              </a:buClr>
              <a:buSzPct val="100000"/>
              <a:buFont typeface="Arial" charset="0"/>
              <a:buChar char="●"/>
              <a:tabLst/>
              <a:defRPr/>
            </a:pPr>
            <a:endParaRPr kumimoji="0" lang="en-US" sz="1600" b="0" i="0" u="none" strike="noStrike" kern="1200" cap="none" spc="0" normalizeH="0" baseline="0" noProof="0" dirty="0">
              <a:ln>
                <a:noFill/>
              </a:ln>
              <a:solidFill>
                <a:srgbClr val="637592"/>
              </a:solidFill>
              <a:effectLst/>
              <a:uLnTx/>
              <a:uFillTx/>
              <a:latin typeface="Arial"/>
              <a:ea typeface="+mn-ea"/>
              <a:cs typeface="+mn-cs"/>
            </a:endParaRPr>
          </a:p>
          <a:p>
            <a:pPr marL="167576" marR="0" lvl="0" indent="-167576" algn="l" defTabSz="914400" rtl="0" eaLnBrk="1" fontAlgn="auto" latinLnBrk="0" hangingPunct="1">
              <a:lnSpc>
                <a:spcPts val="2028"/>
              </a:lnSpc>
              <a:spcBef>
                <a:spcPts val="959"/>
              </a:spcBef>
              <a:spcAft>
                <a:spcPts val="0"/>
              </a:spcAft>
              <a:buClr>
                <a:srgbClr val="0089CA"/>
              </a:buClr>
              <a:buSzPct val="100000"/>
              <a:buFont typeface="Arial" charset="0"/>
              <a:buChar char="●"/>
              <a:tabLst/>
              <a:defRPr/>
            </a:pPr>
            <a:r>
              <a:rPr kumimoji="0" lang="en-US" sz="1600" b="0" i="0" u="none" strike="noStrike" kern="1200" cap="none" spc="0" normalizeH="0" baseline="0" noProof="0" dirty="0">
                <a:ln>
                  <a:noFill/>
                </a:ln>
                <a:solidFill>
                  <a:srgbClr val="637592"/>
                </a:solidFill>
                <a:effectLst/>
                <a:uLnTx/>
                <a:uFillTx/>
                <a:latin typeface="Arial"/>
                <a:ea typeface="+mn-ea"/>
                <a:cs typeface="+mn-cs"/>
              </a:rPr>
              <a:t>Different configurations exist: glofitamab uses 2:1 CD20:CD3 ratio, while epcoritamab uses 1:1 configuration</a:t>
            </a:r>
          </a:p>
          <a:p>
            <a:pPr marL="167576" marR="0" lvl="0" indent="-167576" algn="l" defTabSz="914400" rtl="0" eaLnBrk="1" fontAlgn="auto" latinLnBrk="0" hangingPunct="1">
              <a:lnSpc>
                <a:spcPts val="2028"/>
              </a:lnSpc>
              <a:spcBef>
                <a:spcPts val="959"/>
              </a:spcBef>
              <a:spcAft>
                <a:spcPts val="0"/>
              </a:spcAft>
              <a:buClr>
                <a:srgbClr val="0089CA"/>
              </a:buClr>
              <a:buSzPct val="100000"/>
              <a:buFont typeface="Arial" charset="0"/>
              <a:buChar char="●"/>
              <a:tabLst/>
              <a:defRPr/>
            </a:pPr>
            <a:endParaRPr kumimoji="0" lang="en-US" sz="1600" b="0" i="0" u="none" strike="noStrike" kern="1200" cap="none" spc="0" normalizeH="0" baseline="0" noProof="0" dirty="0">
              <a:ln>
                <a:noFill/>
              </a:ln>
              <a:solidFill>
                <a:srgbClr val="637592"/>
              </a:solidFill>
              <a:effectLst/>
              <a:uLnTx/>
              <a:uFillTx/>
              <a:latin typeface="Arial"/>
              <a:ea typeface="+mn-ea"/>
              <a:cs typeface="+mn-cs"/>
            </a:endParaRPr>
          </a:p>
          <a:p>
            <a:pPr marL="167576" marR="0" lvl="0" indent="-167576" algn="l" defTabSz="914400" rtl="0" eaLnBrk="1" fontAlgn="auto" latinLnBrk="0" hangingPunct="1">
              <a:lnSpc>
                <a:spcPts val="2028"/>
              </a:lnSpc>
              <a:spcBef>
                <a:spcPts val="959"/>
              </a:spcBef>
              <a:spcAft>
                <a:spcPts val="0"/>
              </a:spcAft>
              <a:buClr>
                <a:srgbClr val="0089CA"/>
              </a:buClr>
              <a:buSzPct val="100000"/>
              <a:buFont typeface="Arial" charset="0"/>
              <a:buChar char="●"/>
              <a:tabLst/>
              <a:defRPr/>
            </a:pPr>
            <a:r>
              <a:rPr kumimoji="0" lang="en-US" sz="1600" b="0" i="0" u="none" strike="noStrike" kern="1200" cap="none" spc="0" normalizeH="0" baseline="0" noProof="0" dirty="0">
                <a:ln>
                  <a:noFill/>
                </a:ln>
                <a:solidFill>
                  <a:srgbClr val="637592"/>
                </a:solidFill>
                <a:effectLst/>
                <a:uLnTx/>
                <a:uFillTx/>
                <a:latin typeface="Arial"/>
                <a:ea typeface="+mn-ea"/>
                <a:cs typeface="+mn-cs"/>
              </a:rPr>
              <a:t>Step-up dosing protocols mitigate cytokine release syndrome risk with manageable low-grade events</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054422-64C8-0047-305A-A37537503F38}"/>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9321BF4-A265-C716-A99D-1599EE74F77C}"/>
              </a:ext>
            </a:extLst>
          </p:cNvPr>
          <p:cNvSpPr txBox="1">
            <a:spLocks/>
          </p:cNvSpPr>
          <p:nvPr/>
        </p:nvSpPr>
        <p:spPr bwMode="auto">
          <a:xfrm>
            <a:off x="1415480" y="1916832"/>
            <a:ext cx="9361040" cy="2520280"/>
          </a:xfrm>
          <a:prstGeom prst="rect">
            <a:avLst/>
          </a:prstGeom>
          <a:solidFill>
            <a:srgbClr val="E9F8FD"/>
          </a:solidFill>
          <a:ln w="9525">
            <a:solidFill>
              <a:srgbClr val="000000">
                <a:lumMod val="50000"/>
                <a:lumOff val="50000"/>
              </a:srgbClr>
            </a:solidFill>
            <a:miter lim="800000"/>
            <a:headEnd/>
            <a:tailEnd/>
          </a:ln>
        </p:spPr>
        <p:txBody>
          <a:bodyPr vert="horz" wrap="square" lIns="365760" tIns="0" rIns="365760" bIns="0" numCol="1" anchor="ctr"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0000"/>
              </a:lnSpc>
              <a:spcBef>
                <a:spcPct val="30000"/>
              </a:spcBef>
              <a:spcAft>
                <a:spcPts val="800"/>
              </a:spcAft>
              <a:buClr>
                <a:srgbClr val="000000"/>
              </a:buClr>
              <a:buSzPct val="100000"/>
              <a:buFont typeface="Arial" pitchFamily="-72" charset="0"/>
              <a:buNone/>
              <a:tabLst/>
              <a:defRPr/>
            </a:pPr>
            <a:r>
              <a:rPr kumimoji="0" lang="en-US" sz="3200" b="1" i="0" u="none" strike="noStrike" kern="0" cap="none" spc="0" normalizeH="0" baseline="0" noProof="0">
                <a:ln>
                  <a:noFill/>
                </a:ln>
                <a:solidFill>
                  <a:srgbClr val="000000"/>
                </a:solidFill>
                <a:effectLst/>
                <a:uLnTx/>
                <a:uFillTx/>
                <a:latin typeface="Calibri" charset="0"/>
                <a:ea typeface="MS PGothic" pitchFamily="34" charset="-128"/>
              </a:rPr>
              <a:t>This educational activity contains discussion of </a:t>
            </a:r>
            <a:br>
              <a:rPr kumimoji="0" lang="en-US" sz="3200" b="1" i="0" u="none" strike="noStrike" kern="0" cap="none" spc="0" normalizeH="0" baseline="0" noProof="0">
                <a:ln>
                  <a:noFill/>
                </a:ln>
                <a:solidFill>
                  <a:srgbClr val="000000"/>
                </a:solidFill>
                <a:effectLst/>
                <a:uLnTx/>
                <a:uFillTx/>
                <a:latin typeface="Calibri" charset="0"/>
                <a:ea typeface="MS PGothic" pitchFamily="34" charset="-128"/>
              </a:rPr>
            </a:br>
            <a:r>
              <a:rPr kumimoji="0" lang="en-US" sz="3200" b="1" i="0" u="none" strike="noStrike" kern="0" cap="none" spc="0" normalizeH="0" baseline="0" noProof="0">
                <a:ln>
                  <a:noFill/>
                </a:ln>
                <a:solidFill>
                  <a:srgbClr val="000000"/>
                </a:solidFill>
                <a:effectLst/>
                <a:uLnTx/>
                <a:uFillTx/>
                <a:latin typeface="Calibri" charset="0"/>
                <a:ea typeface="MS PGothic" pitchFamily="34" charset="-128"/>
              </a:rPr>
              <a:t>non-FDA-approved uses of agents and regimens. Please refer to official prescribing information for each product for approved indications. </a:t>
            </a:r>
            <a:endParaRPr kumimoji="0" lang="en-US" sz="3200" b="1" i="0" u="none" strike="noStrike" kern="0" cap="none" spc="0" normalizeH="0" baseline="0" noProof="0" dirty="0">
              <a:ln>
                <a:noFill/>
              </a:ln>
              <a:solidFill>
                <a:srgbClr val="000000"/>
              </a:solidFill>
              <a:effectLst/>
              <a:uLnTx/>
              <a:uFillTx/>
              <a:latin typeface="Calibri" charset="0"/>
              <a:ea typeface="MS PGothic" pitchFamily="34" charset="-128"/>
            </a:endParaRPr>
          </a:p>
        </p:txBody>
      </p:sp>
    </p:spTree>
    <p:extLst>
      <p:ext uri="{BB962C8B-B14F-4D97-AF65-F5344CB8AC3E}">
        <p14:creationId xmlns:p14="http://schemas.microsoft.com/office/powerpoint/2010/main" val="16205285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055906" y="452398"/>
            <a:ext cx="10482951" cy="492443"/>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285698"/>
                </a:solidFill>
                <a:effectLst/>
                <a:uLnTx/>
                <a:uFillTx/>
                <a:latin typeface="Arial"/>
                <a:ea typeface="+mn-ea"/>
                <a:cs typeface="+mn-cs"/>
              </a:rPr>
              <a:t>STARGLO Trial - Glofitamab Doubles Overall Survival</a:t>
            </a:r>
          </a:p>
        </p:txBody>
      </p:sp>
      <p:sp>
        <p:nvSpPr>
          <p:cNvPr id="5" name="TextBox 4"/>
          <p:cNvSpPr txBox="1"/>
          <p:nvPr/>
        </p:nvSpPr>
        <p:spPr>
          <a:xfrm>
            <a:off x="9225189" y="6509508"/>
            <a:ext cx="1776127" cy="171714"/>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16" b="0" i="0" u="none" strike="noStrike" kern="1200" cap="none" spc="0" normalizeH="0" baseline="0" noProof="0" dirty="0">
                <a:ln>
                  <a:noFill/>
                </a:ln>
                <a:solidFill>
                  <a:srgbClr val="637592"/>
                </a:solidFill>
                <a:effectLst/>
                <a:uLnTx/>
                <a:uFillTx/>
                <a:latin typeface="Arial"/>
                <a:ea typeface="+mn-ea"/>
                <a:cs typeface="+mn-cs"/>
              </a:rPr>
              <a:t>Abramson J et al ASH 2025</a:t>
            </a:r>
            <a:endParaRPr kumimoji="0" lang="en-US" sz="1116" b="0" i="0" u="none" strike="noStrike" kern="1200" cap="none" spc="0" normalizeH="0" baseline="0" noProof="0" dirty="0">
              <a:ln>
                <a:noFill/>
              </a:ln>
              <a:solidFill>
                <a:srgbClr val="637592"/>
              </a:solidFill>
              <a:effectLst/>
              <a:uLnTx/>
              <a:uFillTx/>
              <a:latin typeface="Arial"/>
              <a:ea typeface="+mn-ea"/>
              <a:cs typeface="+mn-cs"/>
              <a:hlinkClick r:id="rId2" tooltip="Glofitamab plus gemcitabine and oxaliplatin (GemOx) v..."/>
            </a:endParaRPr>
          </a:p>
        </p:txBody>
      </p:sp>
      <p:sp>
        <p:nvSpPr>
          <p:cNvPr id="6" name="TextBox 5"/>
          <p:cNvSpPr txBox="1"/>
          <p:nvPr/>
        </p:nvSpPr>
        <p:spPr>
          <a:xfrm>
            <a:off x="324051" y="1767584"/>
            <a:ext cx="6912438" cy="3470694"/>
          </a:xfrm>
          <a:prstGeom prst="rect">
            <a:avLst/>
          </a:prstGeom>
          <a:noFill/>
        </p:spPr>
        <p:txBody>
          <a:bodyPr wrap="square" lIns="0" tIns="0" rIns="0" bIns="0">
            <a:spAutoFit/>
          </a:bodyPr>
          <a:lstStyle/>
          <a:p>
            <a:pPr marL="213265" marR="0" lvl="0" indent="-213265" algn="l" defTabSz="914400" rtl="0" eaLnBrk="1" fontAlgn="auto" latinLnBrk="0" hangingPunct="1">
              <a:lnSpc>
                <a:spcPts val="2028"/>
              </a:lnSpc>
              <a:spcBef>
                <a:spcPts val="0"/>
              </a:spcBef>
              <a:spcAft>
                <a:spcPts val="0"/>
              </a:spcAft>
              <a:buClr>
                <a:srgbClr val="0089CA"/>
              </a:buClr>
              <a:buSzPct val="100000"/>
              <a:buFont typeface="Arial" charset="0"/>
              <a:buChar char="●"/>
              <a:tabLst/>
              <a:defRPr/>
            </a:pPr>
            <a:r>
              <a:rPr kumimoji="0" lang="en-US" sz="1600" b="0" i="0" u="none" strike="noStrike" kern="1200" cap="none" spc="0" normalizeH="0" baseline="0" noProof="0" dirty="0">
                <a:ln>
                  <a:noFill/>
                </a:ln>
                <a:solidFill>
                  <a:srgbClr val="637592"/>
                </a:solidFill>
                <a:effectLst/>
                <a:uLnTx/>
                <a:uFillTx/>
                <a:latin typeface="Arial"/>
                <a:ea typeface="+mn-ea"/>
                <a:cs typeface="+mn-cs"/>
              </a:rPr>
              <a:t>Phase III STARGLO trial in R/R DLBCL</a:t>
            </a:r>
          </a:p>
          <a:p>
            <a:pPr marL="670465" marR="0" lvl="1" indent="-213265" algn="l" defTabSz="914400" rtl="0" eaLnBrk="1" fontAlgn="auto" latinLnBrk="0" hangingPunct="1">
              <a:lnSpc>
                <a:spcPts val="2028"/>
              </a:lnSpc>
              <a:spcBef>
                <a:spcPts val="0"/>
              </a:spcBef>
              <a:spcAft>
                <a:spcPts val="0"/>
              </a:spcAft>
              <a:buClr>
                <a:srgbClr val="0089CA"/>
              </a:buClr>
              <a:buSzPct val="100000"/>
              <a:buFont typeface="Arial" charset="0"/>
              <a:buChar char="●"/>
              <a:tabLst/>
              <a:defRPr/>
            </a:pPr>
            <a:r>
              <a:rPr kumimoji="0" lang="en-US" sz="1600" b="0" i="0" u="none" strike="noStrike" kern="1200" cap="none" spc="0" normalizeH="0" baseline="0" noProof="0" dirty="0">
                <a:ln>
                  <a:noFill/>
                </a:ln>
                <a:solidFill>
                  <a:srgbClr val="637592"/>
                </a:solidFill>
                <a:effectLst/>
                <a:uLnTx/>
                <a:uFillTx/>
                <a:latin typeface="Arial"/>
                <a:ea typeface="+mn-ea"/>
                <a:cs typeface="+mn-cs"/>
              </a:rPr>
              <a:t>N=274 patients </a:t>
            </a:r>
          </a:p>
          <a:p>
            <a:pPr marL="670465" marR="0" lvl="1" indent="-213265" algn="l" defTabSz="914400" rtl="0" eaLnBrk="1" fontAlgn="auto" latinLnBrk="0" hangingPunct="1">
              <a:lnSpc>
                <a:spcPts val="2028"/>
              </a:lnSpc>
              <a:spcBef>
                <a:spcPts val="0"/>
              </a:spcBef>
              <a:spcAft>
                <a:spcPts val="0"/>
              </a:spcAft>
              <a:buClr>
                <a:srgbClr val="0089CA"/>
              </a:buClr>
              <a:buSzPct val="100000"/>
              <a:buFont typeface="Arial" charset="0"/>
              <a:buChar char="●"/>
              <a:tabLst/>
              <a:defRPr/>
            </a:pPr>
            <a:r>
              <a:rPr kumimoji="0" lang="en-US" sz="1600" b="0" i="0" u="none" strike="noStrike" kern="1200" cap="none" spc="0" normalizeH="0" baseline="0" noProof="0" dirty="0">
                <a:ln>
                  <a:noFill/>
                </a:ln>
                <a:solidFill>
                  <a:srgbClr val="637592"/>
                </a:solidFill>
                <a:effectLst/>
                <a:uLnTx/>
                <a:uFillTx/>
                <a:latin typeface="Arial"/>
                <a:ea typeface="+mn-ea"/>
                <a:cs typeface="+mn-cs"/>
              </a:rPr>
              <a:t>at least one prior therapy, all transplant-ineligible</a:t>
            </a:r>
          </a:p>
          <a:p>
            <a:pPr marL="213265" marR="0" lvl="0" indent="-213265" algn="l" defTabSz="914400" rtl="0" eaLnBrk="1" fontAlgn="auto" latinLnBrk="0" hangingPunct="1">
              <a:lnSpc>
                <a:spcPts val="2028"/>
              </a:lnSpc>
              <a:spcBef>
                <a:spcPts val="1199"/>
              </a:spcBef>
              <a:spcAft>
                <a:spcPts val="0"/>
              </a:spcAft>
              <a:buClr>
                <a:srgbClr val="0089CA"/>
              </a:buClr>
              <a:buSzPct val="100000"/>
              <a:buFont typeface="Arial" charset="0"/>
              <a:buChar char="●"/>
              <a:tabLst/>
              <a:defRPr/>
            </a:pPr>
            <a:r>
              <a:rPr kumimoji="0" lang="en-US" sz="1600" b="0" i="0" u="none" strike="noStrike" kern="1200" cap="none" spc="0" normalizeH="0" baseline="0" noProof="0" dirty="0">
                <a:ln>
                  <a:noFill/>
                </a:ln>
                <a:solidFill>
                  <a:srgbClr val="637592"/>
                </a:solidFill>
                <a:effectLst/>
                <a:uLnTx/>
                <a:uFillTx/>
                <a:latin typeface="Arial"/>
                <a:ea typeface="+mn-ea"/>
                <a:cs typeface="+mn-cs"/>
              </a:rPr>
              <a:t>Median follow-up 35.1 months </a:t>
            </a:r>
          </a:p>
          <a:p>
            <a:pPr marL="213265" marR="0" lvl="0" indent="-213265" algn="l" defTabSz="914400" rtl="0" eaLnBrk="1" fontAlgn="auto" latinLnBrk="0" hangingPunct="1">
              <a:lnSpc>
                <a:spcPts val="2028"/>
              </a:lnSpc>
              <a:spcBef>
                <a:spcPts val="1199"/>
              </a:spcBef>
              <a:spcAft>
                <a:spcPts val="0"/>
              </a:spcAft>
              <a:buClr>
                <a:srgbClr val="0089CA"/>
              </a:buClr>
              <a:buSzPct val="100000"/>
              <a:buFont typeface="Arial" charset="0"/>
              <a:buChar char="●"/>
              <a:tabLst/>
              <a:defRPr/>
            </a:pPr>
            <a:r>
              <a:rPr kumimoji="0" lang="en-US" sz="1600" b="0" i="0" u="none" strike="noStrike" kern="1200" cap="none" spc="0" normalizeH="0" baseline="0" noProof="0" dirty="0">
                <a:ln>
                  <a:noFill/>
                </a:ln>
                <a:solidFill>
                  <a:srgbClr val="637592"/>
                </a:solidFill>
                <a:effectLst/>
                <a:uLnTx/>
                <a:uFillTx/>
                <a:latin typeface="Arial"/>
                <a:ea typeface="+mn-ea"/>
                <a:cs typeface="+mn-cs"/>
              </a:rPr>
              <a:t>Hazard ratio 0.60 for OS</a:t>
            </a:r>
          </a:p>
          <a:p>
            <a:pPr marL="213265" marR="0" lvl="0" indent="-213265" algn="l" defTabSz="914400" rtl="0" eaLnBrk="1" fontAlgn="auto" latinLnBrk="0" hangingPunct="1">
              <a:lnSpc>
                <a:spcPts val="2028"/>
              </a:lnSpc>
              <a:spcBef>
                <a:spcPts val="1199"/>
              </a:spcBef>
              <a:spcAft>
                <a:spcPts val="0"/>
              </a:spcAft>
              <a:buClr>
                <a:srgbClr val="0089CA"/>
              </a:buClr>
              <a:buSzPct val="100000"/>
              <a:buFont typeface="Arial" charset="0"/>
              <a:buChar char="●"/>
              <a:tabLst/>
              <a:defRPr/>
            </a:pPr>
            <a:r>
              <a:rPr kumimoji="0" lang="en-US" sz="1600" b="0" i="0" u="none" strike="noStrike" kern="1200" cap="none" spc="0" normalizeH="0" baseline="0" noProof="0" dirty="0">
                <a:ln>
                  <a:noFill/>
                </a:ln>
                <a:solidFill>
                  <a:srgbClr val="637592"/>
                </a:solidFill>
                <a:effectLst/>
                <a:uLnTx/>
                <a:uFillTx/>
                <a:latin typeface="Arial"/>
                <a:ea typeface="+mn-ea"/>
                <a:cs typeface="+mn-cs"/>
              </a:rPr>
              <a:t>Median PFS was 14.4 months vs 3.3 months with hazard ratio 0.41, showing 59% reduction in progression risk</a:t>
            </a:r>
          </a:p>
          <a:p>
            <a:pPr marL="213265" marR="0" lvl="0" indent="-213265" algn="l" defTabSz="914400" rtl="0" eaLnBrk="1" fontAlgn="auto" latinLnBrk="0" hangingPunct="1">
              <a:lnSpc>
                <a:spcPts val="2028"/>
              </a:lnSpc>
              <a:spcBef>
                <a:spcPts val="1199"/>
              </a:spcBef>
              <a:spcAft>
                <a:spcPts val="0"/>
              </a:spcAft>
              <a:buClr>
                <a:srgbClr val="0089CA"/>
              </a:buClr>
              <a:buSzPct val="100000"/>
              <a:buFont typeface="Arial" charset="0"/>
              <a:buChar char="●"/>
              <a:tabLst/>
              <a:defRPr/>
            </a:pPr>
            <a:r>
              <a:rPr kumimoji="0" lang="en-US" sz="1600" b="0" i="0" u="none" strike="noStrike" kern="1200" cap="none" spc="0" normalizeH="0" baseline="0" noProof="0" dirty="0">
                <a:ln>
                  <a:noFill/>
                </a:ln>
                <a:solidFill>
                  <a:srgbClr val="637592"/>
                </a:solidFill>
                <a:effectLst/>
                <a:uLnTx/>
                <a:uFillTx/>
                <a:latin typeface="Arial"/>
                <a:ea typeface="+mn-ea"/>
                <a:cs typeface="+mn-cs"/>
              </a:rPr>
              <a:t>CR 58.5% for glofitamab-GemOx versus 25.3% for rituximab-GemOx</a:t>
            </a:r>
          </a:p>
          <a:p>
            <a:pPr marL="213265" marR="0" lvl="0" indent="-213265" algn="l" defTabSz="914400" rtl="0" eaLnBrk="1" fontAlgn="auto" latinLnBrk="0" hangingPunct="1">
              <a:lnSpc>
                <a:spcPts val="2028"/>
              </a:lnSpc>
              <a:spcBef>
                <a:spcPts val="1199"/>
              </a:spcBef>
              <a:spcAft>
                <a:spcPts val="0"/>
              </a:spcAft>
              <a:buClr>
                <a:srgbClr val="0089CA"/>
              </a:buClr>
              <a:buSzPct val="100000"/>
              <a:buFont typeface="Arial" charset="0"/>
              <a:buChar char="●"/>
              <a:tabLst/>
              <a:defRPr/>
            </a:pPr>
            <a:r>
              <a:rPr kumimoji="0" lang="en-US" sz="1600" b="0" i="0" u="none" strike="noStrike" kern="1200" cap="none" spc="0" normalizeH="0" baseline="0" noProof="0" dirty="0">
                <a:ln>
                  <a:noFill/>
                </a:ln>
                <a:solidFill>
                  <a:srgbClr val="637592"/>
                </a:solidFill>
                <a:effectLst/>
                <a:uLnTx/>
                <a:uFillTx/>
                <a:latin typeface="Arial"/>
                <a:ea typeface="+mn-ea"/>
                <a:cs typeface="+mn-cs"/>
              </a:rPr>
              <a:t>CRS 45% (~13% Gr 2/3) for Glofit GemOx</a:t>
            </a:r>
          </a:p>
          <a:p>
            <a:pPr marL="213265" marR="0" lvl="0" indent="-213265" algn="l" defTabSz="914400" rtl="0" eaLnBrk="1" fontAlgn="auto" latinLnBrk="0" hangingPunct="1">
              <a:lnSpc>
                <a:spcPts val="2028"/>
              </a:lnSpc>
              <a:spcBef>
                <a:spcPts val="1199"/>
              </a:spcBef>
              <a:spcAft>
                <a:spcPts val="0"/>
              </a:spcAft>
              <a:buClr>
                <a:srgbClr val="0089CA"/>
              </a:buClr>
              <a:buSzPct val="100000"/>
              <a:buFont typeface="Arial" charset="0"/>
              <a:buChar char="●"/>
              <a:tabLst/>
              <a:defRPr/>
            </a:pPr>
            <a:r>
              <a:rPr kumimoji="0" lang="en-US" sz="1600" b="0" i="0" u="none" strike="noStrike" kern="1200" cap="none" spc="0" normalizeH="0" baseline="0" noProof="0" dirty="0">
                <a:ln>
                  <a:noFill/>
                </a:ln>
                <a:solidFill>
                  <a:srgbClr val="637592"/>
                </a:solidFill>
                <a:effectLst/>
                <a:uLnTx/>
                <a:uFillTx/>
                <a:latin typeface="Arial"/>
                <a:ea typeface="+mn-ea"/>
                <a:cs typeface="+mn-cs"/>
              </a:rPr>
              <a:t>Gr 3-4 Infections ~20% Glofit-GemOx vs 13% R-GemOx</a:t>
            </a:r>
          </a:p>
        </p:txBody>
      </p:sp>
      <p:pic>
        <p:nvPicPr>
          <p:cNvPr id="8" name="Picture 7">
            <a:extLst>
              <a:ext uri="{FF2B5EF4-FFF2-40B4-BE49-F238E27FC236}">
                <a16:creationId xmlns:a16="http://schemas.microsoft.com/office/drawing/2014/main" id="{875A64A4-C6AC-8039-1681-723ECE801AC9}"/>
              </a:ext>
            </a:extLst>
          </p:cNvPr>
          <p:cNvPicPr>
            <a:picLocks noChangeAspect="1"/>
          </p:cNvPicPr>
          <p:nvPr/>
        </p:nvPicPr>
        <p:blipFill>
          <a:blip r:embed="rId3"/>
          <a:stretch>
            <a:fillRect/>
          </a:stretch>
        </p:blipFill>
        <p:spPr>
          <a:xfrm>
            <a:off x="6980695" y="1835149"/>
            <a:ext cx="4558162" cy="3335565"/>
          </a:xfrm>
          <a:prstGeom prst="rect">
            <a:avLst/>
          </a:prstGeom>
        </p:spPr>
      </p:pic>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19100" y="5320635"/>
            <a:ext cx="1535677" cy="171714"/>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16" b="0" i="0" u="none" strike="noStrike" kern="1200" cap="none" spc="0" normalizeH="0" baseline="0" noProof="0" dirty="0">
                <a:ln>
                  <a:noFill/>
                </a:ln>
                <a:solidFill>
                  <a:srgbClr val="637592"/>
                </a:solidFill>
                <a:effectLst/>
                <a:uLnTx/>
                <a:uFillTx/>
                <a:latin typeface="Arial"/>
                <a:ea typeface="+mn-ea"/>
                <a:cs typeface="+mn-cs"/>
                <a:hlinkClick r:id="rId2" tooltip="Mosunetuzumab Plus Polatuzumab Vedotin in Transplant-..."/>
              </a:rPr>
              <a:t>Budde L et al JCO 2025</a:t>
            </a:r>
          </a:p>
        </p:txBody>
      </p:sp>
      <p:sp>
        <p:nvSpPr>
          <p:cNvPr id="5" name="TextBox 4"/>
          <p:cNvSpPr txBox="1"/>
          <p:nvPr/>
        </p:nvSpPr>
        <p:spPr>
          <a:xfrm>
            <a:off x="419100" y="349770"/>
            <a:ext cx="11511128" cy="492443"/>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285698"/>
                </a:solidFill>
                <a:effectLst/>
                <a:uLnTx/>
                <a:uFillTx/>
                <a:latin typeface="Arial"/>
                <a:ea typeface="+mn-ea"/>
                <a:cs typeface="+mn-cs"/>
              </a:rPr>
              <a:t>SUNMO Trial - Mosunetuzumab Plus Polatuzumab Vedotin</a:t>
            </a:r>
          </a:p>
        </p:txBody>
      </p:sp>
      <p:sp>
        <p:nvSpPr>
          <p:cNvPr id="6" name="TextBox 5"/>
          <p:cNvSpPr txBox="1"/>
          <p:nvPr/>
        </p:nvSpPr>
        <p:spPr>
          <a:xfrm>
            <a:off x="6174664" y="1642357"/>
            <a:ext cx="6114501" cy="3573286"/>
          </a:xfrm>
          <a:prstGeom prst="rect">
            <a:avLst/>
          </a:prstGeom>
          <a:noFill/>
        </p:spPr>
        <p:txBody>
          <a:bodyPr wrap="square" lIns="0" tIns="0" rIns="0" bIns="0">
            <a:spAutoFit/>
          </a:bodyPr>
          <a:lstStyle/>
          <a:p>
            <a:pPr marL="167576" marR="0" lvl="0" indent="-167576" algn="l" defTabSz="914400" rtl="0" eaLnBrk="1" fontAlgn="auto" latinLnBrk="0" hangingPunct="1">
              <a:lnSpc>
                <a:spcPts val="2028"/>
              </a:lnSpc>
              <a:spcBef>
                <a:spcPts val="0"/>
              </a:spcBef>
              <a:spcAft>
                <a:spcPts val="0"/>
              </a:spcAft>
              <a:buClr>
                <a:srgbClr val="0089CA"/>
              </a:buClr>
              <a:buSzPct val="100000"/>
              <a:buFont typeface="Arial" charset="0"/>
              <a:buChar char="●"/>
              <a:tabLst/>
              <a:defRPr/>
            </a:pPr>
            <a:r>
              <a:rPr kumimoji="0" lang="en-US" sz="1600" b="0" i="0" u="none" strike="noStrike" kern="1200" cap="none" spc="0" normalizeH="0" baseline="0" noProof="0" dirty="0">
                <a:ln>
                  <a:noFill/>
                </a:ln>
                <a:solidFill>
                  <a:srgbClr val="637592"/>
                </a:solidFill>
                <a:effectLst/>
                <a:uLnTx/>
                <a:uFillTx/>
                <a:latin typeface="Arial" panose="020B0604020202020204"/>
                <a:ea typeface="+mn-ea"/>
                <a:cs typeface="+mn-cs"/>
              </a:rPr>
              <a:t>Phase III SUNMO study </a:t>
            </a:r>
          </a:p>
          <a:p>
            <a:pPr marL="624776" marR="0" lvl="1" indent="-167576" algn="l" defTabSz="914400" rtl="0" eaLnBrk="1" fontAlgn="auto" latinLnBrk="0" hangingPunct="1">
              <a:lnSpc>
                <a:spcPts val="2028"/>
              </a:lnSpc>
              <a:spcBef>
                <a:spcPts val="0"/>
              </a:spcBef>
              <a:spcAft>
                <a:spcPts val="0"/>
              </a:spcAft>
              <a:buClr>
                <a:srgbClr val="0089CA"/>
              </a:buClr>
              <a:buSzPct val="100000"/>
              <a:buFont typeface="Arial" charset="0"/>
              <a:buChar char="●"/>
              <a:tabLst/>
              <a:defRPr/>
            </a:pPr>
            <a:r>
              <a:rPr kumimoji="0" lang="en-US" sz="1600" b="0" i="0" u="none" strike="noStrike" kern="1200" cap="none" spc="0" normalizeH="0" baseline="0" noProof="0" dirty="0">
                <a:ln>
                  <a:noFill/>
                </a:ln>
                <a:solidFill>
                  <a:srgbClr val="637592"/>
                </a:solidFill>
                <a:effectLst/>
                <a:uLnTx/>
                <a:uFillTx/>
                <a:latin typeface="Arial" panose="020B0604020202020204"/>
                <a:ea typeface="+mn-ea"/>
                <a:cs typeface="+mn-cs"/>
              </a:rPr>
              <a:t>N=208 patients </a:t>
            </a:r>
          </a:p>
          <a:p>
            <a:pPr marL="624776" marR="0" lvl="1" indent="-167576" algn="l" defTabSz="914400" rtl="0" eaLnBrk="1" fontAlgn="auto" latinLnBrk="0" hangingPunct="1">
              <a:lnSpc>
                <a:spcPts val="2028"/>
              </a:lnSpc>
              <a:spcBef>
                <a:spcPts val="0"/>
              </a:spcBef>
              <a:spcAft>
                <a:spcPts val="0"/>
              </a:spcAft>
              <a:buClr>
                <a:srgbClr val="0089CA"/>
              </a:buClr>
              <a:buSzPct val="100000"/>
              <a:buFont typeface="Arial" charset="0"/>
              <a:buChar char="●"/>
              <a:tabLst/>
              <a:defRPr/>
            </a:pPr>
            <a:r>
              <a:rPr kumimoji="0" lang="en-US" sz="1600" b="0" i="0" u="none" strike="noStrike" kern="1200" cap="none" spc="0" normalizeH="0" baseline="0" noProof="0" dirty="0">
                <a:ln>
                  <a:noFill/>
                </a:ln>
                <a:solidFill>
                  <a:srgbClr val="637592"/>
                </a:solidFill>
                <a:effectLst/>
                <a:uLnTx/>
                <a:uFillTx/>
                <a:latin typeface="Arial" panose="020B0604020202020204"/>
                <a:ea typeface="+mn-ea"/>
                <a:cs typeface="+mn-cs"/>
              </a:rPr>
              <a:t>Transplant-ineligible R/R LBCL, 2L+</a:t>
            </a:r>
          </a:p>
          <a:p>
            <a:pPr marL="624776" marR="0" lvl="1" indent="-167576" algn="l" defTabSz="914400" rtl="0" eaLnBrk="1" fontAlgn="auto" latinLnBrk="0" hangingPunct="1">
              <a:lnSpc>
                <a:spcPts val="2028"/>
              </a:lnSpc>
              <a:spcBef>
                <a:spcPts val="0"/>
              </a:spcBef>
              <a:spcAft>
                <a:spcPts val="0"/>
              </a:spcAft>
              <a:buClr>
                <a:srgbClr val="0089CA"/>
              </a:buClr>
              <a:buSzPct val="100000"/>
              <a:buFont typeface="Arial" charset="0"/>
              <a:buChar char="●"/>
              <a:tabLst/>
              <a:defRPr/>
            </a:pPr>
            <a:r>
              <a:rPr kumimoji="0" lang="en-US" sz="1600" b="0" i="0" u="none" strike="noStrike" kern="1200" cap="none" spc="0" normalizeH="0" baseline="0" noProof="0" dirty="0">
                <a:ln>
                  <a:noFill/>
                </a:ln>
                <a:solidFill>
                  <a:srgbClr val="637592"/>
                </a:solidFill>
                <a:effectLst/>
                <a:uLnTx/>
                <a:uFillTx/>
                <a:latin typeface="Arial" panose="020B0604020202020204"/>
                <a:ea typeface="+mn-ea"/>
                <a:cs typeface="+mn-cs"/>
              </a:rPr>
              <a:t>randomized 2:1 to MosunPola vs R-GemOx </a:t>
            </a:r>
          </a:p>
          <a:p>
            <a:pPr marL="624776" marR="0" lvl="1" indent="-167576" algn="l" defTabSz="914400" rtl="0" eaLnBrk="1" fontAlgn="auto" latinLnBrk="0" hangingPunct="1">
              <a:lnSpc>
                <a:spcPts val="2028"/>
              </a:lnSpc>
              <a:spcBef>
                <a:spcPts val="0"/>
              </a:spcBef>
              <a:spcAft>
                <a:spcPts val="0"/>
              </a:spcAft>
              <a:buClr>
                <a:srgbClr val="0089CA"/>
              </a:buClr>
              <a:buSzPct val="100000"/>
              <a:buFont typeface="Arial" charset="0"/>
              <a:buChar char="●"/>
              <a:tabLst/>
              <a:defRPr/>
            </a:pPr>
            <a:r>
              <a:rPr kumimoji="0" lang="en-US" sz="1600" b="0" i="0" u="none" strike="noStrike" kern="1200" cap="none" spc="0" normalizeH="0" baseline="0" noProof="0" dirty="0">
                <a:ln>
                  <a:noFill/>
                </a:ln>
                <a:solidFill>
                  <a:srgbClr val="637592"/>
                </a:solidFill>
                <a:effectLst/>
                <a:uLnTx/>
                <a:uFillTx/>
                <a:latin typeface="Arial" panose="020B0604020202020204"/>
                <a:ea typeface="+mn-ea"/>
                <a:cs typeface="+mn-cs"/>
              </a:rPr>
              <a:t>Fixed duration (8 cycles Mosun, 6 Pola; 8 cycles R-GemOx)</a:t>
            </a:r>
          </a:p>
          <a:p>
            <a:pPr marL="167576" marR="0" lvl="0" indent="-167576" algn="l" defTabSz="914400" rtl="0" eaLnBrk="1" fontAlgn="auto" latinLnBrk="0" hangingPunct="1">
              <a:lnSpc>
                <a:spcPts val="2028"/>
              </a:lnSpc>
              <a:spcBef>
                <a:spcPts val="0"/>
              </a:spcBef>
              <a:spcAft>
                <a:spcPts val="0"/>
              </a:spcAft>
              <a:buClr>
                <a:srgbClr val="0089CA"/>
              </a:buClr>
              <a:buSzPct val="100000"/>
              <a:buFont typeface="Arial" charset="0"/>
              <a:buChar char="●"/>
              <a:tabLst/>
              <a:defRPr/>
            </a:pPr>
            <a:endParaRPr kumimoji="0" lang="en-US" sz="1600" b="0" i="0" u="none" strike="noStrike" kern="1200" cap="none" spc="0" normalizeH="0" baseline="0" noProof="0" dirty="0">
              <a:ln>
                <a:noFill/>
              </a:ln>
              <a:solidFill>
                <a:srgbClr val="637592"/>
              </a:solidFill>
              <a:effectLst/>
              <a:uLnTx/>
              <a:uFillTx/>
              <a:latin typeface="Arial" panose="020B0604020202020204"/>
              <a:ea typeface="+mn-ea"/>
              <a:cs typeface="+mn-cs"/>
            </a:endParaRPr>
          </a:p>
          <a:p>
            <a:pPr marL="167576" marR="0" lvl="0" indent="-167576" algn="l" defTabSz="914400" rtl="0" eaLnBrk="1" fontAlgn="auto" latinLnBrk="0" hangingPunct="1">
              <a:lnSpc>
                <a:spcPts val="2028"/>
              </a:lnSpc>
              <a:spcBef>
                <a:spcPts val="0"/>
              </a:spcBef>
              <a:spcAft>
                <a:spcPts val="0"/>
              </a:spcAft>
              <a:buClr>
                <a:srgbClr val="0089CA"/>
              </a:buClr>
              <a:buSzPct val="100000"/>
              <a:buFont typeface="Arial" charset="0"/>
              <a:buChar char="●"/>
              <a:tabLst/>
              <a:defRPr/>
            </a:pPr>
            <a:r>
              <a:rPr kumimoji="0" lang="en-US" sz="1600" b="0" i="0" u="none" strike="noStrike" kern="1200" cap="none" spc="0" normalizeH="0" baseline="0" noProof="0" dirty="0">
                <a:ln>
                  <a:noFill/>
                </a:ln>
                <a:solidFill>
                  <a:srgbClr val="637592"/>
                </a:solidFill>
                <a:effectLst/>
                <a:uLnTx/>
                <a:uFillTx/>
                <a:latin typeface="Arial" panose="020B0604020202020204"/>
                <a:ea typeface="+mn-ea"/>
                <a:cs typeface="+mn-cs"/>
              </a:rPr>
              <a:t>ORR 70% MosunPola vs. 40% R-GemOx</a:t>
            </a:r>
          </a:p>
          <a:p>
            <a:pPr marL="167576" marR="0" lvl="0" indent="-167576" algn="l" defTabSz="914400" rtl="0" eaLnBrk="1" fontAlgn="auto" latinLnBrk="0" hangingPunct="1">
              <a:lnSpc>
                <a:spcPts val="2028"/>
              </a:lnSpc>
              <a:spcBef>
                <a:spcPts val="0"/>
              </a:spcBef>
              <a:spcAft>
                <a:spcPts val="0"/>
              </a:spcAft>
              <a:buClr>
                <a:srgbClr val="0089CA"/>
              </a:buClr>
              <a:buSzPct val="100000"/>
              <a:buFont typeface="Arial" charset="0"/>
              <a:buChar char="●"/>
              <a:tabLst/>
              <a:defRPr/>
            </a:pPr>
            <a:endParaRPr kumimoji="0" lang="en-US" sz="1600" b="0" i="0" u="none" strike="noStrike" kern="1200" cap="none" spc="0" normalizeH="0" baseline="0" noProof="0" dirty="0">
              <a:ln>
                <a:noFill/>
              </a:ln>
              <a:solidFill>
                <a:srgbClr val="637592"/>
              </a:solidFill>
              <a:effectLst/>
              <a:uLnTx/>
              <a:uFillTx/>
              <a:latin typeface="Arial" panose="020B0604020202020204"/>
              <a:ea typeface="+mn-ea"/>
              <a:cs typeface="+mn-cs"/>
            </a:endParaRPr>
          </a:p>
          <a:p>
            <a:pPr marL="167576" marR="0" lvl="0" indent="-167576" algn="l" defTabSz="914400" rtl="0" eaLnBrk="1" fontAlgn="auto" latinLnBrk="0" hangingPunct="1">
              <a:lnSpc>
                <a:spcPts val="2028"/>
              </a:lnSpc>
              <a:spcBef>
                <a:spcPts val="0"/>
              </a:spcBef>
              <a:spcAft>
                <a:spcPts val="0"/>
              </a:spcAft>
              <a:buClr>
                <a:srgbClr val="0089CA"/>
              </a:buClr>
              <a:buSzPct val="100000"/>
              <a:buFont typeface="Arial" charset="0"/>
              <a:buChar char="●"/>
              <a:tabLst/>
              <a:defRPr/>
            </a:pPr>
            <a:r>
              <a:rPr kumimoji="0" lang="en-US" sz="1600" b="0" i="0" u="none" strike="noStrike" kern="1200" cap="none" spc="0" normalizeH="0" baseline="0" noProof="0" dirty="0">
                <a:ln>
                  <a:noFill/>
                </a:ln>
                <a:solidFill>
                  <a:srgbClr val="637592"/>
                </a:solidFill>
                <a:effectLst/>
                <a:uLnTx/>
                <a:uFillTx/>
                <a:latin typeface="Arial" panose="020B0604020202020204"/>
                <a:ea typeface="+mn-ea"/>
                <a:cs typeface="+mn-cs"/>
              </a:rPr>
              <a:t>CR 51% and 24% respectively</a:t>
            </a:r>
          </a:p>
          <a:p>
            <a:pPr marL="167576" marR="0" lvl="0" indent="-167576" algn="l" defTabSz="914400" rtl="0" eaLnBrk="1" fontAlgn="auto" latinLnBrk="0" hangingPunct="1">
              <a:lnSpc>
                <a:spcPts val="2028"/>
              </a:lnSpc>
              <a:spcBef>
                <a:spcPts val="959"/>
              </a:spcBef>
              <a:spcAft>
                <a:spcPts val="0"/>
              </a:spcAft>
              <a:buClr>
                <a:srgbClr val="0089CA"/>
              </a:buClr>
              <a:buSzPct val="100000"/>
              <a:buFont typeface="Arial" charset="0"/>
              <a:buChar char="●"/>
              <a:tabLst/>
              <a:defRPr/>
            </a:pPr>
            <a:r>
              <a:rPr kumimoji="0" lang="en-US" sz="1600" b="0" i="0" u="none" strike="noStrike" kern="1200" cap="none" spc="0" normalizeH="0" baseline="0" noProof="0" dirty="0">
                <a:ln>
                  <a:noFill/>
                </a:ln>
                <a:solidFill>
                  <a:srgbClr val="637592"/>
                </a:solidFill>
                <a:effectLst/>
                <a:uLnTx/>
                <a:uFillTx/>
                <a:latin typeface="Arial" panose="020B0604020202020204"/>
                <a:ea typeface="+mn-ea"/>
                <a:cs typeface="+mn-cs"/>
              </a:rPr>
              <a:t>HR for PFS 0.41; median PFS 11.5 months vs 3.8 mths</a:t>
            </a:r>
          </a:p>
          <a:p>
            <a:pPr marL="167576" marR="0" lvl="0" indent="-167576" algn="l" defTabSz="914400" rtl="0" eaLnBrk="1" fontAlgn="auto" latinLnBrk="0" hangingPunct="1">
              <a:lnSpc>
                <a:spcPts val="2028"/>
              </a:lnSpc>
              <a:spcBef>
                <a:spcPts val="959"/>
              </a:spcBef>
              <a:spcAft>
                <a:spcPts val="0"/>
              </a:spcAft>
              <a:buClr>
                <a:srgbClr val="0089CA"/>
              </a:buClr>
              <a:buSzPct val="100000"/>
              <a:buFont typeface="Arial" charset="0"/>
              <a:buChar char="●"/>
              <a:tabLst/>
              <a:defRPr/>
            </a:pPr>
            <a:r>
              <a:rPr kumimoji="0" lang="en-US" sz="1600" b="0" i="0" u="none" strike="noStrike" kern="1200" cap="none" spc="0" normalizeH="0" baseline="0" noProof="0" dirty="0">
                <a:ln>
                  <a:noFill/>
                </a:ln>
                <a:solidFill>
                  <a:srgbClr val="637592"/>
                </a:solidFill>
                <a:effectLst/>
                <a:uLnTx/>
                <a:uFillTx/>
                <a:latin typeface="Arial" panose="020B0604020202020204"/>
                <a:ea typeface="+mn-ea"/>
                <a:cs typeface="+mn-cs"/>
              </a:rPr>
              <a:t>Grade ≥2 cytokine release syndrome occurred in less than 5% of patients, with favorable safety profile suitable for outpatient community care</a:t>
            </a:r>
          </a:p>
        </p:txBody>
      </p:sp>
      <p:pic>
        <p:nvPicPr>
          <p:cNvPr id="9" name="Picture 8">
            <a:extLst>
              <a:ext uri="{FF2B5EF4-FFF2-40B4-BE49-F238E27FC236}">
                <a16:creationId xmlns:a16="http://schemas.microsoft.com/office/drawing/2014/main" id="{060C8CF7-6CEF-34E2-CC29-6ED8167E52A0}"/>
              </a:ext>
            </a:extLst>
          </p:cNvPr>
          <p:cNvPicPr>
            <a:picLocks noChangeAspect="1"/>
          </p:cNvPicPr>
          <p:nvPr/>
        </p:nvPicPr>
        <p:blipFill>
          <a:blip r:embed="rId3"/>
          <a:stretch>
            <a:fillRect/>
          </a:stretch>
        </p:blipFill>
        <p:spPr>
          <a:xfrm>
            <a:off x="153334" y="2051050"/>
            <a:ext cx="5532521" cy="2755900"/>
          </a:xfrm>
          <a:prstGeom prst="rect">
            <a:avLst/>
          </a:prstGeom>
        </p:spPr>
      </p:pic>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112911" y="314317"/>
            <a:ext cx="9965870" cy="492443"/>
          </a:xfrm>
          <a:prstGeom prst="rect">
            <a:avLst/>
          </a:prstGeom>
          <a:noFill/>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285698"/>
                </a:solidFill>
                <a:effectLst/>
                <a:uLnTx/>
                <a:uFillTx/>
                <a:latin typeface="Arial"/>
                <a:ea typeface="+mn-ea"/>
                <a:cs typeface="+mn-cs"/>
              </a:rPr>
              <a:t>EPCORE DLBCL-1 - Epcoritamab Monotherapy 2L+</a:t>
            </a:r>
          </a:p>
        </p:txBody>
      </p:sp>
      <p:grpSp>
        <p:nvGrpSpPr>
          <p:cNvPr id="13" name="Group 12">
            <a:extLst>
              <a:ext uri="{FF2B5EF4-FFF2-40B4-BE49-F238E27FC236}">
                <a16:creationId xmlns:a16="http://schemas.microsoft.com/office/drawing/2014/main" id="{0E9EC060-9440-6F2A-C8DC-6C5D0F7ACDBA}"/>
              </a:ext>
            </a:extLst>
          </p:cNvPr>
          <p:cNvGrpSpPr/>
          <p:nvPr/>
        </p:nvGrpSpPr>
        <p:grpSpPr>
          <a:xfrm>
            <a:off x="9001779" y="2124282"/>
            <a:ext cx="1460335" cy="1304718"/>
            <a:chOff x="5365603" y="1954213"/>
            <a:chExt cx="1460335" cy="1304718"/>
          </a:xfrm>
        </p:grpSpPr>
        <p:sp>
          <p:nvSpPr>
            <p:cNvPr id="3" name="TextBox 2"/>
            <p:cNvSpPr txBox="1"/>
            <p:nvPr/>
          </p:nvSpPr>
          <p:spPr>
            <a:xfrm>
              <a:off x="5422436" y="1954213"/>
              <a:ext cx="1346522" cy="830997"/>
            </a:xfrm>
            <a:prstGeom prst="rect">
              <a:avLst/>
            </a:prstGeom>
            <a:noFill/>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rgbClr val="0089CA"/>
                  </a:solidFill>
                  <a:effectLst/>
                  <a:uLnTx/>
                  <a:uFillTx/>
                  <a:latin typeface="Arial"/>
                  <a:ea typeface="+mn-ea"/>
                  <a:cs typeface="+mn-cs"/>
                </a:rPr>
                <a:t>0.74</a:t>
              </a:r>
            </a:p>
          </p:txBody>
        </p:sp>
        <p:sp>
          <p:nvSpPr>
            <p:cNvPr id="4" name="TextBox 3"/>
            <p:cNvSpPr txBox="1"/>
            <p:nvPr/>
          </p:nvSpPr>
          <p:spPr>
            <a:xfrm>
              <a:off x="5365603" y="3074265"/>
              <a:ext cx="1460335" cy="184666"/>
            </a:xfrm>
            <a:prstGeom prst="rect">
              <a:avLst/>
            </a:prstGeom>
            <a:noFill/>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637592"/>
                  </a:solidFill>
                  <a:effectLst/>
                  <a:uLnTx/>
                  <a:uFillTx/>
                  <a:latin typeface="Arial"/>
                  <a:ea typeface="+mn-ea"/>
                  <a:cs typeface="+mn-cs"/>
                </a:rPr>
                <a:t>Hazard Ratio for PFS</a:t>
              </a:r>
              <a:endParaRPr kumimoji="0" lang="en-US" sz="700" b="0" i="0" u="none" strike="noStrike" kern="1200" cap="none" spc="0" normalizeH="0" baseline="0" noProof="0" dirty="0">
                <a:ln>
                  <a:noFill/>
                </a:ln>
                <a:solidFill>
                  <a:srgbClr val="0089CA"/>
                </a:solidFill>
                <a:effectLst/>
                <a:uLnTx/>
                <a:uFillTx/>
                <a:latin typeface="Arial"/>
                <a:ea typeface="+mn-ea"/>
                <a:cs typeface="+mn-cs"/>
                <a:hlinkClick r:id="rId2" tooltip="Roche’s Lunsumio and Polivy combination significantly..."/>
              </a:endParaRPr>
            </a:p>
          </p:txBody>
        </p:sp>
      </p:grpSp>
      <p:grpSp>
        <p:nvGrpSpPr>
          <p:cNvPr id="17" name="Group 16">
            <a:extLst>
              <a:ext uri="{FF2B5EF4-FFF2-40B4-BE49-F238E27FC236}">
                <a16:creationId xmlns:a16="http://schemas.microsoft.com/office/drawing/2014/main" id="{9C4EB70C-E401-D685-3180-C36362868539}"/>
              </a:ext>
            </a:extLst>
          </p:cNvPr>
          <p:cNvGrpSpPr/>
          <p:nvPr/>
        </p:nvGrpSpPr>
        <p:grpSpPr>
          <a:xfrm>
            <a:off x="9058612" y="3833103"/>
            <a:ext cx="1409040" cy="560676"/>
            <a:chOff x="8887545" y="3849185"/>
            <a:chExt cx="1409040" cy="560676"/>
          </a:xfrm>
        </p:grpSpPr>
        <p:sp>
          <p:nvSpPr>
            <p:cNvPr id="7" name="TextBox 6"/>
            <p:cNvSpPr txBox="1"/>
            <p:nvPr/>
          </p:nvSpPr>
          <p:spPr>
            <a:xfrm>
              <a:off x="9286975" y="3849185"/>
              <a:ext cx="610031" cy="342891"/>
            </a:xfrm>
            <a:prstGeom prst="rect">
              <a:avLst/>
            </a:prstGeom>
            <a:noFill/>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351" b="1" i="0" u="none" strike="noStrike" kern="1200" cap="none" spc="0" normalizeH="0" baseline="0" noProof="0" dirty="0">
                  <a:ln>
                    <a:noFill/>
                  </a:ln>
                  <a:solidFill>
                    <a:srgbClr val="0089CA"/>
                  </a:solidFill>
                  <a:effectLst/>
                  <a:uLnTx/>
                  <a:uFillTx/>
                  <a:latin typeface="Arial"/>
                  <a:ea typeface="+mn-ea"/>
                  <a:cs typeface="+mn-cs"/>
                </a:rPr>
                <a:t>73%</a:t>
              </a:r>
            </a:p>
          </p:txBody>
        </p:sp>
        <p:sp>
          <p:nvSpPr>
            <p:cNvPr id="8" name="TextBox 7"/>
            <p:cNvSpPr txBox="1"/>
            <p:nvPr/>
          </p:nvSpPr>
          <p:spPr>
            <a:xfrm>
              <a:off x="8887545" y="4258601"/>
              <a:ext cx="1409040" cy="151260"/>
            </a:xfrm>
            <a:prstGeom prst="rect">
              <a:avLst/>
            </a:prstGeom>
            <a:noFill/>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83" b="0" i="0" u="none" strike="noStrike" kern="1200" cap="none" spc="0" normalizeH="0" baseline="0" noProof="0" dirty="0">
                  <a:ln>
                    <a:noFill/>
                  </a:ln>
                  <a:solidFill>
                    <a:srgbClr val="637592"/>
                  </a:solidFill>
                  <a:effectLst/>
                  <a:uLnTx/>
                  <a:uFillTx/>
                  <a:latin typeface="Microsoft YaHei"/>
                  <a:ea typeface="+mn-ea"/>
                  <a:cs typeface="+mn-cs"/>
                </a:rPr>
                <a:t>Received ≥2 Prior Lines</a:t>
              </a:r>
              <a:endParaRPr kumimoji="0" lang="en-US" sz="881" b="0" i="0" u="none" strike="noStrike" kern="1200" cap="none" spc="0" normalizeH="0" baseline="0" noProof="0" dirty="0">
                <a:ln>
                  <a:noFill/>
                </a:ln>
                <a:solidFill>
                  <a:srgbClr val="0089CA"/>
                </a:solidFill>
                <a:effectLst/>
                <a:uLnTx/>
                <a:uFillTx/>
                <a:latin typeface="Arial"/>
                <a:ea typeface="+mn-ea"/>
                <a:cs typeface="+mn-cs"/>
                <a:hlinkClick r:id="rId2" tooltip="Roche’s Lunsumio and Polivy combination significantly..."/>
              </a:endParaRPr>
            </a:p>
          </p:txBody>
        </p:sp>
      </p:grpSp>
      <p:sp>
        <p:nvSpPr>
          <p:cNvPr id="11" name="TextBox 10"/>
          <p:cNvSpPr txBox="1"/>
          <p:nvPr/>
        </p:nvSpPr>
        <p:spPr>
          <a:xfrm>
            <a:off x="-277449" y="5620353"/>
            <a:ext cx="12746898" cy="246221"/>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C2340"/>
                </a:solidFill>
                <a:effectLst/>
                <a:uLnTx/>
                <a:uFillTx/>
                <a:latin typeface="Arial"/>
                <a:ea typeface="+mn-ea"/>
                <a:cs typeface="+mn-cs"/>
              </a:rPr>
              <a:t>First bispecific monotherapy in RCT to demonstrate PFS improvement in relapsed/refractory DLBCL patients ineligible for transplant</a:t>
            </a:r>
          </a:p>
        </p:txBody>
      </p:sp>
      <p:sp>
        <p:nvSpPr>
          <p:cNvPr id="15" name="TextBox 14">
            <a:extLst>
              <a:ext uri="{FF2B5EF4-FFF2-40B4-BE49-F238E27FC236}">
                <a16:creationId xmlns:a16="http://schemas.microsoft.com/office/drawing/2014/main" id="{C9B0F2F7-27B2-E78F-98ED-5FBE3F6C1E8F}"/>
              </a:ext>
            </a:extLst>
          </p:cNvPr>
          <p:cNvSpPr txBox="1"/>
          <p:nvPr/>
        </p:nvSpPr>
        <p:spPr>
          <a:xfrm>
            <a:off x="6264711" y="6266684"/>
            <a:ext cx="305885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85698"/>
                </a:solidFill>
                <a:effectLst/>
                <a:uLnTx/>
                <a:uFillTx/>
                <a:latin typeface="Arial" panose="020B0604020202020204"/>
                <a:ea typeface="+mn-ea"/>
                <a:cs typeface="+mn-cs"/>
              </a:rPr>
              <a:t>Manufacturer Press Release Jan 16, 2026</a:t>
            </a:r>
          </a:p>
        </p:txBody>
      </p:sp>
      <p:pic>
        <p:nvPicPr>
          <p:cNvPr id="16" name="Picture 15">
            <a:extLst>
              <a:ext uri="{FF2B5EF4-FFF2-40B4-BE49-F238E27FC236}">
                <a16:creationId xmlns:a16="http://schemas.microsoft.com/office/drawing/2014/main" id="{7AE4F77C-473A-2751-C9AA-79ABCBE02F78}"/>
              </a:ext>
            </a:extLst>
          </p:cNvPr>
          <p:cNvPicPr>
            <a:picLocks noChangeAspect="1"/>
          </p:cNvPicPr>
          <p:nvPr/>
        </p:nvPicPr>
        <p:blipFill>
          <a:blip r:embed="rId3"/>
          <a:srcRect l="5204" t="20248" r="3803" b="26727"/>
          <a:stretch>
            <a:fillRect/>
          </a:stretch>
        </p:blipFill>
        <p:spPr>
          <a:xfrm>
            <a:off x="608146" y="1662304"/>
            <a:ext cx="7072342" cy="2747557"/>
          </a:xfrm>
          <a:prstGeom prst="rect">
            <a:avLst/>
          </a:prstGeom>
        </p:spPr>
      </p:pic>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10159900" y="2173634"/>
            <a:ext cx="1727150" cy="681037"/>
          </a:xfrm>
          <a:prstGeom prst="roundRect">
            <a:avLst>
              <a:gd name="adj" fmla="val 11188"/>
            </a:avLst>
          </a:prstGeom>
          <a:solidFill>
            <a:srgbClr val="F8FBF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1" name="TextBox 10"/>
          <p:cNvSpPr txBox="1"/>
          <p:nvPr/>
        </p:nvSpPr>
        <p:spPr>
          <a:xfrm>
            <a:off x="778053" y="282914"/>
            <a:ext cx="10828928" cy="492443"/>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285698"/>
                </a:solidFill>
                <a:effectLst/>
                <a:uLnTx/>
                <a:uFillTx/>
                <a:latin typeface="Arial"/>
                <a:ea typeface="+mn-ea"/>
                <a:cs typeface="+mn-cs"/>
              </a:rPr>
              <a:t>Safety Profile - Managing Cytokine Release Syndrome</a:t>
            </a:r>
          </a:p>
        </p:txBody>
      </p:sp>
      <p:grpSp>
        <p:nvGrpSpPr>
          <p:cNvPr id="21" name="Group 20">
            <a:extLst>
              <a:ext uri="{FF2B5EF4-FFF2-40B4-BE49-F238E27FC236}">
                <a16:creationId xmlns:a16="http://schemas.microsoft.com/office/drawing/2014/main" id="{6BD23E7F-F2C5-CB10-CBCE-0E31728D39F7}"/>
              </a:ext>
            </a:extLst>
          </p:cNvPr>
          <p:cNvGrpSpPr/>
          <p:nvPr/>
        </p:nvGrpSpPr>
        <p:grpSpPr>
          <a:xfrm>
            <a:off x="6518623" y="2173634"/>
            <a:ext cx="5486262" cy="3321375"/>
            <a:chOff x="6400639" y="2173634"/>
            <a:chExt cx="5486262" cy="3321375"/>
          </a:xfrm>
        </p:grpSpPr>
        <p:sp>
          <p:nvSpPr>
            <p:cNvPr id="4" name="Rounded Rectangle 3"/>
            <p:cNvSpPr/>
            <p:nvPr/>
          </p:nvSpPr>
          <p:spPr>
            <a:xfrm>
              <a:off x="6400800" y="2173634"/>
              <a:ext cx="1727150" cy="681037"/>
            </a:xfrm>
            <a:prstGeom prst="roundRect">
              <a:avLst>
                <a:gd name="adj" fmla="val 11188"/>
              </a:avLst>
            </a:prstGeom>
            <a:solidFill>
              <a:srgbClr val="F8FBF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 name="Rounded Rectangle 4"/>
            <p:cNvSpPr/>
            <p:nvPr/>
          </p:nvSpPr>
          <p:spPr>
            <a:xfrm>
              <a:off x="8280350" y="2173634"/>
              <a:ext cx="1727150" cy="681037"/>
            </a:xfrm>
            <a:prstGeom prst="roundRect">
              <a:avLst>
                <a:gd name="adj" fmla="val 11188"/>
              </a:avLst>
            </a:prstGeom>
            <a:solidFill>
              <a:srgbClr val="F8FBF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2" name="TextBox 11"/>
            <p:cNvSpPr txBox="1"/>
            <p:nvPr/>
          </p:nvSpPr>
          <p:spPr>
            <a:xfrm>
              <a:off x="6761687" y="2335501"/>
              <a:ext cx="1004862" cy="350034"/>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16" b="1" i="0" u="none" strike="noStrike" kern="1200" cap="none" spc="0" normalizeH="0" baseline="0" noProof="0" dirty="0">
                  <a:ln>
                    <a:noFill/>
                  </a:ln>
                  <a:solidFill>
                    <a:srgbClr val="0089CA"/>
                  </a:solidFill>
                  <a:effectLst/>
                  <a:uLnTx/>
                  <a:uFillTx/>
                  <a:latin typeface="Arial"/>
                  <a:ea typeface="+mn-ea"/>
                  <a:cs typeface="+mn-cs"/>
                </a:rPr>
                <a:t>Predominantly Grade 1-2</a:t>
              </a:r>
            </a:p>
          </p:txBody>
        </p:sp>
        <p:sp>
          <p:nvSpPr>
            <p:cNvPr id="13" name="TextBox 12"/>
            <p:cNvSpPr txBox="1"/>
            <p:nvPr/>
          </p:nvSpPr>
          <p:spPr>
            <a:xfrm>
              <a:off x="8609193" y="2335501"/>
              <a:ext cx="1068856" cy="350034"/>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16" b="1" i="0" u="none" strike="noStrike" kern="1200" cap="none" spc="0" normalizeH="0" baseline="0" noProof="0" dirty="0">
                  <a:ln>
                    <a:noFill/>
                  </a:ln>
                  <a:solidFill>
                    <a:srgbClr val="0089CA"/>
                  </a:solidFill>
                  <a:effectLst/>
                  <a:uLnTx/>
                  <a:uFillTx/>
                  <a:latin typeface="Arial"/>
                  <a:ea typeface="+mn-ea"/>
                  <a:cs typeface="+mn-cs"/>
                </a:rPr>
                <a:t>Step-up Dosing Mitigates Risk</a:t>
              </a:r>
            </a:p>
          </p:txBody>
        </p:sp>
        <p:sp>
          <p:nvSpPr>
            <p:cNvPr id="14" name="TextBox 13"/>
            <p:cNvSpPr txBox="1"/>
            <p:nvPr/>
          </p:nvSpPr>
          <p:spPr>
            <a:xfrm>
              <a:off x="10443752" y="2335501"/>
              <a:ext cx="1158895" cy="350034"/>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16" b="1" i="0" u="none" strike="noStrike" kern="1200" cap="none" spc="0" normalizeH="0" baseline="0" noProof="0" dirty="0">
                  <a:ln>
                    <a:noFill/>
                  </a:ln>
                  <a:solidFill>
                    <a:srgbClr val="0089CA"/>
                  </a:solidFill>
                  <a:effectLst/>
                  <a:uLnTx/>
                  <a:uFillTx/>
                  <a:latin typeface="Arial"/>
                  <a:ea typeface="+mn-ea"/>
                  <a:cs typeface="+mn-cs"/>
                </a:rPr>
                <a:t>Tocilizumab &lt;5% Usage</a:t>
              </a:r>
              <a:endParaRPr kumimoji="0" lang="en-US" sz="836" b="0" i="0" u="none" strike="noStrike" kern="1200" cap="none" spc="0" normalizeH="0" baseline="0" noProof="0" dirty="0">
                <a:ln>
                  <a:noFill/>
                </a:ln>
                <a:solidFill>
                  <a:srgbClr val="0089CA"/>
                </a:solidFill>
                <a:effectLst/>
                <a:uLnTx/>
                <a:uFillTx/>
                <a:latin typeface="Arial"/>
                <a:ea typeface="+mn-ea"/>
                <a:cs typeface="+mn-cs"/>
                <a:hlinkClick r:id="rId2" tooltip="Mosunetuzumab Plus Polatuzumab Vedotin in Transplant-..."/>
              </a:endParaRPr>
            </a:p>
          </p:txBody>
        </p:sp>
        <p:sp>
          <p:nvSpPr>
            <p:cNvPr id="15" name="TextBox 14"/>
            <p:cNvSpPr txBox="1"/>
            <p:nvPr/>
          </p:nvSpPr>
          <p:spPr>
            <a:xfrm>
              <a:off x="6400639" y="3083195"/>
              <a:ext cx="5486262" cy="2411814"/>
            </a:xfrm>
            <a:prstGeom prst="rect">
              <a:avLst/>
            </a:prstGeom>
            <a:noFill/>
          </p:spPr>
          <p:txBody>
            <a:bodyPr wrap="square" lIns="0" tIns="0" rIns="0" bIns="0">
              <a:spAutoFit/>
            </a:bodyPr>
            <a:lstStyle/>
            <a:p>
              <a:pPr marL="213265" marR="0" lvl="0" indent="-213265" algn="l" defTabSz="914400" rtl="0" eaLnBrk="1" fontAlgn="auto" latinLnBrk="0" hangingPunct="1">
                <a:lnSpc>
                  <a:spcPts val="1697"/>
                </a:lnSpc>
                <a:spcBef>
                  <a:spcPts val="0"/>
                </a:spcBef>
                <a:spcAft>
                  <a:spcPts val="0"/>
                </a:spcAft>
                <a:buClr>
                  <a:srgbClr val="0089CA"/>
                </a:buClr>
                <a:buSzPct val="100000"/>
                <a:buFont typeface="Arial" charset="0"/>
                <a:buChar char="●"/>
                <a:tabLst/>
                <a:defRPr/>
              </a:pPr>
              <a:r>
                <a:rPr kumimoji="0" lang="en-US" sz="1400" b="0" i="0" u="none" strike="noStrike" kern="1200" cap="none" spc="0" normalizeH="0" baseline="0" noProof="0" dirty="0">
                  <a:ln>
                    <a:noFill/>
                  </a:ln>
                  <a:solidFill>
                    <a:srgbClr val="637592"/>
                  </a:solidFill>
                  <a:effectLst/>
                  <a:uLnTx/>
                  <a:uFillTx/>
                  <a:latin typeface="Arial" panose="020B0604020202020204"/>
                  <a:ea typeface="+mn-ea"/>
                  <a:cs typeface="+mn-cs"/>
                </a:rPr>
                <a:t>CRS reported in 22-83% of patients across bispecific trials, with Grade ≥3 events in ≤9.3% of cases</a:t>
              </a:r>
            </a:p>
            <a:p>
              <a:pPr marL="213265" marR="0" lvl="0" indent="-213265" algn="l" defTabSz="914400" rtl="0" eaLnBrk="1" fontAlgn="auto" latinLnBrk="0" hangingPunct="1">
                <a:lnSpc>
                  <a:spcPts val="2028"/>
                </a:lnSpc>
                <a:spcBef>
                  <a:spcPts val="1199"/>
                </a:spcBef>
                <a:spcAft>
                  <a:spcPts val="0"/>
                </a:spcAft>
                <a:buClr>
                  <a:srgbClr val="0089CA"/>
                </a:buClr>
                <a:buSzPct val="100000"/>
                <a:buFont typeface="Arial" charset="0"/>
                <a:buChar char="●"/>
                <a:tabLst/>
                <a:defRPr/>
              </a:pPr>
              <a:r>
                <a:rPr kumimoji="0" lang="en-US" sz="1400" b="0" i="0" u="none" strike="noStrike" kern="1200" cap="none" spc="0" normalizeH="0" baseline="0" noProof="0" dirty="0">
                  <a:ln>
                    <a:noFill/>
                  </a:ln>
                  <a:solidFill>
                    <a:srgbClr val="637592"/>
                  </a:solidFill>
                  <a:effectLst/>
                  <a:uLnTx/>
                  <a:uFillTx/>
                  <a:latin typeface="Arial" panose="020B0604020202020204"/>
                  <a:ea typeface="+mn-ea"/>
                  <a:cs typeface="+mn-cs"/>
                </a:rPr>
                <a:t>Step-up dosing during first cycle reduces severe CRS incidence through weekly dose escalation</a:t>
              </a:r>
            </a:p>
            <a:p>
              <a:pPr marL="213265" marR="0" lvl="0" indent="-213265" algn="l" defTabSz="914400" rtl="0" eaLnBrk="1" fontAlgn="auto" latinLnBrk="0" hangingPunct="1">
                <a:lnSpc>
                  <a:spcPts val="2028"/>
                </a:lnSpc>
                <a:spcBef>
                  <a:spcPts val="1199"/>
                </a:spcBef>
                <a:spcAft>
                  <a:spcPts val="0"/>
                </a:spcAft>
                <a:buClr>
                  <a:srgbClr val="0089CA"/>
                </a:buClr>
                <a:buSzPct val="100000"/>
                <a:buFont typeface="Arial" charset="0"/>
                <a:buChar char="●"/>
                <a:tabLst/>
                <a:defRPr/>
              </a:pPr>
              <a:r>
                <a:rPr kumimoji="0" lang="en-US" sz="1400" b="0" i="0" u="none" strike="noStrike" kern="1200" cap="none" spc="0" normalizeH="0" baseline="0" noProof="0" dirty="0">
                  <a:ln>
                    <a:noFill/>
                  </a:ln>
                  <a:solidFill>
                    <a:srgbClr val="637592"/>
                  </a:solidFill>
                  <a:effectLst/>
                  <a:uLnTx/>
                  <a:uFillTx/>
                  <a:latin typeface="Arial" panose="020B0604020202020204"/>
                  <a:ea typeface="+mn-ea"/>
                  <a:cs typeface="+mn-cs"/>
                </a:rPr>
                <a:t>ICANS rare with bispecific antibodies, distinguishing them from CAR-T cell therapy toxicity profiles</a:t>
              </a:r>
            </a:p>
            <a:p>
              <a:pPr marL="213265" marR="0" lvl="0" indent="-213265" algn="l" defTabSz="914400" rtl="0" eaLnBrk="1" fontAlgn="auto" latinLnBrk="0" hangingPunct="1">
                <a:lnSpc>
                  <a:spcPts val="2028"/>
                </a:lnSpc>
                <a:spcBef>
                  <a:spcPts val="1199"/>
                </a:spcBef>
                <a:spcAft>
                  <a:spcPts val="0"/>
                </a:spcAft>
                <a:buClr>
                  <a:srgbClr val="0089CA"/>
                </a:buClr>
                <a:buSzPct val="100000"/>
                <a:buFont typeface="Arial" charset="0"/>
                <a:buChar char="●"/>
                <a:tabLst/>
                <a:defRPr/>
              </a:pPr>
              <a:r>
                <a:rPr kumimoji="0" lang="en-US" sz="1400" b="0" i="0" u="none" strike="noStrike" kern="1200" cap="none" spc="0" normalizeH="0" baseline="0" noProof="0" dirty="0">
                  <a:ln>
                    <a:noFill/>
                  </a:ln>
                  <a:solidFill>
                    <a:srgbClr val="637592"/>
                  </a:solidFill>
                  <a:effectLst/>
                  <a:uLnTx/>
                  <a:uFillTx/>
                  <a:latin typeface="Arial" panose="020B0604020202020204"/>
                  <a:ea typeface="+mn-ea"/>
                  <a:cs typeface="+mn-cs"/>
                </a:rPr>
                <a:t>Real-world evidence confirms manageable safety allowing community administration beyond specialized centers</a:t>
              </a:r>
            </a:p>
          </p:txBody>
        </p:sp>
      </p:grpSp>
      <p:graphicFrame>
        <p:nvGraphicFramePr>
          <p:cNvPr id="20" name="Table 19">
            <a:extLst>
              <a:ext uri="{FF2B5EF4-FFF2-40B4-BE49-F238E27FC236}">
                <a16:creationId xmlns:a16="http://schemas.microsoft.com/office/drawing/2014/main" id="{D3D6C7A7-32AF-7AD7-5280-1F332B633662}"/>
              </a:ext>
            </a:extLst>
          </p:cNvPr>
          <p:cNvGraphicFramePr>
            <a:graphicFrameLocks noGrp="1"/>
          </p:cNvGraphicFramePr>
          <p:nvPr/>
        </p:nvGraphicFramePr>
        <p:xfrm>
          <a:off x="22878" y="2027266"/>
          <a:ext cx="6343345" cy="3406587"/>
        </p:xfrm>
        <a:graphic>
          <a:graphicData uri="http://schemas.openxmlformats.org/drawingml/2006/table">
            <a:tbl>
              <a:tblPr firstRow="1" firstCol="1" bandRow="1">
                <a:tableStyleId>{5C22544A-7EE6-4342-B048-85BDC9FD1C3A}</a:tableStyleId>
              </a:tblPr>
              <a:tblGrid>
                <a:gridCol w="1429392">
                  <a:extLst>
                    <a:ext uri="{9D8B030D-6E8A-4147-A177-3AD203B41FA5}">
                      <a16:colId xmlns:a16="http://schemas.microsoft.com/office/drawing/2014/main" val="3980709020"/>
                    </a:ext>
                  </a:extLst>
                </a:gridCol>
                <a:gridCol w="1297858">
                  <a:extLst>
                    <a:ext uri="{9D8B030D-6E8A-4147-A177-3AD203B41FA5}">
                      <a16:colId xmlns:a16="http://schemas.microsoft.com/office/drawing/2014/main" val="3310746223"/>
                    </a:ext>
                  </a:extLst>
                </a:gridCol>
                <a:gridCol w="811161">
                  <a:extLst>
                    <a:ext uri="{9D8B030D-6E8A-4147-A177-3AD203B41FA5}">
                      <a16:colId xmlns:a16="http://schemas.microsoft.com/office/drawing/2014/main" val="2712716016"/>
                    </a:ext>
                  </a:extLst>
                </a:gridCol>
                <a:gridCol w="1887794">
                  <a:extLst>
                    <a:ext uri="{9D8B030D-6E8A-4147-A177-3AD203B41FA5}">
                      <a16:colId xmlns:a16="http://schemas.microsoft.com/office/drawing/2014/main" val="212544295"/>
                    </a:ext>
                  </a:extLst>
                </a:gridCol>
                <a:gridCol w="917140">
                  <a:extLst>
                    <a:ext uri="{9D8B030D-6E8A-4147-A177-3AD203B41FA5}">
                      <a16:colId xmlns:a16="http://schemas.microsoft.com/office/drawing/2014/main" val="917726008"/>
                    </a:ext>
                  </a:extLst>
                </a:gridCol>
              </a:tblGrid>
              <a:tr h="618935">
                <a:tc>
                  <a:txBody>
                    <a:bodyPr/>
                    <a:lstStyle/>
                    <a:p>
                      <a:pPr marL="0" marR="0">
                        <a:lnSpc>
                          <a:spcPct val="115000"/>
                        </a:lnSpc>
                        <a:spcAft>
                          <a:spcPts val="800"/>
                        </a:spcAft>
                        <a:buNone/>
                      </a:pPr>
                      <a:r>
                        <a:rPr lang="en-US" sz="1200" kern="100" dirty="0">
                          <a:effectLst/>
                        </a:rPr>
                        <a:t>Trial </a:t>
                      </a:r>
                      <a:endParaRPr lang="en-US" sz="12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nchor="ctr" anchorCtr="1"/>
                </a:tc>
                <a:tc>
                  <a:txBody>
                    <a:bodyPr/>
                    <a:lstStyle/>
                    <a:p>
                      <a:pPr marL="0" marR="0">
                        <a:lnSpc>
                          <a:spcPct val="115000"/>
                        </a:lnSpc>
                        <a:spcAft>
                          <a:spcPts val="800"/>
                        </a:spcAft>
                        <a:buNone/>
                      </a:pPr>
                      <a:r>
                        <a:rPr lang="en-US" sz="1200" kern="100" dirty="0">
                          <a:effectLst/>
                        </a:rPr>
                        <a:t> Therapy </a:t>
                      </a:r>
                      <a:endParaRPr lang="en-US" sz="12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nchor="ctr" anchorCtr="1"/>
                </a:tc>
                <a:tc>
                  <a:txBody>
                    <a:bodyPr/>
                    <a:lstStyle/>
                    <a:p>
                      <a:pPr marL="0" marR="0">
                        <a:lnSpc>
                          <a:spcPct val="115000"/>
                        </a:lnSpc>
                        <a:spcAft>
                          <a:spcPts val="800"/>
                        </a:spcAft>
                        <a:buNone/>
                      </a:pPr>
                      <a:r>
                        <a:rPr lang="en-US" sz="1200" kern="100" dirty="0">
                          <a:effectLst/>
                        </a:rPr>
                        <a:t> All-Grade CRS (%) </a:t>
                      </a:r>
                      <a:endParaRPr lang="en-US" sz="12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nchor="ctr" anchorCtr="1"/>
                </a:tc>
                <a:tc>
                  <a:txBody>
                    <a:bodyPr/>
                    <a:lstStyle/>
                    <a:p>
                      <a:pPr marL="0" marR="0">
                        <a:lnSpc>
                          <a:spcPct val="115000"/>
                        </a:lnSpc>
                        <a:spcAft>
                          <a:spcPts val="800"/>
                        </a:spcAft>
                        <a:buNone/>
                      </a:pPr>
                      <a:r>
                        <a:rPr lang="en-US" sz="1200" kern="100" dirty="0">
                          <a:effectLst/>
                        </a:rPr>
                        <a:t> Grade ≥2 CRS (%) </a:t>
                      </a:r>
                      <a:endParaRPr lang="en-US" sz="12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nchor="ctr" anchorCtr="1"/>
                </a:tc>
                <a:tc>
                  <a:txBody>
                    <a:bodyPr/>
                    <a:lstStyle/>
                    <a:p>
                      <a:pPr marL="0" marR="0" algn="ctr">
                        <a:lnSpc>
                          <a:spcPct val="115000"/>
                        </a:lnSpc>
                        <a:spcAft>
                          <a:spcPts val="800"/>
                        </a:spcAft>
                        <a:buNone/>
                      </a:pPr>
                      <a:r>
                        <a:rPr lang="en-US" sz="1200" kern="100" dirty="0">
                          <a:effectLst/>
                        </a:rPr>
                        <a:t> Peak CRS incidence</a:t>
                      </a:r>
                      <a:endParaRPr lang="en-US" sz="12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nchor="ctr" anchorCtr="1"/>
                </a:tc>
                <a:extLst>
                  <a:ext uri="{0D108BD9-81ED-4DB2-BD59-A6C34878D82A}">
                    <a16:rowId xmlns:a16="http://schemas.microsoft.com/office/drawing/2014/main" val="4018759036"/>
                  </a:ext>
                </a:extLst>
              </a:tr>
              <a:tr h="618935">
                <a:tc>
                  <a:txBody>
                    <a:bodyPr/>
                    <a:lstStyle/>
                    <a:p>
                      <a:pPr marL="0" marR="0">
                        <a:lnSpc>
                          <a:spcPct val="115000"/>
                        </a:lnSpc>
                        <a:spcAft>
                          <a:spcPts val="800"/>
                        </a:spcAft>
                        <a:buNone/>
                      </a:pPr>
                      <a:r>
                        <a:rPr lang="en-US" sz="1200" kern="100" dirty="0">
                          <a:effectLst/>
                        </a:rPr>
                        <a:t>EPCORE NHL-1 </a:t>
                      </a:r>
                      <a:endParaRPr lang="en-US" sz="12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nchor="ctr" anchorCtr="1"/>
                </a:tc>
                <a:tc>
                  <a:txBody>
                    <a:bodyPr/>
                    <a:lstStyle/>
                    <a:p>
                      <a:pPr marL="0" marR="0" algn="ctr">
                        <a:lnSpc>
                          <a:spcPct val="115000"/>
                        </a:lnSpc>
                        <a:spcAft>
                          <a:spcPts val="800"/>
                        </a:spcAft>
                        <a:buNone/>
                      </a:pPr>
                      <a:r>
                        <a:rPr lang="en-US" sz="1200" kern="100" dirty="0">
                          <a:effectLst/>
                        </a:rPr>
                        <a:t> Epcoritamab (SC) monotherapy </a:t>
                      </a:r>
                      <a:endParaRPr lang="en-US" sz="12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nchor="ctr" anchorCtr="1"/>
                </a:tc>
                <a:tc>
                  <a:txBody>
                    <a:bodyPr/>
                    <a:lstStyle/>
                    <a:p>
                      <a:pPr marL="0" marR="0">
                        <a:lnSpc>
                          <a:spcPct val="115000"/>
                        </a:lnSpc>
                        <a:spcAft>
                          <a:spcPts val="800"/>
                        </a:spcAft>
                        <a:buNone/>
                      </a:pPr>
                      <a:r>
                        <a:rPr lang="en-US" sz="1200" kern="100" dirty="0">
                          <a:effectLst/>
                        </a:rPr>
                        <a:t> 49.7% </a:t>
                      </a:r>
                      <a:endParaRPr lang="en-US" sz="12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nchor="ctr" anchorCtr="1"/>
                </a:tc>
                <a:tc>
                  <a:txBody>
                    <a:bodyPr/>
                    <a:lstStyle/>
                    <a:p>
                      <a:pPr marL="0" marR="0" algn="ctr">
                        <a:lnSpc>
                          <a:spcPct val="115000"/>
                        </a:lnSpc>
                        <a:spcAft>
                          <a:spcPts val="800"/>
                        </a:spcAft>
                        <a:buNone/>
                      </a:pPr>
                      <a:r>
                        <a:rPr lang="en-US" sz="1200" kern="100" dirty="0">
                          <a:effectLst/>
                        </a:rPr>
                        <a:t> 17.8%  </a:t>
                      </a:r>
                    </a:p>
                    <a:p>
                      <a:pPr marL="0" marR="0" algn="ctr">
                        <a:lnSpc>
                          <a:spcPct val="115000"/>
                        </a:lnSpc>
                        <a:spcAft>
                          <a:spcPts val="800"/>
                        </a:spcAft>
                        <a:buNone/>
                      </a:pPr>
                      <a:r>
                        <a:rPr lang="en-US" sz="1200" kern="100" dirty="0">
                          <a:effectLst/>
                        </a:rPr>
                        <a:t>(G2: 15.3%; G3: 2.5%) </a:t>
                      </a:r>
                      <a:endParaRPr lang="en-US" sz="12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nchor="ctr" anchorCtr="1"/>
                </a:tc>
                <a:tc>
                  <a:txBody>
                    <a:bodyPr/>
                    <a:lstStyle/>
                    <a:p>
                      <a:pPr marL="0" marR="0">
                        <a:lnSpc>
                          <a:spcPct val="115000"/>
                        </a:lnSpc>
                        <a:spcAft>
                          <a:spcPts val="800"/>
                        </a:spcAft>
                        <a:buNone/>
                      </a:pPr>
                      <a:r>
                        <a:rPr lang="en-US" sz="1200" kern="100" dirty="0">
                          <a:effectLst/>
                        </a:rPr>
                        <a:t> C1D15</a:t>
                      </a:r>
                      <a:endParaRPr lang="en-US" sz="12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nchor="ctr" anchorCtr="1"/>
                </a:tc>
                <a:extLst>
                  <a:ext uri="{0D108BD9-81ED-4DB2-BD59-A6C34878D82A}">
                    <a16:rowId xmlns:a16="http://schemas.microsoft.com/office/drawing/2014/main" val="3113887823"/>
                  </a:ext>
                </a:extLst>
              </a:tr>
              <a:tr h="618935">
                <a:tc>
                  <a:txBody>
                    <a:bodyPr/>
                    <a:lstStyle/>
                    <a:p>
                      <a:pPr marL="0" marR="0">
                        <a:lnSpc>
                          <a:spcPct val="115000"/>
                        </a:lnSpc>
                        <a:spcAft>
                          <a:spcPts val="800"/>
                        </a:spcAft>
                        <a:buNone/>
                      </a:pPr>
                      <a:r>
                        <a:rPr lang="en-US" sz="1200" kern="100" dirty="0">
                          <a:effectLst/>
                        </a:rPr>
                        <a:t>NP30179 </a:t>
                      </a:r>
                      <a:endParaRPr lang="en-US" sz="12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nchor="ctr" anchorCtr="1"/>
                </a:tc>
                <a:tc>
                  <a:txBody>
                    <a:bodyPr/>
                    <a:lstStyle/>
                    <a:p>
                      <a:pPr marL="0" marR="0" algn="ctr">
                        <a:lnSpc>
                          <a:spcPct val="115000"/>
                        </a:lnSpc>
                        <a:spcAft>
                          <a:spcPts val="800"/>
                        </a:spcAft>
                        <a:buNone/>
                      </a:pPr>
                      <a:r>
                        <a:rPr lang="en-US" sz="1200" kern="100" dirty="0">
                          <a:effectLst/>
                        </a:rPr>
                        <a:t> Glofitamab (IV)</a:t>
                      </a:r>
                    </a:p>
                    <a:p>
                      <a:pPr marL="0" marR="0" algn="ctr">
                        <a:lnSpc>
                          <a:spcPct val="115000"/>
                        </a:lnSpc>
                        <a:spcAft>
                          <a:spcPts val="800"/>
                        </a:spcAft>
                        <a:buNone/>
                      </a:pPr>
                      <a:r>
                        <a:rPr lang="en-US" sz="1200" kern="100" dirty="0">
                          <a:effectLst/>
                          <a:latin typeface="Aptos" panose="020B0004020202020204" pitchFamily="34" charset="0"/>
                          <a:ea typeface="Aptos" panose="020B0004020202020204" pitchFamily="34" charset="0"/>
                          <a:cs typeface="Times New Roman" panose="02020603050405020304" pitchFamily="18" charset="0"/>
                        </a:rPr>
                        <a:t>monotherapy</a:t>
                      </a:r>
                    </a:p>
                  </a:txBody>
                  <a:tcPr marL="68580" marR="68580" marT="0" marB="0" anchor="ctr" anchorCtr="1"/>
                </a:tc>
                <a:tc>
                  <a:txBody>
                    <a:bodyPr/>
                    <a:lstStyle/>
                    <a:p>
                      <a:pPr marL="0" marR="0">
                        <a:lnSpc>
                          <a:spcPct val="115000"/>
                        </a:lnSpc>
                        <a:spcAft>
                          <a:spcPts val="800"/>
                        </a:spcAft>
                        <a:buNone/>
                      </a:pPr>
                      <a:r>
                        <a:rPr lang="en-US" sz="1200" kern="100" dirty="0">
                          <a:effectLst/>
                        </a:rPr>
                        <a:t> 63% </a:t>
                      </a:r>
                      <a:endParaRPr lang="en-US" sz="12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nchor="ctr" anchorCtr="1"/>
                </a:tc>
                <a:tc>
                  <a:txBody>
                    <a:bodyPr/>
                    <a:lstStyle/>
                    <a:p>
                      <a:pPr marL="0" marR="0" algn="ctr">
                        <a:lnSpc>
                          <a:spcPct val="115000"/>
                        </a:lnSpc>
                        <a:spcAft>
                          <a:spcPts val="800"/>
                        </a:spcAft>
                        <a:buNone/>
                      </a:pPr>
                      <a:r>
                        <a:rPr lang="en-US" sz="1200" kern="100" dirty="0">
                          <a:effectLst/>
                        </a:rPr>
                        <a:t> 16% </a:t>
                      </a:r>
                    </a:p>
                    <a:p>
                      <a:pPr marL="0" marR="0" algn="ctr">
                        <a:lnSpc>
                          <a:spcPct val="115000"/>
                        </a:lnSpc>
                        <a:spcAft>
                          <a:spcPts val="800"/>
                        </a:spcAft>
                        <a:buNone/>
                      </a:pPr>
                      <a:r>
                        <a:rPr lang="en-US" sz="1200" kern="100" dirty="0">
                          <a:effectLst/>
                        </a:rPr>
                        <a:t>(G2: 12%; Grade 3/4: 4%) </a:t>
                      </a:r>
                      <a:endParaRPr lang="en-US" sz="12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nchor="ctr" anchorCtr="1"/>
                </a:tc>
                <a:tc>
                  <a:txBody>
                    <a:bodyPr/>
                    <a:lstStyle/>
                    <a:p>
                      <a:pPr marL="0" marR="0">
                        <a:lnSpc>
                          <a:spcPct val="115000"/>
                        </a:lnSpc>
                        <a:spcAft>
                          <a:spcPts val="800"/>
                        </a:spcAft>
                        <a:buNone/>
                      </a:pPr>
                      <a:r>
                        <a:rPr lang="en-US" sz="1200" kern="100" dirty="0">
                          <a:effectLst/>
                        </a:rPr>
                        <a:t> C1D8</a:t>
                      </a:r>
                      <a:endParaRPr lang="en-US" sz="12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nchor="ctr" anchorCtr="1"/>
                </a:tc>
                <a:extLst>
                  <a:ext uri="{0D108BD9-81ED-4DB2-BD59-A6C34878D82A}">
                    <a16:rowId xmlns:a16="http://schemas.microsoft.com/office/drawing/2014/main" val="4154229983"/>
                  </a:ext>
                </a:extLst>
              </a:tr>
              <a:tr h="618935">
                <a:tc>
                  <a:txBody>
                    <a:bodyPr/>
                    <a:lstStyle/>
                    <a:p>
                      <a:pPr marL="0" marR="0">
                        <a:lnSpc>
                          <a:spcPct val="115000"/>
                        </a:lnSpc>
                        <a:spcAft>
                          <a:spcPts val="800"/>
                        </a:spcAft>
                        <a:buNone/>
                      </a:pPr>
                      <a:r>
                        <a:rPr lang="en-US" sz="1200" kern="100" dirty="0">
                          <a:effectLst/>
                        </a:rPr>
                        <a:t>STARGLO </a:t>
                      </a:r>
                      <a:endParaRPr lang="en-US" sz="12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nchor="ctr" anchorCtr="1"/>
                </a:tc>
                <a:tc>
                  <a:txBody>
                    <a:bodyPr/>
                    <a:lstStyle/>
                    <a:p>
                      <a:pPr marL="0" marR="0" algn="ctr">
                        <a:lnSpc>
                          <a:spcPct val="115000"/>
                        </a:lnSpc>
                        <a:spcAft>
                          <a:spcPts val="800"/>
                        </a:spcAft>
                        <a:buNone/>
                      </a:pPr>
                      <a:r>
                        <a:rPr lang="en-US" sz="1200" kern="100" dirty="0">
                          <a:effectLst/>
                        </a:rPr>
                        <a:t> Glofitamab + GemOx </a:t>
                      </a:r>
                      <a:endParaRPr lang="en-US" sz="12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nchor="ctr" anchorCtr="1"/>
                </a:tc>
                <a:tc>
                  <a:txBody>
                    <a:bodyPr/>
                    <a:lstStyle/>
                    <a:p>
                      <a:pPr marL="0" marR="0">
                        <a:lnSpc>
                          <a:spcPct val="115000"/>
                        </a:lnSpc>
                        <a:spcAft>
                          <a:spcPts val="800"/>
                        </a:spcAft>
                        <a:buNone/>
                      </a:pPr>
                      <a:r>
                        <a:rPr lang="en-US" sz="1200" kern="100" dirty="0">
                          <a:effectLst/>
                        </a:rPr>
                        <a:t> 44% </a:t>
                      </a:r>
                      <a:endParaRPr lang="en-US" sz="12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nchor="ctr" anchorCtr="1"/>
                </a:tc>
                <a:tc>
                  <a:txBody>
                    <a:bodyPr/>
                    <a:lstStyle/>
                    <a:p>
                      <a:pPr marL="0" marR="0" algn="ctr">
                        <a:lnSpc>
                          <a:spcPct val="115000"/>
                        </a:lnSpc>
                        <a:spcAft>
                          <a:spcPts val="800"/>
                        </a:spcAft>
                        <a:buNone/>
                      </a:pPr>
                      <a:r>
                        <a:rPr lang="en-US" sz="1200" kern="100" dirty="0">
                          <a:effectLst/>
                        </a:rPr>
                        <a:t> 12% </a:t>
                      </a:r>
                    </a:p>
                    <a:p>
                      <a:pPr marL="0" marR="0" algn="ctr">
                        <a:lnSpc>
                          <a:spcPct val="115000"/>
                        </a:lnSpc>
                        <a:spcAft>
                          <a:spcPts val="800"/>
                        </a:spcAft>
                        <a:buNone/>
                      </a:pPr>
                      <a:r>
                        <a:rPr lang="en-US" sz="1200" kern="100" dirty="0">
                          <a:effectLst/>
                        </a:rPr>
                        <a:t>(G2: 10%; G3: 2%) </a:t>
                      </a:r>
                      <a:endParaRPr lang="en-US" sz="12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nchor="ctr" anchorCtr="1"/>
                </a:tc>
                <a:tc>
                  <a:txBody>
                    <a:bodyPr/>
                    <a:lstStyle/>
                    <a:p>
                      <a:pPr marL="0" marR="0">
                        <a:lnSpc>
                          <a:spcPct val="115000"/>
                        </a:lnSpc>
                        <a:spcAft>
                          <a:spcPts val="800"/>
                        </a:spcAft>
                        <a:buNone/>
                      </a:pPr>
                      <a:r>
                        <a:rPr lang="en-US" sz="1200" kern="100" dirty="0">
                          <a:effectLst/>
                        </a:rPr>
                        <a:t> C1D8</a:t>
                      </a:r>
                      <a:endParaRPr lang="en-US" sz="12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nchor="ctr" anchorCtr="1"/>
                </a:tc>
                <a:extLst>
                  <a:ext uri="{0D108BD9-81ED-4DB2-BD59-A6C34878D82A}">
                    <a16:rowId xmlns:a16="http://schemas.microsoft.com/office/drawing/2014/main" val="3495891362"/>
                  </a:ext>
                </a:extLst>
              </a:tr>
              <a:tr h="618935">
                <a:tc>
                  <a:txBody>
                    <a:bodyPr/>
                    <a:lstStyle/>
                    <a:p>
                      <a:pPr marL="0" marR="0">
                        <a:lnSpc>
                          <a:spcPct val="115000"/>
                        </a:lnSpc>
                        <a:spcAft>
                          <a:spcPts val="800"/>
                        </a:spcAft>
                        <a:buNone/>
                      </a:pPr>
                      <a:r>
                        <a:rPr lang="en-US" sz="1200" kern="100" dirty="0">
                          <a:effectLst/>
                        </a:rPr>
                        <a:t>SUNMO </a:t>
                      </a:r>
                      <a:endParaRPr lang="en-US" sz="12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nchor="ctr" anchorCtr="1"/>
                </a:tc>
                <a:tc>
                  <a:txBody>
                    <a:bodyPr/>
                    <a:lstStyle/>
                    <a:p>
                      <a:pPr marL="0" marR="0" algn="ctr">
                        <a:lnSpc>
                          <a:spcPct val="115000"/>
                        </a:lnSpc>
                        <a:spcAft>
                          <a:spcPts val="800"/>
                        </a:spcAft>
                        <a:buNone/>
                      </a:pPr>
                      <a:r>
                        <a:rPr lang="en-US" sz="1200" kern="100" dirty="0">
                          <a:effectLst/>
                        </a:rPr>
                        <a:t>Mosunetuzumab (SC) + polatuzumab vedotin (IV) </a:t>
                      </a:r>
                      <a:endParaRPr lang="en-US" sz="12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nchor="ctr" anchorCtr="1"/>
                </a:tc>
                <a:tc>
                  <a:txBody>
                    <a:bodyPr/>
                    <a:lstStyle/>
                    <a:p>
                      <a:pPr marL="0" marR="0">
                        <a:lnSpc>
                          <a:spcPct val="115000"/>
                        </a:lnSpc>
                        <a:spcAft>
                          <a:spcPts val="800"/>
                        </a:spcAft>
                        <a:buNone/>
                      </a:pPr>
                      <a:r>
                        <a:rPr lang="en-US" sz="1200" kern="100" dirty="0">
                          <a:effectLst/>
                        </a:rPr>
                        <a:t> 26%</a:t>
                      </a:r>
                      <a:endParaRPr lang="en-US" sz="12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nchor="ctr" anchorCtr="1"/>
                </a:tc>
                <a:tc>
                  <a:txBody>
                    <a:bodyPr/>
                    <a:lstStyle/>
                    <a:p>
                      <a:pPr marL="0" marR="0" algn="ctr">
                        <a:lnSpc>
                          <a:spcPct val="115000"/>
                        </a:lnSpc>
                        <a:spcAft>
                          <a:spcPts val="800"/>
                        </a:spcAft>
                        <a:buNone/>
                      </a:pPr>
                      <a:r>
                        <a:rPr lang="en-US" sz="1200" kern="100" dirty="0">
                          <a:effectLst/>
                        </a:rPr>
                        <a:t> &lt;5% </a:t>
                      </a:r>
                    </a:p>
                    <a:p>
                      <a:pPr marL="0" marR="0" algn="ctr">
                        <a:lnSpc>
                          <a:spcPct val="115000"/>
                        </a:lnSpc>
                        <a:spcAft>
                          <a:spcPts val="800"/>
                        </a:spcAft>
                        <a:buNone/>
                      </a:pPr>
                      <a:r>
                        <a:rPr lang="en-US" sz="1200" kern="100" dirty="0">
                          <a:effectLst/>
                        </a:rPr>
                        <a:t>(G2 3.7%, G3: 0.7%) </a:t>
                      </a:r>
                      <a:endParaRPr lang="en-US" sz="12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nchor="ctr" anchorCtr="1"/>
                </a:tc>
                <a:tc>
                  <a:txBody>
                    <a:bodyPr/>
                    <a:lstStyle/>
                    <a:p>
                      <a:pPr marL="0" marR="0">
                        <a:lnSpc>
                          <a:spcPct val="115000"/>
                        </a:lnSpc>
                        <a:spcAft>
                          <a:spcPts val="800"/>
                        </a:spcAft>
                        <a:buNone/>
                      </a:pPr>
                      <a:r>
                        <a:rPr lang="en-US" sz="1200" kern="100" dirty="0">
                          <a:effectLst/>
                        </a:rPr>
                        <a:t> C1D1</a:t>
                      </a:r>
                      <a:endParaRPr lang="en-US" sz="12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nchor="ctr" anchorCtr="1"/>
                </a:tc>
                <a:extLst>
                  <a:ext uri="{0D108BD9-81ED-4DB2-BD59-A6C34878D82A}">
                    <a16:rowId xmlns:a16="http://schemas.microsoft.com/office/drawing/2014/main" val="624241632"/>
                  </a:ext>
                </a:extLst>
              </a:tr>
            </a:tbl>
          </a:graphicData>
        </a:graphic>
      </p:graphicFrame>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04792" y="252958"/>
            <a:ext cx="10867300" cy="434093"/>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21" b="1" i="0" u="none" strike="noStrike" kern="1200" cap="none" spc="0" normalizeH="0" baseline="0" noProof="0" dirty="0">
                <a:ln>
                  <a:noFill/>
                </a:ln>
                <a:solidFill>
                  <a:srgbClr val="285698"/>
                </a:solidFill>
                <a:effectLst/>
                <a:uLnTx/>
                <a:uFillTx/>
                <a:latin typeface="Arial"/>
                <a:ea typeface="+mn-ea"/>
                <a:cs typeface="+mn-cs"/>
              </a:rPr>
              <a:t>Frontline Integration - Moving Earlier in Treatment</a:t>
            </a:r>
          </a:p>
        </p:txBody>
      </p:sp>
      <p:sp>
        <p:nvSpPr>
          <p:cNvPr id="7" name="TextBox 6"/>
          <p:cNvSpPr txBox="1"/>
          <p:nvPr/>
        </p:nvSpPr>
        <p:spPr>
          <a:xfrm>
            <a:off x="492362" y="1202385"/>
            <a:ext cx="11394838" cy="4610878"/>
          </a:xfrm>
          <a:prstGeom prst="rect">
            <a:avLst/>
          </a:prstGeom>
          <a:noFill/>
        </p:spPr>
        <p:txBody>
          <a:bodyPr wrap="square" lIns="0" tIns="0" rIns="0" bIns="0">
            <a:spAutoFit/>
          </a:bodyPr>
          <a:lstStyle/>
          <a:p>
            <a:pPr marL="167576" marR="0" lvl="0" indent="-167576" algn="l" defTabSz="914400" rtl="0" eaLnBrk="1" fontAlgn="auto" latinLnBrk="0" hangingPunct="1">
              <a:lnSpc>
                <a:spcPct val="150000"/>
              </a:lnSpc>
              <a:spcBef>
                <a:spcPts val="0"/>
              </a:spcBef>
              <a:spcAft>
                <a:spcPts val="0"/>
              </a:spcAft>
              <a:buClr>
                <a:srgbClr val="0089CA"/>
              </a:buClr>
              <a:buSzPct val="100000"/>
              <a:buFont typeface="Arial" charset="0"/>
              <a:buChar char="●"/>
              <a:tabLst/>
              <a:defRPr/>
            </a:pPr>
            <a:r>
              <a:rPr kumimoji="0" lang="en-US" sz="2000" b="0" i="0" u="none" strike="noStrike" kern="1200" cap="none" spc="0" normalizeH="0" baseline="0" noProof="0" dirty="0">
                <a:ln>
                  <a:noFill/>
                </a:ln>
                <a:solidFill>
                  <a:srgbClr val="637592"/>
                </a:solidFill>
                <a:effectLst/>
                <a:uLnTx/>
                <a:uFillTx/>
                <a:latin typeface="Arial"/>
                <a:ea typeface="+mn-ea"/>
                <a:cs typeface="+mn-cs"/>
              </a:rPr>
              <a:t>EPCORE NHL-2 trial with epcoritamab plus R-CHOP in 47 untreated high-risk LBCL</a:t>
            </a:r>
          </a:p>
          <a:p>
            <a:pPr marL="624776" marR="0" lvl="1" indent="-167576" algn="l" defTabSz="914400" rtl="0" eaLnBrk="1" fontAlgn="auto" latinLnBrk="0" hangingPunct="1">
              <a:lnSpc>
                <a:spcPct val="150000"/>
              </a:lnSpc>
              <a:spcBef>
                <a:spcPts val="0"/>
              </a:spcBef>
              <a:spcAft>
                <a:spcPts val="0"/>
              </a:spcAft>
              <a:buClr>
                <a:srgbClr val="0089CA"/>
              </a:buClr>
              <a:buSzPct val="100000"/>
              <a:buFont typeface="Arial" charset="0"/>
              <a:buChar char="●"/>
              <a:tabLst/>
              <a:defRPr/>
            </a:pPr>
            <a:r>
              <a:rPr kumimoji="0" lang="en-US" sz="2000" b="0" i="0" u="none" strike="noStrike" kern="1200" cap="none" spc="0" normalizeH="0" baseline="0" noProof="0" dirty="0">
                <a:ln>
                  <a:noFill/>
                </a:ln>
                <a:solidFill>
                  <a:srgbClr val="637592"/>
                </a:solidFill>
                <a:effectLst/>
                <a:uLnTx/>
                <a:uFillTx/>
                <a:latin typeface="Arial"/>
                <a:ea typeface="+mn-ea"/>
                <a:cs typeface="+mn-cs"/>
              </a:rPr>
              <a:t>100% ORR, 87% CR</a:t>
            </a:r>
            <a:r>
              <a:rPr kumimoji="0" lang="en-US" sz="2000" b="0" i="0" u="none" strike="noStrike" kern="1200" cap="none" spc="0" normalizeH="0" baseline="0" noProof="0" dirty="0">
                <a:ln>
                  <a:noFill/>
                </a:ln>
                <a:solidFill>
                  <a:srgbClr val="0089CA"/>
                </a:solidFill>
                <a:effectLst/>
                <a:uLnTx/>
                <a:uFillTx/>
                <a:latin typeface="Arial"/>
                <a:ea typeface="+mn-ea"/>
                <a:cs typeface="+mn-cs"/>
              </a:rPr>
              <a:t> </a:t>
            </a:r>
          </a:p>
          <a:p>
            <a:pPr marL="624776" marR="0" lvl="1" indent="-167576" algn="l" defTabSz="914400" rtl="0" eaLnBrk="1" fontAlgn="auto" latinLnBrk="0" hangingPunct="1">
              <a:lnSpc>
                <a:spcPct val="150000"/>
              </a:lnSpc>
              <a:spcBef>
                <a:spcPts val="0"/>
              </a:spcBef>
              <a:spcAft>
                <a:spcPts val="0"/>
              </a:spcAft>
              <a:buClr>
                <a:srgbClr val="0089CA"/>
              </a:buClr>
              <a:buSzPct val="100000"/>
              <a:buFont typeface="Arial" charset="0"/>
              <a:buChar char="●"/>
              <a:tabLst/>
              <a:defRPr/>
            </a:pPr>
            <a:r>
              <a:rPr kumimoji="0" lang="en-US" sz="2000" b="0" i="0" u="none" strike="noStrike" kern="1200" cap="none" spc="0" normalizeH="0" baseline="0" noProof="0" dirty="0">
                <a:ln>
                  <a:noFill/>
                </a:ln>
                <a:solidFill>
                  <a:srgbClr val="637592"/>
                </a:solidFill>
                <a:effectLst/>
                <a:uLnTx/>
                <a:uFillTx/>
                <a:latin typeface="Arial"/>
                <a:ea typeface="+mn-ea"/>
                <a:cs typeface="+mn-cs"/>
              </a:rPr>
              <a:t>24-month OS and PFS were 87% and 74% respectively</a:t>
            </a:r>
          </a:p>
          <a:p>
            <a:pPr marL="624776" marR="0" lvl="1" indent="-167576" algn="l" defTabSz="914400" rtl="0" eaLnBrk="1" fontAlgn="auto" latinLnBrk="0" hangingPunct="1">
              <a:lnSpc>
                <a:spcPct val="150000"/>
              </a:lnSpc>
              <a:spcBef>
                <a:spcPts val="0"/>
              </a:spcBef>
              <a:spcAft>
                <a:spcPts val="0"/>
              </a:spcAft>
              <a:buClr>
                <a:srgbClr val="0089CA"/>
              </a:buClr>
              <a:buSzPct val="100000"/>
              <a:buFont typeface="Arial" charset="0"/>
              <a:buChar char="●"/>
              <a:tabLst/>
              <a:defRPr/>
            </a:pPr>
            <a:endParaRPr kumimoji="0" lang="en-US" sz="2000" b="0" i="0" u="none" strike="noStrike" kern="1200" cap="none" spc="0" normalizeH="0" baseline="0" noProof="0" dirty="0">
              <a:ln>
                <a:noFill/>
              </a:ln>
              <a:solidFill>
                <a:srgbClr val="637592"/>
              </a:solidFill>
              <a:effectLst/>
              <a:uLnTx/>
              <a:uFillTx/>
              <a:latin typeface="Arial"/>
              <a:ea typeface="+mn-ea"/>
              <a:cs typeface="+mn-cs"/>
            </a:endParaRPr>
          </a:p>
          <a:p>
            <a:pPr marL="167576" marR="0" lvl="0" indent="-167576" algn="l" defTabSz="914400" rtl="0" eaLnBrk="1" fontAlgn="auto" latinLnBrk="0" hangingPunct="1">
              <a:lnSpc>
                <a:spcPct val="150000"/>
              </a:lnSpc>
              <a:spcBef>
                <a:spcPts val="959"/>
              </a:spcBef>
              <a:spcAft>
                <a:spcPts val="0"/>
              </a:spcAft>
              <a:buClr>
                <a:srgbClr val="0089CA"/>
              </a:buClr>
              <a:buSzPct val="100000"/>
              <a:buFont typeface="Arial" charset="0"/>
              <a:buChar char="●"/>
              <a:tabLst/>
              <a:defRPr/>
            </a:pPr>
            <a:r>
              <a:rPr kumimoji="0" lang="en-US" sz="2000" b="0" i="0" u="none" strike="noStrike" kern="1200" cap="none" spc="0" normalizeH="0" baseline="0" noProof="0" dirty="0">
                <a:ln>
                  <a:noFill/>
                </a:ln>
                <a:solidFill>
                  <a:srgbClr val="637592"/>
                </a:solidFill>
                <a:effectLst/>
                <a:uLnTx/>
                <a:uFillTx/>
                <a:latin typeface="Arial"/>
                <a:ea typeface="+mn-ea"/>
                <a:cs typeface="+mn-cs"/>
              </a:rPr>
              <a:t>COALITION trial evaluated glofit with R-CHOP and polatuzumab-R-CHP regimens for high-risk large cell lymphomas</a:t>
            </a:r>
          </a:p>
          <a:p>
            <a:pPr marL="624776" marR="0" lvl="1" indent="-167576" algn="l" defTabSz="914400" rtl="0" eaLnBrk="1" fontAlgn="auto" latinLnBrk="0" hangingPunct="1">
              <a:lnSpc>
                <a:spcPct val="150000"/>
              </a:lnSpc>
              <a:spcBef>
                <a:spcPts val="959"/>
              </a:spcBef>
              <a:spcAft>
                <a:spcPts val="0"/>
              </a:spcAft>
              <a:buClr>
                <a:srgbClr val="0089CA"/>
              </a:buClr>
              <a:buSzPct val="100000"/>
              <a:buFont typeface="Arial" charset="0"/>
              <a:buChar char="●"/>
              <a:tabLst/>
              <a:defRPr/>
            </a:pPr>
            <a:r>
              <a:rPr kumimoji="0" lang="en-US" sz="2000" b="0" i="0" u="none" strike="noStrike" kern="1200" cap="none" spc="0" normalizeH="0" baseline="0" noProof="0" dirty="0">
                <a:ln>
                  <a:noFill/>
                </a:ln>
                <a:solidFill>
                  <a:srgbClr val="637592"/>
                </a:solidFill>
                <a:effectLst/>
                <a:uLnTx/>
                <a:uFillTx/>
                <a:latin typeface="Arial"/>
                <a:ea typeface="+mn-ea"/>
                <a:cs typeface="+mn-cs"/>
              </a:rPr>
              <a:t>100% ORR, 98% CR</a:t>
            </a:r>
          </a:p>
          <a:p>
            <a:pPr marL="624776" marR="0" lvl="1" indent="-167576" algn="l" defTabSz="914400" rtl="0" eaLnBrk="1" fontAlgn="auto" latinLnBrk="0" hangingPunct="1">
              <a:lnSpc>
                <a:spcPct val="150000"/>
              </a:lnSpc>
              <a:spcBef>
                <a:spcPts val="959"/>
              </a:spcBef>
              <a:spcAft>
                <a:spcPts val="0"/>
              </a:spcAft>
              <a:buClr>
                <a:srgbClr val="0089CA"/>
              </a:buClr>
              <a:buSzPct val="100000"/>
              <a:buFont typeface="Arial" charset="0"/>
              <a:buChar char="●"/>
              <a:tabLst/>
              <a:defRPr/>
            </a:pPr>
            <a:r>
              <a:rPr kumimoji="0" lang="en-US" sz="2000" b="0" i="0" u="none" strike="noStrike" kern="1200" cap="none" spc="0" normalizeH="0" baseline="0" noProof="0" dirty="0">
                <a:ln>
                  <a:noFill/>
                </a:ln>
                <a:solidFill>
                  <a:srgbClr val="637592"/>
                </a:solidFill>
                <a:effectLst/>
                <a:uLnTx/>
                <a:uFillTx/>
                <a:latin typeface="Arial"/>
                <a:ea typeface="+mn-ea"/>
                <a:cs typeface="+mn-cs"/>
              </a:rPr>
              <a:t>24-month OS 92% and 86% respectively</a:t>
            </a:r>
          </a:p>
          <a:p>
            <a:pPr marL="167576" marR="0" lvl="0" indent="-167576" algn="l" defTabSz="914400" rtl="0" eaLnBrk="1" fontAlgn="auto" latinLnBrk="0" hangingPunct="1">
              <a:lnSpc>
                <a:spcPct val="150000"/>
              </a:lnSpc>
              <a:spcBef>
                <a:spcPts val="959"/>
              </a:spcBef>
              <a:spcAft>
                <a:spcPts val="0"/>
              </a:spcAft>
              <a:buClr>
                <a:srgbClr val="0089CA"/>
              </a:buClr>
              <a:buSzPct val="100000"/>
              <a:buFont typeface="Arial" charset="0"/>
              <a:buChar char="●"/>
              <a:tabLst/>
              <a:defRPr/>
            </a:pPr>
            <a:r>
              <a:rPr kumimoji="0" lang="en-US" sz="2000" b="0" i="0" u="none" strike="noStrike" kern="1200" cap="none" spc="0" normalizeH="0" baseline="0" noProof="0" dirty="0">
                <a:ln>
                  <a:noFill/>
                </a:ln>
                <a:solidFill>
                  <a:srgbClr val="637592"/>
                </a:solidFill>
                <a:effectLst/>
                <a:uLnTx/>
                <a:uFillTx/>
                <a:latin typeface="Arial"/>
                <a:ea typeface="+mn-ea"/>
                <a:cs typeface="+mn-cs"/>
              </a:rPr>
              <a:t>OLYMPIA-3 Phase III trial evaluating odronextamab plus CHOP showed 100% CR at 160mg dose</a:t>
            </a:r>
            <a:endParaRPr kumimoji="0" lang="en-US" sz="2000" b="0" i="0" u="none" strike="noStrike" kern="1200" cap="none" spc="0" normalizeH="0" baseline="0" noProof="0" dirty="0">
              <a:ln>
                <a:noFill/>
              </a:ln>
              <a:solidFill>
                <a:srgbClr val="0089CA"/>
              </a:solidFill>
              <a:effectLst/>
              <a:uLnTx/>
              <a:uFillTx/>
              <a:latin typeface="Arial"/>
              <a:ea typeface="+mn-ea"/>
              <a:cs typeface="+mn-cs"/>
              <a:hlinkClick r:id="rId2" tooltip="First Results of Phase III OLYMPIA-3: Odronextamab Pl..."/>
            </a:endParaRPr>
          </a:p>
        </p:txBody>
      </p:sp>
    </p:spTree>
    <p:extLst>
      <p:ext uri="{BB962C8B-B14F-4D97-AF65-F5344CB8AC3E}">
        <p14:creationId xmlns:p14="http://schemas.microsoft.com/office/powerpoint/2010/main" val="406635657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304800" y="1874639"/>
            <a:ext cx="2859583" cy="800992"/>
          </a:xfrm>
          <a:prstGeom prst="roundRect">
            <a:avLst>
              <a:gd name="adj" fmla="val 9513"/>
            </a:avLst>
          </a:prstGeom>
          <a:solidFill>
            <a:srgbClr val="F8FBF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 name="Rounded Rectangle 2"/>
          <p:cNvSpPr/>
          <p:nvPr/>
        </p:nvSpPr>
        <p:spPr>
          <a:xfrm>
            <a:off x="3316783" y="1874639"/>
            <a:ext cx="2859583" cy="800992"/>
          </a:xfrm>
          <a:prstGeom prst="roundRect">
            <a:avLst>
              <a:gd name="adj" fmla="val 9513"/>
            </a:avLst>
          </a:prstGeom>
          <a:solidFill>
            <a:srgbClr val="F8FBF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 name="Rectangle 3"/>
          <p:cNvSpPr/>
          <p:nvPr/>
        </p:nvSpPr>
        <p:spPr>
          <a:xfrm>
            <a:off x="6481167" y="0"/>
            <a:ext cx="5710832" cy="685800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 name="TextBox 9"/>
          <p:cNvSpPr txBox="1"/>
          <p:nvPr/>
        </p:nvSpPr>
        <p:spPr>
          <a:xfrm>
            <a:off x="654380" y="506109"/>
            <a:ext cx="10515608" cy="470257"/>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56" b="1" i="0" u="none" strike="noStrike" kern="1200" cap="none" spc="0" normalizeH="0" baseline="0" noProof="0" dirty="0">
                <a:ln>
                  <a:noFill/>
                </a:ln>
                <a:solidFill>
                  <a:srgbClr val="285698"/>
                </a:solidFill>
                <a:effectLst/>
                <a:uLnTx/>
                <a:uFillTx/>
                <a:latin typeface="Arial"/>
                <a:ea typeface="+mn-ea"/>
                <a:cs typeface="+mn-cs"/>
              </a:rPr>
              <a:t>Resistance Mechanisms and CD20 Expression</a:t>
            </a:r>
          </a:p>
        </p:txBody>
      </p:sp>
      <p:sp>
        <p:nvSpPr>
          <p:cNvPr id="11" name="TextBox 10"/>
          <p:cNvSpPr txBox="1"/>
          <p:nvPr/>
        </p:nvSpPr>
        <p:spPr>
          <a:xfrm>
            <a:off x="654380" y="2066873"/>
            <a:ext cx="2160335" cy="408225"/>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92" b="1" i="0" u="none" strike="noStrike" kern="1200" cap="none" spc="0" normalizeH="0" baseline="0" noProof="0" dirty="0">
                <a:ln>
                  <a:noFill/>
                </a:ln>
                <a:solidFill>
                  <a:srgbClr val="0089CA"/>
                </a:solidFill>
                <a:effectLst/>
                <a:uLnTx/>
                <a:uFillTx/>
                <a:latin typeface="Arial"/>
                <a:ea typeface="+mn-ea"/>
                <a:cs typeface="+mn-cs"/>
              </a:rPr>
              <a:t>High CD20 Loss Rate Post-Relapse</a:t>
            </a:r>
          </a:p>
        </p:txBody>
      </p:sp>
      <p:sp>
        <p:nvSpPr>
          <p:cNvPr id="12" name="TextBox 11"/>
          <p:cNvSpPr txBox="1"/>
          <p:nvPr/>
        </p:nvSpPr>
        <p:spPr>
          <a:xfrm>
            <a:off x="3667628" y="2175663"/>
            <a:ext cx="2157507" cy="190495"/>
          </a:xfrm>
          <a:prstGeom prst="rect">
            <a:avLst/>
          </a:prstGeom>
          <a:noFill/>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92" b="1" i="0" u="none" strike="noStrike" kern="1200" cap="none" spc="0" normalizeH="0" baseline="0" noProof="0" dirty="0">
                <a:ln>
                  <a:noFill/>
                </a:ln>
                <a:solidFill>
                  <a:srgbClr val="0089CA"/>
                </a:solidFill>
                <a:effectLst/>
                <a:uLnTx/>
                <a:uFillTx/>
                <a:latin typeface="Arial"/>
                <a:ea typeface="+mn-ea"/>
                <a:cs typeface="+mn-cs"/>
              </a:rPr>
              <a:t>Alternative Targets Needed</a:t>
            </a:r>
          </a:p>
        </p:txBody>
      </p:sp>
      <p:grpSp>
        <p:nvGrpSpPr>
          <p:cNvPr id="20" name="Group 19">
            <a:extLst>
              <a:ext uri="{FF2B5EF4-FFF2-40B4-BE49-F238E27FC236}">
                <a16:creationId xmlns:a16="http://schemas.microsoft.com/office/drawing/2014/main" id="{A0129F25-7D32-C2EF-6545-9DF8C4320A19}"/>
              </a:ext>
            </a:extLst>
          </p:cNvPr>
          <p:cNvGrpSpPr/>
          <p:nvPr/>
        </p:nvGrpSpPr>
        <p:grpSpPr>
          <a:xfrm>
            <a:off x="6785967" y="1916268"/>
            <a:ext cx="5101232" cy="3851225"/>
            <a:chOff x="6785967" y="1503312"/>
            <a:chExt cx="5101232" cy="3851225"/>
          </a:xfrm>
        </p:grpSpPr>
        <p:sp>
          <p:nvSpPr>
            <p:cNvPr id="5" name="Rounded Rectangle 4"/>
            <p:cNvSpPr/>
            <p:nvPr/>
          </p:nvSpPr>
          <p:spPr>
            <a:xfrm>
              <a:off x="6785967" y="1503312"/>
              <a:ext cx="5101232" cy="877341"/>
            </a:xfrm>
            <a:prstGeom prst="roundRect">
              <a:avLst>
                <a:gd name="adj" fmla="val 8685"/>
              </a:avLst>
            </a:prstGeom>
            <a:solidFill>
              <a:srgbClr val="E8F4F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 name="Rectangle 5"/>
            <p:cNvSpPr/>
            <p:nvPr/>
          </p:nvSpPr>
          <p:spPr>
            <a:xfrm>
              <a:off x="6877347" y="2609254"/>
              <a:ext cx="22770" cy="152400"/>
            </a:xfrm>
            <a:prstGeom prst="rect">
              <a:avLst/>
            </a:prstGeom>
            <a:solidFill>
              <a:srgbClr val="0089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 name="Rounded Rectangle 6"/>
            <p:cNvSpPr/>
            <p:nvPr/>
          </p:nvSpPr>
          <p:spPr>
            <a:xfrm>
              <a:off x="6785967" y="2990254"/>
              <a:ext cx="5101232" cy="877341"/>
            </a:xfrm>
            <a:prstGeom prst="roundRect">
              <a:avLst>
                <a:gd name="adj" fmla="val 8685"/>
              </a:avLst>
            </a:prstGeom>
            <a:solidFill>
              <a:srgbClr val="E8F4F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 name="Rectangle 7"/>
            <p:cNvSpPr/>
            <p:nvPr/>
          </p:nvSpPr>
          <p:spPr>
            <a:xfrm>
              <a:off x="6877347" y="4096196"/>
              <a:ext cx="22770" cy="152400"/>
            </a:xfrm>
            <a:prstGeom prst="rect">
              <a:avLst/>
            </a:prstGeom>
            <a:solidFill>
              <a:srgbClr val="0089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 name="Rounded Rectangle 8"/>
            <p:cNvSpPr/>
            <p:nvPr/>
          </p:nvSpPr>
          <p:spPr>
            <a:xfrm>
              <a:off x="6785967" y="4477196"/>
              <a:ext cx="5101232" cy="877341"/>
            </a:xfrm>
            <a:prstGeom prst="roundRect">
              <a:avLst>
                <a:gd name="adj" fmla="val 8685"/>
              </a:avLst>
            </a:prstGeom>
            <a:solidFill>
              <a:srgbClr val="E8F4F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3" name="TextBox 12"/>
            <p:cNvSpPr txBox="1"/>
            <p:nvPr/>
          </p:nvSpPr>
          <p:spPr>
            <a:xfrm>
              <a:off x="6968553" y="1695556"/>
              <a:ext cx="1696598" cy="200019"/>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10" b="1" i="0" u="none" strike="noStrike" kern="1200" cap="none" spc="0" normalizeH="0" baseline="0" noProof="0" dirty="0">
                  <a:ln>
                    <a:noFill/>
                  </a:ln>
                  <a:solidFill>
                    <a:srgbClr val="0C233F"/>
                  </a:solidFill>
                  <a:effectLst/>
                  <a:uLnTx/>
                  <a:uFillTx/>
                  <a:latin typeface="Arial"/>
                  <a:ea typeface="+mn-ea"/>
                  <a:cs typeface="+mn-cs"/>
                </a:rPr>
                <a:t>Primary Resistance</a:t>
              </a:r>
            </a:p>
          </p:txBody>
        </p:sp>
        <p:sp>
          <p:nvSpPr>
            <p:cNvPr id="14" name="TextBox 13"/>
            <p:cNvSpPr txBox="1"/>
            <p:nvPr/>
          </p:nvSpPr>
          <p:spPr>
            <a:xfrm>
              <a:off x="6968553" y="2003622"/>
              <a:ext cx="4525750" cy="161920"/>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75" b="0" i="0" u="none" strike="noStrike" kern="1200" cap="none" spc="0" normalizeH="0" baseline="0" noProof="0" dirty="0">
                  <a:ln>
                    <a:noFill/>
                  </a:ln>
                  <a:solidFill>
                    <a:srgbClr val="637592"/>
                  </a:solidFill>
                  <a:effectLst/>
                  <a:uLnTx/>
                  <a:uFillTx/>
                  <a:latin typeface="Arial"/>
                  <a:ea typeface="+mn-ea"/>
                  <a:cs typeface="+mn-cs"/>
                </a:rPr>
                <a:t>Intrinsic tumor biology, T-cell dysfunction, microenvironment factors</a:t>
              </a:r>
            </a:p>
          </p:txBody>
        </p:sp>
        <p:sp>
          <p:nvSpPr>
            <p:cNvPr id="15" name="TextBox 14"/>
            <p:cNvSpPr txBox="1"/>
            <p:nvPr/>
          </p:nvSpPr>
          <p:spPr>
            <a:xfrm>
              <a:off x="6968553" y="3182461"/>
              <a:ext cx="1808067" cy="200019"/>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10" b="1" i="0" u="none" strike="noStrike" kern="1200" cap="none" spc="0" normalizeH="0" baseline="0" noProof="0" dirty="0">
                  <a:ln>
                    <a:noFill/>
                  </a:ln>
                  <a:solidFill>
                    <a:srgbClr val="0C233F"/>
                  </a:solidFill>
                  <a:effectLst/>
                  <a:uLnTx/>
                  <a:uFillTx/>
                  <a:latin typeface="Arial"/>
                  <a:ea typeface="+mn-ea"/>
                  <a:cs typeface="+mn-cs"/>
                </a:rPr>
                <a:t>Acquired Resistance</a:t>
              </a:r>
            </a:p>
          </p:txBody>
        </p:sp>
        <p:sp>
          <p:nvSpPr>
            <p:cNvPr id="16" name="TextBox 15"/>
            <p:cNvSpPr txBox="1"/>
            <p:nvPr/>
          </p:nvSpPr>
          <p:spPr>
            <a:xfrm>
              <a:off x="6968553" y="3490527"/>
              <a:ext cx="4099963" cy="161920"/>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75" b="0" i="0" u="none" strike="noStrike" kern="1200" cap="none" spc="0" normalizeH="0" baseline="0" noProof="0" dirty="0">
                  <a:ln>
                    <a:noFill/>
                  </a:ln>
                  <a:solidFill>
                    <a:srgbClr val="637592"/>
                  </a:solidFill>
                  <a:effectLst/>
                  <a:uLnTx/>
                  <a:uFillTx/>
                  <a:latin typeface="Arial"/>
                  <a:ea typeface="+mn-ea"/>
                  <a:cs typeface="+mn-cs"/>
                </a:rPr>
                <a:t>CD20 antigen loss, immune exhaustion, regulatory pathways</a:t>
              </a:r>
            </a:p>
          </p:txBody>
        </p:sp>
        <p:sp>
          <p:nvSpPr>
            <p:cNvPr id="17" name="TextBox 16"/>
            <p:cNvSpPr txBox="1"/>
            <p:nvPr/>
          </p:nvSpPr>
          <p:spPr>
            <a:xfrm>
              <a:off x="6968553" y="4669365"/>
              <a:ext cx="1767140" cy="200019"/>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10" b="1" i="0" u="none" strike="noStrike" kern="1200" cap="none" spc="0" normalizeH="0" baseline="0" noProof="0" dirty="0">
                  <a:ln>
                    <a:noFill/>
                  </a:ln>
                  <a:solidFill>
                    <a:srgbClr val="0C233F"/>
                  </a:solidFill>
                  <a:effectLst/>
                  <a:uLnTx/>
                  <a:uFillTx/>
                  <a:latin typeface="Arial"/>
                  <a:ea typeface="+mn-ea"/>
                  <a:cs typeface="+mn-cs"/>
                </a:rPr>
                <a:t>Clinical Implications</a:t>
              </a:r>
            </a:p>
          </p:txBody>
        </p:sp>
        <p:sp>
          <p:nvSpPr>
            <p:cNvPr id="18" name="TextBox 17"/>
            <p:cNvSpPr txBox="1"/>
            <p:nvPr/>
          </p:nvSpPr>
          <p:spPr>
            <a:xfrm>
              <a:off x="6968553" y="4977432"/>
              <a:ext cx="4735592" cy="161920"/>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75" b="0" i="0" u="none" strike="noStrike" kern="1200" cap="none" spc="0" normalizeH="0" baseline="0" noProof="0" dirty="0">
                  <a:ln>
                    <a:noFill/>
                  </a:ln>
                  <a:solidFill>
                    <a:srgbClr val="637592"/>
                  </a:solidFill>
                  <a:effectLst/>
                  <a:uLnTx/>
                  <a:uFillTx/>
                  <a:latin typeface="Arial"/>
                  <a:ea typeface="+mn-ea"/>
                  <a:cs typeface="+mn-cs"/>
                </a:rPr>
                <a:t>Sequencing considerations, combination strategies, alternative targets</a:t>
              </a:r>
            </a:p>
          </p:txBody>
        </p:sp>
      </p:grpSp>
      <p:sp>
        <p:nvSpPr>
          <p:cNvPr id="19" name="TextBox 18"/>
          <p:cNvSpPr txBox="1"/>
          <p:nvPr/>
        </p:nvSpPr>
        <p:spPr>
          <a:xfrm>
            <a:off x="304791" y="2904159"/>
            <a:ext cx="6389501" cy="2675604"/>
          </a:xfrm>
          <a:prstGeom prst="rect">
            <a:avLst/>
          </a:prstGeom>
          <a:noFill/>
        </p:spPr>
        <p:txBody>
          <a:bodyPr wrap="square" lIns="0" tIns="0" rIns="0" bIns="0">
            <a:spAutoFit/>
          </a:bodyPr>
          <a:lstStyle/>
          <a:p>
            <a:pPr marL="167576" marR="0" lvl="0" indent="-167576" algn="l" defTabSz="914400" rtl="0" eaLnBrk="1" fontAlgn="auto" latinLnBrk="0" hangingPunct="1">
              <a:lnSpc>
                <a:spcPts val="2028"/>
              </a:lnSpc>
              <a:spcBef>
                <a:spcPts val="0"/>
              </a:spcBef>
              <a:spcAft>
                <a:spcPts val="0"/>
              </a:spcAft>
              <a:buClr>
                <a:srgbClr val="0089CA"/>
              </a:buClr>
              <a:buSzPct val="100000"/>
              <a:buFont typeface="Arial" charset="0"/>
              <a:buChar char="●"/>
              <a:tabLst/>
              <a:defRPr/>
            </a:pPr>
            <a:r>
              <a:rPr kumimoji="0" lang="en-US" sz="1600" b="0" i="0" u="none" strike="noStrike" kern="1200" cap="none" spc="0" normalizeH="0" baseline="0" noProof="0" dirty="0">
                <a:ln>
                  <a:noFill/>
                </a:ln>
                <a:solidFill>
                  <a:srgbClr val="637592"/>
                </a:solidFill>
                <a:effectLst/>
                <a:uLnTx/>
                <a:uFillTx/>
                <a:latin typeface="Arial"/>
                <a:ea typeface="+mn-ea"/>
                <a:cs typeface="+mn-cs"/>
              </a:rPr>
              <a:t>CD20 loss is a major challenge post CD3 x CD20 BsAb-refractory disease.  25-60% observed in relapsed patients potentially requiring non-CD20 targeting approaches</a:t>
            </a:r>
          </a:p>
          <a:p>
            <a:pPr marL="167576" marR="0" lvl="0" indent="-167576" algn="l" defTabSz="914400" rtl="0" eaLnBrk="1" fontAlgn="auto" latinLnBrk="0" hangingPunct="1">
              <a:lnSpc>
                <a:spcPts val="2028"/>
              </a:lnSpc>
              <a:spcBef>
                <a:spcPts val="959"/>
              </a:spcBef>
              <a:spcAft>
                <a:spcPts val="0"/>
              </a:spcAft>
              <a:buClr>
                <a:srgbClr val="0089CA"/>
              </a:buClr>
              <a:buSzPct val="100000"/>
              <a:buFont typeface="Arial" charset="0"/>
              <a:buChar char="●"/>
              <a:tabLst/>
              <a:defRPr/>
            </a:pPr>
            <a:r>
              <a:rPr kumimoji="0" lang="en-US" sz="1600" b="0" i="0" u="none" strike="noStrike" kern="1200" cap="none" spc="0" normalizeH="0" baseline="0" noProof="0" dirty="0">
                <a:ln>
                  <a:noFill/>
                </a:ln>
                <a:solidFill>
                  <a:srgbClr val="637592"/>
                </a:solidFill>
                <a:effectLst/>
                <a:uLnTx/>
                <a:uFillTx/>
                <a:latin typeface="Arial"/>
                <a:ea typeface="+mn-ea"/>
                <a:cs typeface="+mn-cs"/>
              </a:rPr>
              <a:t>T-cell exhaustion and dysfunction may contribute to resistance</a:t>
            </a:r>
          </a:p>
          <a:p>
            <a:pPr marL="167576" marR="0" lvl="0" indent="-167576" algn="l" defTabSz="914400" rtl="0" eaLnBrk="1" fontAlgn="auto" latinLnBrk="0" hangingPunct="1">
              <a:lnSpc>
                <a:spcPts val="2028"/>
              </a:lnSpc>
              <a:spcBef>
                <a:spcPts val="959"/>
              </a:spcBef>
              <a:spcAft>
                <a:spcPts val="0"/>
              </a:spcAft>
              <a:buClr>
                <a:srgbClr val="0089CA"/>
              </a:buClr>
              <a:buSzPct val="100000"/>
              <a:buFont typeface="Arial" charset="0"/>
              <a:buChar char="●"/>
              <a:tabLst/>
              <a:defRPr/>
            </a:pPr>
            <a:r>
              <a:rPr kumimoji="0" lang="en-US" sz="1600" b="0" i="0" u="none" strike="noStrike" kern="1200" cap="none" spc="0" normalizeH="0" baseline="0" noProof="0" dirty="0">
                <a:ln>
                  <a:noFill/>
                </a:ln>
                <a:solidFill>
                  <a:srgbClr val="637592"/>
                </a:solidFill>
                <a:effectLst/>
                <a:uLnTx/>
                <a:uFillTx/>
                <a:latin typeface="Arial"/>
                <a:ea typeface="+mn-ea"/>
                <a:cs typeface="+mn-cs"/>
              </a:rPr>
              <a:t>Baseline T-cell quantity and function critical for bispecific antibody success, more so than CAR-T therapy which provides ex vivo expansion</a:t>
            </a:r>
          </a:p>
          <a:p>
            <a:pPr marL="167576" marR="0" lvl="0" indent="-167576" algn="l" defTabSz="914400" rtl="0" eaLnBrk="1" fontAlgn="auto" latinLnBrk="0" hangingPunct="1">
              <a:lnSpc>
                <a:spcPts val="2028"/>
              </a:lnSpc>
              <a:spcBef>
                <a:spcPts val="959"/>
              </a:spcBef>
              <a:spcAft>
                <a:spcPts val="0"/>
              </a:spcAft>
              <a:buClr>
                <a:srgbClr val="0089CA"/>
              </a:buClr>
              <a:buSzPct val="100000"/>
              <a:buFont typeface="Arial" charset="0"/>
              <a:buChar char="●"/>
              <a:tabLst/>
              <a:defRPr/>
            </a:pPr>
            <a:r>
              <a:rPr kumimoji="0" lang="en-US" sz="1600" b="0" i="0" u="none" strike="noStrike" kern="1200" cap="none" spc="0" normalizeH="0" baseline="0" noProof="0" dirty="0">
                <a:ln>
                  <a:noFill/>
                </a:ln>
                <a:solidFill>
                  <a:srgbClr val="637592"/>
                </a:solidFill>
                <a:effectLst/>
                <a:uLnTx/>
                <a:uFillTx/>
                <a:latin typeface="Arial"/>
                <a:ea typeface="+mn-ea"/>
                <a:cs typeface="+mn-cs"/>
              </a:rPr>
              <a:t>Combination with immunomodulatory agents being investigated to overcome resistance and enhance durability</a:t>
            </a:r>
          </a:p>
        </p:txBody>
      </p:sp>
    </p:spTree>
    <p:extLst>
      <p:ext uri="{BB962C8B-B14F-4D97-AF65-F5344CB8AC3E}">
        <p14:creationId xmlns:p14="http://schemas.microsoft.com/office/powerpoint/2010/main" val="394767055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76B7D93-9162-DF91-FD84-258B2F8F1100}"/>
              </a:ext>
            </a:extLst>
          </p:cNvPr>
          <p:cNvSpPr txBox="1">
            <a:spLocks/>
          </p:cNvSpPr>
          <p:nvPr/>
        </p:nvSpPr>
        <p:spPr>
          <a:xfrm>
            <a:off x="421340" y="394634"/>
            <a:ext cx="11344835" cy="704257"/>
          </a:xfrm>
          <a:prstGeom prst="rect">
            <a:avLst/>
          </a:prstGeom>
        </p:spPr>
        <p:txBody>
          <a:bodyPr vert="horz" lIns="91440" tIns="45720" rIns="91440" bIns="45720" rtlCol="0" anchor="t" anchorCtr="0">
            <a:norm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600"/>
              </a:spcAft>
              <a:buClrTx/>
              <a:buSzTx/>
              <a:buFontTx/>
              <a:buNone/>
              <a:tabLst/>
              <a:defRPr/>
            </a:pPr>
            <a:r>
              <a:rPr kumimoji="0" lang="en-US" sz="3600" b="1" i="0" u="none" strike="noStrike" kern="1200" cap="none" spc="0" normalizeH="0" baseline="0" noProof="0" dirty="0">
                <a:ln>
                  <a:noFill/>
                </a:ln>
                <a:solidFill>
                  <a:srgbClr val="285698"/>
                </a:solidFill>
                <a:effectLst/>
                <a:uLnTx/>
                <a:uFillTx/>
                <a:latin typeface="Arial" panose="020B0604020202020204"/>
                <a:ea typeface="+mj-ea"/>
                <a:cs typeface="+mj-cs"/>
              </a:rPr>
              <a:t>Surovatamig</a:t>
            </a:r>
          </a:p>
        </p:txBody>
      </p:sp>
      <p:pic>
        <p:nvPicPr>
          <p:cNvPr id="2" name="Picture 1">
            <a:extLst>
              <a:ext uri="{FF2B5EF4-FFF2-40B4-BE49-F238E27FC236}">
                <a16:creationId xmlns:a16="http://schemas.microsoft.com/office/drawing/2014/main" id="{EFBD5DC6-A417-9D9E-3702-9FC074E87A1F}"/>
              </a:ext>
            </a:extLst>
          </p:cNvPr>
          <p:cNvPicPr>
            <a:picLocks noChangeAspect="1"/>
          </p:cNvPicPr>
          <p:nvPr/>
        </p:nvPicPr>
        <p:blipFill>
          <a:blip r:embed="rId2"/>
          <a:srcRect l="6296" r="15111" b="-2"/>
          <a:stretch>
            <a:fillRect/>
          </a:stretch>
        </p:blipFill>
        <p:spPr>
          <a:xfrm>
            <a:off x="263079" y="1317623"/>
            <a:ext cx="3102711" cy="3947893"/>
          </a:xfrm>
          <a:prstGeom prst="rect">
            <a:avLst/>
          </a:prstGeom>
          <a:noFill/>
        </p:spPr>
      </p:pic>
      <p:pic>
        <p:nvPicPr>
          <p:cNvPr id="5" name="Picture 4">
            <a:extLst>
              <a:ext uri="{FF2B5EF4-FFF2-40B4-BE49-F238E27FC236}">
                <a16:creationId xmlns:a16="http://schemas.microsoft.com/office/drawing/2014/main" id="{C5A7573E-8244-3B34-F1A9-DF7E6E4B03AA}"/>
              </a:ext>
            </a:extLst>
          </p:cNvPr>
          <p:cNvPicPr>
            <a:picLocks noChangeAspect="1"/>
          </p:cNvPicPr>
          <p:nvPr/>
        </p:nvPicPr>
        <p:blipFill>
          <a:blip r:embed="rId3"/>
          <a:stretch>
            <a:fillRect/>
          </a:stretch>
        </p:blipFill>
        <p:spPr>
          <a:xfrm>
            <a:off x="4446038" y="1317623"/>
            <a:ext cx="6923577" cy="2588815"/>
          </a:xfrm>
          <a:prstGeom prst="rect">
            <a:avLst/>
          </a:prstGeom>
        </p:spPr>
      </p:pic>
      <p:sp>
        <p:nvSpPr>
          <p:cNvPr id="6" name="TextBox 5">
            <a:extLst>
              <a:ext uri="{FF2B5EF4-FFF2-40B4-BE49-F238E27FC236}">
                <a16:creationId xmlns:a16="http://schemas.microsoft.com/office/drawing/2014/main" id="{C67D6CA0-9F8B-D281-0A37-1FBE23D7F5AC}"/>
              </a:ext>
            </a:extLst>
          </p:cNvPr>
          <p:cNvSpPr txBox="1"/>
          <p:nvPr/>
        </p:nvSpPr>
        <p:spPr>
          <a:xfrm>
            <a:off x="3628196" y="4055318"/>
            <a:ext cx="2803011" cy="120032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285698"/>
              </a:buClr>
              <a:buSzTx/>
              <a:buFontTx/>
              <a:buNone/>
              <a:tabLst/>
              <a:defRPr/>
            </a:pPr>
            <a:r>
              <a:rPr kumimoji="0" lang="en-US" sz="1800" b="0" i="0" u="none" strike="noStrike" kern="1200" cap="none" spc="0" normalizeH="0" baseline="0" noProof="0" dirty="0">
                <a:ln>
                  <a:noFill/>
                </a:ln>
                <a:solidFill>
                  <a:srgbClr val="637592"/>
                </a:solidFill>
                <a:effectLst/>
                <a:uLnTx/>
                <a:uFillTx/>
                <a:latin typeface="Arial" panose="020B0604020202020204"/>
                <a:ea typeface="+mn-ea"/>
                <a:cs typeface="+mn-cs"/>
              </a:rPr>
              <a:t>N=106</a:t>
            </a:r>
          </a:p>
          <a:p>
            <a:pPr marL="285750" marR="0" lvl="0" indent="-285750" algn="l" defTabSz="914400" rtl="0" eaLnBrk="1" fontAlgn="auto" latinLnBrk="0" hangingPunct="1">
              <a:lnSpc>
                <a:spcPct val="100000"/>
              </a:lnSpc>
              <a:spcBef>
                <a:spcPts val="0"/>
              </a:spcBef>
              <a:spcAft>
                <a:spcPts val="0"/>
              </a:spcAft>
              <a:buClr>
                <a:srgbClr val="285698"/>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637592"/>
                </a:solidFill>
                <a:effectLst/>
                <a:uLnTx/>
                <a:uFillTx/>
                <a:latin typeface="Arial" panose="020B0604020202020204"/>
                <a:ea typeface="+mn-ea"/>
                <a:cs typeface="+mn-cs"/>
              </a:rPr>
              <a:t>Median prior lines 3</a:t>
            </a:r>
          </a:p>
          <a:p>
            <a:pPr marL="285750" marR="0" lvl="0" indent="-285750" algn="l" defTabSz="914400" rtl="0" eaLnBrk="1" fontAlgn="auto" latinLnBrk="0" hangingPunct="1">
              <a:lnSpc>
                <a:spcPct val="100000"/>
              </a:lnSpc>
              <a:spcBef>
                <a:spcPts val="0"/>
              </a:spcBef>
              <a:spcAft>
                <a:spcPts val="0"/>
              </a:spcAft>
              <a:buClr>
                <a:srgbClr val="285698"/>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637592"/>
                </a:solidFill>
                <a:effectLst/>
                <a:uLnTx/>
                <a:uFillTx/>
                <a:latin typeface="Arial" panose="020B0604020202020204"/>
                <a:ea typeface="+mn-ea"/>
                <a:cs typeface="+mn-cs"/>
              </a:rPr>
              <a:t>42% prior CD19 CART</a:t>
            </a:r>
          </a:p>
          <a:p>
            <a:pPr marL="285750" marR="0" lvl="0" indent="-285750" algn="l" defTabSz="914400" rtl="0" eaLnBrk="1" fontAlgn="auto" latinLnBrk="0" hangingPunct="1">
              <a:lnSpc>
                <a:spcPct val="100000"/>
              </a:lnSpc>
              <a:spcBef>
                <a:spcPts val="0"/>
              </a:spcBef>
              <a:spcAft>
                <a:spcPts val="0"/>
              </a:spcAft>
              <a:buClr>
                <a:srgbClr val="285698"/>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637592"/>
                </a:solidFill>
                <a:effectLst/>
                <a:uLnTx/>
                <a:uFillTx/>
                <a:latin typeface="Arial" panose="020B0604020202020204"/>
                <a:ea typeface="+mn-ea"/>
                <a:cs typeface="+mn-cs"/>
              </a:rPr>
              <a:t>15% prior CD20 BsAb</a:t>
            </a:r>
          </a:p>
        </p:txBody>
      </p:sp>
      <p:sp>
        <p:nvSpPr>
          <p:cNvPr id="7" name="TextBox 6">
            <a:extLst>
              <a:ext uri="{FF2B5EF4-FFF2-40B4-BE49-F238E27FC236}">
                <a16:creationId xmlns:a16="http://schemas.microsoft.com/office/drawing/2014/main" id="{632913B0-0485-8F3B-1909-F1FD8F00A3EE}"/>
              </a:ext>
            </a:extLst>
          </p:cNvPr>
          <p:cNvSpPr txBox="1"/>
          <p:nvPr/>
        </p:nvSpPr>
        <p:spPr>
          <a:xfrm>
            <a:off x="6390412" y="4332316"/>
            <a:ext cx="5801588" cy="1200329"/>
          </a:xfrm>
          <a:prstGeom prst="rect">
            <a:avLst/>
          </a:prstGeom>
          <a:noFill/>
        </p:spPr>
        <p:txBody>
          <a:bodyPr wrap="none" rtlCol="0">
            <a:spAutoFit/>
          </a:bodyPr>
          <a:lstStyle/>
          <a:p>
            <a:pPr marL="285750" marR="0" lvl="0" indent="-285750" algn="l" defTabSz="914400" rtl="0" eaLnBrk="1" fontAlgn="auto" latinLnBrk="0" hangingPunct="1">
              <a:lnSpc>
                <a:spcPct val="100000"/>
              </a:lnSpc>
              <a:spcBef>
                <a:spcPts val="0"/>
              </a:spcBef>
              <a:spcAft>
                <a:spcPts val="0"/>
              </a:spcAft>
              <a:buClr>
                <a:srgbClr val="285698"/>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637592"/>
                </a:solidFill>
                <a:effectLst/>
                <a:uLnTx/>
                <a:uFillTx/>
                <a:latin typeface="Arial" panose="020B0604020202020204"/>
                <a:ea typeface="+mn-ea"/>
                <a:cs typeface="+mn-cs"/>
              </a:rPr>
              <a:t>ORR~60%+ , CR~45% in doses 15mg higher</a:t>
            </a:r>
          </a:p>
          <a:p>
            <a:pPr marL="285750" marR="0" lvl="0" indent="-285750" algn="l" defTabSz="914400" rtl="0" eaLnBrk="1" fontAlgn="auto" latinLnBrk="0" hangingPunct="1">
              <a:lnSpc>
                <a:spcPct val="100000"/>
              </a:lnSpc>
              <a:spcBef>
                <a:spcPts val="0"/>
              </a:spcBef>
              <a:spcAft>
                <a:spcPts val="0"/>
              </a:spcAft>
              <a:buClr>
                <a:srgbClr val="285698"/>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637592"/>
                </a:solidFill>
                <a:effectLst/>
                <a:uLnTx/>
                <a:uFillTx/>
                <a:latin typeface="Arial" panose="020B0604020202020204"/>
                <a:ea typeface="+mn-ea"/>
                <a:cs typeface="+mn-cs"/>
              </a:rPr>
              <a:t>In pts with CR, ~90% MRD undetectable (CLARITY)</a:t>
            </a:r>
          </a:p>
          <a:p>
            <a:pPr marL="285750" marR="0" lvl="0" indent="-285750" algn="l" defTabSz="914400" rtl="0" eaLnBrk="1" fontAlgn="auto" latinLnBrk="0" hangingPunct="1">
              <a:lnSpc>
                <a:spcPct val="100000"/>
              </a:lnSpc>
              <a:spcBef>
                <a:spcPts val="0"/>
              </a:spcBef>
              <a:spcAft>
                <a:spcPts val="0"/>
              </a:spcAft>
              <a:buClr>
                <a:srgbClr val="285698"/>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637592"/>
                </a:solidFill>
                <a:effectLst/>
                <a:uLnTx/>
                <a:uFillTx/>
                <a:latin typeface="Arial" panose="020B0604020202020204"/>
                <a:ea typeface="+mn-ea"/>
                <a:cs typeface="+mn-cs"/>
              </a:rPr>
              <a:t>CRS 49%, no Gr3/4</a:t>
            </a:r>
          </a:p>
          <a:p>
            <a:pPr marL="285750" marR="0" lvl="0" indent="-285750" algn="l" defTabSz="914400" rtl="0" eaLnBrk="1" fontAlgn="auto" latinLnBrk="0" hangingPunct="1">
              <a:lnSpc>
                <a:spcPct val="100000"/>
              </a:lnSpc>
              <a:spcBef>
                <a:spcPts val="0"/>
              </a:spcBef>
              <a:spcAft>
                <a:spcPts val="0"/>
              </a:spcAft>
              <a:buClr>
                <a:srgbClr val="285698"/>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637592"/>
                </a:solidFill>
                <a:effectLst/>
                <a:uLnTx/>
                <a:uFillTx/>
                <a:latin typeface="Arial" panose="020B0604020202020204"/>
                <a:ea typeface="+mn-ea"/>
                <a:cs typeface="+mn-cs"/>
              </a:rPr>
              <a:t>ICANS 26%, Gr3 8%</a:t>
            </a:r>
          </a:p>
        </p:txBody>
      </p:sp>
      <p:sp>
        <p:nvSpPr>
          <p:cNvPr id="4" name="TextBox 3">
            <a:extLst>
              <a:ext uri="{FF2B5EF4-FFF2-40B4-BE49-F238E27FC236}">
                <a16:creationId xmlns:a16="http://schemas.microsoft.com/office/drawing/2014/main" id="{A3FD32D1-ABC8-AB54-AD16-CA434CB8994A}"/>
              </a:ext>
            </a:extLst>
          </p:cNvPr>
          <p:cNvSpPr txBox="1"/>
          <p:nvPr/>
        </p:nvSpPr>
        <p:spPr>
          <a:xfrm>
            <a:off x="9378409" y="6581001"/>
            <a:ext cx="2813591"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C2340"/>
                </a:solidFill>
                <a:effectLst/>
                <a:uLnTx/>
                <a:uFillTx/>
                <a:latin typeface="Arial" panose="020B0604020202020204"/>
                <a:ea typeface="+mn-ea"/>
                <a:cs typeface="+mn-cs"/>
              </a:rPr>
              <a:t>Kim TM et al. ASH 2025;Abstract 5514</a:t>
            </a:r>
          </a:p>
        </p:txBody>
      </p:sp>
    </p:spTree>
    <p:extLst>
      <p:ext uri="{BB962C8B-B14F-4D97-AF65-F5344CB8AC3E}">
        <p14:creationId xmlns:p14="http://schemas.microsoft.com/office/powerpoint/2010/main" val="373635438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D10570-40E5-165B-4B07-CA7DBD9B69F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810E388-BD6C-56C0-53CF-EB653FD31B81}"/>
              </a:ext>
            </a:extLst>
          </p:cNvPr>
          <p:cNvSpPr>
            <a:spLocks noGrp="1"/>
          </p:cNvSpPr>
          <p:nvPr>
            <p:ph type="title"/>
          </p:nvPr>
        </p:nvSpPr>
        <p:spPr/>
        <p:txBody>
          <a:bodyPr/>
          <a:lstStyle/>
          <a:p>
            <a:pPr algn="l"/>
            <a:r>
              <a:rPr lang="en-US" dirty="0"/>
              <a:t>Phase I Surovatamig Data</a:t>
            </a:r>
            <a:r>
              <a:rPr lang="en-US"/>
              <a:t>: Response </a:t>
            </a:r>
            <a:r>
              <a:rPr lang="en-US" dirty="0"/>
              <a:t>Rates by TD</a:t>
            </a:r>
          </a:p>
        </p:txBody>
      </p:sp>
      <p:sp>
        <p:nvSpPr>
          <p:cNvPr id="5" name="TextBox 4">
            <a:extLst>
              <a:ext uri="{FF2B5EF4-FFF2-40B4-BE49-F238E27FC236}">
                <a16:creationId xmlns:a16="http://schemas.microsoft.com/office/drawing/2014/main" id="{853BBFA5-35B4-673A-BEA2-64944F3D4B40}"/>
              </a:ext>
            </a:extLst>
          </p:cNvPr>
          <p:cNvSpPr txBox="1"/>
          <p:nvPr/>
        </p:nvSpPr>
        <p:spPr>
          <a:xfrm>
            <a:off x="0" y="6519446"/>
            <a:ext cx="3343544"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C2340"/>
                </a:solidFill>
                <a:effectLst/>
                <a:uLnTx/>
                <a:uFillTx/>
                <a:latin typeface="Calibri"/>
                <a:ea typeface="+mn-ea"/>
                <a:cs typeface="+mn-cs"/>
              </a:rPr>
              <a:t>Kim TM et al. ASH 2025;Abstract 5514</a:t>
            </a:r>
          </a:p>
        </p:txBody>
      </p:sp>
      <p:pic>
        <p:nvPicPr>
          <p:cNvPr id="7" name="Picture 6">
            <a:extLst>
              <a:ext uri="{FF2B5EF4-FFF2-40B4-BE49-F238E27FC236}">
                <a16:creationId xmlns:a16="http://schemas.microsoft.com/office/drawing/2014/main" id="{BAFCE4CD-086A-7177-6980-4546B80C27A4}"/>
              </a:ext>
            </a:extLst>
          </p:cNvPr>
          <p:cNvPicPr>
            <a:picLocks noChangeAspect="1"/>
          </p:cNvPicPr>
          <p:nvPr/>
        </p:nvPicPr>
        <p:blipFill>
          <a:blip r:embed="rId2"/>
          <a:stretch>
            <a:fillRect/>
          </a:stretch>
        </p:blipFill>
        <p:spPr>
          <a:xfrm>
            <a:off x="262868" y="1418431"/>
            <a:ext cx="11666264" cy="4021137"/>
          </a:xfrm>
          <a:prstGeom prst="rect">
            <a:avLst/>
          </a:prstGeom>
        </p:spPr>
      </p:pic>
    </p:spTree>
    <p:extLst>
      <p:ext uri="{BB962C8B-B14F-4D97-AF65-F5344CB8AC3E}">
        <p14:creationId xmlns:p14="http://schemas.microsoft.com/office/powerpoint/2010/main" val="2704478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E5196A-9AED-BC99-CB2A-E05D33C21A3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2E073F8-B36F-C0E4-4541-87ED8198E4C7}"/>
              </a:ext>
            </a:extLst>
          </p:cNvPr>
          <p:cNvSpPr>
            <a:spLocks noGrp="1"/>
          </p:cNvSpPr>
          <p:nvPr>
            <p:ph type="title"/>
          </p:nvPr>
        </p:nvSpPr>
        <p:spPr>
          <a:xfrm>
            <a:off x="0" y="227013"/>
            <a:ext cx="12192000" cy="1143000"/>
          </a:xfrm>
        </p:spPr>
        <p:txBody>
          <a:bodyPr/>
          <a:lstStyle/>
          <a:p>
            <a:r>
              <a:rPr lang="en-US" dirty="0"/>
              <a:t>Phase I Surovatamig Data: CRS and ICANS Summary (2SUD Cohort)</a:t>
            </a:r>
          </a:p>
        </p:txBody>
      </p:sp>
      <p:sp>
        <p:nvSpPr>
          <p:cNvPr id="4" name="TextBox 3">
            <a:extLst>
              <a:ext uri="{FF2B5EF4-FFF2-40B4-BE49-F238E27FC236}">
                <a16:creationId xmlns:a16="http://schemas.microsoft.com/office/drawing/2014/main" id="{BA27DAD6-6BF1-0062-FC06-270DC2BC9250}"/>
              </a:ext>
            </a:extLst>
          </p:cNvPr>
          <p:cNvSpPr txBox="1"/>
          <p:nvPr/>
        </p:nvSpPr>
        <p:spPr>
          <a:xfrm>
            <a:off x="0" y="6519446"/>
            <a:ext cx="3343544"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C2340"/>
                </a:solidFill>
                <a:effectLst/>
                <a:uLnTx/>
                <a:uFillTx/>
                <a:latin typeface="Calibri"/>
                <a:ea typeface="+mn-ea"/>
                <a:cs typeface="+mn-cs"/>
              </a:rPr>
              <a:t>Kim TM et al. ASH 2025;Abstract 5514</a:t>
            </a:r>
          </a:p>
        </p:txBody>
      </p:sp>
      <p:pic>
        <p:nvPicPr>
          <p:cNvPr id="7" name="Picture 6">
            <a:extLst>
              <a:ext uri="{FF2B5EF4-FFF2-40B4-BE49-F238E27FC236}">
                <a16:creationId xmlns:a16="http://schemas.microsoft.com/office/drawing/2014/main" id="{87DE8896-75C0-BBF0-7F6E-D2A59929305E}"/>
              </a:ext>
            </a:extLst>
          </p:cNvPr>
          <p:cNvPicPr>
            <a:picLocks noChangeAspect="1"/>
          </p:cNvPicPr>
          <p:nvPr/>
        </p:nvPicPr>
        <p:blipFill>
          <a:blip r:embed="rId2"/>
          <a:stretch>
            <a:fillRect/>
          </a:stretch>
        </p:blipFill>
        <p:spPr>
          <a:xfrm>
            <a:off x="2312404" y="3813899"/>
            <a:ext cx="7567191" cy="2714783"/>
          </a:xfrm>
          <a:prstGeom prst="rect">
            <a:avLst/>
          </a:prstGeom>
        </p:spPr>
      </p:pic>
      <p:pic>
        <p:nvPicPr>
          <p:cNvPr id="8" name="Picture 7">
            <a:extLst>
              <a:ext uri="{FF2B5EF4-FFF2-40B4-BE49-F238E27FC236}">
                <a16:creationId xmlns:a16="http://schemas.microsoft.com/office/drawing/2014/main" id="{9CDABECA-C5EF-B912-70A8-392F0DDB37B3}"/>
              </a:ext>
            </a:extLst>
          </p:cNvPr>
          <p:cNvPicPr>
            <a:picLocks noChangeAspect="1"/>
          </p:cNvPicPr>
          <p:nvPr/>
        </p:nvPicPr>
        <p:blipFill>
          <a:blip r:embed="rId3"/>
          <a:srcRect t="772"/>
          <a:stretch>
            <a:fillRect/>
          </a:stretch>
        </p:blipFill>
        <p:spPr>
          <a:xfrm>
            <a:off x="2312404" y="1088236"/>
            <a:ext cx="7567191" cy="2725663"/>
          </a:xfrm>
          <a:prstGeom prst="rect">
            <a:avLst/>
          </a:prstGeom>
        </p:spPr>
      </p:pic>
    </p:spTree>
    <p:extLst>
      <p:ext uri="{BB962C8B-B14F-4D97-AF65-F5344CB8AC3E}">
        <p14:creationId xmlns:p14="http://schemas.microsoft.com/office/powerpoint/2010/main" val="7499431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826B3A-D4B3-A887-41FF-2D2C078A2A3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B90FEFA-2B10-3703-CC53-FBFF7CFBAE54}"/>
              </a:ext>
            </a:extLst>
          </p:cNvPr>
          <p:cNvSpPr>
            <a:spLocks noGrp="1"/>
          </p:cNvSpPr>
          <p:nvPr>
            <p:ph type="title"/>
          </p:nvPr>
        </p:nvSpPr>
        <p:spPr>
          <a:xfrm>
            <a:off x="904009" y="227013"/>
            <a:ext cx="9081656" cy="1143000"/>
          </a:xfrm>
        </p:spPr>
        <p:txBody>
          <a:bodyPr/>
          <a:lstStyle/>
          <a:p>
            <a:pPr algn="l"/>
            <a:r>
              <a:rPr lang="en-US" dirty="0"/>
              <a:t>Phase III SOUNDTRACK-D2 Trial: First-Line Surovatamig for Older, Unfit Patients</a:t>
            </a:r>
          </a:p>
        </p:txBody>
      </p:sp>
      <p:sp>
        <p:nvSpPr>
          <p:cNvPr id="3" name="TextBox 2">
            <a:extLst>
              <a:ext uri="{FF2B5EF4-FFF2-40B4-BE49-F238E27FC236}">
                <a16:creationId xmlns:a16="http://schemas.microsoft.com/office/drawing/2014/main" id="{7A069A6B-2F86-16E1-5B85-1714F7DA3BFA}"/>
              </a:ext>
            </a:extLst>
          </p:cNvPr>
          <p:cNvSpPr txBox="1"/>
          <p:nvPr/>
        </p:nvSpPr>
        <p:spPr>
          <a:xfrm>
            <a:off x="114300" y="6496735"/>
            <a:ext cx="4764381"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a:ea typeface="+mn-ea"/>
                <a:cs typeface="+mn-cs"/>
              </a:rPr>
              <a:t>www.clinicaltrials.gov</a:t>
            </a:r>
            <a:r>
              <a:rPr kumimoji="0" lang="en-US" sz="1500" b="0" i="0" u="none" strike="noStrike" kern="1200" cap="none" spc="0" normalizeH="0" baseline="0" noProof="0" dirty="0">
                <a:ln>
                  <a:noFill/>
                </a:ln>
                <a:solidFill>
                  <a:srgbClr val="000000"/>
                </a:solidFill>
                <a:effectLst/>
                <a:uLnTx/>
                <a:uFillTx/>
                <a:latin typeface="Calibri"/>
                <a:ea typeface="+mn-ea"/>
                <a:cs typeface="+mn-cs"/>
              </a:rPr>
              <a:t>. NCT07215585. Accessed April 2026.</a:t>
            </a:r>
          </a:p>
        </p:txBody>
      </p:sp>
      <p:sp>
        <p:nvSpPr>
          <p:cNvPr id="4" name="Rectangle 3">
            <a:extLst>
              <a:ext uri="{FF2B5EF4-FFF2-40B4-BE49-F238E27FC236}">
                <a16:creationId xmlns:a16="http://schemas.microsoft.com/office/drawing/2014/main" id="{6BAF6C28-B008-540A-2D8C-A94FB35913CA}"/>
              </a:ext>
            </a:extLst>
          </p:cNvPr>
          <p:cNvSpPr/>
          <p:nvPr/>
        </p:nvSpPr>
        <p:spPr bwMode="auto">
          <a:xfrm>
            <a:off x="481619" y="1749183"/>
            <a:ext cx="3725333" cy="2840265"/>
          </a:xfrm>
          <a:prstGeom prst="rect">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ctr"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Newly diagnosed LBCL</a:t>
            </a:r>
          </a:p>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ctr" defTabSz="457200" rtl="0" eaLnBrk="1" fontAlgn="base" latinLnBrk="0" hangingPunct="0">
              <a:lnSpc>
                <a:spcPct val="93000"/>
              </a:lnSpc>
              <a:spcBef>
                <a:spcPct val="0"/>
              </a:spcBef>
              <a:spcAft>
                <a:spcPct val="0"/>
              </a:spcAft>
              <a:buClr>
                <a:srgbClr val="000000"/>
              </a:buClr>
              <a:buSzPct val="45000"/>
              <a:buFontTx/>
              <a:buNone/>
              <a:tabLst/>
              <a:defRPr/>
            </a:pPr>
            <a:r>
              <a:rPr kumimoji="0" 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ge &gt;80</a:t>
            </a:r>
            <a:endPar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ctr"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r</a:t>
            </a:r>
          </a:p>
          <a:p>
            <a:pPr marL="0" marR="0" lvl="0" indent="0" algn="ctr"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r>
              <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ge 65-79, classified </a:t>
            </a:r>
            <a:br>
              <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br>
            <a:r>
              <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s “unfit” and not considered candidates </a:t>
            </a:r>
            <a:br>
              <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br>
            <a:r>
              <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for full-dose R-CHOP</a:t>
            </a:r>
          </a:p>
        </p:txBody>
      </p:sp>
      <p:sp>
        <p:nvSpPr>
          <p:cNvPr id="5" name="TextBox 4">
            <a:extLst>
              <a:ext uri="{FF2B5EF4-FFF2-40B4-BE49-F238E27FC236}">
                <a16:creationId xmlns:a16="http://schemas.microsoft.com/office/drawing/2014/main" id="{57788081-B06A-DB50-BCCE-58FF7B62E4F3}"/>
              </a:ext>
            </a:extLst>
          </p:cNvPr>
          <p:cNvSpPr txBox="1"/>
          <p:nvPr/>
        </p:nvSpPr>
        <p:spPr>
          <a:xfrm>
            <a:off x="573768" y="4589448"/>
            <a:ext cx="354103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n-ea"/>
                <a:cs typeface="+mn-cs"/>
              </a:rPr>
              <a:t>Estimated enrollment: 420 patients</a:t>
            </a:r>
          </a:p>
        </p:txBody>
      </p:sp>
      <p:sp>
        <p:nvSpPr>
          <p:cNvPr id="7" name="Rectangle 6">
            <a:extLst>
              <a:ext uri="{FF2B5EF4-FFF2-40B4-BE49-F238E27FC236}">
                <a16:creationId xmlns:a16="http://schemas.microsoft.com/office/drawing/2014/main" id="{E36E4798-AE2E-7BC7-04FF-493B93FF92B4}"/>
              </a:ext>
            </a:extLst>
          </p:cNvPr>
          <p:cNvSpPr/>
          <p:nvPr/>
        </p:nvSpPr>
        <p:spPr bwMode="auto">
          <a:xfrm>
            <a:off x="4792137" y="1370013"/>
            <a:ext cx="7061200" cy="1122808"/>
          </a:xfrm>
          <a:prstGeom prst="rect">
            <a:avLst/>
          </a:prstGeom>
          <a:solidFill>
            <a:schemeClr val="accent6">
              <a:lumMod val="75000"/>
            </a:schemeClr>
          </a:solidFill>
          <a:ln w="9525" cap="flat" cmpd="sng" algn="ctr">
            <a:solidFill>
              <a:schemeClr val="tx1"/>
            </a:solidFill>
            <a:prstDash val="solid"/>
            <a:round/>
            <a:headEnd type="none" w="med" len="med"/>
            <a:tailEnd type="none" w="med" len="med"/>
          </a:ln>
          <a:effectLst/>
        </p:spPr>
        <p:txBody>
          <a:bodyPr vert="horz" wrap="square" lIns="182880" tIns="45720" rIns="182880" bIns="45720" numCol="1" rtlCol="0" anchor="t" anchorCtr="0" compatLnSpc="1">
            <a:prstTxWarp prst="textNoShape">
              <a:avLst/>
            </a:prstTxWarp>
            <a:spAutoFit/>
          </a:bodyPr>
          <a:lstStyle/>
          <a:p>
            <a:pPr marL="0" marR="0" lvl="0" indent="0" algn="ctr"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r>
              <a:rPr kumimoji="0" lang="en-US" sz="2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Arm A: R-mini-CHOP and surovatamig</a:t>
            </a:r>
          </a:p>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r>
              <a:rPr kumimoji="0" lang="en-US" sz="2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2 cycles of R-mini-CHOP followed by multiple cycles of surovatamig at RP3D</a:t>
            </a:r>
          </a:p>
        </p:txBody>
      </p:sp>
      <p:sp>
        <p:nvSpPr>
          <p:cNvPr id="8" name="Rectangle 7">
            <a:extLst>
              <a:ext uri="{FF2B5EF4-FFF2-40B4-BE49-F238E27FC236}">
                <a16:creationId xmlns:a16="http://schemas.microsoft.com/office/drawing/2014/main" id="{38B092B7-703D-41C6-6F00-2DC93FD74761}"/>
              </a:ext>
            </a:extLst>
          </p:cNvPr>
          <p:cNvSpPr/>
          <p:nvPr/>
        </p:nvSpPr>
        <p:spPr bwMode="auto">
          <a:xfrm>
            <a:off x="4792137" y="2779659"/>
            <a:ext cx="7061200" cy="779316"/>
          </a:xfrm>
          <a:prstGeom prst="rect">
            <a:avLst/>
          </a:prstGeom>
          <a:solidFill>
            <a:schemeClr val="bg2">
              <a:lumMod val="40000"/>
              <a:lumOff val="60000"/>
            </a:schemeClr>
          </a:solidFill>
          <a:ln w="9525" cap="flat" cmpd="sng" algn="ctr">
            <a:solidFill>
              <a:schemeClr val="tx1"/>
            </a:solidFill>
            <a:prstDash val="solid"/>
            <a:round/>
            <a:headEnd type="none" w="med" len="med"/>
            <a:tailEnd type="none" w="med" len="med"/>
          </a:ln>
          <a:effectLst/>
        </p:spPr>
        <p:txBody>
          <a:bodyPr vert="horz" wrap="square" lIns="182880" tIns="45720" rIns="182880" bIns="45720" numCol="1" rtlCol="0" anchor="t" anchorCtr="0" compatLnSpc="1">
            <a:prstTxWarp prst="textNoShape">
              <a:avLst/>
            </a:prstTxWarp>
            <a:spAutoFit/>
          </a:bodyPr>
          <a:lstStyle/>
          <a:p>
            <a:pPr marL="0" marR="0" lvl="0" indent="0" algn="ctr"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rm B: R-mini-CHOP </a:t>
            </a:r>
            <a:r>
              <a:rPr kumimoji="0" lang="en-US" sz="24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ctive comparator)</a:t>
            </a:r>
          </a:p>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r>
              <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6 cycles of R-mini-CHOP per SoC regimen</a:t>
            </a:r>
          </a:p>
        </p:txBody>
      </p:sp>
      <p:sp>
        <p:nvSpPr>
          <p:cNvPr id="10" name="Rectangle 9">
            <a:extLst>
              <a:ext uri="{FF2B5EF4-FFF2-40B4-BE49-F238E27FC236}">
                <a16:creationId xmlns:a16="http://schemas.microsoft.com/office/drawing/2014/main" id="{D7B5719E-17BC-D637-87A1-C4385BDC170B}"/>
              </a:ext>
            </a:extLst>
          </p:cNvPr>
          <p:cNvSpPr/>
          <p:nvPr/>
        </p:nvSpPr>
        <p:spPr bwMode="auto">
          <a:xfrm>
            <a:off x="4775722" y="3845813"/>
            <a:ext cx="7061200" cy="1122808"/>
          </a:xfrm>
          <a:prstGeom prst="rect">
            <a:avLst/>
          </a:prstGeom>
          <a:solidFill>
            <a:schemeClr val="accent1">
              <a:lumMod val="20000"/>
              <a:lumOff val="80000"/>
            </a:schemeClr>
          </a:solidFill>
          <a:ln w="9525" cap="flat" cmpd="sng" algn="ctr">
            <a:solidFill>
              <a:schemeClr val="tx1"/>
            </a:solidFill>
            <a:prstDash val="solid"/>
            <a:round/>
            <a:headEnd type="none" w="med" len="med"/>
            <a:tailEnd type="none" w="med" len="med"/>
          </a:ln>
          <a:effectLst/>
        </p:spPr>
        <p:txBody>
          <a:bodyPr vert="horz" wrap="square" lIns="182880" tIns="45720" rIns="182880" bIns="45720" numCol="1" rtlCol="0" anchor="t" anchorCtr="0" compatLnSpc="1">
            <a:prstTxWarp prst="textNoShape">
              <a:avLst/>
            </a:prstTxWarp>
            <a:spAutoFit/>
          </a:bodyPr>
          <a:lstStyle/>
          <a:p>
            <a:pPr marL="0" marR="0" lvl="0" indent="0" algn="ctr" defTabSz="457200" rtl="0" eaLnBrk="1" fontAlgn="base" latinLnBrk="0" hangingPunct="0">
              <a:lnSpc>
                <a:spcPct val="93000"/>
              </a:lnSpc>
              <a:spcBef>
                <a:spcPct val="0"/>
              </a:spcBef>
              <a:spcAft>
                <a:spcPct val="0"/>
              </a:spcAft>
              <a:buClr>
                <a:srgbClr val="000000"/>
              </a:buClr>
              <a:buSzPct val="45000"/>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afety Run-In: R-mini-CHOP and surovatamig</a:t>
            </a:r>
          </a:p>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r>
              <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2 cycles of R-mini-CHOP followed by multiple cycles of surovatamig at RP2D</a:t>
            </a:r>
          </a:p>
        </p:txBody>
      </p:sp>
      <p:sp>
        <p:nvSpPr>
          <p:cNvPr id="12" name="TextBox 11">
            <a:extLst>
              <a:ext uri="{FF2B5EF4-FFF2-40B4-BE49-F238E27FC236}">
                <a16:creationId xmlns:a16="http://schemas.microsoft.com/office/drawing/2014/main" id="{526F4CFF-EB10-6A61-D489-9413EDDA7B8F}"/>
              </a:ext>
            </a:extLst>
          </p:cNvPr>
          <p:cNvSpPr txBox="1"/>
          <p:nvPr/>
        </p:nvSpPr>
        <p:spPr>
          <a:xfrm>
            <a:off x="4775722" y="4986650"/>
            <a:ext cx="6044681"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alibri"/>
                <a:ea typeface="+mn-ea"/>
                <a:cs typeface="+mn-cs"/>
              </a:rPr>
              <a:t>Primary endpoint: </a:t>
            </a:r>
            <a:r>
              <a:rPr kumimoji="0" lang="en-US" sz="2400" b="0" i="0" u="none" strike="noStrike" kern="1200" cap="none" spc="0" normalizeH="0" baseline="0" noProof="0" dirty="0">
                <a:ln>
                  <a:noFill/>
                </a:ln>
                <a:solidFill>
                  <a:srgbClr val="000000"/>
                </a:solidFill>
                <a:effectLst/>
                <a:uLnTx/>
                <a:uFillTx/>
                <a:latin typeface="Calibri"/>
                <a:ea typeface="+mn-ea"/>
                <a:cs typeface="+mn-cs"/>
              </a:rPr>
              <a:t>Progression-free surviv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alibri"/>
                <a:ea typeface="+mn-ea"/>
                <a:cs typeface="+mn-cs"/>
              </a:rPr>
              <a:t>Key secondary endpoint: </a:t>
            </a:r>
            <a:r>
              <a:rPr kumimoji="0" lang="en-US" sz="2400" b="0" i="0" u="none" strike="noStrike" kern="1200" cap="none" spc="0" normalizeH="0" baseline="0" noProof="0" dirty="0">
                <a:ln>
                  <a:noFill/>
                </a:ln>
                <a:solidFill>
                  <a:srgbClr val="000000"/>
                </a:solidFill>
                <a:effectLst/>
                <a:uLnTx/>
                <a:uFillTx/>
                <a:latin typeface="Calibri"/>
                <a:ea typeface="+mn-ea"/>
                <a:cs typeface="+mn-cs"/>
              </a:rPr>
              <a:t>Overall surviv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dirty="0">
                <a:ln>
                  <a:noFill/>
                </a:ln>
                <a:solidFill>
                  <a:srgbClr val="000000"/>
                </a:solidFill>
                <a:effectLst/>
                <a:uLnTx/>
                <a:uFillTx/>
                <a:latin typeface="Calibri"/>
                <a:ea typeface="+mn-ea"/>
                <a:cs typeface="+mn-cs"/>
              </a:rPr>
              <a:t>Data anticipated &gt;2027</a:t>
            </a:r>
          </a:p>
        </p:txBody>
      </p:sp>
      <p:cxnSp>
        <p:nvCxnSpPr>
          <p:cNvPr id="14" name="Elbow Connector 13">
            <a:extLst>
              <a:ext uri="{FF2B5EF4-FFF2-40B4-BE49-F238E27FC236}">
                <a16:creationId xmlns:a16="http://schemas.microsoft.com/office/drawing/2014/main" id="{E80330C9-8E5A-1B60-CD45-8434D08FA8F5}"/>
              </a:ext>
            </a:extLst>
          </p:cNvPr>
          <p:cNvCxnSpPr>
            <a:stCxn id="4" idx="3"/>
            <a:endCxn id="7" idx="1"/>
          </p:cNvCxnSpPr>
          <p:nvPr/>
        </p:nvCxnSpPr>
        <p:spPr bwMode="auto">
          <a:xfrm flipV="1">
            <a:off x="4206952" y="1931417"/>
            <a:ext cx="585185" cy="1237899"/>
          </a:xfrm>
          <a:prstGeom prst="bentConnector3">
            <a:avLst/>
          </a:prstGeom>
          <a:solidFill>
            <a:srgbClr val="FFFF00"/>
          </a:solidFill>
          <a:ln w="38100" cap="flat" cmpd="sng" algn="ctr">
            <a:solidFill>
              <a:schemeClr val="tx1"/>
            </a:solidFill>
            <a:prstDash val="solid"/>
            <a:round/>
            <a:headEnd type="none" w="med" len="med"/>
            <a:tailEnd type="triangle"/>
          </a:ln>
          <a:effectLst/>
        </p:spPr>
      </p:cxnSp>
      <p:cxnSp>
        <p:nvCxnSpPr>
          <p:cNvPr id="15" name="Elbow Connector 14">
            <a:extLst>
              <a:ext uri="{FF2B5EF4-FFF2-40B4-BE49-F238E27FC236}">
                <a16:creationId xmlns:a16="http://schemas.microsoft.com/office/drawing/2014/main" id="{4B3DBA36-77AD-9913-529D-85712D06C50A}"/>
              </a:ext>
            </a:extLst>
          </p:cNvPr>
          <p:cNvCxnSpPr>
            <a:cxnSpLocks/>
            <a:stCxn id="4" idx="3"/>
            <a:endCxn id="8" idx="1"/>
          </p:cNvCxnSpPr>
          <p:nvPr/>
        </p:nvCxnSpPr>
        <p:spPr bwMode="auto">
          <a:xfrm>
            <a:off x="4206952" y="3169316"/>
            <a:ext cx="585185" cy="1"/>
          </a:xfrm>
          <a:prstGeom prst="bentConnector3">
            <a:avLst>
              <a:gd name="adj1" fmla="val 50000"/>
            </a:avLst>
          </a:prstGeom>
          <a:solidFill>
            <a:srgbClr val="FFFF00"/>
          </a:solidFill>
          <a:ln w="38100" cap="flat" cmpd="sng" algn="ctr">
            <a:solidFill>
              <a:schemeClr val="tx1"/>
            </a:solidFill>
            <a:prstDash val="solid"/>
            <a:round/>
            <a:headEnd type="none" w="med" len="med"/>
            <a:tailEnd type="triangle"/>
          </a:ln>
          <a:effectLst/>
        </p:spPr>
      </p:cxnSp>
      <p:cxnSp>
        <p:nvCxnSpPr>
          <p:cNvPr id="16" name="Elbow Connector 15">
            <a:extLst>
              <a:ext uri="{FF2B5EF4-FFF2-40B4-BE49-F238E27FC236}">
                <a16:creationId xmlns:a16="http://schemas.microsoft.com/office/drawing/2014/main" id="{73C2CF3F-ACF5-9F1B-B362-0139BE9BAF35}"/>
              </a:ext>
            </a:extLst>
          </p:cNvPr>
          <p:cNvCxnSpPr>
            <a:cxnSpLocks/>
            <a:stCxn id="4" idx="3"/>
            <a:endCxn id="10" idx="1"/>
          </p:cNvCxnSpPr>
          <p:nvPr/>
        </p:nvCxnSpPr>
        <p:spPr bwMode="auto">
          <a:xfrm>
            <a:off x="4206952" y="3169316"/>
            <a:ext cx="568770" cy="1237901"/>
          </a:xfrm>
          <a:prstGeom prst="bentConnector3">
            <a:avLst>
              <a:gd name="adj1" fmla="val 50000"/>
            </a:avLst>
          </a:prstGeom>
          <a:solidFill>
            <a:srgbClr val="FFFF00"/>
          </a:solidFill>
          <a:ln w="38100" cap="flat" cmpd="sng" algn="ctr">
            <a:solidFill>
              <a:schemeClr val="tx1"/>
            </a:solidFill>
            <a:prstDash val="solid"/>
            <a:round/>
            <a:headEnd type="none" w="med" len="med"/>
            <a:tailEnd type="triangle"/>
          </a:ln>
          <a:effectLst/>
        </p:spPr>
      </p:cxnSp>
      <p:sp>
        <p:nvSpPr>
          <p:cNvPr id="6" name="TextBox 5">
            <a:extLst>
              <a:ext uri="{FF2B5EF4-FFF2-40B4-BE49-F238E27FC236}">
                <a16:creationId xmlns:a16="http://schemas.microsoft.com/office/drawing/2014/main" id="{17E883CF-7EB4-FC23-0618-0015EA9F0BDE}"/>
              </a:ext>
            </a:extLst>
          </p:cNvPr>
          <p:cNvSpPr txBox="1"/>
          <p:nvPr/>
        </p:nvSpPr>
        <p:spPr>
          <a:xfrm>
            <a:off x="114300" y="6173570"/>
            <a:ext cx="4877169"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n-ea"/>
                <a:cs typeface="+mn-cs"/>
              </a:rPr>
              <a:t>RP3D = recommended Phase III dose; SoC = standard of care</a:t>
            </a:r>
          </a:p>
        </p:txBody>
      </p:sp>
    </p:spTree>
    <p:extLst>
      <p:ext uri="{BB962C8B-B14F-4D97-AF65-F5344CB8AC3E}">
        <p14:creationId xmlns:p14="http://schemas.microsoft.com/office/powerpoint/2010/main" val="23662586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0"/>
          <p:cNvSpPr>
            <a:spLocks noChangeArrowheads="1"/>
          </p:cNvSpPr>
          <p:nvPr/>
        </p:nvSpPr>
        <p:spPr bwMode="auto">
          <a:xfrm>
            <a:off x="914639" y="6354762"/>
            <a:ext cx="10360152" cy="503238"/>
          </a:xfrm>
          <a:prstGeom prst="rect">
            <a:avLst/>
          </a:prstGeom>
          <a:noFill/>
          <a:ln>
            <a:noFill/>
          </a:ln>
          <a:effectLst>
            <a:prstShdw prst="shdw17" dist="17961" dir="2700000">
              <a:srgbClr val="708688">
                <a:alpha val="74997"/>
              </a:srgbClr>
            </a:prst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002656"/>
                </a:solidFill>
                <a:effectLst/>
                <a:uLnTx/>
                <a:uFillTx/>
                <a:latin typeface="Arial"/>
                <a:ea typeface="+mn-ea"/>
                <a:cs typeface="+mn-cs"/>
              </a:rPr>
              <a:t>For assistance, please raise your hand. Devices will be collected at the conclusion of the activity.</a:t>
            </a:r>
          </a:p>
        </p:txBody>
      </p:sp>
      <p:sp>
        <p:nvSpPr>
          <p:cNvPr id="20" name="Rectangle 13"/>
          <p:cNvSpPr>
            <a:spLocks noChangeArrowheads="1"/>
          </p:cNvSpPr>
          <p:nvPr/>
        </p:nvSpPr>
        <p:spPr bwMode="auto">
          <a:xfrm>
            <a:off x="1920479" y="2097725"/>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dirty="0">
                <a:ln>
                  <a:noFill/>
                </a:ln>
                <a:solidFill>
                  <a:srgbClr val="002656"/>
                </a:solidFill>
                <a:effectLst/>
                <a:uLnTx/>
                <a:uFillTx/>
                <a:latin typeface="Arial"/>
                <a:ea typeface="+mn-ea"/>
                <a:cs typeface="+mn-cs"/>
              </a:rPr>
              <a:t>Review Program Slides: </a:t>
            </a:r>
            <a:r>
              <a:rPr kumimoji="0" lang="en-US" sz="2100" b="0" i="0" u="none" strike="noStrike" kern="1200" cap="none" spc="0" normalizeH="0" baseline="0" noProof="0" dirty="0">
                <a:ln>
                  <a:noFill/>
                </a:ln>
                <a:solidFill>
                  <a:srgbClr val="002656"/>
                </a:solidFill>
                <a:effectLst/>
                <a:uLnTx/>
                <a:uFillTx/>
                <a:latin typeface="Arial"/>
                <a:ea typeface="+mn-ea"/>
                <a:cs typeface="+mn-cs"/>
              </a:rPr>
              <a:t>Tap the Program Slides button to review speaker presentations and other program content.</a:t>
            </a:r>
          </a:p>
        </p:txBody>
      </p:sp>
      <p:sp>
        <p:nvSpPr>
          <p:cNvPr id="23" name="Rectangle 13"/>
          <p:cNvSpPr>
            <a:spLocks noChangeArrowheads="1"/>
          </p:cNvSpPr>
          <p:nvPr/>
        </p:nvSpPr>
        <p:spPr bwMode="auto">
          <a:xfrm>
            <a:off x="1920479" y="3235407"/>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dirty="0">
                <a:ln>
                  <a:noFill/>
                </a:ln>
                <a:solidFill>
                  <a:srgbClr val="002656"/>
                </a:solidFill>
                <a:effectLst/>
                <a:uLnTx/>
                <a:uFillTx/>
                <a:latin typeface="Arial"/>
                <a:ea typeface="+mn-ea"/>
                <a:cs typeface="+mn-cs"/>
              </a:rPr>
              <a:t>Answer Survey Questions: </a:t>
            </a:r>
            <a:r>
              <a:rPr kumimoji="0" lang="en-US" sz="2100" b="0" i="0" u="none" strike="noStrike" kern="1200" cap="none" spc="0" normalizeH="0" baseline="0" noProof="0" dirty="0">
                <a:ln>
                  <a:noFill/>
                </a:ln>
                <a:solidFill>
                  <a:srgbClr val="002656"/>
                </a:solidFill>
                <a:effectLst/>
                <a:uLnTx/>
                <a:uFillTx/>
                <a:latin typeface="Arial"/>
                <a:ea typeface="+mn-ea"/>
                <a:cs typeface="ＭＳ Ｐゴシック" charset="-128"/>
              </a:rPr>
              <a:t>Complete </a:t>
            </a:r>
            <a:r>
              <a:rPr kumimoji="0" lang="en-US" sz="2100" b="0" i="0" u="none" strike="noStrike" kern="1200" cap="none" spc="0" normalizeH="0" baseline="0" noProof="0" dirty="0">
                <a:ln>
                  <a:noFill/>
                </a:ln>
                <a:solidFill>
                  <a:srgbClr val="002656"/>
                </a:solidFill>
                <a:effectLst/>
                <a:uLnTx/>
                <a:uFillTx/>
                <a:latin typeface="Arial"/>
                <a:ea typeface="+mn-ea"/>
                <a:cs typeface="+mn-cs"/>
              </a:rPr>
              <a:t>the premeeting survey.</a:t>
            </a:r>
            <a:endParaRPr kumimoji="0" lang="en-US" sz="2100" b="0" i="1" u="none" strike="noStrike" kern="1200" cap="none" spc="0" normalizeH="0" baseline="0" noProof="0" dirty="0">
              <a:ln>
                <a:noFill/>
              </a:ln>
              <a:solidFill>
                <a:srgbClr val="002656"/>
              </a:solidFill>
              <a:effectLst/>
              <a:uLnTx/>
              <a:uFillTx/>
              <a:latin typeface="Arial"/>
              <a:ea typeface="+mn-ea"/>
              <a:cs typeface="ＭＳ Ｐゴシック" charset="-128"/>
            </a:endParaRPr>
          </a:p>
        </p:txBody>
      </p:sp>
      <p:sp>
        <p:nvSpPr>
          <p:cNvPr id="25" name="Rectangle 13"/>
          <p:cNvSpPr>
            <a:spLocks noChangeArrowheads="1"/>
          </p:cNvSpPr>
          <p:nvPr/>
        </p:nvSpPr>
        <p:spPr bwMode="auto">
          <a:xfrm>
            <a:off x="1920479" y="4424593"/>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dirty="0">
                <a:ln>
                  <a:noFill/>
                </a:ln>
                <a:solidFill>
                  <a:srgbClr val="002656"/>
                </a:solidFill>
                <a:effectLst/>
                <a:uLnTx/>
                <a:uFillTx/>
                <a:latin typeface="Arial" panose="020B0604020202020204"/>
                <a:ea typeface="+mn-ea"/>
                <a:cs typeface="+mn-cs"/>
              </a:rPr>
              <a:t>Ask a Question: </a:t>
            </a:r>
            <a:r>
              <a:rPr kumimoji="0" lang="en-US" sz="2100" b="0" i="0" u="none" strike="noStrike" kern="1200" cap="none" spc="0" normalizeH="0" baseline="0" noProof="0" dirty="0">
                <a:ln>
                  <a:noFill/>
                </a:ln>
                <a:solidFill>
                  <a:srgbClr val="002656"/>
                </a:solidFill>
                <a:effectLst/>
                <a:uLnTx/>
                <a:uFillTx/>
                <a:latin typeface="Arial" panose="020B0604020202020204"/>
                <a:ea typeface="+mn-ea"/>
                <a:cs typeface="+mn-cs"/>
              </a:rPr>
              <a:t>Tap Ask a Question to submit a challenging case or question for discussion. We will aim to address as many questions as possible during the program.</a:t>
            </a:r>
          </a:p>
        </p:txBody>
      </p:sp>
      <p:pic>
        <p:nvPicPr>
          <p:cNvPr id="27" name="Picture 26" descr="ASCO-GI-16_iPad-icons_v1fr-slide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639" y="2051499"/>
            <a:ext cx="1005840" cy="769902"/>
          </a:xfrm>
          <a:prstGeom prst="rect">
            <a:avLst/>
          </a:prstGeom>
        </p:spPr>
      </p:pic>
      <p:pic>
        <p:nvPicPr>
          <p:cNvPr id="28" name="Picture 27" descr="ASCO-GI-16_iPad-icons_v1fr-questio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4639" y="4395155"/>
            <a:ext cx="1005840" cy="776111"/>
          </a:xfrm>
          <a:prstGeom prst="rect">
            <a:avLst/>
          </a:prstGeom>
        </p:spPr>
      </p:pic>
      <p:pic>
        <p:nvPicPr>
          <p:cNvPr id="29" name="Picture 28" descr="ASCO-GI-16_iPad-icons_v1fr-survey.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4639" y="3220936"/>
            <a:ext cx="1005840" cy="774684"/>
          </a:xfrm>
          <a:prstGeom prst="rect">
            <a:avLst/>
          </a:prstGeom>
        </p:spPr>
      </p:pic>
      <p:sp>
        <p:nvSpPr>
          <p:cNvPr id="3" name="Title 2"/>
          <p:cNvSpPr>
            <a:spLocks noGrp="1"/>
          </p:cNvSpPr>
          <p:nvPr>
            <p:ph type="title"/>
          </p:nvPr>
        </p:nvSpPr>
        <p:spPr>
          <a:xfrm>
            <a:off x="914639" y="0"/>
            <a:ext cx="10795828" cy="1143000"/>
          </a:xfrm>
        </p:spPr>
        <p:txBody>
          <a:bodyPr>
            <a:normAutofit/>
          </a:bodyPr>
          <a:lstStyle/>
          <a:p>
            <a:r>
              <a:rPr lang="en-US" dirty="0"/>
              <a:t>Clinicians in the Meeting Room</a:t>
            </a:r>
          </a:p>
        </p:txBody>
      </p:sp>
      <p:sp>
        <p:nvSpPr>
          <p:cNvPr id="2" name="Rectangle 6">
            <a:extLst>
              <a:ext uri="{FF2B5EF4-FFF2-40B4-BE49-F238E27FC236}">
                <a16:creationId xmlns:a16="http://schemas.microsoft.com/office/drawing/2014/main" id="{C14B0FBD-E81B-8FF5-19A4-01791E5C29AE}"/>
              </a:ext>
            </a:extLst>
          </p:cNvPr>
          <p:cNvSpPr>
            <a:spLocks noChangeArrowheads="1"/>
          </p:cNvSpPr>
          <p:nvPr/>
        </p:nvSpPr>
        <p:spPr bwMode="auto">
          <a:xfrm>
            <a:off x="904413" y="1346844"/>
            <a:ext cx="7696200" cy="609600"/>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Networked iPads are available.</a:t>
            </a:r>
          </a:p>
        </p:txBody>
      </p:sp>
    </p:spTree>
    <p:extLst>
      <p:ext uri="{BB962C8B-B14F-4D97-AF65-F5344CB8AC3E}">
        <p14:creationId xmlns:p14="http://schemas.microsoft.com/office/powerpoint/2010/main" val="26877030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C6B045-03EC-3249-836D-90804462E8EE}"/>
              </a:ext>
            </a:extLst>
          </p:cNvPr>
          <p:cNvSpPr>
            <a:spLocks noGrp="1"/>
          </p:cNvSpPr>
          <p:nvPr>
            <p:ph type="title"/>
          </p:nvPr>
        </p:nvSpPr>
        <p:spPr>
          <a:xfrm>
            <a:off x="699911" y="110073"/>
            <a:ext cx="10792178" cy="837480"/>
          </a:xfrm>
        </p:spPr>
        <p:txBody>
          <a:bodyPr>
            <a:normAutofit/>
          </a:bodyPr>
          <a:lstStyle/>
          <a:p>
            <a:pPr algn="ctr"/>
            <a:r>
              <a:rPr lang="en-US" dirty="0"/>
              <a:t>Tafasitamab and Lenalidomide</a:t>
            </a:r>
          </a:p>
        </p:txBody>
      </p:sp>
      <p:sp>
        <p:nvSpPr>
          <p:cNvPr id="3" name="Content Placeholder 2">
            <a:extLst>
              <a:ext uri="{FF2B5EF4-FFF2-40B4-BE49-F238E27FC236}">
                <a16:creationId xmlns:a16="http://schemas.microsoft.com/office/drawing/2014/main" id="{A79C2691-895C-D94B-A187-7A2A3C2AD6E9}"/>
              </a:ext>
            </a:extLst>
          </p:cNvPr>
          <p:cNvSpPr>
            <a:spLocks noGrp="1"/>
          </p:cNvSpPr>
          <p:nvPr>
            <p:ph idx="1"/>
          </p:nvPr>
        </p:nvSpPr>
        <p:spPr>
          <a:xfrm>
            <a:off x="582680" y="1287648"/>
            <a:ext cx="5630551" cy="4622800"/>
          </a:xfrm>
        </p:spPr>
        <p:txBody>
          <a:bodyPr/>
          <a:lstStyle/>
          <a:p>
            <a:pPr marL="0" indent="0">
              <a:buNone/>
            </a:pPr>
            <a:r>
              <a:rPr lang="en-US" sz="2000" dirty="0"/>
              <a:t>Tafasitamab (Fc-engineered, anti-CD19 mAb)</a:t>
            </a:r>
          </a:p>
          <a:p>
            <a:pPr marL="342900" indent="-342900">
              <a:buClr>
                <a:schemeClr val="accent1"/>
              </a:buClr>
              <a:buFont typeface="Arial" panose="020B0604020202020204" pitchFamily="34" charset="0"/>
              <a:buChar char="•"/>
            </a:pPr>
            <a:r>
              <a:rPr lang="en-US" sz="1800" b="0" dirty="0">
                <a:solidFill>
                  <a:schemeClr val="accent6"/>
                </a:solidFill>
              </a:rPr>
              <a:t>Enhanced to induce cancer cell death via other immune cells</a:t>
            </a:r>
          </a:p>
          <a:p>
            <a:pPr marL="342900" indent="-342900">
              <a:buClr>
                <a:schemeClr val="accent1"/>
              </a:buClr>
              <a:buFont typeface="Arial" panose="020B0604020202020204" pitchFamily="34" charset="0"/>
              <a:buChar char="•"/>
            </a:pPr>
            <a:r>
              <a:rPr lang="en-US" sz="1800" b="0" dirty="0">
                <a:solidFill>
                  <a:schemeClr val="accent6"/>
                </a:solidFill>
              </a:rPr>
              <a:t>Direct Cell Death</a:t>
            </a:r>
          </a:p>
          <a:p>
            <a:pPr>
              <a:buClr>
                <a:schemeClr val="accent1"/>
              </a:buClr>
            </a:pPr>
            <a:endParaRPr lang="en-US" sz="2000" b="0" dirty="0"/>
          </a:p>
          <a:p>
            <a:pPr marL="0" indent="0">
              <a:buClr>
                <a:schemeClr val="accent1"/>
              </a:buClr>
              <a:buNone/>
            </a:pPr>
            <a:r>
              <a:rPr lang="en-US" sz="2000" dirty="0"/>
              <a:t>Lenalidomide</a:t>
            </a:r>
          </a:p>
          <a:p>
            <a:pPr marL="342900" indent="-342900">
              <a:buClr>
                <a:schemeClr val="accent1"/>
              </a:buClr>
              <a:buFont typeface="Arial" panose="020B0604020202020204" pitchFamily="34" charset="0"/>
              <a:buChar char="•"/>
            </a:pPr>
            <a:r>
              <a:rPr lang="en-US" sz="1800" b="0" dirty="0">
                <a:solidFill>
                  <a:schemeClr val="accent6"/>
                </a:solidFill>
              </a:rPr>
              <a:t>T and NK Cell Activation/Expansion</a:t>
            </a:r>
          </a:p>
          <a:p>
            <a:pPr marL="342900" indent="-342900">
              <a:buClr>
                <a:schemeClr val="accent1"/>
              </a:buClr>
              <a:buFont typeface="Arial" panose="020B0604020202020204" pitchFamily="34" charset="0"/>
              <a:buChar char="•"/>
            </a:pPr>
            <a:r>
              <a:rPr lang="en-US" sz="1800" b="0" dirty="0">
                <a:solidFill>
                  <a:schemeClr val="accent6"/>
                </a:solidFill>
              </a:rPr>
              <a:t>Direct Cell Death</a:t>
            </a:r>
          </a:p>
          <a:p>
            <a:pPr marL="342900" indent="-342900">
              <a:buClr>
                <a:schemeClr val="accent1"/>
              </a:buClr>
              <a:buFont typeface="Arial" panose="020B0604020202020204" pitchFamily="34" charset="0"/>
              <a:buChar char="•"/>
            </a:pPr>
            <a:r>
              <a:rPr lang="en-US" sz="1800" b="0" dirty="0">
                <a:solidFill>
                  <a:schemeClr val="accent6"/>
                </a:solidFill>
              </a:rPr>
              <a:t>Well studied as an anti-lymphoma agent, alone or in combination</a:t>
            </a:r>
          </a:p>
          <a:p>
            <a:endParaRPr lang="en-US" sz="2000" b="0" dirty="0"/>
          </a:p>
          <a:p>
            <a:endParaRPr lang="en-US" sz="2000" b="0" dirty="0"/>
          </a:p>
          <a:p>
            <a:endParaRPr lang="en-US" sz="2000" b="0" dirty="0"/>
          </a:p>
          <a:p>
            <a:endParaRPr lang="en-US" sz="2000" b="0" dirty="0"/>
          </a:p>
        </p:txBody>
      </p:sp>
      <p:sp>
        <p:nvSpPr>
          <p:cNvPr id="5" name="Text Placeholder 4">
            <a:extLst>
              <a:ext uri="{FF2B5EF4-FFF2-40B4-BE49-F238E27FC236}">
                <a16:creationId xmlns:a16="http://schemas.microsoft.com/office/drawing/2014/main" id="{8957C6D7-3AD0-5B4D-9B10-AF17570C0C53}"/>
              </a:ext>
            </a:extLst>
          </p:cNvPr>
          <p:cNvSpPr>
            <a:spLocks noGrp="1"/>
          </p:cNvSpPr>
          <p:nvPr>
            <p:ph type="body" sz="quarter" idx="10"/>
          </p:nvPr>
        </p:nvSpPr>
        <p:spPr>
          <a:xfrm>
            <a:off x="0" y="6510529"/>
            <a:ext cx="6310489" cy="328839"/>
          </a:xfrm>
        </p:spPr>
        <p:txBody>
          <a:bodyPr/>
          <a:lstStyle/>
          <a:p>
            <a:r>
              <a:rPr lang="en-US" dirty="0"/>
              <a:t>Salles et al. ASH 2019</a:t>
            </a:r>
          </a:p>
        </p:txBody>
      </p:sp>
      <p:pic>
        <p:nvPicPr>
          <p:cNvPr id="7" name="Bild 15" descr="Mode_of_action.jpg">
            <a:extLst>
              <a:ext uri="{FF2B5EF4-FFF2-40B4-BE49-F238E27FC236}">
                <a16:creationId xmlns:a16="http://schemas.microsoft.com/office/drawing/2014/main" id="{123E09CC-5A92-8C48-A038-91FB26827DD2}"/>
              </a:ext>
            </a:extLst>
          </p:cNvPr>
          <p:cNvPicPr>
            <a:picLocks noChangeAspect="1"/>
          </p:cNvPicPr>
          <p:nvPr/>
        </p:nvPicPr>
        <p:blipFill>
          <a:blip r:embed="rId3"/>
          <a:stretch>
            <a:fillRect/>
          </a:stretch>
        </p:blipFill>
        <p:spPr>
          <a:xfrm>
            <a:off x="6537434" y="1387363"/>
            <a:ext cx="4703592" cy="4149995"/>
          </a:xfrm>
          <a:prstGeom prst="rect">
            <a:avLst/>
          </a:prstGeom>
        </p:spPr>
      </p:pic>
    </p:spTree>
    <p:extLst>
      <p:ext uri="{BB962C8B-B14F-4D97-AF65-F5344CB8AC3E}">
        <p14:creationId xmlns:p14="http://schemas.microsoft.com/office/powerpoint/2010/main" val="237992742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F8D57E7-5603-D7D0-E1CD-A24DD0B4CDCB}"/>
              </a:ext>
            </a:extLst>
          </p:cNvPr>
          <p:cNvSpPr txBox="1"/>
          <p:nvPr/>
        </p:nvSpPr>
        <p:spPr>
          <a:xfrm>
            <a:off x="402421" y="258085"/>
            <a:ext cx="11390994" cy="492443"/>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285698"/>
                </a:solidFill>
                <a:effectLst/>
                <a:uLnTx/>
                <a:uFillTx/>
                <a:latin typeface="Arial"/>
                <a:ea typeface="+mn-ea"/>
                <a:cs typeface="+mn-cs"/>
              </a:rPr>
              <a:t>L-MIND Trial - Tafasitamab in 2L+ DLBCL</a:t>
            </a:r>
          </a:p>
        </p:txBody>
      </p:sp>
      <p:pic>
        <p:nvPicPr>
          <p:cNvPr id="1026" name="Picture 2">
            <a:extLst>
              <a:ext uri="{FF2B5EF4-FFF2-40B4-BE49-F238E27FC236}">
                <a16:creationId xmlns:a16="http://schemas.microsoft.com/office/drawing/2014/main" id="{56242DC3-03FE-F5F9-0099-A0F267F02CF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33077"/>
          <a:stretch>
            <a:fillRect/>
          </a:stretch>
        </p:blipFill>
        <p:spPr bwMode="auto">
          <a:xfrm>
            <a:off x="6348046" y="753577"/>
            <a:ext cx="5007429" cy="5717561"/>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CA5FC628-F816-1E0A-D400-BBB2452443E5}"/>
              </a:ext>
            </a:extLst>
          </p:cNvPr>
          <p:cNvSpPr txBox="1"/>
          <p:nvPr/>
        </p:nvSpPr>
        <p:spPr>
          <a:xfrm>
            <a:off x="402421" y="2283610"/>
            <a:ext cx="5945625" cy="255454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89CA"/>
              </a:buClr>
              <a:buSzTx/>
              <a:buFontTx/>
              <a:buNone/>
              <a:tabLst/>
              <a:defRPr/>
            </a:pPr>
            <a:r>
              <a:rPr kumimoji="0" lang="en-US" sz="2400" b="0" i="0" u="none" strike="noStrike" kern="1200" cap="none" spc="0" normalizeH="0" baseline="0" noProof="0" dirty="0">
                <a:ln>
                  <a:noFill/>
                </a:ln>
                <a:solidFill>
                  <a:srgbClr val="637592"/>
                </a:solidFill>
                <a:effectLst/>
                <a:uLnTx/>
                <a:uFillTx/>
                <a:latin typeface="Arial" panose="020B0604020202020204"/>
                <a:ea typeface="+mn-ea"/>
                <a:cs typeface="+mn-cs"/>
              </a:rPr>
              <a:t>Long term f/u indicates those achieving CR (~40%) can have very durable remission </a:t>
            </a:r>
          </a:p>
          <a:p>
            <a:pPr marL="0" marR="0" lvl="0" indent="0" algn="l" defTabSz="914400" rtl="0" eaLnBrk="1" fontAlgn="auto" latinLnBrk="0" hangingPunct="1">
              <a:lnSpc>
                <a:spcPct val="100000"/>
              </a:lnSpc>
              <a:spcBef>
                <a:spcPts val="0"/>
              </a:spcBef>
              <a:spcAft>
                <a:spcPts val="0"/>
              </a:spcAft>
              <a:buClr>
                <a:srgbClr val="0089CA"/>
              </a:buClr>
              <a:buSzTx/>
              <a:buFontTx/>
              <a:buNone/>
              <a:tabLst/>
              <a:defRPr/>
            </a:pPr>
            <a:endParaRPr kumimoji="0" lang="en-US" sz="2800" b="0" i="0" u="none" strike="noStrike" kern="1200" cap="none" spc="0" normalizeH="0" baseline="0" noProof="0" dirty="0">
              <a:ln>
                <a:noFill/>
              </a:ln>
              <a:solidFill>
                <a:srgbClr val="637592"/>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
                <a:srgbClr val="0089CA"/>
              </a:buClr>
              <a:buSzTx/>
              <a:buFont typeface="Arial" panose="020B0604020202020204" pitchFamily="34" charset="0"/>
              <a:buChar char="•"/>
              <a:tabLst/>
              <a:defRPr/>
            </a:pPr>
            <a:r>
              <a:rPr kumimoji="0" lang="en-US" sz="2000" b="0" i="0" u="none" strike="noStrike" kern="1200" cap="none" spc="0" normalizeH="0" baseline="0" noProof="0" dirty="0">
                <a:ln>
                  <a:noFill/>
                </a:ln>
                <a:solidFill>
                  <a:srgbClr val="637592"/>
                </a:solidFill>
                <a:effectLst/>
                <a:uLnTx/>
                <a:uFillTx/>
                <a:latin typeface="Arial" panose="020B0604020202020204"/>
                <a:ea typeface="+mn-ea"/>
                <a:cs typeface="+mn-cs"/>
              </a:rPr>
              <a:t>Median PFS  - 11.6mths, CR  - NR</a:t>
            </a:r>
          </a:p>
          <a:p>
            <a:pPr marL="285750" marR="0" lvl="0" indent="-285750" algn="l" defTabSz="914400" rtl="0" eaLnBrk="1" fontAlgn="auto" latinLnBrk="0" hangingPunct="1">
              <a:lnSpc>
                <a:spcPct val="100000"/>
              </a:lnSpc>
              <a:spcBef>
                <a:spcPts val="0"/>
              </a:spcBef>
              <a:spcAft>
                <a:spcPts val="0"/>
              </a:spcAft>
              <a:buClr>
                <a:srgbClr val="0089CA"/>
              </a:buClr>
              <a:buSzTx/>
              <a:buFont typeface="Arial" panose="020B0604020202020204" pitchFamily="34" charset="0"/>
              <a:buChar char="•"/>
              <a:tabLst/>
              <a:defRPr/>
            </a:pPr>
            <a:endParaRPr kumimoji="0" lang="en-US" sz="2000" b="0" i="0" u="none" strike="noStrike" kern="1200" cap="none" spc="0" normalizeH="0" baseline="0" noProof="0" dirty="0">
              <a:ln>
                <a:noFill/>
              </a:ln>
              <a:solidFill>
                <a:srgbClr val="637592"/>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
                <a:srgbClr val="0089CA"/>
              </a:buClr>
              <a:buSzTx/>
              <a:buFont typeface="Arial" panose="020B0604020202020204" pitchFamily="34" charset="0"/>
              <a:buChar char="•"/>
              <a:tabLst/>
              <a:defRPr/>
            </a:pPr>
            <a:r>
              <a:rPr kumimoji="0" lang="en-US" sz="2000" b="0" i="0" u="none" strike="noStrike" kern="1200" cap="none" spc="0" normalizeH="0" baseline="0" noProof="0" dirty="0">
                <a:ln>
                  <a:noFill/>
                </a:ln>
                <a:solidFill>
                  <a:srgbClr val="637592"/>
                </a:solidFill>
                <a:effectLst/>
                <a:uLnTx/>
                <a:uFillTx/>
                <a:latin typeface="Arial" panose="020B0604020202020204"/>
                <a:ea typeface="+mn-ea"/>
                <a:cs typeface="+mn-cs"/>
              </a:rPr>
              <a:t>Median OS – 33.5mths, CR – NR</a:t>
            </a:r>
          </a:p>
        </p:txBody>
      </p:sp>
      <p:sp>
        <p:nvSpPr>
          <p:cNvPr id="4" name="TextBox 3">
            <a:extLst>
              <a:ext uri="{FF2B5EF4-FFF2-40B4-BE49-F238E27FC236}">
                <a16:creationId xmlns:a16="http://schemas.microsoft.com/office/drawing/2014/main" id="{7EA34B11-CC5B-2259-240A-6B643F68B8FE}"/>
              </a:ext>
            </a:extLst>
          </p:cNvPr>
          <p:cNvSpPr txBox="1"/>
          <p:nvPr/>
        </p:nvSpPr>
        <p:spPr>
          <a:xfrm>
            <a:off x="7807569" y="6471138"/>
            <a:ext cx="363432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85698"/>
                </a:solidFill>
                <a:effectLst/>
                <a:uLnTx/>
                <a:uFillTx/>
                <a:latin typeface="Arial" panose="020B0604020202020204"/>
                <a:ea typeface="+mn-ea"/>
                <a:cs typeface="+mn-cs"/>
              </a:rPr>
              <a:t>Duell J et al Haematologica. 2021</a:t>
            </a:r>
          </a:p>
        </p:txBody>
      </p:sp>
    </p:spTree>
    <p:extLst>
      <p:ext uri="{BB962C8B-B14F-4D97-AF65-F5344CB8AC3E}">
        <p14:creationId xmlns:p14="http://schemas.microsoft.com/office/powerpoint/2010/main" val="186209895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402421" y="258085"/>
            <a:ext cx="11390994" cy="492443"/>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285698"/>
                </a:solidFill>
                <a:effectLst/>
                <a:uLnTx/>
                <a:uFillTx/>
                <a:latin typeface="Arial"/>
                <a:ea typeface="+mn-ea"/>
                <a:cs typeface="+mn-cs"/>
              </a:rPr>
              <a:t>frontMIND Trial - Tafasitamab in First-Line DLBCL</a:t>
            </a:r>
          </a:p>
        </p:txBody>
      </p:sp>
      <p:sp>
        <p:nvSpPr>
          <p:cNvPr id="14" name="TextBox 13"/>
          <p:cNvSpPr txBox="1"/>
          <p:nvPr/>
        </p:nvSpPr>
        <p:spPr>
          <a:xfrm>
            <a:off x="7748792" y="6371796"/>
            <a:ext cx="2782574" cy="486203"/>
          </a:xfrm>
          <a:prstGeom prst="rect">
            <a:avLst/>
          </a:prstGeom>
          <a:noFill/>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16" b="0" i="0" u="none" strike="noStrike" kern="1200" cap="none" spc="0" normalizeH="0" baseline="0" noProof="0" dirty="0">
                <a:ln>
                  <a:noFill/>
                </a:ln>
                <a:solidFill>
                  <a:srgbClr val="637592"/>
                </a:solidFill>
                <a:effectLst/>
                <a:uLnTx/>
                <a:uFillTx/>
                <a:latin typeface="Arial"/>
                <a:ea typeface="+mn-ea"/>
                <a:cs typeface="+mn-cs"/>
              </a:rPr>
              <a:t>Manufacturer Press Release Jan 5, 2026</a:t>
            </a:r>
            <a:endParaRPr kumimoji="0" lang="en-US" sz="1116" b="0" i="0" u="none" strike="noStrike" kern="1200" cap="none" spc="0" normalizeH="0" baseline="0" noProof="0" dirty="0">
              <a:ln>
                <a:noFill/>
              </a:ln>
              <a:solidFill>
                <a:srgbClr val="637592"/>
              </a:solidFill>
              <a:effectLst/>
              <a:uLnTx/>
              <a:uFillTx/>
              <a:latin typeface="Arial"/>
              <a:ea typeface="+mn-ea"/>
              <a:cs typeface="+mn-cs"/>
              <a:hlinkClick r:id="rId2" tooltip="Tafasitamab Plus R-CHOP Improves PFS in First-Line DL..."/>
            </a:endParaRPr>
          </a:p>
        </p:txBody>
      </p:sp>
      <p:grpSp>
        <p:nvGrpSpPr>
          <p:cNvPr id="18" name="Group 17">
            <a:extLst>
              <a:ext uri="{FF2B5EF4-FFF2-40B4-BE49-F238E27FC236}">
                <a16:creationId xmlns:a16="http://schemas.microsoft.com/office/drawing/2014/main" id="{921A19B9-B9D9-8B31-DB6C-E30628BD3C39}"/>
              </a:ext>
            </a:extLst>
          </p:cNvPr>
          <p:cNvGrpSpPr/>
          <p:nvPr/>
        </p:nvGrpSpPr>
        <p:grpSpPr>
          <a:xfrm>
            <a:off x="6307153" y="2029835"/>
            <a:ext cx="5486262" cy="3062655"/>
            <a:chOff x="304792" y="2064692"/>
            <a:chExt cx="5486262" cy="3062655"/>
          </a:xfrm>
        </p:grpSpPr>
        <p:sp>
          <p:nvSpPr>
            <p:cNvPr id="4" name="Rounded Rectangle 3"/>
            <p:cNvSpPr/>
            <p:nvPr/>
          </p:nvSpPr>
          <p:spPr>
            <a:xfrm>
              <a:off x="304800" y="2064692"/>
              <a:ext cx="1727150" cy="1063525"/>
            </a:xfrm>
            <a:prstGeom prst="roundRect">
              <a:avLst>
                <a:gd name="adj" fmla="val 7164"/>
              </a:avLst>
            </a:prstGeom>
            <a:solidFill>
              <a:srgbClr val="F8FBF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 name="Rounded Rectangle 4"/>
            <p:cNvSpPr/>
            <p:nvPr/>
          </p:nvSpPr>
          <p:spPr>
            <a:xfrm>
              <a:off x="2184350" y="2064692"/>
              <a:ext cx="1727150" cy="1063525"/>
            </a:xfrm>
            <a:prstGeom prst="roundRect">
              <a:avLst>
                <a:gd name="adj" fmla="val 7164"/>
              </a:avLst>
            </a:prstGeom>
            <a:solidFill>
              <a:srgbClr val="F8FBF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 name="Rounded Rectangle 5"/>
            <p:cNvSpPr/>
            <p:nvPr/>
          </p:nvSpPr>
          <p:spPr>
            <a:xfrm>
              <a:off x="4063900" y="2064692"/>
              <a:ext cx="1727150" cy="1063525"/>
            </a:xfrm>
            <a:prstGeom prst="roundRect">
              <a:avLst>
                <a:gd name="adj" fmla="val 7164"/>
              </a:avLst>
            </a:prstGeom>
            <a:solidFill>
              <a:srgbClr val="F8FBF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 name="TextBox 7"/>
            <p:cNvSpPr txBox="1"/>
            <p:nvPr/>
          </p:nvSpPr>
          <p:spPr>
            <a:xfrm>
              <a:off x="826831" y="2247397"/>
              <a:ext cx="682880" cy="492443"/>
            </a:xfrm>
            <a:prstGeom prst="rect">
              <a:avLst/>
            </a:prstGeom>
            <a:noFill/>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89CA"/>
                  </a:solidFill>
                  <a:effectLst/>
                  <a:uLnTx/>
                  <a:uFillTx/>
                  <a:latin typeface="Arial"/>
                  <a:ea typeface="+mn-ea"/>
                  <a:cs typeface="+mn-cs"/>
                </a:rPr>
                <a:t>880</a:t>
              </a:r>
            </a:p>
          </p:txBody>
        </p:sp>
        <p:sp>
          <p:nvSpPr>
            <p:cNvPr id="9" name="TextBox 8"/>
            <p:cNvSpPr txBox="1"/>
            <p:nvPr/>
          </p:nvSpPr>
          <p:spPr>
            <a:xfrm>
              <a:off x="890951" y="2761734"/>
              <a:ext cx="554640" cy="184666"/>
            </a:xfrm>
            <a:prstGeom prst="rect">
              <a:avLst/>
            </a:prstGeom>
            <a:noFill/>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637592"/>
                  </a:solidFill>
                  <a:effectLst/>
                  <a:uLnTx/>
                  <a:uFillTx/>
                  <a:latin typeface="Arial"/>
                  <a:ea typeface="+mn-ea"/>
                  <a:cs typeface="+mn-cs"/>
                </a:rPr>
                <a:t>Patients</a:t>
              </a:r>
              <a:endParaRPr kumimoji="0" lang="en-US" sz="900" b="0" i="0" u="none" strike="noStrike" kern="1200" cap="none" spc="0" normalizeH="0" baseline="0" noProof="0" dirty="0">
                <a:ln>
                  <a:noFill/>
                </a:ln>
                <a:solidFill>
                  <a:srgbClr val="0089CA"/>
                </a:solidFill>
                <a:effectLst/>
                <a:uLnTx/>
                <a:uFillTx/>
                <a:latin typeface="Arial"/>
                <a:ea typeface="+mn-ea"/>
                <a:cs typeface="+mn-cs"/>
                <a:hlinkClick r:id="rId2" tooltip="Tafasitamab Plus R-CHOP Improves PFS in First-Line DL..."/>
              </a:endParaRPr>
            </a:p>
          </p:txBody>
        </p:sp>
        <p:sp>
          <p:nvSpPr>
            <p:cNvPr id="10" name="TextBox 9"/>
            <p:cNvSpPr txBox="1"/>
            <p:nvPr/>
          </p:nvSpPr>
          <p:spPr>
            <a:xfrm>
              <a:off x="2444244" y="2247397"/>
              <a:ext cx="1207062" cy="492443"/>
            </a:xfrm>
            <a:prstGeom prst="rect">
              <a:avLst/>
            </a:prstGeom>
            <a:noFill/>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89CA"/>
                  </a:solidFill>
                  <a:effectLst/>
                  <a:uLnTx/>
                  <a:uFillTx/>
                  <a:latin typeface="Arial"/>
                  <a:ea typeface="+mn-ea"/>
                  <a:cs typeface="+mn-cs"/>
                </a:rPr>
                <a:t>IPI 3-5</a:t>
              </a:r>
            </a:p>
          </p:txBody>
        </p:sp>
        <p:sp>
          <p:nvSpPr>
            <p:cNvPr id="11" name="TextBox 10"/>
            <p:cNvSpPr txBox="1"/>
            <p:nvPr/>
          </p:nvSpPr>
          <p:spPr>
            <a:xfrm>
              <a:off x="2676752" y="2761734"/>
              <a:ext cx="742191" cy="184666"/>
            </a:xfrm>
            <a:prstGeom prst="rect">
              <a:avLst/>
            </a:prstGeom>
            <a:noFill/>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637592"/>
                  </a:solidFill>
                  <a:effectLst/>
                  <a:uLnTx/>
                  <a:uFillTx/>
                  <a:latin typeface="Arial"/>
                  <a:ea typeface="+mn-ea"/>
                  <a:cs typeface="+mn-cs"/>
                </a:rPr>
                <a:t>Risk Score</a:t>
              </a:r>
              <a:endParaRPr kumimoji="0" lang="en-US" sz="900" b="0" i="0" u="none" strike="noStrike" kern="1200" cap="none" spc="0" normalizeH="0" baseline="0" noProof="0" dirty="0">
                <a:ln>
                  <a:noFill/>
                </a:ln>
                <a:solidFill>
                  <a:srgbClr val="0089CA"/>
                </a:solidFill>
                <a:effectLst/>
                <a:uLnTx/>
                <a:uFillTx/>
                <a:latin typeface="Arial"/>
                <a:ea typeface="+mn-ea"/>
                <a:cs typeface="+mn-cs"/>
                <a:hlinkClick r:id="rId2" tooltip="Tafasitamab Plus R-CHOP Improves PFS in First-Line DL..."/>
              </a:endParaRPr>
            </a:p>
          </p:txBody>
        </p:sp>
        <p:sp>
          <p:nvSpPr>
            <p:cNvPr id="12" name="TextBox 11"/>
            <p:cNvSpPr txBox="1"/>
            <p:nvPr/>
          </p:nvSpPr>
          <p:spPr>
            <a:xfrm>
              <a:off x="4529005" y="2247397"/>
              <a:ext cx="796693" cy="492443"/>
            </a:xfrm>
            <a:prstGeom prst="rect">
              <a:avLst/>
            </a:prstGeom>
            <a:noFill/>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89CA"/>
                  </a:solidFill>
                  <a:effectLst/>
                  <a:uLnTx/>
                  <a:uFillTx/>
                  <a:latin typeface="Arial"/>
                  <a:ea typeface="+mn-ea"/>
                  <a:cs typeface="+mn-cs"/>
                </a:rPr>
                <a:t>0.75</a:t>
              </a:r>
            </a:p>
          </p:txBody>
        </p:sp>
        <p:sp>
          <p:nvSpPr>
            <p:cNvPr id="13" name="TextBox 12"/>
            <p:cNvSpPr txBox="1"/>
            <p:nvPr/>
          </p:nvSpPr>
          <p:spPr>
            <a:xfrm>
              <a:off x="4464811" y="2761734"/>
              <a:ext cx="924933" cy="184666"/>
            </a:xfrm>
            <a:prstGeom prst="rect">
              <a:avLst/>
            </a:prstGeom>
            <a:noFill/>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637592"/>
                  </a:solidFill>
                  <a:effectLst/>
                  <a:uLnTx/>
                  <a:uFillTx/>
                  <a:latin typeface="Arial"/>
                  <a:ea typeface="+mn-ea"/>
                  <a:cs typeface="+mn-cs"/>
                </a:rPr>
                <a:t>Hazard Ratio</a:t>
              </a:r>
              <a:r>
                <a:rPr kumimoji="0" lang="en-US" sz="900" b="0" i="0" u="none" strike="noStrike" kern="1200" cap="none" spc="0" normalizeH="0" baseline="0" noProof="0" dirty="0">
                  <a:ln>
                    <a:noFill/>
                  </a:ln>
                  <a:solidFill>
                    <a:srgbClr val="0089CA"/>
                  </a:solidFill>
                  <a:effectLst/>
                  <a:uLnTx/>
                  <a:uFillTx/>
                  <a:latin typeface="Arial"/>
                  <a:ea typeface="+mn-ea"/>
                  <a:cs typeface="+mn-cs"/>
                </a:rPr>
                <a:t> </a:t>
              </a:r>
              <a:endParaRPr kumimoji="0" lang="en-US" sz="900" b="0" i="0" u="none" strike="noStrike" kern="1200" cap="none" spc="0" normalizeH="0" baseline="0" noProof="0" dirty="0">
                <a:ln>
                  <a:noFill/>
                </a:ln>
                <a:solidFill>
                  <a:srgbClr val="0089CA"/>
                </a:solidFill>
                <a:effectLst/>
                <a:uLnTx/>
                <a:uFillTx/>
                <a:latin typeface="Arial"/>
                <a:ea typeface="+mn-ea"/>
                <a:cs typeface="+mn-cs"/>
                <a:hlinkClick r:id="rId2" tooltip="Tafasitamab Plus R-CHOP Improves PFS in First-Line DL..."/>
              </a:endParaRPr>
            </a:p>
          </p:txBody>
        </p:sp>
        <p:sp>
          <p:nvSpPr>
            <p:cNvPr id="15" name="TextBox 14"/>
            <p:cNvSpPr txBox="1"/>
            <p:nvPr/>
          </p:nvSpPr>
          <p:spPr>
            <a:xfrm>
              <a:off x="304792" y="3356734"/>
              <a:ext cx="5486262" cy="1770613"/>
            </a:xfrm>
            <a:prstGeom prst="rect">
              <a:avLst/>
            </a:prstGeom>
            <a:noFill/>
          </p:spPr>
          <p:txBody>
            <a:bodyPr wrap="square" lIns="0" tIns="0" rIns="0" bIns="0">
              <a:spAutoFit/>
            </a:bodyPr>
            <a:lstStyle/>
            <a:p>
              <a:pPr marL="198085" marR="0" lvl="0" indent="-198085" algn="l" defTabSz="914400" rtl="0" eaLnBrk="1" fontAlgn="auto" latinLnBrk="0" hangingPunct="1">
                <a:lnSpc>
                  <a:spcPts val="2028"/>
                </a:lnSpc>
                <a:spcBef>
                  <a:spcPts val="0"/>
                </a:spcBef>
                <a:spcAft>
                  <a:spcPts val="0"/>
                </a:spcAft>
                <a:buClr>
                  <a:srgbClr val="0089CA"/>
                </a:buClr>
                <a:buSzPct val="100000"/>
                <a:buFont typeface="Arial" charset="0"/>
                <a:buChar char="●"/>
                <a:tabLst/>
                <a:defRPr/>
              </a:pPr>
              <a:r>
                <a:rPr kumimoji="0" lang="en-US" sz="1400" b="0" i="0" u="none" strike="noStrike" kern="1200" cap="none" spc="0" normalizeH="0" baseline="0" noProof="0" dirty="0">
                  <a:ln>
                    <a:noFill/>
                  </a:ln>
                  <a:solidFill>
                    <a:srgbClr val="637592"/>
                  </a:solidFill>
                  <a:effectLst/>
                  <a:uLnTx/>
                  <a:uFillTx/>
                  <a:latin typeface="Arial"/>
                  <a:ea typeface="+mn-ea"/>
                  <a:cs typeface="+mn-cs"/>
                </a:rPr>
                <a:t>Global Ph3 RCT, enrolled 880 treatment-naive patients with high-risk DLBCL (IPI 3-5)</a:t>
              </a:r>
            </a:p>
            <a:p>
              <a:pPr marL="198085" marR="0" lvl="0" indent="-198085" algn="l" defTabSz="914400" rtl="0" eaLnBrk="1" fontAlgn="auto" latinLnBrk="0" hangingPunct="1">
                <a:lnSpc>
                  <a:spcPts val="2028"/>
                </a:lnSpc>
                <a:spcBef>
                  <a:spcPts val="959"/>
                </a:spcBef>
                <a:spcAft>
                  <a:spcPts val="0"/>
                </a:spcAft>
                <a:buClr>
                  <a:srgbClr val="0089CA"/>
                </a:buClr>
                <a:buSzPct val="100000"/>
                <a:buFont typeface="Arial" charset="0"/>
                <a:buChar char="●"/>
                <a:tabLst/>
                <a:defRPr/>
              </a:pPr>
              <a:r>
                <a:rPr kumimoji="0" lang="en-US" sz="1400" b="0" i="0" u="none" strike="noStrike" kern="1200" cap="none" spc="0" normalizeH="0" baseline="0" noProof="0" dirty="0">
                  <a:ln>
                    <a:noFill/>
                  </a:ln>
                  <a:solidFill>
                    <a:srgbClr val="637592"/>
                  </a:solidFill>
                  <a:effectLst/>
                  <a:uLnTx/>
                  <a:uFillTx/>
                  <a:latin typeface="Arial"/>
                  <a:ea typeface="+mn-ea"/>
                  <a:cs typeface="+mn-cs"/>
                </a:rPr>
                <a:t>Primary endpoint met with HR 0.75, p=0.019, representing 25% reduction in progression or death</a:t>
              </a:r>
            </a:p>
            <a:p>
              <a:pPr marL="198085" marR="0" lvl="0" indent="-198085" algn="l" defTabSz="914400" rtl="0" eaLnBrk="1" fontAlgn="auto" latinLnBrk="0" hangingPunct="1">
                <a:lnSpc>
                  <a:spcPts val="2028"/>
                </a:lnSpc>
                <a:spcBef>
                  <a:spcPts val="959"/>
                </a:spcBef>
                <a:spcAft>
                  <a:spcPts val="0"/>
                </a:spcAft>
                <a:buClr>
                  <a:srgbClr val="0089CA"/>
                </a:buClr>
                <a:buSzPct val="100000"/>
                <a:buFont typeface="Arial" charset="0"/>
                <a:buChar char="●"/>
                <a:tabLst/>
                <a:defRPr/>
              </a:pPr>
              <a:r>
                <a:rPr kumimoji="0" lang="en-US" sz="1400" b="0" i="0" u="none" strike="noStrike" kern="1200" cap="none" spc="0" normalizeH="0" baseline="0" noProof="0" dirty="0">
                  <a:ln>
                    <a:noFill/>
                  </a:ln>
                  <a:solidFill>
                    <a:srgbClr val="637592"/>
                  </a:solidFill>
                  <a:effectLst/>
                  <a:uLnTx/>
                  <a:uFillTx/>
                  <a:latin typeface="Arial"/>
                  <a:ea typeface="+mn-ea"/>
                  <a:cs typeface="+mn-cs"/>
                </a:rPr>
                <a:t>Event-free survival achieved with no new safety signals beyond known profiles</a:t>
              </a:r>
            </a:p>
          </p:txBody>
        </p:sp>
      </p:grpSp>
      <p:pic>
        <p:nvPicPr>
          <p:cNvPr id="17" name="Picture 16">
            <a:extLst>
              <a:ext uri="{FF2B5EF4-FFF2-40B4-BE49-F238E27FC236}">
                <a16:creationId xmlns:a16="http://schemas.microsoft.com/office/drawing/2014/main" id="{BDA84577-88E6-B89B-9E04-848D1690E4D0}"/>
              </a:ext>
            </a:extLst>
          </p:cNvPr>
          <p:cNvPicPr>
            <a:picLocks noChangeAspect="1"/>
          </p:cNvPicPr>
          <p:nvPr/>
        </p:nvPicPr>
        <p:blipFill>
          <a:blip r:embed="rId3"/>
          <a:srcRect l="3560" t="12330" r="30424" b="25453"/>
          <a:stretch>
            <a:fillRect/>
          </a:stretch>
        </p:blipFill>
        <p:spPr>
          <a:xfrm>
            <a:off x="144624" y="1548257"/>
            <a:ext cx="6162328" cy="3871823"/>
          </a:xfrm>
          <a:prstGeom prst="rect">
            <a:avLst/>
          </a:prstGeom>
        </p:spPr>
      </p:pic>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0"/>
            <a:ext cx="5223123" cy="685800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 name="Oval 2"/>
          <p:cNvSpPr/>
          <p:nvPr/>
        </p:nvSpPr>
        <p:spPr>
          <a:xfrm>
            <a:off x="304800" y="1472505"/>
            <a:ext cx="457200" cy="457200"/>
          </a:xfrm>
          <a:prstGeom prst="ellipse">
            <a:avLst/>
          </a:prstGeom>
          <a:solidFill>
            <a:srgbClr val="0089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 name="Oval 4"/>
          <p:cNvSpPr/>
          <p:nvPr/>
        </p:nvSpPr>
        <p:spPr>
          <a:xfrm>
            <a:off x="304800" y="2624435"/>
            <a:ext cx="457200" cy="457200"/>
          </a:xfrm>
          <a:prstGeom prst="ellipse">
            <a:avLst/>
          </a:prstGeom>
          <a:solidFill>
            <a:srgbClr val="0089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 name="Oval 6"/>
          <p:cNvSpPr/>
          <p:nvPr/>
        </p:nvSpPr>
        <p:spPr>
          <a:xfrm>
            <a:off x="304800" y="3776364"/>
            <a:ext cx="457200" cy="457200"/>
          </a:xfrm>
          <a:prstGeom prst="ellipse">
            <a:avLst/>
          </a:prstGeom>
          <a:solidFill>
            <a:srgbClr val="0089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 name="Oval 8"/>
          <p:cNvSpPr/>
          <p:nvPr/>
        </p:nvSpPr>
        <p:spPr>
          <a:xfrm>
            <a:off x="304800" y="4928294"/>
            <a:ext cx="457200" cy="457200"/>
          </a:xfrm>
          <a:prstGeom prst="ellipse">
            <a:avLst/>
          </a:prstGeom>
          <a:solidFill>
            <a:srgbClr val="0089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3" name="TextBox 12"/>
          <p:cNvSpPr txBox="1"/>
          <p:nvPr/>
        </p:nvSpPr>
        <p:spPr>
          <a:xfrm>
            <a:off x="478172" y="1586765"/>
            <a:ext cx="110278" cy="219069"/>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27" b="1" i="0" u="none" strike="noStrike" kern="1200" cap="none" spc="0" normalizeH="0" baseline="0" noProof="0" dirty="0">
                <a:ln>
                  <a:noFill/>
                </a:ln>
                <a:solidFill>
                  <a:srgbClr val="FFFFFF"/>
                </a:solidFill>
                <a:effectLst/>
                <a:uLnTx/>
                <a:uFillTx/>
                <a:latin typeface="Arial"/>
                <a:ea typeface="+mn-ea"/>
                <a:cs typeface="+mn-cs"/>
              </a:rPr>
              <a:t>1</a:t>
            </a:r>
          </a:p>
        </p:txBody>
      </p:sp>
      <p:sp>
        <p:nvSpPr>
          <p:cNvPr id="14" name="TextBox 13"/>
          <p:cNvSpPr txBox="1"/>
          <p:nvPr/>
        </p:nvSpPr>
        <p:spPr>
          <a:xfrm>
            <a:off x="914377" y="1477528"/>
            <a:ext cx="1868639" cy="190495"/>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92" b="1" i="0" u="none" strike="noStrike" kern="1200" cap="none" spc="0" normalizeH="0" baseline="0" noProof="0" dirty="0">
                <a:ln>
                  <a:noFill/>
                </a:ln>
                <a:solidFill>
                  <a:srgbClr val="0C233F"/>
                </a:solidFill>
                <a:effectLst/>
                <a:uLnTx/>
                <a:uFillTx/>
                <a:latin typeface="Arial"/>
                <a:ea typeface="+mn-ea"/>
                <a:cs typeface="+mn-cs"/>
              </a:rPr>
              <a:t>2L Transplant-Ineligible</a:t>
            </a:r>
          </a:p>
        </p:txBody>
      </p:sp>
      <p:sp>
        <p:nvSpPr>
          <p:cNvPr id="15" name="TextBox 14"/>
          <p:cNvSpPr txBox="1"/>
          <p:nvPr/>
        </p:nvSpPr>
        <p:spPr>
          <a:xfrm>
            <a:off x="914377" y="1750472"/>
            <a:ext cx="3682213" cy="161920"/>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16" b="0" i="0" u="none" strike="noStrike" kern="1200" cap="none" spc="0" normalizeH="0" baseline="0" noProof="0" dirty="0">
                <a:ln>
                  <a:noFill/>
                </a:ln>
                <a:solidFill>
                  <a:srgbClr val="637592"/>
                </a:solidFill>
                <a:effectLst/>
                <a:uLnTx/>
                <a:uFillTx/>
                <a:latin typeface="Arial"/>
                <a:ea typeface="+mn-ea"/>
                <a:cs typeface="+mn-cs"/>
              </a:rPr>
              <a:t>Glofitamab-GemOx or Mosun-Pola as preferred regimens</a:t>
            </a:r>
          </a:p>
        </p:txBody>
      </p:sp>
      <p:sp>
        <p:nvSpPr>
          <p:cNvPr id="16" name="TextBox 15"/>
          <p:cNvSpPr txBox="1"/>
          <p:nvPr/>
        </p:nvSpPr>
        <p:spPr>
          <a:xfrm>
            <a:off x="478172" y="2738666"/>
            <a:ext cx="110278" cy="219069"/>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27" b="1" i="0" u="none" strike="noStrike" kern="1200" cap="none" spc="0" normalizeH="0" baseline="0" noProof="0" dirty="0">
                <a:ln>
                  <a:noFill/>
                </a:ln>
                <a:solidFill>
                  <a:srgbClr val="FFFFFF"/>
                </a:solidFill>
                <a:effectLst/>
                <a:uLnTx/>
                <a:uFillTx/>
                <a:latin typeface="Arial"/>
                <a:ea typeface="+mn-ea"/>
                <a:cs typeface="+mn-cs"/>
              </a:rPr>
              <a:t>2</a:t>
            </a:r>
          </a:p>
        </p:txBody>
      </p:sp>
      <p:sp>
        <p:nvSpPr>
          <p:cNvPr id="17" name="TextBox 16"/>
          <p:cNvSpPr txBox="1"/>
          <p:nvPr/>
        </p:nvSpPr>
        <p:spPr>
          <a:xfrm>
            <a:off x="914377" y="2629429"/>
            <a:ext cx="288541" cy="198837"/>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92" b="1" i="0" u="none" strike="noStrike" kern="1200" cap="none" spc="0" normalizeH="0" baseline="0" noProof="0" dirty="0">
                <a:ln>
                  <a:noFill/>
                </a:ln>
                <a:solidFill>
                  <a:srgbClr val="0C233F"/>
                </a:solidFill>
                <a:effectLst/>
                <a:uLnTx/>
                <a:uFillTx/>
                <a:latin typeface="Arial"/>
                <a:ea typeface="+mn-ea"/>
                <a:cs typeface="+mn-cs"/>
              </a:rPr>
              <a:t>3L+</a:t>
            </a:r>
          </a:p>
        </p:txBody>
      </p:sp>
      <p:sp>
        <p:nvSpPr>
          <p:cNvPr id="18" name="TextBox 17"/>
          <p:cNvSpPr txBox="1"/>
          <p:nvPr/>
        </p:nvSpPr>
        <p:spPr>
          <a:xfrm>
            <a:off x="914377" y="2902373"/>
            <a:ext cx="3723140" cy="161920"/>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16" b="0" i="0" u="none" strike="noStrike" kern="1200" cap="none" spc="0" normalizeH="0" baseline="0" noProof="0" dirty="0">
                <a:ln>
                  <a:noFill/>
                </a:ln>
                <a:solidFill>
                  <a:srgbClr val="637592"/>
                </a:solidFill>
                <a:effectLst/>
                <a:uLnTx/>
                <a:uFillTx/>
                <a:latin typeface="Arial"/>
                <a:ea typeface="+mn-ea"/>
                <a:cs typeface="+mn-cs"/>
              </a:rPr>
              <a:t>Epcoritamab or glofitamab monotherapy approved options</a:t>
            </a:r>
          </a:p>
        </p:txBody>
      </p:sp>
      <p:sp>
        <p:nvSpPr>
          <p:cNvPr id="19" name="TextBox 18"/>
          <p:cNvSpPr txBox="1"/>
          <p:nvPr/>
        </p:nvSpPr>
        <p:spPr>
          <a:xfrm>
            <a:off x="478172" y="3890567"/>
            <a:ext cx="110278" cy="219069"/>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27" b="1" i="0" u="none" strike="noStrike" kern="1200" cap="none" spc="0" normalizeH="0" baseline="0" noProof="0" dirty="0">
                <a:ln>
                  <a:noFill/>
                </a:ln>
                <a:solidFill>
                  <a:srgbClr val="FFFFFF"/>
                </a:solidFill>
                <a:effectLst/>
                <a:uLnTx/>
                <a:uFillTx/>
                <a:latin typeface="Arial"/>
                <a:ea typeface="+mn-ea"/>
                <a:cs typeface="+mn-cs"/>
              </a:rPr>
              <a:t>3</a:t>
            </a:r>
          </a:p>
        </p:txBody>
      </p:sp>
      <p:sp>
        <p:nvSpPr>
          <p:cNvPr id="20" name="TextBox 19"/>
          <p:cNvSpPr txBox="1"/>
          <p:nvPr/>
        </p:nvSpPr>
        <p:spPr>
          <a:xfrm>
            <a:off x="914377" y="3781330"/>
            <a:ext cx="1629478" cy="190495"/>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92" b="1" i="0" u="none" strike="noStrike" kern="1200" cap="none" spc="0" normalizeH="0" baseline="0" noProof="0" dirty="0">
                <a:ln>
                  <a:noFill/>
                </a:ln>
                <a:solidFill>
                  <a:srgbClr val="0C233F"/>
                </a:solidFill>
                <a:effectLst/>
                <a:uLnTx/>
                <a:uFillTx/>
                <a:latin typeface="Arial"/>
                <a:ea typeface="+mn-ea"/>
                <a:cs typeface="+mn-cs"/>
              </a:rPr>
              <a:t>Post-CAR-T Relapse</a:t>
            </a:r>
          </a:p>
        </p:txBody>
      </p:sp>
      <p:sp>
        <p:nvSpPr>
          <p:cNvPr id="21" name="TextBox 20"/>
          <p:cNvSpPr txBox="1"/>
          <p:nvPr/>
        </p:nvSpPr>
        <p:spPr>
          <a:xfrm>
            <a:off x="914377" y="4054274"/>
            <a:ext cx="4003822" cy="161920"/>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16" b="0" i="0" u="none" strike="noStrike" kern="1200" cap="none" spc="0" normalizeH="0" baseline="0" noProof="0" dirty="0">
                <a:ln>
                  <a:noFill/>
                </a:ln>
                <a:solidFill>
                  <a:srgbClr val="637592"/>
                </a:solidFill>
                <a:effectLst/>
                <a:uLnTx/>
                <a:uFillTx/>
                <a:latin typeface="Arial"/>
                <a:ea typeface="+mn-ea"/>
                <a:cs typeface="+mn-cs"/>
              </a:rPr>
              <a:t>Bispecific antibodies show activity in CAR-T-refractory patients</a:t>
            </a:r>
          </a:p>
        </p:txBody>
      </p:sp>
      <p:sp>
        <p:nvSpPr>
          <p:cNvPr id="22" name="TextBox 21"/>
          <p:cNvSpPr txBox="1"/>
          <p:nvPr/>
        </p:nvSpPr>
        <p:spPr>
          <a:xfrm>
            <a:off x="478172" y="5042468"/>
            <a:ext cx="110278" cy="219069"/>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27" b="1" i="0" u="none" strike="noStrike" kern="1200" cap="none" spc="0" normalizeH="0" baseline="0" noProof="0" dirty="0">
                <a:ln>
                  <a:noFill/>
                </a:ln>
                <a:solidFill>
                  <a:srgbClr val="FFFFFF"/>
                </a:solidFill>
                <a:effectLst/>
                <a:uLnTx/>
                <a:uFillTx/>
                <a:latin typeface="Arial"/>
                <a:ea typeface="+mn-ea"/>
                <a:cs typeface="+mn-cs"/>
              </a:rPr>
              <a:t>4</a:t>
            </a:r>
          </a:p>
        </p:txBody>
      </p:sp>
      <p:sp>
        <p:nvSpPr>
          <p:cNvPr id="23" name="TextBox 22"/>
          <p:cNvSpPr txBox="1"/>
          <p:nvPr/>
        </p:nvSpPr>
        <p:spPr>
          <a:xfrm>
            <a:off x="914377" y="4933231"/>
            <a:ext cx="1021233" cy="190495"/>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92" b="1" i="0" u="none" strike="noStrike" kern="1200" cap="none" spc="0" normalizeH="0" baseline="0" noProof="0" dirty="0">
                <a:ln>
                  <a:noFill/>
                </a:ln>
                <a:solidFill>
                  <a:srgbClr val="0C233F"/>
                </a:solidFill>
                <a:effectLst/>
                <a:uLnTx/>
                <a:uFillTx/>
                <a:latin typeface="Arial"/>
                <a:ea typeface="+mn-ea"/>
                <a:cs typeface="+mn-cs"/>
              </a:rPr>
              <a:t>1L High-Risk</a:t>
            </a:r>
          </a:p>
        </p:txBody>
      </p:sp>
      <p:sp>
        <p:nvSpPr>
          <p:cNvPr id="24" name="TextBox 23"/>
          <p:cNvSpPr txBox="1"/>
          <p:nvPr/>
        </p:nvSpPr>
        <p:spPr>
          <a:xfrm>
            <a:off x="914377" y="5206175"/>
            <a:ext cx="4594206" cy="171714"/>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16" b="0" i="0" u="none" strike="noStrike" kern="1200" cap="none" spc="0" normalizeH="0" baseline="0" noProof="0" dirty="0">
                <a:ln>
                  <a:noFill/>
                </a:ln>
                <a:solidFill>
                  <a:srgbClr val="637592"/>
                </a:solidFill>
                <a:effectLst/>
                <a:uLnTx/>
                <a:uFillTx/>
                <a:latin typeface="Arial"/>
                <a:ea typeface="+mn-ea"/>
                <a:cs typeface="+mn-cs"/>
              </a:rPr>
              <a:t>Investigational combinations with R-CHOP/Pola-RCHP under evaluation</a:t>
            </a:r>
          </a:p>
        </p:txBody>
      </p:sp>
      <p:sp>
        <p:nvSpPr>
          <p:cNvPr id="25" name="TextBox 24"/>
          <p:cNvSpPr txBox="1"/>
          <p:nvPr/>
        </p:nvSpPr>
        <p:spPr>
          <a:xfrm>
            <a:off x="762000" y="413537"/>
            <a:ext cx="10259339" cy="492443"/>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285698"/>
                </a:solidFill>
                <a:effectLst/>
                <a:uLnTx/>
                <a:uFillTx/>
                <a:latin typeface="Arial"/>
                <a:ea typeface="+mn-ea"/>
                <a:cs typeface="+mn-cs"/>
              </a:rPr>
              <a:t>Clinical Positioning and Treatment Sequencing</a:t>
            </a:r>
          </a:p>
        </p:txBody>
      </p:sp>
      <p:grpSp>
        <p:nvGrpSpPr>
          <p:cNvPr id="30" name="Group 29">
            <a:extLst>
              <a:ext uri="{FF2B5EF4-FFF2-40B4-BE49-F238E27FC236}">
                <a16:creationId xmlns:a16="http://schemas.microsoft.com/office/drawing/2014/main" id="{8458E426-505B-A272-AED4-792B8D055813}"/>
              </a:ext>
            </a:extLst>
          </p:cNvPr>
          <p:cNvGrpSpPr/>
          <p:nvPr/>
        </p:nvGrpSpPr>
        <p:grpSpPr>
          <a:xfrm>
            <a:off x="5633291" y="1401425"/>
            <a:ext cx="6359415" cy="4031598"/>
            <a:chOff x="5527784" y="1776561"/>
            <a:chExt cx="6359415" cy="4031598"/>
          </a:xfrm>
        </p:grpSpPr>
        <p:sp>
          <p:nvSpPr>
            <p:cNvPr id="10" name="Rounded Rectangle 9"/>
            <p:cNvSpPr/>
            <p:nvPr/>
          </p:nvSpPr>
          <p:spPr>
            <a:xfrm>
              <a:off x="5527923" y="1776561"/>
              <a:ext cx="6359276" cy="532655"/>
            </a:xfrm>
            <a:prstGeom prst="roundRect">
              <a:avLst>
                <a:gd name="adj" fmla="val 14305"/>
              </a:avLst>
            </a:prstGeom>
            <a:solidFill>
              <a:srgbClr val="F8FBF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1" name="Rounded Rectangle 10"/>
            <p:cNvSpPr/>
            <p:nvPr/>
          </p:nvSpPr>
          <p:spPr>
            <a:xfrm>
              <a:off x="5527923" y="2461617"/>
              <a:ext cx="6359276" cy="532655"/>
            </a:xfrm>
            <a:prstGeom prst="roundRect">
              <a:avLst>
                <a:gd name="adj" fmla="val 14305"/>
              </a:avLst>
            </a:prstGeom>
            <a:solidFill>
              <a:srgbClr val="F8FBF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2" name="Rounded Rectangle 11"/>
            <p:cNvSpPr/>
            <p:nvPr/>
          </p:nvSpPr>
          <p:spPr>
            <a:xfrm>
              <a:off x="5527923" y="3146673"/>
              <a:ext cx="6359276" cy="532655"/>
            </a:xfrm>
            <a:prstGeom prst="roundRect">
              <a:avLst>
                <a:gd name="adj" fmla="val 14305"/>
              </a:avLst>
            </a:prstGeom>
            <a:solidFill>
              <a:srgbClr val="F8FBF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6" name="TextBox 25"/>
            <p:cNvSpPr txBox="1"/>
            <p:nvPr/>
          </p:nvSpPr>
          <p:spPr>
            <a:xfrm>
              <a:off x="5710541" y="1938437"/>
              <a:ext cx="3504164" cy="246221"/>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89CA"/>
                  </a:solidFill>
                  <a:effectLst/>
                  <a:uLnTx/>
                  <a:uFillTx/>
                  <a:latin typeface="Arial"/>
                  <a:ea typeface="+mn-ea"/>
                  <a:cs typeface="+mn-cs"/>
                </a:rPr>
                <a:t>Second-line for transplant-ineligible</a:t>
              </a:r>
            </a:p>
          </p:txBody>
        </p:sp>
        <p:sp>
          <p:nvSpPr>
            <p:cNvPr id="27" name="TextBox 26"/>
            <p:cNvSpPr txBox="1"/>
            <p:nvPr/>
          </p:nvSpPr>
          <p:spPr>
            <a:xfrm>
              <a:off x="5710541" y="2623476"/>
              <a:ext cx="3076163" cy="246221"/>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89CA"/>
                  </a:solidFill>
                  <a:effectLst/>
                  <a:uLnTx/>
                  <a:uFillTx/>
                  <a:latin typeface="Arial"/>
                  <a:ea typeface="+mn-ea"/>
                  <a:cs typeface="+mn-cs"/>
                </a:rPr>
                <a:t>Post-CAR-T progression option</a:t>
              </a:r>
            </a:p>
          </p:txBody>
        </p:sp>
        <p:sp>
          <p:nvSpPr>
            <p:cNvPr id="28" name="TextBox 27"/>
            <p:cNvSpPr txBox="1"/>
            <p:nvPr/>
          </p:nvSpPr>
          <p:spPr>
            <a:xfrm>
              <a:off x="5710541" y="3308515"/>
              <a:ext cx="3194785" cy="246221"/>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89CA"/>
                  </a:solidFill>
                  <a:effectLst/>
                  <a:uLnTx/>
                  <a:uFillTx/>
                  <a:latin typeface="Arial"/>
                  <a:ea typeface="+mn-ea"/>
                  <a:cs typeface="+mn-cs"/>
                </a:rPr>
                <a:t>Frontline high-risk combinations</a:t>
              </a:r>
            </a:p>
          </p:txBody>
        </p:sp>
        <p:sp>
          <p:nvSpPr>
            <p:cNvPr id="29" name="TextBox 28"/>
            <p:cNvSpPr txBox="1"/>
            <p:nvPr/>
          </p:nvSpPr>
          <p:spPr>
            <a:xfrm>
              <a:off x="5527784" y="3907831"/>
              <a:ext cx="6359117" cy="1900328"/>
            </a:xfrm>
            <a:prstGeom prst="rect">
              <a:avLst/>
            </a:prstGeom>
            <a:noFill/>
          </p:spPr>
          <p:txBody>
            <a:bodyPr wrap="square" lIns="0" tIns="0" rIns="0" bIns="0">
              <a:spAutoFit/>
            </a:bodyPr>
            <a:lstStyle/>
            <a:p>
              <a:pPr marL="198085" marR="0" lvl="0" indent="-198085" algn="l" defTabSz="914400" rtl="0" eaLnBrk="1" fontAlgn="auto" latinLnBrk="0" hangingPunct="1">
                <a:lnSpc>
                  <a:spcPts val="2028"/>
                </a:lnSpc>
                <a:spcBef>
                  <a:spcPts val="0"/>
                </a:spcBef>
                <a:spcAft>
                  <a:spcPts val="0"/>
                </a:spcAft>
                <a:buClr>
                  <a:srgbClr val="0089CA"/>
                </a:buClr>
                <a:buSzPct val="100000"/>
                <a:buFont typeface="Arial" charset="0"/>
                <a:buChar char="●"/>
                <a:tabLst/>
                <a:defRPr/>
              </a:pPr>
              <a:r>
                <a:rPr kumimoji="0" lang="en-US" sz="1400" b="0" i="0" u="none" strike="noStrike" kern="1200" cap="none" spc="0" normalizeH="0" baseline="0" noProof="0" dirty="0">
                  <a:ln>
                    <a:noFill/>
                  </a:ln>
                  <a:solidFill>
                    <a:srgbClr val="637592"/>
                  </a:solidFill>
                  <a:effectLst/>
                  <a:uLnTx/>
                  <a:uFillTx/>
                  <a:latin typeface="Arial"/>
                  <a:ea typeface="+mn-ea"/>
                  <a:cs typeface="+mn-cs"/>
                </a:rPr>
                <a:t>FDA and EMA approvals for R/R DLBCL</a:t>
              </a:r>
            </a:p>
            <a:p>
              <a:pPr marL="198085" marR="0" lvl="0" indent="-198085" algn="l" defTabSz="914400" rtl="0" eaLnBrk="1" fontAlgn="auto" latinLnBrk="0" hangingPunct="1">
                <a:lnSpc>
                  <a:spcPts val="2028"/>
                </a:lnSpc>
                <a:spcBef>
                  <a:spcPts val="959"/>
                </a:spcBef>
                <a:spcAft>
                  <a:spcPts val="0"/>
                </a:spcAft>
                <a:buClr>
                  <a:srgbClr val="0089CA"/>
                </a:buClr>
                <a:buSzPct val="100000"/>
                <a:buFont typeface="Arial" charset="0"/>
                <a:buChar char="●"/>
                <a:tabLst/>
                <a:defRPr/>
              </a:pPr>
              <a:r>
                <a:rPr kumimoji="0" lang="en-US" sz="1400" b="0" i="0" u="none" strike="noStrike" kern="1200" cap="none" spc="0" normalizeH="0" baseline="0" noProof="0" dirty="0">
                  <a:ln>
                    <a:noFill/>
                  </a:ln>
                  <a:solidFill>
                    <a:srgbClr val="637592"/>
                  </a:solidFill>
                  <a:effectLst/>
                  <a:uLnTx/>
                  <a:uFillTx/>
                  <a:latin typeface="Arial"/>
                  <a:ea typeface="+mn-ea"/>
                  <a:cs typeface="+mn-cs"/>
                </a:rPr>
                <a:t>STARGLO supports second-line use in transplant-ineligible patients unable to access CAR-T</a:t>
              </a:r>
            </a:p>
            <a:p>
              <a:pPr marL="198085" marR="0" lvl="0" indent="-198085" algn="l" defTabSz="914400" rtl="0" eaLnBrk="1" fontAlgn="auto" latinLnBrk="0" hangingPunct="1">
                <a:lnSpc>
                  <a:spcPts val="2028"/>
                </a:lnSpc>
                <a:spcBef>
                  <a:spcPts val="959"/>
                </a:spcBef>
                <a:spcAft>
                  <a:spcPts val="0"/>
                </a:spcAft>
                <a:buClr>
                  <a:srgbClr val="0089CA"/>
                </a:buClr>
                <a:buSzPct val="100000"/>
                <a:buFont typeface="Arial" charset="0"/>
                <a:buChar char="●"/>
                <a:tabLst/>
                <a:defRPr/>
              </a:pPr>
              <a:r>
                <a:rPr kumimoji="0" lang="en-US" sz="1400" b="0" i="0" u="none" strike="noStrike" kern="1200" cap="none" spc="0" normalizeH="0" baseline="0" noProof="0" dirty="0">
                  <a:ln>
                    <a:noFill/>
                  </a:ln>
                  <a:solidFill>
                    <a:srgbClr val="637592"/>
                  </a:solidFill>
                  <a:effectLst/>
                  <a:uLnTx/>
                  <a:uFillTx/>
                  <a:latin typeface="Arial"/>
                  <a:ea typeface="+mn-ea"/>
                  <a:cs typeface="+mn-cs"/>
                </a:rPr>
                <a:t>Post-CAR-T relapse shows ~50% response rates in heavily pretreated population, higher ORR/CR with combos</a:t>
              </a:r>
            </a:p>
            <a:p>
              <a:pPr marL="198085" marR="0" lvl="0" indent="-198085" algn="l" defTabSz="914400" rtl="0" eaLnBrk="1" fontAlgn="auto" latinLnBrk="0" hangingPunct="1">
                <a:lnSpc>
                  <a:spcPts val="2028"/>
                </a:lnSpc>
                <a:spcBef>
                  <a:spcPts val="959"/>
                </a:spcBef>
                <a:spcAft>
                  <a:spcPts val="0"/>
                </a:spcAft>
                <a:buClr>
                  <a:srgbClr val="0089CA"/>
                </a:buClr>
                <a:buSzPct val="100000"/>
                <a:buFont typeface="Arial" charset="0"/>
                <a:buChar char="●"/>
                <a:tabLst/>
                <a:defRPr/>
              </a:pPr>
              <a:r>
                <a:rPr kumimoji="0" lang="en-US" sz="1400" b="0" i="0" u="none" strike="noStrike" kern="1200" cap="none" spc="0" normalizeH="0" baseline="0" noProof="0" dirty="0">
                  <a:ln>
                    <a:noFill/>
                  </a:ln>
                  <a:solidFill>
                    <a:srgbClr val="637592"/>
                  </a:solidFill>
                  <a:effectLst/>
                  <a:uLnTx/>
                  <a:uFillTx/>
                  <a:latin typeface="Arial"/>
                  <a:ea typeface="+mn-ea"/>
                  <a:cs typeface="+mn-cs"/>
                </a:rPr>
                <a:t>Frontline integration under evaluation in Phase III trials for high-risk DLBCL</a:t>
              </a:r>
            </a:p>
          </p:txBody>
        </p:sp>
      </p:gr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304800" y="1118592"/>
            <a:ext cx="3708350" cy="1396007"/>
          </a:xfrm>
          <a:prstGeom prst="roundRect">
            <a:avLst>
              <a:gd name="adj" fmla="val 5458"/>
            </a:avLst>
          </a:prstGeom>
          <a:solidFill>
            <a:srgbClr val="F8FBF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 name="Rounded Rectangle 2"/>
          <p:cNvSpPr/>
          <p:nvPr/>
        </p:nvSpPr>
        <p:spPr>
          <a:xfrm>
            <a:off x="4241750" y="1118592"/>
            <a:ext cx="3708350" cy="1396007"/>
          </a:xfrm>
          <a:prstGeom prst="roundRect">
            <a:avLst>
              <a:gd name="adj" fmla="val 5458"/>
            </a:avLst>
          </a:prstGeom>
          <a:solidFill>
            <a:srgbClr val="F8FBF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 name="Rounded Rectangle 3"/>
          <p:cNvSpPr/>
          <p:nvPr/>
        </p:nvSpPr>
        <p:spPr>
          <a:xfrm>
            <a:off x="8178700" y="1118592"/>
            <a:ext cx="3708350" cy="1396007"/>
          </a:xfrm>
          <a:prstGeom prst="roundRect">
            <a:avLst>
              <a:gd name="adj" fmla="val 5458"/>
            </a:avLst>
          </a:prstGeom>
          <a:solidFill>
            <a:srgbClr val="F8FBF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 name="TextBox 4"/>
          <p:cNvSpPr txBox="1"/>
          <p:nvPr/>
        </p:nvSpPr>
        <p:spPr>
          <a:xfrm>
            <a:off x="1234949" y="210835"/>
            <a:ext cx="8833637" cy="578941"/>
          </a:xfrm>
          <a:prstGeom prst="rect">
            <a:avLst/>
          </a:prstGeom>
          <a:noFill/>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762" b="1" i="0" u="none" strike="noStrike" kern="1200" cap="none" spc="0" normalizeH="0" baseline="0" noProof="0" dirty="0">
                <a:ln>
                  <a:noFill/>
                </a:ln>
                <a:solidFill>
                  <a:srgbClr val="285698"/>
                </a:solidFill>
                <a:effectLst/>
                <a:uLnTx/>
                <a:uFillTx/>
                <a:latin typeface="Arial"/>
                <a:ea typeface="+mn-ea"/>
                <a:cs typeface="+mn-cs"/>
              </a:rPr>
              <a:t>BsAb and novel Mabs: Key Takeaways</a:t>
            </a:r>
          </a:p>
        </p:txBody>
      </p:sp>
      <p:sp>
        <p:nvSpPr>
          <p:cNvPr id="6" name="TextBox 5"/>
          <p:cNvSpPr txBox="1"/>
          <p:nvPr/>
        </p:nvSpPr>
        <p:spPr>
          <a:xfrm>
            <a:off x="831333" y="1366208"/>
            <a:ext cx="2655176" cy="253146"/>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45" b="1" i="0" u="none" strike="noStrike" kern="1200" cap="none" spc="0" normalizeH="0" baseline="0" noProof="0" dirty="0">
                <a:ln>
                  <a:noFill/>
                </a:ln>
                <a:solidFill>
                  <a:srgbClr val="0089CA"/>
                </a:solidFill>
                <a:effectLst/>
                <a:uLnTx/>
                <a:uFillTx/>
                <a:latin typeface="Arial"/>
                <a:ea typeface="+mn-ea"/>
                <a:cs typeface="+mn-cs"/>
              </a:rPr>
              <a:t>Phase III Proven</a:t>
            </a:r>
          </a:p>
        </p:txBody>
      </p:sp>
      <p:sp>
        <p:nvSpPr>
          <p:cNvPr id="8" name="TextBox 7"/>
          <p:cNvSpPr txBox="1"/>
          <p:nvPr/>
        </p:nvSpPr>
        <p:spPr>
          <a:xfrm>
            <a:off x="4731127" y="1366208"/>
            <a:ext cx="2729141" cy="515527"/>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45" b="1" i="0" u="none" strike="noStrike" kern="1200" cap="none" spc="0" normalizeH="0" baseline="0" noProof="0" dirty="0">
                <a:ln>
                  <a:noFill/>
                </a:ln>
                <a:solidFill>
                  <a:srgbClr val="0089CA"/>
                </a:solidFill>
                <a:effectLst/>
                <a:uLnTx/>
                <a:uFillTx/>
                <a:latin typeface="Arial"/>
                <a:ea typeface="+mn-ea"/>
                <a:cs typeface="+mn-cs"/>
              </a:rPr>
              <a:t>Community Administration Possible</a:t>
            </a:r>
          </a:p>
        </p:txBody>
      </p:sp>
      <p:sp>
        <p:nvSpPr>
          <p:cNvPr id="10" name="TextBox 9"/>
          <p:cNvSpPr txBox="1"/>
          <p:nvPr/>
        </p:nvSpPr>
        <p:spPr>
          <a:xfrm>
            <a:off x="8835853" y="1366208"/>
            <a:ext cx="2393542" cy="515527"/>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45" b="1" i="0" u="none" strike="noStrike" kern="1200" cap="none" spc="0" normalizeH="0" baseline="0" noProof="0" dirty="0">
                <a:ln>
                  <a:noFill/>
                </a:ln>
                <a:solidFill>
                  <a:srgbClr val="0089CA"/>
                </a:solidFill>
                <a:effectLst/>
                <a:uLnTx/>
                <a:uFillTx/>
                <a:latin typeface="Arial"/>
                <a:ea typeface="+mn-ea"/>
                <a:cs typeface="+mn-cs"/>
              </a:rPr>
              <a:t>Multiple Frontline Trials Ongoing</a:t>
            </a:r>
          </a:p>
        </p:txBody>
      </p:sp>
      <p:sp>
        <p:nvSpPr>
          <p:cNvPr id="12" name="TextBox 11"/>
          <p:cNvSpPr txBox="1"/>
          <p:nvPr/>
        </p:nvSpPr>
        <p:spPr>
          <a:xfrm>
            <a:off x="304792" y="2743131"/>
            <a:ext cx="5638658" cy="2668295"/>
          </a:xfrm>
          <a:prstGeom prst="rect">
            <a:avLst/>
          </a:prstGeom>
          <a:noFill/>
        </p:spPr>
        <p:txBody>
          <a:bodyPr wrap="square" lIns="0" tIns="0" rIns="0" bIns="0">
            <a:spAutoFit/>
          </a:bodyPr>
          <a:lstStyle/>
          <a:p>
            <a:pPr marL="167576" marR="0" lvl="0" indent="-167576" algn="l" defTabSz="914400" rtl="0" eaLnBrk="1" fontAlgn="auto" latinLnBrk="0" hangingPunct="1">
              <a:lnSpc>
                <a:spcPts val="2028"/>
              </a:lnSpc>
              <a:spcBef>
                <a:spcPts val="0"/>
              </a:spcBef>
              <a:spcAft>
                <a:spcPts val="0"/>
              </a:spcAft>
              <a:buClr>
                <a:srgbClr val="0089CA"/>
              </a:buClr>
              <a:buSzPct val="100000"/>
              <a:buFont typeface="Arial" charset="0"/>
              <a:buChar char="●"/>
              <a:tabLst/>
              <a:defRPr/>
            </a:pPr>
            <a:r>
              <a:rPr kumimoji="0" lang="en-US" sz="1351" b="0" i="0" u="none" strike="noStrike" kern="1200" cap="none" spc="0" normalizeH="0" baseline="0" noProof="0" dirty="0">
                <a:ln>
                  <a:noFill/>
                </a:ln>
                <a:solidFill>
                  <a:srgbClr val="637592"/>
                </a:solidFill>
                <a:effectLst/>
                <a:uLnTx/>
                <a:uFillTx/>
                <a:latin typeface="Arial"/>
                <a:ea typeface="+mn-ea"/>
                <a:cs typeface="+mn-cs"/>
              </a:rPr>
              <a:t>STARGLO and SUNMO establish new standard of care for transplant-ineligible R/R DLBCL patients</a:t>
            </a:r>
          </a:p>
          <a:p>
            <a:pPr marL="167576" marR="0" lvl="0" indent="-167576" algn="l" defTabSz="914400" rtl="0" eaLnBrk="1" fontAlgn="auto" latinLnBrk="0" hangingPunct="1">
              <a:lnSpc>
                <a:spcPts val="2028"/>
              </a:lnSpc>
              <a:spcBef>
                <a:spcPts val="959"/>
              </a:spcBef>
              <a:spcAft>
                <a:spcPts val="0"/>
              </a:spcAft>
              <a:buClr>
                <a:srgbClr val="0089CA"/>
              </a:buClr>
              <a:buSzPct val="100000"/>
              <a:buFont typeface="Arial" charset="0"/>
              <a:buChar char="●"/>
              <a:tabLst/>
              <a:defRPr/>
            </a:pPr>
            <a:r>
              <a:rPr kumimoji="0" lang="en-US" sz="1351" b="0" i="0" u="none" strike="noStrike" kern="1200" cap="none" spc="0" normalizeH="0" baseline="0" noProof="0" dirty="0">
                <a:ln>
                  <a:noFill/>
                </a:ln>
                <a:solidFill>
                  <a:srgbClr val="637592"/>
                </a:solidFill>
                <a:effectLst/>
                <a:uLnTx/>
                <a:uFillTx/>
                <a:latin typeface="Arial"/>
                <a:ea typeface="+mn-ea"/>
                <a:cs typeface="+mn-cs"/>
              </a:rPr>
              <a:t>Off-the-shelf availability and subcutaneous/outpatient administration expand access beyond specialized transplant centers</a:t>
            </a:r>
          </a:p>
          <a:p>
            <a:pPr marL="167576" marR="0" lvl="0" indent="-167576" algn="l" defTabSz="914400" rtl="0" eaLnBrk="1" fontAlgn="auto" latinLnBrk="0" hangingPunct="1">
              <a:lnSpc>
                <a:spcPts val="2028"/>
              </a:lnSpc>
              <a:spcBef>
                <a:spcPts val="959"/>
              </a:spcBef>
              <a:spcAft>
                <a:spcPts val="0"/>
              </a:spcAft>
              <a:buClr>
                <a:srgbClr val="0089CA"/>
              </a:buClr>
              <a:buSzPct val="100000"/>
              <a:buFont typeface="Arial" charset="0"/>
              <a:buChar char="●"/>
              <a:tabLst/>
              <a:defRPr/>
            </a:pPr>
            <a:r>
              <a:rPr kumimoji="0" lang="en-US" sz="1351" b="0" i="0" u="none" strike="noStrike" kern="1200" cap="none" spc="0" normalizeH="0" baseline="0" noProof="0" dirty="0">
                <a:ln>
                  <a:noFill/>
                </a:ln>
                <a:solidFill>
                  <a:srgbClr val="637592"/>
                </a:solidFill>
                <a:effectLst/>
                <a:uLnTx/>
                <a:uFillTx/>
                <a:latin typeface="Arial"/>
                <a:ea typeface="+mn-ea"/>
                <a:cs typeface="+mn-cs"/>
              </a:rPr>
              <a:t>Resistance mechanisms including CD20 loss require therapy sequencing and consideration of alternative targets for relapsed disease</a:t>
            </a:r>
          </a:p>
          <a:p>
            <a:pPr marL="167576" marR="0" lvl="0" indent="-167576" algn="l" defTabSz="914400" rtl="0" eaLnBrk="1" fontAlgn="auto" latinLnBrk="0" hangingPunct="1">
              <a:lnSpc>
                <a:spcPts val="2028"/>
              </a:lnSpc>
              <a:spcBef>
                <a:spcPts val="959"/>
              </a:spcBef>
              <a:spcAft>
                <a:spcPts val="0"/>
              </a:spcAft>
              <a:buClr>
                <a:srgbClr val="0089CA"/>
              </a:buClr>
              <a:buSzPct val="100000"/>
              <a:buFont typeface="Arial" charset="0"/>
              <a:buChar char="●"/>
              <a:tabLst/>
              <a:defRPr/>
            </a:pPr>
            <a:r>
              <a:rPr kumimoji="0" lang="en-US" sz="1351" b="0" i="0" u="none" strike="noStrike" kern="1200" cap="none" spc="0" normalizeH="0" baseline="0" noProof="0" dirty="0">
                <a:ln>
                  <a:noFill/>
                </a:ln>
                <a:solidFill>
                  <a:srgbClr val="637592"/>
                </a:solidFill>
                <a:effectLst/>
                <a:uLnTx/>
                <a:uFillTx/>
                <a:latin typeface="Arial"/>
                <a:ea typeface="+mn-ea"/>
                <a:cs typeface="+mn-cs"/>
              </a:rPr>
              <a:t>Frontline trial with tafasitamab plus R-CHOP and bispecific combinations may shift treatment paradigm for high-risk newly diagnosed DLBCL within next two years</a:t>
            </a:r>
          </a:p>
        </p:txBody>
      </p:sp>
      <p:sp>
        <p:nvSpPr>
          <p:cNvPr id="13" name="TextBox 12"/>
          <p:cNvSpPr txBox="1"/>
          <p:nvPr/>
        </p:nvSpPr>
        <p:spPr>
          <a:xfrm>
            <a:off x="6248392" y="2762215"/>
            <a:ext cx="5638658" cy="2283574"/>
          </a:xfrm>
          <a:prstGeom prst="rect">
            <a:avLst/>
          </a:prstGeom>
          <a:noFill/>
        </p:spPr>
        <p:txBody>
          <a:bodyPr wrap="square" lIns="0" tIns="0" rIns="0" bIns="0">
            <a:spAutoFit/>
          </a:bodyPr>
          <a:lstStyle/>
          <a:p>
            <a:pPr marL="167576" marR="0" lvl="0" indent="-167576" algn="l" defTabSz="914400" rtl="0" eaLnBrk="1" fontAlgn="auto" latinLnBrk="0" hangingPunct="1">
              <a:lnSpc>
                <a:spcPts val="2028"/>
              </a:lnSpc>
              <a:spcBef>
                <a:spcPts val="959"/>
              </a:spcBef>
              <a:spcAft>
                <a:spcPts val="0"/>
              </a:spcAft>
              <a:buClr>
                <a:srgbClr val="0089CA"/>
              </a:buClr>
              <a:buSzPct val="100000"/>
              <a:buFont typeface="Arial" charset="0"/>
              <a:buChar char="●"/>
              <a:tabLst/>
              <a:defRPr/>
            </a:pPr>
            <a:r>
              <a:rPr kumimoji="0" lang="en-US" sz="1351" b="0" i="0" u="none" strike="noStrike" kern="1200" cap="none" spc="0" normalizeH="0" baseline="0" noProof="0" dirty="0">
                <a:ln>
                  <a:noFill/>
                </a:ln>
                <a:solidFill>
                  <a:srgbClr val="637592"/>
                </a:solidFill>
                <a:effectLst/>
                <a:uLnTx/>
                <a:uFillTx/>
                <a:latin typeface="Arial"/>
                <a:ea typeface="+mn-ea"/>
                <a:cs typeface="+mn-cs"/>
              </a:rPr>
              <a:t>Safety profiles manageable with step-up, CRS predominantly low-grade requiring standard supportive care measures</a:t>
            </a:r>
          </a:p>
          <a:p>
            <a:pPr marL="167576" marR="0" lvl="0" indent="-167576" algn="l" defTabSz="914400" rtl="0" eaLnBrk="1" fontAlgn="auto" latinLnBrk="0" hangingPunct="1">
              <a:lnSpc>
                <a:spcPts val="2028"/>
              </a:lnSpc>
              <a:spcBef>
                <a:spcPts val="959"/>
              </a:spcBef>
              <a:spcAft>
                <a:spcPts val="0"/>
              </a:spcAft>
              <a:buClr>
                <a:srgbClr val="0089CA"/>
              </a:buClr>
              <a:buSzPct val="100000"/>
              <a:buFont typeface="Arial" charset="0"/>
              <a:buChar char="●"/>
              <a:tabLst/>
              <a:defRPr/>
            </a:pPr>
            <a:r>
              <a:rPr kumimoji="0" lang="en-US" sz="1351" b="0" i="0" u="none" strike="noStrike" kern="1200" cap="none" spc="0" normalizeH="0" baseline="0" noProof="0" dirty="0">
                <a:ln>
                  <a:noFill/>
                </a:ln>
                <a:solidFill>
                  <a:srgbClr val="637592"/>
                </a:solidFill>
                <a:effectLst/>
                <a:uLnTx/>
                <a:uFillTx/>
                <a:latin typeface="Arial"/>
                <a:ea typeface="+mn-ea"/>
                <a:cs typeface="+mn-cs"/>
              </a:rPr>
              <a:t>NCCN guidelines now include mosunetuzumab plus polatuzumab as category 2A recommendation for second-line DLBCL not proceeding to transplant</a:t>
            </a:r>
            <a:r>
              <a:rPr kumimoji="0" lang="en-US" sz="998" b="0" i="0" u="none" strike="noStrike" kern="1200" cap="none" spc="0" normalizeH="0" baseline="0" noProof="0" dirty="0">
                <a:ln>
                  <a:noFill/>
                </a:ln>
                <a:solidFill>
                  <a:srgbClr val="0089CA"/>
                </a:solidFill>
                <a:effectLst/>
                <a:uLnTx/>
                <a:uFillTx/>
                <a:latin typeface="Arial"/>
                <a:ea typeface="+mn-ea"/>
                <a:cs typeface="+mn-cs"/>
              </a:rPr>
              <a:t> </a:t>
            </a:r>
          </a:p>
          <a:p>
            <a:pPr marL="167576" marR="0" lvl="0" indent="-167576" algn="l" defTabSz="914400" rtl="0" eaLnBrk="1" fontAlgn="auto" latinLnBrk="0" hangingPunct="1">
              <a:lnSpc>
                <a:spcPts val="2028"/>
              </a:lnSpc>
              <a:spcBef>
                <a:spcPts val="959"/>
              </a:spcBef>
              <a:spcAft>
                <a:spcPts val="0"/>
              </a:spcAft>
              <a:buClr>
                <a:srgbClr val="0089CA"/>
              </a:buClr>
              <a:buSzPct val="100000"/>
              <a:buFont typeface="Arial" charset="0"/>
              <a:buChar char="●"/>
              <a:tabLst/>
              <a:defRPr/>
            </a:pPr>
            <a:r>
              <a:rPr kumimoji="0" lang="en-US" sz="1351" b="0" i="0" u="none" strike="noStrike" kern="1200" cap="none" spc="0" normalizeH="0" baseline="0" noProof="0" dirty="0">
                <a:ln>
                  <a:noFill/>
                </a:ln>
                <a:solidFill>
                  <a:srgbClr val="637592"/>
                </a:solidFill>
                <a:effectLst/>
                <a:uLnTx/>
                <a:uFillTx/>
                <a:latin typeface="Arial"/>
                <a:ea typeface="+mn-ea"/>
                <a:cs typeface="+mn-cs"/>
              </a:rPr>
              <a:t>General oncologists should familiarize with CRS management, patient selection criteria, and sequencing considerations for optimal outcomes in community practice</a:t>
            </a:r>
          </a:p>
        </p:txBody>
      </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5FE293-97D2-0D7D-3A31-794F111B88C9}"/>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48B7BFBB-F07B-9BEB-408C-30C7254BBA90}"/>
              </a:ext>
            </a:extLst>
          </p:cNvPr>
          <p:cNvSpPr/>
          <p:nvPr/>
        </p:nvSpPr>
        <p:spPr bwMode="auto">
          <a:xfrm>
            <a:off x="684426" y="3524035"/>
            <a:ext cx="10731324" cy="459767"/>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FFFFFF"/>
              </a:solidFill>
              <a:effectLst/>
              <a:uLnTx/>
              <a:uFillTx/>
              <a:latin typeface="Times New Roman" pitchFamily="18" charset="0"/>
              <a:ea typeface="MS PGothic" charset="0"/>
              <a:cs typeface="+mn-cs"/>
            </a:endParaRPr>
          </a:p>
        </p:txBody>
      </p:sp>
      <p:sp>
        <p:nvSpPr>
          <p:cNvPr id="2" name="Title 1">
            <a:extLst>
              <a:ext uri="{FF2B5EF4-FFF2-40B4-BE49-F238E27FC236}">
                <a16:creationId xmlns:a16="http://schemas.microsoft.com/office/drawing/2014/main" id="{3DA70577-CD7F-4B5A-B9AF-AEE042FB2315}"/>
              </a:ext>
            </a:extLst>
          </p:cNvPr>
          <p:cNvSpPr>
            <a:spLocks noGrp="1"/>
          </p:cNvSpPr>
          <p:nvPr>
            <p:ph type="title"/>
          </p:nvPr>
        </p:nvSpPr>
        <p:spPr>
          <a:xfrm>
            <a:off x="462987" y="83127"/>
            <a:ext cx="11262167" cy="1061462"/>
          </a:xfrm>
        </p:spPr>
        <p:txBody>
          <a:bodyPr>
            <a:noAutofit/>
          </a:bodyPr>
          <a:lstStyle/>
          <a:p>
            <a:pPr>
              <a:lnSpc>
                <a:spcPct val="100000"/>
              </a:lnSpc>
            </a:pPr>
            <a:r>
              <a:rPr lang="en-US" sz="2800" dirty="0"/>
              <a:t>Keynote Session: </a:t>
            </a:r>
            <a:br>
              <a:rPr lang="en-US" sz="2800" dirty="0"/>
            </a:br>
            <a:r>
              <a:rPr lang="en-US" sz="2800" dirty="0"/>
              <a:t>Diffuse Large B-Cell Lymphoma and Follicular Lymphoma</a:t>
            </a:r>
            <a:endParaRPr lang="en-US" sz="2800" dirty="0">
              <a:solidFill>
                <a:srgbClr val="0070C0"/>
              </a:solidFill>
            </a:endParaRPr>
          </a:p>
        </p:txBody>
      </p:sp>
      <p:sp>
        <p:nvSpPr>
          <p:cNvPr id="7" name="Content Placeholder 6">
            <a:extLst>
              <a:ext uri="{FF2B5EF4-FFF2-40B4-BE49-F238E27FC236}">
                <a16:creationId xmlns:a16="http://schemas.microsoft.com/office/drawing/2014/main" id="{ED27B20D-1B3B-03F7-E2B4-5F198BB7728E}"/>
              </a:ext>
            </a:extLst>
          </p:cNvPr>
          <p:cNvSpPr>
            <a:spLocks noGrp="1"/>
          </p:cNvSpPr>
          <p:nvPr>
            <p:ph idx="1"/>
          </p:nvPr>
        </p:nvSpPr>
        <p:spPr>
          <a:xfrm>
            <a:off x="462987" y="1144587"/>
            <a:ext cx="11262167" cy="5257800"/>
          </a:xfrm>
        </p:spPr>
        <p:txBody>
          <a:bodyPr lIns="365760" tIns="274320" rIns="365760">
            <a:noAutofit/>
          </a:bodyPr>
          <a:lstStyle/>
          <a:p>
            <a:pPr>
              <a:lnSpc>
                <a:spcPct val="100000"/>
              </a:lnSpc>
              <a:spcBef>
                <a:spcPts val="1200"/>
              </a:spcBef>
            </a:pPr>
            <a:r>
              <a:rPr lang="en-US" sz="2200" dirty="0">
                <a:solidFill>
                  <a:srgbClr val="002656"/>
                </a:solidFill>
              </a:rPr>
              <a:t>Part 1 - Diffuse Large B-Cell Lymphoma:</a:t>
            </a:r>
          </a:p>
          <a:p>
            <a:pPr marL="457200" lvl="1" indent="0">
              <a:lnSpc>
                <a:spcPct val="100000"/>
              </a:lnSpc>
              <a:spcBef>
                <a:spcPts val="1200"/>
              </a:spcBef>
              <a:buNone/>
            </a:pPr>
            <a:r>
              <a:rPr lang="en-US" sz="2200" b="1" dirty="0"/>
              <a:t>Antibody-Drug Conjugates and Other Novel Strategies in the Management of DLBCL</a:t>
            </a:r>
            <a:r>
              <a:rPr lang="en-US" sz="2200" dirty="0"/>
              <a:t> — </a:t>
            </a:r>
            <a:r>
              <a:rPr lang="en-US" sz="2200" b="0" dirty="0"/>
              <a:t>Prof Salles</a:t>
            </a:r>
          </a:p>
          <a:p>
            <a:pPr marL="457200" lvl="1" indent="0">
              <a:lnSpc>
                <a:spcPct val="100000"/>
              </a:lnSpc>
              <a:spcBef>
                <a:spcPts val="1200"/>
              </a:spcBef>
              <a:buNone/>
            </a:pPr>
            <a:r>
              <a:rPr lang="en-US" sz="2200" b="1" dirty="0"/>
              <a:t>Current and Future Role of Monoclonal and Bispecific Antibodies in the Management of DLBCL </a:t>
            </a:r>
            <a:r>
              <a:rPr lang="en-US" sz="2200" dirty="0"/>
              <a:t>— </a:t>
            </a:r>
            <a:r>
              <a:rPr lang="en-US" sz="2200" b="0" dirty="0"/>
              <a:t>Dr Patel</a:t>
            </a:r>
          </a:p>
          <a:p>
            <a:pPr marL="457200" lvl="1" indent="0">
              <a:lnSpc>
                <a:spcPct val="100000"/>
              </a:lnSpc>
              <a:spcBef>
                <a:spcPts val="1200"/>
              </a:spcBef>
              <a:buNone/>
            </a:pPr>
            <a:r>
              <a:rPr lang="en-US" sz="2200" b="1" dirty="0">
                <a:solidFill>
                  <a:schemeClr val="bg1"/>
                </a:solidFill>
              </a:rPr>
              <a:t>Chimeric Antigen Receptor (CAR) T-Cell Therapy for DLBCL</a:t>
            </a:r>
            <a:r>
              <a:rPr lang="en-US" sz="2200" dirty="0">
                <a:solidFill>
                  <a:schemeClr val="bg1"/>
                </a:solidFill>
              </a:rPr>
              <a:t> — </a:t>
            </a:r>
            <a:r>
              <a:rPr lang="en-US" sz="2200" b="0" dirty="0">
                <a:solidFill>
                  <a:schemeClr val="bg1"/>
                </a:solidFill>
              </a:rPr>
              <a:t>Dr Kamdar </a:t>
            </a:r>
          </a:p>
          <a:p>
            <a:pPr>
              <a:lnSpc>
                <a:spcPct val="100000"/>
              </a:lnSpc>
              <a:spcBef>
                <a:spcPts val="1200"/>
              </a:spcBef>
            </a:pPr>
            <a:r>
              <a:rPr lang="en-US" sz="2200" dirty="0">
                <a:solidFill>
                  <a:srgbClr val="002656"/>
                </a:solidFill>
              </a:rPr>
              <a:t>Part 2 – Follicular Lymphoma:</a:t>
            </a:r>
            <a:endParaRPr lang="en-US" sz="2200" dirty="0"/>
          </a:p>
          <a:p>
            <a:pPr marL="457200" lvl="1" indent="0">
              <a:lnSpc>
                <a:spcPct val="100000"/>
              </a:lnSpc>
              <a:spcBef>
                <a:spcPts val="1200"/>
              </a:spcBef>
              <a:buNone/>
            </a:pPr>
            <a:r>
              <a:rPr lang="en-US" sz="2200" b="1" dirty="0"/>
              <a:t>CAR T-Cell Therapy for FL </a:t>
            </a:r>
            <a:r>
              <a:rPr lang="en-US" sz="2200" dirty="0"/>
              <a:t>— </a:t>
            </a:r>
            <a:r>
              <a:rPr lang="en-US" sz="2200" b="0" dirty="0"/>
              <a:t>Prof Salles </a:t>
            </a:r>
          </a:p>
          <a:p>
            <a:pPr marL="457200" lvl="1" indent="0">
              <a:lnSpc>
                <a:spcPct val="100000"/>
              </a:lnSpc>
              <a:spcBef>
                <a:spcPts val="1200"/>
              </a:spcBef>
              <a:buNone/>
            </a:pPr>
            <a:r>
              <a:rPr lang="en-US" sz="2200" b="1" dirty="0"/>
              <a:t>Other Approved and Emerging Novel Therapies for FL — </a:t>
            </a:r>
            <a:r>
              <a:rPr lang="en-US" sz="2200" dirty="0"/>
              <a:t>Dr Patel</a:t>
            </a:r>
          </a:p>
          <a:p>
            <a:pPr marL="457200" lvl="1" indent="0">
              <a:lnSpc>
                <a:spcPct val="100000"/>
              </a:lnSpc>
              <a:spcBef>
                <a:spcPts val="1200"/>
              </a:spcBef>
              <a:buNone/>
            </a:pPr>
            <a:r>
              <a:rPr lang="en-US" sz="2200" b="1" dirty="0"/>
              <a:t>Integrating Bispecific Antibodies into the Management of FL </a:t>
            </a:r>
            <a:r>
              <a:rPr lang="en-US" sz="2200" dirty="0"/>
              <a:t>— </a:t>
            </a:r>
            <a:r>
              <a:rPr lang="en-US" sz="2200" b="0" dirty="0"/>
              <a:t>Dr Kamdar </a:t>
            </a:r>
          </a:p>
        </p:txBody>
      </p:sp>
    </p:spTree>
    <p:extLst>
      <p:ext uri="{BB962C8B-B14F-4D97-AF65-F5344CB8AC3E}">
        <p14:creationId xmlns:p14="http://schemas.microsoft.com/office/powerpoint/2010/main" val="13025794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7F5193-BAF9-44BD-B3F2-26663D8EE4BB}"/>
              </a:ext>
            </a:extLst>
          </p:cNvPr>
          <p:cNvSpPr>
            <a:spLocks noGrp="1"/>
          </p:cNvSpPr>
          <p:nvPr>
            <p:ph type="ctrTitle"/>
          </p:nvPr>
        </p:nvSpPr>
        <p:spPr>
          <a:xfrm>
            <a:off x="1332471" y="2262523"/>
            <a:ext cx="9883394" cy="2481594"/>
          </a:xfrm>
        </p:spPr>
        <p:txBody>
          <a:bodyPr>
            <a:noAutofit/>
          </a:bodyPr>
          <a:lstStyle/>
          <a:p>
            <a:r>
              <a:rPr lang="en-US" sz="2700" dirty="0">
                <a:latin typeface="Arial" panose="020B0604020202020204" pitchFamily="34" charset="0"/>
                <a:cs typeface="Arial" panose="020B0604020202020204" pitchFamily="34" charset="0"/>
              </a:rPr>
              <a:t> </a:t>
            </a:r>
            <a:br>
              <a:rPr lang="en-US" sz="2700" dirty="0">
                <a:latin typeface="Arial" panose="020B0604020202020204" pitchFamily="34" charset="0"/>
                <a:cs typeface="Arial" panose="020B0604020202020204" pitchFamily="34" charset="0"/>
              </a:rPr>
            </a:br>
            <a:r>
              <a:rPr lang="en-US" sz="3200" dirty="0">
                <a:latin typeface="Arial" panose="020B0604020202020204" pitchFamily="34" charset="0"/>
                <a:cs typeface="Arial" panose="020B0604020202020204" pitchFamily="34" charset="0"/>
              </a:rPr>
              <a:t>Chimeric Antigen Receptor (CAR) </a:t>
            </a:r>
            <a:br>
              <a:rPr lang="en-US" sz="3200" dirty="0">
                <a:latin typeface="Arial" panose="020B0604020202020204" pitchFamily="34" charset="0"/>
                <a:cs typeface="Arial" panose="020B0604020202020204" pitchFamily="34" charset="0"/>
              </a:rPr>
            </a:br>
            <a:r>
              <a:rPr lang="en-US" sz="3200" dirty="0">
                <a:latin typeface="Arial" panose="020B0604020202020204" pitchFamily="34" charset="0"/>
                <a:cs typeface="Arial" panose="020B0604020202020204" pitchFamily="34" charset="0"/>
              </a:rPr>
              <a:t>T-Cell Therapy for DLBCL</a:t>
            </a:r>
            <a:br>
              <a:rPr lang="en-US" sz="3200" dirty="0">
                <a:latin typeface="Arial" panose="020B0604020202020204" pitchFamily="34" charset="0"/>
                <a:cs typeface="Arial" panose="020B0604020202020204" pitchFamily="34" charset="0"/>
              </a:rPr>
            </a:br>
            <a:br>
              <a:rPr lang="en-US" sz="2800" dirty="0">
                <a:latin typeface="Arial" panose="020B0604020202020204" pitchFamily="34" charset="0"/>
                <a:cs typeface="Arial" panose="020B0604020202020204" pitchFamily="34" charset="0"/>
              </a:rPr>
            </a:br>
            <a:endParaRPr lang="en-US" sz="2800" dirty="0">
              <a:latin typeface="Arial" panose="020B0604020202020204" pitchFamily="34" charset="0"/>
              <a:cs typeface="Arial" panose="020B0604020202020204" pitchFamily="34" charset="0"/>
            </a:endParaRPr>
          </a:p>
        </p:txBody>
      </p:sp>
      <p:sp>
        <p:nvSpPr>
          <p:cNvPr id="3" name="Subtitle 2">
            <a:extLst>
              <a:ext uri="{FF2B5EF4-FFF2-40B4-BE49-F238E27FC236}">
                <a16:creationId xmlns:a16="http://schemas.microsoft.com/office/drawing/2014/main" id="{41A1750B-AD0F-457A-A8AA-B9A505856612}"/>
              </a:ext>
            </a:extLst>
          </p:cNvPr>
          <p:cNvSpPr>
            <a:spLocks noGrp="1"/>
          </p:cNvSpPr>
          <p:nvPr>
            <p:ph type="subTitle" idx="1"/>
          </p:nvPr>
        </p:nvSpPr>
        <p:spPr>
          <a:xfrm>
            <a:off x="1735341" y="4281889"/>
            <a:ext cx="8672042" cy="924456"/>
          </a:xfrm>
        </p:spPr>
        <p:txBody>
          <a:bodyPr>
            <a:noAutofit/>
          </a:bodyPr>
          <a:lstStyle/>
          <a:p>
            <a:pPr>
              <a:lnSpc>
                <a:spcPct val="100000"/>
              </a:lnSpc>
            </a:pPr>
            <a:r>
              <a:rPr lang="en-US" sz="1800" dirty="0">
                <a:solidFill>
                  <a:srgbClr val="000000"/>
                </a:solidFill>
                <a:latin typeface="Arial" panose="020B0604020202020204" pitchFamily="34" charset="0"/>
                <a:cs typeface="Arial" panose="020B0604020202020204" pitchFamily="34" charset="0"/>
              </a:rPr>
              <a:t>Manali Kamdar, MD, MBBS</a:t>
            </a:r>
          </a:p>
          <a:p>
            <a:pPr>
              <a:lnSpc>
                <a:spcPct val="100000"/>
              </a:lnSpc>
            </a:pPr>
            <a:r>
              <a:rPr lang="en-US" sz="1800" dirty="0">
                <a:latin typeface="Arial" panose="020B0604020202020204" pitchFamily="34" charset="0"/>
                <a:cs typeface="Arial" panose="020B0604020202020204" pitchFamily="34" charset="0"/>
              </a:rPr>
              <a:t>Associate Professor of Medicine, Clinical Director of Lymphoma Services, </a:t>
            </a:r>
          </a:p>
          <a:p>
            <a:pPr>
              <a:lnSpc>
                <a:spcPct val="100000"/>
              </a:lnSpc>
            </a:pPr>
            <a:r>
              <a:rPr lang="en-US" sz="1800" dirty="0">
                <a:latin typeface="Arial" panose="020B0604020202020204" pitchFamily="34" charset="0"/>
                <a:cs typeface="Arial" panose="020B0604020202020204" pitchFamily="34" charset="0"/>
              </a:rPr>
              <a:t>Morton and Sandra Saffer Endowed Chair in Hematology Research, Division of Hematology,</a:t>
            </a:r>
          </a:p>
          <a:p>
            <a:pPr>
              <a:lnSpc>
                <a:spcPct val="100000"/>
              </a:lnSpc>
            </a:pPr>
            <a:r>
              <a:rPr lang="en-US" sz="1800" dirty="0">
                <a:latin typeface="Arial" panose="020B0604020202020204" pitchFamily="34" charset="0"/>
                <a:cs typeface="Arial" panose="020B0604020202020204" pitchFamily="34" charset="0"/>
              </a:rPr>
              <a:t>University of Colorado</a:t>
            </a:r>
          </a:p>
        </p:txBody>
      </p:sp>
      <p:pic>
        <p:nvPicPr>
          <p:cNvPr id="5" name="Picture 4">
            <a:extLst>
              <a:ext uri="{FF2B5EF4-FFF2-40B4-BE49-F238E27FC236}">
                <a16:creationId xmlns:a16="http://schemas.microsoft.com/office/drawing/2014/main" id="{CBB83940-1319-48FB-A99A-3EE6CB43D307}"/>
              </a:ext>
            </a:extLst>
          </p:cNvPr>
          <p:cNvPicPr>
            <a:picLocks noChangeAspect="1"/>
          </p:cNvPicPr>
          <p:nvPr/>
        </p:nvPicPr>
        <p:blipFill rotWithShape="1">
          <a:blip r:embed="rId3">
            <a:extLst>
              <a:ext uri="{28A0092B-C50C-407E-A947-70E740481C1C}">
                <a14:useLocalDpi xmlns:a14="http://schemas.microsoft.com/office/drawing/2010/main" val="0"/>
              </a:ext>
            </a:extLst>
          </a:blip>
          <a:srcRect l="28058" r="399" b="1"/>
          <a:stretch/>
        </p:blipFill>
        <p:spPr>
          <a:xfrm>
            <a:off x="1026682" y="522513"/>
            <a:ext cx="3857642" cy="1753838"/>
          </a:xfrm>
          <a:custGeom>
            <a:avLst/>
            <a:gdLst>
              <a:gd name="connsiteX0" fmla="*/ 0 w 5920618"/>
              <a:gd name="connsiteY0" fmla="*/ 0 h 2130951"/>
              <a:gd name="connsiteX1" fmla="*/ 5920618 w 5920618"/>
              <a:gd name="connsiteY1" fmla="*/ 0 h 2130951"/>
              <a:gd name="connsiteX2" fmla="*/ 4933709 w 5920618"/>
              <a:gd name="connsiteY2" fmla="*/ 2130951 h 2130951"/>
              <a:gd name="connsiteX3" fmla="*/ 0 w 5920618"/>
              <a:gd name="connsiteY3" fmla="*/ 2130951 h 2130951"/>
            </a:gdLst>
            <a:ahLst/>
            <a:cxnLst>
              <a:cxn ang="0">
                <a:pos x="connsiteX0" y="connsiteY0"/>
              </a:cxn>
              <a:cxn ang="0">
                <a:pos x="connsiteX1" y="connsiteY1"/>
              </a:cxn>
              <a:cxn ang="0">
                <a:pos x="connsiteX2" y="connsiteY2"/>
              </a:cxn>
              <a:cxn ang="0">
                <a:pos x="connsiteX3" y="connsiteY3"/>
              </a:cxn>
            </a:cxnLst>
            <a:rect l="l" t="t" r="r" b="b"/>
            <a:pathLst>
              <a:path w="5920618" h="2130951">
                <a:moveTo>
                  <a:pt x="0" y="0"/>
                </a:moveTo>
                <a:lnTo>
                  <a:pt x="5920618" y="0"/>
                </a:lnTo>
                <a:lnTo>
                  <a:pt x="4933709" y="2130951"/>
                </a:lnTo>
                <a:lnTo>
                  <a:pt x="0" y="2130951"/>
                </a:lnTo>
                <a:close/>
              </a:path>
            </a:pathLst>
          </a:custGeom>
        </p:spPr>
      </p:pic>
      <p:sp>
        <p:nvSpPr>
          <p:cNvPr id="8" name="Freeform: Shape 7">
            <a:extLst>
              <a:ext uri="{FF2B5EF4-FFF2-40B4-BE49-F238E27FC236}">
                <a16:creationId xmlns:a16="http://schemas.microsoft.com/office/drawing/2014/main" id="{B9031F62-1CB3-324D-205D-333F9A47A74C}"/>
              </a:ext>
            </a:extLst>
          </p:cNvPr>
          <p:cNvSpPr/>
          <p:nvPr/>
        </p:nvSpPr>
        <p:spPr>
          <a:xfrm>
            <a:off x="3988209" y="522514"/>
            <a:ext cx="7161368" cy="1753837"/>
          </a:xfrm>
          <a:custGeom>
            <a:avLst/>
            <a:gdLst>
              <a:gd name="connsiteX0" fmla="*/ 765317 w 8243296"/>
              <a:gd name="connsiteY0" fmla="*/ 0 h 1598206"/>
              <a:gd name="connsiteX1" fmla="*/ 8243296 w 8243296"/>
              <a:gd name="connsiteY1" fmla="*/ 0 h 1598206"/>
              <a:gd name="connsiteX2" fmla="*/ 8243296 w 8243296"/>
              <a:gd name="connsiteY2" fmla="*/ 1598206 h 1598206"/>
              <a:gd name="connsiteX3" fmla="*/ 0 w 8243296"/>
              <a:gd name="connsiteY3" fmla="*/ 1598206 h 1598206"/>
            </a:gdLst>
            <a:ahLst/>
            <a:cxnLst>
              <a:cxn ang="0">
                <a:pos x="connsiteX0" y="connsiteY0"/>
              </a:cxn>
              <a:cxn ang="0">
                <a:pos x="connsiteX1" y="connsiteY1"/>
              </a:cxn>
              <a:cxn ang="0">
                <a:pos x="connsiteX2" y="connsiteY2"/>
              </a:cxn>
              <a:cxn ang="0">
                <a:pos x="connsiteX3" y="connsiteY3"/>
              </a:cxn>
            </a:cxnLst>
            <a:rect l="l" t="t" r="r" b="b"/>
            <a:pathLst>
              <a:path w="8243296" h="1598206">
                <a:moveTo>
                  <a:pt x="765317" y="0"/>
                </a:moveTo>
                <a:lnTo>
                  <a:pt x="8243296" y="0"/>
                </a:lnTo>
                <a:lnTo>
                  <a:pt x="8243296" y="1598206"/>
                </a:lnTo>
                <a:lnTo>
                  <a:pt x="0" y="1598206"/>
                </a:lnTo>
                <a:close/>
              </a:path>
            </a:pathLst>
          </a:cu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C064260B-0D62-E707-4862-EB2E8EA0B058}"/>
              </a:ext>
            </a:extLst>
          </p:cNvPr>
          <p:cNvSpPr txBox="1"/>
          <p:nvPr/>
        </p:nvSpPr>
        <p:spPr>
          <a:xfrm>
            <a:off x="8979877" y="6550224"/>
            <a:ext cx="2235988" cy="307777"/>
          </a:xfrm>
          <a:prstGeom prst="rect">
            <a:avLst/>
          </a:prstGeom>
          <a:noFill/>
        </p:spPr>
        <p:txBody>
          <a:bodyPr wrap="square" rtlCol="0">
            <a:spAutoFit/>
          </a:bodyPr>
          <a:lstStyle/>
          <a:p>
            <a:pPr marL="0" marR="0" lvl="0" indent="0" algn="l" defTabSz="3429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TP, Orlando, 2026</a:t>
            </a:r>
          </a:p>
        </p:txBody>
      </p:sp>
    </p:spTree>
    <p:extLst>
      <p:ext uri="{BB962C8B-B14F-4D97-AF65-F5344CB8AC3E}">
        <p14:creationId xmlns:p14="http://schemas.microsoft.com/office/powerpoint/2010/main" val="64617897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22F3EC-EFB6-B790-ECD0-473B9815FC37}"/>
              </a:ext>
            </a:extLst>
          </p:cNvPr>
          <p:cNvSpPr>
            <a:spLocks noGrp="1"/>
          </p:cNvSpPr>
          <p:nvPr>
            <p:ph type="title"/>
          </p:nvPr>
        </p:nvSpPr>
        <p:spPr/>
        <p:txBody>
          <a:bodyPr>
            <a:normAutofit/>
          </a:bodyPr>
          <a:lstStyle/>
          <a:p>
            <a:r>
              <a:rPr lang="en-US" sz="4200" dirty="0"/>
              <a:t>Disclosures</a:t>
            </a:r>
          </a:p>
        </p:txBody>
      </p:sp>
      <p:graphicFrame>
        <p:nvGraphicFramePr>
          <p:cNvPr id="4" name="Table 3">
            <a:extLst>
              <a:ext uri="{FF2B5EF4-FFF2-40B4-BE49-F238E27FC236}">
                <a16:creationId xmlns:a16="http://schemas.microsoft.com/office/drawing/2014/main" id="{C19D31BF-FD6C-99D9-69A9-0D43D8215E49}"/>
              </a:ext>
            </a:extLst>
          </p:cNvPr>
          <p:cNvGraphicFramePr>
            <a:graphicFrameLocks noGrp="1"/>
          </p:cNvGraphicFramePr>
          <p:nvPr/>
        </p:nvGraphicFramePr>
        <p:xfrm>
          <a:off x="1579417" y="2316479"/>
          <a:ext cx="9167751" cy="2303021"/>
        </p:xfrm>
        <a:graphic>
          <a:graphicData uri="http://schemas.openxmlformats.org/drawingml/2006/table">
            <a:tbl>
              <a:tblPr firstRow="1" bandRow="1">
                <a:tableStyleId>{5C22544A-7EE6-4342-B048-85BDC9FD1C3A}</a:tableStyleId>
              </a:tblPr>
              <a:tblGrid>
                <a:gridCol w="3186389">
                  <a:extLst>
                    <a:ext uri="{9D8B030D-6E8A-4147-A177-3AD203B41FA5}">
                      <a16:colId xmlns:a16="http://schemas.microsoft.com/office/drawing/2014/main" val="2608225332"/>
                    </a:ext>
                  </a:extLst>
                </a:gridCol>
                <a:gridCol w="5981362">
                  <a:extLst>
                    <a:ext uri="{9D8B030D-6E8A-4147-A177-3AD203B41FA5}">
                      <a16:colId xmlns:a16="http://schemas.microsoft.com/office/drawing/2014/main" val="936018406"/>
                    </a:ext>
                  </a:extLst>
                </a:gridCol>
              </a:tblGrid>
              <a:tr h="1354718">
                <a:tc>
                  <a:txBody>
                    <a:bodyPr/>
                    <a:lstStyle/>
                    <a:p>
                      <a:r>
                        <a:rPr lang="en-US" sz="1800" b="1" dirty="0">
                          <a:solidFill>
                            <a:srgbClr val="000000"/>
                          </a:solidFill>
                        </a:rPr>
                        <a:t>Advisory Committees</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r>
                        <a:rPr lang="en-US" sz="1800" b="0" dirty="0">
                          <a:solidFill>
                            <a:srgbClr val="000000"/>
                          </a:solidFill>
                        </a:rPr>
                        <a:t>AbbVie Inc, AstraZeneca Pharmaceuticals LP, </a:t>
                      </a:r>
                      <a:r>
                        <a:rPr lang="en-US" sz="1800" b="0" dirty="0" err="1">
                          <a:solidFill>
                            <a:srgbClr val="000000"/>
                          </a:solidFill>
                        </a:rPr>
                        <a:t>BeOne</a:t>
                      </a:r>
                      <a:r>
                        <a:rPr lang="en-US" sz="1800" b="0" dirty="0">
                          <a:solidFill>
                            <a:srgbClr val="000000"/>
                          </a:solidFill>
                        </a:rPr>
                        <a:t>, Bristol Myers Squibb, Genentech, a member of the Roche Group</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124101506"/>
                  </a:ext>
                </a:extLst>
              </a:tr>
              <a:tr h="948303">
                <a:tc>
                  <a:txBody>
                    <a:bodyPr/>
                    <a:lstStyle/>
                    <a:p>
                      <a:r>
                        <a:rPr lang="en-US" sz="1800" b="1" dirty="0">
                          <a:solidFill>
                            <a:srgbClr val="000000"/>
                          </a:solidFill>
                        </a:rPr>
                        <a:t>Data and Safety Monitoring Boards/Committees</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r>
                        <a:rPr lang="en-US" sz="1800" b="0" dirty="0">
                          <a:solidFill>
                            <a:srgbClr val="000000"/>
                          </a:solidFill>
                        </a:rPr>
                        <a:t>Bristol Myers Squibb, Celgene Corporation, Genentech, a member of the Roche Group.</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389289960"/>
                  </a:ext>
                </a:extLst>
              </a:tr>
            </a:tbl>
          </a:graphicData>
        </a:graphic>
      </p:graphicFrame>
    </p:spTree>
    <p:extLst>
      <p:ext uri="{BB962C8B-B14F-4D97-AF65-F5344CB8AC3E}">
        <p14:creationId xmlns:p14="http://schemas.microsoft.com/office/powerpoint/2010/main" val="419089320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73609E-CAF0-3F1D-EE17-5C8131BFB32A}"/>
              </a:ext>
            </a:extLst>
          </p:cNvPr>
          <p:cNvSpPr>
            <a:spLocks noGrp="1"/>
          </p:cNvSpPr>
          <p:nvPr>
            <p:ph type="title"/>
          </p:nvPr>
        </p:nvSpPr>
        <p:spPr>
          <a:xfrm>
            <a:off x="1215482" y="455840"/>
            <a:ext cx="9761036" cy="535154"/>
          </a:xfrm>
        </p:spPr>
        <p:txBody>
          <a:bodyPr>
            <a:noAutofit/>
          </a:bodyPr>
          <a:lstStyle/>
          <a:p>
            <a:r>
              <a:rPr lang="en-US" sz="2800" dirty="0">
                <a:solidFill>
                  <a:schemeClr val="tx1"/>
                </a:solidFill>
                <a:latin typeface="Arial" panose="020B0604020202020204" pitchFamily="34" charset="0"/>
                <a:cs typeface="Arial" panose="020B0604020202020204" pitchFamily="34" charset="0"/>
              </a:rPr>
              <a:t>Relapsed/Refractory Chemotherapy-resistant Large B Cell Lymphoma (R/R LBCL) has a dismal prognosis </a:t>
            </a:r>
          </a:p>
        </p:txBody>
      </p:sp>
      <p:pic>
        <p:nvPicPr>
          <p:cNvPr id="7" name="Content Placeholder 6" descr="A graph of events and events&#10;&#10;Description automatically generated">
            <a:extLst>
              <a:ext uri="{FF2B5EF4-FFF2-40B4-BE49-F238E27FC236}">
                <a16:creationId xmlns:a16="http://schemas.microsoft.com/office/drawing/2014/main" id="{10EB6A69-96AF-39E1-95B1-571DB3A21C3A}"/>
              </a:ext>
            </a:extLst>
          </p:cNvPr>
          <p:cNvPicPr>
            <a:picLocks noGrp="1" noChangeAspect="1"/>
          </p:cNvPicPr>
          <p:nvPr>
            <p:ph idx="1"/>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2244436" y="1677969"/>
            <a:ext cx="7505205" cy="4456614"/>
          </a:xfrm>
        </p:spPr>
      </p:pic>
      <p:sp>
        <p:nvSpPr>
          <p:cNvPr id="4" name="TextBox 3">
            <a:extLst>
              <a:ext uri="{FF2B5EF4-FFF2-40B4-BE49-F238E27FC236}">
                <a16:creationId xmlns:a16="http://schemas.microsoft.com/office/drawing/2014/main" id="{AC3A117F-4F93-0C50-6BB6-93E3F5B393A2}"/>
              </a:ext>
            </a:extLst>
          </p:cNvPr>
          <p:cNvSpPr txBox="1"/>
          <p:nvPr/>
        </p:nvSpPr>
        <p:spPr>
          <a:xfrm>
            <a:off x="8485992" y="6611780"/>
            <a:ext cx="2182008" cy="246221"/>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Garamond" pitchFamily="18" charset="0"/>
                <a:ea typeface="+mn-ea"/>
                <a:cs typeface="+mn-cs"/>
              </a:rPr>
              <a:t>Crump et al Scholar-1 study Blood 2017</a:t>
            </a:r>
          </a:p>
        </p:txBody>
      </p:sp>
    </p:spTree>
    <p:extLst>
      <p:ext uri="{BB962C8B-B14F-4D97-AF65-F5344CB8AC3E}">
        <p14:creationId xmlns:p14="http://schemas.microsoft.com/office/powerpoint/2010/main" val="374220810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D6301D-3F5B-5530-8D69-49FBD75D088B}"/>
              </a:ext>
            </a:extLst>
          </p:cNvPr>
          <p:cNvSpPr>
            <a:spLocks noGrp="1"/>
          </p:cNvSpPr>
          <p:nvPr>
            <p:ph type="title"/>
          </p:nvPr>
        </p:nvSpPr>
        <p:spPr>
          <a:xfrm>
            <a:off x="1658112" y="170055"/>
            <a:ext cx="9009888" cy="1325563"/>
          </a:xfrm>
        </p:spPr>
        <p:txBody>
          <a:bodyPr>
            <a:normAutofit/>
          </a:bodyPr>
          <a:lstStyle/>
          <a:p>
            <a:r>
              <a:rPr lang="en-US" sz="2800" dirty="0">
                <a:latin typeface="Arial" panose="020B0604020202020204" pitchFamily="34" charset="0"/>
                <a:cs typeface="Arial" panose="020B0604020202020204" pitchFamily="34" charset="0"/>
              </a:rPr>
              <a:t>Anti-CD19 CAR-T cell therapies approved in R/R LBCL after failure of ≥2 lines of treatment </a:t>
            </a:r>
            <a:endParaRPr lang="en-US" sz="2800" dirty="0"/>
          </a:p>
        </p:txBody>
      </p:sp>
      <p:pic>
        <p:nvPicPr>
          <p:cNvPr id="4" name="Main graphic">
            <a:extLst>
              <a:ext uri="{FF2B5EF4-FFF2-40B4-BE49-F238E27FC236}">
                <a16:creationId xmlns:a16="http://schemas.microsoft.com/office/drawing/2014/main" id="{A401EDAE-EBC3-8D0C-4E9A-F10B37F3F098}"/>
              </a:ext>
            </a:extLst>
          </p:cNvPr>
          <p:cNvPicPr>
            <a:picLocks/>
          </p:cNvPicPr>
          <p:nvPr/>
        </p:nvPicPr>
        <p:blipFill>
          <a:blip r:embed="rId3"/>
          <a:stretch/>
        </p:blipFill>
        <p:spPr>
          <a:xfrm>
            <a:off x="2450123" y="1573538"/>
            <a:ext cx="7291754" cy="4497918"/>
          </a:xfrm>
          <a:prstGeom prst="rect">
            <a:avLst/>
          </a:prstGeom>
          <a:ln>
            <a:noFill/>
          </a:ln>
        </p:spPr>
      </p:pic>
      <p:pic>
        <p:nvPicPr>
          <p:cNvPr id="5" name="Picture 4">
            <a:extLst>
              <a:ext uri="{FF2B5EF4-FFF2-40B4-BE49-F238E27FC236}">
                <a16:creationId xmlns:a16="http://schemas.microsoft.com/office/drawing/2014/main" id="{91FF2E4E-5588-155A-8DE9-9EF16FFE7E86}"/>
              </a:ext>
            </a:extLst>
          </p:cNvPr>
          <p:cNvPicPr>
            <a:picLocks noChangeAspect="1"/>
          </p:cNvPicPr>
          <p:nvPr/>
        </p:nvPicPr>
        <p:blipFill>
          <a:blip r:embed="rId4"/>
          <a:srcRect l="15785" r="63977"/>
          <a:stretch>
            <a:fillRect/>
          </a:stretch>
        </p:blipFill>
        <p:spPr>
          <a:xfrm>
            <a:off x="2485303" y="6071456"/>
            <a:ext cx="1723293" cy="481849"/>
          </a:xfrm>
          <a:prstGeom prst="rect">
            <a:avLst/>
          </a:prstGeom>
        </p:spPr>
      </p:pic>
      <p:sp>
        <p:nvSpPr>
          <p:cNvPr id="7" name="TextBox 6">
            <a:extLst>
              <a:ext uri="{FF2B5EF4-FFF2-40B4-BE49-F238E27FC236}">
                <a16:creationId xmlns:a16="http://schemas.microsoft.com/office/drawing/2014/main" id="{F149CDE1-4B82-2C54-1FD5-D7357687E510}"/>
              </a:ext>
            </a:extLst>
          </p:cNvPr>
          <p:cNvSpPr txBox="1"/>
          <p:nvPr/>
        </p:nvSpPr>
        <p:spPr>
          <a:xfrm>
            <a:off x="7726426" y="6627168"/>
            <a:ext cx="2941574" cy="23083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1" normalizeH="0" baseline="0" noProof="0" dirty="0">
                <a:ln>
                  <a:noFill/>
                </a:ln>
                <a:solidFill>
                  <a:srgbClr val="000000"/>
                </a:solidFill>
                <a:effectLst/>
                <a:uLnTx/>
                <a:uFillTx/>
                <a:latin typeface="Arial"/>
                <a:ea typeface="+mn-ea"/>
                <a:cs typeface="+mn-cs"/>
              </a:rPr>
              <a:t>Caron A. Jacobson; </a:t>
            </a:r>
            <a:r>
              <a:rPr kumimoji="0" lang="en-US" sz="900" b="0" i="1" u="none" strike="noStrike" kern="1200" cap="none" spc="-1" normalizeH="0" baseline="0" noProof="0" dirty="0">
                <a:ln>
                  <a:noFill/>
                </a:ln>
                <a:solidFill>
                  <a:srgbClr val="000000"/>
                </a:solidFill>
                <a:effectLst/>
                <a:uLnTx/>
                <a:uFillTx/>
                <a:latin typeface="Arial"/>
                <a:ea typeface="+mn-ea"/>
                <a:cs typeface="+mn-cs"/>
              </a:rPr>
              <a:t>Journal of Clinical Oncology</a:t>
            </a:r>
            <a:r>
              <a:rPr kumimoji="0" lang="en-US" sz="900" b="0" i="0" u="none" strike="noStrike" kern="1200" cap="none" spc="-1" normalizeH="0" baseline="0" noProof="0" dirty="0">
                <a:ln>
                  <a:noFill/>
                </a:ln>
                <a:solidFill>
                  <a:srgbClr val="000000"/>
                </a:solidFill>
                <a:effectLst/>
                <a:uLnTx/>
                <a:uFillTx/>
                <a:latin typeface="Arial"/>
                <a:ea typeface="+mn-ea"/>
                <a:cs typeface="+mn-cs"/>
              </a:rPr>
              <a:t> 2019</a:t>
            </a:r>
            <a:endParaRPr kumimoji="0" lang="en-US" sz="900" b="0" i="0" u="none" strike="noStrike" kern="1200" cap="none" spc="0" normalizeH="0" baseline="0" noProof="0" dirty="0">
              <a:ln>
                <a:noFill/>
              </a:ln>
              <a:solidFill>
                <a:prstClr val="black"/>
              </a:solidFill>
              <a:effectLst/>
              <a:uLnTx/>
              <a:uFillTx/>
              <a:latin typeface="Garamond" pitchFamily="18" charset="0"/>
              <a:ea typeface="+mn-ea"/>
              <a:cs typeface="+mn-cs"/>
            </a:endParaRPr>
          </a:p>
        </p:txBody>
      </p:sp>
      <p:pic>
        <p:nvPicPr>
          <p:cNvPr id="3" name="Picture 2">
            <a:extLst>
              <a:ext uri="{FF2B5EF4-FFF2-40B4-BE49-F238E27FC236}">
                <a16:creationId xmlns:a16="http://schemas.microsoft.com/office/drawing/2014/main" id="{4B8DF233-4926-4D3F-8C52-DC6872631AE7}"/>
              </a:ext>
            </a:extLst>
          </p:cNvPr>
          <p:cNvPicPr>
            <a:picLocks noChangeAspect="1"/>
          </p:cNvPicPr>
          <p:nvPr/>
        </p:nvPicPr>
        <p:blipFill>
          <a:blip r:embed="rId4"/>
          <a:srcRect l="45608" r="36082"/>
          <a:stretch>
            <a:fillRect/>
          </a:stretch>
        </p:blipFill>
        <p:spPr>
          <a:xfrm>
            <a:off x="5275385" y="6071456"/>
            <a:ext cx="1559170" cy="481849"/>
          </a:xfrm>
          <a:prstGeom prst="rect">
            <a:avLst/>
          </a:prstGeom>
        </p:spPr>
      </p:pic>
      <p:pic>
        <p:nvPicPr>
          <p:cNvPr id="6" name="Picture 5">
            <a:extLst>
              <a:ext uri="{FF2B5EF4-FFF2-40B4-BE49-F238E27FC236}">
                <a16:creationId xmlns:a16="http://schemas.microsoft.com/office/drawing/2014/main" id="{9C489A7F-98ED-5830-687A-0A6269959200}"/>
              </a:ext>
            </a:extLst>
          </p:cNvPr>
          <p:cNvPicPr>
            <a:picLocks noChangeAspect="1"/>
          </p:cNvPicPr>
          <p:nvPr/>
        </p:nvPicPr>
        <p:blipFill>
          <a:blip r:embed="rId4"/>
          <a:srcRect l="70274" t="1354" r="1239" b="-1354"/>
          <a:stretch>
            <a:fillRect/>
          </a:stretch>
        </p:blipFill>
        <p:spPr>
          <a:xfrm>
            <a:off x="7421649" y="6077982"/>
            <a:ext cx="2425736" cy="481849"/>
          </a:xfrm>
          <a:prstGeom prst="rect">
            <a:avLst/>
          </a:prstGeom>
        </p:spPr>
      </p:pic>
    </p:spTree>
    <p:extLst>
      <p:ext uri="{BB962C8B-B14F-4D97-AF65-F5344CB8AC3E}">
        <p14:creationId xmlns:p14="http://schemas.microsoft.com/office/powerpoint/2010/main" val="34938239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0"/>
          <p:cNvSpPr>
            <a:spLocks noChangeArrowheads="1"/>
          </p:cNvSpPr>
          <p:nvPr/>
        </p:nvSpPr>
        <p:spPr bwMode="auto">
          <a:xfrm>
            <a:off x="914639" y="6354762"/>
            <a:ext cx="10360152" cy="503238"/>
          </a:xfrm>
          <a:prstGeom prst="rect">
            <a:avLst/>
          </a:prstGeom>
          <a:noFill/>
          <a:ln>
            <a:noFill/>
          </a:ln>
          <a:effectLst>
            <a:prstShdw prst="shdw17" dist="17961" dir="2700000">
              <a:srgbClr val="708688">
                <a:alpha val="74997"/>
              </a:srgbClr>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002656"/>
                </a:solidFill>
                <a:effectLst/>
                <a:uLnTx/>
                <a:uFillTx/>
                <a:latin typeface="Arial"/>
                <a:ea typeface="+mn-ea"/>
                <a:cs typeface="+mn-cs"/>
              </a:rPr>
              <a:t>For assistance, please raise your hand. Devices will be collected at the conclusion of the activity.</a:t>
            </a:r>
          </a:p>
        </p:txBody>
      </p:sp>
      <p:sp>
        <p:nvSpPr>
          <p:cNvPr id="20" name="Rectangle 13"/>
          <p:cNvSpPr>
            <a:spLocks noChangeArrowheads="1"/>
          </p:cNvSpPr>
          <p:nvPr/>
        </p:nvSpPr>
        <p:spPr bwMode="auto">
          <a:xfrm>
            <a:off x="1920479" y="1881970"/>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dirty="0">
                <a:ln>
                  <a:noFill/>
                </a:ln>
                <a:solidFill>
                  <a:srgbClr val="002656"/>
                </a:solidFill>
                <a:effectLst/>
                <a:uLnTx/>
                <a:uFillTx/>
                <a:latin typeface="Arial"/>
                <a:ea typeface="+mn-ea"/>
                <a:cs typeface="+mn-cs"/>
              </a:rPr>
              <a:t>Review Program Slides: </a:t>
            </a:r>
            <a:r>
              <a:rPr kumimoji="0" lang="en-US" sz="2100" b="0" i="0" u="none" strike="noStrike" kern="1200" cap="none" spc="0" normalizeH="0" baseline="0" noProof="0" dirty="0">
                <a:ln>
                  <a:noFill/>
                </a:ln>
                <a:solidFill>
                  <a:srgbClr val="002656"/>
                </a:solidFill>
                <a:effectLst/>
                <a:uLnTx/>
                <a:uFillTx/>
                <a:latin typeface="Arial"/>
                <a:ea typeface="+mn-ea"/>
                <a:cs typeface="+mn-cs"/>
              </a:rPr>
              <a:t>A link to the program slides will be posted in the chat room at the start of the program.</a:t>
            </a:r>
          </a:p>
        </p:txBody>
      </p:sp>
      <p:sp>
        <p:nvSpPr>
          <p:cNvPr id="23" name="Rectangle 13"/>
          <p:cNvSpPr>
            <a:spLocks noChangeArrowheads="1"/>
          </p:cNvSpPr>
          <p:nvPr/>
        </p:nvSpPr>
        <p:spPr bwMode="auto">
          <a:xfrm>
            <a:off x="1920479" y="3019652"/>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dirty="0">
                <a:ln>
                  <a:noFill/>
                </a:ln>
                <a:solidFill>
                  <a:srgbClr val="002656"/>
                </a:solidFill>
                <a:effectLst/>
                <a:uLnTx/>
                <a:uFillTx/>
                <a:latin typeface="Arial"/>
                <a:ea typeface="+mn-ea"/>
                <a:cs typeface="+mn-cs"/>
              </a:rPr>
              <a:t>Answer Survey Questions: </a:t>
            </a:r>
            <a:r>
              <a:rPr kumimoji="0" lang="en-US" sz="2100" b="0" i="0" u="none" strike="noStrike" kern="1200" cap="none" spc="0" normalizeH="0" baseline="0" noProof="0" dirty="0">
                <a:ln>
                  <a:noFill/>
                </a:ln>
                <a:solidFill>
                  <a:srgbClr val="002656"/>
                </a:solidFill>
                <a:effectLst/>
                <a:uLnTx/>
                <a:uFillTx/>
                <a:latin typeface="Arial"/>
                <a:ea typeface="+mn-ea"/>
                <a:cs typeface="ＭＳ Ｐゴシック" charset="-128"/>
              </a:rPr>
              <a:t>Complete the pre- and </a:t>
            </a:r>
            <a:r>
              <a:rPr kumimoji="0" lang="en-US" sz="2100" b="0" i="0" u="none" strike="noStrike" kern="1200" cap="none" spc="0" normalizeH="0" baseline="0" noProof="0" dirty="0" err="1">
                <a:ln>
                  <a:noFill/>
                </a:ln>
                <a:solidFill>
                  <a:srgbClr val="002656"/>
                </a:solidFill>
                <a:effectLst/>
                <a:uLnTx/>
                <a:uFillTx/>
                <a:latin typeface="Arial"/>
                <a:ea typeface="+mn-ea"/>
                <a:cs typeface="ＭＳ Ｐゴシック" charset="-128"/>
              </a:rPr>
              <a:t>postmeeting</a:t>
            </a:r>
            <a:r>
              <a:rPr kumimoji="0" lang="en-US" sz="2100" b="0" i="0" u="none" strike="noStrike" kern="1200" cap="none" spc="0" normalizeH="0" baseline="0" noProof="0" dirty="0">
                <a:ln>
                  <a:noFill/>
                </a:ln>
                <a:solidFill>
                  <a:srgbClr val="002656"/>
                </a:solidFill>
                <a:effectLst/>
                <a:uLnTx/>
                <a:uFillTx/>
                <a:latin typeface="Arial"/>
                <a:ea typeface="+mn-ea"/>
                <a:cs typeface="ＭＳ Ｐゴシック" charset="-128"/>
              </a:rPr>
              <a:t> surveys.</a:t>
            </a:r>
            <a:endParaRPr kumimoji="0" lang="en-US" sz="2100" b="0" i="1" u="none" strike="noStrike" kern="1200" cap="none" spc="0" normalizeH="0" baseline="0" noProof="0" dirty="0">
              <a:ln>
                <a:noFill/>
              </a:ln>
              <a:solidFill>
                <a:srgbClr val="002656"/>
              </a:solidFill>
              <a:effectLst/>
              <a:uLnTx/>
              <a:uFillTx/>
              <a:latin typeface="Arial"/>
              <a:ea typeface="+mn-ea"/>
              <a:cs typeface="ＭＳ Ｐゴシック" charset="-128"/>
            </a:endParaRPr>
          </a:p>
        </p:txBody>
      </p:sp>
      <p:sp>
        <p:nvSpPr>
          <p:cNvPr id="25" name="Rectangle 13"/>
          <p:cNvSpPr>
            <a:spLocks noChangeArrowheads="1"/>
          </p:cNvSpPr>
          <p:nvPr/>
        </p:nvSpPr>
        <p:spPr bwMode="auto">
          <a:xfrm>
            <a:off x="1920479" y="4208838"/>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dirty="0">
                <a:ln>
                  <a:noFill/>
                </a:ln>
                <a:solidFill>
                  <a:srgbClr val="002656"/>
                </a:solidFill>
                <a:effectLst/>
                <a:uLnTx/>
                <a:uFillTx/>
                <a:latin typeface="Arial" panose="020B0604020202020204"/>
                <a:ea typeface="+mn-ea"/>
                <a:cs typeface="+mn-cs"/>
              </a:rPr>
              <a:t>Ask a Question: </a:t>
            </a:r>
            <a:r>
              <a:rPr kumimoji="0" lang="en-US" sz="2100" b="0" i="0" u="none" strike="noStrike" kern="1200" cap="none" spc="0" normalizeH="0" baseline="0" noProof="0" dirty="0">
                <a:ln>
                  <a:noFill/>
                </a:ln>
                <a:solidFill>
                  <a:srgbClr val="002656"/>
                </a:solidFill>
                <a:effectLst/>
                <a:uLnTx/>
                <a:uFillTx/>
                <a:latin typeface="Arial" panose="020B0604020202020204"/>
                <a:ea typeface="+mn-ea"/>
                <a:cs typeface="+mn-cs"/>
              </a:rPr>
              <a:t>Submit a challenging case or question for discussion using the Zoom chat room.</a:t>
            </a:r>
          </a:p>
        </p:txBody>
      </p:sp>
      <p:sp>
        <p:nvSpPr>
          <p:cNvPr id="26" name="Rectangle 13"/>
          <p:cNvSpPr>
            <a:spLocks noChangeArrowheads="1"/>
          </p:cNvSpPr>
          <p:nvPr/>
        </p:nvSpPr>
        <p:spPr bwMode="auto">
          <a:xfrm>
            <a:off x="1920479" y="5414786"/>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100" b="1" i="0" u="none" strike="noStrike" kern="1200" cap="none" spc="0" normalizeH="0" baseline="0" noProof="0" dirty="0">
                <a:ln>
                  <a:noFill/>
                </a:ln>
                <a:solidFill>
                  <a:srgbClr val="002656"/>
                </a:solidFill>
                <a:effectLst/>
                <a:uLnTx/>
                <a:uFillTx/>
                <a:latin typeface="Arial"/>
                <a:ea typeface="+mn-ea"/>
                <a:cs typeface="+mn-cs"/>
              </a:rPr>
              <a:t>Get CE Credit: </a:t>
            </a:r>
            <a:r>
              <a:rPr kumimoji="0" lang="en-US" sz="2100" b="0" i="0" u="none" strike="noStrike" kern="1200" cap="none" spc="0" normalizeH="0" baseline="0" noProof="0" dirty="0">
                <a:ln>
                  <a:noFill/>
                </a:ln>
                <a:solidFill>
                  <a:srgbClr val="002656"/>
                </a:solidFill>
                <a:effectLst/>
                <a:uLnTx/>
                <a:uFillTx/>
                <a:latin typeface="Arial"/>
                <a:ea typeface="+mn-ea"/>
                <a:cs typeface="+mn-cs"/>
              </a:rPr>
              <a:t>A CE credit link will be provided in the chat room at the conclusion of the program. </a:t>
            </a:r>
          </a:p>
        </p:txBody>
      </p:sp>
      <p:pic>
        <p:nvPicPr>
          <p:cNvPr id="27" name="Picture 26" descr="ASCO-GI-16_iPad-icons_v1fr-slide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639" y="1835744"/>
            <a:ext cx="1005840" cy="769902"/>
          </a:xfrm>
          <a:prstGeom prst="rect">
            <a:avLst/>
          </a:prstGeom>
        </p:spPr>
      </p:pic>
      <p:pic>
        <p:nvPicPr>
          <p:cNvPr id="28" name="Picture 27" descr="ASCO-GI-16_iPad-icons_v1fr-questio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4639" y="4179400"/>
            <a:ext cx="1005840" cy="776111"/>
          </a:xfrm>
          <a:prstGeom prst="rect">
            <a:avLst/>
          </a:prstGeom>
        </p:spPr>
      </p:pic>
      <p:pic>
        <p:nvPicPr>
          <p:cNvPr id="29" name="Picture 28" descr="ASCO-GI-16_iPad-icons_v1fr-survey.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4639" y="3005181"/>
            <a:ext cx="1005840" cy="774684"/>
          </a:xfrm>
          <a:prstGeom prst="rect">
            <a:avLst/>
          </a:prstGeom>
        </p:spPr>
      </p:pic>
      <p:pic>
        <p:nvPicPr>
          <p:cNvPr id="30" name="Picture 29" descr="ASCO-GI-16_iPad-icons_v1fr-cme.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14639" y="5355045"/>
            <a:ext cx="1005840" cy="765179"/>
          </a:xfrm>
          <a:prstGeom prst="rect">
            <a:avLst/>
          </a:prstGeom>
        </p:spPr>
      </p:pic>
      <p:sp>
        <p:nvSpPr>
          <p:cNvPr id="3" name="Title 2"/>
          <p:cNvSpPr>
            <a:spLocks noGrp="1"/>
          </p:cNvSpPr>
          <p:nvPr>
            <p:ph type="title"/>
          </p:nvPr>
        </p:nvSpPr>
        <p:spPr>
          <a:xfrm>
            <a:off x="914639" y="0"/>
            <a:ext cx="10795828" cy="1143000"/>
          </a:xfrm>
        </p:spPr>
        <p:txBody>
          <a:bodyPr>
            <a:normAutofit/>
          </a:bodyPr>
          <a:lstStyle/>
          <a:p>
            <a:r>
              <a:rPr lang="en-US" dirty="0"/>
              <a:t>Clinicians Attending via Zoom</a:t>
            </a:r>
          </a:p>
        </p:txBody>
      </p:sp>
    </p:spTree>
    <p:extLst>
      <p:ext uri="{BB962C8B-B14F-4D97-AF65-F5344CB8AC3E}">
        <p14:creationId xmlns:p14="http://schemas.microsoft.com/office/powerpoint/2010/main" val="6330447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1F3DEC-43FA-F5C5-73D4-66296E169CCF}"/>
              </a:ext>
            </a:extLst>
          </p:cNvPr>
          <p:cNvSpPr>
            <a:spLocks noGrp="1"/>
          </p:cNvSpPr>
          <p:nvPr>
            <p:ph type="title"/>
          </p:nvPr>
        </p:nvSpPr>
        <p:spPr>
          <a:xfrm>
            <a:off x="2152650" y="365127"/>
            <a:ext cx="7886700" cy="622426"/>
          </a:xfrm>
        </p:spPr>
        <p:txBody>
          <a:bodyPr>
            <a:normAutofit/>
          </a:bodyPr>
          <a:lstStyle/>
          <a:p>
            <a:r>
              <a:rPr lang="en-US" sz="2800" dirty="0">
                <a:latin typeface="Arial" panose="020B0604020202020204" pitchFamily="34" charset="0"/>
                <a:cs typeface="Arial" panose="020B0604020202020204" pitchFamily="34" charset="0"/>
              </a:rPr>
              <a:t>                    Baseline Characteristics</a:t>
            </a:r>
          </a:p>
        </p:txBody>
      </p:sp>
      <p:graphicFrame>
        <p:nvGraphicFramePr>
          <p:cNvPr id="5" name="Content Placeholder 2">
            <a:extLst>
              <a:ext uri="{FF2B5EF4-FFF2-40B4-BE49-F238E27FC236}">
                <a16:creationId xmlns:a16="http://schemas.microsoft.com/office/drawing/2014/main" id="{9F478B84-EB14-B0F0-1E77-5BC71433DA49}"/>
              </a:ext>
            </a:extLst>
          </p:cNvPr>
          <p:cNvGraphicFramePr>
            <a:graphicFrameLocks/>
          </p:cNvGraphicFramePr>
          <p:nvPr/>
        </p:nvGraphicFramePr>
        <p:xfrm>
          <a:off x="1961420" y="1121664"/>
          <a:ext cx="8269160" cy="5222138"/>
        </p:xfrm>
        <a:graphic>
          <a:graphicData uri="http://schemas.openxmlformats.org/drawingml/2006/table">
            <a:tbl>
              <a:tblPr firstRow="1" bandRow="1">
                <a:gradFill rotWithShape="1">
                  <a:gsLst>
                    <a:gs pos="0">
                      <a:srgbClr val="4F81BD">
                        <a:tint val="50000"/>
                        <a:satMod val="300000"/>
                      </a:srgbClr>
                    </a:gs>
                    <a:gs pos="35000">
                      <a:srgbClr val="4F81BD">
                        <a:tint val="37000"/>
                        <a:satMod val="300000"/>
                      </a:srgbClr>
                    </a:gs>
                    <a:gs pos="100000">
                      <a:srgbClr val="4F81BD">
                        <a:tint val="15000"/>
                        <a:satMod val="350000"/>
                      </a:srgbClr>
                    </a:gs>
                  </a:gsLst>
                  <a:lin ang="16200000" scaled="1"/>
                </a:gradFill>
                <a:effectLst>
                  <a:outerShdw blurRad="40000" dist="20000" dir="5400000" rotWithShape="0">
                    <a:srgbClr val="000000">
                      <a:alpha val="38000"/>
                    </a:srgbClr>
                  </a:outerShdw>
                </a:effectLst>
              </a:tblPr>
              <a:tblGrid>
                <a:gridCol w="2067290">
                  <a:extLst>
                    <a:ext uri="{9D8B030D-6E8A-4147-A177-3AD203B41FA5}">
                      <a16:colId xmlns:a16="http://schemas.microsoft.com/office/drawing/2014/main" val="46333049"/>
                    </a:ext>
                  </a:extLst>
                </a:gridCol>
                <a:gridCol w="2067290">
                  <a:extLst>
                    <a:ext uri="{9D8B030D-6E8A-4147-A177-3AD203B41FA5}">
                      <a16:colId xmlns:a16="http://schemas.microsoft.com/office/drawing/2014/main" val="2677299999"/>
                    </a:ext>
                  </a:extLst>
                </a:gridCol>
                <a:gridCol w="2067290">
                  <a:extLst>
                    <a:ext uri="{9D8B030D-6E8A-4147-A177-3AD203B41FA5}">
                      <a16:colId xmlns:a16="http://schemas.microsoft.com/office/drawing/2014/main" val="1797481677"/>
                    </a:ext>
                  </a:extLst>
                </a:gridCol>
                <a:gridCol w="2067290">
                  <a:extLst>
                    <a:ext uri="{9D8B030D-6E8A-4147-A177-3AD203B41FA5}">
                      <a16:colId xmlns:a16="http://schemas.microsoft.com/office/drawing/2014/main" val="3983535285"/>
                    </a:ext>
                  </a:extLst>
                </a:gridCol>
              </a:tblGrid>
              <a:tr h="547123">
                <a:tc>
                  <a:txBody>
                    <a:bodyPr/>
                    <a:lstStyle>
                      <a:lvl1pPr marL="0" algn="l" defTabSz="685800" rtl="0" eaLnBrk="1" latinLnBrk="0" hangingPunct="1">
                        <a:defRPr sz="1350" b="1" kern="1200">
                          <a:solidFill>
                            <a:schemeClr val="lt1"/>
                          </a:solidFill>
                          <a:latin typeface="Calibri"/>
                        </a:defRPr>
                      </a:lvl1pPr>
                      <a:lvl2pPr marL="342900" algn="l" defTabSz="685800" rtl="0" eaLnBrk="1" latinLnBrk="0" hangingPunct="1">
                        <a:defRPr sz="1350" b="1" kern="1200">
                          <a:solidFill>
                            <a:schemeClr val="lt1"/>
                          </a:solidFill>
                          <a:latin typeface="Calibri"/>
                        </a:defRPr>
                      </a:lvl2pPr>
                      <a:lvl3pPr marL="685800" algn="l" defTabSz="685800" rtl="0" eaLnBrk="1" latinLnBrk="0" hangingPunct="1">
                        <a:defRPr sz="1350" b="1" kern="1200">
                          <a:solidFill>
                            <a:schemeClr val="lt1"/>
                          </a:solidFill>
                          <a:latin typeface="Calibri"/>
                        </a:defRPr>
                      </a:lvl3pPr>
                      <a:lvl4pPr marL="1028700" algn="l" defTabSz="685800" rtl="0" eaLnBrk="1" latinLnBrk="0" hangingPunct="1">
                        <a:defRPr sz="1350" b="1" kern="1200">
                          <a:solidFill>
                            <a:schemeClr val="lt1"/>
                          </a:solidFill>
                          <a:latin typeface="Calibri"/>
                        </a:defRPr>
                      </a:lvl4pPr>
                      <a:lvl5pPr marL="1371600" algn="l" defTabSz="685800" rtl="0" eaLnBrk="1" latinLnBrk="0" hangingPunct="1">
                        <a:defRPr sz="1350" b="1" kern="1200">
                          <a:solidFill>
                            <a:schemeClr val="lt1"/>
                          </a:solidFill>
                          <a:latin typeface="Calibri"/>
                        </a:defRPr>
                      </a:lvl5pPr>
                      <a:lvl6pPr marL="1714500" algn="l" defTabSz="685800" rtl="0" eaLnBrk="1" latinLnBrk="0" hangingPunct="1">
                        <a:defRPr sz="1350" b="1" kern="1200">
                          <a:solidFill>
                            <a:schemeClr val="lt1"/>
                          </a:solidFill>
                          <a:latin typeface="Calibri"/>
                        </a:defRPr>
                      </a:lvl6pPr>
                      <a:lvl7pPr marL="2057400" algn="l" defTabSz="685800" rtl="0" eaLnBrk="1" latinLnBrk="0" hangingPunct="1">
                        <a:defRPr sz="1350" b="1" kern="1200">
                          <a:solidFill>
                            <a:schemeClr val="lt1"/>
                          </a:solidFill>
                          <a:latin typeface="Calibri"/>
                        </a:defRPr>
                      </a:lvl7pPr>
                      <a:lvl8pPr marL="2400300" algn="l" defTabSz="685800" rtl="0" eaLnBrk="1" latinLnBrk="0" hangingPunct="1">
                        <a:defRPr sz="1350" b="1" kern="1200">
                          <a:solidFill>
                            <a:schemeClr val="lt1"/>
                          </a:solidFill>
                          <a:latin typeface="Calibri"/>
                        </a:defRPr>
                      </a:lvl8pPr>
                      <a:lvl9pPr marL="2743200" algn="l" defTabSz="685800" rtl="0" eaLnBrk="1" latinLnBrk="0" hangingPunct="1">
                        <a:defRPr sz="1350" b="1" kern="1200">
                          <a:solidFill>
                            <a:schemeClr val="lt1"/>
                          </a:solidFill>
                          <a:latin typeface="Calibri"/>
                        </a:defRPr>
                      </a:lvl9pPr>
                    </a:lstStyle>
                    <a:p>
                      <a:endParaRPr lang="en-US" sz="1200" dirty="0">
                        <a:latin typeface="Arial" panose="020B0604020202020204" pitchFamily="34" charset="0"/>
                        <a:cs typeface="Arial" panose="020B0604020202020204" pitchFamily="34" charset="0"/>
                      </a:endParaRPr>
                    </a:p>
                  </a:txBody>
                  <a:tcPr marL="68580" marR="68580" marT="34290" marB="34290">
                    <a:lnL w="9525" cap="flat" cmpd="sng" algn="ctr">
                      <a:solidFill>
                        <a:srgbClr val="4F81BD">
                          <a:shade val="95000"/>
                          <a:satMod val="105000"/>
                        </a:srgbClr>
                      </a:solidFill>
                      <a:prstDash val="solid"/>
                    </a:lnL>
                    <a:lnR>
                      <a:noFill/>
                    </a:lnR>
                    <a:lnT w="9525" cap="flat" cmpd="sng" algn="ctr">
                      <a:solidFill>
                        <a:srgbClr val="4F81BD">
                          <a:shade val="95000"/>
                          <a:satMod val="105000"/>
                        </a:srgbClr>
                      </a:solidFill>
                      <a:prstDash val="solid"/>
                    </a:lnT>
                    <a:lnB w="25400" cap="flat" cmpd="sng" algn="ctr">
                      <a:solidFill>
                        <a:sysClr val="window" lastClr="FFFFFF"/>
                      </a:solidFill>
                      <a:prstDash val="solid"/>
                    </a:lnB>
                    <a:lnTlToBr w="12700" cmpd="sng">
                      <a:noFill/>
                      <a:prstDash val="solid"/>
                    </a:lnTlToBr>
                    <a:lnBlToTr w="12700" cmpd="sng">
                      <a:noFill/>
                      <a:prstDash val="solid"/>
                    </a:lnBlToTr>
                    <a:solidFill>
                      <a:srgbClr val="4F81BD"/>
                    </a:solidFill>
                  </a:tcPr>
                </a:tc>
                <a:tc>
                  <a:txBody>
                    <a:bodyPr/>
                    <a:lstStyle>
                      <a:lvl1pPr marL="0" algn="l" defTabSz="685800" rtl="0" eaLnBrk="1" latinLnBrk="0" hangingPunct="1">
                        <a:defRPr sz="1350" b="1" kern="1200">
                          <a:solidFill>
                            <a:schemeClr val="lt1"/>
                          </a:solidFill>
                          <a:latin typeface="Calibri"/>
                        </a:defRPr>
                      </a:lvl1pPr>
                      <a:lvl2pPr marL="342900" algn="l" defTabSz="685800" rtl="0" eaLnBrk="1" latinLnBrk="0" hangingPunct="1">
                        <a:defRPr sz="1350" b="1" kern="1200">
                          <a:solidFill>
                            <a:schemeClr val="lt1"/>
                          </a:solidFill>
                          <a:latin typeface="Calibri"/>
                        </a:defRPr>
                      </a:lvl2pPr>
                      <a:lvl3pPr marL="685800" algn="l" defTabSz="685800" rtl="0" eaLnBrk="1" latinLnBrk="0" hangingPunct="1">
                        <a:defRPr sz="1350" b="1" kern="1200">
                          <a:solidFill>
                            <a:schemeClr val="lt1"/>
                          </a:solidFill>
                          <a:latin typeface="Calibri"/>
                        </a:defRPr>
                      </a:lvl3pPr>
                      <a:lvl4pPr marL="1028700" algn="l" defTabSz="685800" rtl="0" eaLnBrk="1" latinLnBrk="0" hangingPunct="1">
                        <a:defRPr sz="1350" b="1" kern="1200">
                          <a:solidFill>
                            <a:schemeClr val="lt1"/>
                          </a:solidFill>
                          <a:latin typeface="Calibri"/>
                        </a:defRPr>
                      </a:lvl4pPr>
                      <a:lvl5pPr marL="1371600" algn="l" defTabSz="685800" rtl="0" eaLnBrk="1" latinLnBrk="0" hangingPunct="1">
                        <a:defRPr sz="1350" b="1" kern="1200">
                          <a:solidFill>
                            <a:schemeClr val="lt1"/>
                          </a:solidFill>
                          <a:latin typeface="Calibri"/>
                        </a:defRPr>
                      </a:lvl5pPr>
                      <a:lvl6pPr marL="1714500" algn="l" defTabSz="685800" rtl="0" eaLnBrk="1" latinLnBrk="0" hangingPunct="1">
                        <a:defRPr sz="1350" b="1" kern="1200">
                          <a:solidFill>
                            <a:schemeClr val="lt1"/>
                          </a:solidFill>
                          <a:latin typeface="Calibri"/>
                        </a:defRPr>
                      </a:lvl6pPr>
                      <a:lvl7pPr marL="2057400" algn="l" defTabSz="685800" rtl="0" eaLnBrk="1" latinLnBrk="0" hangingPunct="1">
                        <a:defRPr sz="1350" b="1" kern="1200">
                          <a:solidFill>
                            <a:schemeClr val="lt1"/>
                          </a:solidFill>
                          <a:latin typeface="Calibri"/>
                        </a:defRPr>
                      </a:lvl7pPr>
                      <a:lvl8pPr marL="2400300" algn="l" defTabSz="685800" rtl="0" eaLnBrk="1" latinLnBrk="0" hangingPunct="1">
                        <a:defRPr sz="1350" b="1" kern="1200">
                          <a:solidFill>
                            <a:schemeClr val="lt1"/>
                          </a:solidFill>
                          <a:latin typeface="Calibri"/>
                        </a:defRPr>
                      </a:lvl8pPr>
                      <a:lvl9pPr marL="2743200" algn="l" defTabSz="685800" rtl="0" eaLnBrk="1" latinLnBrk="0" hangingPunct="1">
                        <a:defRPr sz="1350" b="1" kern="1200">
                          <a:solidFill>
                            <a:schemeClr val="lt1"/>
                          </a:solidFill>
                          <a:latin typeface="Calibri"/>
                        </a:defRPr>
                      </a:lvl9pPr>
                    </a:lstStyle>
                    <a:p>
                      <a:pPr algn="ctr"/>
                      <a:r>
                        <a:rPr lang="en-US" sz="1200" b="1" dirty="0">
                          <a:latin typeface="Arial" panose="020B0604020202020204" pitchFamily="34" charset="0"/>
                          <a:cs typeface="Arial" panose="020B0604020202020204" pitchFamily="34" charset="0"/>
                        </a:rPr>
                        <a:t>ZUMA-1 Axicabtagene Ciloleucel</a:t>
                      </a:r>
                    </a:p>
                  </a:txBody>
                  <a:tcPr marL="68580" marR="68580" marT="34290" marB="34290">
                    <a:lnL>
                      <a:noFill/>
                    </a:lnL>
                    <a:lnR>
                      <a:noFill/>
                    </a:lnR>
                    <a:lnT w="9525" cap="flat" cmpd="sng" algn="ctr">
                      <a:solidFill>
                        <a:srgbClr val="4F81BD">
                          <a:shade val="95000"/>
                          <a:satMod val="105000"/>
                        </a:srgbClr>
                      </a:solidFill>
                      <a:prstDash val="solid"/>
                    </a:lnT>
                    <a:lnB w="25400" cap="flat" cmpd="sng" algn="ctr">
                      <a:solidFill>
                        <a:sysClr val="window" lastClr="FFFFFF"/>
                      </a:solidFill>
                      <a:prstDash val="solid"/>
                    </a:lnB>
                    <a:lnTlToBr w="12700" cmpd="sng">
                      <a:noFill/>
                      <a:prstDash val="solid"/>
                    </a:lnTlToBr>
                    <a:lnBlToTr w="12700" cmpd="sng">
                      <a:noFill/>
                      <a:prstDash val="solid"/>
                    </a:lnBlToTr>
                    <a:solidFill>
                      <a:srgbClr val="4F81BD"/>
                    </a:solidFill>
                  </a:tcPr>
                </a:tc>
                <a:tc>
                  <a:txBody>
                    <a:bodyPr/>
                    <a:lstStyle>
                      <a:lvl1pPr marL="0" algn="l" defTabSz="685800" rtl="0" eaLnBrk="1" latinLnBrk="0" hangingPunct="1">
                        <a:defRPr sz="1350" b="1" kern="1200">
                          <a:solidFill>
                            <a:schemeClr val="lt1"/>
                          </a:solidFill>
                          <a:latin typeface="Calibri"/>
                        </a:defRPr>
                      </a:lvl1pPr>
                      <a:lvl2pPr marL="342900" algn="l" defTabSz="685800" rtl="0" eaLnBrk="1" latinLnBrk="0" hangingPunct="1">
                        <a:defRPr sz="1350" b="1" kern="1200">
                          <a:solidFill>
                            <a:schemeClr val="lt1"/>
                          </a:solidFill>
                          <a:latin typeface="Calibri"/>
                        </a:defRPr>
                      </a:lvl2pPr>
                      <a:lvl3pPr marL="685800" algn="l" defTabSz="685800" rtl="0" eaLnBrk="1" latinLnBrk="0" hangingPunct="1">
                        <a:defRPr sz="1350" b="1" kern="1200">
                          <a:solidFill>
                            <a:schemeClr val="lt1"/>
                          </a:solidFill>
                          <a:latin typeface="Calibri"/>
                        </a:defRPr>
                      </a:lvl3pPr>
                      <a:lvl4pPr marL="1028700" algn="l" defTabSz="685800" rtl="0" eaLnBrk="1" latinLnBrk="0" hangingPunct="1">
                        <a:defRPr sz="1350" b="1" kern="1200">
                          <a:solidFill>
                            <a:schemeClr val="lt1"/>
                          </a:solidFill>
                          <a:latin typeface="Calibri"/>
                        </a:defRPr>
                      </a:lvl4pPr>
                      <a:lvl5pPr marL="1371600" algn="l" defTabSz="685800" rtl="0" eaLnBrk="1" latinLnBrk="0" hangingPunct="1">
                        <a:defRPr sz="1350" b="1" kern="1200">
                          <a:solidFill>
                            <a:schemeClr val="lt1"/>
                          </a:solidFill>
                          <a:latin typeface="Calibri"/>
                        </a:defRPr>
                      </a:lvl5pPr>
                      <a:lvl6pPr marL="1714500" algn="l" defTabSz="685800" rtl="0" eaLnBrk="1" latinLnBrk="0" hangingPunct="1">
                        <a:defRPr sz="1350" b="1" kern="1200">
                          <a:solidFill>
                            <a:schemeClr val="lt1"/>
                          </a:solidFill>
                          <a:latin typeface="Calibri"/>
                        </a:defRPr>
                      </a:lvl6pPr>
                      <a:lvl7pPr marL="2057400" algn="l" defTabSz="685800" rtl="0" eaLnBrk="1" latinLnBrk="0" hangingPunct="1">
                        <a:defRPr sz="1350" b="1" kern="1200">
                          <a:solidFill>
                            <a:schemeClr val="lt1"/>
                          </a:solidFill>
                          <a:latin typeface="Calibri"/>
                        </a:defRPr>
                      </a:lvl7pPr>
                      <a:lvl8pPr marL="2400300" algn="l" defTabSz="685800" rtl="0" eaLnBrk="1" latinLnBrk="0" hangingPunct="1">
                        <a:defRPr sz="1350" b="1" kern="1200">
                          <a:solidFill>
                            <a:schemeClr val="lt1"/>
                          </a:solidFill>
                          <a:latin typeface="Calibri"/>
                        </a:defRPr>
                      </a:lvl8pPr>
                      <a:lvl9pPr marL="2743200" algn="l" defTabSz="685800" rtl="0" eaLnBrk="1" latinLnBrk="0" hangingPunct="1">
                        <a:defRPr sz="1350" b="1" kern="1200">
                          <a:solidFill>
                            <a:schemeClr val="lt1"/>
                          </a:solidFill>
                          <a:latin typeface="Calibri"/>
                        </a:defRPr>
                      </a:lvl9pPr>
                    </a:lstStyle>
                    <a:p>
                      <a:pPr algn="ctr"/>
                      <a:r>
                        <a:rPr lang="en-US" sz="1200" b="1" dirty="0">
                          <a:latin typeface="Arial" panose="020B0604020202020204" pitchFamily="34" charset="0"/>
                          <a:cs typeface="Arial" panose="020B0604020202020204" pitchFamily="34" charset="0"/>
                        </a:rPr>
                        <a:t>TRANSCEND</a:t>
                      </a:r>
                    </a:p>
                    <a:p>
                      <a:pPr algn="ctr"/>
                      <a:r>
                        <a:rPr lang="en-US" sz="1200" b="1" dirty="0" err="1">
                          <a:latin typeface="Arial" panose="020B0604020202020204" pitchFamily="34" charset="0"/>
                          <a:cs typeface="Arial" panose="020B0604020202020204" pitchFamily="34" charset="0"/>
                        </a:rPr>
                        <a:t>Lisocabtagene</a:t>
                      </a:r>
                      <a:r>
                        <a:rPr lang="en-US" sz="1200" b="1" dirty="0">
                          <a:latin typeface="Arial" panose="020B0604020202020204" pitchFamily="34" charset="0"/>
                          <a:cs typeface="Arial" panose="020B0604020202020204" pitchFamily="34" charset="0"/>
                        </a:rPr>
                        <a:t> </a:t>
                      </a:r>
                      <a:r>
                        <a:rPr lang="en-US" sz="1200" b="1" dirty="0" err="1">
                          <a:latin typeface="Arial" panose="020B0604020202020204" pitchFamily="34" charset="0"/>
                          <a:cs typeface="Arial" panose="020B0604020202020204" pitchFamily="34" charset="0"/>
                        </a:rPr>
                        <a:t>Maraleucel</a:t>
                      </a:r>
                      <a:endParaRPr lang="en-US" sz="1200" b="1" dirty="0">
                        <a:latin typeface="Arial" panose="020B0604020202020204" pitchFamily="34" charset="0"/>
                        <a:cs typeface="Arial" panose="020B0604020202020204" pitchFamily="34" charset="0"/>
                      </a:endParaRPr>
                    </a:p>
                  </a:txBody>
                  <a:tcPr marL="68580" marR="68580" marT="34290" marB="34290">
                    <a:lnL>
                      <a:noFill/>
                    </a:lnL>
                    <a:lnR>
                      <a:noFill/>
                    </a:lnR>
                    <a:lnT w="9525" cap="flat" cmpd="sng" algn="ctr">
                      <a:solidFill>
                        <a:srgbClr val="4F81BD">
                          <a:shade val="95000"/>
                          <a:satMod val="105000"/>
                        </a:srgbClr>
                      </a:solidFill>
                      <a:prstDash val="solid"/>
                    </a:lnT>
                    <a:lnB w="25400" cap="flat" cmpd="sng" algn="ctr">
                      <a:solidFill>
                        <a:sysClr val="window" lastClr="FFFFFF"/>
                      </a:solidFill>
                      <a:prstDash val="solid"/>
                    </a:lnB>
                    <a:lnTlToBr w="12700" cmpd="sng">
                      <a:noFill/>
                      <a:prstDash val="solid"/>
                    </a:lnTlToBr>
                    <a:lnBlToTr w="12700" cmpd="sng">
                      <a:noFill/>
                      <a:prstDash val="solid"/>
                    </a:lnBlToTr>
                    <a:solidFill>
                      <a:srgbClr val="4F81BD"/>
                    </a:solidFill>
                  </a:tcPr>
                </a:tc>
                <a:tc>
                  <a:txBody>
                    <a:bodyPr/>
                    <a:lstStyle>
                      <a:lvl1pPr marL="0" algn="l" defTabSz="685800" rtl="0" eaLnBrk="1" latinLnBrk="0" hangingPunct="1">
                        <a:defRPr sz="1350" b="1" kern="1200">
                          <a:solidFill>
                            <a:schemeClr val="lt1"/>
                          </a:solidFill>
                          <a:latin typeface="Calibri"/>
                        </a:defRPr>
                      </a:lvl1pPr>
                      <a:lvl2pPr marL="342900" algn="l" defTabSz="685800" rtl="0" eaLnBrk="1" latinLnBrk="0" hangingPunct="1">
                        <a:defRPr sz="1350" b="1" kern="1200">
                          <a:solidFill>
                            <a:schemeClr val="lt1"/>
                          </a:solidFill>
                          <a:latin typeface="Calibri"/>
                        </a:defRPr>
                      </a:lvl2pPr>
                      <a:lvl3pPr marL="685800" algn="l" defTabSz="685800" rtl="0" eaLnBrk="1" latinLnBrk="0" hangingPunct="1">
                        <a:defRPr sz="1350" b="1" kern="1200">
                          <a:solidFill>
                            <a:schemeClr val="lt1"/>
                          </a:solidFill>
                          <a:latin typeface="Calibri"/>
                        </a:defRPr>
                      </a:lvl3pPr>
                      <a:lvl4pPr marL="1028700" algn="l" defTabSz="685800" rtl="0" eaLnBrk="1" latinLnBrk="0" hangingPunct="1">
                        <a:defRPr sz="1350" b="1" kern="1200">
                          <a:solidFill>
                            <a:schemeClr val="lt1"/>
                          </a:solidFill>
                          <a:latin typeface="Calibri"/>
                        </a:defRPr>
                      </a:lvl4pPr>
                      <a:lvl5pPr marL="1371600" algn="l" defTabSz="685800" rtl="0" eaLnBrk="1" latinLnBrk="0" hangingPunct="1">
                        <a:defRPr sz="1350" b="1" kern="1200">
                          <a:solidFill>
                            <a:schemeClr val="lt1"/>
                          </a:solidFill>
                          <a:latin typeface="Calibri"/>
                        </a:defRPr>
                      </a:lvl5pPr>
                      <a:lvl6pPr marL="1714500" algn="l" defTabSz="685800" rtl="0" eaLnBrk="1" latinLnBrk="0" hangingPunct="1">
                        <a:defRPr sz="1350" b="1" kern="1200">
                          <a:solidFill>
                            <a:schemeClr val="lt1"/>
                          </a:solidFill>
                          <a:latin typeface="Calibri"/>
                        </a:defRPr>
                      </a:lvl6pPr>
                      <a:lvl7pPr marL="2057400" algn="l" defTabSz="685800" rtl="0" eaLnBrk="1" latinLnBrk="0" hangingPunct="1">
                        <a:defRPr sz="1350" b="1" kern="1200">
                          <a:solidFill>
                            <a:schemeClr val="lt1"/>
                          </a:solidFill>
                          <a:latin typeface="Calibri"/>
                        </a:defRPr>
                      </a:lvl7pPr>
                      <a:lvl8pPr marL="2400300" algn="l" defTabSz="685800" rtl="0" eaLnBrk="1" latinLnBrk="0" hangingPunct="1">
                        <a:defRPr sz="1350" b="1" kern="1200">
                          <a:solidFill>
                            <a:schemeClr val="lt1"/>
                          </a:solidFill>
                          <a:latin typeface="Calibri"/>
                        </a:defRPr>
                      </a:lvl8pPr>
                      <a:lvl9pPr marL="2743200" algn="l" defTabSz="685800" rtl="0" eaLnBrk="1" latinLnBrk="0" hangingPunct="1">
                        <a:defRPr sz="1350" b="1" kern="1200">
                          <a:solidFill>
                            <a:schemeClr val="lt1"/>
                          </a:solidFill>
                          <a:latin typeface="Calibri"/>
                        </a:defRPr>
                      </a:lvl9pPr>
                    </a:lstStyle>
                    <a:p>
                      <a:pPr algn="ctr"/>
                      <a:r>
                        <a:rPr lang="en-US" sz="1200" b="1" dirty="0">
                          <a:latin typeface="Arial" panose="020B0604020202020204" pitchFamily="34" charset="0"/>
                          <a:cs typeface="Arial" panose="020B0604020202020204" pitchFamily="34" charset="0"/>
                        </a:rPr>
                        <a:t>JULIET</a:t>
                      </a:r>
                    </a:p>
                    <a:p>
                      <a:pPr algn="ctr"/>
                      <a:r>
                        <a:rPr lang="en-US" sz="1200" b="1" dirty="0">
                          <a:latin typeface="Arial" panose="020B0604020202020204" pitchFamily="34" charset="0"/>
                          <a:cs typeface="Arial" panose="020B0604020202020204" pitchFamily="34" charset="0"/>
                        </a:rPr>
                        <a:t>Tisagenlecleucel</a:t>
                      </a:r>
                    </a:p>
                  </a:txBody>
                  <a:tcPr marL="68580" marR="68580" marT="34290" marB="34290">
                    <a:lnL>
                      <a:noFill/>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25400" cap="flat" cmpd="sng" algn="ctr">
                      <a:solidFill>
                        <a:sysClr val="window" lastClr="FFFFFF"/>
                      </a:solidFill>
                      <a:prstDash val="solid"/>
                    </a:lnB>
                    <a:lnTlToBr w="12700" cmpd="sng">
                      <a:noFill/>
                      <a:prstDash val="solid"/>
                    </a:lnTlToBr>
                    <a:lnBlToTr w="12700" cmpd="sng">
                      <a:noFill/>
                      <a:prstDash val="solid"/>
                    </a:lnBlToTr>
                    <a:solidFill>
                      <a:srgbClr val="4F81BD"/>
                    </a:solidFill>
                  </a:tcPr>
                </a:tc>
                <a:extLst>
                  <a:ext uri="{0D108BD9-81ED-4DB2-BD59-A6C34878D82A}">
                    <a16:rowId xmlns:a16="http://schemas.microsoft.com/office/drawing/2014/main" val="2506505387"/>
                  </a:ext>
                </a:extLst>
              </a:tr>
              <a:tr h="467135">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r>
                        <a:rPr lang="en-US" sz="1400" b="1" dirty="0">
                          <a:latin typeface="Arial" panose="020B0604020202020204" pitchFamily="34" charset="0"/>
                          <a:cs typeface="Arial" panose="020B0604020202020204" pitchFamily="34" charset="0"/>
                        </a:rPr>
                        <a:t>Dose</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25400" cap="flat" cmpd="sng" algn="ctr">
                      <a:solidFill>
                        <a:sysClr val="window" lastClr="FFFFFF"/>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b="0" dirty="0">
                          <a:latin typeface="Arial" panose="020B0604020202020204" pitchFamily="34" charset="0"/>
                          <a:cs typeface="Arial" panose="020B0604020202020204" pitchFamily="34" charset="0"/>
                        </a:rPr>
                        <a:t>2 x 10</a:t>
                      </a:r>
                      <a:r>
                        <a:rPr lang="en-US" sz="1400" b="0" baseline="30000" dirty="0">
                          <a:latin typeface="Arial" panose="020B0604020202020204" pitchFamily="34" charset="0"/>
                          <a:cs typeface="Arial" panose="020B0604020202020204" pitchFamily="34" charset="0"/>
                        </a:rPr>
                        <a:t>6</a:t>
                      </a:r>
                      <a:r>
                        <a:rPr lang="en-US" sz="1400" b="0" dirty="0">
                          <a:latin typeface="Arial" panose="020B0604020202020204" pitchFamily="34" charset="0"/>
                          <a:cs typeface="Arial" panose="020B0604020202020204" pitchFamily="34" charset="0"/>
                        </a:rPr>
                        <a:t>/kg</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25400" cap="flat" cmpd="sng" algn="ctr">
                      <a:solidFill>
                        <a:sysClr val="window" lastClr="FFFFFF"/>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b="0" dirty="0">
                          <a:latin typeface="Arial" panose="020B0604020202020204" pitchFamily="34" charset="0"/>
                          <a:cs typeface="Arial" panose="020B0604020202020204" pitchFamily="34" charset="0"/>
                        </a:rPr>
                        <a:t>100 x 10</a:t>
                      </a:r>
                      <a:r>
                        <a:rPr lang="en-US" sz="1400" b="0" baseline="30000" dirty="0">
                          <a:latin typeface="Arial" panose="020B0604020202020204" pitchFamily="34" charset="0"/>
                          <a:cs typeface="Arial" panose="020B0604020202020204" pitchFamily="34" charset="0"/>
                        </a:rPr>
                        <a:t>6</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25400" cap="flat" cmpd="sng" algn="ctr">
                      <a:solidFill>
                        <a:sysClr val="window" lastClr="FFFFFF"/>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0.6 to 6.0 x 10</a:t>
                      </a:r>
                      <a:r>
                        <a:rPr lang="en-US" sz="1400" baseline="30000" dirty="0">
                          <a:latin typeface="Arial" panose="020B0604020202020204" pitchFamily="34" charset="0"/>
                          <a:cs typeface="Arial" panose="020B0604020202020204" pitchFamily="34" charset="0"/>
                        </a:rPr>
                        <a:t>8</a:t>
                      </a:r>
                      <a:r>
                        <a:rPr lang="en-US" sz="1400" dirty="0">
                          <a:latin typeface="Arial" panose="020B0604020202020204" pitchFamily="34" charset="0"/>
                          <a:cs typeface="Arial" panose="020B0604020202020204" pitchFamily="34" charset="0"/>
                        </a:rPr>
                        <a:t> </a:t>
                      </a:r>
                      <a:endParaRPr lang="en-US" sz="1400" b="0" dirty="0">
                        <a:latin typeface="Arial" panose="020B0604020202020204" pitchFamily="34" charset="0"/>
                        <a:cs typeface="Arial" panose="020B0604020202020204" pitchFamily="34" charset="0"/>
                      </a:endParaRP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25400" cap="flat" cmpd="sng" algn="ctr">
                      <a:solidFill>
                        <a:sysClr val="window" lastClr="FFFFFF"/>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extLst>
                  <a:ext uri="{0D108BD9-81ED-4DB2-BD59-A6C34878D82A}">
                    <a16:rowId xmlns:a16="http://schemas.microsoft.com/office/drawing/2014/main" val="1745854458"/>
                  </a:ext>
                </a:extLst>
              </a:tr>
              <a:tr h="467135">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r>
                        <a:rPr lang="en-US" sz="1400" b="1" dirty="0">
                          <a:latin typeface="Arial" panose="020B0604020202020204" pitchFamily="34" charset="0"/>
                          <a:cs typeface="Arial" panose="020B0604020202020204" pitchFamily="34" charset="0"/>
                        </a:rPr>
                        <a:t>Lymphodepletion x3 days</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b="0" dirty="0">
                          <a:latin typeface="Arial" panose="020B0604020202020204" pitchFamily="34" charset="0"/>
                          <a:cs typeface="Arial" panose="020B0604020202020204" pitchFamily="34" charset="0"/>
                        </a:rPr>
                        <a:t>Flu/Cy 500/30</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b="0" baseline="0" dirty="0">
                          <a:latin typeface="Arial" panose="020B0604020202020204" pitchFamily="34" charset="0"/>
                          <a:cs typeface="Arial" panose="020B0604020202020204" pitchFamily="34" charset="0"/>
                        </a:rPr>
                        <a:t>Flu/Cy 300/30</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b="0" dirty="0">
                          <a:latin typeface="Arial" panose="020B0604020202020204" pitchFamily="34" charset="0"/>
                          <a:cs typeface="Arial" panose="020B0604020202020204" pitchFamily="34" charset="0"/>
                        </a:rPr>
                        <a:t>Flu/Cy 250/25, OR Bendax2</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extLst>
                  <a:ext uri="{0D108BD9-81ED-4DB2-BD59-A6C34878D82A}">
                    <a16:rowId xmlns:a16="http://schemas.microsoft.com/office/drawing/2014/main" val="2948129229"/>
                  </a:ext>
                </a:extLst>
              </a:tr>
              <a:tr h="467135">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r>
                        <a:rPr lang="en-US" sz="1400" b="1" dirty="0">
                          <a:latin typeface="Arial" panose="020B0604020202020204" pitchFamily="34" charset="0"/>
                          <a:cs typeface="Arial" panose="020B0604020202020204" pitchFamily="34" charset="0"/>
                        </a:rPr>
                        <a:t># Treated / Enrolled</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101/111</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269/344</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111/165</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extLst>
                  <a:ext uri="{0D108BD9-81ED-4DB2-BD59-A6C34878D82A}">
                    <a16:rowId xmlns:a16="http://schemas.microsoft.com/office/drawing/2014/main" val="1874647314"/>
                  </a:ext>
                </a:extLst>
              </a:tr>
              <a:tr h="467135">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r>
                        <a:rPr lang="en-US" sz="1400" b="1" dirty="0">
                          <a:latin typeface="Arial" panose="020B0604020202020204" pitchFamily="34" charset="0"/>
                          <a:cs typeface="Arial" panose="020B0604020202020204" pitchFamily="34" charset="0"/>
                        </a:rPr>
                        <a:t>Bridging Rx (%)</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0          </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59</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92</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extLst>
                  <a:ext uri="{0D108BD9-81ED-4DB2-BD59-A6C34878D82A}">
                    <a16:rowId xmlns:a16="http://schemas.microsoft.com/office/drawing/2014/main" val="2510359467"/>
                  </a:ext>
                </a:extLst>
              </a:tr>
              <a:tr h="1238227">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r>
                        <a:rPr lang="en-US" sz="1400" b="1" dirty="0">
                          <a:latin typeface="Arial" panose="020B0604020202020204" pitchFamily="34" charset="0"/>
                          <a:cs typeface="Arial" panose="020B0604020202020204" pitchFamily="34" charset="0"/>
                        </a:rPr>
                        <a:t>Lymphoma Subtypes</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DLBCL, PMBCL, HGBCL, Transformed FL</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DLBCL, PMBCL, HGBCL, Transformed FL, Transformed Non-FL, </a:t>
                      </a:r>
                    </a:p>
                    <a:p>
                      <a:pPr algn="ctr"/>
                      <a:r>
                        <a:rPr lang="en-US" sz="1400" dirty="0">
                          <a:latin typeface="Arial" panose="020B0604020202020204" pitchFamily="34" charset="0"/>
                          <a:cs typeface="Arial" panose="020B0604020202020204" pitchFamily="34" charset="0"/>
                        </a:rPr>
                        <a:t>Sec CNS involvement, </a:t>
                      </a:r>
                    </a:p>
                    <a:p>
                      <a:pPr algn="ctr"/>
                      <a:r>
                        <a:rPr lang="en-US" sz="1400" dirty="0">
                          <a:latin typeface="Arial" panose="020B0604020202020204" pitchFamily="34" charset="0"/>
                          <a:cs typeface="Arial" panose="020B0604020202020204" pitchFamily="34" charset="0"/>
                        </a:rPr>
                        <a:t>Prior </a:t>
                      </a:r>
                      <a:r>
                        <a:rPr lang="en-US" sz="1400" dirty="0" err="1">
                          <a:latin typeface="Arial" panose="020B0604020202020204" pitchFamily="34" charset="0"/>
                          <a:cs typeface="Arial" panose="020B0604020202020204" pitchFamily="34" charset="0"/>
                        </a:rPr>
                        <a:t>Allo</a:t>
                      </a:r>
                      <a:endParaRPr lang="en-US" sz="1400" dirty="0">
                        <a:latin typeface="Arial" panose="020B0604020202020204" pitchFamily="34" charset="0"/>
                        <a:cs typeface="Arial" panose="020B0604020202020204" pitchFamily="34" charset="0"/>
                      </a:endParaRP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DLBCL, Transformed FL</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extLst>
                  <a:ext uri="{0D108BD9-81ED-4DB2-BD59-A6C34878D82A}">
                    <a16:rowId xmlns:a16="http://schemas.microsoft.com/office/drawing/2014/main" val="3865184801"/>
                  </a:ext>
                </a:extLst>
              </a:tr>
              <a:tr h="467135">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r>
                        <a:rPr lang="en-US" sz="1400" b="1" dirty="0">
                          <a:latin typeface="Arial" panose="020B0604020202020204" pitchFamily="34" charset="0"/>
                          <a:cs typeface="Arial" panose="020B0604020202020204" pitchFamily="34" charset="0"/>
                        </a:rPr>
                        <a:t>Median Age </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58 (23-76)</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63 (18-86)</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56 (22-76)</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extLst>
                  <a:ext uri="{0D108BD9-81ED-4DB2-BD59-A6C34878D82A}">
                    <a16:rowId xmlns:a16="http://schemas.microsoft.com/office/drawing/2014/main" val="1448314246"/>
                  </a:ext>
                </a:extLst>
              </a:tr>
              <a:tr h="467135">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r>
                        <a:rPr lang="en-US" sz="1400" b="1" dirty="0">
                          <a:latin typeface="Arial" panose="020B0604020202020204" pitchFamily="34" charset="0"/>
                          <a:cs typeface="Arial" panose="020B0604020202020204" pitchFamily="34" charset="0"/>
                        </a:rPr>
                        <a:t>Median prior LOT </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3</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3</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2 (44%), 3 (31%)</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extLst>
                  <a:ext uri="{0D108BD9-81ED-4DB2-BD59-A6C34878D82A}">
                    <a16:rowId xmlns:a16="http://schemas.microsoft.com/office/drawing/2014/main" val="4193131100"/>
                  </a:ext>
                </a:extLst>
              </a:tr>
              <a:tr h="467135">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r>
                        <a:rPr lang="en-US" sz="1400" b="1" dirty="0">
                          <a:latin typeface="Arial" panose="020B0604020202020204" pitchFamily="34" charset="0"/>
                          <a:cs typeface="Arial" panose="020B0604020202020204" pitchFamily="34" charset="0"/>
                        </a:rPr>
                        <a:t>Refractory/Prior ASCT (%) </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100/23</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67/35</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 55/49</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extLst>
                  <a:ext uri="{0D108BD9-81ED-4DB2-BD59-A6C34878D82A}">
                    <a16:rowId xmlns:a16="http://schemas.microsoft.com/office/drawing/2014/main" val="4050436685"/>
                  </a:ext>
                </a:extLst>
              </a:tr>
            </a:tbl>
          </a:graphicData>
        </a:graphic>
      </p:graphicFrame>
      <p:sp>
        <p:nvSpPr>
          <p:cNvPr id="6" name="TextBox 5">
            <a:extLst>
              <a:ext uri="{FF2B5EF4-FFF2-40B4-BE49-F238E27FC236}">
                <a16:creationId xmlns:a16="http://schemas.microsoft.com/office/drawing/2014/main" id="{FFCFD1E5-526B-64DD-B9AF-88947AE0521C}"/>
              </a:ext>
            </a:extLst>
          </p:cNvPr>
          <p:cNvSpPr txBox="1"/>
          <p:nvPr/>
        </p:nvSpPr>
        <p:spPr>
          <a:xfrm>
            <a:off x="1961421" y="3582258"/>
            <a:ext cx="8269161" cy="1320776"/>
          </a:xfrm>
          <a:prstGeom prst="rect">
            <a:avLst/>
          </a:prstGeom>
          <a:noFill/>
          <a:ln w="38100">
            <a:solidFill>
              <a:srgbClr val="CD113B"/>
            </a:solidFill>
          </a:ln>
        </p:spPr>
        <p:txBody>
          <a:bodyPr wrap="square" rtlCol="0">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aramond" pitchFamily="18" charset="0"/>
              <a:ea typeface="+mn-ea"/>
              <a:cs typeface="+mn-cs"/>
            </a:endParaRPr>
          </a:p>
        </p:txBody>
      </p:sp>
      <p:sp>
        <p:nvSpPr>
          <p:cNvPr id="7" name="TextBox 6">
            <a:extLst>
              <a:ext uri="{FF2B5EF4-FFF2-40B4-BE49-F238E27FC236}">
                <a16:creationId xmlns:a16="http://schemas.microsoft.com/office/drawing/2014/main" id="{65AE625C-54DD-E4D1-9173-BF6E2013BC15}"/>
              </a:ext>
            </a:extLst>
          </p:cNvPr>
          <p:cNvSpPr txBox="1"/>
          <p:nvPr/>
        </p:nvSpPr>
        <p:spPr>
          <a:xfrm>
            <a:off x="8412254" y="6430057"/>
            <a:ext cx="2255746" cy="461665"/>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ocke FL, et al. Lancet Oncol. 2019;20:31-42</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chuster, et al. Lancet </a:t>
            </a:r>
            <a:r>
              <a:rPr kumimoji="0" lang="en-US" sz="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nc</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021</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bramson JS, et al. Lancet 2020 </a:t>
            </a:r>
          </a:p>
        </p:txBody>
      </p:sp>
      <p:sp>
        <p:nvSpPr>
          <p:cNvPr id="3" name="Oval 2">
            <a:extLst>
              <a:ext uri="{FF2B5EF4-FFF2-40B4-BE49-F238E27FC236}">
                <a16:creationId xmlns:a16="http://schemas.microsoft.com/office/drawing/2014/main" id="{B711558A-BA91-4A4D-7ECB-793066968BA1}"/>
              </a:ext>
            </a:extLst>
          </p:cNvPr>
          <p:cNvSpPr/>
          <p:nvPr/>
        </p:nvSpPr>
        <p:spPr>
          <a:xfrm>
            <a:off x="6606209" y="4903034"/>
            <a:ext cx="1106557" cy="570115"/>
          </a:xfrm>
          <a:prstGeom prst="ellipse">
            <a:avLst/>
          </a:prstGeom>
          <a:noFill/>
          <a:ln w="762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54067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91DA2C-6B42-6883-1276-1683DADDAB93}"/>
              </a:ext>
            </a:extLst>
          </p:cNvPr>
          <p:cNvSpPr>
            <a:spLocks noGrp="1"/>
          </p:cNvSpPr>
          <p:nvPr>
            <p:ph type="title"/>
          </p:nvPr>
        </p:nvSpPr>
        <p:spPr>
          <a:xfrm>
            <a:off x="1921002" y="267591"/>
            <a:ext cx="7886700" cy="598042"/>
          </a:xfrm>
        </p:spPr>
        <p:txBody>
          <a:bodyPr>
            <a:normAutofit/>
          </a:bodyPr>
          <a:lstStyle/>
          <a:p>
            <a:r>
              <a:rPr lang="en-US" sz="2800" dirty="0">
                <a:latin typeface="Arial" panose="020B0604020202020204" pitchFamily="34" charset="0"/>
                <a:cs typeface="Arial" panose="020B0604020202020204" pitchFamily="34" charset="0"/>
              </a:rPr>
              <a:t>                          Efficacy and Safety</a:t>
            </a:r>
          </a:p>
        </p:txBody>
      </p:sp>
      <p:graphicFrame>
        <p:nvGraphicFramePr>
          <p:cNvPr id="5" name="Content Placeholder 2">
            <a:extLst>
              <a:ext uri="{FF2B5EF4-FFF2-40B4-BE49-F238E27FC236}">
                <a16:creationId xmlns:a16="http://schemas.microsoft.com/office/drawing/2014/main" id="{181727DB-A965-F20C-B66A-1B89DCB8E366}"/>
              </a:ext>
            </a:extLst>
          </p:cNvPr>
          <p:cNvGraphicFramePr>
            <a:graphicFrameLocks/>
          </p:cNvGraphicFramePr>
          <p:nvPr/>
        </p:nvGraphicFramePr>
        <p:xfrm>
          <a:off x="1921762" y="1036321"/>
          <a:ext cx="8995956" cy="4939622"/>
        </p:xfrm>
        <a:graphic>
          <a:graphicData uri="http://schemas.openxmlformats.org/drawingml/2006/table">
            <a:tbl>
              <a:tblPr firstRow="1" bandRow="1">
                <a:gradFill rotWithShape="1">
                  <a:gsLst>
                    <a:gs pos="0">
                      <a:srgbClr val="4F81BD">
                        <a:tint val="50000"/>
                        <a:satMod val="300000"/>
                      </a:srgbClr>
                    </a:gs>
                    <a:gs pos="35000">
                      <a:srgbClr val="4F81BD">
                        <a:tint val="37000"/>
                        <a:satMod val="300000"/>
                      </a:srgbClr>
                    </a:gs>
                    <a:gs pos="100000">
                      <a:srgbClr val="4F81BD">
                        <a:tint val="15000"/>
                        <a:satMod val="350000"/>
                      </a:srgbClr>
                    </a:gs>
                  </a:gsLst>
                  <a:lin ang="16200000" scaled="1"/>
                </a:gradFill>
                <a:effectLst>
                  <a:outerShdw blurRad="40000" dist="20000" dir="5400000" rotWithShape="0">
                    <a:srgbClr val="000000">
                      <a:alpha val="38000"/>
                    </a:srgbClr>
                  </a:outerShdw>
                </a:effectLst>
              </a:tblPr>
              <a:tblGrid>
                <a:gridCol w="2248989">
                  <a:extLst>
                    <a:ext uri="{9D8B030D-6E8A-4147-A177-3AD203B41FA5}">
                      <a16:colId xmlns:a16="http://schemas.microsoft.com/office/drawing/2014/main" val="46333049"/>
                    </a:ext>
                  </a:extLst>
                </a:gridCol>
                <a:gridCol w="2248989">
                  <a:extLst>
                    <a:ext uri="{9D8B030D-6E8A-4147-A177-3AD203B41FA5}">
                      <a16:colId xmlns:a16="http://schemas.microsoft.com/office/drawing/2014/main" val="2677299999"/>
                    </a:ext>
                  </a:extLst>
                </a:gridCol>
                <a:gridCol w="2503923">
                  <a:extLst>
                    <a:ext uri="{9D8B030D-6E8A-4147-A177-3AD203B41FA5}">
                      <a16:colId xmlns:a16="http://schemas.microsoft.com/office/drawing/2014/main" val="1797481677"/>
                    </a:ext>
                  </a:extLst>
                </a:gridCol>
                <a:gridCol w="1994055">
                  <a:extLst>
                    <a:ext uri="{9D8B030D-6E8A-4147-A177-3AD203B41FA5}">
                      <a16:colId xmlns:a16="http://schemas.microsoft.com/office/drawing/2014/main" val="4065930168"/>
                    </a:ext>
                  </a:extLst>
                </a:gridCol>
              </a:tblGrid>
              <a:tr h="577931">
                <a:tc>
                  <a:txBody>
                    <a:bodyPr/>
                    <a:lstStyle>
                      <a:lvl1pPr marL="0" algn="l" defTabSz="685800" rtl="0" eaLnBrk="1" latinLnBrk="0" hangingPunct="1">
                        <a:defRPr sz="1350" b="1" kern="1200">
                          <a:solidFill>
                            <a:schemeClr val="lt1"/>
                          </a:solidFill>
                          <a:latin typeface="Calibri"/>
                        </a:defRPr>
                      </a:lvl1pPr>
                      <a:lvl2pPr marL="342900" algn="l" defTabSz="685800" rtl="0" eaLnBrk="1" latinLnBrk="0" hangingPunct="1">
                        <a:defRPr sz="1350" b="1" kern="1200">
                          <a:solidFill>
                            <a:schemeClr val="lt1"/>
                          </a:solidFill>
                          <a:latin typeface="Calibri"/>
                        </a:defRPr>
                      </a:lvl2pPr>
                      <a:lvl3pPr marL="685800" algn="l" defTabSz="685800" rtl="0" eaLnBrk="1" latinLnBrk="0" hangingPunct="1">
                        <a:defRPr sz="1350" b="1" kern="1200">
                          <a:solidFill>
                            <a:schemeClr val="lt1"/>
                          </a:solidFill>
                          <a:latin typeface="Calibri"/>
                        </a:defRPr>
                      </a:lvl3pPr>
                      <a:lvl4pPr marL="1028700" algn="l" defTabSz="685800" rtl="0" eaLnBrk="1" latinLnBrk="0" hangingPunct="1">
                        <a:defRPr sz="1350" b="1" kern="1200">
                          <a:solidFill>
                            <a:schemeClr val="lt1"/>
                          </a:solidFill>
                          <a:latin typeface="Calibri"/>
                        </a:defRPr>
                      </a:lvl4pPr>
                      <a:lvl5pPr marL="1371600" algn="l" defTabSz="685800" rtl="0" eaLnBrk="1" latinLnBrk="0" hangingPunct="1">
                        <a:defRPr sz="1350" b="1" kern="1200">
                          <a:solidFill>
                            <a:schemeClr val="lt1"/>
                          </a:solidFill>
                          <a:latin typeface="Calibri"/>
                        </a:defRPr>
                      </a:lvl5pPr>
                      <a:lvl6pPr marL="1714500" algn="l" defTabSz="685800" rtl="0" eaLnBrk="1" latinLnBrk="0" hangingPunct="1">
                        <a:defRPr sz="1350" b="1" kern="1200">
                          <a:solidFill>
                            <a:schemeClr val="lt1"/>
                          </a:solidFill>
                          <a:latin typeface="Calibri"/>
                        </a:defRPr>
                      </a:lvl6pPr>
                      <a:lvl7pPr marL="2057400" algn="l" defTabSz="685800" rtl="0" eaLnBrk="1" latinLnBrk="0" hangingPunct="1">
                        <a:defRPr sz="1350" b="1" kern="1200">
                          <a:solidFill>
                            <a:schemeClr val="lt1"/>
                          </a:solidFill>
                          <a:latin typeface="Calibri"/>
                        </a:defRPr>
                      </a:lvl7pPr>
                      <a:lvl8pPr marL="2400300" algn="l" defTabSz="685800" rtl="0" eaLnBrk="1" latinLnBrk="0" hangingPunct="1">
                        <a:defRPr sz="1350" b="1" kern="1200">
                          <a:solidFill>
                            <a:schemeClr val="lt1"/>
                          </a:solidFill>
                          <a:latin typeface="Calibri"/>
                        </a:defRPr>
                      </a:lvl8pPr>
                      <a:lvl9pPr marL="2743200" algn="l" defTabSz="685800" rtl="0" eaLnBrk="1" latinLnBrk="0" hangingPunct="1">
                        <a:defRPr sz="1350" b="1" kern="1200">
                          <a:solidFill>
                            <a:schemeClr val="lt1"/>
                          </a:solidFill>
                          <a:latin typeface="Calibri"/>
                        </a:defRPr>
                      </a:lvl9pPr>
                    </a:lstStyle>
                    <a:p>
                      <a:endParaRPr lang="en-US" sz="1400" dirty="0">
                        <a:solidFill>
                          <a:schemeClr val="tx2">
                            <a:lumMod val="75000"/>
                          </a:schemeClr>
                        </a:solidFill>
                        <a:latin typeface="Arial" panose="020B0604020202020204" pitchFamily="34" charset="0"/>
                        <a:cs typeface="Arial" panose="020B0604020202020204" pitchFamily="34" charset="0"/>
                      </a:endParaRPr>
                    </a:p>
                  </a:txBody>
                  <a:tcPr marL="68580" marR="68580" marT="34290" marB="34290">
                    <a:lnL w="9525" cap="flat" cmpd="sng" algn="ctr">
                      <a:solidFill>
                        <a:srgbClr val="4F81BD">
                          <a:shade val="95000"/>
                          <a:satMod val="105000"/>
                        </a:srgbClr>
                      </a:solidFill>
                      <a:prstDash val="solid"/>
                    </a:lnL>
                    <a:lnR>
                      <a:noFill/>
                    </a:lnR>
                    <a:lnT w="9525" cap="flat" cmpd="sng" algn="ctr">
                      <a:solidFill>
                        <a:srgbClr val="4F81BD">
                          <a:shade val="95000"/>
                          <a:satMod val="105000"/>
                        </a:srgbClr>
                      </a:solidFill>
                      <a:prstDash val="solid"/>
                    </a:lnT>
                    <a:lnB w="25400" cap="flat" cmpd="sng" algn="ctr">
                      <a:solidFill>
                        <a:sysClr val="window" lastClr="FFFFFF"/>
                      </a:solidFill>
                      <a:prstDash val="solid"/>
                    </a:lnB>
                    <a:lnTlToBr w="12700" cmpd="sng">
                      <a:noFill/>
                      <a:prstDash val="solid"/>
                    </a:lnTlToBr>
                    <a:lnBlToTr w="12700" cmpd="sng">
                      <a:noFill/>
                      <a:prstDash val="solid"/>
                    </a:lnBlToTr>
                    <a:solidFill>
                      <a:srgbClr val="4F81BD"/>
                    </a:solidFill>
                  </a:tcPr>
                </a:tc>
                <a:tc>
                  <a:txBody>
                    <a:bodyPr/>
                    <a:lstStyle>
                      <a:lvl1pPr marL="0" algn="l" defTabSz="685800" rtl="0" eaLnBrk="1" latinLnBrk="0" hangingPunct="1">
                        <a:defRPr sz="1350" b="1" kern="1200">
                          <a:solidFill>
                            <a:schemeClr val="lt1"/>
                          </a:solidFill>
                          <a:latin typeface="Calibri"/>
                        </a:defRPr>
                      </a:lvl1pPr>
                      <a:lvl2pPr marL="342900" algn="l" defTabSz="685800" rtl="0" eaLnBrk="1" latinLnBrk="0" hangingPunct="1">
                        <a:defRPr sz="1350" b="1" kern="1200">
                          <a:solidFill>
                            <a:schemeClr val="lt1"/>
                          </a:solidFill>
                          <a:latin typeface="Calibri"/>
                        </a:defRPr>
                      </a:lvl2pPr>
                      <a:lvl3pPr marL="685800" algn="l" defTabSz="685800" rtl="0" eaLnBrk="1" latinLnBrk="0" hangingPunct="1">
                        <a:defRPr sz="1350" b="1" kern="1200">
                          <a:solidFill>
                            <a:schemeClr val="lt1"/>
                          </a:solidFill>
                          <a:latin typeface="Calibri"/>
                        </a:defRPr>
                      </a:lvl3pPr>
                      <a:lvl4pPr marL="1028700" algn="l" defTabSz="685800" rtl="0" eaLnBrk="1" latinLnBrk="0" hangingPunct="1">
                        <a:defRPr sz="1350" b="1" kern="1200">
                          <a:solidFill>
                            <a:schemeClr val="lt1"/>
                          </a:solidFill>
                          <a:latin typeface="Calibri"/>
                        </a:defRPr>
                      </a:lvl4pPr>
                      <a:lvl5pPr marL="1371600" algn="l" defTabSz="685800" rtl="0" eaLnBrk="1" latinLnBrk="0" hangingPunct="1">
                        <a:defRPr sz="1350" b="1" kern="1200">
                          <a:solidFill>
                            <a:schemeClr val="lt1"/>
                          </a:solidFill>
                          <a:latin typeface="Calibri"/>
                        </a:defRPr>
                      </a:lvl5pPr>
                      <a:lvl6pPr marL="1714500" algn="l" defTabSz="685800" rtl="0" eaLnBrk="1" latinLnBrk="0" hangingPunct="1">
                        <a:defRPr sz="1350" b="1" kern="1200">
                          <a:solidFill>
                            <a:schemeClr val="lt1"/>
                          </a:solidFill>
                          <a:latin typeface="Calibri"/>
                        </a:defRPr>
                      </a:lvl6pPr>
                      <a:lvl7pPr marL="2057400" algn="l" defTabSz="685800" rtl="0" eaLnBrk="1" latinLnBrk="0" hangingPunct="1">
                        <a:defRPr sz="1350" b="1" kern="1200">
                          <a:solidFill>
                            <a:schemeClr val="lt1"/>
                          </a:solidFill>
                          <a:latin typeface="Calibri"/>
                        </a:defRPr>
                      </a:lvl7pPr>
                      <a:lvl8pPr marL="2400300" algn="l" defTabSz="685800" rtl="0" eaLnBrk="1" latinLnBrk="0" hangingPunct="1">
                        <a:defRPr sz="1350" b="1" kern="1200">
                          <a:solidFill>
                            <a:schemeClr val="lt1"/>
                          </a:solidFill>
                          <a:latin typeface="Calibri"/>
                        </a:defRPr>
                      </a:lvl8pPr>
                      <a:lvl9pPr marL="2743200" algn="l" defTabSz="685800" rtl="0" eaLnBrk="1" latinLnBrk="0" hangingPunct="1">
                        <a:defRPr sz="1350" b="1" kern="1200">
                          <a:solidFill>
                            <a:schemeClr val="lt1"/>
                          </a:solidFill>
                          <a:latin typeface="Calibri"/>
                        </a:defRPr>
                      </a:lvl9pPr>
                    </a:lstStyle>
                    <a:p>
                      <a:pPr algn="ctr"/>
                      <a:r>
                        <a:rPr lang="en-US" sz="1400" b="1" dirty="0">
                          <a:latin typeface="Arial" panose="020B0604020202020204" pitchFamily="34" charset="0"/>
                          <a:cs typeface="Arial" panose="020B0604020202020204" pitchFamily="34" charset="0"/>
                        </a:rPr>
                        <a:t>ZUMA-1 </a:t>
                      </a:r>
                      <a:br>
                        <a:rPr lang="en-US" sz="1400" b="1" dirty="0">
                          <a:latin typeface="Arial" panose="020B0604020202020204" pitchFamily="34" charset="0"/>
                          <a:cs typeface="Arial" panose="020B0604020202020204" pitchFamily="34" charset="0"/>
                        </a:rPr>
                      </a:br>
                      <a:r>
                        <a:rPr lang="en-US" sz="1400" b="1" dirty="0" err="1">
                          <a:latin typeface="Arial" panose="020B0604020202020204" pitchFamily="34" charset="0"/>
                          <a:cs typeface="Arial" panose="020B0604020202020204" pitchFamily="34" charset="0"/>
                        </a:rPr>
                        <a:t>Axicabtagene</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Ciloleucel</a:t>
                      </a:r>
                      <a:endParaRPr lang="en-US" sz="1400" b="1" dirty="0">
                        <a:latin typeface="Arial" panose="020B0604020202020204" pitchFamily="34" charset="0"/>
                        <a:cs typeface="Arial" panose="020B0604020202020204" pitchFamily="34" charset="0"/>
                      </a:endParaRPr>
                    </a:p>
                  </a:txBody>
                  <a:tcPr marL="68580" marR="68580" marT="34290" marB="34290">
                    <a:lnL>
                      <a:noFill/>
                    </a:lnL>
                    <a:lnR>
                      <a:noFill/>
                    </a:lnR>
                    <a:lnT w="9525" cap="flat" cmpd="sng" algn="ctr">
                      <a:solidFill>
                        <a:srgbClr val="4F81BD">
                          <a:shade val="95000"/>
                          <a:satMod val="105000"/>
                        </a:srgbClr>
                      </a:solidFill>
                      <a:prstDash val="solid"/>
                    </a:lnT>
                    <a:lnB w="25400" cap="flat" cmpd="sng" algn="ctr">
                      <a:solidFill>
                        <a:sysClr val="window" lastClr="FFFFFF"/>
                      </a:solidFill>
                      <a:prstDash val="solid"/>
                    </a:lnB>
                    <a:lnTlToBr w="12700" cmpd="sng">
                      <a:noFill/>
                      <a:prstDash val="solid"/>
                    </a:lnTlToBr>
                    <a:lnBlToTr w="12700" cmpd="sng">
                      <a:noFill/>
                      <a:prstDash val="solid"/>
                    </a:lnBlToTr>
                    <a:solidFill>
                      <a:srgbClr val="4F81BD"/>
                    </a:solidFill>
                  </a:tcPr>
                </a:tc>
                <a:tc>
                  <a:txBody>
                    <a:bodyPr/>
                    <a:lstStyle>
                      <a:lvl1pPr marL="0" algn="l" defTabSz="685800" rtl="0" eaLnBrk="1" latinLnBrk="0" hangingPunct="1">
                        <a:defRPr sz="1350" b="1" kern="1200">
                          <a:solidFill>
                            <a:schemeClr val="lt1"/>
                          </a:solidFill>
                          <a:latin typeface="Calibri"/>
                        </a:defRPr>
                      </a:lvl1pPr>
                      <a:lvl2pPr marL="342900" algn="l" defTabSz="685800" rtl="0" eaLnBrk="1" latinLnBrk="0" hangingPunct="1">
                        <a:defRPr sz="1350" b="1" kern="1200">
                          <a:solidFill>
                            <a:schemeClr val="lt1"/>
                          </a:solidFill>
                          <a:latin typeface="Calibri"/>
                        </a:defRPr>
                      </a:lvl2pPr>
                      <a:lvl3pPr marL="685800" algn="l" defTabSz="685800" rtl="0" eaLnBrk="1" latinLnBrk="0" hangingPunct="1">
                        <a:defRPr sz="1350" b="1" kern="1200">
                          <a:solidFill>
                            <a:schemeClr val="lt1"/>
                          </a:solidFill>
                          <a:latin typeface="Calibri"/>
                        </a:defRPr>
                      </a:lvl3pPr>
                      <a:lvl4pPr marL="1028700" algn="l" defTabSz="685800" rtl="0" eaLnBrk="1" latinLnBrk="0" hangingPunct="1">
                        <a:defRPr sz="1350" b="1" kern="1200">
                          <a:solidFill>
                            <a:schemeClr val="lt1"/>
                          </a:solidFill>
                          <a:latin typeface="Calibri"/>
                        </a:defRPr>
                      </a:lvl4pPr>
                      <a:lvl5pPr marL="1371600" algn="l" defTabSz="685800" rtl="0" eaLnBrk="1" latinLnBrk="0" hangingPunct="1">
                        <a:defRPr sz="1350" b="1" kern="1200">
                          <a:solidFill>
                            <a:schemeClr val="lt1"/>
                          </a:solidFill>
                          <a:latin typeface="Calibri"/>
                        </a:defRPr>
                      </a:lvl5pPr>
                      <a:lvl6pPr marL="1714500" algn="l" defTabSz="685800" rtl="0" eaLnBrk="1" latinLnBrk="0" hangingPunct="1">
                        <a:defRPr sz="1350" b="1" kern="1200">
                          <a:solidFill>
                            <a:schemeClr val="lt1"/>
                          </a:solidFill>
                          <a:latin typeface="Calibri"/>
                        </a:defRPr>
                      </a:lvl6pPr>
                      <a:lvl7pPr marL="2057400" algn="l" defTabSz="685800" rtl="0" eaLnBrk="1" latinLnBrk="0" hangingPunct="1">
                        <a:defRPr sz="1350" b="1" kern="1200">
                          <a:solidFill>
                            <a:schemeClr val="lt1"/>
                          </a:solidFill>
                          <a:latin typeface="Calibri"/>
                        </a:defRPr>
                      </a:lvl7pPr>
                      <a:lvl8pPr marL="2400300" algn="l" defTabSz="685800" rtl="0" eaLnBrk="1" latinLnBrk="0" hangingPunct="1">
                        <a:defRPr sz="1350" b="1" kern="1200">
                          <a:solidFill>
                            <a:schemeClr val="lt1"/>
                          </a:solidFill>
                          <a:latin typeface="Calibri"/>
                        </a:defRPr>
                      </a:lvl8pPr>
                      <a:lvl9pPr marL="2743200" algn="l" defTabSz="685800" rtl="0" eaLnBrk="1" latinLnBrk="0" hangingPunct="1">
                        <a:defRPr sz="1350" b="1" kern="1200">
                          <a:solidFill>
                            <a:schemeClr val="lt1"/>
                          </a:solidFill>
                          <a:latin typeface="Calibri"/>
                        </a:defRPr>
                      </a:lvl9pPr>
                    </a:lstStyle>
                    <a:p>
                      <a:pPr algn="ctr"/>
                      <a:r>
                        <a:rPr lang="en-US" sz="1400" b="1" dirty="0">
                          <a:latin typeface="Arial" panose="020B0604020202020204" pitchFamily="34" charset="0"/>
                          <a:cs typeface="Arial" panose="020B0604020202020204" pitchFamily="34" charset="0"/>
                        </a:rPr>
                        <a:t>TRANSCEND</a:t>
                      </a:r>
                    </a:p>
                    <a:p>
                      <a:pPr algn="ctr"/>
                      <a:r>
                        <a:rPr lang="en-US" sz="1400" b="1" dirty="0" err="1">
                          <a:latin typeface="Arial" panose="020B0604020202020204" pitchFamily="34" charset="0"/>
                          <a:cs typeface="Arial" panose="020B0604020202020204" pitchFamily="34" charset="0"/>
                        </a:rPr>
                        <a:t>Lisocabtagene</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Maraleucel</a:t>
                      </a:r>
                      <a:endParaRPr lang="en-US" sz="1400" b="1" dirty="0">
                        <a:latin typeface="Arial" panose="020B0604020202020204" pitchFamily="34" charset="0"/>
                        <a:cs typeface="Arial" panose="020B0604020202020204" pitchFamily="34" charset="0"/>
                      </a:endParaRPr>
                    </a:p>
                  </a:txBody>
                  <a:tcPr marL="68580" marR="68580" marT="34290" marB="34290">
                    <a:lnL>
                      <a:noFill/>
                    </a:lnL>
                    <a:lnR>
                      <a:noFill/>
                    </a:lnR>
                    <a:lnT w="9525" cap="flat" cmpd="sng" algn="ctr">
                      <a:solidFill>
                        <a:srgbClr val="4F81BD">
                          <a:shade val="95000"/>
                          <a:satMod val="105000"/>
                        </a:srgbClr>
                      </a:solidFill>
                      <a:prstDash val="solid"/>
                    </a:lnT>
                    <a:lnB w="25400" cap="flat" cmpd="sng" algn="ctr">
                      <a:solidFill>
                        <a:sysClr val="window" lastClr="FFFFFF"/>
                      </a:solidFill>
                      <a:prstDash val="solid"/>
                    </a:lnB>
                    <a:lnTlToBr w="12700" cmpd="sng">
                      <a:noFill/>
                      <a:prstDash val="solid"/>
                    </a:lnTlToBr>
                    <a:lnBlToTr w="12700" cmpd="sng">
                      <a:noFill/>
                      <a:prstDash val="solid"/>
                    </a:lnBlToTr>
                    <a:solidFill>
                      <a:srgbClr val="4F81BD"/>
                    </a:solidFill>
                  </a:tcPr>
                </a:tc>
                <a:tc>
                  <a:txBody>
                    <a:bodyPr/>
                    <a:lstStyle>
                      <a:lvl1pPr marL="0" algn="l" defTabSz="685800" rtl="0" eaLnBrk="1" latinLnBrk="0" hangingPunct="1">
                        <a:defRPr sz="1350" b="1" kern="1200">
                          <a:solidFill>
                            <a:schemeClr val="lt1"/>
                          </a:solidFill>
                          <a:latin typeface="Calibri"/>
                        </a:defRPr>
                      </a:lvl1pPr>
                      <a:lvl2pPr marL="342900" algn="l" defTabSz="685800" rtl="0" eaLnBrk="1" latinLnBrk="0" hangingPunct="1">
                        <a:defRPr sz="1350" b="1" kern="1200">
                          <a:solidFill>
                            <a:schemeClr val="lt1"/>
                          </a:solidFill>
                          <a:latin typeface="Calibri"/>
                        </a:defRPr>
                      </a:lvl2pPr>
                      <a:lvl3pPr marL="685800" algn="l" defTabSz="685800" rtl="0" eaLnBrk="1" latinLnBrk="0" hangingPunct="1">
                        <a:defRPr sz="1350" b="1" kern="1200">
                          <a:solidFill>
                            <a:schemeClr val="lt1"/>
                          </a:solidFill>
                          <a:latin typeface="Calibri"/>
                        </a:defRPr>
                      </a:lvl3pPr>
                      <a:lvl4pPr marL="1028700" algn="l" defTabSz="685800" rtl="0" eaLnBrk="1" latinLnBrk="0" hangingPunct="1">
                        <a:defRPr sz="1350" b="1" kern="1200">
                          <a:solidFill>
                            <a:schemeClr val="lt1"/>
                          </a:solidFill>
                          <a:latin typeface="Calibri"/>
                        </a:defRPr>
                      </a:lvl4pPr>
                      <a:lvl5pPr marL="1371600" algn="l" defTabSz="685800" rtl="0" eaLnBrk="1" latinLnBrk="0" hangingPunct="1">
                        <a:defRPr sz="1350" b="1" kern="1200">
                          <a:solidFill>
                            <a:schemeClr val="lt1"/>
                          </a:solidFill>
                          <a:latin typeface="Calibri"/>
                        </a:defRPr>
                      </a:lvl5pPr>
                      <a:lvl6pPr marL="1714500" algn="l" defTabSz="685800" rtl="0" eaLnBrk="1" latinLnBrk="0" hangingPunct="1">
                        <a:defRPr sz="1350" b="1" kern="1200">
                          <a:solidFill>
                            <a:schemeClr val="lt1"/>
                          </a:solidFill>
                          <a:latin typeface="Calibri"/>
                        </a:defRPr>
                      </a:lvl6pPr>
                      <a:lvl7pPr marL="2057400" algn="l" defTabSz="685800" rtl="0" eaLnBrk="1" latinLnBrk="0" hangingPunct="1">
                        <a:defRPr sz="1350" b="1" kern="1200">
                          <a:solidFill>
                            <a:schemeClr val="lt1"/>
                          </a:solidFill>
                          <a:latin typeface="Calibri"/>
                        </a:defRPr>
                      </a:lvl7pPr>
                      <a:lvl8pPr marL="2400300" algn="l" defTabSz="685800" rtl="0" eaLnBrk="1" latinLnBrk="0" hangingPunct="1">
                        <a:defRPr sz="1350" b="1" kern="1200">
                          <a:solidFill>
                            <a:schemeClr val="lt1"/>
                          </a:solidFill>
                          <a:latin typeface="Calibri"/>
                        </a:defRPr>
                      </a:lvl8pPr>
                      <a:lvl9pPr marL="2743200" algn="l" defTabSz="685800" rtl="0" eaLnBrk="1" latinLnBrk="0" hangingPunct="1">
                        <a:defRPr sz="1350" b="1" kern="1200">
                          <a:solidFill>
                            <a:schemeClr val="lt1"/>
                          </a:solidFill>
                          <a:latin typeface="Calibri"/>
                        </a:defRPr>
                      </a:lvl9pPr>
                    </a:lstStyle>
                    <a:p>
                      <a:pPr algn="ctr"/>
                      <a:r>
                        <a:rPr lang="en-US" sz="1400" b="1" dirty="0">
                          <a:latin typeface="Arial" panose="020B0604020202020204" pitchFamily="34" charset="0"/>
                          <a:cs typeface="Arial" panose="020B0604020202020204" pitchFamily="34" charset="0"/>
                        </a:rPr>
                        <a:t>JULIET</a:t>
                      </a:r>
                      <a:br>
                        <a:rPr lang="en-US" sz="1400" b="1" dirty="0">
                          <a:latin typeface="Arial" panose="020B0604020202020204" pitchFamily="34" charset="0"/>
                          <a:cs typeface="Arial" panose="020B0604020202020204" pitchFamily="34" charset="0"/>
                        </a:rPr>
                      </a:br>
                      <a:r>
                        <a:rPr lang="en-US" sz="1400" b="1" dirty="0" err="1">
                          <a:latin typeface="Arial" panose="020B0604020202020204" pitchFamily="34" charset="0"/>
                          <a:cs typeface="Arial" panose="020B0604020202020204" pitchFamily="34" charset="0"/>
                        </a:rPr>
                        <a:t>Tisagenlecleucel</a:t>
                      </a:r>
                      <a:endParaRPr lang="en-US" sz="1400" b="1" dirty="0">
                        <a:latin typeface="Arial" panose="020B0604020202020204" pitchFamily="34" charset="0"/>
                        <a:cs typeface="Arial" panose="020B0604020202020204" pitchFamily="34" charset="0"/>
                      </a:endParaRPr>
                    </a:p>
                  </a:txBody>
                  <a:tcPr marL="68580" marR="68580" marT="34290" marB="34290">
                    <a:lnL>
                      <a:noFill/>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25400" cap="flat" cmpd="sng" algn="ctr">
                      <a:solidFill>
                        <a:sysClr val="window" lastClr="FFFFFF"/>
                      </a:solidFill>
                      <a:prstDash val="solid"/>
                    </a:lnB>
                    <a:lnTlToBr w="12700" cmpd="sng">
                      <a:noFill/>
                      <a:prstDash val="solid"/>
                    </a:lnTlToBr>
                    <a:lnBlToTr w="12700" cmpd="sng">
                      <a:noFill/>
                      <a:prstDash val="solid"/>
                    </a:lnBlToTr>
                    <a:solidFill>
                      <a:srgbClr val="4F81BD"/>
                    </a:solidFill>
                  </a:tcPr>
                </a:tc>
                <a:extLst>
                  <a:ext uri="{0D108BD9-81ED-4DB2-BD59-A6C34878D82A}">
                    <a16:rowId xmlns:a16="http://schemas.microsoft.com/office/drawing/2014/main" val="2506505387"/>
                  </a:ext>
                </a:extLst>
              </a:tr>
              <a:tr h="493438">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r>
                        <a:rPr lang="en-US" sz="1400" b="1" dirty="0">
                          <a:latin typeface="Arial" panose="020B0604020202020204" pitchFamily="34" charset="0"/>
                          <a:cs typeface="Arial" panose="020B0604020202020204" pitchFamily="34" charset="0"/>
                        </a:rPr>
                        <a:t># Treated / Enrolled</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25400" cap="flat" cmpd="sng" algn="ctr">
                      <a:solidFill>
                        <a:sysClr val="window" lastClr="FFFFFF"/>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101/111</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25400" cap="flat" cmpd="sng" algn="ctr">
                      <a:solidFill>
                        <a:sysClr val="window" lastClr="FFFFFF"/>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269/344</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25400" cap="flat" cmpd="sng" algn="ctr">
                      <a:solidFill>
                        <a:sysClr val="window" lastClr="FFFFFF"/>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111/165</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25400" cap="flat" cmpd="sng" algn="ctr">
                      <a:solidFill>
                        <a:sysClr val="window" lastClr="FFFFFF"/>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extLst>
                  <a:ext uri="{0D108BD9-81ED-4DB2-BD59-A6C34878D82A}">
                    <a16:rowId xmlns:a16="http://schemas.microsoft.com/office/drawing/2014/main" val="1745854458"/>
                  </a:ext>
                </a:extLst>
              </a:tr>
              <a:tr h="493438">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r>
                        <a:rPr lang="en-US" sz="1400" b="1" dirty="0">
                          <a:latin typeface="Arial" panose="020B0604020202020204" pitchFamily="34" charset="0"/>
                          <a:cs typeface="Arial" panose="020B0604020202020204" pitchFamily="34" charset="0"/>
                        </a:rPr>
                        <a:t>ORR/CR (%) by IRC</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74/54</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73/53</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52/40</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extLst>
                  <a:ext uri="{0D108BD9-81ED-4DB2-BD59-A6C34878D82A}">
                    <a16:rowId xmlns:a16="http://schemas.microsoft.com/office/drawing/2014/main" val="2948129229"/>
                  </a:ext>
                </a:extLst>
              </a:tr>
              <a:tr h="493438">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r>
                        <a:rPr lang="en-US" sz="1400" b="1" dirty="0">
                          <a:latin typeface="Arial" panose="020B0604020202020204" pitchFamily="34" charset="0"/>
                          <a:cs typeface="Arial" panose="020B0604020202020204" pitchFamily="34" charset="0"/>
                        </a:rPr>
                        <a:t>Construct </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antiCD19-CD28-CD3z</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antiCD19-41BB-CD3z</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antiCD19-41BB-CD3z</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extLst>
                  <a:ext uri="{0D108BD9-81ED-4DB2-BD59-A6C34878D82A}">
                    <a16:rowId xmlns:a16="http://schemas.microsoft.com/office/drawing/2014/main" val="1874647314"/>
                  </a:ext>
                </a:extLst>
              </a:tr>
              <a:tr h="493438">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r>
                        <a:rPr lang="en-US" sz="1400" b="1" dirty="0">
                          <a:latin typeface="Arial" panose="020B0604020202020204" pitchFamily="34" charset="0"/>
                          <a:cs typeface="Arial" panose="020B0604020202020204" pitchFamily="34" charset="0"/>
                        </a:rPr>
                        <a:t>Toxicity grading scale</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Lee Criteria</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Lee Criteria </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Penn Criteria</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extLst>
                  <a:ext uri="{0D108BD9-81ED-4DB2-BD59-A6C34878D82A}">
                    <a16:rowId xmlns:a16="http://schemas.microsoft.com/office/drawing/2014/main" val="2510359467"/>
                  </a:ext>
                </a:extLst>
              </a:tr>
              <a:tr h="493438">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r>
                        <a:rPr lang="en-US" sz="1400" b="1" dirty="0">
                          <a:latin typeface="Arial" panose="020B0604020202020204" pitchFamily="34" charset="0"/>
                          <a:cs typeface="Arial" panose="020B0604020202020204" pitchFamily="34" charset="0"/>
                        </a:rPr>
                        <a:t>Median time to CRS onset</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2 days</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5 days </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3 days</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extLst>
                  <a:ext uri="{0D108BD9-81ED-4DB2-BD59-A6C34878D82A}">
                    <a16:rowId xmlns:a16="http://schemas.microsoft.com/office/drawing/2014/main" val="3865184801"/>
                  </a:ext>
                </a:extLst>
              </a:tr>
              <a:tr h="821270">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r>
                        <a:rPr lang="en-US" sz="1400" b="1" dirty="0">
                          <a:latin typeface="Arial" panose="020B0604020202020204" pitchFamily="34" charset="0"/>
                          <a:cs typeface="Arial" panose="020B0604020202020204" pitchFamily="34" charset="0"/>
                        </a:rPr>
                        <a:t>Any Grade/Gr ≥3</a:t>
                      </a:r>
                    </a:p>
                    <a:p>
                      <a:r>
                        <a:rPr lang="en-US" sz="1400" b="1" dirty="0">
                          <a:latin typeface="Arial" panose="020B0604020202020204" pitchFamily="34" charset="0"/>
                          <a:cs typeface="Arial" panose="020B0604020202020204" pitchFamily="34" charset="0"/>
                        </a:rPr>
                        <a:t>cytokine release syndrome (CRS) </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93% / 11%</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42% / 2%</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58% / 23%</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extLst>
                  <a:ext uri="{0D108BD9-81ED-4DB2-BD59-A6C34878D82A}">
                    <a16:rowId xmlns:a16="http://schemas.microsoft.com/office/drawing/2014/main" val="1448314246"/>
                  </a:ext>
                </a:extLst>
              </a:tr>
              <a:tr h="577931">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b="1" dirty="0">
                          <a:latin typeface="Arial" panose="020B0604020202020204" pitchFamily="34" charset="0"/>
                          <a:cs typeface="Arial" panose="020B0604020202020204" pitchFamily="34" charset="0"/>
                        </a:rPr>
                        <a:t>Any Gr/Gr ≥3</a:t>
                      </a:r>
                    </a:p>
                    <a:p>
                      <a:r>
                        <a:rPr lang="en-US" sz="1400" b="1" dirty="0">
                          <a:latin typeface="Arial" panose="020B0604020202020204" pitchFamily="34" charset="0"/>
                          <a:cs typeface="Arial" panose="020B0604020202020204" pitchFamily="34" charset="0"/>
                        </a:rPr>
                        <a:t>Neurotoxicity</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64% / 32%</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30% / 10%</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21% / 12%</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extLst>
                  <a:ext uri="{0D108BD9-81ED-4DB2-BD59-A6C34878D82A}">
                    <a16:rowId xmlns:a16="http://schemas.microsoft.com/office/drawing/2014/main" val="4193131100"/>
                  </a:ext>
                </a:extLst>
              </a:tr>
              <a:tr h="493438">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r>
                        <a:rPr lang="en-US" sz="1400" b="1" dirty="0">
                          <a:latin typeface="Arial" panose="020B0604020202020204" pitchFamily="34" charset="0"/>
                          <a:cs typeface="Arial" panose="020B0604020202020204" pitchFamily="34" charset="0"/>
                        </a:rPr>
                        <a:t>2yr PFS/OS</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42% / 51%</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41% / 51%</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30%/median 11m</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extLst>
                  <a:ext uri="{0D108BD9-81ED-4DB2-BD59-A6C34878D82A}">
                    <a16:rowId xmlns:a16="http://schemas.microsoft.com/office/drawing/2014/main" val="4050436685"/>
                  </a:ext>
                </a:extLst>
              </a:tr>
            </a:tbl>
          </a:graphicData>
        </a:graphic>
      </p:graphicFrame>
      <p:sp>
        <p:nvSpPr>
          <p:cNvPr id="6" name="TextBox 5">
            <a:extLst>
              <a:ext uri="{FF2B5EF4-FFF2-40B4-BE49-F238E27FC236}">
                <a16:creationId xmlns:a16="http://schemas.microsoft.com/office/drawing/2014/main" id="{0E89324F-1FBD-7C46-D66B-4361650A3BDA}"/>
              </a:ext>
            </a:extLst>
          </p:cNvPr>
          <p:cNvSpPr txBox="1"/>
          <p:nvPr/>
        </p:nvSpPr>
        <p:spPr>
          <a:xfrm>
            <a:off x="1921761" y="2126512"/>
            <a:ext cx="8995955" cy="499323"/>
          </a:xfrm>
          <a:prstGeom prst="rect">
            <a:avLst/>
          </a:prstGeom>
          <a:noFill/>
          <a:ln w="38100">
            <a:solidFill>
              <a:srgbClr val="CD113B"/>
            </a:solidFill>
          </a:ln>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aramond" pitchFamily="18" charset="0"/>
              <a:ea typeface="+mn-ea"/>
              <a:cs typeface="+mn-cs"/>
            </a:endParaRPr>
          </a:p>
        </p:txBody>
      </p:sp>
      <p:sp>
        <p:nvSpPr>
          <p:cNvPr id="7" name="TextBox 6">
            <a:extLst>
              <a:ext uri="{FF2B5EF4-FFF2-40B4-BE49-F238E27FC236}">
                <a16:creationId xmlns:a16="http://schemas.microsoft.com/office/drawing/2014/main" id="{24F28E62-E73C-3551-CBEE-B150DB28A952}"/>
              </a:ext>
            </a:extLst>
          </p:cNvPr>
          <p:cNvSpPr txBox="1"/>
          <p:nvPr/>
        </p:nvSpPr>
        <p:spPr>
          <a:xfrm>
            <a:off x="1921001" y="4092711"/>
            <a:ext cx="8995955" cy="1396721"/>
          </a:xfrm>
          <a:prstGeom prst="rect">
            <a:avLst/>
          </a:prstGeom>
          <a:noFill/>
          <a:ln w="38100">
            <a:solidFill>
              <a:srgbClr val="CD113B"/>
            </a:solidFill>
          </a:ln>
        </p:spPr>
        <p:txBody>
          <a:bodyPr wrap="square" rtlCol="0">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aramond" pitchFamily="18" charset="0"/>
              <a:ea typeface="+mn-ea"/>
              <a:cs typeface="+mn-cs"/>
            </a:endParaRPr>
          </a:p>
        </p:txBody>
      </p:sp>
      <p:sp>
        <p:nvSpPr>
          <p:cNvPr id="8" name="TextBox 7">
            <a:extLst>
              <a:ext uri="{FF2B5EF4-FFF2-40B4-BE49-F238E27FC236}">
                <a16:creationId xmlns:a16="http://schemas.microsoft.com/office/drawing/2014/main" id="{7CA5357E-9AF6-4623-A6F5-17F203DEE897}"/>
              </a:ext>
            </a:extLst>
          </p:cNvPr>
          <p:cNvSpPr txBox="1"/>
          <p:nvPr/>
        </p:nvSpPr>
        <p:spPr>
          <a:xfrm>
            <a:off x="8412254" y="6354822"/>
            <a:ext cx="2255746" cy="738664"/>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ocke FL, et al. Lancet Oncol. 2019;20:31-42</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chuster, et al. Lancet </a:t>
            </a:r>
            <a:r>
              <a:rPr kumimoji="0" lang="en-US" sz="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nc</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021</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bramson JS, et al. Lancet 2020 </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aramond" pitchFamily="18" charset="0"/>
              <a:ea typeface="+mn-ea"/>
              <a:cs typeface="+mn-cs"/>
            </a:endParaRPr>
          </a:p>
        </p:txBody>
      </p:sp>
    </p:spTree>
    <p:extLst>
      <p:ext uri="{BB962C8B-B14F-4D97-AF65-F5344CB8AC3E}">
        <p14:creationId xmlns:p14="http://schemas.microsoft.com/office/powerpoint/2010/main" val="2133783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76D8269-85F3-7BB2-F867-D0F023A2D6CE}"/>
              </a:ext>
            </a:extLst>
          </p:cNvPr>
          <p:cNvSpPr>
            <a:spLocks noGrp="1"/>
          </p:cNvSpPr>
          <p:nvPr>
            <p:ph type="title"/>
          </p:nvPr>
        </p:nvSpPr>
        <p:spPr>
          <a:xfrm>
            <a:off x="847659" y="298842"/>
            <a:ext cx="8604330" cy="891107"/>
          </a:xfrm>
        </p:spPr>
        <p:txBody>
          <a:bodyPr>
            <a:noAutofit/>
          </a:bodyPr>
          <a:lstStyle/>
          <a:p>
            <a:r>
              <a:rPr lang="en-US" sz="2800" dirty="0">
                <a:latin typeface="Arial" panose="020B0604020202020204" pitchFamily="34" charset="0"/>
                <a:cs typeface="Arial" panose="020B0604020202020204" pitchFamily="34" charset="0"/>
              </a:rPr>
              <a:t>Long-term follow-up supports the curative potential  of CD19 CAR T in R/R 3L+ LBCL </a:t>
            </a:r>
          </a:p>
        </p:txBody>
      </p:sp>
      <p:sp>
        <p:nvSpPr>
          <p:cNvPr id="5" name="Content Placeholder 4">
            <a:extLst>
              <a:ext uri="{FF2B5EF4-FFF2-40B4-BE49-F238E27FC236}">
                <a16:creationId xmlns:a16="http://schemas.microsoft.com/office/drawing/2014/main" id="{9565AD8B-69A1-EA5F-B335-096B31A30520}"/>
              </a:ext>
            </a:extLst>
          </p:cNvPr>
          <p:cNvSpPr>
            <a:spLocks noGrp="1"/>
          </p:cNvSpPr>
          <p:nvPr>
            <p:ph sz="quarter" idx="14"/>
          </p:nvPr>
        </p:nvSpPr>
        <p:spPr>
          <a:xfrm>
            <a:off x="2081274" y="6296288"/>
            <a:ext cx="8154590" cy="373949"/>
          </a:xfrm>
        </p:spPr>
        <p:txBody>
          <a:bodyPr/>
          <a:lstStyle/>
          <a:p>
            <a:r>
              <a:rPr lang="en-US" sz="675" b="1" kern="0" dirty="0">
                <a:solidFill>
                  <a:srgbClr val="000000"/>
                </a:solidFill>
                <a:latin typeface="Arial" panose="020B0604020202020204" pitchFamily="34" charset="0"/>
                <a:cs typeface="Arial" panose="020B0604020202020204" pitchFamily="34" charset="0"/>
              </a:rPr>
              <a:t>Inter-trial comparisons should not be made due to differences in study design, patient populations, treatment interventions, and durations of follow-up, among others. We cannot make direct comparisons or draw conclusions from one trial to another. For descriptive purposes, efficacy and safety results for each of the studies mentioned are listed.</a:t>
            </a:r>
            <a:br>
              <a:rPr lang="en-US" sz="675" b="1" kern="0" dirty="0">
                <a:solidFill>
                  <a:srgbClr val="2D2E2D"/>
                </a:solidFill>
                <a:latin typeface="Arial" panose="020B0604020202020204" pitchFamily="34" charset="0"/>
                <a:cs typeface="Arial" panose="020B0604020202020204" pitchFamily="34" charset="0"/>
              </a:rPr>
            </a:br>
            <a:r>
              <a:rPr lang="en-US" sz="675" kern="0" dirty="0">
                <a:solidFill>
                  <a:srgbClr val="2D2E2D"/>
                </a:solidFill>
                <a:latin typeface="Arial" panose="020B0604020202020204" pitchFamily="34" charset="0"/>
                <a:cs typeface="Arial" panose="020B0604020202020204" pitchFamily="34" charset="0"/>
              </a:rPr>
              <a:t>3L, third line; a</a:t>
            </a:r>
            <a:r>
              <a:rPr lang="en-US" sz="675" dirty="0">
                <a:latin typeface="Arial" panose="020B0604020202020204" pitchFamily="34" charset="0"/>
                <a:cs typeface="Arial" panose="020B0604020202020204" pitchFamily="34" charset="0"/>
              </a:rPr>
              <a:t>xi-cel; axicabtagene ciloleucel; CAR, chimeric antigen receptor; </a:t>
            </a:r>
            <a:r>
              <a:rPr lang="en-US" sz="675" kern="0" dirty="0">
                <a:solidFill>
                  <a:srgbClr val="000000"/>
                </a:solidFill>
                <a:latin typeface="Arial" panose="020B0604020202020204" pitchFamily="34" charset="0"/>
                <a:cs typeface="Arial" panose="020B0604020202020204" pitchFamily="34" charset="0"/>
                <a:sym typeface="Arial"/>
              </a:rPr>
              <a:t>LBCL, large B-cell lymphoma; liso-cel, lisocabtagene maraleucel; NE, not estimable; OS, overall survival, R/R, relapsed or refractory</a:t>
            </a:r>
            <a:r>
              <a:rPr lang="en-US" sz="675" dirty="0">
                <a:latin typeface="Arial" panose="020B0604020202020204" pitchFamily="34" charset="0"/>
                <a:cs typeface="Arial" panose="020B0604020202020204" pitchFamily="34" charset="0"/>
              </a:rPr>
              <a:t> ; </a:t>
            </a:r>
            <a:r>
              <a:rPr lang="en-US" sz="675" dirty="0" err="1">
                <a:latin typeface="Arial" panose="020B0604020202020204" pitchFamily="34" charset="0"/>
                <a:cs typeface="Arial" panose="020B0604020202020204" pitchFamily="34" charset="0"/>
              </a:rPr>
              <a:t>tisa</a:t>
            </a:r>
            <a:r>
              <a:rPr lang="en-US" sz="675" dirty="0">
                <a:latin typeface="Arial" panose="020B0604020202020204" pitchFamily="34" charset="0"/>
                <a:cs typeface="Arial" panose="020B0604020202020204" pitchFamily="34" charset="0"/>
              </a:rPr>
              <a:t>-cel, tisagenlecleucel</a:t>
            </a:r>
            <a:r>
              <a:rPr lang="en-US" sz="675" kern="0" dirty="0">
                <a:solidFill>
                  <a:srgbClr val="000000"/>
                </a:solidFill>
                <a:latin typeface="Arial" panose="020B0604020202020204" pitchFamily="34" charset="0"/>
                <a:cs typeface="Arial" panose="020B0604020202020204" pitchFamily="34" charset="0"/>
                <a:sym typeface="Arial"/>
              </a:rPr>
              <a:t>. 1. </a:t>
            </a:r>
            <a:r>
              <a:rPr lang="en-US" sz="675" kern="0" dirty="0" err="1">
                <a:solidFill>
                  <a:srgbClr val="000000"/>
                </a:solidFill>
                <a:latin typeface="Arial" panose="020B0604020202020204" pitchFamily="34" charset="0"/>
                <a:cs typeface="Arial" panose="020B0604020202020204" pitchFamily="34" charset="0"/>
                <a:sym typeface="Arial"/>
              </a:rPr>
              <a:t>Neelapu</a:t>
            </a:r>
            <a:r>
              <a:rPr lang="en-US" sz="675" kern="0" dirty="0">
                <a:solidFill>
                  <a:srgbClr val="000000"/>
                </a:solidFill>
                <a:latin typeface="Arial" panose="020B0604020202020204" pitchFamily="34" charset="0"/>
                <a:cs typeface="Arial" panose="020B0604020202020204" pitchFamily="34" charset="0"/>
                <a:sym typeface="Arial"/>
              </a:rPr>
              <a:t> SS, et al. Blood 2023;141:2307—2315. 2. Abramson JS, et al. ASH 2024. Abstract 3125. 3. Maziarz RT et al. J Clin Oncol. 2026 Jan 10;44(2):86-91.</a:t>
            </a:r>
          </a:p>
        </p:txBody>
      </p:sp>
      <p:grpSp>
        <p:nvGrpSpPr>
          <p:cNvPr id="2" name="Group 1">
            <a:extLst>
              <a:ext uri="{FF2B5EF4-FFF2-40B4-BE49-F238E27FC236}">
                <a16:creationId xmlns:a16="http://schemas.microsoft.com/office/drawing/2014/main" id="{8C7D9CD8-D388-D3EE-7145-CC09013F12E8}"/>
              </a:ext>
            </a:extLst>
          </p:cNvPr>
          <p:cNvGrpSpPr/>
          <p:nvPr/>
        </p:nvGrpSpPr>
        <p:grpSpPr>
          <a:xfrm>
            <a:off x="684738" y="1472540"/>
            <a:ext cx="10897118" cy="4263242"/>
            <a:chOff x="1866900" y="1943406"/>
            <a:chExt cx="8511393" cy="3329883"/>
          </a:xfrm>
        </p:grpSpPr>
        <p:pic>
          <p:nvPicPr>
            <p:cNvPr id="15" name="Picture 14">
              <a:extLst>
                <a:ext uri="{FF2B5EF4-FFF2-40B4-BE49-F238E27FC236}">
                  <a16:creationId xmlns:a16="http://schemas.microsoft.com/office/drawing/2014/main" id="{4A00F01F-FE6B-011A-8E69-627AE0D50C53}"/>
                </a:ext>
              </a:extLst>
            </p:cNvPr>
            <p:cNvPicPr>
              <a:picLocks noChangeAspect="1"/>
            </p:cNvPicPr>
            <p:nvPr/>
          </p:nvPicPr>
          <p:blipFill>
            <a:blip r:embed="rId3"/>
            <a:stretch>
              <a:fillRect/>
            </a:stretch>
          </p:blipFill>
          <p:spPr>
            <a:xfrm>
              <a:off x="1866900" y="2659999"/>
              <a:ext cx="2758622" cy="1731668"/>
            </a:xfrm>
            <a:prstGeom prst="rect">
              <a:avLst/>
            </a:prstGeom>
          </p:spPr>
        </p:pic>
        <p:sp>
          <p:nvSpPr>
            <p:cNvPr id="6" name="Rectangle 5">
              <a:extLst>
                <a:ext uri="{FF2B5EF4-FFF2-40B4-BE49-F238E27FC236}">
                  <a16:creationId xmlns:a16="http://schemas.microsoft.com/office/drawing/2014/main" id="{72DC51AF-80D1-5B43-7CC9-A6037FD843F9}"/>
                </a:ext>
              </a:extLst>
            </p:cNvPr>
            <p:cNvSpPr/>
            <p:nvPr/>
          </p:nvSpPr>
          <p:spPr>
            <a:xfrm>
              <a:off x="1866901" y="1950237"/>
              <a:ext cx="2779742" cy="358973"/>
            </a:xfrm>
            <a:prstGeom prst="rect">
              <a:avLst/>
            </a:prstGeom>
            <a:solidFill>
              <a:srgbClr val="458A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 name="Rectangle 6">
              <a:extLst>
                <a:ext uri="{FF2B5EF4-FFF2-40B4-BE49-F238E27FC236}">
                  <a16:creationId xmlns:a16="http://schemas.microsoft.com/office/drawing/2014/main" id="{FA762C33-6EFD-7E2D-F2B7-E97A5CE369E4}"/>
                </a:ext>
              </a:extLst>
            </p:cNvPr>
            <p:cNvSpPr>
              <a:spLocks/>
            </p:cNvSpPr>
            <p:nvPr/>
          </p:nvSpPr>
          <p:spPr>
            <a:xfrm>
              <a:off x="1866901" y="1945507"/>
              <a:ext cx="2779742" cy="2603288"/>
            </a:xfrm>
            <a:prstGeom prst="rect">
              <a:avLst/>
            </a:prstGeom>
            <a:noFill/>
            <a:ln w="19050">
              <a:solidFill>
                <a:srgbClr val="E2E2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 name="Rectangle: Top Corners Rounded 747">
              <a:extLst>
                <a:ext uri="{FF2B5EF4-FFF2-40B4-BE49-F238E27FC236}">
                  <a16:creationId xmlns:a16="http://schemas.microsoft.com/office/drawing/2014/main" id="{446FDE03-BEA4-8C13-1594-20EBC7D5E8C2}"/>
                </a:ext>
              </a:extLst>
            </p:cNvPr>
            <p:cNvSpPr/>
            <p:nvPr/>
          </p:nvSpPr>
          <p:spPr>
            <a:xfrm>
              <a:off x="4729645" y="1950237"/>
              <a:ext cx="2779742" cy="3598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9" name="Rectangle: Rounded Corners 748">
              <a:extLst>
                <a:ext uri="{FF2B5EF4-FFF2-40B4-BE49-F238E27FC236}">
                  <a16:creationId xmlns:a16="http://schemas.microsoft.com/office/drawing/2014/main" id="{8D6A9837-F3AF-6C18-4C46-CA6FBB551A9D}"/>
                </a:ext>
              </a:extLst>
            </p:cNvPr>
            <p:cNvSpPr>
              <a:spLocks/>
            </p:cNvSpPr>
            <p:nvPr/>
          </p:nvSpPr>
          <p:spPr>
            <a:xfrm>
              <a:off x="4729645" y="1945507"/>
              <a:ext cx="2779742" cy="2603288"/>
            </a:xfrm>
            <a:prstGeom prst="rect">
              <a:avLst/>
            </a:prstGeom>
            <a:noFill/>
            <a:ln w="19050">
              <a:solidFill>
                <a:srgbClr val="E2E2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 name="Rectangle: Top Corners Rounded 747">
              <a:extLst>
                <a:ext uri="{FF2B5EF4-FFF2-40B4-BE49-F238E27FC236}">
                  <a16:creationId xmlns:a16="http://schemas.microsoft.com/office/drawing/2014/main" id="{639BF748-1EC7-3D0E-FDCF-018E8A084EA0}"/>
                </a:ext>
              </a:extLst>
            </p:cNvPr>
            <p:cNvSpPr/>
            <p:nvPr/>
          </p:nvSpPr>
          <p:spPr>
            <a:xfrm>
              <a:off x="7598551" y="1943406"/>
              <a:ext cx="2779742" cy="361103"/>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1" name="Rectangle: Rounded Corners 748">
              <a:extLst>
                <a:ext uri="{FF2B5EF4-FFF2-40B4-BE49-F238E27FC236}">
                  <a16:creationId xmlns:a16="http://schemas.microsoft.com/office/drawing/2014/main" id="{427C3DE6-7E13-E10D-5D84-52C37642FA85}"/>
                </a:ext>
              </a:extLst>
            </p:cNvPr>
            <p:cNvSpPr>
              <a:spLocks/>
            </p:cNvSpPr>
            <p:nvPr/>
          </p:nvSpPr>
          <p:spPr>
            <a:xfrm>
              <a:off x="7592388" y="1945507"/>
              <a:ext cx="2779742" cy="2603288"/>
            </a:xfrm>
            <a:prstGeom prst="rect">
              <a:avLst/>
            </a:prstGeom>
            <a:noFill/>
            <a:ln w="19050">
              <a:solidFill>
                <a:srgbClr val="E2E2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2" name="TextBox 11">
              <a:extLst>
                <a:ext uri="{FF2B5EF4-FFF2-40B4-BE49-F238E27FC236}">
                  <a16:creationId xmlns:a16="http://schemas.microsoft.com/office/drawing/2014/main" id="{5D23CDD8-2133-5DCB-6DDB-0241C60CF1C4}"/>
                </a:ext>
              </a:extLst>
            </p:cNvPr>
            <p:cNvSpPr txBox="1"/>
            <p:nvPr/>
          </p:nvSpPr>
          <p:spPr>
            <a:xfrm>
              <a:off x="8102355" y="1996487"/>
              <a:ext cx="1759809" cy="300082"/>
            </a:xfrm>
            <a:prstGeom prst="rect">
              <a:avLst/>
            </a:prstGeom>
            <a:noFill/>
          </p:spPr>
          <p:txBody>
            <a:bodyPr wrap="square" rtlCol="0">
              <a:spAutoFit/>
            </a:bodyPr>
            <a:lstStyle/>
            <a:p>
              <a:pPr marL="0" marR="0" lvl="0" indent="0" algn="ctr" defTabSz="914355"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JULIET (</a:t>
              </a:r>
              <a:r>
                <a:rPr kumimoji="0" lang="en-US" sz="135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tisa</a:t>
              </a:r>
              <a:r>
                <a:rPr kumimoji="0" lang="en-US" sz="13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el)</a:t>
              </a:r>
              <a:r>
                <a:rPr kumimoji="0" lang="en-US" sz="1350" b="1" i="0" u="none" strike="noStrike" kern="120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rPr>
                <a:t>3</a:t>
              </a:r>
              <a:endParaRPr kumimoji="0" lang="en-US" sz="13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3" name="TextBox 12">
              <a:extLst>
                <a:ext uri="{FF2B5EF4-FFF2-40B4-BE49-F238E27FC236}">
                  <a16:creationId xmlns:a16="http://schemas.microsoft.com/office/drawing/2014/main" id="{157DB3D5-8835-A62A-3B28-073974610F8A}"/>
                </a:ext>
              </a:extLst>
            </p:cNvPr>
            <p:cNvSpPr txBox="1"/>
            <p:nvPr/>
          </p:nvSpPr>
          <p:spPr>
            <a:xfrm>
              <a:off x="5150446" y="1981455"/>
              <a:ext cx="2060702" cy="507831"/>
            </a:xfrm>
            <a:prstGeom prst="rect">
              <a:avLst/>
            </a:prstGeom>
            <a:noFill/>
          </p:spPr>
          <p:txBody>
            <a:bodyPr wrap="square" rtlCol="0">
              <a:spAutoFit/>
            </a:bodyPr>
            <a:lstStyle/>
            <a:p>
              <a:pPr marL="0" marR="0" lvl="0" indent="0" algn="ctr" defTabSz="914355"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RANSCEND (liso-cel)</a:t>
              </a:r>
              <a:r>
                <a:rPr kumimoji="0" lang="en-US" sz="1350" b="1" i="0" u="none" strike="noStrike" kern="120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rPr>
                <a:t>2</a:t>
              </a:r>
              <a:endParaRPr kumimoji="0" lang="en-US" sz="13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4" name="TextBox 13">
              <a:extLst>
                <a:ext uri="{FF2B5EF4-FFF2-40B4-BE49-F238E27FC236}">
                  <a16:creationId xmlns:a16="http://schemas.microsoft.com/office/drawing/2014/main" id="{DE2527F8-B65F-0264-47BB-67906FB13F89}"/>
                </a:ext>
              </a:extLst>
            </p:cNvPr>
            <p:cNvSpPr txBox="1"/>
            <p:nvPr/>
          </p:nvSpPr>
          <p:spPr>
            <a:xfrm>
              <a:off x="2370707" y="1981454"/>
              <a:ext cx="1888535" cy="300082"/>
            </a:xfrm>
            <a:prstGeom prst="rect">
              <a:avLst/>
            </a:prstGeom>
            <a:noFill/>
          </p:spPr>
          <p:txBody>
            <a:bodyPr wrap="square" rtlCol="0">
              <a:spAutoFit/>
            </a:bodyPr>
            <a:lstStyle/>
            <a:p>
              <a:pPr marL="0" marR="0" lvl="0" indent="0" algn="ctr" defTabSz="914355"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ZUMA-1 (axi-cel)</a:t>
              </a:r>
              <a:r>
                <a:rPr kumimoji="0" lang="en-US" sz="1350" b="1" i="0" u="none" strike="noStrike" kern="120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rPr>
                <a:t>1</a:t>
              </a:r>
              <a:endParaRPr kumimoji="0" lang="en-US" sz="13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144" name="Group 143">
              <a:extLst>
                <a:ext uri="{FF2B5EF4-FFF2-40B4-BE49-F238E27FC236}">
                  <a16:creationId xmlns:a16="http://schemas.microsoft.com/office/drawing/2014/main" id="{5AC823C8-3B65-86F1-2C02-FDC4EFB335FA}"/>
                </a:ext>
              </a:extLst>
            </p:cNvPr>
            <p:cNvGrpSpPr/>
            <p:nvPr/>
          </p:nvGrpSpPr>
          <p:grpSpPr>
            <a:xfrm>
              <a:off x="4737950" y="2575644"/>
              <a:ext cx="2717808" cy="1723427"/>
              <a:chOff x="6189735" y="2223841"/>
              <a:chExt cx="5581553" cy="2973800"/>
            </a:xfrm>
          </p:grpSpPr>
          <p:grpSp>
            <p:nvGrpSpPr>
              <p:cNvPr id="145" name="Group 144">
                <a:extLst>
                  <a:ext uri="{FF2B5EF4-FFF2-40B4-BE49-F238E27FC236}">
                    <a16:creationId xmlns:a16="http://schemas.microsoft.com/office/drawing/2014/main" id="{EBF558C6-ECDA-47CD-8F35-69D153EDFDB3}"/>
                  </a:ext>
                </a:extLst>
              </p:cNvPr>
              <p:cNvGrpSpPr/>
              <p:nvPr/>
            </p:nvGrpSpPr>
            <p:grpSpPr>
              <a:xfrm>
                <a:off x="6189735" y="2223841"/>
                <a:ext cx="5581553" cy="2973800"/>
                <a:chOff x="6897792" y="2693663"/>
                <a:chExt cx="4095336" cy="2181957"/>
              </a:xfrm>
            </p:grpSpPr>
            <p:pic>
              <p:nvPicPr>
                <p:cNvPr id="148" name="Picture 147">
                  <a:extLst>
                    <a:ext uri="{FF2B5EF4-FFF2-40B4-BE49-F238E27FC236}">
                      <a16:creationId xmlns:a16="http://schemas.microsoft.com/office/drawing/2014/main" id="{49AEEE2D-8357-2078-D7C1-59C38AE3140F}"/>
                    </a:ext>
                  </a:extLst>
                </p:cNvPr>
                <p:cNvPicPr>
                  <a:picLocks noChangeAspect="1"/>
                </p:cNvPicPr>
                <p:nvPr/>
              </p:nvPicPr>
              <p:blipFill>
                <a:blip r:embed="rId4"/>
                <a:stretch>
                  <a:fillRect/>
                </a:stretch>
              </p:blipFill>
              <p:spPr>
                <a:xfrm>
                  <a:off x="6897792" y="2754119"/>
                  <a:ext cx="4095335" cy="2121501"/>
                </a:xfrm>
                <a:prstGeom prst="rect">
                  <a:avLst/>
                </a:prstGeom>
              </p:spPr>
            </p:pic>
            <p:sp>
              <p:nvSpPr>
                <p:cNvPr id="149" name="Rectangle 148">
                  <a:extLst>
                    <a:ext uri="{FF2B5EF4-FFF2-40B4-BE49-F238E27FC236}">
                      <a16:creationId xmlns:a16="http://schemas.microsoft.com/office/drawing/2014/main" id="{1DFC90BD-3790-6C7E-18AA-000D0D6F1969}"/>
                    </a:ext>
                  </a:extLst>
                </p:cNvPr>
                <p:cNvSpPr/>
                <p:nvPr/>
              </p:nvSpPr>
              <p:spPr>
                <a:xfrm>
                  <a:off x="8250126" y="2693663"/>
                  <a:ext cx="2743002" cy="35470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50" name="Rectangle 149">
                  <a:extLst>
                    <a:ext uri="{FF2B5EF4-FFF2-40B4-BE49-F238E27FC236}">
                      <a16:creationId xmlns:a16="http://schemas.microsoft.com/office/drawing/2014/main" id="{2687ADD7-FEF3-5480-DC5B-98D61931EE5C}"/>
                    </a:ext>
                  </a:extLst>
                </p:cNvPr>
                <p:cNvSpPr/>
                <p:nvPr/>
              </p:nvSpPr>
              <p:spPr>
                <a:xfrm>
                  <a:off x="7421062" y="3926003"/>
                  <a:ext cx="2828988" cy="35470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46" name="object 23">
                <a:extLst>
                  <a:ext uri="{FF2B5EF4-FFF2-40B4-BE49-F238E27FC236}">
                    <a16:creationId xmlns:a16="http://schemas.microsoft.com/office/drawing/2014/main" id="{9CFEB0B9-A056-98FA-0A0B-4248AAFADCD2}"/>
                  </a:ext>
                </a:extLst>
              </p:cNvPr>
              <p:cNvSpPr txBox="1"/>
              <p:nvPr/>
            </p:nvSpPr>
            <p:spPr>
              <a:xfrm>
                <a:off x="7546025" y="4706307"/>
                <a:ext cx="3212517" cy="235664"/>
              </a:xfrm>
              <a:prstGeom prst="rect">
                <a:avLst/>
              </a:prstGeom>
              <a:solidFill>
                <a:schemeClr val="bg1"/>
              </a:solidFill>
            </p:spPr>
            <p:txBody>
              <a:bodyPr vert="horz" wrap="square" lIns="0" tIns="9525" rIns="0" bIns="0" rtlCol="0">
                <a:spAutoFit/>
              </a:bodyPr>
              <a:lstStyle/>
              <a:p>
                <a:pPr marL="9525" marR="0" lvl="0" indent="0" algn="ctr" defTabSz="685783" rtl="0" eaLnBrk="1" fontAlgn="auto" latinLnBrk="0" hangingPunct="1">
                  <a:lnSpc>
                    <a:spcPct val="100000"/>
                  </a:lnSpc>
                  <a:spcBef>
                    <a:spcPts val="75"/>
                  </a:spcBef>
                  <a:spcAft>
                    <a:spcPts val="0"/>
                  </a:spcAft>
                  <a:buClrTx/>
                  <a:buSzTx/>
                  <a:buFontTx/>
                  <a:buNone/>
                  <a:tabLst/>
                  <a:defRPr/>
                </a:pPr>
                <a:r>
                  <a:rPr kumimoji="0" lang="en-US" sz="825"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ime, months</a:t>
                </a:r>
              </a:p>
            </p:txBody>
          </p:sp>
          <p:sp>
            <p:nvSpPr>
              <p:cNvPr id="147" name="object 23">
                <a:extLst>
                  <a:ext uri="{FF2B5EF4-FFF2-40B4-BE49-F238E27FC236}">
                    <a16:creationId xmlns:a16="http://schemas.microsoft.com/office/drawing/2014/main" id="{F40F0129-4117-74FA-0F80-06E60FF810E6}"/>
                  </a:ext>
                </a:extLst>
              </p:cNvPr>
              <p:cNvSpPr txBox="1"/>
              <p:nvPr/>
            </p:nvSpPr>
            <p:spPr>
              <a:xfrm rot="16200000">
                <a:off x="5352752" y="3169650"/>
                <a:ext cx="2007309" cy="280486"/>
              </a:xfrm>
              <a:prstGeom prst="rect">
                <a:avLst/>
              </a:prstGeom>
              <a:solidFill>
                <a:schemeClr val="bg1"/>
              </a:solidFill>
            </p:spPr>
            <p:txBody>
              <a:bodyPr vert="horz" wrap="square" lIns="0" tIns="9525" rIns="0" bIns="0" rtlCol="0">
                <a:spAutoFit/>
              </a:bodyPr>
              <a:lstStyle/>
              <a:p>
                <a:pPr marL="9525" marR="0" lvl="0" indent="0" algn="ctr" defTabSz="685783" rtl="0" eaLnBrk="1" fontAlgn="auto" latinLnBrk="0" hangingPunct="1">
                  <a:lnSpc>
                    <a:spcPct val="100000"/>
                  </a:lnSpc>
                  <a:spcBef>
                    <a:spcPts val="75"/>
                  </a:spcBef>
                  <a:spcAft>
                    <a:spcPts val="0"/>
                  </a:spcAft>
                  <a:buClrTx/>
                  <a:buSzTx/>
                  <a:buFontTx/>
                  <a:buNone/>
                  <a:tabLst/>
                  <a:defRPr/>
                </a:pPr>
                <a:r>
                  <a:rPr kumimoji="0" lang="en-US" sz="825"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S, %</a:t>
                </a:r>
              </a:p>
            </p:txBody>
          </p:sp>
        </p:grpSp>
        <p:sp>
          <p:nvSpPr>
            <p:cNvPr id="152" name="TextBox 151">
              <a:extLst>
                <a:ext uri="{FF2B5EF4-FFF2-40B4-BE49-F238E27FC236}">
                  <a16:creationId xmlns:a16="http://schemas.microsoft.com/office/drawing/2014/main" id="{BAA65248-EDFC-6BE7-4DD5-2F42F558F664}"/>
                </a:ext>
              </a:extLst>
            </p:cNvPr>
            <p:cNvSpPr txBox="1"/>
            <p:nvPr/>
          </p:nvSpPr>
          <p:spPr>
            <a:xfrm>
              <a:off x="2739987" y="2609210"/>
              <a:ext cx="1269051" cy="300082"/>
            </a:xfrm>
            <a:prstGeom prst="rect">
              <a:avLst/>
            </a:prstGeom>
            <a:solidFill>
              <a:schemeClr val="bg1"/>
            </a:solidFill>
            <a:ln>
              <a:noFill/>
            </a:ln>
          </p:spPr>
          <p:txBody>
            <a:bodyPr wrap="square" rtlCol="0">
              <a:spAutoFit/>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5" name="object 23">
              <a:extLst>
                <a:ext uri="{FF2B5EF4-FFF2-40B4-BE49-F238E27FC236}">
                  <a16:creationId xmlns:a16="http://schemas.microsoft.com/office/drawing/2014/main" id="{7C4583D8-D7B9-E76E-DAFE-3D2D19A1CA91}"/>
                </a:ext>
              </a:extLst>
            </p:cNvPr>
            <p:cNvSpPr txBox="1"/>
            <p:nvPr/>
          </p:nvSpPr>
          <p:spPr>
            <a:xfrm>
              <a:off x="8273919" y="4020469"/>
              <a:ext cx="1564259" cy="136576"/>
            </a:xfrm>
            <a:prstGeom prst="rect">
              <a:avLst/>
            </a:prstGeom>
            <a:solidFill>
              <a:schemeClr val="bg1"/>
            </a:solidFill>
          </p:spPr>
          <p:txBody>
            <a:bodyPr vert="horz" wrap="square" lIns="0" tIns="9525" rIns="0" bIns="0" rtlCol="0">
              <a:spAutoFit/>
            </a:bodyPr>
            <a:lstStyle/>
            <a:p>
              <a:pPr marL="9525" marR="0" lvl="0" indent="0" algn="ctr" defTabSz="685783" rtl="0" eaLnBrk="1" fontAlgn="auto" latinLnBrk="0" hangingPunct="1">
                <a:lnSpc>
                  <a:spcPct val="100000"/>
                </a:lnSpc>
                <a:spcBef>
                  <a:spcPts val="75"/>
                </a:spcBef>
                <a:spcAft>
                  <a:spcPts val="0"/>
                </a:spcAft>
                <a:buClrTx/>
                <a:buSzTx/>
                <a:buFontTx/>
                <a:buNone/>
                <a:tabLst/>
                <a:defRPr/>
              </a:pPr>
              <a:r>
                <a:rPr kumimoji="0" lang="en-US" sz="825"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ime, months</a:t>
              </a:r>
            </a:p>
          </p:txBody>
        </p:sp>
        <p:sp>
          <p:nvSpPr>
            <p:cNvPr id="156" name="TextBox 155">
              <a:extLst>
                <a:ext uri="{FF2B5EF4-FFF2-40B4-BE49-F238E27FC236}">
                  <a16:creationId xmlns:a16="http://schemas.microsoft.com/office/drawing/2014/main" id="{EE641021-B907-CC7B-EBC1-FBD39B5C3F81}"/>
                </a:ext>
              </a:extLst>
            </p:cNvPr>
            <p:cNvSpPr txBox="1"/>
            <p:nvPr/>
          </p:nvSpPr>
          <p:spPr>
            <a:xfrm>
              <a:off x="9056049" y="2513256"/>
              <a:ext cx="1269051" cy="300082"/>
            </a:xfrm>
            <a:prstGeom prst="rect">
              <a:avLst/>
            </a:prstGeom>
            <a:solidFill>
              <a:schemeClr val="bg1"/>
            </a:solidFill>
            <a:ln>
              <a:noFill/>
            </a:ln>
          </p:spPr>
          <p:txBody>
            <a:bodyPr wrap="square" rtlCol="0">
              <a:spAutoFit/>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7" name="TextBox 156">
              <a:extLst>
                <a:ext uri="{FF2B5EF4-FFF2-40B4-BE49-F238E27FC236}">
                  <a16:creationId xmlns:a16="http://schemas.microsoft.com/office/drawing/2014/main" id="{CCBE4D3B-5918-8759-89EE-2714FEE83667}"/>
                </a:ext>
              </a:extLst>
            </p:cNvPr>
            <p:cNvSpPr txBox="1"/>
            <p:nvPr/>
          </p:nvSpPr>
          <p:spPr>
            <a:xfrm>
              <a:off x="7611984" y="2320783"/>
              <a:ext cx="1269051" cy="300082"/>
            </a:xfrm>
            <a:prstGeom prst="rect">
              <a:avLst/>
            </a:prstGeom>
            <a:solidFill>
              <a:schemeClr val="bg1"/>
            </a:solidFill>
            <a:ln>
              <a:noFill/>
            </a:ln>
          </p:spPr>
          <p:txBody>
            <a:bodyPr wrap="square" rtlCol="0">
              <a:spAutoFit/>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8" name="TextBox 157">
              <a:extLst>
                <a:ext uri="{FF2B5EF4-FFF2-40B4-BE49-F238E27FC236}">
                  <a16:creationId xmlns:a16="http://schemas.microsoft.com/office/drawing/2014/main" id="{8F085AD3-3E14-DC99-0A08-4A655A4FA4A5}"/>
                </a:ext>
              </a:extLst>
            </p:cNvPr>
            <p:cNvSpPr txBox="1"/>
            <p:nvPr/>
          </p:nvSpPr>
          <p:spPr>
            <a:xfrm>
              <a:off x="5785812" y="2871020"/>
              <a:ext cx="1269051" cy="300082"/>
            </a:xfrm>
            <a:prstGeom prst="rect">
              <a:avLst/>
            </a:prstGeom>
            <a:solidFill>
              <a:schemeClr val="bg1"/>
            </a:solidFill>
            <a:ln>
              <a:noFill/>
            </a:ln>
          </p:spPr>
          <p:txBody>
            <a:bodyPr wrap="square" rtlCol="0">
              <a:spAutoFit/>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9" name="object 23">
              <a:extLst>
                <a:ext uri="{FF2B5EF4-FFF2-40B4-BE49-F238E27FC236}">
                  <a16:creationId xmlns:a16="http://schemas.microsoft.com/office/drawing/2014/main" id="{D6D109C7-7FEB-6E2E-4F7D-D08CAF31936C}"/>
                </a:ext>
              </a:extLst>
            </p:cNvPr>
            <p:cNvSpPr txBox="1"/>
            <p:nvPr/>
          </p:nvSpPr>
          <p:spPr>
            <a:xfrm>
              <a:off x="2474644" y="4041373"/>
              <a:ext cx="1564259" cy="136576"/>
            </a:xfrm>
            <a:prstGeom prst="rect">
              <a:avLst/>
            </a:prstGeom>
            <a:solidFill>
              <a:schemeClr val="bg1"/>
            </a:solidFill>
          </p:spPr>
          <p:txBody>
            <a:bodyPr vert="horz" wrap="square" lIns="0" tIns="9525" rIns="0" bIns="0" rtlCol="0">
              <a:spAutoFit/>
            </a:bodyPr>
            <a:lstStyle/>
            <a:p>
              <a:pPr marL="9525" marR="0" lvl="0" indent="0" algn="ctr" defTabSz="685783" rtl="0" eaLnBrk="1" fontAlgn="auto" latinLnBrk="0" hangingPunct="1">
                <a:lnSpc>
                  <a:spcPct val="100000"/>
                </a:lnSpc>
                <a:spcBef>
                  <a:spcPts val="75"/>
                </a:spcBef>
                <a:spcAft>
                  <a:spcPts val="0"/>
                </a:spcAft>
                <a:buClrTx/>
                <a:buSzTx/>
                <a:buFontTx/>
                <a:buNone/>
                <a:tabLst/>
                <a:defRPr/>
              </a:pPr>
              <a:r>
                <a:rPr kumimoji="0" lang="en-US" sz="825"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ime, months</a:t>
              </a:r>
            </a:p>
          </p:txBody>
        </p:sp>
        <p:sp>
          <p:nvSpPr>
            <p:cNvPr id="160" name="Rectangle 159">
              <a:extLst>
                <a:ext uri="{FF2B5EF4-FFF2-40B4-BE49-F238E27FC236}">
                  <a16:creationId xmlns:a16="http://schemas.microsoft.com/office/drawing/2014/main" id="{D9A5BCD0-DC39-FEAC-2AB7-B0A5DF6F18CA}"/>
                </a:ext>
              </a:extLst>
            </p:cNvPr>
            <p:cNvSpPr/>
            <p:nvPr/>
          </p:nvSpPr>
          <p:spPr>
            <a:xfrm>
              <a:off x="1866902" y="4606717"/>
              <a:ext cx="2773578" cy="666572"/>
            </a:xfrm>
            <a:prstGeom prst="rect">
              <a:avLst/>
            </a:prstGeom>
            <a:solidFill>
              <a:srgbClr val="458A6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13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5-year OS rate: 43%</a:t>
              </a:r>
            </a:p>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135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edian follow-up: 63.1 months</a:t>
              </a:r>
            </a:p>
          </p:txBody>
        </p:sp>
        <p:sp>
          <p:nvSpPr>
            <p:cNvPr id="161" name="Rectangle 160">
              <a:extLst>
                <a:ext uri="{FF2B5EF4-FFF2-40B4-BE49-F238E27FC236}">
                  <a16:creationId xmlns:a16="http://schemas.microsoft.com/office/drawing/2014/main" id="{A86D1475-CEE2-6B35-3162-097AF80931DC}"/>
                </a:ext>
              </a:extLst>
            </p:cNvPr>
            <p:cNvSpPr/>
            <p:nvPr/>
          </p:nvSpPr>
          <p:spPr>
            <a:xfrm>
              <a:off x="4737948" y="4606717"/>
              <a:ext cx="2773578" cy="666572"/>
            </a:xfrm>
            <a:prstGeom prst="rect">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13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5-year OS rate: 38%</a:t>
              </a:r>
            </a:p>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135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edian follow-up: 60.1 months</a:t>
              </a:r>
            </a:p>
          </p:txBody>
        </p:sp>
        <p:sp>
          <p:nvSpPr>
            <p:cNvPr id="162" name="Rectangle 161">
              <a:extLst>
                <a:ext uri="{FF2B5EF4-FFF2-40B4-BE49-F238E27FC236}">
                  <a16:creationId xmlns:a16="http://schemas.microsoft.com/office/drawing/2014/main" id="{A23014C9-0149-0215-CB7E-AC1C501F2DC9}"/>
                </a:ext>
              </a:extLst>
            </p:cNvPr>
            <p:cNvSpPr/>
            <p:nvPr/>
          </p:nvSpPr>
          <p:spPr>
            <a:xfrm>
              <a:off x="7595469" y="4606405"/>
              <a:ext cx="2773578" cy="666572"/>
            </a:xfrm>
            <a:prstGeom prst="rect">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13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5-year OS rate: 32%</a:t>
              </a:r>
            </a:p>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135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edian follow-up: 74.3 months</a:t>
              </a:r>
            </a:p>
          </p:txBody>
        </p:sp>
        <p:sp>
          <p:nvSpPr>
            <p:cNvPr id="163" name="TextBox 162">
              <a:extLst>
                <a:ext uri="{FF2B5EF4-FFF2-40B4-BE49-F238E27FC236}">
                  <a16:creationId xmlns:a16="http://schemas.microsoft.com/office/drawing/2014/main" id="{2EAA2201-F4CB-B589-3209-CAB0531ED6E1}"/>
                </a:ext>
              </a:extLst>
            </p:cNvPr>
            <p:cNvSpPr txBox="1"/>
            <p:nvPr/>
          </p:nvSpPr>
          <p:spPr>
            <a:xfrm>
              <a:off x="4970396" y="3467064"/>
              <a:ext cx="2316680" cy="346249"/>
            </a:xfrm>
            <a:prstGeom prst="rect">
              <a:avLst/>
            </a:prstGeom>
            <a:noFill/>
          </p:spPr>
          <p:txBody>
            <a:bodyPr wrap="square" rtlCol="0">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825"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dian OS:</a:t>
              </a:r>
              <a:br>
                <a:rPr kumimoji="0" lang="en-US" sz="825"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825"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7.5 months (95% CI = 16.2, 47.3 months) </a:t>
              </a:r>
            </a:p>
          </p:txBody>
        </p:sp>
        <p:sp>
          <p:nvSpPr>
            <p:cNvPr id="165" name="TextBox 164">
              <a:extLst>
                <a:ext uri="{FF2B5EF4-FFF2-40B4-BE49-F238E27FC236}">
                  <a16:creationId xmlns:a16="http://schemas.microsoft.com/office/drawing/2014/main" id="{1D5AA495-70E8-F861-A70F-80CA69F1253E}"/>
                </a:ext>
              </a:extLst>
            </p:cNvPr>
            <p:cNvSpPr txBox="1"/>
            <p:nvPr/>
          </p:nvSpPr>
          <p:spPr>
            <a:xfrm>
              <a:off x="7925250" y="4162841"/>
              <a:ext cx="2274065" cy="346249"/>
            </a:xfrm>
            <a:prstGeom prst="rect">
              <a:avLst/>
            </a:prstGeom>
            <a:noFill/>
          </p:spPr>
          <p:txBody>
            <a:bodyPr wrap="square" rtlCol="0">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825"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dian OS:</a:t>
              </a:r>
              <a:br>
                <a:rPr kumimoji="0" lang="en-US" sz="825"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825"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1.1 months (95% CI = 6.6, 23.9 months) </a:t>
              </a:r>
            </a:p>
          </p:txBody>
        </p:sp>
        <p:sp>
          <p:nvSpPr>
            <p:cNvPr id="169" name="TextBox 168">
              <a:extLst>
                <a:ext uri="{FF2B5EF4-FFF2-40B4-BE49-F238E27FC236}">
                  <a16:creationId xmlns:a16="http://schemas.microsoft.com/office/drawing/2014/main" id="{89BAECE5-C197-8E1B-418C-2A95A938B6A0}"/>
                </a:ext>
              </a:extLst>
            </p:cNvPr>
            <p:cNvSpPr txBox="1"/>
            <p:nvPr/>
          </p:nvSpPr>
          <p:spPr>
            <a:xfrm>
              <a:off x="2259126" y="2335045"/>
              <a:ext cx="2149328" cy="276999"/>
            </a:xfrm>
            <a:prstGeom prst="rect">
              <a:avLst/>
            </a:prstGeom>
            <a:solidFill>
              <a:schemeClr val="bg1"/>
            </a:solidFill>
          </p:spPr>
          <p:txBody>
            <a:bodyPr wrap="square" rtlCol="0">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verall survival</a:t>
              </a:r>
            </a:p>
          </p:txBody>
        </p:sp>
        <p:sp>
          <p:nvSpPr>
            <p:cNvPr id="170" name="TextBox 169">
              <a:extLst>
                <a:ext uri="{FF2B5EF4-FFF2-40B4-BE49-F238E27FC236}">
                  <a16:creationId xmlns:a16="http://schemas.microsoft.com/office/drawing/2014/main" id="{8314F755-64C8-3862-2C62-618078E76F98}"/>
                </a:ext>
              </a:extLst>
            </p:cNvPr>
            <p:cNvSpPr txBox="1"/>
            <p:nvPr/>
          </p:nvSpPr>
          <p:spPr>
            <a:xfrm>
              <a:off x="5069122" y="2327709"/>
              <a:ext cx="2149328" cy="276999"/>
            </a:xfrm>
            <a:prstGeom prst="rect">
              <a:avLst/>
            </a:prstGeom>
            <a:solidFill>
              <a:schemeClr val="bg1"/>
            </a:solidFill>
          </p:spPr>
          <p:txBody>
            <a:bodyPr wrap="square" rtlCol="0">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verall survival</a:t>
              </a:r>
            </a:p>
          </p:txBody>
        </p:sp>
        <p:sp>
          <p:nvSpPr>
            <p:cNvPr id="171" name="TextBox 170">
              <a:extLst>
                <a:ext uri="{FF2B5EF4-FFF2-40B4-BE49-F238E27FC236}">
                  <a16:creationId xmlns:a16="http://schemas.microsoft.com/office/drawing/2014/main" id="{B237F041-9D0B-751F-7801-687AA8E23D1D}"/>
                </a:ext>
              </a:extLst>
            </p:cNvPr>
            <p:cNvSpPr txBox="1"/>
            <p:nvPr/>
          </p:nvSpPr>
          <p:spPr>
            <a:xfrm>
              <a:off x="7913758" y="2327709"/>
              <a:ext cx="2149328" cy="276999"/>
            </a:xfrm>
            <a:prstGeom prst="rect">
              <a:avLst/>
            </a:prstGeom>
            <a:solidFill>
              <a:schemeClr val="bg1"/>
            </a:solidFill>
          </p:spPr>
          <p:txBody>
            <a:bodyPr wrap="square" rtlCol="0">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verall survival</a:t>
              </a:r>
            </a:p>
          </p:txBody>
        </p:sp>
        <p:sp>
          <p:nvSpPr>
            <p:cNvPr id="3" name="object 23">
              <a:extLst>
                <a:ext uri="{FF2B5EF4-FFF2-40B4-BE49-F238E27FC236}">
                  <a16:creationId xmlns:a16="http://schemas.microsoft.com/office/drawing/2014/main" id="{1C167EBA-E452-7494-9A9A-55004256E24D}"/>
                </a:ext>
              </a:extLst>
            </p:cNvPr>
            <p:cNvSpPr txBox="1"/>
            <p:nvPr/>
          </p:nvSpPr>
          <p:spPr>
            <a:xfrm rot="16200000">
              <a:off x="7082974" y="3173366"/>
              <a:ext cx="1163311" cy="136576"/>
            </a:xfrm>
            <a:prstGeom prst="rect">
              <a:avLst/>
            </a:prstGeom>
            <a:solidFill>
              <a:schemeClr val="bg1"/>
            </a:solidFill>
          </p:spPr>
          <p:txBody>
            <a:bodyPr vert="horz" wrap="square" lIns="0" tIns="9525" rIns="0" bIns="0" rtlCol="0">
              <a:spAutoFit/>
            </a:bodyPr>
            <a:lstStyle/>
            <a:p>
              <a:pPr marL="9525" marR="0" lvl="0" indent="0" algn="ctr" defTabSz="685783" rtl="0" eaLnBrk="1" fontAlgn="auto" latinLnBrk="0" hangingPunct="1">
                <a:lnSpc>
                  <a:spcPct val="100000"/>
                </a:lnSpc>
                <a:spcBef>
                  <a:spcPts val="75"/>
                </a:spcBef>
                <a:spcAft>
                  <a:spcPts val="0"/>
                </a:spcAft>
                <a:buClrTx/>
                <a:buSzTx/>
                <a:buFontTx/>
                <a:buNone/>
                <a:tabLst/>
                <a:defRPr/>
              </a:pPr>
              <a:r>
                <a:rPr kumimoji="0" lang="en-US" sz="825"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OS, %</a:t>
              </a:r>
            </a:p>
          </p:txBody>
        </p:sp>
        <p:sp>
          <p:nvSpPr>
            <p:cNvPr id="16" name="object 23">
              <a:extLst>
                <a:ext uri="{FF2B5EF4-FFF2-40B4-BE49-F238E27FC236}">
                  <a16:creationId xmlns:a16="http://schemas.microsoft.com/office/drawing/2014/main" id="{EAD2AFC0-6428-8721-CD2B-C8A3D9F30652}"/>
                </a:ext>
              </a:extLst>
            </p:cNvPr>
            <p:cNvSpPr txBox="1"/>
            <p:nvPr/>
          </p:nvSpPr>
          <p:spPr>
            <a:xfrm rot="16200000">
              <a:off x="1405854" y="3156877"/>
              <a:ext cx="1163311" cy="136576"/>
            </a:xfrm>
            <a:prstGeom prst="rect">
              <a:avLst/>
            </a:prstGeom>
            <a:solidFill>
              <a:schemeClr val="bg1"/>
            </a:solidFill>
          </p:spPr>
          <p:txBody>
            <a:bodyPr vert="horz" wrap="square" lIns="0" tIns="9525" rIns="0" bIns="0" rtlCol="0">
              <a:spAutoFit/>
            </a:bodyPr>
            <a:lstStyle/>
            <a:p>
              <a:pPr marL="9525" marR="0" lvl="0" indent="0" algn="ctr" defTabSz="685783" rtl="0" eaLnBrk="1" fontAlgn="auto" latinLnBrk="0" hangingPunct="1">
                <a:lnSpc>
                  <a:spcPct val="100000"/>
                </a:lnSpc>
                <a:spcBef>
                  <a:spcPts val="75"/>
                </a:spcBef>
                <a:spcAft>
                  <a:spcPts val="0"/>
                </a:spcAft>
                <a:buClrTx/>
                <a:buSzTx/>
                <a:buFontTx/>
                <a:buNone/>
                <a:tabLst/>
                <a:defRPr/>
              </a:pPr>
              <a:r>
                <a:rPr kumimoji="0" lang="en-US" sz="825"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S, %</a:t>
              </a:r>
            </a:p>
          </p:txBody>
        </p:sp>
        <p:sp>
          <p:nvSpPr>
            <p:cNvPr id="17" name="Rectangle 16">
              <a:extLst>
                <a:ext uri="{FF2B5EF4-FFF2-40B4-BE49-F238E27FC236}">
                  <a16:creationId xmlns:a16="http://schemas.microsoft.com/office/drawing/2014/main" id="{25F55038-D81C-B695-B997-E14E6F68C41D}"/>
                </a:ext>
              </a:extLst>
            </p:cNvPr>
            <p:cNvSpPr/>
            <p:nvPr/>
          </p:nvSpPr>
          <p:spPr>
            <a:xfrm>
              <a:off x="2201510" y="3639830"/>
              <a:ext cx="831251" cy="24441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64" name="TextBox 163">
              <a:extLst>
                <a:ext uri="{FF2B5EF4-FFF2-40B4-BE49-F238E27FC236}">
                  <a16:creationId xmlns:a16="http://schemas.microsoft.com/office/drawing/2014/main" id="{85A192A5-BC8E-0195-990B-B4F668F2FBBD}"/>
                </a:ext>
              </a:extLst>
            </p:cNvPr>
            <p:cNvSpPr txBox="1"/>
            <p:nvPr/>
          </p:nvSpPr>
          <p:spPr>
            <a:xfrm>
              <a:off x="2265313" y="3467063"/>
              <a:ext cx="2149328" cy="319644"/>
            </a:xfrm>
            <a:prstGeom prst="rect">
              <a:avLst/>
            </a:prstGeom>
            <a:solidFill>
              <a:schemeClr val="bg1"/>
            </a:solidFill>
          </p:spPr>
          <p:txBody>
            <a:bodyPr wrap="square" rtlCol="0">
              <a:no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825"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dian OS:</a:t>
              </a:r>
              <a:br>
                <a:rPr kumimoji="0" lang="en-US" sz="825"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825"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5.8 months (95% CI = 12.8 months, NE) </a:t>
              </a:r>
            </a:p>
          </p:txBody>
        </p:sp>
      </p:grpSp>
      <p:pic>
        <p:nvPicPr>
          <p:cNvPr id="1026" name="Picture 2">
            <a:extLst>
              <a:ext uri="{FF2B5EF4-FFF2-40B4-BE49-F238E27FC236}">
                <a16:creationId xmlns:a16="http://schemas.microsoft.com/office/drawing/2014/main" id="{E8601CA3-8221-F049-17D7-B3D2CE767FF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5722" t="36038" r="50260" b="43131"/>
          <a:stretch>
            <a:fillRect/>
          </a:stretch>
        </p:blipFill>
        <p:spPr bwMode="auto">
          <a:xfrm>
            <a:off x="8206402" y="2339889"/>
            <a:ext cx="3307351" cy="17892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433560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 name="Freeform: Shape 20">
            <a:extLst>
              <a:ext uri="{FF2B5EF4-FFF2-40B4-BE49-F238E27FC236}">
                <a16:creationId xmlns:a16="http://schemas.microsoft.com/office/drawing/2014/main" id="{42285737-90EE-47DC-AC80-8AE156B1196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1524002" y="857250"/>
            <a:ext cx="3302781" cy="5143500"/>
          </a:xfrm>
          <a:custGeom>
            <a:avLst/>
            <a:gdLst>
              <a:gd name="connsiteX0" fmla="*/ 3223890 w 4403709"/>
              <a:gd name="connsiteY0" fmla="*/ 6858001 h 6858001"/>
              <a:gd name="connsiteX1" fmla="*/ 4101908 w 4403709"/>
              <a:gd name="connsiteY1" fmla="*/ 6858001 h 6858001"/>
              <a:gd name="connsiteX2" fmla="*/ 3254950 w 4403709"/>
              <a:gd name="connsiteY2" fmla="*/ 1599356 h 6858001"/>
              <a:gd name="connsiteX3" fmla="*/ 3254950 w 4403709"/>
              <a:gd name="connsiteY3" fmla="*/ 1594062 h 6858001"/>
              <a:gd name="connsiteX4" fmla="*/ 4403709 w 4403709"/>
              <a:gd name="connsiteY4" fmla="*/ 0 h 6858001"/>
              <a:gd name="connsiteX5" fmla="*/ 3254950 w 4403709"/>
              <a:gd name="connsiteY5" fmla="*/ 0 h 6858001"/>
              <a:gd name="connsiteX6" fmla="*/ 2903520 w 4403709"/>
              <a:gd name="connsiteY6" fmla="*/ 0 h 6858001"/>
              <a:gd name="connsiteX7" fmla="*/ 0 w 4403709"/>
              <a:gd name="connsiteY7" fmla="*/ 0 h 6858001"/>
              <a:gd name="connsiteX8" fmla="*/ 0 w 4403709"/>
              <a:gd name="connsiteY8" fmla="*/ 6858000 h 6858001"/>
              <a:gd name="connsiteX9" fmla="*/ 3223890 w 4403709"/>
              <a:gd name="connsiteY9" fmla="*/ 685800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03709" h="6858001">
                <a:moveTo>
                  <a:pt x="3223890" y="6858001"/>
                </a:moveTo>
                <a:lnTo>
                  <a:pt x="4101908" y="6858001"/>
                </a:lnTo>
                <a:lnTo>
                  <a:pt x="3254950" y="1599356"/>
                </a:lnTo>
                <a:lnTo>
                  <a:pt x="3254950" y="1594062"/>
                </a:lnTo>
                <a:lnTo>
                  <a:pt x="4403709" y="0"/>
                </a:lnTo>
                <a:lnTo>
                  <a:pt x="3254950" y="0"/>
                </a:lnTo>
                <a:lnTo>
                  <a:pt x="2903520" y="0"/>
                </a:lnTo>
                <a:lnTo>
                  <a:pt x="0" y="0"/>
                </a:lnTo>
                <a:lnTo>
                  <a:pt x="0" y="6858000"/>
                </a:lnTo>
                <a:lnTo>
                  <a:pt x="3223890" y="6858000"/>
                </a:lnTo>
                <a:close/>
              </a:path>
            </a:pathLst>
          </a:custGeom>
          <a:ln>
            <a:noFill/>
          </a:ln>
        </p:spPr>
        <p:style>
          <a:lnRef idx="2">
            <a:schemeClr val="accent1">
              <a:shade val="50000"/>
            </a:schemeClr>
          </a:lnRef>
          <a:fillRef idx="1002">
            <a:schemeClr val="dk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23" name="Group 22">
            <a:extLst>
              <a:ext uri="{FF2B5EF4-FFF2-40B4-BE49-F238E27FC236}">
                <a16:creationId xmlns:a16="http://schemas.microsoft.com/office/drawing/2014/main" id="{B57BDC17-F1B3-455F-BBF1-680AA1F25C06}"/>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010471" y="857250"/>
            <a:ext cx="1827609" cy="5143500"/>
            <a:chOff x="1320800" y="0"/>
            <a:chExt cx="2436813" cy="6858001"/>
          </a:xfrm>
        </p:grpSpPr>
        <p:sp>
          <p:nvSpPr>
            <p:cNvPr id="24" name="Freeform 6">
              <a:extLst>
                <a:ext uri="{FF2B5EF4-FFF2-40B4-BE49-F238E27FC236}">
                  <a16:creationId xmlns:a16="http://schemas.microsoft.com/office/drawing/2014/main" id="{64E2FA9A-FEF7-4501-B0EB-5E45EDD2177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627188" y="0"/>
              <a:ext cx="1122363" cy="5329238"/>
            </a:xfrm>
            <a:custGeom>
              <a:avLst/>
              <a:gdLst/>
              <a:ahLst/>
              <a:cxnLst/>
              <a:rect l="0" t="0" r="r" b="b"/>
              <a:pathLst>
                <a:path w="707" h="3357">
                  <a:moveTo>
                    <a:pt x="0" y="3330"/>
                  </a:moveTo>
                  <a:lnTo>
                    <a:pt x="156" y="3357"/>
                  </a:lnTo>
                  <a:lnTo>
                    <a:pt x="707" y="0"/>
                  </a:lnTo>
                  <a:lnTo>
                    <a:pt x="547" y="0"/>
                  </a:lnTo>
                  <a:lnTo>
                    <a:pt x="0" y="3330"/>
                  </a:lnTo>
                  <a:close/>
                </a:path>
              </a:pathLst>
            </a:custGeom>
            <a:solidFill>
              <a:schemeClr val="accent1"/>
            </a:solidFill>
            <a:ln>
              <a:noFill/>
            </a:ln>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aramond" pitchFamily="18" charset="0"/>
                <a:ea typeface="+mn-ea"/>
                <a:cs typeface="+mn-cs"/>
              </a:endParaRPr>
            </a:p>
          </p:txBody>
        </p:sp>
        <p:sp>
          <p:nvSpPr>
            <p:cNvPr id="25" name="Freeform 7">
              <a:extLst>
                <a:ext uri="{FF2B5EF4-FFF2-40B4-BE49-F238E27FC236}">
                  <a16:creationId xmlns:a16="http://schemas.microsoft.com/office/drawing/2014/main" id="{BC38192B-B4CB-47D4-A3B1-10010247F15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320800" y="0"/>
              <a:ext cx="1117600" cy="5276850"/>
            </a:xfrm>
            <a:custGeom>
              <a:avLst/>
              <a:gdLst/>
              <a:ahLst/>
              <a:cxnLst/>
              <a:rect l="0" t="0" r="r" b="b"/>
              <a:pathLst>
                <a:path w="704" h="3324">
                  <a:moveTo>
                    <a:pt x="704" y="0"/>
                  </a:moveTo>
                  <a:lnTo>
                    <a:pt x="545" y="0"/>
                  </a:lnTo>
                  <a:lnTo>
                    <a:pt x="0" y="3300"/>
                  </a:lnTo>
                  <a:lnTo>
                    <a:pt x="157" y="3324"/>
                  </a:lnTo>
                  <a:lnTo>
                    <a:pt x="704" y="0"/>
                  </a:lnTo>
                  <a:close/>
                </a:path>
              </a:pathLst>
            </a:custGeom>
            <a:solidFill>
              <a:srgbClr val="595959"/>
            </a:solidFill>
            <a:ln>
              <a:noFill/>
            </a:ln>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aramond" pitchFamily="18" charset="0"/>
                <a:ea typeface="+mn-ea"/>
                <a:cs typeface="+mn-cs"/>
              </a:endParaRPr>
            </a:p>
          </p:txBody>
        </p:sp>
        <p:sp>
          <p:nvSpPr>
            <p:cNvPr id="26" name="Freeform 8">
              <a:extLst>
                <a:ext uri="{FF2B5EF4-FFF2-40B4-BE49-F238E27FC236}">
                  <a16:creationId xmlns:a16="http://schemas.microsoft.com/office/drawing/2014/main" id="{96330E33-E171-4B0F-82B5-AF7230399B5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320800" y="5238750"/>
              <a:ext cx="1228725" cy="1619250"/>
            </a:xfrm>
            <a:custGeom>
              <a:avLst/>
              <a:gdLst/>
              <a:ahLst/>
              <a:cxnLst/>
              <a:rect l="0" t="0" r="r" b="b"/>
              <a:pathLst>
                <a:path w="774" h="1020">
                  <a:moveTo>
                    <a:pt x="0" y="0"/>
                  </a:moveTo>
                  <a:lnTo>
                    <a:pt x="740" y="1020"/>
                  </a:lnTo>
                  <a:lnTo>
                    <a:pt x="774" y="1020"/>
                  </a:lnTo>
                  <a:lnTo>
                    <a:pt x="0" y="0"/>
                  </a:lnTo>
                  <a:close/>
                </a:path>
              </a:pathLst>
            </a:custGeom>
            <a:solidFill>
              <a:srgbClr val="262626"/>
            </a:solidFill>
            <a:ln>
              <a:noFill/>
            </a:ln>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aramond" pitchFamily="18" charset="0"/>
                <a:ea typeface="+mn-ea"/>
                <a:cs typeface="+mn-cs"/>
              </a:endParaRPr>
            </a:p>
          </p:txBody>
        </p:sp>
        <p:sp>
          <p:nvSpPr>
            <p:cNvPr id="27" name="Freeform 9">
              <a:extLst>
                <a:ext uri="{FF2B5EF4-FFF2-40B4-BE49-F238E27FC236}">
                  <a16:creationId xmlns:a16="http://schemas.microsoft.com/office/drawing/2014/main" id="{332B1723-69BF-42D7-B757-0FA059E1525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627188" y="5291138"/>
              <a:ext cx="1495425" cy="1566863"/>
            </a:xfrm>
            <a:custGeom>
              <a:avLst/>
              <a:gdLst/>
              <a:ahLst/>
              <a:cxnLst/>
              <a:rect l="0" t="0" r="r" b="b"/>
              <a:pathLst>
                <a:path w="942" h="987">
                  <a:moveTo>
                    <a:pt x="0" y="0"/>
                  </a:moveTo>
                  <a:lnTo>
                    <a:pt x="909" y="987"/>
                  </a:lnTo>
                  <a:lnTo>
                    <a:pt x="942" y="987"/>
                  </a:lnTo>
                  <a:lnTo>
                    <a:pt x="0" y="0"/>
                  </a:lnTo>
                  <a:close/>
                </a:path>
              </a:pathLst>
            </a:custGeom>
            <a:solidFill>
              <a:schemeClr val="accent1">
                <a:lumMod val="50000"/>
              </a:schemeClr>
            </a:solidFill>
            <a:ln>
              <a:noFill/>
            </a:ln>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aramond" pitchFamily="18" charset="0"/>
                <a:ea typeface="+mn-ea"/>
                <a:cs typeface="+mn-cs"/>
              </a:endParaRPr>
            </a:p>
          </p:txBody>
        </p:sp>
        <p:sp>
          <p:nvSpPr>
            <p:cNvPr id="28" name="Freeform 10">
              <a:extLst>
                <a:ext uri="{FF2B5EF4-FFF2-40B4-BE49-F238E27FC236}">
                  <a16:creationId xmlns:a16="http://schemas.microsoft.com/office/drawing/2014/main" id="{F115D62D-1E96-48D1-A78D-D370A0BFB9B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627188" y="5286375"/>
              <a:ext cx="2130425" cy="1571625"/>
            </a:xfrm>
            <a:custGeom>
              <a:avLst/>
              <a:gdLst/>
              <a:ahLst/>
              <a:cxnLst/>
              <a:rect l="0" t="0" r="r" b="b"/>
              <a:pathLst>
                <a:path w="1342" h="990">
                  <a:moveTo>
                    <a:pt x="0" y="3"/>
                  </a:moveTo>
                  <a:lnTo>
                    <a:pt x="942" y="990"/>
                  </a:lnTo>
                  <a:lnTo>
                    <a:pt x="1342" y="990"/>
                  </a:lnTo>
                  <a:lnTo>
                    <a:pt x="156" y="27"/>
                  </a:lnTo>
                  <a:lnTo>
                    <a:pt x="0" y="0"/>
                  </a:lnTo>
                  <a:lnTo>
                    <a:pt x="0" y="3"/>
                  </a:lnTo>
                  <a:close/>
                </a:path>
              </a:pathLst>
            </a:custGeom>
            <a:solidFill>
              <a:schemeClr val="accent1">
                <a:lumMod val="75000"/>
              </a:schemeClr>
            </a:solidFill>
            <a:ln>
              <a:noFill/>
            </a:ln>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aramond" pitchFamily="18" charset="0"/>
                <a:ea typeface="+mn-ea"/>
                <a:cs typeface="+mn-cs"/>
              </a:endParaRPr>
            </a:p>
          </p:txBody>
        </p:sp>
        <p:sp>
          <p:nvSpPr>
            <p:cNvPr id="29" name="Freeform 11">
              <a:extLst>
                <a:ext uri="{FF2B5EF4-FFF2-40B4-BE49-F238E27FC236}">
                  <a16:creationId xmlns:a16="http://schemas.microsoft.com/office/drawing/2014/main" id="{91C2876A-169D-4822-A766-C00578C88B4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320800" y="5238750"/>
              <a:ext cx="1695450" cy="1619250"/>
            </a:xfrm>
            <a:custGeom>
              <a:avLst/>
              <a:gdLst/>
              <a:ahLst/>
              <a:cxnLst/>
              <a:rect l="0" t="0" r="r" b="b"/>
              <a:pathLst>
                <a:path w="1068" h="1020">
                  <a:moveTo>
                    <a:pt x="1068" y="1020"/>
                  </a:moveTo>
                  <a:lnTo>
                    <a:pt x="184" y="60"/>
                  </a:lnTo>
                  <a:lnTo>
                    <a:pt x="154" y="27"/>
                  </a:lnTo>
                  <a:lnTo>
                    <a:pt x="157" y="27"/>
                  </a:lnTo>
                  <a:lnTo>
                    <a:pt x="157" y="24"/>
                  </a:lnTo>
                  <a:lnTo>
                    <a:pt x="154" y="24"/>
                  </a:lnTo>
                  <a:lnTo>
                    <a:pt x="0" y="0"/>
                  </a:lnTo>
                  <a:lnTo>
                    <a:pt x="0" y="0"/>
                  </a:lnTo>
                  <a:lnTo>
                    <a:pt x="774" y="1020"/>
                  </a:lnTo>
                  <a:lnTo>
                    <a:pt x="1068" y="1020"/>
                  </a:lnTo>
                  <a:close/>
                </a:path>
              </a:pathLst>
            </a:custGeom>
            <a:solidFill>
              <a:srgbClr val="404040"/>
            </a:solidFill>
            <a:ln>
              <a:noFill/>
            </a:ln>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aramond" pitchFamily="18" charset="0"/>
                <a:ea typeface="+mn-ea"/>
                <a:cs typeface="+mn-cs"/>
              </a:endParaRPr>
            </a:p>
          </p:txBody>
        </p:sp>
      </p:grpSp>
      <p:pic>
        <p:nvPicPr>
          <p:cNvPr id="7" name="Picture 6" descr="Text&#10;&#10;Description automatically generated">
            <a:extLst>
              <a:ext uri="{FF2B5EF4-FFF2-40B4-BE49-F238E27FC236}">
                <a16:creationId xmlns:a16="http://schemas.microsoft.com/office/drawing/2014/main" id="{A2A5096B-9059-B04E-A04D-27E13531D77B}"/>
              </a:ext>
            </a:extLst>
          </p:cNvPr>
          <p:cNvPicPr>
            <a:picLocks noChangeAspect="1"/>
          </p:cNvPicPr>
          <p:nvPr/>
        </p:nvPicPr>
        <p:blipFill>
          <a:blip r:embed="rId3"/>
          <a:stretch>
            <a:fillRect/>
          </a:stretch>
        </p:blipFill>
        <p:spPr>
          <a:xfrm>
            <a:off x="5361830" y="597409"/>
            <a:ext cx="5474207" cy="1560576"/>
          </a:xfrm>
          <a:prstGeom prst="rect">
            <a:avLst/>
          </a:prstGeom>
        </p:spPr>
      </p:pic>
      <p:pic>
        <p:nvPicPr>
          <p:cNvPr id="9" name="Picture 8" descr="Text&#10;&#10;Description automatically generated">
            <a:extLst>
              <a:ext uri="{FF2B5EF4-FFF2-40B4-BE49-F238E27FC236}">
                <a16:creationId xmlns:a16="http://schemas.microsoft.com/office/drawing/2014/main" id="{D07DB9B9-D601-0541-AF1C-77045418B761}"/>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5325254" y="2243328"/>
            <a:ext cx="5401055" cy="2243328"/>
          </a:xfrm>
          <a:prstGeom prst="rect">
            <a:avLst/>
          </a:prstGeom>
        </p:spPr>
      </p:pic>
      <p:pic>
        <p:nvPicPr>
          <p:cNvPr id="5" name="Content Placeholder 4" descr="Text&#10;&#10;Description automatically generated">
            <a:extLst>
              <a:ext uri="{FF2B5EF4-FFF2-40B4-BE49-F238E27FC236}">
                <a16:creationId xmlns:a16="http://schemas.microsoft.com/office/drawing/2014/main" id="{5A802FF2-EF5B-554F-91E7-A6850A1B9EA6}"/>
              </a:ext>
            </a:extLst>
          </p:cNvPr>
          <p:cNvPicPr>
            <a:picLocks noGrp="1" noChangeAspect="1"/>
          </p:cNvPicPr>
          <p:nvPr>
            <p:ph idx="1"/>
          </p:nvPr>
        </p:nvPicPr>
        <p:blipFill>
          <a:blip r:embed="rId6"/>
          <a:stretch>
            <a:fillRect/>
          </a:stretch>
        </p:blipFill>
        <p:spPr>
          <a:xfrm>
            <a:off x="5422790" y="4569858"/>
            <a:ext cx="5218175" cy="1440799"/>
          </a:xfrm>
        </p:spPr>
      </p:pic>
      <p:sp>
        <p:nvSpPr>
          <p:cNvPr id="2" name="Title 1">
            <a:extLst>
              <a:ext uri="{FF2B5EF4-FFF2-40B4-BE49-F238E27FC236}">
                <a16:creationId xmlns:a16="http://schemas.microsoft.com/office/drawing/2014/main" id="{CF40032B-E887-384C-8C89-CE836D95A0BA}"/>
              </a:ext>
            </a:extLst>
          </p:cNvPr>
          <p:cNvSpPr>
            <a:spLocks noGrp="1"/>
          </p:cNvSpPr>
          <p:nvPr>
            <p:ph type="title"/>
          </p:nvPr>
        </p:nvSpPr>
        <p:spPr>
          <a:xfrm>
            <a:off x="1925267" y="1371600"/>
            <a:ext cx="2085203" cy="3829050"/>
          </a:xfrm>
        </p:spPr>
        <p:txBody>
          <a:bodyPr vert="horz" lIns="91440" tIns="45720" rIns="91440" bIns="45720" rtlCol="0" anchor="ctr">
            <a:normAutofit/>
          </a:bodyPr>
          <a:lstStyle/>
          <a:p>
            <a:pPr defTabSz="914400" eaLnBrk="1" hangingPunct="1">
              <a:lnSpc>
                <a:spcPct val="90000"/>
              </a:lnSpc>
            </a:pPr>
            <a:r>
              <a:rPr lang="en-US" sz="2300" b="1" dirty="0">
                <a:solidFill>
                  <a:srgbClr val="FFFFFF"/>
                </a:solidFill>
                <a:latin typeface="+mj-lt"/>
                <a:ea typeface="+mj-ea"/>
                <a:cs typeface="+mj-cs"/>
              </a:rPr>
              <a:t>3 Randomized trials of CAR T-cell therapy vs SOC in transplant-eligible DLBCL with early relapse or primary refractory disease </a:t>
            </a:r>
          </a:p>
        </p:txBody>
      </p:sp>
      <p:sp>
        <p:nvSpPr>
          <p:cNvPr id="6" name="TextBox 5">
            <a:extLst>
              <a:ext uri="{FF2B5EF4-FFF2-40B4-BE49-F238E27FC236}">
                <a16:creationId xmlns:a16="http://schemas.microsoft.com/office/drawing/2014/main" id="{4DBBDD5A-6DF2-A933-75C8-B637D72AD126}"/>
              </a:ext>
            </a:extLst>
          </p:cNvPr>
          <p:cNvSpPr txBox="1"/>
          <p:nvPr/>
        </p:nvSpPr>
        <p:spPr>
          <a:xfrm>
            <a:off x="1524000" y="6350170"/>
            <a:ext cx="6108192" cy="507831"/>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a:ea typeface="+mn-ea"/>
                <a:cs typeface="+mn-cs"/>
              </a:rPr>
              <a:t>Locke, F et al, N </a:t>
            </a:r>
            <a:r>
              <a:rPr kumimoji="0" lang="en-US" sz="900" b="0" i="0" u="none" strike="noStrike" kern="1200" cap="none" spc="0" normalizeH="0" baseline="0" noProof="0" dirty="0" err="1">
                <a:ln>
                  <a:noFill/>
                </a:ln>
                <a:solidFill>
                  <a:prstClr val="black"/>
                </a:solidFill>
                <a:effectLst/>
                <a:uLnTx/>
                <a:uFillTx/>
                <a:latin typeface="Calibri"/>
                <a:ea typeface="+mn-ea"/>
                <a:cs typeface="+mn-cs"/>
              </a:rPr>
              <a:t>Engl</a:t>
            </a:r>
            <a:r>
              <a:rPr kumimoji="0" lang="en-US" sz="900" b="0" i="0" u="none" strike="noStrike" kern="1200" cap="none" spc="0" normalizeH="0" baseline="0" noProof="0" dirty="0">
                <a:ln>
                  <a:noFill/>
                </a:ln>
                <a:solidFill>
                  <a:prstClr val="black"/>
                </a:solidFill>
                <a:effectLst/>
                <a:uLnTx/>
                <a:uFillTx/>
                <a:latin typeface="Calibri"/>
                <a:ea typeface="+mn-ea"/>
                <a:cs typeface="+mn-cs"/>
              </a:rPr>
              <a:t> J Med. 2022 Feb 17;386(7):640-654. </a:t>
            </a:r>
            <a:r>
              <a:rPr kumimoji="0" lang="en-US" sz="900" b="0" i="0" u="none" strike="noStrike" kern="1200" cap="none" spc="0" normalizeH="0" baseline="0" noProof="0" dirty="0" err="1">
                <a:ln>
                  <a:noFill/>
                </a:ln>
                <a:solidFill>
                  <a:prstClr val="black"/>
                </a:solidFill>
                <a:effectLst/>
                <a:uLnTx/>
                <a:uFillTx/>
                <a:latin typeface="Calibri"/>
                <a:ea typeface="+mn-ea"/>
                <a:cs typeface="+mn-cs"/>
              </a:rPr>
              <a:t>doi</a:t>
            </a:r>
            <a:r>
              <a:rPr kumimoji="0" lang="en-US" sz="900" b="0" i="0" u="none" strike="noStrike" kern="1200" cap="none" spc="0" normalizeH="0" baseline="0" noProof="0" dirty="0">
                <a:ln>
                  <a:noFill/>
                </a:ln>
                <a:solidFill>
                  <a:prstClr val="black"/>
                </a:solidFill>
                <a:effectLst/>
                <a:uLnTx/>
                <a:uFillTx/>
                <a:latin typeface="Calibri"/>
                <a:ea typeface="+mn-ea"/>
                <a:cs typeface="+mn-cs"/>
              </a:rPr>
              <a:t>: 10.1056/NEJMoa2116133</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err="1">
                <a:ln>
                  <a:noFill/>
                </a:ln>
                <a:solidFill>
                  <a:prstClr val="black"/>
                </a:solidFill>
                <a:effectLst/>
                <a:uLnTx/>
                <a:uFillTx/>
                <a:latin typeface="Calibri"/>
                <a:ea typeface="+mn-ea"/>
                <a:cs typeface="+mn-cs"/>
              </a:rPr>
              <a:t>Kamdar</a:t>
            </a:r>
            <a:r>
              <a:rPr kumimoji="0" lang="en-US" sz="900" b="0" i="0" u="none" strike="noStrike" kern="1200" cap="none" spc="0" normalizeH="0" baseline="0" noProof="0" dirty="0">
                <a:ln>
                  <a:noFill/>
                </a:ln>
                <a:solidFill>
                  <a:prstClr val="black"/>
                </a:solidFill>
                <a:effectLst/>
                <a:uLnTx/>
                <a:uFillTx/>
                <a:latin typeface="Calibri"/>
                <a:ea typeface="+mn-ea"/>
                <a:cs typeface="+mn-cs"/>
              </a:rPr>
              <a:t>, M et al Lancet. 2022 Jun 18;399(10343):2294-2308. </a:t>
            </a:r>
            <a:r>
              <a:rPr kumimoji="0" lang="en-US" sz="900" b="0" i="0" u="none" strike="noStrike" kern="1200" cap="none" spc="0" normalizeH="0" baseline="0" noProof="0" dirty="0" err="1">
                <a:ln>
                  <a:noFill/>
                </a:ln>
                <a:solidFill>
                  <a:prstClr val="black"/>
                </a:solidFill>
                <a:effectLst/>
                <a:uLnTx/>
                <a:uFillTx/>
                <a:latin typeface="Calibri"/>
                <a:ea typeface="+mn-ea"/>
                <a:cs typeface="+mn-cs"/>
              </a:rPr>
              <a:t>doi</a:t>
            </a:r>
            <a:r>
              <a:rPr kumimoji="0" lang="en-US" sz="900" b="0" i="0" u="none" strike="noStrike" kern="1200" cap="none" spc="0" normalizeH="0" baseline="0" noProof="0" dirty="0">
                <a:ln>
                  <a:noFill/>
                </a:ln>
                <a:solidFill>
                  <a:prstClr val="black"/>
                </a:solidFill>
                <a:effectLst/>
                <a:uLnTx/>
                <a:uFillTx/>
                <a:latin typeface="Calibri"/>
                <a:ea typeface="+mn-ea"/>
                <a:cs typeface="+mn-cs"/>
              </a:rPr>
              <a:t>: 10.1016/S0140-6736(22)00662-6.</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err="1">
                <a:ln>
                  <a:noFill/>
                </a:ln>
                <a:solidFill>
                  <a:prstClr val="black"/>
                </a:solidFill>
                <a:effectLst/>
                <a:uLnTx/>
                <a:uFillTx/>
                <a:latin typeface="Calibri"/>
                <a:ea typeface="+mn-ea"/>
                <a:cs typeface="+mn-cs"/>
              </a:rPr>
              <a:t>Bishop,M</a:t>
            </a:r>
            <a:r>
              <a:rPr kumimoji="0" lang="en-US" sz="900" b="0" i="0" u="none" strike="noStrike" kern="1200" cap="none" spc="0" normalizeH="0" baseline="0" noProof="0" dirty="0">
                <a:ln>
                  <a:noFill/>
                </a:ln>
                <a:solidFill>
                  <a:prstClr val="black"/>
                </a:solidFill>
                <a:effectLst/>
                <a:uLnTx/>
                <a:uFillTx/>
                <a:latin typeface="Calibri"/>
                <a:ea typeface="+mn-ea"/>
                <a:cs typeface="+mn-cs"/>
              </a:rPr>
              <a:t> et al N </a:t>
            </a:r>
            <a:r>
              <a:rPr kumimoji="0" lang="en-US" sz="900" b="0" i="0" u="none" strike="noStrike" kern="1200" cap="none" spc="0" normalizeH="0" baseline="0" noProof="0" dirty="0" err="1">
                <a:ln>
                  <a:noFill/>
                </a:ln>
                <a:solidFill>
                  <a:prstClr val="black"/>
                </a:solidFill>
                <a:effectLst/>
                <a:uLnTx/>
                <a:uFillTx/>
                <a:latin typeface="Calibri"/>
                <a:ea typeface="+mn-ea"/>
                <a:cs typeface="+mn-cs"/>
              </a:rPr>
              <a:t>Engl</a:t>
            </a:r>
            <a:r>
              <a:rPr kumimoji="0" lang="en-US" sz="900" b="0" i="0" u="none" strike="noStrike" kern="1200" cap="none" spc="0" normalizeH="0" baseline="0" noProof="0" dirty="0">
                <a:ln>
                  <a:noFill/>
                </a:ln>
                <a:solidFill>
                  <a:prstClr val="black"/>
                </a:solidFill>
                <a:effectLst/>
                <a:uLnTx/>
                <a:uFillTx/>
                <a:latin typeface="Calibri"/>
                <a:ea typeface="+mn-ea"/>
                <a:cs typeface="+mn-cs"/>
              </a:rPr>
              <a:t> J Med. 2022 Feb 17;386(7):629-639. </a:t>
            </a:r>
            <a:r>
              <a:rPr kumimoji="0" lang="en-US" sz="900" b="0" i="0" u="none" strike="noStrike" kern="1200" cap="none" spc="0" normalizeH="0" baseline="0" noProof="0" dirty="0" err="1">
                <a:ln>
                  <a:noFill/>
                </a:ln>
                <a:solidFill>
                  <a:prstClr val="black"/>
                </a:solidFill>
                <a:effectLst/>
                <a:uLnTx/>
                <a:uFillTx/>
                <a:latin typeface="Calibri"/>
                <a:ea typeface="+mn-ea"/>
                <a:cs typeface="+mn-cs"/>
              </a:rPr>
              <a:t>doi</a:t>
            </a:r>
            <a:r>
              <a:rPr kumimoji="0" lang="en-US" sz="900" b="0" i="0" u="none" strike="noStrike" kern="1200" cap="none" spc="0" normalizeH="0" baseline="0" noProof="0" dirty="0">
                <a:ln>
                  <a:noFill/>
                </a:ln>
                <a:solidFill>
                  <a:prstClr val="black"/>
                </a:solidFill>
                <a:effectLst/>
                <a:uLnTx/>
                <a:uFillTx/>
                <a:latin typeface="Calibri"/>
                <a:ea typeface="+mn-ea"/>
                <a:cs typeface="+mn-cs"/>
              </a:rPr>
              <a:t>: 10.1056/NEJMoa2116596c</a:t>
            </a:r>
          </a:p>
        </p:txBody>
      </p:sp>
    </p:spTree>
    <p:extLst>
      <p:ext uri="{BB962C8B-B14F-4D97-AF65-F5344CB8AC3E}">
        <p14:creationId xmlns:p14="http://schemas.microsoft.com/office/powerpoint/2010/main" val="32044230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A screenshot of a medical report&#10;&#10;Description automatically generated">
            <a:extLst>
              <a:ext uri="{FF2B5EF4-FFF2-40B4-BE49-F238E27FC236}">
                <a16:creationId xmlns:a16="http://schemas.microsoft.com/office/drawing/2014/main" id="{E3CD9C63-36C9-5F46-D3EE-F8A93CD79CA5}"/>
              </a:ext>
            </a:extLst>
          </p:cNvPr>
          <p:cNvPicPr>
            <a:picLocks noGrp="1" noChangeAspect="1"/>
          </p:cNvPicPr>
          <p:nvPr>
            <p:ph idx="1"/>
          </p:nvPr>
        </p:nvPicPr>
        <p:blipFill>
          <a:blip r:embed="rId3"/>
          <a:stretch>
            <a:fillRect/>
          </a:stretch>
        </p:blipFill>
        <p:spPr>
          <a:xfrm>
            <a:off x="1962912" y="475489"/>
            <a:ext cx="8168640" cy="5701475"/>
          </a:xfrm>
        </p:spPr>
      </p:pic>
      <p:sp>
        <p:nvSpPr>
          <p:cNvPr id="6" name="TextBox 5">
            <a:extLst>
              <a:ext uri="{FF2B5EF4-FFF2-40B4-BE49-F238E27FC236}">
                <a16:creationId xmlns:a16="http://schemas.microsoft.com/office/drawing/2014/main" id="{3B018367-AD7D-2D94-382C-7E3CC1F46B61}"/>
              </a:ext>
            </a:extLst>
          </p:cNvPr>
          <p:cNvSpPr txBox="1"/>
          <p:nvPr/>
        </p:nvSpPr>
        <p:spPr>
          <a:xfrm>
            <a:off x="7498407" y="6397054"/>
            <a:ext cx="3223959" cy="565539"/>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Garamond" pitchFamily="18" charset="0"/>
                <a:ea typeface="+mn-ea"/>
                <a:cs typeface="+mn-cs"/>
              </a:rPr>
              <a:t>1.Locke, F et al, N </a:t>
            </a:r>
            <a:r>
              <a:rPr kumimoji="0" lang="en-US" sz="600" b="0" i="0" u="none" strike="noStrike" kern="1200" cap="none" spc="0" normalizeH="0" baseline="0" noProof="0" dirty="0" err="1">
                <a:ln>
                  <a:noFill/>
                </a:ln>
                <a:solidFill>
                  <a:prstClr val="black"/>
                </a:solidFill>
                <a:effectLst/>
                <a:uLnTx/>
                <a:uFillTx/>
                <a:latin typeface="Garamond" pitchFamily="18" charset="0"/>
                <a:ea typeface="+mn-ea"/>
                <a:cs typeface="+mn-cs"/>
              </a:rPr>
              <a:t>Engl</a:t>
            </a:r>
            <a:r>
              <a:rPr kumimoji="0" lang="en-US" sz="600" b="0" i="0" u="none" strike="noStrike" kern="1200" cap="none" spc="0" normalizeH="0" baseline="0" noProof="0" dirty="0">
                <a:ln>
                  <a:noFill/>
                </a:ln>
                <a:solidFill>
                  <a:prstClr val="black"/>
                </a:solidFill>
                <a:effectLst/>
                <a:uLnTx/>
                <a:uFillTx/>
                <a:latin typeface="Garamond" pitchFamily="18" charset="0"/>
                <a:ea typeface="+mn-ea"/>
                <a:cs typeface="+mn-cs"/>
              </a:rPr>
              <a:t> J Med. 2022 Feb 17;386(7):640-654. </a:t>
            </a:r>
            <a:r>
              <a:rPr kumimoji="0" lang="en-US" sz="600" b="0" i="0" u="none" strike="noStrike" kern="1200" cap="none" spc="0" normalizeH="0" baseline="0" noProof="0" dirty="0" err="1">
                <a:ln>
                  <a:noFill/>
                </a:ln>
                <a:solidFill>
                  <a:prstClr val="black"/>
                </a:solidFill>
                <a:effectLst/>
                <a:uLnTx/>
                <a:uFillTx/>
                <a:latin typeface="Garamond" pitchFamily="18" charset="0"/>
                <a:ea typeface="+mn-ea"/>
                <a:cs typeface="+mn-cs"/>
              </a:rPr>
              <a:t>doi</a:t>
            </a:r>
            <a:r>
              <a:rPr kumimoji="0" lang="en-US" sz="600" b="0" i="0" u="none" strike="noStrike" kern="1200" cap="none" spc="0" normalizeH="0" baseline="0" noProof="0" dirty="0">
                <a:ln>
                  <a:noFill/>
                </a:ln>
                <a:solidFill>
                  <a:prstClr val="black"/>
                </a:solidFill>
                <a:effectLst/>
                <a:uLnTx/>
                <a:uFillTx/>
                <a:latin typeface="Garamond" pitchFamily="18" charset="0"/>
                <a:ea typeface="+mn-ea"/>
                <a:cs typeface="+mn-cs"/>
              </a:rPr>
              <a:t>: 10.1056/NEJMoa2116133</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Garamond" pitchFamily="18" charset="0"/>
                <a:ea typeface="+mn-ea"/>
                <a:cs typeface="+mn-cs"/>
              </a:rPr>
              <a:t>2.Kamdar, M et al Lancet. 2022 Jun 18;399(10343):2294-2308. </a:t>
            </a:r>
            <a:r>
              <a:rPr kumimoji="0" lang="en-US" sz="600" b="0" i="0" u="none" strike="noStrike" kern="1200" cap="none" spc="0" normalizeH="0" baseline="0" noProof="0" dirty="0" err="1">
                <a:ln>
                  <a:noFill/>
                </a:ln>
                <a:solidFill>
                  <a:prstClr val="black"/>
                </a:solidFill>
                <a:effectLst/>
                <a:uLnTx/>
                <a:uFillTx/>
                <a:latin typeface="Garamond" pitchFamily="18" charset="0"/>
                <a:ea typeface="+mn-ea"/>
                <a:cs typeface="+mn-cs"/>
              </a:rPr>
              <a:t>doi</a:t>
            </a:r>
            <a:r>
              <a:rPr kumimoji="0" lang="en-US" sz="600" b="0" i="0" u="none" strike="noStrike" kern="1200" cap="none" spc="0" normalizeH="0" baseline="0" noProof="0" dirty="0">
                <a:ln>
                  <a:noFill/>
                </a:ln>
                <a:solidFill>
                  <a:prstClr val="black"/>
                </a:solidFill>
                <a:effectLst/>
                <a:uLnTx/>
                <a:uFillTx/>
                <a:latin typeface="Garamond" pitchFamily="18" charset="0"/>
                <a:ea typeface="+mn-ea"/>
                <a:cs typeface="+mn-cs"/>
              </a:rPr>
              <a:t>: 10.1016/S0140-6736(22)00662-6.</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Garamond" pitchFamily="18" charset="0"/>
                <a:ea typeface="+mn-ea"/>
                <a:cs typeface="+mn-cs"/>
              </a:rPr>
              <a:t>3.Bishop,M et al N </a:t>
            </a:r>
            <a:r>
              <a:rPr kumimoji="0" lang="en-US" sz="600" b="0" i="0" u="none" strike="noStrike" kern="1200" cap="none" spc="0" normalizeH="0" baseline="0" noProof="0" dirty="0" err="1">
                <a:ln>
                  <a:noFill/>
                </a:ln>
                <a:solidFill>
                  <a:prstClr val="black"/>
                </a:solidFill>
                <a:effectLst/>
                <a:uLnTx/>
                <a:uFillTx/>
                <a:latin typeface="Garamond" pitchFamily="18" charset="0"/>
                <a:ea typeface="+mn-ea"/>
                <a:cs typeface="+mn-cs"/>
              </a:rPr>
              <a:t>Engl</a:t>
            </a:r>
            <a:r>
              <a:rPr kumimoji="0" lang="en-US" sz="600" b="0" i="0" u="none" strike="noStrike" kern="1200" cap="none" spc="0" normalizeH="0" baseline="0" noProof="0" dirty="0">
                <a:ln>
                  <a:noFill/>
                </a:ln>
                <a:solidFill>
                  <a:prstClr val="black"/>
                </a:solidFill>
                <a:effectLst/>
                <a:uLnTx/>
                <a:uFillTx/>
                <a:latin typeface="Garamond" pitchFamily="18" charset="0"/>
                <a:ea typeface="+mn-ea"/>
                <a:cs typeface="+mn-cs"/>
              </a:rPr>
              <a:t> J Med. 2022 Feb 17;386(7):629-639. </a:t>
            </a:r>
            <a:r>
              <a:rPr kumimoji="0" lang="en-US" sz="600" b="0" i="0" u="none" strike="noStrike" kern="1200" cap="none" spc="0" normalizeH="0" baseline="0" noProof="0" dirty="0" err="1">
                <a:ln>
                  <a:noFill/>
                </a:ln>
                <a:solidFill>
                  <a:prstClr val="black"/>
                </a:solidFill>
                <a:effectLst/>
                <a:uLnTx/>
                <a:uFillTx/>
                <a:latin typeface="Garamond" pitchFamily="18" charset="0"/>
                <a:ea typeface="+mn-ea"/>
                <a:cs typeface="+mn-cs"/>
              </a:rPr>
              <a:t>doi</a:t>
            </a:r>
            <a:r>
              <a:rPr kumimoji="0" lang="en-US" sz="600" b="0" i="0" u="none" strike="noStrike" kern="1200" cap="none" spc="0" normalizeH="0" baseline="0" noProof="0" dirty="0">
                <a:ln>
                  <a:noFill/>
                </a:ln>
                <a:solidFill>
                  <a:prstClr val="black"/>
                </a:solidFill>
                <a:effectLst/>
                <a:uLnTx/>
                <a:uFillTx/>
                <a:latin typeface="Garamond" pitchFamily="18" charset="0"/>
                <a:ea typeface="+mn-ea"/>
                <a:cs typeface="+mn-cs"/>
              </a:rPr>
              <a:t>: 10.1056/NEJMoa2116596c</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Garamond" pitchFamily="18" charset="0"/>
                <a:ea typeface="+mn-ea"/>
                <a:cs typeface="+mn-cs"/>
              </a:rPr>
              <a:t>4.Abramson JS et al Blood 2023 6;141(14):1675-1684</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675" b="0" i="0" u="none" strike="noStrike" kern="1200" cap="none" spc="0" normalizeH="0" baseline="0" noProof="0" dirty="0">
              <a:ln>
                <a:noFill/>
              </a:ln>
              <a:solidFill>
                <a:prstClr val="black"/>
              </a:solidFill>
              <a:effectLst/>
              <a:uLnTx/>
              <a:uFillTx/>
              <a:latin typeface="Garamond" pitchFamily="18" charset="0"/>
              <a:ea typeface="+mn-ea"/>
              <a:cs typeface="+mn-cs"/>
            </a:endParaRPr>
          </a:p>
        </p:txBody>
      </p:sp>
      <p:sp>
        <p:nvSpPr>
          <p:cNvPr id="3" name="TextBox 2">
            <a:extLst>
              <a:ext uri="{FF2B5EF4-FFF2-40B4-BE49-F238E27FC236}">
                <a16:creationId xmlns:a16="http://schemas.microsoft.com/office/drawing/2014/main" id="{E6C94F67-215E-CED9-ECB4-042C2513EAB8}"/>
              </a:ext>
            </a:extLst>
          </p:cNvPr>
          <p:cNvSpPr txBox="1"/>
          <p:nvPr/>
        </p:nvSpPr>
        <p:spPr>
          <a:xfrm>
            <a:off x="2060449" y="4471553"/>
            <a:ext cx="6037385" cy="381801"/>
          </a:xfrm>
          <a:prstGeom prst="rect">
            <a:avLst/>
          </a:prstGeom>
          <a:noFill/>
          <a:ln w="28575">
            <a:solidFill>
              <a:srgbClr val="C00000"/>
            </a:solidFill>
          </a:ln>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aramond" pitchFamily="18" charset="0"/>
              <a:ea typeface="+mn-ea"/>
              <a:cs typeface="+mn-cs"/>
            </a:endParaRPr>
          </a:p>
        </p:txBody>
      </p:sp>
      <p:sp>
        <p:nvSpPr>
          <p:cNvPr id="4" name="TextBox 3">
            <a:extLst>
              <a:ext uri="{FF2B5EF4-FFF2-40B4-BE49-F238E27FC236}">
                <a16:creationId xmlns:a16="http://schemas.microsoft.com/office/drawing/2014/main" id="{F31D17D1-D062-4A00-6B93-976BF5F02220}"/>
              </a:ext>
            </a:extLst>
          </p:cNvPr>
          <p:cNvSpPr txBox="1"/>
          <p:nvPr/>
        </p:nvSpPr>
        <p:spPr>
          <a:xfrm>
            <a:off x="2060448" y="5409399"/>
            <a:ext cx="6037385" cy="381801"/>
          </a:xfrm>
          <a:prstGeom prst="rect">
            <a:avLst/>
          </a:prstGeom>
          <a:noFill/>
          <a:ln w="28575">
            <a:solidFill>
              <a:srgbClr val="C00000"/>
            </a:solidFill>
          </a:ln>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aramond" pitchFamily="18" charset="0"/>
              <a:ea typeface="+mn-ea"/>
              <a:cs typeface="+mn-cs"/>
            </a:endParaRPr>
          </a:p>
        </p:txBody>
      </p:sp>
    </p:spTree>
    <p:extLst>
      <p:ext uri="{BB962C8B-B14F-4D97-AF65-F5344CB8AC3E}">
        <p14:creationId xmlns:p14="http://schemas.microsoft.com/office/powerpoint/2010/main" val="83043175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61DAE0-044B-8E66-CE3B-00B67F93C52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130DF20-017E-6FFF-5D95-20A36F81B4F8}"/>
              </a:ext>
            </a:extLst>
          </p:cNvPr>
          <p:cNvSpPr>
            <a:spLocks noGrp="1"/>
          </p:cNvSpPr>
          <p:nvPr>
            <p:ph type="title"/>
          </p:nvPr>
        </p:nvSpPr>
        <p:spPr>
          <a:xfrm>
            <a:off x="718392" y="520486"/>
            <a:ext cx="10515600" cy="891107"/>
          </a:xfrm>
        </p:spPr>
        <p:txBody>
          <a:bodyPr>
            <a:noAutofit/>
          </a:bodyPr>
          <a:lstStyle/>
          <a:p>
            <a:r>
              <a:rPr lang="en-US" sz="3000" dirty="0">
                <a:latin typeface="Arial" panose="020B0604020202020204" pitchFamily="34" charset="0"/>
                <a:cs typeface="Arial" panose="020B0604020202020204" pitchFamily="34" charset="0"/>
              </a:rPr>
              <a:t>Axi-cel continued to demonstrate higher rates of survival vs. SOC at ≈ 4 years of follow-up</a:t>
            </a:r>
          </a:p>
        </p:txBody>
      </p:sp>
      <p:sp>
        <p:nvSpPr>
          <p:cNvPr id="5" name="Text Placeholder 4">
            <a:extLst>
              <a:ext uri="{FF2B5EF4-FFF2-40B4-BE49-F238E27FC236}">
                <a16:creationId xmlns:a16="http://schemas.microsoft.com/office/drawing/2014/main" id="{D1E74257-2191-002D-E18F-719596609737}"/>
              </a:ext>
            </a:extLst>
          </p:cNvPr>
          <p:cNvSpPr>
            <a:spLocks noGrp="1"/>
          </p:cNvSpPr>
          <p:nvPr>
            <p:ph sz="quarter" idx="14"/>
          </p:nvPr>
        </p:nvSpPr>
        <p:spPr>
          <a:xfrm>
            <a:off x="2190094" y="6060455"/>
            <a:ext cx="8154590" cy="373949"/>
          </a:xfrm>
        </p:spPr>
        <p:txBody>
          <a:bodyPr/>
          <a:lstStyle/>
          <a:p>
            <a:r>
              <a:rPr lang="en-US" sz="675" baseline="30000" dirty="0">
                <a:latin typeface="Arial" panose="020B0604020202020204" pitchFamily="34" charset="0"/>
                <a:cs typeface="Arial" panose="020B0604020202020204" pitchFamily="34" charset="0"/>
              </a:rPr>
              <a:t>a</a:t>
            </a:r>
            <a:r>
              <a:rPr lang="en-US" sz="675" dirty="0">
                <a:latin typeface="Arial" panose="020B0604020202020204" pitchFamily="34" charset="0"/>
                <a:cs typeface="Arial" panose="020B0604020202020204" pitchFamily="34" charset="0"/>
              </a:rPr>
              <a:t> ORR with SOC was 50%; </a:t>
            </a:r>
            <a:r>
              <a:rPr lang="en-US" sz="675" baseline="30000" dirty="0">
                <a:latin typeface="Arial" panose="020B0604020202020204" pitchFamily="34" charset="0"/>
                <a:cs typeface="Arial" panose="020B0604020202020204" pitchFamily="34" charset="0"/>
              </a:rPr>
              <a:t>b</a:t>
            </a:r>
            <a:r>
              <a:rPr lang="en-US" sz="675" dirty="0">
                <a:latin typeface="Arial" panose="020B0604020202020204" pitchFamily="34" charset="0"/>
                <a:cs typeface="Arial" panose="020B0604020202020204" pitchFamily="34" charset="0"/>
              </a:rPr>
              <a:t> CRR with SOC was 32%; </a:t>
            </a:r>
            <a:r>
              <a:rPr lang="en-US" sz="675" baseline="30000" dirty="0">
                <a:latin typeface="Arial" panose="020B0604020202020204" pitchFamily="34" charset="0"/>
                <a:cs typeface="Arial" panose="020B0604020202020204" pitchFamily="34" charset="0"/>
              </a:rPr>
              <a:t>c</a:t>
            </a:r>
            <a:r>
              <a:rPr lang="en-US" sz="675" dirty="0">
                <a:latin typeface="Arial" panose="020B0604020202020204" pitchFamily="34" charset="0"/>
                <a:cs typeface="Arial" panose="020B0604020202020204" pitchFamily="34" charset="0"/>
              </a:rPr>
              <a:t> 48-month EFS with SOC was 17%; </a:t>
            </a:r>
            <a:r>
              <a:rPr lang="en-US" sz="675" baseline="30000" dirty="0">
                <a:latin typeface="Arial" panose="020B0604020202020204" pitchFamily="34" charset="0"/>
                <a:cs typeface="Arial" panose="020B0604020202020204" pitchFamily="34" charset="0"/>
              </a:rPr>
              <a:t>d</a:t>
            </a:r>
            <a:r>
              <a:rPr lang="en-US" sz="675" dirty="0">
                <a:latin typeface="Arial" panose="020B0604020202020204" pitchFamily="34" charset="0"/>
                <a:cs typeface="Arial" panose="020B0604020202020204" pitchFamily="34" charset="0"/>
              </a:rPr>
              <a:t> 48-month PFS with SOC was 24%. 2L, second line; ASCT, autologous stem cell transplant; </a:t>
            </a:r>
            <a:r>
              <a:rPr lang="en-US" sz="675" dirty="0" err="1">
                <a:latin typeface="Arial" panose="020B0604020202020204" pitchFamily="34" charset="0"/>
                <a:cs typeface="Arial" panose="020B0604020202020204" pitchFamily="34" charset="0"/>
              </a:rPr>
              <a:t>axi</a:t>
            </a:r>
            <a:r>
              <a:rPr lang="en-US" sz="675" dirty="0">
                <a:latin typeface="Arial" panose="020B0604020202020204" pitchFamily="34" charset="0"/>
                <a:cs typeface="Arial" panose="020B0604020202020204" pitchFamily="34" charset="0"/>
              </a:rPr>
              <a:t>-cel, </a:t>
            </a:r>
            <a:r>
              <a:rPr lang="en-US" sz="675" dirty="0" err="1">
                <a:latin typeface="Arial" panose="020B0604020202020204" pitchFamily="34" charset="0"/>
                <a:cs typeface="Arial" panose="020B0604020202020204" pitchFamily="34" charset="0"/>
              </a:rPr>
              <a:t>axicabtagene</a:t>
            </a:r>
            <a:r>
              <a:rPr lang="en-US" sz="675" dirty="0">
                <a:latin typeface="Arial" panose="020B0604020202020204" pitchFamily="34" charset="0"/>
                <a:cs typeface="Arial" panose="020B0604020202020204" pitchFamily="34" charset="0"/>
              </a:rPr>
              <a:t> </a:t>
            </a:r>
            <a:r>
              <a:rPr lang="en-US" sz="675" dirty="0" err="1">
                <a:latin typeface="Arial" panose="020B0604020202020204" pitchFamily="34" charset="0"/>
                <a:cs typeface="Arial" panose="020B0604020202020204" pitchFamily="34" charset="0"/>
              </a:rPr>
              <a:t>ciloleucel</a:t>
            </a:r>
            <a:r>
              <a:rPr lang="en-US" sz="675" dirty="0">
                <a:latin typeface="Arial" panose="020B0604020202020204" pitchFamily="34" charset="0"/>
                <a:cs typeface="Arial" panose="020B0604020202020204" pitchFamily="34" charset="0"/>
              </a:rPr>
              <a:t>; CRR, complete response rate; DHL, double-hit lymphoma; EFS, event-free survival; HR, hazard ratio; LBCL, large B-cell lymphoma; </a:t>
            </a:r>
            <a:r>
              <a:rPr lang="en-US" sz="675" dirty="0" err="1">
                <a:latin typeface="Arial" panose="020B0604020202020204" pitchFamily="34" charset="0"/>
                <a:cs typeface="Arial" panose="020B0604020202020204" pitchFamily="34" charset="0"/>
              </a:rPr>
              <a:t>mFU</a:t>
            </a:r>
            <a:r>
              <a:rPr lang="en-US" sz="675" dirty="0">
                <a:latin typeface="Arial" panose="020B0604020202020204" pitchFamily="34" charset="0"/>
                <a:cs typeface="Arial" panose="020B0604020202020204" pitchFamily="34" charset="0"/>
              </a:rPr>
              <a:t>, median follow-up; </a:t>
            </a:r>
            <a:r>
              <a:rPr lang="en-US" sz="675" dirty="0" err="1">
                <a:latin typeface="Arial" panose="020B0604020202020204" pitchFamily="34" charset="0"/>
                <a:cs typeface="Arial" panose="020B0604020202020204" pitchFamily="34" charset="0"/>
              </a:rPr>
              <a:t>mo</a:t>
            </a:r>
            <a:r>
              <a:rPr lang="en-US" sz="675" dirty="0">
                <a:latin typeface="Arial" panose="020B0604020202020204" pitchFamily="34" charset="0"/>
                <a:cs typeface="Arial" panose="020B0604020202020204" pitchFamily="34" charset="0"/>
              </a:rPr>
              <a:t>, month; NR, not reached; ORR, overall response rate; OS, overall survival; PFS, progression-free survival; R/R, relapsed or refractory; SOC, standard of care; THL, triple-hit lymphoma. </a:t>
            </a:r>
            <a:br>
              <a:rPr lang="en-US" sz="675" dirty="0">
                <a:latin typeface="Arial" panose="020B0604020202020204" pitchFamily="34" charset="0"/>
                <a:cs typeface="Arial" panose="020B0604020202020204" pitchFamily="34" charset="0"/>
              </a:rPr>
            </a:br>
            <a:r>
              <a:rPr lang="en-US" sz="675" dirty="0">
                <a:latin typeface="Arial" panose="020B0604020202020204" pitchFamily="34" charset="0"/>
                <a:cs typeface="Arial" panose="020B0604020202020204" pitchFamily="34" charset="0"/>
              </a:rPr>
              <a:t>1. Locke FL, et al. N Engl J Med 2022;386:640—654. 2. Westin JR, et al. N Engl J Med 2023;389:148—157.</a:t>
            </a:r>
            <a:endParaRPr lang="en-US" sz="675" baseline="30000" dirty="0">
              <a:latin typeface="Arial" panose="020B0604020202020204" pitchFamily="34" charset="0"/>
              <a:cs typeface="Arial" panose="020B0604020202020204" pitchFamily="34" charset="0"/>
            </a:endParaRPr>
          </a:p>
        </p:txBody>
      </p:sp>
      <p:sp>
        <p:nvSpPr>
          <p:cNvPr id="60" name="Flowchart: Process 59">
            <a:extLst>
              <a:ext uri="{FF2B5EF4-FFF2-40B4-BE49-F238E27FC236}">
                <a16:creationId xmlns:a16="http://schemas.microsoft.com/office/drawing/2014/main" id="{89D30A59-95FD-E3C7-66DE-04CC5AB3A656}"/>
              </a:ext>
            </a:extLst>
          </p:cNvPr>
          <p:cNvSpPr/>
          <p:nvPr/>
        </p:nvSpPr>
        <p:spPr>
          <a:xfrm>
            <a:off x="1625788" y="1938207"/>
            <a:ext cx="1706880" cy="2672129"/>
          </a:xfrm>
          <a:prstGeom prst="flowChartProcess">
            <a:avLst/>
          </a:prstGeom>
          <a:solidFill>
            <a:sysClr val="window" lastClr="FFFFFF"/>
          </a:solidFill>
          <a:ln>
            <a:noFill/>
          </a:ln>
          <a:effectLst>
            <a:outerShdw blurRad="50800" dist="38100" algn="l" rotWithShape="0">
              <a:prstClr val="black">
                <a:alpha val="40000"/>
              </a:prstClr>
            </a:outerShdw>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1" name="Flowchart: Process 60">
            <a:extLst>
              <a:ext uri="{FF2B5EF4-FFF2-40B4-BE49-F238E27FC236}">
                <a16:creationId xmlns:a16="http://schemas.microsoft.com/office/drawing/2014/main" id="{AD915519-63CF-9FD2-BB24-5557968AF980}"/>
              </a:ext>
            </a:extLst>
          </p:cNvPr>
          <p:cNvSpPr/>
          <p:nvPr/>
        </p:nvSpPr>
        <p:spPr>
          <a:xfrm>
            <a:off x="1708209" y="1996656"/>
            <a:ext cx="1542040" cy="306710"/>
          </a:xfrm>
          <a:prstGeom prst="flowChartProcess">
            <a:avLst/>
          </a:prstGeom>
          <a:solidFill>
            <a:srgbClr val="458A6F"/>
          </a:solidFill>
          <a:ln>
            <a:noFill/>
          </a:ln>
          <a:effectLst/>
        </p:spPr>
        <p:txBody>
          <a:bodyPr lIns="27000" r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ZUMA-7</a:t>
            </a:r>
            <a:r>
              <a:rPr kumimoji="0" lang="en-US" sz="1050" b="1" i="0" u="none" strike="noStrike" kern="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1,2</a:t>
            </a:r>
            <a:endParaRPr kumimoji="0" lang="en-US" sz="105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2" name="TextBox 61">
            <a:extLst>
              <a:ext uri="{FF2B5EF4-FFF2-40B4-BE49-F238E27FC236}">
                <a16:creationId xmlns:a16="http://schemas.microsoft.com/office/drawing/2014/main" id="{AA64953C-0EB7-2DFA-F153-F01D071AA4A7}"/>
              </a:ext>
            </a:extLst>
          </p:cNvPr>
          <p:cNvSpPr txBox="1"/>
          <p:nvPr/>
        </p:nvSpPr>
        <p:spPr>
          <a:xfrm>
            <a:off x="1708208" y="2355795"/>
            <a:ext cx="1620000" cy="1487587"/>
          </a:xfrm>
          <a:prstGeom prst="rect">
            <a:avLst/>
          </a:prstGeom>
          <a:noFill/>
        </p:spPr>
        <p:txBody>
          <a:bodyPr wrap="square">
            <a:spAutoFit/>
          </a:bodyPr>
          <a:lstStyle/>
          <a:p>
            <a:pPr marL="0" marR="0" lvl="0" indent="0" algn="ctr" defTabSz="685800" rtl="0" eaLnBrk="1" fontAlgn="auto" latinLnBrk="0" hangingPunct="1">
              <a:lnSpc>
                <a:spcPct val="100000"/>
              </a:lnSpc>
              <a:spcBef>
                <a:spcPts val="375"/>
              </a:spcBef>
              <a:spcAft>
                <a:spcPts val="0"/>
              </a:spcAft>
              <a:buClr>
                <a:srgbClr val="C30F3B"/>
              </a:buClr>
              <a:buSzPct val="120000"/>
              <a:buFontTx/>
              <a:buNone/>
              <a:tabLst/>
              <a:defRPr/>
            </a:pPr>
            <a:r>
              <a:rPr kumimoji="0" lang="en-US" sz="1050" b="1" i="0" u="none" strike="noStrike" kern="0" cap="none" spc="0" normalizeH="0" baseline="0" noProof="0" dirty="0" err="1">
                <a:ln>
                  <a:noFill/>
                </a:ln>
                <a:solidFill>
                  <a:srgbClr val="458A6F"/>
                </a:solidFill>
                <a:effectLst/>
                <a:uLnTx/>
                <a:uFillTx/>
                <a:latin typeface="Arial" panose="020B0604020202020204" pitchFamily="34" charset="0"/>
                <a:ea typeface="+mn-ea"/>
                <a:cs typeface="Arial" panose="020B0604020202020204" pitchFamily="34" charset="0"/>
              </a:rPr>
              <a:t>mFU</a:t>
            </a:r>
            <a:r>
              <a:rPr kumimoji="0" lang="en-US" sz="1050" b="1" i="0" u="none" strike="noStrike" kern="0" cap="none" spc="0" normalizeH="0" baseline="0" noProof="0" dirty="0">
                <a:ln>
                  <a:noFill/>
                </a:ln>
                <a:solidFill>
                  <a:srgbClr val="458A6F"/>
                </a:solidFill>
                <a:effectLst/>
                <a:uLnTx/>
                <a:uFillTx/>
                <a:latin typeface="Arial" panose="020B0604020202020204" pitchFamily="34" charset="0"/>
                <a:ea typeface="+mn-ea"/>
                <a:cs typeface="Arial" panose="020B0604020202020204" pitchFamily="34" charset="0"/>
              </a:rPr>
              <a:t>: 47.2 months</a:t>
            </a:r>
          </a:p>
          <a:p>
            <a:pPr marL="0" marR="0" lvl="0" indent="0" algn="ctr" defTabSz="685800" rtl="0" eaLnBrk="1" fontAlgn="auto" latinLnBrk="0" hangingPunct="1">
              <a:lnSpc>
                <a:spcPct val="100000"/>
              </a:lnSpc>
              <a:spcBef>
                <a:spcPts val="375"/>
              </a:spcBef>
              <a:spcAft>
                <a:spcPts val="0"/>
              </a:spcAft>
              <a:buClr>
                <a:srgbClr val="C30F3B"/>
              </a:buClr>
              <a:buSzPct val="120000"/>
              <a:buFontTx/>
              <a:buNone/>
              <a:tabLst/>
              <a:defRPr/>
            </a:pPr>
            <a:r>
              <a:rPr kumimoji="0" lang="en-US" sz="10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hase 3, randomized trial of </a:t>
            </a:r>
            <a:r>
              <a:rPr kumimoji="0" lang="en-US" sz="1050" b="1" i="0" u="none" strike="noStrike" kern="0" cap="none" spc="0" normalizeH="0" baseline="0" noProof="0" dirty="0">
                <a:ln>
                  <a:noFill/>
                </a:ln>
                <a:solidFill>
                  <a:srgbClr val="458A6F"/>
                </a:solidFill>
                <a:effectLst/>
                <a:uLnTx/>
                <a:uFillTx/>
                <a:latin typeface="Arial" panose="020B0604020202020204" pitchFamily="34" charset="0"/>
                <a:ea typeface="+mn-ea"/>
                <a:cs typeface="Arial" panose="020B0604020202020204" pitchFamily="34" charset="0"/>
              </a:rPr>
              <a:t>axi-cel </a:t>
            </a:r>
            <a:r>
              <a:rPr kumimoji="0" lang="en-US" sz="1050" b="0" i="0" u="none" strike="noStrike" kern="0" cap="none" spc="0" normalizeH="0" baseline="0" noProof="0" dirty="0">
                <a:ln>
                  <a:noFill/>
                </a:ln>
                <a:solidFill>
                  <a:srgbClr val="458A6F"/>
                </a:solidFill>
                <a:effectLst/>
                <a:uLnTx/>
                <a:uFillTx/>
                <a:latin typeface="Arial" panose="020B0604020202020204" pitchFamily="34" charset="0"/>
                <a:ea typeface="+mn-ea"/>
                <a:cs typeface="Arial" panose="020B0604020202020204" pitchFamily="34" charset="0"/>
              </a:rPr>
              <a:t>(n = 180) </a:t>
            </a:r>
            <a:r>
              <a:rPr kumimoji="0" lang="en-US" sz="10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vs. </a:t>
            </a:r>
            <a:r>
              <a:rPr kumimoji="0" lang="en-US" sz="105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OC </a:t>
            </a:r>
            <a:r>
              <a:rPr kumimoji="0" lang="en-US" sz="10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SCT, n = 179) as 2L treatment in patients with R/R LBCL (N = 359)</a:t>
            </a:r>
          </a:p>
          <a:p>
            <a:pPr marL="0" marR="0" lvl="0" indent="0" algn="l" defTabSz="685800" rtl="0" eaLnBrk="1" fontAlgn="auto" latinLnBrk="0" hangingPunct="1">
              <a:lnSpc>
                <a:spcPct val="100000"/>
              </a:lnSpc>
              <a:spcBef>
                <a:spcPts val="375"/>
              </a:spcBef>
              <a:spcAft>
                <a:spcPts val="0"/>
              </a:spcAft>
              <a:buClr>
                <a:srgbClr val="C30F3B"/>
              </a:buClr>
              <a:buSzPct val="120000"/>
              <a:buFontTx/>
              <a:buNone/>
              <a:tabLst/>
              <a:defRPr/>
            </a:pPr>
            <a:endParaRPr kumimoji="0" lang="en-US" sz="1050" b="1" i="0" u="none" strike="noStrike" kern="0" cap="none" spc="0" normalizeH="0" baseline="0" noProof="0" dirty="0">
              <a:ln>
                <a:noFill/>
              </a:ln>
              <a:solidFill>
                <a:srgbClr val="BE2BBB"/>
              </a:solidFill>
              <a:effectLst/>
              <a:uLnTx/>
              <a:uFillTx/>
              <a:latin typeface="Arial" panose="020B0604020202020204" pitchFamily="34" charset="0"/>
              <a:ea typeface="+mn-ea"/>
              <a:cs typeface="Arial" panose="020B0604020202020204" pitchFamily="34" charset="0"/>
            </a:endParaRPr>
          </a:p>
        </p:txBody>
      </p:sp>
      <p:cxnSp>
        <p:nvCxnSpPr>
          <p:cNvPr id="63" name="Straight Connector 62">
            <a:extLst>
              <a:ext uri="{FF2B5EF4-FFF2-40B4-BE49-F238E27FC236}">
                <a16:creationId xmlns:a16="http://schemas.microsoft.com/office/drawing/2014/main" id="{0A2E63B6-D459-20CA-B938-BE684A87A7F7}"/>
              </a:ext>
            </a:extLst>
          </p:cNvPr>
          <p:cNvCxnSpPr>
            <a:cxnSpLocks/>
          </p:cNvCxnSpPr>
          <p:nvPr/>
        </p:nvCxnSpPr>
        <p:spPr>
          <a:xfrm>
            <a:off x="1987501" y="4517927"/>
            <a:ext cx="983456" cy="0"/>
          </a:xfrm>
          <a:prstGeom prst="line">
            <a:avLst/>
          </a:prstGeom>
          <a:noFill/>
          <a:ln w="28575" cap="rnd" cmpd="sng" algn="ctr">
            <a:solidFill>
              <a:srgbClr val="458A6F"/>
            </a:solidFill>
            <a:prstDash val="solid"/>
          </a:ln>
          <a:effectLst/>
        </p:spPr>
      </p:cxnSp>
      <p:sp>
        <p:nvSpPr>
          <p:cNvPr id="472" name="TextBox 471">
            <a:extLst>
              <a:ext uri="{FF2B5EF4-FFF2-40B4-BE49-F238E27FC236}">
                <a16:creationId xmlns:a16="http://schemas.microsoft.com/office/drawing/2014/main" id="{F0EAB1B8-8879-BA03-E67D-A264CA6E75D9}"/>
              </a:ext>
            </a:extLst>
          </p:cNvPr>
          <p:cNvSpPr txBox="1"/>
          <p:nvPr/>
        </p:nvSpPr>
        <p:spPr>
          <a:xfrm>
            <a:off x="4166727" y="1807847"/>
            <a:ext cx="3119899" cy="276999"/>
          </a:xfrm>
          <a:prstGeom prst="rect">
            <a:avLst/>
          </a:prstGeom>
          <a:noFill/>
        </p:spPr>
        <p:txBody>
          <a:bodyPr wrap="square" rtlCol="0">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S (N = 359)</a:t>
            </a:r>
            <a:r>
              <a:rPr kumimoji="0" lang="en-US" sz="1200" b="1"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2</a:t>
            </a:r>
          </a:p>
        </p:txBody>
      </p:sp>
      <p:sp>
        <p:nvSpPr>
          <p:cNvPr id="1120" name="Flowchart: Process 1119">
            <a:extLst>
              <a:ext uri="{FF2B5EF4-FFF2-40B4-BE49-F238E27FC236}">
                <a16:creationId xmlns:a16="http://schemas.microsoft.com/office/drawing/2014/main" id="{F47BB4C0-F4E3-AD28-0DAD-8119A261B3AF}"/>
              </a:ext>
            </a:extLst>
          </p:cNvPr>
          <p:cNvSpPr/>
          <p:nvPr/>
        </p:nvSpPr>
        <p:spPr>
          <a:xfrm>
            <a:off x="1524000" y="5090966"/>
            <a:ext cx="9144000" cy="698656"/>
          </a:xfrm>
          <a:prstGeom prst="flowChartProcess">
            <a:avLst/>
          </a:prstGeom>
          <a:solidFill>
            <a:srgbClr val="458A6F"/>
          </a:solidFill>
          <a:ln>
            <a:noFill/>
          </a:ln>
        </p:spPr>
        <p:style>
          <a:lnRef idx="0">
            <a:schemeClr val="accent1"/>
          </a:lnRef>
          <a:fillRef idx="1">
            <a:schemeClr val="accent1"/>
          </a:fillRef>
          <a:effectRef idx="0">
            <a:srgbClr val="000000"/>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xi-cel provided a 27% reduction in risk of death vs. SOC</a:t>
            </a:r>
            <a:r>
              <a:rPr kumimoji="0" lang="en-US" sz="1600" b="1"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2</a:t>
            </a:r>
          </a:p>
        </p:txBody>
      </p:sp>
      <p:sp>
        <p:nvSpPr>
          <p:cNvPr id="7" name="Rectangle 6">
            <a:extLst>
              <a:ext uri="{FF2B5EF4-FFF2-40B4-BE49-F238E27FC236}">
                <a16:creationId xmlns:a16="http://schemas.microsoft.com/office/drawing/2014/main" id="{F69653DE-76F9-DF4F-8A3B-E90184D6B164}"/>
              </a:ext>
            </a:extLst>
          </p:cNvPr>
          <p:cNvSpPr/>
          <p:nvPr/>
        </p:nvSpPr>
        <p:spPr>
          <a:xfrm>
            <a:off x="8133685" y="1853089"/>
            <a:ext cx="2553283" cy="2961824"/>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07DD7D5E-9C17-4002-0B47-90F41A92F643}"/>
              </a:ext>
            </a:extLst>
          </p:cNvPr>
          <p:cNvCxnSpPr>
            <a:cxnSpLocks/>
          </p:cNvCxnSpPr>
          <p:nvPr/>
        </p:nvCxnSpPr>
        <p:spPr>
          <a:xfrm>
            <a:off x="8124373" y="1853089"/>
            <a:ext cx="0" cy="2961900"/>
          </a:xfrm>
          <a:prstGeom prst="line">
            <a:avLst/>
          </a:prstGeom>
          <a:ln w="28575" cap="rnd">
            <a:solidFill>
              <a:srgbClr val="458A6F"/>
            </a:solidFill>
          </a:ln>
        </p:spPr>
        <p:style>
          <a:lnRef idx="1">
            <a:srgbClr val="BE2BBB"/>
          </a:lnRef>
          <a:fillRef idx="0">
            <a:schemeClr val="accent1"/>
          </a:fillRef>
          <a:effectRef idx="0">
            <a:srgbClr val="000000"/>
          </a:effectRef>
          <a:fontRef idx="minor">
            <a:schemeClr val="lt1"/>
          </a:fontRef>
        </p:style>
      </p:cxnSp>
      <p:sp>
        <p:nvSpPr>
          <p:cNvPr id="10" name="TextBox 9">
            <a:extLst>
              <a:ext uri="{FF2B5EF4-FFF2-40B4-BE49-F238E27FC236}">
                <a16:creationId xmlns:a16="http://schemas.microsoft.com/office/drawing/2014/main" id="{2F6851EF-E2AF-6217-F5A6-12301AE7457B}"/>
              </a:ext>
            </a:extLst>
          </p:cNvPr>
          <p:cNvSpPr txBox="1"/>
          <p:nvPr/>
        </p:nvSpPr>
        <p:spPr>
          <a:xfrm>
            <a:off x="8114719" y="1871981"/>
            <a:ext cx="2313307" cy="253916"/>
          </a:xfrm>
          <a:prstGeom prst="rect">
            <a:avLst/>
          </a:prstGeom>
          <a:noFill/>
        </p:spPr>
        <p:txBody>
          <a:bodyPr wrap="square" rtlCol="0">
            <a:spAutoFit/>
          </a:bodyPr>
          <a:lstStyle/>
          <a:p>
            <a:pPr marL="0" marR="0" lvl="0" indent="0" algn="ctr" defTabSz="914378" rtl="0" eaLnBrk="0" fontAlgn="base" latinLnBrk="0" hangingPunct="0">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lumMod val="75000"/>
                    <a:lumOff val="25000"/>
                  </a:srgbClr>
                </a:solidFill>
                <a:effectLst/>
                <a:uLnTx/>
                <a:uFillTx/>
                <a:latin typeface="Arial" panose="020B0604020202020204" pitchFamily="34" charset="0"/>
                <a:ea typeface="+mn-ea"/>
                <a:cs typeface="Arial" panose="020B0604020202020204" pitchFamily="34" charset="0"/>
              </a:rPr>
              <a:t>Axi-cel efficacy (n = 180)</a:t>
            </a:r>
            <a:r>
              <a:rPr kumimoji="0" lang="en-US" sz="1050" b="1" i="0" u="none" strike="noStrike" kern="1200" cap="none" spc="0" normalizeH="0" baseline="30000" noProof="0" dirty="0">
                <a:ln>
                  <a:noFill/>
                </a:ln>
                <a:solidFill>
                  <a:srgbClr val="000000">
                    <a:lumMod val="75000"/>
                    <a:lumOff val="25000"/>
                  </a:srgbClr>
                </a:solidFill>
                <a:effectLst/>
                <a:uLnTx/>
                <a:uFillTx/>
                <a:latin typeface="Arial" panose="020B0604020202020204" pitchFamily="34" charset="0"/>
                <a:ea typeface="+mn-ea"/>
                <a:cs typeface="Arial" panose="020B0604020202020204" pitchFamily="34" charset="0"/>
              </a:rPr>
              <a:t>1,2</a:t>
            </a:r>
          </a:p>
        </p:txBody>
      </p:sp>
      <p:grpSp>
        <p:nvGrpSpPr>
          <p:cNvPr id="11" name="Group 10">
            <a:extLst>
              <a:ext uri="{FF2B5EF4-FFF2-40B4-BE49-F238E27FC236}">
                <a16:creationId xmlns:a16="http://schemas.microsoft.com/office/drawing/2014/main" id="{DF449954-BA93-ECD4-D2F7-E44C63DD8EFC}"/>
              </a:ext>
            </a:extLst>
          </p:cNvPr>
          <p:cNvGrpSpPr/>
          <p:nvPr/>
        </p:nvGrpSpPr>
        <p:grpSpPr>
          <a:xfrm>
            <a:off x="8206442" y="3330911"/>
            <a:ext cx="2000087" cy="253916"/>
            <a:chOff x="8909922" y="2283022"/>
            <a:chExt cx="2666782" cy="338555"/>
          </a:xfrm>
        </p:grpSpPr>
        <p:sp>
          <p:nvSpPr>
            <p:cNvPr id="12" name="TextBox 11">
              <a:extLst>
                <a:ext uri="{FF2B5EF4-FFF2-40B4-BE49-F238E27FC236}">
                  <a16:creationId xmlns:a16="http://schemas.microsoft.com/office/drawing/2014/main" id="{0DE4EB3A-91CA-A978-2F5A-83E8A9DCBB67}"/>
                </a:ext>
              </a:extLst>
            </p:cNvPr>
            <p:cNvSpPr txBox="1"/>
            <p:nvPr/>
          </p:nvSpPr>
          <p:spPr bwMode="auto">
            <a:xfrm>
              <a:off x="8909922" y="2298057"/>
              <a:ext cx="1044000" cy="289753"/>
            </a:xfrm>
            <a:prstGeom prst="rect">
              <a:avLst/>
            </a:prstGeom>
            <a:noFill/>
          </p:spPr>
          <p:txBody>
            <a:bodyPr lIns="0" tIns="0" rIns="0" bIns="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825" b="1" i="0" u="none" strike="noStrike" kern="0" cap="none" spc="0" normalizeH="0" baseline="0" noProof="0" dirty="0">
                  <a:ln>
                    <a:noFill/>
                  </a:ln>
                  <a:solidFill>
                    <a:srgbClr val="000000">
                      <a:lumMod val="75000"/>
                      <a:lumOff val="25000"/>
                    </a:srgbClr>
                  </a:solidFill>
                  <a:effectLst/>
                  <a:uLnTx/>
                  <a:uFillTx/>
                  <a:latin typeface="Arial" panose="020B0604020202020204" pitchFamily="34" charset="0"/>
                  <a:ea typeface="MS PGothic" panose="020B0600070205080204" pitchFamily="34" charset="-128"/>
                  <a:cs typeface="Arial" panose="020B0604020202020204" pitchFamily="34" charset="0"/>
                </a:rPr>
                <a:t>Median EFS</a:t>
              </a:r>
            </a:p>
          </p:txBody>
        </p:sp>
        <p:sp>
          <p:nvSpPr>
            <p:cNvPr id="14" name="TextBox 13">
              <a:extLst>
                <a:ext uri="{FF2B5EF4-FFF2-40B4-BE49-F238E27FC236}">
                  <a16:creationId xmlns:a16="http://schemas.microsoft.com/office/drawing/2014/main" id="{B9DC7014-25E2-F533-3465-0DCAA3148807}"/>
                </a:ext>
              </a:extLst>
            </p:cNvPr>
            <p:cNvSpPr txBox="1"/>
            <p:nvPr/>
          </p:nvSpPr>
          <p:spPr>
            <a:xfrm>
              <a:off x="10432802" y="2283022"/>
              <a:ext cx="1143902" cy="338555"/>
            </a:xfrm>
            <a:prstGeom prst="rect">
              <a:avLst/>
            </a:prstGeom>
            <a:noFill/>
          </p:spPr>
          <p:txBody>
            <a:bodyPr wrap="none" rtlCol="0">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458A6F"/>
                  </a:solidFill>
                  <a:effectLst/>
                  <a:uLnTx/>
                  <a:uFillTx/>
                  <a:latin typeface="Arial" panose="020B0604020202020204" pitchFamily="34" charset="0"/>
                  <a:ea typeface="+mn-ea"/>
                  <a:cs typeface="Arial" panose="020B0604020202020204" pitchFamily="34" charset="0"/>
                </a:rPr>
                <a:t>11 months</a:t>
              </a:r>
              <a:endParaRPr kumimoji="0" lang="en-US" sz="1050" b="1" i="0" u="none" strike="noStrike" kern="1200" cap="none" spc="0" normalizeH="0" baseline="30000" noProof="0" dirty="0">
                <a:ln>
                  <a:noFill/>
                </a:ln>
                <a:solidFill>
                  <a:srgbClr val="458A6F"/>
                </a:solidFill>
                <a:effectLst/>
                <a:uLnTx/>
                <a:uFillTx/>
                <a:latin typeface="Arial" panose="020B0604020202020204" pitchFamily="34" charset="0"/>
                <a:ea typeface="+mn-ea"/>
                <a:cs typeface="Arial" panose="020B0604020202020204" pitchFamily="34" charset="0"/>
              </a:endParaRPr>
            </a:p>
          </p:txBody>
        </p:sp>
      </p:grpSp>
      <p:sp>
        <p:nvSpPr>
          <p:cNvPr id="16" name="TextBox 15">
            <a:extLst>
              <a:ext uri="{FF2B5EF4-FFF2-40B4-BE49-F238E27FC236}">
                <a16:creationId xmlns:a16="http://schemas.microsoft.com/office/drawing/2014/main" id="{15328FA4-060C-1AA3-B718-4DF57AD11EEB}"/>
              </a:ext>
            </a:extLst>
          </p:cNvPr>
          <p:cNvSpPr txBox="1"/>
          <p:nvPr/>
        </p:nvSpPr>
        <p:spPr bwMode="auto">
          <a:xfrm>
            <a:off x="8206442" y="2985286"/>
            <a:ext cx="783000" cy="217315"/>
          </a:xfrm>
          <a:prstGeom prst="rect">
            <a:avLst/>
          </a:prstGeom>
          <a:noFill/>
        </p:spPr>
        <p:txBody>
          <a:bodyPr lIns="0" tIns="0" rIns="0" bIns="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825" b="1" i="0" u="none" strike="noStrike" kern="0" cap="none" spc="0" normalizeH="0" baseline="0" noProof="0" dirty="0">
                <a:ln>
                  <a:noFill/>
                </a:ln>
                <a:solidFill>
                  <a:srgbClr val="000000">
                    <a:lumMod val="75000"/>
                    <a:lumOff val="25000"/>
                  </a:srgbClr>
                </a:solidFill>
                <a:effectLst/>
                <a:uLnTx/>
                <a:uFillTx/>
                <a:latin typeface="Arial" panose="020B0604020202020204" pitchFamily="34" charset="0"/>
                <a:ea typeface="MS PGothic" panose="020B0600070205080204" pitchFamily="34" charset="-128"/>
                <a:cs typeface="Arial" panose="020B0604020202020204" pitchFamily="34" charset="0"/>
              </a:rPr>
              <a:t>48-mo EFS, %</a:t>
            </a:r>
          </a:p>
        </p:txBody>
      </p:sp>
      <p:sp>
        <p:nvSpPr>
          <p:cNvPr id="18" name="Rectangle 17">
            <a:extLst>
              <a:ext uri="{FF2B5EF4-FFF2-40B4-BE49-F238E27FC236}">
                <a16:creationId xmlns:a16="http://schemas.microsoft.com/office/drawing/2014/main" id="{4C911206-1636-7512-8361-2CA2FA672375}"/>
              </a:ext>
            </a:extLst>
          </p:cNvPr>
          <p:cNvSpPr/>
          <p:nvPr/>
        </p:nvSpPr>
        <p:spPr>
          <a:xfrm>
            <a:off x="9093119" y="2959991"/>
            <a:ext cx="510300" cy="245700"/>
          </a:xfrm>
          <a:prstGeom prst="rect">
            <a:avLst/>
          </a:prstGeom>
          <a:solidFill>
            <a:srgbClr val="458A6F"/>
          </a:solidFill>
          <a:ln w="9525" cap="flat" cmpd="sng" algn="ctr">
            <a:noFill/>
            <a:prstDash val="solid"/>
            <a:miter lim="800000"/>
          </a:ln>
          <a:effectLst/>
        </p:spPr>
        <p:txBody>
          <a:bodyPr rtlCol="0" anchor="ct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9" name="TextBox 18">
            <a:extLst>
              <a:ext uri="{FF2B5EF4-FFF2-40B4-BE49-F238E27FC236}">
                <a16:creationId xmlns:a16="http://schemas.microsoft.com/office/drawing/2014/main" id="{162E5985-91A0-529F-D3CF-F55A6EE05A5E}"/>
              </a:ext>
            </a:extLst>
          </p:cNvPr>
          <p:cNvSpPr txBox="1"/>
          <p:nvPr/>
        </p:nvSpPr>
        <p:spPr>
          <a:xfrm>
            <a:off x="9589439" y="2969829"/>
            <a:ext cx="385042" cy="253916"/>
          </a:xfrm>
          <a:prstGeom prst="rect">
            <a:avLst/>
          </a:prstGeom>
          <a:noFill/>
        </p:spPr>
        <p:txBody>
          <a:bodyPr wrap="none" rtlCol="0">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rPr>
              <a:t>39</a:t>
            </a:r>
            <a:r>
              <a:rPr kumimoji="0" lang="en-US" sz="1050" b="1" i="0" u="none" strike="noStrike" kern="1200" cap="none" spc="0" normalizeH="0" baseline="30000" noProof="0" dirty="0">
                <a:ln>
                  <a:noFill/>
                </a:ln>
                <a:solidFill>
                  <a:srgbClr val="595454"/>
                </a:solidFill>
                <a:effectLst/>
                <a:uLnTx/>
                <a:uFillTx/>
                <a:latin typeface="Arial" panose="020B0604020202020204" pitchFamily="34" charset="0"/>
                <a:ea typeface="+mn-ea"/>
                <a:cs typeface="Arial" panose="020B0604020202020204" pitchFamily="34" charset="0"/>
              </a:rPr>
              <a:t>c</a:t>
            </a:r>
            <a:endParaRPr kumimoji="0" lang="en-US" sz="1050" b="1" i="0" u="none" strike="noStrike" kern="120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endParaRPr>
          </a:p>
        </p:txBody>
      </p:sp>
      <p:grpSp>
        <p:nvGrpSpPr>
          <p:cNvPr id="20" name="Group 19">
            <a:extLst>
              <a:ext uri="{FF2B5EF4-FFF2-40B4-BE49-F238E27FC236}">
                <a16:creationId xmlns:a16="http://schemas.microsoft.com/office/drawing/2014/main" id="{89BCBC64-7A85-2946-AF65-3175FA0EC0CC}"/>
              </a:ext>
            </a:extLst>
          </p:cNvPr>
          <p:cNvGrpSpPr/>
          <p:nvPr/>
        </p:nvGrpSpPr>
        <p:grpSpPr>
          <a:xfrm>
            <a:off x="8206442" y="4057887"/>
            <a:ext cx="2000087" cy="253916"/>
            <a:chOff x="8909922" y="2283022"/>
            <a:chExt cx="2666782" cy="338555"/>
          </a:xfrm>
        </p:grpSpPr>
        <p:sp>
          <p:nvSpPr>
            <p:cNvPr id="21" name="TextBox 20">
              <a:extLst>
                <a:ext uri="{FF2B5EF4-FFF2-40B4-BE49-F238E27FC236}">
                  <a16:creationId xmlns:a16="http://schemas.microsoft.com/office/drawing/2014/main" id="{E1D0E6A4-390E-CB4D-C245-4E5C9FC363F2}"/>
                </a:ext>
              </a:extLst>
            </p:cNvPr>
            <p:cNvSpPr txBox="1"/>
            <p:nvPr/>
          </p:nvSpPr>
          <p:spPr bwMode="auto">
            <a:xfrm>
              <a:off x="8909922" y="2298057"/>
              <a:ext cx="1044000" cy="289753"/>
            </a:xfrm>
            <a:prstGeom prst="rect">
              <a:avLst/>
            </a:prstGeom>
            <a:noFill/>
          </p:spPr>
          <p:txBody>
            <a:bodyPr lIns="0" tIns="0" rIns="0" bIns="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825" b="1" i="0" u="none" strike="noStrike" kern="0" cap="none" spc="0" normalizeH="0" baseline="0" noProof="0" dirty="0">
                  <a:ln>
                    <a:noFill/>
                  </a:ln>
                  <a:solidFill>
                    <a:srgbClr val="000000">
                      <a:lumMod val="75000"/>
                      <a:lumOff val="25000"/>
                    </a:srgbClr>
                  </a:solidFill>
                  <a:effectLst/>
                  <a:uLnTx/>
                  <a:uFillTx/>
                  <a:latin typeface="Arial" panose="020B0604020202020204" pitchFamily="34" charset="0"/>
                  <a:ea typeface="MS PGothic" panose="020B0600070205080204" pitchFamily="34" charset="-128"/>
                  <a:cs typeface="Arial" panose="020B0604020202020204" pitchFamily="34" charset="0"/>
                </a:rPr>
                <a:t>Median PFS</a:t>
              </a:r>
            </a:p>
          </p:txBody>
        </p:sp>
        <p:sp>
          <p:nvSpPr>
            <p:cNvPr id="23" name="TextBox 22">
              <a:extLst>
                <a:ext uri="{FF2B5EF4-FFF2-40B4-BE49-F238E27FC236}">
                  <a16:creationId xmlns:a16="http://schemas.microsoft.com/office/drawing/2014/main" id="{780EAF80-60F6-8F1C-76C2-D2DBE447F818}"/>
                </a:ext>
              </a:extLst>
            </p:cNvPr>
            <p:cNvSpPr txBox="1"/>
            <p:nvPr/>
          </p:nvSpPr>
          <p:spPr>
            <a:xfrm>
              <a:off x="10432802" y="2283022"/>
              <a:ext cx="1143902" cy="338555"/>
            </a:xfrm>
            <a:prstGeom prst="rect">
              <a:avLst/>
            </a:prstGeom>
            <a:noFill/>
          </p:spPr>
          <p:txBody>
            <a:bodyPr wrap="none" rtlCol="0">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458A6F"/>
                  </a:solidFill>
                  <a:effectLst/>
                  <a:uLnTx/>
                  <a:uFillTx/>
                  <a:latin typeface="Arial" panose="020B0604020202020204" pitchFamily="34" charset="0"/>
                  <a:ea typeface="+mn-ea"/>
                  <a:cs typeface="Arial" panose="020B0604020202020204" pitchFamily="34" charset="0"/>
                </a:rPr>
                <a:t>15 months</a:t>
              </a:r>
              <a:endParaRPr kumimoji="0" lang="en-US" sz="1050" b="1" i="0" u="none" strike="noStrike" kern="1200" cap="none" spc="0" normalizeH="0" baseline="30000" noProof="0" dirty="0">
                <a:ln>
                  <a:noFill/>
                </a:ln>
                <a:solidFill>
                  <a:srgbClr val="458A6F"/>
                </a:solidFill>
                <a:effectLst/>
                <a:uLnTx/>
                <a:uFillTx/>
                <a:latin typeface="Arial" panose="020B0604020202020204" pitchFamily="34" charset="0"/>
                <a:ea typeface="+mn-ea"/>
                <a:cs typeface="Arial" panose="020B0604020202020204" pitchFamily="34" charset="0"/>
              </a:endParaRPr>
            </a:p>
          </p:txBody>
        </p:sp>
      </p:grpSp>
      <p:sp>
        <p:nvSpPr>
          <p:cNvPr id="25" name="TextBox 24">
            <a:extLst>
              <a:ext uri="{FF2B5EF4-FFF2-40B4-BE49-F238E27FC236}">
                <a16:creationId xmlns:a16="http://schemas.microsoft.com/office/drawing/2014/main" id="{1A8AE60E-117D-5DD2-16A3-59DC27EBB5E1}"/>
              </a:ext>
            </a:extLst>
          </p:cNvPr>
          <p:cNvSpPr txBox="1"/>
          <p:nvPr/>
        </p:nvSpPr>
        <p:spPr bwMode="auto">
          <a:xfrm>
            <a:off x="8206442" y="3705678"/>
            <a:ext cx="783000" cy="217315"/>
          </a:xfrm>
          <a:prstGeom prst="rect">
            <a:avLst/>
          </a:prstGeom>
          <a:noFill/>
        </p:spPr>
        <p:txBody>
          <a:bodyPr lIns="0" tIns="0" rIns="0" bIns="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825" b="1" i="0" u="none" strike="noStrike" kern="0" cap="none" spc="0" normalizeH="0" baseline="0" noProof="0" dirty="0">
                <a:ln>
                  <a:noFill/>
                </a:ln>
                <a:solidFill>
                  <a:srgbClr val="000000">
                    <a:lumMod val="75000"/>
                    <a:lumOff val="25000"/>
                  </a:srgbClr>
                </a:solidFill>
                <a:effectLst/>
                <a:uLnTx/>
                <a:uFillTx/>
                <a:latin typeface="Arial" panose="020B0604020202020204" pitchFamily="34" charset="0"/>
                <a:ea typeface="MS PGothic" panose="020B0600070205080204" pitchFamily="34" charset="-128"/>
                <a:cs typeface="Arial" panose="020B0604020202020204" pitchFamily="34" charset="0"/>
              </a:rPr>
              <a:t>48-mo PFS, %</a:t>
            </a:r>
          </a:p>
        </p:txBody>
      </p:sp>
      <p:sp>
        <p:nvSpPr>
          <p:cNvPr id="27" name="Rectangle 26">
            <a:extLst>
              <a:ext uri="{FF2B5EF4-FFF2-40B4-BE49-F238E27FC236}">
                <a16:creationId xmlns:a16="http://schemas.microsoft.com/office/drawing/2014/main" id="{4599E184-5113-DF74-67F1-1E639F77BF3A}"/>
              </a:ext>
            </a:extLst>
          </p:cNvPr>
          <p:cNvSpPr/>
          <p:nvPr/>
        </p:nvSpPr>
        <p:spPr>
          <a:xfrm>
            <a:off x="9093119" y="3686966"/>
            <a:ext cx="550800" cy="245700"/>
          </a:xfrm>
          <a:prstGeom prst="rect">
            <a:avLst/>
          </a:prstGeom>
          <a:solidFill>
            <a:srgbClr val="458A6F"/>
          </a:solidFill>
          <a:ln w="15875" cap="flat" cmpd="sng" algn="ctr">
            <a:noFill/>
            <a:prstDash val="solid"/>
            <a:miter lim="800000"/>
          </a:ln>
          <a:effectLst/>
        </p:spPr>
        <p:txBody>
          <a:bodyPr rtlCol="0" anchor="ct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8" name="TextBox 27">
            <a:extLst>
              <a:ext uri="{FF2B5EF4-FFF2-40B4-BE49-F238E27FC236}">
                <a16:creationId xmlns:a16="http://schemas.microsoft.com/office/drawing/2014/main" id="{0903BB73-B1F1-BF8E-22D9-94CE324B43D1}"/>
              </a:ext>
            </a:extLst>
          </p:cNvPr>
          <p:cNvSpPr txBox="1"/>
          <p:nvPr/>
        </p:nvSpPr>
        <p:spPr>
          <a:xfrm>
            <a:off x="9621592" y="3689269"/>
            <a:ext cx="389850" cy="253916"/>
          </a:xfrm>
          <a:prstGeom prst="rect">
            <a:avLst/>
          </a:prstGeom>
          <a:noFill/>
        </p:spPr>
        <p:txBody>
          <a:bodyPr wrap="none" rtlCol="0">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rPr>
              <a:t>42</a:t>
            </a:r>
            <a:r>
              <a:rPr kumimoji="0" lang="en-US" sz="1050" b="1" i="0" u="none" strike="noStrike" kern="1200" cap="none" spc="0" normalizeH="0" baseline="30000" noProof="0" dirty="0">
                <a:ln>
                  <a:noFill/>
                </a:ln>
                <a:solidFill>
                  <a:srgbClr val="595454"/>
                </a:solidFill>
                <a:effectLst/>
                <a:uLnTx/>
                <a:uFillTx/>
                <a:latin typeface="Arial" panose="020B0604020202020204" pitchFamily="34" charset="0"/>
                <a:ea typeface="+mn-ea"/>
                <a:cs typeface="Arial" panose="020B0604020202020204" pitchFamily="34" charset="0"/>
              </a:rPr>
              <a:t>d</a:t>
            </a:r>
            <a:endParaRPr kumimoji="0" lang="en-US" sz="1050" b="1" i="0" u="none" strike="noStrike" kern="120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30" name="TextBox 29">
            <a:extLst>
              <a:ext uri="{FF2B5EF4-FFF2-40B4-BE49-F238E27FC236}">
                <a16:creationId xmlns:a16="http://schemas.microsoft.com/office/drawing/2014/main" id="{09727A3B-99DC-3E76-8D36-AC6B279ACF7F}"/>
              </a:ext>
            </a:extLst>
          </p:cNvPr>
          <p:cNvSpPr txBox="1"/>
          <p:nvPr/>
        </p:nvSpPr>
        <p:spPr bwMode="auto">
          <a:xfrm>
            <a:off x="8206442" y="2615215"/>
            <a:ext cx="783000" cy="217315"/>
          </a:xfrm>
          <a:prstGeom prst="rect">
            <a:avLst/>
          </a:prstGeom>
          <a:noFill/>
        </p:spPr>
        <p:txBody>
          <a:bodyPr lIns="0" tIns="0" rIns="0" bIns="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825" b="1" i="0" u="none" strike="noStrike" kern="0" cap="none" spc="0" normalizeH="0" baseline="0" noProof="0" dirty="0">
                <a:ln>
                  <a:noFill/>
                </a:ln>
                <a:solidFill>
                  <a:srgbClr val="000000">
                    <a:lumMod val="75000"/>
                    <a:lumOff val="25000"/>
                  </a:srgbClr>
                </a:solidFill>
                <a:effectLst/>
                <a:uLnTx/>
                <a:uFillTx/>
                <a:latin typeface="Arial" panose="020B0604020202020204" pitchFamily="34" charset="0"/>
                <a:ea typeface="MS PGothic" panose="020B0600070205080204" pitchFamily="34" charset="-128"/>
                <a:cs typeface="Arial" panose="020B0604020202020204" pitchFamily="34" charset="0"/>
              </a:rPr>
              <a:t>CRR, %</a:t>
            </a:r>
          </a:p>
        </p:txBody>
      </p:sp>
      <p:sp>
        <p:nvSpPr>
          <p:cNvPr id="32" name="Rectangle 31">
            <a:extLst>
              <a:ext uri="{FF2B5EF4-FFF2-40B4-BE49-F238E27FC236}">
                <a16:creationId xmlns:a16="http://schemas.microsoft.com/office/drawing/2014/main" id="{A5EC623F-61B4-F0D5-789E-93FA30F43280}"/>
              </a:ext>
            </a:extLst>
          </p:cNvPr>
          <p:cNvSpPr/>
          <p:nvPr/>
        </p:nvSpPr>
        <p:spPr>
          <a:xfrm>
            <a:off x="9093119" y="2596504"/>
            <a:ext cx="850500" cy="245700"/>
          </a:xfrm>
          <a:prstGeom prst="rect">
            <a:avLst/>
          </a:prstGeom>
          <a:solidFill>
            <a:srgbClr val="458A6F"/>
          </a:solidFill>
          <a:ln w="15875" cap="flat" cmpd="sng" algn="ctr">
            <a:noFill/>
            <a:prstDash val="solid"/>
            <a:miter lim="800000"/>
          </a:ln>
          <a:effectLst/>
        </p:spPr>
        <p:txBody>
          <a:bodyPr rtlCol="0" anchor="ct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3" name="TextBox 32">
            <a:extLst>
              <a:ext uri="{FF2B5EF4-FFF2-40B4-BE49-F238E27FC236}">
                <a16:creationId xmlns:a16="http://schemas.microsoft.com/office/drawing/2014/main" id="{B813C21D-A8B1-42FD-0087-F1D0143A01ED}"/>
              </a:ext>
            </a:extLst>
          </p:cNvPr>
          <p:cNvSpPr txBox="1"/>
          <p:nvPr/>
        </p:nvSpPr>
        <p:spPr>
          <a:xfrm>
            <a:off x="9935943" y="2598806"/>
            <a:ext cx="389850" cy="253916"/>
          </a:xfrm>
          <a:prstGeom prst="rect">
            <a:avLst/>
          </a:prstGeom>
          <a:noFill/>
        </p:spPr>
        <p:txBody>
          <a:bodyPr wrap="none" rtlCol="0">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rPr>
              <a:t>65</a:t>
            </a:r>
            <a:r>
              <a:rPr kumimoji="0" lang="en-US" sz="1050" b="1" i="0" u="none" strike="noStrike" kern="1200" cap="none" spc="0" normalizeH="0" baseline="30000" noProof="0" dirty="0">
                <a:ln>
                  <a:noFill/>
                </a:ln>
                <a:solidFill>
                  <a:srgbClr val="595454"/>
                </a:solidFill>
                <a:effectLst/>
                <a:uLnTx/>
                <a:uFillTx/>
                <a:latin typeface="Arial" panose="020B0604020202020204" pitchFamily="34" charset="0"/>
                <a:ea typeface="+mn-ea"/>
                <a:cs typeface="Arial" panose="020B0604020202020204" pitchFamily="34" charset="0"/>
              </a:rPr>
              <a:t>b</a:t>
            </a:r>
            <a:endParaRPr kumimoji="0" lang="en-US" sz="1050" b="1" i="0" u="none" strike="noStrike" kern="120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35" name="TextBox 34">
            <a:extLst>
              <a:ext uri="{FF2B5EF4-FFF2-40B4-BE49-F238E27FC236}">
                <a16:creationId xmlns:a16="http://schemas.microsoft.com/office/drawing/2014/main" id="{89F1C38B-806E-0B2C-56CB-CD18C3CFC949}"/>
              </a:ext>
            </a:extLst>
          </p:cNvPr>
          <p:cNvSpPr txBox="1"/>
          <p:nvPr/>
        </p:nvSpPr>
        <p:spPr bwMode="auto">
          <a:xfrm>
            <a:off x="8206442" y="2258311"/>
            <a:ext cx="783000" cy="217315"/>
          </a:xfrm>
          <a:prstGeom prst="rect">
            <a:avLst/>
          </a:prstGeom>
          <a:noFill/>
        </p:spPr>
        <p:txBody>
          <a:bodyPr lIns="0" tIns="0" rIns="0" bIns="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825" b="1" i="0" u="none" strike="noStrike" kern="0" cap="none" spc="0" normalizeH="0" baseline="0" noProof="0" dirty="0">
                <a:ln>
                  <a:noFill/>
                </a:ln>
                <a:solidFill>
                  <a:srgbClr val="000000">
                    <a:lumMod val="75000"/>
                    <a:lumOff val="25000"/>
                  </a:srgbClr>
                </a:solidFill>
                <a:effectLst/>
                <a:uLnTx/>
                <a:uFillTx/>
                <a:latin typeface="Arial" panose="020B0604020202020204" pitchFamily="34" charset="0"/>
                <a:ea typeface="MS PGothic" panose="020B0600070205080204" pitchFamily="34" charset="-128"/>
                <a:cs typeface="Arial" panose="020B0604020202020204" pitchFamily="34" charset="0"/>
              </a:rPr>
              <a:t>ORR, %</a:t>
            </a:r>
          </a:p>
        </p:txBody>
      </p:sp>
      <p:sp>
        <p:nvSpPr>
          <p:cNvPr id="37" name="Rectangle 36">
            <a:extLst>
              <a:ext uri="{FF2B5EF4-FFF2-40B4-BE49-F238E27FC236}">
                <a16:creationId xmlns:a16="http://schemas.microsoft.com/office/drawing/2014/main" id="{1DB56837-C930-7DD8-658C-3705FC03AACA}"/>
              </a:ext>
            </a:extLst>
          </p:cNvPr>
          <p:cNvSpPr/>
          <p:nvPr/>
        </p:nvSpPr>
        <p:spPr>
          <a:xfrm>
            <a:off x="9093119" y="2233016"/>
            <a:ext cx="1088100" cy="245700"/>
          </a:xfrm>
          <a:prstGeom prst="rect">
            <a:avLst/>
          </a:prstGeom>
          <a:solidFill>
            <a:srgbClr val="458A6F"/>
          </a:solidFill>
          <a:ln w="9525" cap="flat" cmpd="sng" algn="ctr">
            <a:noFill/>
            <a:prstDash val="solid"/>
            <a:miter lim="800000"/>
          </a:ln>
          <a:effectLst/>
        </p:spPr>
        <p:txBody>
          <a:bodyPr rtlCol="0" anchor="ct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8" name="TextBox 37">
            <a:extLst>
              <a:ext uri="{FF2B5EF4-FFF2-40B4-BE49-F238E27FC236}">
                <a16:creationId xmlns:a16="http://schemas.microsoft.com/office/drawing/2014/main" id="{40CF1EF0-6BF4-413D-E561-71D2419A55C8}"/>
              </a:ext>
            </a:extLst>
          </p:cNvPr>
          <p:cNvSpPr txBox="1"/>
          <p:nvPr/>
        </p:nvSpPr>
        <p:spPr>
          <a:xfrm>
            <a:off x="10152163" y="2242854"/>
            <a:ext cx="385042" cy="253916"/>
          </a:xfrm>
          <a:prstGeom prst="rect">
            <a:avLst/>
          </a:prstGeom>
          <a:noFill/>
        </p:spPr>
        <p:txBody>
          <a:bodyPr wrap="none" rtlCol="0">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rPr>
              <a:t>83</a:t>
            </a:r>
            <a:r>
              <a:rPr kumimoji="0" lang="en-US" sz="1050" b="1" i="0" u="none" strike="noStrike" kern="1200" cap="none" spc="0" normalizeH="0" baseline="30000" noProof="0" dirty="0">
                <a:ln>
                  <a:noFill/>
                </a:ln>
                <a:solidFill>
                  <a:srgbClr val="595454"/>
                </a:solidFill>
                <a:effectLst/>
                <a:uLnTx/>
                <a:uFillTx/>
                <a:latin typeface="Arial" panose="020B0604020202020204" pitchFamily="34" charset="0"/>
                <a:ea typeface="+mn-ea"/>
                <a:cs typeface="Arial" panose="020B0604020202020204" pitchFamily="34" charset="0"/>
              </a:rPr>
              <a:t>a</a:t>
            </a:r>
            <a:endParaRPr kumimoji="0" lang="en-US" sz="1050" b="1" i="0" u="none" strike="noStrike" kern="120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39" name="Shape 935">
            <a:extLst>
              <a:ext uri="{FF2B5EF4-FFF2-40B4-BE49-F238E27FC236}">
                <a16:creationId xmlns:a16="http://schemas.microsoft.com/office/drawing/2014/main" id="{D95112E2-50EC-6892-6283-09A8096D9BB6}"/>
              </a:ext>
            </a:extLst>
          </p:cNvPr>
          <p:cNvSpPr>
            <a:spLocks noChangeArrowheads="1"/>
          </p:cNvSpPr>
          <p:nvPr/>
        </p:nvSpPr>
        <p:spPr bwMode="auto">
          <a:xfrm>
            <a:off x="8510896" y="4534323"/>
            <a:ext cx="135000" cy="135000"/>
          </a:xfrm>
          <a:prstGeom prst="rect">
            <a:avLst/>
          </a:prstGeom>
          <a:solidFill>
            <a:srgbClr val="458A6F"/>
          </a:solidFill>
          <a:ln>
            <a:noFill/>
          </a:ln>
        </p:spPr>
        <p:txBody>
          <a:bodyPr lIns="34289" tIns="34289" rIns="34289" bIns="34289"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825"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0" name="TextBox 39">
            <a:extLst>
              <a:ext uri="{FF2B5EF4-FFF2-40B4-BE49-F238E27FC236}">
                <a16:creationId xmlns:a16="http://schemas.microsoft.com/office/drawing/2014/main" id="{1CFA5E8F-2167-6CB0-57B5-04ABE827F983}"/>
              </a:ext>
            </a:extLst>
          </p:cNvPr>
          <p:cNvSpPr txBox="1"/>
          <p:nvPr/>
        </p:nvSpPr>
        <p:spPr bwMode="auto">
          <a:xfrm>
            <a:off x="8748825" y="4519066"/>
            <a:ext cx="1323000" cy="230833"/>
          </a:xfrm>
          <a:prstGeom prst="rect">
            <a:avLst/>
          </a:prstGeom>
          <a:noFill/>
        </p:spPr>
        <p:txBody>
          <a:bodyPr lIns="0" tIns="0" rIns="0" bIns="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lumMod val="75000"/>
                    <a:lumOff val="25000"/>
                  </a:srgbClr>
                </a:solidFill>
                <a:effectLst/>
                <a:uLnTx/>
                <a:uFillTx/>
                <a:latin typeface="Arial" panose="020B0604020202020204" pitchFamily="34" charset="0"/>
                <a:ea typeface="MS PGothic" panose="020B0600070205080204" pitchFamily="34" charset="-128"/>
                <a:cs typeface="Arial" panose="020B0604020202020204" pitchFamily="34" charset="0"/>
              </a:rPr>
              <a:t>Significant improvement with axi-cel vs. SOC</a:t>
            </a:r>
          </a:p>
        </p:txBody>
      </p:sp>
      <p:grpSp>
        <p:nvGrpSpPr>
          <p:cNvPr id="3" name="Group 2">
            <a:extLst>
              <a:ext uri="{FF2B5EF4-FFF2-40B4-BE49-F238E27FC236}">
                <a16:creationId xmlns:a16="http://schemas.microsoft.com/office/drawing/2014/main" id="{9CA611E9-9944-4486-2636-83B4BAAC8DC1}"/>
              </a:ext>
            </a:extLst>
          </p:cNvPr>
          <p:cNvGrpSpPr/>
          <p:nvPr/>
        </p:nvGrpSpPr>
        <p:grpSpPr>
          <a:xfrm>
            <a:off x="3811852" y="2129184"/>
            <a:ext cx="4177529" cy="2669788"/>
            <a:chOff x="3050468" y="1695911"/>
            <a:chExt cx="5570038" cy="3559717"/>
          </a:xfrm>
        </p:grpSpPr>
        <p:sp>
          <p:nvSpPr>
            <p:cNvPr id="128" name="TextBox 127">
              <a:extLst>
                <a:ext uri="{FF2B5EF4-FFF2-40B4-BE49-F238E27FC236}">
                  <a16:creationId xmlns:a16="http://schemas.microsoft.com/office/drawing/2014/main" id="{49F41E06-DFE4-C82C-4B33-9B310F605687}"/>
                </a:ext>
              </a:extLst>
            </p:cNvPr>
            <p:cNvSpPr txBox="1"/>
            <p:nvPr/>
          </p:nvSpPr>
          <p:spPr>
            <a:xfrm>
              <a:off x="3050468" y="1695911"/>
              <a:ext cx="328621" cy="240743"/>
            </a:xfrm>
            <a:prstGeom prst="rect">
              <a:avLst/>
            </a:prstGeom>
            <a:noFill/>
          </p:spPr>
          <p:txBody>
            <a:bodyPr wrap="none" lIns="0" tIns="0" rIns="0" bIns="0" rtlCol="0" anchor="ctr">
              <a:noAutofit/>
            </a:bodyPr>
            <a:lstStyle/>
            <a:p>
              <a:pPr marL="0" marR="0" lvl="0" indent="0" algn="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solidFill>
                    <a:srgbClr val="595454"/>
                  </a:solidFill>
                  <a:effectLst/>
                  <a:uLnTx/>
                  <a:uFillTx/>
                  <a:latin typeface="Arial" panose="020B0604020202020204" pitchFamily="34" charset="0"/>
                  <a:ea typeface="+mn-ea"/>
                  <a:cs typeface="Arial" panose="020B0604020202020204" pitchFamily="34" charset="0"/>
                  <a:sym typeface="Arial"/>
                  <a:rtl val="0"/>
                </a:rPr>
                <a:t>100</a:t>
              </a:r>
            </a:p>
          </p:txBody>
        </p:sp>
        <p:sp>
          <p:nvSpPr>
            <p:cNvPr id="129" name="TextBox 128">
              <a:extLst>
                <a:ext uri="{FF2B5EF4-FFF2-40B4-BE49-F238E27FC236}">
                  <a16:creationId xmlns:a16="http://schemas.microsoft.com/office/drawing/2014/main" id="{1353EB1C-18E6-1AAA-6C1E-18B3B13CA60A}"/>
                </a:ext>
              </a:extLst>
            </p:cNvPr>
            <p:cNvSpPr txBox="1"/>
            <p:nvPr/>
          </p:nvSpPr>
          <p:spPr>
            <a:xfrm>
              <a:off x="3174383" y="4466735"/>
              <a:ext cx="204707" cy="240743"/>
            </a:xfrm>
            <a:prstGeom prst="rect">
              <a:avLst/>
            </a:prstGeom>
            <a:noFill/>
          </p:spPr>
          <p:txBody>
            <a:bodyPr wrap="none" lIns="0" tIns="0" rIns="0" bIns="0" rtlCol="0" anchor="ctr">
              <a:noAutofit/>
            </a:bodyPr>
            <a:lstStyle/>
            <a:p>
              <a:pPr marL="0" marR="0" lvl="0" indent="0" algn="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solidFill>
                    <a:srgbClr val="595454"/>
                  </a:solidFill>
                  <a:effectLst/>
                  <a:uLnTx/>
                  <a:uFillTx/>
                  <a:latin typeface="Arial" panose="020B0604020202020204" pitchFamily="34" charset="0"/>
                  <a:ea typeface="+mn-ea"/>
                  <a:cs typeface="Arial" panose="020B0604020202020204" pitchFamily="34" charset="0"/>
                  <a:sym typeface="Arial"/>
                  <a:rtl val="0"/>
                </a:rPr>
                <a:t>0</a:t>
              </a:r>
            </a:p>
          </p:txBody>
        </p:sp>
        <p:sp>
          <p:nvSpPr>
            <p:cNvPr id="150" name="TextBox 149">
              <a:extLst>
                <a:ext uri="{FF2B5EF4-FFF2-40B4-BE49-F238E27FC236}">
                  <a16:creationId xmlns:a16="http://schemas.microsoft.com/office/drawing/2014/main" id="{4A36C5F2-463A-E214-AE6C-33227B5BDD27}"/>
                </a:ext>
              </a:extLst>
            </p:cNvPr>
            <p:cNvSpPr txBox="1"/>
            <p:nvPr/>
          </p:nvSpPr>
          <p:spPr>
            <a:xfrm>
              <a:off x="3112426" y="3912572"/>
              <a:ext cx="266665" cy="240743"/>
            </a:xfrm>
            <a:prstGeom prst="rect">
              <a:avLst/>
            </a:prstGeom>
            <a:noFill/>
          </p:spPr>
          <p:txBody>
            <a:bodyPr wrap="none" lIns="0" tIns="0" rIns="0" bIns="0" rtlCol="0" anchor="ctr">
              <a:noAutofit/>
            </a:bodyPr>
            <a:lstStyle/>
            <a:p>
              <a:pPr marL="0" marR="0" lvl="0" indent="0" algn="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solidFill>
                    <a:srgbClr val="595454"/>
                  </a:solidFill>
                  <a:effectLst/>
                  <a:uLnTx/>
                  <a:uFillTx/>
                  <a:latin typeface="Arial" panose="020B0604020202020204" pitchFamily="34" charset="0"/>
                  <a:ea typeface="+mn-ea"/>
                  <a:cs typeface="Arial" panose="020B0604020202020204" pitchFamily="34" charset="0"/>
                  <a:sym typeface="Arial"/>
                  <a:rtl val="0"/>
                </a:rPr>
                <a:t>20</a:t>
              </a:r>
            </a:p>
          </p:txBody>
        </p:sp>
        <p:sp>
          <p:nvSpPr>
            <p:cNvPr id="151" name="TextBox 150">
              <a:extLst>
                <a:ext uri="{FF2B5EF4-FFF2-40B4-BE49-F238E27FC236}">
                  <a16:creationId xmlns:a16="http://schemas.microsoft.com/office/drawing/2014/main" id="{B2B29D4B-A83C-AFC4-92B5-8D460DE1B2EC}"/>
                </a:ext>
              </a:extLst>
            </p:cNvPr>
            <p:cNvSpPr txBox="1"/>
            <p:nvPr/>
          </p:nvSpPr>
          <p:spPr>
            <a:xfrm>
              <a:off x="3112426" y="3358407"/>
              <a:ext cx="266665" cy="240743"/>
            </a:xfrm>
            <a:prstGeom prst="rect">
              <a:avLst/>
            </a:prstGeom>
            <a:noFill/>
          </p:spPr>
          <p:txBody>
            <a:bodyPr wrap="none" lIns="0" tIns="0" rIns="0" bIns="0" rtlCol="0" anchor="ctr">
              <a:noAutofit/>
            </a:bodyPr>
            <a:lstStyle/>
            <a:p>
              <a:pPr marL="0" marR="0" lvl="0" indent="0" algn="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solidFill>
                    <a:srgbClr val="595454"/>
                  </a:solidFill>
                  <a:effectLst/>
                  <a:uLnTx/>
                  <a:uFillTx/>
                  <a:latin typeface="Arial" panose="020B0604020202020204" pitchFamily="34" charset="0"/>
                  <a:ea typeface="+mn-ea"/>
                  <a:cs typeface="Arial" panose="020B0604020202020204" pitchFamily="34" charset="0"/>
                  <a:sym typeface="Arial"/>
                  <a:rtl val="0"/>
                </a:rPr>
                <a:t>40</a:t>
              </a:r>
            </a:p>
          </p:txBody>
        </p:sp>
        <p:sp>
          <p:nvSpPr>
            <p:cNvPr id="152" name="TextBox 151">
              <a:extLst>
                <a:ext uri="{FF2B5EF4-FFF2-40B4-BE49-F238E27FC236}">
                  <a16:creationId xmlns:a16="http://schemas.microsoft.com/office/drawing/2014/main" id="{0535F978-3294-F41D-5D97-05BE9209A216}"/>
                </a:ext>
              </a:extLst>
            </p:cNvPr>
            <p:cNvSpPr txBox="1"/>
            <p:nvPr/>
          </p:nvSpPr>
          <p:spPr>
            <a:xfrm>
              <a:off x="3112426" y="2250076"/>
              <a:ext cx="266665" cy="240743"/>
            </a:xfrm>
            <a:prstGeom prst="rect">
              <a:avLst/>
            </a:prstGeom>
            <a:noFill/>
          </p:spPr>
          <p:txBody>
            <a:bodyPr wrap="none" lIns="0" tIns="0" rIns="0" bIns="0" rtlCol="0" anchor="ctr">
              <a:noAutofit/>
            </a:bodyPr>
            <a:lstStyle/>
            <a:p>
              <a:pPr marL="0" marR="0" lvl="0" indent="0" algn="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solidFill>
                    <a:srgbClr val="595454"/>
                  </a:solidFill>
                  <a:effectLst/>
                  <a:uLnTx/>
                  <a:uFillTx/>
                  <a:latin typeface="Arial" panose="020B0604020202020204" pitchFamily="34" charset="0"/>
                  <a:ea typeface="+mn-ea"/>
                  <a:cs typeface="Arial" panose="020B0604020202020204" pitchFamily="34" charset="0"/>
                  <a:sym typeface="Arial"/>
                  <a:rtl val="0"/>
                </a:rPr>
                <a:t>80</a:t>
              </a:r>
            </a:p>
          </p:txBody>
        </p:sp>
        <p:sp>
          <p:nvSpPr>
            <p:cNvPr id="153" name="TextBox 152">
              <a:extLst>
                <a:ext uri="{FF2B5EF4-FFF2-40B4-BE49-F238E27FC236}">
                  <a16:creationId xmlns:a16="http://schemas.microsoft.com/office/drawing/2014/main" id="{F7201E6A-4793-B60F-765A-F91CFEF2BF3D}"/>
                </a:ext>
              </a:extLst>
            </p:cNvPr>
            <p:cNvSpPr txBox="1"/>
            <p:nvPr/>
          </p:nvSpPr>
          <p:spPr>
            <a:xfrm>
              <a:off x="3112426" y="2804241"/>
              <a:ext cx="266665" cy="240743"/>
            </a:xfrm>
            <a:prstGeom prst="rect">
              <a:avLst/>
            </a:prstGeom>
            <a:noFill/>
          </p:spPr>
          <p:txBody>
            <a:bodyPr wrap="none" lIns="0" tIns="0" rIns="0" bIns="0" rtlCol="0" anchor="ctr">
              <a:noAutofit/>
            </a:bodyPr>
            <a:lstStyle/>
            <a:p>
              <a:pPr marL="0" marR="0" lvl="0" indent="0" algn="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solidFill>
                    <a:srgbClr val="595454"/>
                  </a:solidFill>
                  <a:effectLst/>
                  <a:uLnTx/>
                  <a:uFillTx/>
                  <a:latin typeface="Arial" panose="020B0604020202020204" pitchFamily="34" charset="0"/>
                  <a:ea typeface="+mn-ea"/>
                  <a:cs typeface="Arial" panose="020B0604020202020204" pitchFamily="34" charset="0"/>
                  <a:sym typeface="Arial"/>
                  <a:rtl val="0"/>
                </a:rPr>
                <a:t>60</a:t>
              </a:r>
            </a:p>
          </p:txBody>
        </p:sp>
        <p:sp>
          <p:nvSpPr>
            <p:cNvPr id="155" name="Freeform: Shape 30">
              <a:extLst>
                <a:ext uri="{FF2B5EF4-FFF2-40B4-BE49-F238E27FC236}">
                  <a16:creationId xmlns:a16="http://schemas.microsoft.com/office/drawing/2014/main" id="{EE2E3B67-84EC-0142-5CB8-55C0174759DA}"/>
                </a:ext>
              </a:extLst>
            </p:cNvPr>
            <p:cNvSpPr/>
            <p:nvPr/>
          </p:nvSpPr>
          <p:spPr>
            <a:xfrm>
              <a:off x="3514237" y="1818573"/>
              <a:ext cx="9398" cy="2783944"/>
            </a:xfrm>
            <a:custGeom>
              <a:avLst/>
              <a:gdLst>
                <a:gd name="connsiteX0" fmla="*/ 0 w 12157"/>
                <a:gd name="connsiteY0" fmla="*/ 0 h 3203210"/>
                <a:gd name="connsiteX1" fmla="*/ 0 w 12157"/>
                <a:gd name="connsiteY1" fmla="*/ 3203211 h 3203210"/>
              </a:gdLst>
              <a:ahLst/>
              <a:cxnLst>
                <a:cxn ang="0">
                  <a:pos x="connsiteX0" y="connsiteY0"/>
                </a:cxn>
                <a:cxn ang="0">
                  <a:pos x="connsiteX1" y="connsiteY1"/>
                </a:cxn>
              </a:cxnLst>
              <a:rect l="l" t="t" r="r" b="b"/>
              <a:pathLst>
                <a:path w="12157" h="3203210">
                  <a:moveTo>
                    <a:pt x="0" y="0"/>
                  </a:moveTo>
                  <a:lnTo>
                    <a:pt x="0" y="3203211"/>
                  </a:lnTo>
                </a:path>
              </a:pathLst>
            </a:custGeom>
            <a:ln w="19050" cap="sq">
              <a:solidFill>
                <a:srgbClr val="595454"/>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60" name="Freeform: Shape 45">
              <a:extLst>
                <a:ext uri="{FF2B5EF4-FFF2-40B4-BE49-F238E27FC236}">
                  <a16:creationId xmlns:a16="http://schemas.microsoft.com/office/drawing/2014/main" id="{CA9C1812-B370-C0D2-C610-DF8D037A5CDE}"/>
                </a:ext>
              </a:extLst>
            </p:cNvPr>
            <p:cNvSpPr/>
            <p:nvPr/>
          </p:nvSpPr>
          <p:spPr>
            <a:xfrm>
              <a:off x="3436786" y="4591952"/>
              <a:ext cx="64800" cy="10566"/>
            </a:xfrm>
            <a:custGeom>
              <a:avLst/>
              <a:gdLst>
                <a:gd name="connsiteX0" fmla="*/ 70394 w 70393"/>
                <a:gd name="connsiteY0" fmla="*/ 0 h 12157"/>
                <a:gd name="connsiteX1" fmla="*/ 0 w 70393"/>
                <a:gd name="connsiteY1" fmla="*/ 0 h 12157"/>
              </a:gdLst>
              <a:ahLst/>
              <a:cxnLst>
                <a:cxn ang="0">
                  <a:pos x="connsiteX0" y="connsiteY0"/>
                </a:cxn>
                <a:cxn ang="0">
                  <a:pos x="connsiteX1" y="connsiteY1"/>
                </a:cxn>
              </a:cxnLst>
              <a:rect l="l" t="t" r="r" b="b"/>
              <a:pathLst>
                <a:path w="70393" h="12157">
                  <a:moveTo>
                    <a:pt x="70394" y="0"/>
                  </a:moveTo>
                  <a:lnTo>
                    <a:pt x="0" y="0"/>
                  </a:lnTo>
                </a:path>
              </a:pathLst>
            </a:custGeom>
            <a:ln w="19050" cap="sq">
              <a:solidFill>
                <a:srgbClr val="595454"/>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61" name="Freeform: Shape 47">
              <a:extLst>
                <a:ext uri="{FF2B5EF4-FFF2-40B4-BE49-F238E27FC236}">
                  <a16:creationId xmlns:a16="http://schemas.microsoft.com/office/drawing/2014/main" id="{239F603F-9068-CB31-DDE4-190C91028648}"/>
                </a:ext>
              </a:extLst>
            </p:cNvPr>
            <p:cNvSpPr/>
            <p:nvPr/>
          </p:nvSpPr>
          <p:spPr>
            <a:xfrm>
              <a:off x="3436786" y="4037276"/>
              <a:ext cx="64800" cy="10566"/>
            </a:xfrm>
            <a:custGeom>
              <a:avLst/>
              <a:gdLst>
                <a:gd name="connsiteX0" fmla="*/ 70394 w 70393"/>
                <a:gd name="connsiteY0" fmla="*/ 0 h 12157"/>
                <a:gd name="connsiteX1" fmla="*/ 0 w 70393"/>
                <a:gd name="connsiteY1" fmla="*/ 0 h 12157"/>
              </a:gdLst>
              <a:ahLst/>
              <a:cxnLst>
                <a:cxn ang="0">
                  <a:pos x="connsiteX0" y="connsiteY0"/>
                </a:cxn>
                <a:cxn ang="0">
                  <a:pos x="connsiteX1" y="connsiteY1"/>
                </a:cxn>
              </a:cxnLst>
              <a:rect l="l" t="t" r="r" b="b"/>
              <a:pathLst>
                <a:path w="70393" h="12157">
                  <a:moveTo>
                    <a:pt x="70394" y="0"/>
                  </a:moveTo>
                  <a:lnTo>
                    <a:pt x="0" y="0"/>
                  </a:lnTo>
                </a:path>
              </a:pathLst>
            </a:custGeom>
            <a:ln w="19050" cap="sq">
              <a:solidFill>
                <a:srgbClr val="595454"/>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62" name="Freeform: Shape 49">
              <a:extLst>
                <a:ext uri="{FF2B5EF4-FFF2-40B4-BE49-F238E27FC236}">
                  <a16:creationId xmlns:a16="http://schemas.microsoft.com/office/drawing/2014/main" id="{F30A9B18-7404-0C9F-ED56-EFF560D6FADA}"/>
                </a:ext>
              </a:extLst>
            </p:cNvPr>
            <p:cNvSpPr/>
            <p:nvPr/>
          </p:nvSpPr>
          <p:spPr>
            <a:xfrm>
              <a:off x="3436786" y="3482600"/>
              <a:ext cx="64800" cy="10566"/>
            </a:xfrm>
            <a:custGeom>
              <a:avLst/>
              <a:gdLst>
                <a:gd name="connsiteX0" fmla="*/ 70394 w 70393"/>
                <a:gd name="connsiteY0" fmla="*/ 0 h 12157"/>
                <a:gd name="connsiteX1" fmla="*/ 0 w 70393"/>
                <a:gd name="connsiteY1" fmla="*/ 0 h 12157"/>
              </a:gdLst>
              <a:ahLst/>
              <a:cxnLst>
                <a:cxn ang="0">
                  <a:pos x="connsiteX0" y="connsiteY0"/>
                </a:cxn>
                <a:cxn ang="0">
                  <a:pos x="connsiteX1" y="connsiteY1"/>
                </a:cxn>
              </a:cxnLst>
              <a:rect l="l" t="t" r="r" b="b"/>
              <a:pathLst>
                <a:path w="70393" h="12157">
                  <a:moveTo>
                    <a:pt x="70394" y="0"/>
                  </a:moveTo>
                  <a:lnTo>
                    <a:pt x="0" y="0"/>
                  </a:lnTo>
                </a:path>
              </a:pathLst>
            </a:custGeom>
            <a:ln w="19050" cap="sq">
              <a:solidFill>
                <a:srgbClr val="595454"/>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63" name="Freeform: Shape 51">
              <a:extLst>
                <a:ext uri="{FF2B5EF4-FFF2-40B4-BE49-F238E27FC236}">
                  <a16:creationId xmlns:a16="http://schemas.microsoft.com/office/drawing/2014/main" id="{86A63966-F148-C5EC-8059-A2EE929EBCA0}"/>
                </a:ext>
              </a:extLst>
            </p:cNvPr>
            <p:cNvSpPr/>
            <p:nvPr/>
          </p:nvSpPr>
          <p:spPr>
            <a:xfrm>
              <a:off x="3436786" y="2927925"/>
              <a:ext cx="64800" cy="10566"/>
            </a:xfrm>
            <a:custGeom>
              <a:avLst/>
              <a:gdLst>
                <a:gd name="connsiteX0" fmla="*/ 70394 w 70393"/>
                <a:gd name="connsiteY0" fmla="*/ 0 h 12157"/>
                <a:gd name="connsiteX1" fmla="*/ 0 w 70393"/>
                <a:gd name="connsiteY1" fmla="*/ 0 h 12157"/>
              </a:gdLst>
              <a:ahLst/>
              <a:cxnLst>
                <a:cxn ang="0">
                  <a:pos x="connsiteX0" y="connsiteY0"/>
                </a:cxn>
                <a:cxn ang="0">
                  <a:pos x="connsiteX1" y="connsiteY1"/>
                </a:cxn>
              </a:cxnLst>
              <a:rect l="l" t="t" r="r" b="b"/>
              <a:pathLst>
                <a:path w="70393" h="12157">
                  <a:moveTo>
                    <a:pt x="70394" y="0"/>
                  </a:moveTo>
                  <a:lnTo>
                    <a:pt x="0" y="0"/>
                  </a:lnTo>
                </a:path>
              </a:pathLst>
            </a:custGeom>
            <a:ln w="19050" cap="sq">
              <a:solidFill>
                <a:srgbClr val="595454"/>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64" name="Freeform: Shape 53">
              <a:extLst>
                <a:ext uri="{FF2B5EF4-FFF2-40B4-BE49-F238E27FC236}">
                  <a16:creationId xmlns:a16="http://schemas.microsoft.com/office/drawing/2014/main" id="{0C4F402F-00C0-6C5F-0EB3-BC5886CC8424}"/>
                </a:ext>
              </a:extLst>
            </p:cNvPr>
            <p:cNvSpPr/>
            <p:nvPr/>
          </p:nvSpPr>
          <p:spPr>
            <a:xfrm>
              <a:off x="3436786" y="2373249"/>
              <a:ext cx="64800" cy="10566"/>
            </a:xfrm>
            <a:custGeom>
              <a:avLst/>
              <a:gdLst>
                <a:gd name="connsiteX0" fmla="*/ 70394 w 70393"/>
                <a:gd name="connsiteY0" fmla="*/ 0 h 12157"/>
                <a:gd name="connsiteX1" fmla="*/ 0 w 70393"/>
                <a:gd name="connsiteY1" fmla="*/ 0 h 12157"/>
              </a:gdLst>
              <a:ahLst/>
              <a:cxnLst>
                <a:cxn ang="0">
                  <a:pos x="connsiteX0" y="connsiteY0"/>
                </a:cxn>
                <a:cxn ang="0">
                  <a:pos x="connsiteX1" y="connsiteY1"/>
                </a:cxn>
              </a:cxnLst>
              <a:rect l="l" t="t" r="r" b="b"/>
              <a:pathLst>
                <a:path w="70393" h="12157">
                  <a:moveTo>
                    <a:pt x="70394" y="0"/>
                  </a:moveTo>
                  <a:lnTo>
                    <a:pt x="0" y="0"/>
                  </a:lnTo>
                </a:path>
              </a:pathLst>
            </a:custGeom>
            <a:ln w="19050" cap="sq">
              <a:solidFill>
                <a:srgbClr val="595454"/>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65" name="Freeform: Shape 55">
              <a:extLst>
                <a:ext uri="{FF2B5EF4-FFF2-40B4-BE49-F238E27FC236}">
                  <a16:creationId xmlns:a16="http://schemas.microsoft.com/office/drawing/2014/main" id="{9101E5FC-3B8F-A2D8-6240-D8A45F809897}"/>
                </a:ext>
              </a:extLst>
            </p:cNvPr>
            <p:cNvSpPr/>
            <p:nvPr/>
          </p:nvSpPr>
          <p:spPr>
            <a:xfrm>
              <a:off x="3436786" y="1818573"/>
              <a:ext cx="64800" cy="10566"/>
            </a:xfrm>
            <a:custGeom>
              <a:avLst/>
              <a:gdLst>
                <a:gd name="connsiteX0" fmla="*/ 70394 w 70393"/>
                <a:gd name="connsiteY0" fmla="*/ 0 h 12157"/>
                <a:gd name="connsiteX1" fmla="*/ 0 w 70393"/>
                <a:gd name="connsiteY1" fmla="*/ 0 h 12157"/>
              </a:gdLst>
              <a:ahLst/>
              <a:cxnLst>
                <a:cxn ang="0">
                  <a:pos x="connsiteX0" y="connsiteY0"/>
                </a:cxn>
                <a:cxn ang="0">
                  <a:pos x="connsiteX1" y="connsiteY1"/>
                </a:cxn>
              </a:cxnLst>
              <a:rect l="l" t="t" r="r" b="b"/>
              <a:pathLst>
                <a:path w="70393" h="12157">
                  <a:moveTo>
                    <a:pt x="70394" y="0"/>
                  </a:moveTo>
                  <a:lnTo>
                    <a:pt x="0" y="0"/>
                  </a:lnTo>
                </a:path>
              </a:pathLst>
            </a:custGeom>
            <a:ln w="19050" cap="sq">
              <a:solidFill>
                <a:srgbClr val="595454"/>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endParaRPr>
            </a:p>
          </p:txBody>
        </p:sp>
        <p:cxnSp>
          <p:nvCxnSpPr>
            <p:cNvPr id="189" name="Straight Connector 188">
              <a:extLst>
                <a:ext uri="{FF2B5EF4-FFF2-40B4-BE49-F238E27FC236}">
                  <a16:creationId xmlns:a16="http://schemas.microsoft.com/office/drawing/2014/main" id="{7F613B2F-31F9-960B-2528-D64461E0339E}"/>
                </a:ext>
              </a:extLst>
            </p:cNvPr>
            <p:cNvCxnSpPr>
              <a:cxnSpLocks/>
            </p:cNvCxnSpPr>
            <p:nvPr/>
          </p:nvCxnSpPr>
          <p:spPr>
            <a:xfrm>
              <a:off x="3534817" y="3210545"/>
              <a:ext cx="5004000" cy="0"/>
            </a:xfrm>
            <a:prstGeom prst="line">
              <a:avLst/>
            </a:prstGeom>
            <a:noFill/>
            <a:ln w="12700" cap="flat" cmpd="sng" algn="ctr">
              <a:solidFill>
                <a:srgbClr val="595454">
                  <a:lumMod val="40000"/>
                  <a:lumOff val="60000"/>
                </a:srgbClr>
              </a:solidFill>
              <a:prstDash val="dash"/>
            </a:ln>
            <a:effectLst/>
          </p:spPr>
        </p:cxnSp>
        <p:sp>
          <p:nvSpPr>
            <p:cNvPr id="167" name="Freeform: Shape 44">
              <a:extLst>
                <a:ext uri="{FF2B5EF4-FFF2-40B4-BE49-F238E27FC236}">
                  <a16:creationId xmlns:a16="http://schemas.microsoft.com/office/drawing/2014/main" id="{149BE87F-C807-00E4-0860-9D9A09C1CF9A}"/>
                </a:ext>
              </a:extLst>
            </p:cNvPr>
            <p:cNvSpPr/>
            <p:nvPr/>
          </p:nvSpPr>
          <p:spPr>
            <a:xfrm>
              <a:off x="3505574" y="4602518"/>
              <a:ext cx="4949199" cy="0"/>
            </a:xfrm>
            <a:custGeom>
              <a:avLst/>
              <a:gdLst>
                <a:gd name="connsiteX0" fmla="*/ 7181115 w 7181114"/>
                <a:gd name="connsiteY0" fmla="*/ 0 h 12157"/>
                <a:gd name="connsiteX1" fmla="*/ 0 w 7181114"/>
                <a:gd name="connsiteY1" fmla="*/ 0 h 12157"/>
              </a:gdLst>
              <a:ahLst/>
              <a:cxnLst>
                <a:cxn ang="0">
                  <a:pos x="connsiteX0" y="connsiteY0"/>
                </a:cxn>
                <a:cxn ang="0">
                  <a:pos x="connsiteX1" y="connsiteY1"/>
                </a:cxn>
              </a:cxnLst>
              <a:rect l="l" t="t" r="r" b="b"/>
              <a:pathLst>
                <a:path w="7181114" h="12157">
                  <a:moveTo>
                    <a:pt x="7181115" y="0"/>
                  </a:moveTo>
                  <a:lnTo>
                    <a:pt x="0" y="0"/>
                  </a:lnTo>
                </a:path>
              </a:pathLst>
            </a:custGeom>
            <a:ln w="19050" cap="sq">
              <a:solidFill>
                <a:srgbClr val="595454"/>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endParaRPr>
            </a:p>
          </p:txBody>
        </p:sp>
        <p:grpSp>
          <p:nvGrpSpPr>
            <p:cNvPr id="1518" name="Group 1517">
              <a:extLst>
                <a:ext uri="{FF2B5EF4-FFF2-40B4-BE49-F238E27FC236}">
                  <a16:creationId xmlns:a16="http://schemas.microsoft.com/office/drawing/2014/main" id="{4D252F69-0E92-DFDA-54D0-C99A1C1B668C}"/>
                </a:ext>
              </a:extLst>
            </p:cNvPr>
            <p:cNvGrpSpPr/>
            <p:nvPr/>
          </p:nvGrpSpPr>
          <p:grpSpPr>
            <a:xfrm>
              <a:off x="3402208" y="4602518"/>
              <a:ext cx="224074" cy="295502"/>
              <a:chOff x="3402208" y="4602518"/>
              <a:chExt cx="224074" cy="295502"/>
            </a:xfrm>
          </p:grpSpPr>
          <p:sp>
            <p:nvSpPr>
              <p:cNvPr id="176" name="TextBox 175">
                <a:extLst>
                  <a:ext uri="{FF2B5EF4-FFF2-40B4-BE49-F238E27FC236}">
                    <a16:creationId xmlns:a16="http://schemas.microsoft.com/office/drawing/2014/main" id="{8BDA865F-1CE6-297B-B25C-09C43F6560D5}"/>
                  </a:ext>
                </a:extLst>
              </p:cNvPr>
              <p:cNvSpPr txBox="1"/>
              <p:nvPr/>
            </p:nvSpPr>
            <p:spPr>
              <a:xfrm>
                <a:off x="3402208" y="4740460"/>
                <a:ext cx="224074" cy="157560"/>
              </a:xfrm>
              <a:prstGeom prst="rect">
                <a:avLst/>
              </a:prstGeom>
              <a:noFill/>
            </p:spPr>
            <p:txBody>
              <a:bodyPr wrap="none" lIns="0" tIns="0" rIns="0" bIns="0" rtlCol="0" anchor="ctr">
                <a:no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solidFill>
                      <a:srgbClr val="595454"/>
                    </a:solidFill>
                    <a:effectLst/>
                    <a:uLnTx/>
                    <a:uFillTx/>
                    <a:latin typeface="Arial" panose="020B0604020202020204" pitchFamily="34" charset="0"/>
                    <a:ea typeface="+mn-ea"/>
                    <a:cs typeface="Arial" panose="020B0604020202020204" pitchFamily="34" charset="0"/>
                    <a:sym typeface="Arial"/>
                    <a:rtl val="0"/>
                  </a:rPr>
                  <a:t>0</a:t>
                </a:r>
              </a:p>
            </p:txBody>
          </p:sp>
          <p:sp>
            <p:nvSpPr>
              <p:cNvPr id="177" name="Freeform: Shape 32">
                <a:extLst>
                  <a:ext uri="{FF2B5EF4-FFF2-40B4-BE49-F238E27FC236}">
                    <a16:creationId xmlns:a16="http://schemas.microsoft.com/office/drawing/2014/main" id="{E9D5BA09-2BB3-735D-48AE-0212FECA660D}"/>
                  </a:ext>
                </a:extLst>
              </p:cNvPr>
              <p:cNvSpPr/>
              <p:nvPr/>
            </p:nvSpPr>
            <p:spPr>
              <a:xfrm>
                <a:off x="3515891" y="4602518"/>
                <a:ext cx="8671" cy="61179"/>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rgbClr val="595454"/>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endParaRPr>
              </a:p>
            </p:txBody>
          </p:sp>
        </p:grpSp>
        <p:grpSp>
          <p:nvGrpSpPr>
            <p:cNvPr id="1519" name="Group 1518">
              <a:extLst>
                <a:ext uri="{FF2B5EF4-FFF2-40B4-BE49-F238E27FC236}">
                  <a16:creationId xmlns:a16="http://schemas.microsoft.com/office/drawing/2014/main" id="{903589EB-4E85-E6DC-0935-7C7EDA168B3B}"/>
                </a:ext>
              </a:extLst>
            </p:cNvPr>
            <p:cNvGrpSpPr/>
            <p:nvPr/>
          </p:nvGrpSpPr>
          <p:grpSpPr>
            <a:xfrm>
              <a:off x="3898201" y="4602518"/>
              <a:ext cx="224074" cy="295502"/>
              <a:chOff x="3952149" y="4602518"/>
              <a:chExt cx="224074" cy="295502"/>
            </a:xfrm>
          </p:grpSpPr>
          <p:sp>
            <p:nvSpPr>
              <p:cNvPr id="156" name="Freeform: Shape 32">
                <a:extLst>
                  <a:ext uri="{FF2B5EF4-FFF2-40B4-BE49-F238E27FC236}">
                    <a16:creationId xmlns:a16="http://schemas.microsoft.com/office/drawing/2014/main" id="{B2976D29-939E-7A70-6800-A88BB826628D}"/>
                  </a:ext>
                </a:extLst>
              </p:cNvPr>
              <p:cNvSpPr/>
              <p:nvPr/>
            </p:nvSpPr>
            <p:spPr>
              <a:xfrm>
                <a:off x="4064654" y="4602518"/>
                <a:ext cx="8671" cy="61179"/>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rgbClr val="595454"/>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80" name="TextBox 179">
                <a:extLst>
                  <a:ext uri="{FF2B5EF4-FFF2-40B4-BE49-F238E27FC236}">
                    <a16:creationId xmlns:a16="http://schemas.microsoft.com/office/drawing/2014/main" id="{70897E90-0FDB-7772-2353-EBF996B48077}"/>
                  </a:ext>
                </a:extLst>
              </p:cNvPr>
              <p:cNvSpPr txBox="1"/>
              <p:nvPr/>
            </p:nvSpPr>
            <p:spPr>
              <a:xfrm>
                <a:off x="3952149" y="4740460"/>
                <a:ext cx="224074" cy="157560"/>
              </a:xfrm>
              <a:prstGeom prst="rect">
                <a:avLst/>
              </a:prstGeom>
              <a:noFill/>
            </p:spPr>
            <p:txBody>
              <a:bodyPr wrap="none" lIns="0" tIns="0" rIns="0" bIns="0" rtlCol="0" anchor="ctr">
                <a:no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solidFill>
                      <a:srgbClr val="595454"/>
                    </a:solidFill>
                    <a:effectLst/>
                    <a:uLnTx/>
                    <a:uFillTx/>
                    <a:latin typeface="Arial" panose="020B0604020202020204" pitchFamily="34" charset="0"/>
                    <a:ea typeface="+mn-ea"/>
                    <a:cs typeface="Arial" panose="020B0604020202020204" pitchFamily="34" charset="0"/>
                    <a:sym typeface="Arial"/>
                    <a:rtl val="0"/>
                  </a:rPr>
                  <a:t>6</a:t>
                </a:r>
              </a:p>
            </p:txBody>
          </p:sp>
        </p:grpSp>
        <p:grpSp>
          <p:nvGrpSpPr>
            <p:cNvPr id="1520" name="Group 1519">
              <a:extLst>
                <a:ext uri="{FF2B5EF4-FFF2-40B4-BE49-F238E27FC236}">
                  <a16:creationId xmlns:a16="http://schemas.microsoft.com/office/drawing/2014/main" id="{F4D76F01-C787-08E0-9F74-D04614A1BDF3}"/>
                </a:ext>
              </a:extLst>
            </p:cNvPr>
            <p:cNvGrpSpPr/>
            <p:nvPr/>
          </p:nvGrpSpPr>
          <p:grpSpPr>
            <a:xfrm>
              <a:off x="4394194" y="4602518"/>
              <a:ext cx="224074" cy="295502"/>
              <a:chOff x="4502091" y="4602518"/>
              <a:chExt cx="224074" cy="295502"/>
            </a:xfrm>
          </p:grpSpPr>
          <p:sp>
            <p:nvSpPr>
              <p:cNvPr id="157" name="Freeform: Shape 34">
                <a:extLst>
                  <a:ext uri="{FF2B5EF4-FFF2-40B4-BE49-F238E27FC236}">
                    <a16:creationId xmlns:a16="http://schemas.microsoft.com/office/drawing/2014/main" id="{496CDA5D-47B3-CA76-F383-DA4982E49CE4}"/>
                  </a:ext>
                </a:extLst>
              </p:cNvPr>
              <p:cNvSpPr/>
              <p:nvPr/>
            </p:nvSpPr>
            <p:spPr>
              <a:xfrm>
                <a:off x="4613417" y="4602518"/>
                <a:ext cx="8671" cy="61179"/>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rgbClr val="595454"/>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81" name="TextBox 180">
                <a:extLst>
                  <a:ext uri="{FF2B5EF4-FFF2-40B4-BE49-F238E27FC236}">
                    <a16:creationId xmlns:a16="http://schemas.microsoft.com/office/drawing/2014/main" id="{EBF344AB-E8F1-6629-C2EC-6F21771DEF82}"/>
                  </a:ext>
                </a:extLst>
              </p:cNvPr>
              <p:cNvSpPr txBox="1"/>
              <p:nvPr/>
            </p:nvSpPr>
            <p:spPr>
              <a:xfrm>
                <a:off x="4502091" y="4740460"/>
                <a:ext cx="224074" cy="157560"/>
              </a:xfrm>
              <a:prstGeom prst="rect">
                <a:avLst/>
              </a:prstGeom>
              <a:noFill/>
            </p:spPr>
            <p:txBody>
              <a:bodyPr wrap="none" lIns="0" tIns="0" rIns="0" bIns="0" rtlCol="0" anchor="ctr">
                <a:no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solidFill>
                      <a:srgbClr val="595454"/>
                    </a:solidFill>
                    <a:effectLst/>
                    <a:uLnTx/>
                    <a:uFillTx/>
                    <a:latin typeface="Arial" panose="020B0604020202020204" pitchFamily="34" charset="0"/>
                    <a:ea typeface="+mn-ea"/>
                    <a:cs typeface="Arial" panose="020B0604020202020204" pitchFamily="34" charset="0"/>
                    <a:sym typeface="Arial"/>
                    <a:rtl val="0"/>
                  </a:rPr>
                  <a:t>12</a:t>
                </a:r>
              </a:p>
            </p:txBody>
          </p:sp>
        </p:grpSp>
        <p:grpSp>
          <p:nvGrpSpPr>
            <p:cNvPr id="1521" name="Group 1520">
              <a:extLst>
                <a:ext uri="{FF2B5EF4-FFF2-40B4-BE49-F238E27FC236}">
                  <a16:creationId xmlns:a16="http://schemas.microsoft.com/office/drawing/2014/main" id="{814E7C02-4443-84E4-0B5A-DF350EADF85A}"/>
                </a:ext>
              </a:extLst>
            </p:cNvPr>
            <p:cNvGrpSpPr/>
            <p:nvPr/>
          </p:nvGrpSpPr>
          <p:grpSpPr>
            <a:xfrm>
              <a:off x="4890187" y="4602518"/>
              <a:ext cx="224074" cy="295502"/>
              <a:chOff x="5052032" y="4602518"/>
              <a:chExt cx="224074" cy="295502"/>
            </a:xfrm>
          </p:grpSpPr>
          <p:sp>
            <p:nvSpPr>
              <p:cNvPr id="158" name="Freeform: Shape 36">
                <a:extLst>
                  <a:ext uri="{FF2B5EF4-FFF2-40B4-BE49-F238E27FC236}">
                    <a16:creationId xmlns:a16="http://schemas.microsoft.com/office/drawing/2014/main" id="{5DA8EEBE-5451-3F81-FE1B-95750F739DD0}"/>
                  </a:ext>
                </a:extLst>
              </p:cNvPr>
              <p:cNvSpPr/>
              <p:nvPr/>
            </p:nvSpPr>
            <p:spPr>
              <a:xfrm>
                <a:off x="5162181" y="4602518"/>
                <a:ext cx="8671" cy="61179"/>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rgbClr val="595454"/>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82" name="TextBox 181">
                <a:extLst>
                  <a:ext uri="{FF2B5EF4-FFF2-40B4-BE49-F238E27FC236}">
                    <a16:creationId xmlns:a16="http://schemas.microsoft.com/office/drawing/2014/main" id="{0BBF1A04-2C52-034A-E0BF-9EFB599F6110}"/>
                  </a:ext>
                </a:extLst>
              </p:cNvPr>
              <p:cNvSpPr txBox="1"/>
              <p:nvPr/>
            </p:nvSpPr>
            <p:spPr>
              <a:xfrm>
                <a:off x="5052032" y="4740460"/>
                <a:ext cx="224074" cy="157560"/>
              </a:xfrm>
              <a:prstGeom prst="rect">
                <a:avLst/>
              </a:prstGeom>
              <a:noFill/>
            </p:spPr>
            <p:txBody>
              <a:bodyPr wrap="none" lIns="0" tIns="0" rIns="0" bIns="0" rtlCol="0" anchor="ctr">
                <a:no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solidFill>
                      <a:srgbClr val="595454"/>
                    </a:solidFill>
                    <a:effectLst/>
                    <a:uLnTx/>
                    <a:uFillTx/>
                    <a:latin typeface="Arial" panose="020B0604020202020204" pitchFamily="34" charset="0"/>
                    <a:ea typeface="+mn-ea"/>
                    <a:cs typeface="Arial" panose="020B0604020202020204" pitchFamily="34" charset="0"/>
                    <a:sym typeface="Arial"/>
                    <a:rtl val="0"/>
                  </a:rPr>
                  <a:t>18</a:t>
                </a:r>
              </a:p>
            </p:txBody>
          </p:sp>
        </p:grpSp>
        <p:grpSp>
          <p:nvGrpSpPr>
            <p:cNvPr id="1522" name="Group 1521">
              <a:extLst>
                <a:ext uri="{FF2B5EF4-FFF2-40B4-BE49-F238E27FC236}">
                  <a16:creationId xmlns:a16="http://schemas.microsoft.com/office/drawing/2014/main" id="{F7E03F57-9899-6A7B-884C-0D9BA53CF6D6}"/>
                </a:ext>
              </a:extLst>
            </p:cNvPr>
            <p:cNvGrpSpPr/>
            <p:nvPr/>
          </p:nvGrpSpPr>
          <p:grpSpPr>
            <a:xfrm>
              <a:off x="5386180" y="4602518"/>
              <a:ext cx="224074" cy="295502"/>
              <a:chOff x="5601974" y="4602518"/>
              <a:chExt cx="224074" cy="295502"/>
            </a:xfrm>
          </p:grpSpPr>
          <p:sp>
            <p:nvSpPr>
              <p:cNvPr id="159" name="Freeform: Shape 38">
                <a:extLst>
                  <a:ext uri="{FF2B5EF4-FFF2-40B4-BE49-F238E27FC236}">
                    <a16:creationId xmlns:a16="http://schemas.microsoft.com/office/drawing/2014/main" id="{46957DD2-0A80-B9B5-996C-2D452C25E18F}"/>
                  </a:ext>
                </a:extLst>
              </p:cNvPr>
              <p:cNvSpPr/>
              <p:nvPr/>
            </p:nvSpPr>
            <p:spPr>
              <a:xfrm>
                <a:off x="5710944" y="4602518"/>
                <a:ext cx="8671" cy="61179"/>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rgbClr val="595454"/>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83" name="TextBox 182">
                <a:extLst>
                  <a:ext uri="{FF2B5EF4-FFF2-40B4-BE49-F238E27FC236}">
                    <a16:creationId xmlns:a16="http://schemas.microsoft.com/office/drawing/2014/main" id="{6A195BFA-3418-4CA4-94DF-BD689FA19512}"/>
                  </a:ext>
                </a:extLst>
              </p:cNvPr>
              <p:cNvSpPr txBox="1"/>
              <p:nvPr/>
            </p:nvSpPr>
            <p:spPr>
              <a:xfrm>
                <a:off x="5601974" y="4740460"/>
                <a:ext cx="224074" cy="157560"/>
              </a:xfrm>
              <a:prstGeom prst="rect">
                <a:avLst/>
              </a:prstGeom>
              <a:noFill/>
            </p:spPr>
            <p:txBody>
              <a:bodyPr wrap="none" lIns="0" tIns="0" rIns="0" bIns="0" rtlCol="0" anchor="ctr">
                <a:no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solidFill>
                      <a:srgbClr val="595454"/>
                    </a:solidFill>
                    <a:effectLst/>
                    <a:uLnTx/>
                    <a:uFillTx/>
                    <a:latin typeface="Arial" panose="020B0604020202020204" pitchFamily="34" charset="0"/>
                    <a:ea typeface="+mn-ea"/>
                    <a:cs typeface="Arial" panose="020B0604020202020204" pitchFamily="34" charset="0"/>
                    <a:sym typeface="Arial"/>
                    <a:rtl val="0"/>
                  </a:rPr>
                  <a:t>24</a:t>
                </a:r>
              </a:p>
            </p:txBody>
          </p:sp>
        </p:grpSp>
        <p:grpSp>
          <p:nvGrpSpPr>
            <p:cNvPr id="1523" name="Group 1522">
              <a:extLst>
                <a:ext uri="{FF2B5EF4-FFF2-40B4-BE49-F238E27FC236}">
                  <a16:creationId xmlns:a16="http://schemas.microsoft.com/office/drawing/2014/main" id="{359AC0D0-4061-A001-AF36-170CA648630A}"/>
                </a:ext>
              </a:extLst>
            </p:cNvPr>
            <p:cNvGrpSpPr/>
            <p:nvPr/>
          </p:nvGrpSpPr>
          <p:grpSpPr>
            <a:xfrm>
              <a:off x="5882173" y="4602518"/>
              <a:ext cx="224074" cy="295502"/>
              <a:chOff x="6151915" y="4602518"/>
              <a:chExt cx="224074" cy="295502"/>
            </a:xfrm>
          </p:grpSpPr>
          <p:sp>
            <p:nvSpPr>
              <p:cNvPr id="179" name="Freeform: Shape 38">
                <a:extLst>
                  <a:ext uri="{FF2B5EF4-FFF2-40B4-BE49-F238E27FC236}">
                    <a16:creationId xmlns:a16="http://schemas.microsoft.com/office/drawing/2014/main" id="{632739CF-A725-B832-755E-B10FEDF93AE6}"/>
                  </a:ext>
                </a:extLst>
              </p:cNvPr>
              <p:cNvSpPr/>
              <p:nvPr/>
            </p:nvSpPr>
            <p:spPr>
              <a:xfrm>
                <a:off x="6259707" y="4602518"/>
                <a:ext cx="8671" cy="61179"/>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rgbClr val="595454"/>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84" name="TextBox 183">
                <a:extLst>
                  <a:ext uri="{FF2B5EF4-FFF2-40B4-BE49-F238E27FC236}">
                    <a16:creationId xmlns:a16="http://schemas.microsoft.com/office/drawing/2014/main" id="{2C685775-FA89-AA13-32C1-2538FDB92F74}"/>
                  </a:ext>
                </a:extLst>
              </p:cNvPr>
              <p:cNvSpPr txBox="1"/>
              <p:nvPr/>
            </p:nvSpPr>
            <p:spPr>
              <a:xfrm>
                <a:off x="6151915" y="4740460"/>
                <a:ext cx="224074" cy="157560"/>
              </a:xfrm>
              <a:prstGeom prst="rect">
                <a:avLst/>
              </a:prstGeom>
              <a:noFill/>
            </p:spPr>
            <p:txBody>
              <a:bodyPr wrap="none" lIns="0" tIns="0" rIns="0" bIns="0" rtlCol="0" anchor="ctr">
                <a:no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solidFill>
                      <a:srgbClr val="595454"/>
                    </a:solidFill>
                    <a:effectLst/>
                    <a:uLnTx/>
                    <a:uFillTx/>
                    <a:latin typeface="Arial" panose="020B0604020202020204" pitchFamily="34" charset="0"/>
                    <a:ea typeface="+mn-ea"/>
                    <a:cs typeface="Arial" panose="020B0604020202020204" pitchFamily="34" charset="0"/>
                    <a:sym typeface="Arial"/>
                    <a:rtl val="0"/>
                  </a:rPr>
                  <a:t>30</a:t>
                </a:r>
              </a:p>
            </p:txBody>
          </p:sp>
        </p:grpSp>
        <p:grpSp>
          <p:nvGrpSpPr>
            <p:cNvPr id="1524" name="Group 1523">
              <a:extLst>
                <a:ext uri="{FF2B5EF4-FFF2-40B4-BE49-F238E27FC236}">
                  <a16:creationId xmlns:a16="http://schemas.microsoft.com/office/drawing/2014/main" id="{5E766B1F-92DC-8A10-F613-3BCC13DBC346}"/>
                </a:ext>
              </a:extLst>
            </p:cNvPr>
            <p:cNvGrpSpPr/>
            <p:nvPr/>
          </p:nvGrpSpPr>
          <p:grpSpPr>
            <a:xfrm>
              <a:off x="6378166" y="4602518"/>
              <a:ext cx="224074" cy="295502"/>
              <a:chOff x="6701859" y="4602518"/>
              <a:chExt cx="224074" cy="295502"/>
            </a:xfrm>
          </p:grpSpPr>
          <p:sp>
            <p:nvSpPr>
              <p:cNvPr id="178" name="Freeform: Shape 38">
                <a:extLst>
                  <a:ext uri="{FF2B5EF4-FFF2-40B4-BE49-F238E27FC236}">
                    <a16:creationId xmlns:a16="http://schemas.microsoft.com/office/drawing/2014/main" id="{36403F7D-2D45-0091-9A1B-D6E8AB48B090}"/>
                  </a:ext>
                </a:extLst>
              </p:cNvPr>
              <p:cNvSpPr/>
              <p:nvPr/>
            </p:nvSpPr>
            <p:spPr>
              <a:xfrm>
                <a:off x="6808468" y="4602518"/>
                <a:ext cx="8671" cy="61179"/>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rgbClr val="595454"/>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85" name="TextBox 184">
                <a:extLst>
                  <a:ext uri="{FF2B5EF4-FFF2-40B4-BE49-F238E27FC236}">
                    <a16:creationId xmlns:a16="http://schemas.microsoft.com/office/drawing/2014/main" id="{796E44A4-56E5-D57F-8CC4-D775C677757F}"/>
                  </a:ext>
                </a:extLst>
              </p:cNvPr>
              <p:cNvSpPr txBox="1"/>
              <p:nvPr/>
            </p:nvSpPr>
            <p:spPr>
              <a:xfrm>
                <a:off x="6701859" y="4740460"/>
                <a:ext cx="224074" cy="157560"/>
              </a:xfrm>
              <a:prstGeom prst="rect">
                <a:avLst/>
              </a:prstGeom>
              <a:noFill/>
            </p:spPr>
            <p:txBody>
              <a:bodyPr wrap="none" lIns="0" tIns="0" rIns="0" bIns="0" rtlCol="0" anchor="ctr">
                <a:no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solidFill>
                      <a:srgbClr val="595454"/>
                    </a:solidFill>
                    <a:effectLst/>
                    <a:uLnTx/>
                    <a:uFillTx/>
                    <a:latin typeface="Arial" panose="020B0604020202020204" pitchFamily="34" charset="0"/>
                    <a:ea typeface="+mn-ea"/>
                    <a:cs typeface="Arial" panose="020B0604020202020204" pitchFamily="34" charset="0"/>
                    <a:sym typeface="Arial"/>
                    <a:rtl val="0"/>
                  </a:rPr>
                  <a:t>36</a:t>
                </a:r>
              </a:p>
            </p:txBody>
          </p:sp>
        </p:grpSp>
        <p:grpSp>
          <p:nvGrpSpPr>
            <p:cNvPr id="1526" name="Group 1525">
              <a:extLst>
                <a:ext uri="{FF2B5EF4-FFF2-40B4-BE49-F238E27FC236}">
                  <a16:creationId xmlns:a16="http://schemas.microsoft.com/office/drawing/2014/main" id="{460DA815-89E7-55DA-AC0E-642A43D81B75}"/>
                </a:ext>
              </a:extLst>
            </p:cNvPr>
            <p:cNvGrpSpPr/>
            <p:nvPr/>
          </p:nvGrpSpPr>
          <p:grpSpPr>
            <a:xfrm>
              <a:off x="7370152" y="4602518"/>
              <a:ext cx="224074" cy="295502"/>
              <a:chOff x="7814248" y="4602518"/>
              <a:chExt cx="224074" cy="295502"/>
            </a:xfrm>
          </p:grpSpPr>
          <p:sp>
            <p:nvSpPr>
              <p:cNvPr id="196" name="TextBox 195">
                <a:extLst>
                  <a:ext uri="{FF2B5EF4-FFF2-40B4-BE49-F238E27FC236}">
                    <a16:creationId xmlns:a16="http://schemas.microsoft.com/office/drawing/2014/main" id="{12A7DFF6-E3B5-2606-CDB3-9D4ABF68D96A}"/>
                  </a:ext>
                </a:extLst>
              </p:cNvPr>
              <p:cNvSpPr txBox="1"/>
              <p:nvPr/>
            </p:nvSpPr>
            <p:spPr>
              <a:xfrm>
                <a:off x="7814248" y="4740460"/>
                <a:ext cx="224074" cy="157560"/>
              </a:xfrm>
              <a:prstGeom prst="rect">
                <a:avLst/>
              </a:prstGeom>
              <a:noFill/>
            </p:spPr>
            <p:txBody>
              <a:bodyPr wrap="none" lIns="0" tIns="0" rIns="0" bIns="0" rtlCol="0" anchor="ctr">
                <a:no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solidFill>
                      <a:srgbClr val="595454"/>
                    </a:solidFill>
                    <a:effectLst/>
                    <a:uLnTx/>
                    <a:uFillTx/>
                    <a:latin typeface="Arial" panose="020B0604020202020204" pitchFamily="34" charset="0"/>
                    <a:ea typeface="+mn-ea"/>
                    <a:cs typeface="Arial" panose="020B0604020202020204" pitchFamily="34" charset="0"/>
                    <a:sym typeface="Arial"/>
                    <a:rtl val="0"/>
                  </a:rPr>
                  <a:t>48</a:t>
                </a:r>
              </a:p>
            </p:txBody>
          </p:sp>
          <p:sp>
            <p:nvSpPr>
              <p:cNvPr id="197" name="Freeform: Shape 38">
                <a:extLst>
                  <a:ext uri="{FF2B5EF4-FFF2-40B4-BE49-F238E27FC236}">
                    <a16:creationId xmlns:a16="http://schemas.microsoft.com/office/drawing/2014/main" id="{94D08744-F8FD-0F5D-03E3-8007D3B1C635}"/>
                  </a:ext>
                </a:extLst>
              </p:cNvPr>
              <p:cNvSpPr/>
              <p:nvPr/>
            </p:nvSpPr>
            <p:spPr>
              <a:xfrm>
                <a:off x="7904289" y="4602518"/>
                <a:ext cx="8671" cy="61179"/>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rgbClr val="595454"/>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endParaRPr>
              </a:p>
            </p:txBody>
          </p:sp>
        </p:grpSp>
        <p:grpSp>
          <p:nvGrpSpPr>
            <p:cNvPr id="1525" name="Group 1524">
              <a:extLst>
                <a:ext uri="{FF2B5EF4-FFF2-40B4-BE49-F238E27FC236}">
                  <a16:creationId xmlns:a16="http://schemas.microsoft.com/office/drawing/2014/main" id="{D08938D8-CD43-EA2F-0672-8B81DE0158C6}"/>
                </a:ext>
              </a:extLst>
            </p:cNvPr>
            <p:cNvGrpSpPr/>
            <p:nvPr/>
          </p:nvGrpSpPr>
          <p:grpSpPr>
            <a:xfrm>
              <a:off x="6874159" y="4602518"/>
              <a:ext cx="224074" cy="295502"/>
              <a:chOff x="7259038" y="4602518"/>
              <a:chExt cx="224074" cy="295502"/>
            </a:xfrm>
          </p:grpSpPr>
          <p:sp>
            <p:nvSpPr>
              <p:cNvPr id="194" name="TextBox 193">
                <a:extLst>
                  <a:ext uri="{FF2B5EF4-FFF2-40B4-BE49-F238E27FC236}">
                    <a16:creationId xmlns:a16="http://schemas.microsoft.com/office/drawing/2014/main" id="{5144B1B9-1E0E-4D97-C71D-DA8EDD219D31}"/>
                  </a:ext>
                </a:extLst>
              </p:cNvPr>
              <p:cNvSpPr txBox="1"/>
              <p:nvPr/>
            </p:nvSpPr>
            <p:spPr>
              <a:xfrm>
                <a:off x="7259038" y="4740460"/>
                <a:ext cx="224074" cy="157560"/>
              </a:xfrm>
              <a:prstGeom prst="rect">
                <a:avLst/>
              </a:prstGeom>
              <a:noFill/>
            </p:spPr>
            <p:txBody>
              <a:bodyPr wrap="none" lIns="0" tIns="0" rIns="0" bIns="0" rtlCol="0" anchor="ctr">
                <a:no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solidFill>
                      <a:srgbClr val="595454"/>
                    </a:solidFill>
                    <a:effectLst/>
                    <a:uLnTx/>
                    <a:uFillTx/>
                    <a:latin typeface="Arial" panose="020B0604020202020204" pitchFamily="34" charset="0"/>
                    <a:ea typeface="+mn-ea"/>
                    <a:cs typeface="Arial" panose="020B0604020202020204" pitchFamily="34" charset="0"/>
                    <a:sym typeface="Arial"/>
                    <a:rtl val="0"/>
                  </a:rPr>
                  <a:t>42</a:t>
                </a:r>
              </a:p>
            </p:txBody>
          </p:sp>
          <p:sp>
            <p:nvSpPr>
              <p:cNvPr id="198" name="Freeform: Shape 38">
                <a:extLst>
                  <a:ext uri="{FF2B5EF4-FFF2-40B4-BE49-F238E27FC236}">
                    <a16:creationId xmlns:a16="http://schemas.microsoft.com/office/drawing/2014/main" id="{EB4E0B65-7667-60E7-2FAF-A62F15277D59}"/>
                  </a:ext>
                </a:extLst>
              </p:cNvPr>
              <p:cNvSpPr/>
              <p:nvPr/>
            </p:nvSpPr>
            <p:spPr>
              <a:xfrm>
                <a:off x="7355527" y="4602518"/>
                <a:ext cx="8671" cy="61179"/>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rgbClr val="595454"/>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endParaRPr>
              </a:p>
            </p:txBody>
          </p:sp>
        </p:grpSp>
        <p:grpSp>
          <p:nvGrpSpPr>
            <p:cNvPr id="1517" name="Group 1516">
              <a:extLst>
                <a:ext uri="{FF2B5EF4-FFF2-40B4-BE49-F238E27FC236}">
                  <a16:creationId xmlns:a16="http://schemas.microsoft.com/office/drawing/2014/main" id="{E64B0513-034C-EC02-29FD-2B53002052E6}"/>
                </a:ext>
              </a:extLst>
            </p:cNvPr>
            <p:cNvGrpSpPr/>
            <p:nvPr/>
          </p:nvGrpSpPr>
          <p:grpSpPr>
            <a:xfrm>
              <a:off x="8362134" y="4602518"/>
              <a:ext cx="224074" cy="295502"/>
              <a:chOff x="8362134" y="4602518"/>
              <a:chExt cx="224074" cy="295502"/>
            </a:xfrm>
          </p:grpSpPr>
          <p:sp>
            <p:nvSpPr>
              <p:cNvPr id="200" name="TextBox 199">
                <a:extLst>
                  <a:ext uri="{FF2B5EF4-FFF2-40B4-BE49-F238E27FC236}">
                    <a16:creationId xmlns:a16="http://schemas.microsoft.com/office/drawing/2014/main" id="{39229489-4965-E121-435F-76772BB952AF}"/>
                  </a:ext>
                </a:extLst>
              </p:cNvPr>
              <p:cNvSpPr txBox="1"/>
              <p:nvPr/>
            </p:nvSpPr>
            <p:spPr>
              <a:xfrm>
                <a:off x="8362134" y="4740460"/>
                <a:ext cx="224074" cy="157560"/>
              </a:xfrm>
              <a:prstGeom prst="rect">
                <a:avLst/>
              </a:prstGeom>
              <a:noFill/>
            </p:spPr>
            <p:txBody>
              <a:bodyPr wrap="none" lIns="0" tIns="0" rIns="0" bIns="0" rtlCol="0" anchor="ctr">
                <a:no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solidFill>
                      <a:srgbClr val="595454"/>
                    </a:solidFill>
                    <a:effectLst/>
                    <a:uLnTx/>
                    <a:uFillTx/>
                    <a:latin typeface="Arial" panose="020B0604020202020204" pitchFamily="34" charset="0"/>
                    <a:ea typeface="+mn-ea"/>
                    <a:cs typeface="Arial" panose="020B0604020202020204" pitchFamily="34" charset="0"/>
                    <a:sym typeface="Arial"/>
                    <a:rtl val="0"/>
                  </a:rPr>
                  <a:t>60</a:t>
                </a:r>
              </a:p>
            </p:txBody>
          </p:sp>
          <p:sp>
            <p:nvSpPr>
              <p:cNvPr id="201" name="Freeform: Shape 38">
                <a:extLst>
                  <a:ext uri="{FF2B5EF4-FFF2-40B4-BE49-F238E27FC236}">
                    <a16:creationId xmlns:a16="http://schemas.microsoft.com/office/drawing/2014/main" id="{7AD5C33B-D912-3F2E-DCE2-F98B3EEEE68E}"/>
                  </a:ext>
                </a:extLst>
              </p:cNvPr>
              <p:cNvSpPr/>
              <p:nvPr/>
            </p:nvSpPr>
            <p:spPr>
              <a:xfrm>
                <a:off x="8452175" y="4602518"/>
                <a:ext cx="8671" cy="61179"/>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rgbClr val="595454"/>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endParaRPr>
              </a:p>
            </p:txBody>
          </p:sp>
        </p:grpSp>
        <p:sp>
          <p:nvSpPr>
            <p:cNvPr id="893" name="AutoShape 3">
              <a:extLst>
                <a:ext uri="{FF2B5EF4-FFF2-40B4-BE49-F238E27FC236}">
                  <a16:creationId xmlns:a16="http://schemas.microsoft.com/office/drawing/2014/main" id="{966B86BC-8842-D72E-B518-84E71042DF7D}"/>
                </a:ext>
              </a:extLst>
            </p:cNvPr>
            <p:cNvSpPr>
              <a:spLocks noChangeAspect="1" noTextEdit="1"/>
            </p:cNvSpPr>
            <p:nvPr/>
          </p:nvSpPr>
          <p:spPr bwMode="auto">
            <a:xfrm>
              <a:off x="3583382" y="1775924"/>
              <a:ext cx="4705744" cy="1411182"/>
            </a:xfrm>
            <a:prstGeom prst="rect">
              <a:avLst/>
            </a:prstGeom>
            <a:noFill/>
            <a:ln w="9525" cap="flat" cmpd="sng" algn="ctr">
              <a:solidFill>
                <a:srgbClr val="A69F9F">
                  <a:alpha val="0"/>
                </a:srgb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595454"/>
                </a:solidFill>
                <a:effectLst/>
                <a:uLnTx/>
                <a:uFillTx/>
                <a:latin typeface="Trebuchet MS" panose="020B0603020202020204"/>
                <a:ea typeface="+mn-ea"/>
                <a:cs typeface="+mn-cs"/>
              </a:endParaRPr>
            </a:p>
          </p:txBody>
        </p:sp>
        <p:sp>
          <p:nvSpPr>
            <p:cNvPr id="990" name="Speech Bubble: Rectangle 890">
              <a:extLst>
                <a:ext uri="{FF2B5EF4-FFF2-40B4-BE49-F238E27FC236}">
                  <a16:creationId xmlns:a16="http://schemas.microsoft.com/office/drawing/2014/main" id="{5C6B46B4-E6D9-8FBD-0681-FFE5261B0482}"/>
                </a:ext>
              </a:extLst>
            </p:cNvPr>
            <p:cNvSpPr/>
            <p:nvPr/>
          </p:nvSpPr>
          <p:spPr>
            <a:xfrm>
              <a:off x="4869713" y="3468983"/>
              <a:ext cx="1252800" cy="530127"/>
            </a:xfrm>
            <a:prstGeom prst="wedgeRectCallout">
              <a:avLst>
                <a:gd name="adj1" fmla="val 35733"/>
                <a:gd name="adj2" fmla="val -71597"/>
              </a:avLst>
            </a:prstGeom>
            <a:solidFill>
              <a:schemeClr val="bg1">
                <a:lumMod val="95000"/>
              </a:schemeClr>
            </a:solidFill>
            <a:ln w="25400" cap="flat" cmpd="sng" algn="ctr">
              <a:noFill/>
              <a:prstDash val="solid"/>
            </a:ln>
            <a:effectLst/>
          </p:spPr>
          <p:txBody>
            <a:bodyPr wrap="square" lIns="81000" tIns="54000" rIns="54000" bIns="54000" rtlCol="0" anchor="ctr">
              <a:spAutoFit/>
            </a:bodyPr>
            <a:lstStyle/>
            <a:p>
              <a:pPr marL="0" marR="0" lvl="0" indent="0" algn="l" defTabSz="685800" rtl="0" eaLnBrk="1" fontAlgn="ctr"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1.1</a:t>
              </a:r>
            </a:p>
            <a:p>
              <a:pPr marL="0" marR="0" lvl="0" indent="0" algn="l" defTabSz="685800" rtl="0" eaLnBrk="1" fontAlgn="ctr" latinLnBrk="0" hangingPunct="1">
                <a:lnSpc>
                  <a:spcPct val="100000"/>
                </a:lnSpc>
                <a:spcBef>
                  <a:spcPts val="0"/>
                </a:spcBef>
                <a:spcAft>
                  <a:spcPts val="0"/>
                </a:spcAft>
                <a:buClrTx/>
                <a:buSzTx/>
                <a:buFontTx/>
                <a:buNone/>
                <a:tabLst/>
                <a:defRPr/>
              </a:pPr>
              <a:r>
                <a:rPr kumimoji="0" lang="en-US" sz="825"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dian OS</a:t>
              </a:r>
              <a:endParaRPr kumimoji="0" lang="en-US" sz="675"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91" name="Speech Bubble: Rectangle 890">
              <a:extLst>
                <a:ext uri="{FF2B5EF4-FFF2-40B4-BE49-F238E27FC236}">
                  <a16:creationId xmlns:a16="http://schemas.microsoft.com/office/drawing/2014/main" id="{2B7A072A-E307-81BE-03F3-9A6CA2E37D33}"/>
                </a:ext>
              </a:extLst>
            </p:cNvPr>
            <p:cNvSpPr/>
            <p:nvPr/>
          </p:nvSpPr>
          <p:spPr>
            <a:xfrm>
              <a:off x="6519304" y="3567595"/>
              <a:ext cx="1252800" cy="530127"/>
            </a:xfrm>
            <a:prstGeom prst="wedgeRectCallout">
              <a:avLst>
                <a:gd name="adj1" fmla="val -43325"/>
                <a:gd name="adj2" fmla="val -96205"/>
              </a:avLst>
            </a:prstGeom>
            <a:solidFill>
              <a:schemeClr val="bg1">
                <a:lumMod val="95000"/>
              </a:schemeClr>
            </a:solidFill>
            <a:ln w="25400" cap="flat" cmpd="sng" algn="ctr">
              <a:noFill/>
              <a:prstDash val="solid"/>
            </a:ln>
            <a:effectLst/>
          </p:spPr>
          <p:txBody>
            <a:bodyPr wrap="square" lIns="81000" tIns="54000" rIns="54000" bIns="54000" rtlCol="0" anchor="ctr">
              <a:spAutoFit/>
            </a:bodyPr>
            <a:lstStyle/>
            <a:p>
              <a:pPr marL="0" marR="0" lvl="0" indent="0" algn="l" defTabSz="685800" rtl="0" eaLnBrk="1" fontAlgn="ctr"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6.0%</a:t>
              </a:r>
            </a:p>
            <a:p>
              <a:pPr marL="0" marR="0" lvl="0" indent="0" algn="l" defTabSz="685800" rtl="0" eaLnBrk="1" fontAlgn="ctr" latinLnBrk="0" hangingPunct="1">
                <a:lnSpc>
                  <a:spcPct val="100000"/>
                </a:lnSpc>
                <a:spcBef>
                  <a:spcPts val="0"/>
                </a:spcBef>
                <a:spcAft>
                  <a:spcPts val="0"/>
                </a:spcAft>
                <a:buClrTx/>
                <a:buSzTx/>
                <a:buFontTx/>
                <a:buNone/>
                <a:tabLst/>
                <a:defRPr/>
              </a:pPr>
              <a:r>
                <a:rPr kumimoji="0" lang="en-US" sz="825"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8-Month OS </a:t>
              </a:r>
              <a:endParaRPr kumimoji="0" lang="en-US" sz="675"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95" name="TextBox 994">
              <a:extLst>
                <a:ext uri="{FF2B5EF4-FFF2-40B4-BE49-F238E27FC236}">
                  <a16:creationId xmlns:a16="http://schemas.microsoft.com/office/drawing/2014/main" id="{28070682-9F77-499A-D3C6-F84A5CFC42BE}"/>
                </a:ext>
              </a:extLst>
            </p:cNvPr>
            <p:cNvSpPr txBox="1"/>
            <p:nvPr/>
          </p:nvSpPr>
          <p:spPr>
            <a:xfrm>
              <a:off x="7557015" y="2770928"/>
              <a:ext cx="1010331" cy="307776"/>
            </a:xfrm>
            <a:prstGeom prst="rect">
              <a:avLst/>
            </a:prstGeom>
            <a:noFill/>
          </p:spPr>
          <p:txBody>
            <a:bodyPr wrap="square" rtlCol="0">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458A6F"/>
                  </a:solidFill>
                  <a:effectLst/>
                  <a:uLnTx/>
                  <a:uFillTx/>
                  <a:latin typeface="Arial" panose="020B0604020202020204" pitchFamily="34" charset="0"/>
                  <a:ea typeface="+mn-ea"/>
                  <a:cs typeface="Arial" panose="020B0604020202020204" pitchFamily="34" charset="0"/>
                </a:rPr>
                <a:t>Axi-cel</a:t>
              </a:r>
            </a:p>
          </p:txBody>
        </p:sp>
        <p:sp>
          <p:nvSpPr>
            <p:cNvPr id="996" name="TextBox 995">
              <a:extLst>
                <a:ext uri="{FF2B5EF4-FFF2-40B4-BE49-F238E27FC236}">
                  <a16:creationId xmlns:a16="http://schemas.microsoft.com/office/drawing/2014/main" id="{2C91ABAB-9D1A-08D8-E010-993BA3FD14B9}"/>
                </a:ext>
              </a:extLst>
            </p:cNvPr>
            <p:cNvSpPr txBox="1"/>
            <p:nvPr/>
          </p:nvSpPr>
          <p:spPr>
            <a:xfrm>
              <a:off x="7610175" y="3461081"/>
              <a:ext cx="1010331" cy="307776"/>
            </a:xfrm>
            <a:prstGeom prst="rect">
              <a:avLst/>
            </a:prstGeom>
            <a:noFill/>
          </p:spPr>
          <p:txBody>
            <a:bodyPr wrap="square" rtlCol="0">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oC</a:t>
              </a:r>
            </a:p>
          </p:txBody>
        </p:sp>
        <p:sp>
          <p:nvSpPr>
            <p:cNvPr id="1006" name="TextBox 1005">
              <a:extLst>
                <a:ext uri="{FF2B5EF4-FFF2-40B4-BE49-F238E27FC236}">
                  <a16:creationId xmlns:a16="http://schemas.microsoft.com/office/drawing/2014/main" id="{7B032CD7-AA24-16AC-C06A-9DD6CE6DC61E}"/>
                </a:ext>
              </a:extLst>
            </p:cNvPr>
            <p:cNvSpPr txBox="1"/>
            <p:nvPr/>
          </p:nvSpPr>
          <p:spPr>
            <a:xfrm>
              <a:off x="3385199" y="4211936"/>
              <a:ext cx="2124000" cy="338555"/>
            </a:xfrm>
            <a:prstGeom prst="rect">
              <a:avLst/>
            </a:prstGeom>
            <a:noFill/>
          </p:spPr>
          <p:txBody>
            <a:bodyPr wrap="square" rtlCol="0">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R= 0.73; p = 0.03 </a:t>
              </a:r>
            </a:p>
          </p:txBody>
        </p:sp>
        <p:sp>
          <p:nvSpPr>
            <p:cNvPr id="6" name="TextBox 5">
              <a:extLst>
                <a:ext uri="{FF2B5EF4-FFF2-40B4-BE49-F238E27FC236}">
                  <a16:creationId xmlns:a16="http://schemas.microsoft.com/office/drawing/2014/main" id="{B1BCFE8C-6EAC-F451-E88E-04FFC05F0F36}"/>
                </a:ext>
              </a:extLst>
            </p:cNvPr>
            <p:cNvSpPr txBox="1"/>
            <p:nvPr/>
          </p:nvSpPr>
          <p:spPr>
            <a:xfrm>
              <a:off x="3409695" y="4917073"/>
              <a:ext cx="5183999" cy="338555"/>
            </a:xfrm>
            <a:prstGeom prst="rect">
              <a:avLst/>
            </a:prstGeom>
            <a:noFill/>
          </p:spPr>
          <p:txBody>
            <a:bodyPr wrap="square" rtlCol="0" anchor="ctr">
              <a:sp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Time, months</a:t>
              </a:r>
            </a:p>
          </p:txBody>
        </p:sp>
        <p:sp>
          <p:nvSpPr>
            <p:cNvPr id="8" name="Speech Bubble: Rectangle 890">
              <a:extLst>
                <a:ext uri="{FF2B5EF4-FFF2-40B4-BE49-F238E27FC236}">
                  <a16:creationId xmlns:a16="http://schemas.microsoft.com/office/drawing/2014/main" id="{EB5256A5-C412-53FD-D14A-614A26BA324C}"/>
                </a:ext>
              </a:extLst>
            </p:cNvPr>
            <p:cNvSpPr/>
            <p:nvPr/>
          </p:nvSpPr>
          <p:spPr>
            <a:xfrm>
              <a:off x="5552736" y="2230072"/>
              <a:ext cx="1252800" cy="530127"/>
            </a:xfrm>
            <a:prstGeom prst="wedgeRectCallout">
              <a:avLst>
                <a:gd name="adj1" fmla="val 31194"/>
                <a:gd name="adj2" fmla="val 78264"/>
              </a:avLst>
            </a:prstGeom>
            <a:solidFill>
              <a:schemeClr val="accent6">
                <a:lumMod val="20000"/>
                <a:lumOff val="80000"/>
              </a:schemeClr>
            </a:solidFill>
            <a:ln w="25400" cap="flat" cmpd="sng" algn="ctr">
              <a:noFill/>
              <a:prstDash val="solid"/>
            </a:ln>
            <a:effectLst/>
          </p:spPr>
          <p:txBody>
            <a:bodyPr wrap="square" lIns="81000" tIns="54000" rIns="54000" bIns="54000" rtlCol="0" anchor="ctr">
              <a:spAutoFit/>
            </a:bodyPr>
            <a:lstStyle/>
            <a:p>
              <a:pPr marL="0" marR="0" lvl="0" indent="0" algn="l" defTabSz="685800" rtl="0" eaLnBrk="1" fontAlgn="ctr"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54.6%</a:t>
              </a:r>
            </a:p>
            <a:p>
              <a:pPr marL="0" marR="0" lvl="0" indent="0" algn="l" defTabSz="685800" rtl="0" eaLnBrk="1" fontAlgn="ctr" latinLnBrk="0" hangingPunct="1">
                <a:lnSpc>
                  <a:spcPct val="100000"/>
                </a:lnSpc>
                <a:spcBef>
                  <a:spcPts val="0"/>
                </a:spcBef>
                <a:spcAft>
                  <a:spcPts val="0"/>
                </a:spcAft>
                <a:buClrTx/>
                <a:buSzTx/>
                <a:buFontTx/>
                <a:buNone/>
                <a:tabLst/>
                <a:defRPr/>
              </a:pPr>
              <a:r>
                <a:rPr kumimoji="0" lang="en-US" sz="825"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8-Month OS </a:t>
              </a:r>
              <a:endParaRPr kumimoji="0" lang="en-US" sz="675"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04" name="Line 15">
              <a:extLst>
                <a:ext uri="{FF2B5EF4-FFF2-40B4-BE49-F238E27FC236}">
                  <a16:creationId xmlns:a16="http://schemas.microsoft.com/office/drawing/2014/main" id="{1DBF6675-8F42-70A8-5623-C615ED521724}"/>
                </a:ext>
              </a:extLst>
            </p:cNvPr>
            <p:cNvSpPr>
              <a:spLocks noChangeShapeType="1"/>
            </p:cNvSpPr>
            <p:nvPr/>
          </p:nvSpPr>
          <p:spPr bwMode="auto">
            <a:xfrm>
              <a:off x="5112872" y="2740614"/>
              <a:ext cx="0" cy="54907"/>
            </a:xfrm>
            <a:prstGeom prst="line">
              <a:avLst/>
            </a:prstGeom>
            <a:noFill/>
            <a:ln w="12700" cap="flat">
              <a:solidFill>
                <a:srgbClr val="458A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88" b="0" i="0" u="none" strike="noStrike" kern="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905" name="Line 16">
              <a:extLst>
                <a:ext uri="{FF2B5EF4-FFF2-40B4-BE49-F238E27FC236}">
                  <a16:creationId xmlns:a16="http://schemas.microsoft.com/office/drawing/2014/main" id="{AD98A1DB-63FE-3F70-EEA9-0998DF8B33B3}"/>
                </a:ext>
              </a:extLst>
            </p:cNvPr>
            <p:cNvSpPr>
              <a:spLocks noChangeShapeType="1"/>
            </p:cNvSpPr>
            <p:nvPr/>
          </p:nvSpPr>
          <p:spPr bwMode="auto">
            <a:xfrm>
              <a:off x="5093189" y="2766968"/>
              <a:ext cx="39365" cy="0"/>
            </a:xfrm>
            <a:prstGeom prst="line">
              <a:avLst/>
            </a:prstGeom>
            <a:noFill/>
            <a:ln w="12700" cap="flat">
              <a:solidFill>
                <a:srgbClr val="458A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88" b="0" i="0" u="none" strike="noStrike" kern="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endParaRPr>
            </a:p>
          </p:txBody>
        </p:sp>
        <p:grpSp>
          <p:nvGrpSpPr>
            <p:cNvPr id="1163" name="Group 1162">
              <a:extLst>
                <a:ext uri="{FF2B5EF4-FFF2-40B4-BE49-F238E27FC236}">
                  <a16:creationId xmlns:a16="http://schemas.microsoft.com/office/drawing/2014/main" id="{B88D9791-6D8E-CC4B-9B01-D10ADEED7065}"/>
                </a:ext>
              </a:extLst>
            </p:cNvPr>
            <p:cNvGrpSpPr/>
            <p:nvPr/>
          </p:nvGrpSpPr>
          <p:grpSpPr>
            <a:xfrm>
              <a:off x="7545097" y="3259820"/>
              <a:ext cx="993511" cy="183052"/>
              <a:chOff x="8855074" y="2907839"/>
              <a:chExt cx="1425463" cy="178615"/>
            </a:xfrm>
          </p:grpSpPr>
          <p:sp>
            <p:nvSpPr>
              <p:cNvPr id="1374" name="Graphic 1300">
                <a:extLst>
                  <a:ext uri="{FF2B5EF4-FFF2-40B4-BE49-F238E27FC236}">
                    <a16:creationId xmlns:a16="http://schemas.microsoft.com/office/drawing/2014/main" id="{D10B0A8E-296A-8D7B-A81B-4CC18141EF32}"/>
                  </a:ext>
                </a:extLst>
              </p:cNvPr>
              <p:cNvSpPr/>
              <p:nvPr/>
            </p:nvSpPr>
            <p:spPr>
              <a:xfrm>
                <a:off x="8855074" y="2954665"/>
                <a:ext cx="1389240" cy="87711"/>
              </a:xfrm>
              <a:custGeom>
                <a:avLst/>
                <a:gdLst>
                  <a:gd name="connsiteX0" fmla="*/ 0 w 3810952"/>
                  <a:gd name="connsiteY0" fmla="*/ 0 h 608171"/>
                  <a:gd name="connsiteX1" fmla="*/ 113538 w 3810952"/>
                  <a:gd name="connsiteY1" fmla="*/ 0 h 608171"/>
                  <a:gd name="connsiteX2" fmla="*/ 113538 w 3810952"/>
                  <a:gd name="connsiteY2" fmla="*/ 5906 h 608171"/>
                  <a:gd name="connsiteX3" fmla="*/ 153543 w 3810952"/>
                  <a:gd name="connsiteY3" fmla="*/ 5906 h 608171"/>
                  <a:gd name="connsiteX4" fmla="*/ 153543 w 3810952"/>
                  <a:gd name="connsiteY4" fmla="*/ 12002 h 608171"/>
                  <a:gd name="connsiteX5" fmla="*/ 161925 w 3810952"/>
                  <a:gd name="connsiteY5" fmla="*/ 12002 h 608171"/>
                  <a:gd name="connsiteX6" fmla="*/ 161925 w 3810952"/>
                  <a:gd name="connsiteY6" fmla="*/ 18002 h 608171"/>
                  <a:gd name="connsiteX7" fmla="*/ 172498 w 3810952"/>
                  <a:gd name="connsiteY7" fmla="*/ 18002 h 608171"/>
                  <a:gd name="connsiteX8" fmla="*/ 172498 w 3810952"/>
                  <a:gd name="connsiteY8" fmla="*/ 24003 h 608171"/>
                  <a:gd name="connsiteX9" fmla="*/ 222980 w 3810952"/>
                  <a:gd name="connsiteY9" fmla="*/ 24003 h 608171"/>
                  <a:gd name="connsiteX10" fmla="*/ 222980 w 3810952"/>
                  <a:gd name="connsiteY10" fmla="*/ 30099 h 608171"/>
                  <a:gd name="connsiteX11" fmla="*/ 231362 w 3810952"/>
                  <a:gd name="connsiteY11" fmla="*/ 30099 h 608171"/>
                  <a:gd name="connsiteX12" fmla="*/ 231362 w 3810952"/>
                  <a:gd name="connsiteY12" fmla="*/ 42196 h 608171"/>
                  <a:gd name="connsiteX13" fmla="*/ 237649 w 3810952"/>
                  <a:gd name="connsiteY13" fmla="*/ 42196 h 608171"/>
                  <a:gd name="connsiteX14" fmla="*/ 237649 w 3810952"/>
                  <a:gd name="connsiteY14" fmla="*/ 48292 h 608171"/>
                  <a:gd name="connsiteX15" fmla="*/ 241840 w 3810952"/>
                  <a:gd name="connsiteY15" fmla="*/ 48292 h 608171"/>
                  <a:gd name="connsiteX16" fmla="*/ 241840 w 3810952"/>
                  <a:gd name="connsiteY16" fmla="*/ 54388 h 608171"/>
                  <a:gd name="connsiteX17" fmla="*/ 246031 w 3810952"/>
                  <a:gd name="connsiteY17" fmla="*/ 54388 h 608171"/>
                  <a:gd name="connsiteX18" fmla="*/ 246031 w 3810952"/>
                  <a:gd name="connsiteY18" fmla="*/ 60484 h 608171"/>
                  <a:gd name="connsiteX19" fmla="*/ 248126 w 3810952"/>
                  <a:gd name="connsiteY19" fmla="*/ 60484 h 608171"/>
                  <a:gd name="connsiteX20" fmla="*/ 248126 w 3810952"/>
                  <a:gd name="connsiteY20" fmla="*/ 66485 h 608171"/>
                  <a:gd name="connsiteX21" fmla="*/ 250317 w 3810952"/>
                  <a:gd name="connsiteY21" fmla="*/ 66485 h 608171"/>
                  <a:gd name="connsiteX22" fmla="*/ 250317 w 3810952"/>
                  <a:gd name="connsiteY22" fmla="*/ 72581 h 608171"/>
                  <a:gd name="connsiteX23" fmla="*/ 260794 w 3810952"/>
                  <a:gd name="connsiteY23" fmla="*/ 72581 h 608171"/>
                  <a:gd name="connsiteX24" fmla="*/ 260794 w 3810952"/>
                  <a:gd name="connsiteY24" fmla="*/ 78677 h 608171"/>
                  <a:gd name="connsiteX25" fmla="*/ 267081 w 3810952"/>
                  <a:gd name="connsiteY25" fmla="*/ 78677 h 608171"/>
                  <a:gd name="connsiteX26" fmla="*/ 267081 w 3810952"/>
                  <a:gd name="connsiteY26" fmla="*/ 84677 h 608171"/>
                  <a:gd name="connsiteX27" fmla="*/ 281845 w 3810952"/>
                  <a:gd name="connsiteY27" fmla="*/ 84677 h 608171"/>
                  <a:gd name="connsiteX28" fmla="*/ 281845 w 3810952"/>
                  <a:gd name="connsiteY28" fmla="*/ 90773 h 608171"/>
                  <a:gd name="connsiteX29" fmla="*/ 290227 w 3810952"/>
                  <a:gd name="connsiteY29" fmla="*/ 90773 h 608171"/>
                  <a:gd name="connsiteX30" fmla="*/ 290227 w 3810952"/>
                  <a:gd name="connsiteY30" fmla="*/ 96869 h 608171"/>
                  <a:gd name="connsiteX31" fmla="*/ 300800 w 3810952"/>
                  <a:gd name="connsiteY31" fmla="*/ 96869 h 608171"/>
                  <a:gd name="connsiteX32" fmla="*/ 300800 w 3810952"/>
                  <a:gd name="connsiteY32" fmla="*/ 102870 h 608171"/>
                  <a:gd name="connsiteX33" fmla="*/ 313373 w 3810952"/>
                  <a:gd name="connsiteY33" fmla="*/ 102870 h 608171"/>
                  <a:gd name="connsiteX34" fmla="*/ 313373 w 3810952"/>
                  <a:gd name="connsiteY34" fmla="*/ 108966 h 608171"/>
                  <a:gd name="connsiteX35" fmla="*/ 319659 w 3810952"/>
                  <a:gd name="connsiteY35" fmla="*/ 108966 h 608171"/>
                  <a:gd name="connsiteX36" fmla="*/ 319659 w 3810952"/>
                  <a:gd name="connsiteY36" fmla="*/ 121063 h 608171"/>
                  <a:gd name="connsiteX37" fmla="*/ 323850 w 3810952"/>
                  <a:gd name="connsiteY37" fmla="*/ 121063 h 608171"/>
                  <a:gd name="connsiteX38" fmla="*/ 323850 w 3810952"/>
                  <a:gd name="connsiteY38" fmla="*/ 127159 h 608171"/>
                  <a:gd name="connsiteX39" fmla="*/ 336518 w 3810952"/>
                  <a:gd name="connsiteY39" fmla="*/ 127159 h 608171"/>
                  <a:gd name="connsiteX40" fmla="*/ 336518 w 3810952"/>
                  <a:gd name="connsiteY40" fmla="*/ 133255 h 608171"/>
                  <a:gd name="connsiteX41" fmla="*/ 351187 w 3810952"/>
                  <a:gd name="connsiteY41" fmla="*/ 133255 h 608171"/>
                  <a:gd name="connsiteX42" fmla="*/ 351187 w 3810952"/>
                  <a:gd name="connsiteY42" fmla="*/ 139256 h 608171"/>
                  <a:gd name="connsiteX43" fmla="*/ 355473 w 3810952"/>
                  <a:gd name="connsiteY43" fmla="*/ 139256 h 608171"/>
                  <a:gd name="connsiteX44" fmla="*/ 355473 w 3810952"/>
                  <a:gd name="connsiteY44" fmla="*/ 145352 h 608171"/>
                  <a:gd name="connsiteX45" fmla="*/ 365950 w 3810952"/>
                  <a:gd name="connsiteY45" fmla="*/ 145352 h 608171"/>
                  <a:gd name="connsiteX46" fmla="*/ 365950 w 3810952"/>
                  <a:gd name="connsiteY46" fmla="*/ 151448 h 608171"/>
                  <a:gd name="connsiteX47" fmla="*/ 374333 w 3810952"/>
                  <a:gd name="connsiteY47" fmla="*/ 151448 h 608171"/>
                  <a:gd name="connsiteX48" fmla="*/ 374333 w 3810952"/>
                  <a:gd name="connsiteY48" fmla="*/ 157544 h 608171"/>
                  <a:gd name="connsiteX49" fmla="*/ 389096 w 3810952"/>
                  <a:gd name="connsiteY49" fmla="*/ 157544 h 608171"/>
                  <a:gd name="connsiteX50" fmla="*/ 389096 w 3810952"/>
                  <a:gd name="connsiteY50" fmla="*/ 163544 h 608171"/>
                  <a:gd name="connsiteX51" fmla="*/ 393287 w 3810952"/>
                  <a:gd name="connsiteY51" fmla="*/ 163544 h 608171"/>
                  <a:gd name="connsiteX52" fmla="*/ 393287 w 3810952"/>
                  <a:gd name="connsiteY52" fmla="*/ 169640 h 608171"/>
                  <a:gd name="connsiteX53" fmla="*/ 397478 w 3810952"/>
                  <a:gd name="connsiteY53" fmla="*/ 169640 h 608171"/>
                  <a:gd name="connsiteX54" fmla="*/ 397478 w 3810952"/>
                  <a:gd name="connsiteY54" fmla="*/ 175736 h 608171"/>
                  <a:gd name="connsiteX55" fmla="*/ 410147 w 3810952"/>
                  <a:gd name="connsiteY55" fmla="*/ 175736 h 608171"/>
                  <a:gd name="connsiteX56" fmla="*/ 410147 w 3810952"/>
                  <a:gd name="connsiteY56" fmla="*/ 181737 h 608171"/>
                  <a:gd name="connsiteX57" fmla="*/ 439579 w 3810952"/>
                  <a:gd name="connsiteY57" fmla="*/ 181737 h 608171"/>
                  <a:gd name="connsiteX58" fmla="*/ 439579 w 3810952"/>
                  <a:gd name="connsiteY58" fmla="*/ 187833 h 608171"/>
                  <a:gd name="connsiteX59" fmla="*/ 447961 w 3810952"/>
                  <a:gd name="connsiteY59" fmla="*/ 187833 h 608171"/>
                  <a:gd name="connsiteX60" fmla="*/ 447961 w 3810952"/>
                  <a:gd name="connsiteY60" fmla="*/ 193929 h 608171"/>
                  <a:gd name="connsiteX61" fmla="*/ 450056 w 3810952"/>
                  <a:gd name="connsiteY61" fmla="*/ 193929 h 608171"/>
                  <a:gd name="connsiteX62" fmla="*/ 450056 w 3810952"/>
                  <a:gd name="connsiteY62" fmla="*/ 199930 h 608171"/>
                  <a:gd name="connsiteX63" fmla="*/ 464820 w 3810952"/>
                  <a:gd name="connsiteY63" fmla="*/ 199930 h 608171"/>
                  <a:gd name="connsiteX64" fmla="*/ 464820 w 3810952"/>
                  <a:gd name="connsiteY64" fmla="*/ 212122 h 608171"/>
                  <a:gd name="connsiteX65" fmla="*/ 466916 w 3810952"/>
                  <a:gd name="connsiteY65" fmla="*/ 212122 h 608171"/>
                  <a:gd name="connsiteX66" fmla="*/ 466916 w 3810952"/>
                  <a:gd name="connsiteY66" fmla="*/ 218123 h 608171"/>
                  <a:gd name="connsiteX67" fmla="*/ 473202 w 3810952"/>
                  <a:gd name="connsiteY67" fmla="*/ 218123 h 608171"/>
                  <a:gd name="connsiteX68" fmla="*/ 473202 w 3810952"/>
                  <a:gd name="connsiteY68" fmla="*/ 224219 h 608171"/>
                  <a:gd name="connsiteX69" fmla="*/ 477393 w 3810952"/>
                  <a:gd name="connsiteY69" fmla="*/ 224219 h 608171"/>
                  <a:gd name="connsiteX70" fmla="*/ 477393 w 3810952"/>
                  <a:gd name="connsiteY70" fmla="*/ 230315 h 608171"/>
                  <a:gd name="connsiteX71" fmla="*/ 494252 w 3810952"/>
                  <a:gd name="connsiteY71" fmla="*/ 230315 h 608171"/>
                  <a:gd name="connsiteX72" fmla="*/ 494252 w 3810952"/>
                  <a:gd name="connsiteY72" fmla="*/ 242411 h 608171"/>
                  <a:gd name="connsiteX73" fmla="*/ 498443 w 3810952"/>
                  <a:gd name="connsiteY73" fmla="*/ 242411 h 608171"/>
                  <a:gd name="connsiteX74" fmla="*/ 498443 w 3810952"/>
                  <a:gd name="connsiteY74" fmla="*/ 248507 h 608171"/>
                  <a:gd name="connsiteX75" fmla="*/ 521589 w 3810952"/>
                  <a:gd name="connsiteY75" fmla="*/ 248507 h 608171"/>
                  <a:gd name="connsiteX76" fmla="*/ 521589 w 3810952"/>
                  <a:gd name="connsiteY76" fmla="*/ 254603 h 608171"/>
                  <a:gd name="connsiteX77" fmla="*/ 525780 w 3810952"/>
                  <a:gd name="connsiteY77" fmla="*/ 254603 h 608171"/>
                  <a:gd name="connsiteX78" fmla="*/ 525780 w 3810952"/>
                  <a:gd name="connsiteY78" fmla="*/ 260604 h 608171"/>
                  <a:gd name="connsiteX79" fmla="*/ 532067 w 3810952"/>
                  <a:gd name="connsiteY79" fmla="*/ 260604 h 608171"/>
                  <a:gd name="connsiteX80" fmla="*/ 532067 w 3810952"/>
                  <a:gd name="connsiteY80" fmla="*/ 272796 h 608171"/>
                  <a:gd name="connsiteX81" fmla="*/ 551021 w 3810952"/>
                  <a:gd name="connsiteY81" fmla="*/ 272796 h 608171"/>
                  <a:gd name="connsiteX82" fmla="*/ 551021 w 3810952"/>
                  <a:gd name="connsiteY82" fmla="*/ 278797 h 608171"/>
                  <a:gd name="connsiteX83" fmla="*/ 559403 w 3810952"/>
                  <a:gd name="connsiteY83" fmla="*/ 278797 h 608171"/>
                  <a:gd name="connsiteX84" fmla="*/ 559403 w 3810952"/>
                  <a:gd name="connsiteY84" fmla="*/ 284893 h 608171"/>
                  <a:gd name="connsiteX85" fmla="*/ 572072 w 3810952"/>
                  <a:gd name="connsiteY85" fmla="*/ 284893 h 608171"/>
                  <a:gd name="connsiteX86" fmla="*/ 572072 w 3810952"/>
                  <a:gd name="connsiteY86" fmla="*/ 290989 h 608171"/>
                  <a:gd name="connsiteX87" fmla="*/ 588931 w 3810952"/>
                  <a:gd name="connsiteY87" fmla="*/ 290989 h 608171"/>
                  <a:gd name="connsiteX88" fmla="*/ 588931 w 3810952"/>
                  <a:gd name="connsiteY88" fmla="*/ 296990 h 608171"/>
                  <a:gd name="connsiteX89" fmla="*/ 616268 w 3810952"/>
                  <a:gd name="connsiteY89" fmla="*/ 296990 h 608171"/>
                  <a:gd name="connsiteX90" fmla="*/ 616268 w 3810952"/>
                  <a:gd name="connsiteY90" fmla="*/ 303086 h 608171"/>
                  <a:gd name="connsiteX91" fmla="*/ 618363 w 3810952"/>
                  <a:gd name="connsiteY91" fmla="*/ 303086 h 608171"/>
                  <a:gd name="connsiteX92" fmla="*/ 618363 w 3810952"/>
                  <a:gd name="connsiteY92" fmla="*/ 309182 h 608171"/>
                  <a:gd name="connsiteX93" fmla="*/ 628840 w 3810952"/>
                  <a:gd name="connsiteY93" fmla="*/ 309182 h 608171"/>
                  <a:gd name="connsiteX94" fmla="*/ 628840 w 3810952"/>
                  <a:gd name="connsiteY94" fmla="*/ 315182 h 608171"/>
                  <a:gd name="connsiteX95" fmla="*/ 635127 w 3810952"/>
                  <a:gd name="connsiteY95" fmla="*/ 315182 h 608171"/>
                  <a:gd name="connsiteX96" fmla="*/ 635127 w 3810952"/>
                  <a:gd name="connsiteY96" fmla="*/ 327374 h 608171"/>
                  <a:gd name="connsiteX97" fmla="*/ 643604 w 3810952"/>
                  <a:gd name="connsiteY97" fmla="*/ 327374 h 608171"/>
                  <a:gd name="connsiteX98" fmla="*/ 643604 w 3810952"/>
                  <a:gd name="connsiteY98" fmla="*/ 333375 h 608171"/>
                  <a:gd name="connsiteX99" fmla="*/ 649891 w 3810952"/>
                  <a:gd name="connsiteY99" fmla="*/ 333375 h 608171"/>
                  <a:gd name="connsiteX100" fmla="*/ 649891 w 3810952"/>
                  <a:gd name="connsiteY100" fmla="*/ 345567 h 608171"/>
                  <a:gd name="connsiteX101" fmla="*/ 651986 w 3810952"/>
                  <a:gd name="connsiteY101" fmla="*/ 345567 h 608171"/>
                  <a:gd name="connsiteX102" fmla="*/ 651986 w 3810952"/>
                  <a:gd name="connsiteY102" fmla="*/ 351663 h 608171"/>
                  <a:gd name="connsiteX103" fmla="*/ 664559 w 3810952"/>
                  <a:gd name="connsiteY103" fmla="*/ 351663 h 608171"/>
                  <a:gd name="connsiteX104" fmla="*/ 664559 w 3810952"/>
                  <a:gd name="connsiteY104" fmla="*/ 357664 h 608171"/>
                  <a:gd name="connsiteX105" fmla="*/ 687705 w 3810952"/>
                  <a:gd name="connsiteY105" fmla="*/ 357664 h 608171"/>
                  <a:gd name="connsiteX106" fmla="*/ 687705 w 3810952"/>
                  <a:gd name="connsiteY106" fmla="*/ 363760 h 608171"/>
                  <a:gd name="connsiteX107" fmla="*/ 694087 w 3810952"/>
                  <a:gd name="connsiteY107" fmla="*/ 363760 h 608171"/>
                  <a:gd name="connsiteX108" fmla="*/ 694087 w 3810952"/>
                  <a:gd name="connsiteY108" fmla="*/ 369856 h 608171"/>
                  <a:gd name="connsiteX109" fmla="*/ 702469 w 3810952"/>
                  <a:gd name="connsiteY109" fmla="*/ 369856 h 608171"/>
                  <a:gd name="connsiteX110" fmla="*/ 702469 w 3810952"/>
                  <a:gd name="connsiteY110" fmla="*/ 375857 h 608171"/>
                  <a:gd name="connsiteX111" fmla="*/ 710851 w 3810952"/>
                  <a:gd name="connsiteY111" fmla="*/ 375857 h 608171"/>
                  <a:gd name="connsiteX112" fmla="*/ 710851 w 3810952"/>
                  <a:gd name="connsiteY112" fmla="*/ 381953 h 608171"/>
                  <a:gd name="connsiteX113" fmla="*/ 715042 w 3810952"/>
                  <a:gd name="connsiteY113" fmla="*/ 381953 h 608171"/>
                  <a:gd name="connsiteX114" fmla="*/ 715042 w 3810952"/>
                  <a:gd name="connsiteY114" fmla="*/ 388049 h 608171"/>
                  <a:gd name="connsiteX115" fmla="*/ 788670 w 3810952"/>
                  <a:gd name="connsiteY115" fmla="*/ 388049 h 608171"/>
                  <a:gd name="connsiteX116" fmla="*/ 788670 w 3810952"/>
                  <a:gd name="connsiteY116" fmla="*/ 394049 h 608171"/>
                  <a:gd name="connsiteX117" fmla="*/ 809720 w 3810952"/>
                  <a:gd name="connsiteY117" fmla="*/ 394049 h 608171"/>
                  <a:gd name="connsiteX118" fmla="*/ 809720 w 3810952"/>
                  <a:gd name="connsiteY118" fmla="*/ 400145 h 608171"/>
                  <a:gd name="connsiteX119" fmla="*/ 816007 w 3810952"/>
                  <a:gd name="connsiteY119" fmla="*/ 400145 h 608171"/>
                  <a:gd name="connsiteX120" fmla="*/ 816007 w 3810952"/>
                  <a:gd name="connsiteY120" fmla="*/ 406241 h 608171"/>
                  <a:gd name="connsiteX121" fmla="*/ 858107 w 3810952"/>
                  <a:gd name="connsiteY121" fmla="*/ 406241 h 608171"/>
                  <a:gd name="connsiteX122" fmla="*/ 858107 w 3810952"/>
                  <a:gd name="connsiteY122" fmla="*/ 412242 h 608171"/>
                  <a:gd name="connsiteX123" fmla="*/ 872776 w 3810952"/>
                  <a:gd name="connsiteY123" fmla="*/ 412242 h 608171"/>
                  <a:gd name="connsiteX124" fmla="*/ 872776 w 3810952"/>
                  <a:gd name="connsiteY124" fmla="*/ 418338 h 608171"/>
                  <a:gd name="connsiteX125" fmla="*/ 902303 w 3810952"/>
                  <a:gd name="connsiteY125" fmla="*/ 418338 h 608171"/>
                  <a:gd name="connsiteX126" fmla="*/ 902303 w 3810952"/>
                  <a:gd name="connsiteY126" fmla="*/ 424434 h 608171"/>
                  <a:gd name="connsiteX127" fmla="*/ 904399 w 3810952"/>
                  <a:gd name="connsiteY127" fmla="*/ 424434 h 608171"/>
                  <a:gd name="connsiteX128" fmla="*/ 904399 w 3810952"/>
                  <a:gd name="connsiteY128" fmla="*/ 430435 h 608171"/>
                  <a:gd name="connsiteX129" fmla="*/ 927449 w 3810952"/>
                  <a:gd name="connsiteY129" fmla="*/ 430435 h 608171"/>
                  <a:gd name="connsiteX130" fmla="*/ 927449 w 3810952"/>
                  <a:gd name="connsiteY130" fmla="*/ 436531 h 608171"/>
                  <a:gd name="connsiteX131" fmla="*/ 940118 w 3810952"/>
                  <a:gd name="connsiteY131" fmla="*/ 436531 h 608171"/>
                  <a:gd name="connsiteX132" fmla="*/ 940118 w 3810952"/>
                  <a:gd name="connsiteY132" fmla="*/ 442627 h 608171"/>
                  <a:gd name="connsiteX133" fmla="*/ 975836 w 3810952"/>
                  <a:gd name="connsiteY133" fmla="*/ 442627 h 608171"/>
                  <a:gd name="connsiteX134" fmla="*/ 975836 w 3810952"/>
                  <a:gd name="connsiteY134" fmla="*/ 448723 h 608171"/>
                  <a:gd name="connsiteX135" fmla="*/ 1091565 w 3810952"/>
                  <a:gd name="connsiteY135" fmla="*/ 448723 h 608171"/>
                  <a:gd name="connsiteX136" fmla="*/ 1091565 w 3810952"/>
                  <a:gd name="connsiteY136" fmla="*/ 454724 h 608171"/>
                  <a:gd name="connsiteX137" fmla="*/ 1129379 w 3810952"/>
                  <a:gd name="connsiteY137" fmla="*/ 454724 h 608171"/>
                  <a:gd name="connsiteX138" fmla="*/ 1129379 w 3810952"/>
                  <a:gd name="connsiteY138" fmla="*/ 460915 h 608171"/>
                  <a:gd name="connsiteX139" fmla="*/ 1181957 w 3810952"/>
                  <a:gd name="connsiteY139" fmla="*/ 460915 h 608171"/>
                  <a:gd name="connsiteX140" fmla="*/ 1181957 w 3810952"/>
                  <a:gd name="connsiteY140" fmla="*/ 467011 h 608171"/>
                  <a:gd name="connsiteX141" fmla="*/ 1200912 w 3810952"/>
                  <a:gd name="connsiteY141" fmla="*/ 467011 h 608171"/>
                  <a:gd name="connsiteX142" fmla="*/ 1200912 w 3810952"/>
                  <a:gd name="connsiteY142" fmla="*/ 473107 h 608171"/>
                  <a:gd name="connsiteX143" fmla="*/ 1211390 w 3810952"/>
                  <a:gd name="connsiteY143" fmla="*/ 473107 h 608171"/>
                  <a:gd name="connsiteX144" fmla="*/ 1211390 w 3810952"/>
                  <a:gd name="connsiteY144" fmla="*/ 479298 h 608171"/>
                  <a:gd name="connsiteX145" fmla="*/ 1245108 w 3810952"/>
                  <a:gd name="connsiteY145" fmla="*/ 479298 h 608171"/>
                  <a:gd name="connsiteX146" fmla="*/ 1245108 w 3810952"/>
                  <a:gd name="connsiteY146" fmla="*/ 485394 h 608171"/>
                  <a:gd name="connsiteX147" fmla="*/ 1251395 w 3810952"/>
                  <a:gd name="connsiteY147" fmla="*/ 485394 h 608171"/>
                  <a:gd name="connsiteX148" fmla="*/ 1251395 w 3810952"/>
                  <a:gd name="connsiteY148" fmla="*/ 491490 h 608171"/>
                  <a:gd name="connsiteX149" fmla="*/ 1266063 w 3810952"/>
                  <a:gd name="connsiteY149" fmla="*/ 491490 h 608171"/>
                  <a:gd name="connsiteX150" fmla="*/ 1266063 w 3810952"/>
                  <a:gd name="connsiteY150" fmla="*/ 497586 h 608171"/>
                  <a:gd name="connsiteX151" fmla="*/ 1278731 w 3810952"/>
                  <a:gd name="connsiteY151" fmla="*/ 497586 h 608171"/>
                  <a:gd name="connsiteX152" fmla="*/ 1278731 w 3810952"/>
                  <a:gd name="connsiteY152" fmla="*/ 503777 h 608171"/>
                  <a:gd name="connsiteX153" fmla="*/ 1303973 w 3810952"/>
                  <a:gd name="connsiteY153" fmla="*/ 503777 h 608171"/>
                  <a:gd name="connsiteX154" fmla="*/ 1303973 w 3810952"/>
                  <a:gd name="connsiteY154" fmla="*/ 509873 h 608171"/>
                  <a:gd name="connsiteX155" fmla="*/ 1533239 w 3810952"/>
                  <a:gd name="connsiteY155" fmla="*/ 509873 h 608171"/>
                  <a:gd name="connsiteX156" fmla="*/ 1533239 w 3810952"/>
                  <a:gd name="connsiteY156" fmla="*/ 516065 h 608171"/>
                  <a:gd name="connsiteX157" fmla="*/ 1646777 w 3810952"/>
                  <a:gd name="connsiteY157" fmla="*/ 516065 h 608171"/>
                  <a:gd name="connsiteX158" fmla="*/ 1646777 w 3810952"/>
                  <a:gd name="connsiteY158" fmla="*/ 522256 h 608171"/>
                  <a:gd name="connsiteX159" fmla="*/ 1915954 w 3810952"/>
                  <a:gd name="connsiteY159" fmla="*/ 522256 h 608171"/>
                  <a:gd name="connsiteX160" fmla="*/ 1915954 w 3810952"/>
                  <a:gd name="connsiteY160" fmla="*/ 528542 h 608171"/>
                  <a:gd name="connsiteX161" fmla="*/ 1989582 w 3810952"/>
                  <a:gd name="connsiteY161" fmla="*/ 528542 h 608171"/>
                  <a:gd name="connsiteX162" fmla="*/ 1989582 w 3810952"/>
                  <a:gd name="connsiteY162" fmla="*/ 534829 h 608171"/>
                  <a:gd name="connsiteX163" fmla="*/ 2069497 w 3810952"/>
                  <a:gd name="connsiteY163" fmla="*/ 534829 h 608171"/>
                  <a:gd name="connsiteX164" fmla="*/ 2069497 w 3810952"/>
                  <a:gd name="connsiteY164" fmla="*/ 541115 h 608171"/>
                  <a:gd name="connsiteX165" fmla="*/ 2231422 w 3810952"/>
                  <a:gd name="connsiteY165" fmla="*/ 541115 h 608171"/>
                  <a:gd name="connsiteX166" fmla="*/ 2231422 w 3810952"/>
                  <a:gd name="connsiteY166" fmla="*/ 547592 h 608171"/>
                  <a:gd name="connsiteX167" fmla="*/ 2248281 w 3810952"/>
                  <a:gd name="connsiteY167" fmla="*/ 547592 h 608171"/>
                  <a:gd name="connsiteX168" fmla="*/ 2248281 w 3810952"/>
                  <a:gd name="connsiteY168" fmla="*/ 553974 h 608171"/>
                  <a:gd name="connsiteX169" fmla="*/ 2366105 w 3810952"/>
                  <a:gd name="connsiteY169" fmla="*/ 553974 h 608171"/>
                  <a:gd name="connsiteX170" fmla="*/ 2366105 w 3810952"/>
                  <a:gd name="connsiteY170" fmla="*/ 560451 h 608171"/>
                  <a:gd name="connsiteX171" fmla="*/ 2458593 w 3810952"/>
                  <a:gd name="connsiteY171" fmla="*/ 560451 h 608171"/>
                  <a:gd name="connsiteX172" fmla="*/ 2458593 w 3810952"/>
                  <a:gd name="connsiteY172" fmla="*/ 566833 h 608171"/>
                  <a:gd name="connsiteX173" fmla="*/ 2477548 w 3810952"/>
                  <a:gd name="connsiteY173" fmla="*/ 566833 h 608171"/>
                  <a:gd name="connsiteX174" fmla="*/ 2477548 w 3810952"/>
                  <a:gd name="connsiteY174" fmla="*/ 573310 h 608171"/>
                  <a:gd name="connsiteX175" fmla="*/ 3331369 w 3810952"/>
                  <a:gd name="connsiteY175" fmla="*/ 573310 h 608171"/>
                  <a:gd name="connsiteX176" fmla="*/ 3331369 w 3810952"/>
                  <a:gd name="connsiteY176" fmla="*/ 608171 h 608171"/>
                  <a:gd name="connsiteX177" fmla="*/ 3810953 w 3810952"/>
                  <a:gd name="connsiteY177" fmla="*/ 608171 h 608171"/>
                  <a:gd name="connsiteX0" fmla="*/ 0 w 3697415"/>
                  <a:gd name="connsiteY0" fmla="*/ 0 h 608171"/>
                  <a:gd name="connsiteX1" fmla="*/ 0 w 3697415"/>
                  <a:gd name="connsiteY1" fmla="*/ 5906 h 608171"/>
                  <a:gd name="connsiteX2" fmla="*/ 40005 w 3697415"/>
                  <a:gd name="connsiteY2" fmla="*/ 5906 h 608171"/>
                  <a:gd name="connsiteX3" fmla="*/ 40005 w 3697415"/>
                  <a:gd name="connsiteY3" fmla="*/ 12002 h 608171"/>
                  <a:gd name="connsiteX4" fmla="*/ 48387 w 3697415"/>
                  <a:gd name="connsiteY4" fmla="*/ 12002 h 608171"/>
                  <a:gd name="connsiteX5" fmla="*/ 48387 w 3697415"/>
                  <a:gd name="connsiteY5" fmla="*/ 18002 h 608171"/>
                  <a:gd name="connsiteX6" fmla="*/ 58960 w 3697415"/>
                  <a:gd name="connsiteY6" fmla="*/ 18002 h 608171"/>
                  <a:gd name="connsiteX7" fmla="*/ 58960 w 3697415"/>
                  <a:gd name="connsiteY7" fmla="*/ 24003 h 608171"/>
                  <a:gd name="connsiteX8" fmla="*/ 109442 w 3697415"/>
                  <a:gd name="connsiteY8" fmla="*/ 24003 h 608171"/>
                  <a:gd name="connsiteX9" fmla="*/ 109442 w 3697415"/>
                  <a:gd name="connsiteY9" fmla="*/ 30099 h 608171"/>
                  <a:gd name="connsiteX10" fmla="*/ 117824 w 3697415"/>
                  <a:gd name="connsiteY10" fmla="*/ 30099 h 608171"/>
                  <a:gd name="connsiteX11" fmla="*/ 117824 w 3697415"/>
                  <a:gd name="connsiteY11" fmla="*/ 42196 h 608171"/>
                  <a:gd name="connsiteX12" fmla="*/ 124111 w 3697415"/>
                  <a:gd name="connsiteY12" fmla="*/ 42196 h 608171"/>
                  <a:gd name="connsiteX13" fmla="*/ 124111 w 3697415"/>
                  <a:gd name="connsiteY13" fmla="*/ 48292 h 608171"/>
                  <a:gd name="connsiteX14" fmla="*/ 128302 w 3697415"/>
                  <a:gd name="connsiteY14" fmla="*/ 48292 h 608171"/>
                  <a:gd name="connsiteX15" fmla="*/ 128302 w 3697415"/>
                  <a:gd name="connsiteY15" fmla="*/ 54388 h 608171"/>
                  <a:gd name="connsiteX16" fmla="*/ 132493 w 3697415"/>
                  <a:gd name="connsiteY16" fmla="*/ 54388 h 608171"/>
                  <a:gd name="connsiteX17" fmla="*/ 132493 w 3697415"/>
                  <a:gd name="connsiteY17" fmla="*/ 60484 h 608171"/>
                  <a:gd name="connsiteX18" fmla="*/ 134588 w 3697415"/>
                  <a:gd name="connsiteY18" fmla="*/ 60484 h 608171"/>
                  <a:gd name="connsiteX19" fmla="*/ 134588 w 3697415"/>
                  <a:gd name="connsiteY19" fmla="*/ 66485 h 608171"/>
                  <a:gd name="connsiteX20" fmla="*/ 136779 w 3697415"/>
                  <a:gd name="connsiteY20" fmla="*/ 66485 h 608171"/>
                  <a:gd name="connsiteX21" fmla="*/ 136779 w 3697415"/>
                  <a:gd name="connsiteY21" fmla="*/ 72581 h 608171"/>
                  <a:gd name="connsiteX22" fmla="*/ 147256 w 3697415"/>
                  <a:gd name="connsiteY22" fmla="*/ 72581 h 608171"/>
                  <a:gd name="connsiteX23" fmla="*/ 147256 w 3697415"/>
                  <a:gd name="connsiteY23" fmla="*/ 78677 h 608171"/>
                  <a:gd name="connsiteX24" fmla="*/ 153543 w 3697415"/>
                  <a:gd name="connsiteY24" fmla="*/ 78677 h 608171"/>
                  <a:gd name="connsiteX25" fmla="*/ 153543 w 3697415"/>
                  <a:gd name="connsiteY25" fmla="*/ 84677 h 608171"/>
                  <a:gd name="connsiteX26" fmla="*/ 168307 w 3697415"/>
                  <a:gd name="connsiteY26" fmla="*/ 84677 h 608171"/>
                  <a:gd name="connsiteX27" fmla="*/ 168307 w 3697415"/>
                  <a:gd name="connsiteY27" fmla="*/ 90773 h 608171"/>
                  <a:gd name="connsiteX28" fmla="*/ 176689 w 3697415"/>
                  <a:gd name="connsiteY28" fmla="*/ 90773 h 608171"/>
                  <a:gd name="connsiteX29" fmla="*/ 176689 w 3697415"/>
                  <a:gd name="connsiteY29" fmla="*/ 96869 h 608171"/>
                  <a:gd name="connsiteX30" fmla="*/ 187262 w 3697415"/>
                  <a:gd name="connsiteY30" fmla="*/ 96869 h 608171"/>
                  <a:gd name="connsiteX31" fmla="*/ 187262 w 3697415"/>
                  <a:gd name="connsiteY31" fmla="*/ 102870 h 608171"/>
                  <a:gd name="connsiteX32" fmla="*/ 199835 w 3697415"/>
                  <a:gd name="connsiteY32" fmla="*/ 102870 h 608171"/>
                  <a:gd name="connsiteX33" fmla="*/ 199835 w 3697415"/>
                  <a:gd name="connsiteY33" fmla="*/ 108966 h 608171"/>
                  <a:gd name="connsiteX34" fmla="*/ 206121 w 3697415"/>
                  <a:gd name="connsiteY34" fmla="*/ 108966 h 608171"/>
                  <a:gd name="connsiteX35" fmla="*/ 206121 w 3697415"/>
                  <a:gd name="connsiteY35" fmla="*/ 121063 h 608171"/>
                  <a:gd name="connsiteX36" fmla="*/ 210312 w 3697415"/>
                  <a:gd name="connsiteY36" fmla="*/ 121063 h 608171"/>
                  <a:gd name="connsiteX37" fmla="*/ 210312 w 3697415"/>
                  <a:gd name="connsiteY37" fmla="*/ 127159 h 608171"/>
                  <a:gd name="connsiteX38" fmla="*/ 222980 w 3697415"/>
                  <a:gd name="connsiteY38" fmla="*/ 127159 h 608171"/>
                  <a:gd name="connsiteX39" fmla="*/ 222980 w 3697415"/>
                  <a:gd name="connsiteY39" fmla="*/ 133255 h 608171"/>
                  <a:gd name="connsiteX40" fmla="*/ 237649 w 3697415"/>
                  <a:gd name="connsiteY40" fmla="*/ 133255 h 608171"/>
                  <a:gd name="connsiteX41" fmla="*/ 237649 w 3697415"/>
                  <a:gd name="connsiteY41" fmla="*/ 139256 h 608171"/>
                  <a:gd name="connsiteX42" fmla="*/ 241935 w 3697415"/>
                  <a:gd name="connsiteY42" fmla="*/ 139256 h 608171"/>
                  <a:gd name="connsiteX43" fmla="*/ 241935 w 3697415"/>
                  <a:gd name="connsiteY43" fmla="*/ 145352 h 608171"/>
                  <a:gd name="connsiteX44" fmla="*/ 252412 w 3697415"/>
                  <a:gd name="connsiteY44" fmla="*/ 145352 h 608171"/>
                  <a:gd name="connsiteX45" fmla="*/ 252412 w 3697415"/>
                  <a:gd name="connsiteY45" fmla="*/ 151448 h 608171"/>
                  <a:gd name="connsiteX46" fmla="*/ 260795 w 3697415"/>
                  <a:gd name="connsiteY46" fmla="*/ 151448 h 608171"/>
                  <a:gd name="connsiteX47" fmla="*/ 260795 w 3697415"/>
                  <a:gd name="connsiteY47" fmla="*/ 157544 h 608171"/>
                  <a:gd name="connsiteX48" fmla="*/ 275558 w 3697415"/>
                  <a:gd name="connsiteY48" fmla="*/ 157544 h 608171"/>
                  <a:gd name="connsiteX49" fmla="*/ 275558 w 3697415"/>
                  <a:gd name="connsiteY49" fmla="*/ 163544 h 608171"/>
                  <a:gd name="connsiteX50" fmla="*/ 279749 w 3697415"/>
                  <a:gd name="connsiteY50" fmla="*/ 163544 h 608171"/>
                  <a:gd name="connsiteX51" fmla="*/ 279749 w 3697415"/>
                  <a:gd name="connsiteY51" fmla="*/ 169640 h 608171"/>
                  <a:gd name="connsiteX52" fmla="*/ 283940 w 3697415"/>
                  <a:gd name="connsiteY52" fmla="*/ 169640 h 608171"/>
                  <a:gd name="connsiteX53" fmla="*/ 283940 w 3697415"/>
                  <a:gd name="connsiteY53" fmla="*/ 175736 h 608171"/>
                  <a:gd name="connsiteX54" fmla="*/ 296609 w 3697415"/>
                  <a:gd name="connsiteY54" fmla="*/ 175736 h 608171"/>
                  <a:gd name="connsiteX55" fmla="*/ 296609 w 3697415"/>
                  <a:gd name="connsiteY55" fmla="*/ 181737 h 608171"/>
                  <a:gd name="connsiteX56" fmla="*/ 326041 w 3697415"/>
                  <a:gd name="connsiteY56" fmla="*/ 181737 h 608171"/>
                  <a:gd name="connsiteX57" fmla="*/ 326041 w 3697415"/>
                  <a:gd name="connsiteY57" fmla="*/ 187833 h 608171"/>
                  <a:gd name="connsiteX58" fmla="*/ 334423 w 3697415"/>
                  <a:gd name="connsiteY58" fmla="*/ 187833 h 608171"/>
                  <a:gd name="connsiteX59" fmla="*/ 334423 w 3697415"/>
                  <a:gd name="connsiteY59" fmla="*/ 193929 h 608171"/>
                  <a:gd name="connsiteX60" fmla="*/ 336518 w 3697415"/>
                  <a:gd name="connsiteY60" fmla="*/ 193929 h 608171"/>
                  <a:gd name="connsiteX61" fmla="*/ 336518 w 3697415"/>
                  <a:gd name="connsiteY61" fmla="*/ 199930 h 608171"/>
                  <a:gd name="connsiteX62" fmla="*/ 351282 w 3697415"/>
                  <a:gd name="connsiteY62" fmla="*/ 199930 h 608171"/>
                  <a:gd name="connsiteX63" fmla="*/ 351282 w 3697415"/>
                  <a:gd name="connsiteY63" fmla="*/ 212122 h 608171"/>
                  <a:gd name="connsiteX64" fmla="*/ 353378 w 3697415"/>
                  <a:gd name="connsiteY64" fmla="*/ 212122 h 608171"/>
                  <a:gd name="connsiteX65" fmla="*/ 353378 w 3697415"/>
                  <a:gd name="connsiteY65" fmla="*/ 218123 h 608171"/>
                  <a:gd name="connsiteX66" fmla="*/ 359664 w 3697415"/>
                  <a:gd name="connsiteY66" fmla="*/ 218123 h 608171"/>
                  <a:gd name="connsiteX67" fmla="*/ 359664 w 3697415"/>
                  <a:gd name="connsiteY67" fmla="*/ 224219 h 608171"/>
                  <a:gd name="connsiteX68" fmla="*/ 363855 w 3697415"/>
                  <a:gd name="connsiteY68" fmla="*/ 224219 h 608171"/>
                  <a:gd name="connsiteX69" fmla="*/ 363855 w 3697415"/>
                  <a:gd name="connsiteY69" fmla="*/ 230315 h 608171"/>
                  <a:gd name="connsiteX70" fmla="*/ 380714 w 3697415"/>
                  <a:gd name="connsiteY70" fmla="*/ 230315 h 608171"/>
                  <a:gd name="connsiteX71" fmla="*/ 380714 w 3697415"/>
                  <a:gd name="connsiteY71" fmla="*/ 242411 h 608171"/>
                  <a:gd name="connsiteX72" fmla="*/ 384905 w 3697415"/>
                  <a:gd name="connsiteY72" fmla="*/ 242411 h 608171"/>
                  <a:gd name="connsiteX73" fmla="*/ 384905 w 3697415"/>
                  <a:gd name="connsiteY73" fmla="*/ 248507 h 608171"/>
                  <a:gd name="connsiteX74" fmla="*/ 408051 w 3697415"/>
                  <a:gd name="connsiteY74" fmla="*/ 248507 h 608171"/>
                  <a:gd name="connsiteX75" fmla="*/ 408051 w 3697415"/>
                  <a:gd name="connsiteY75" fmla="*/ 254603 h 608171"/>
                  <a:gd name="connsiteX76" fmla="*/ 412242 w 3697415"/>
                  <a:gd name="connsiteY76" fmla="*/ 254603 h 608171"/>
                  <a:gd name="connsiteX77" fmla="*/ 412242 w 3697415"/>
                  <a:gd name="connsiteY77" fmla="*/ 260604 h 608171"/>
                  <a:gd name="connsiteX78" fmla="*/ 418529 w 3697415"/>
                  <a:gd name="connsiteY78" fmla="*/ 260604 h 608171"/>
                  <a:gd name="connsiteX79" fmla="*/ 418529 w 3697415"/>
                  <a:gd name="connsiteY79" fmla="*/ 272796 h 608171"/>
                  <a:gd name="connsiteX80" fmla="*/ 437483 w 3697415"/>
                  <a:gd name="connsiteY80" fmla="*/ 272796 h 608171"/>
                  <a:gd name="connsiteX81" fmla="*/ 437483 w 3697415"/>
                  <a:gd name="connsiteY81" fmla="*/ 278797 h 608171"/>
                  <a:gd name="connsiteX82" fmla="*/ 445865 w 3697415"/>
                  <a:gd name="connsiteY82" fmla="*/ 278797 h 608171"/>
                  <a:gd name="connsiteX83" fmla="*/ 445865 w 3697415"/>
                  <a:gd name="connsiteY83" fmla="*/ 284893 h 608171"/>
                  <a:gd name="connsiteX84" fmla="*/ 458534 w 3697415"/>
                  <a:gd name="connsiteY84" fmla="*/ 284893 h 608171"/>
                  <a:gd name="connsiteX85" fmla="*/ 458534 w 3697415"/>
                  <a:gd name="connsiteY85" fmla="*/ 290989 h 608171"/>
                  <a:gd name="connsiteX86" fmla="*/ 475393 w 3697415"/>
                  <a:gd name="connsiteY86" fmla="*/ 290989 h 608171"/>
                  <a:gd name="connsiteX87" fmla="*/ 475393 w 3697415"/>
                  <a:gd name="connsiteY87" fmla="*/ 296990 h 608171"/>
                  <a:gd name="connsiteX88" fmla="*/ 502730 w 3697415"/>
                  <a:gd name="connsiteY88" fmla="*/ 296990 h 608171"/>
                  <a:gd name="connsiteX89" fmla="*/ 502730 w 3697415"/>
                  <a:gd name="connsiteY89" fmla="*/ 303086 h 608171"/>
                  <a:gd name="connsiteX90" fmla="*/ 504825 w 3697415"/>
                  <a:gd name="connsiteY90" fmla="*/ 303086 h 608171"/>
                  <a:gd name="connsiteX91" fmla="*/ 504825 w 3697415"/>
                  <a:gd name="connsiteY91" fmla="*/ 309182 h 608171"/>
                  <a:gd name="connsiteX92" fmla="*/ 515302 w 3697415"/>
                  <a:gd name="connsiteY92" fmla="*/ 309182 h 608171"/>
                  <a:gd name="connsiteX93" fmla="*/ 515302 w 3697415"/>
                  <a:gd name="connsiteY93" fmla="*/ 315182 h 608171"/>
                  <a:gd name="connsiteX94" fmla="*/ 521589 w 3697415"/>
                  <a:gd name="connsiteY94" fmla="*/ 315182 h 608171"/>
                  <a:gd name="connsiteX95" fmla="*/ 521589 w 3697415"/>
                  <a:gd name="connsiteY95" fmla="*/ 327374 h 608171"/>
                  <a:gd name="connsiteX96" fmla="*/ 530066 w 3697415"/>
                  <a:gd name="connsiteY96" fmla="*/ 327374 h 608171"/>
                  <a:gd name="connsiteX97" fmla="*/ 530066 w 3697415"/>
                  <a:gd name="connsiteY97" fmla="*/ 333375 h 608171"/>
                  <a:gd name="connsiteX98" fmla="*/ 536353 w 3697415"/>
                  <a:gd name="connsiteY98" fmla="*/ 333375 h 608171"/>
                  <a:gd name="connsiteX99" fmla="*/ 536353 w 3697415"/>
                  <a:gd name="connsiteY99" fmla="*/ 345567 h 608171"/>
                  <a:gd name="connsiteX100" fmla="*/ 538448 w 3697415"/>
                  <a:gd name="connsiteY100" fmla="*/ 345567 h 608171"/>
                  <a:gd name="connsiteX101" fmla="*/ 538448 w 3697415"/>
                  <a:gd name="connsiteY101" fmla="*/ 351663 h 608171"/>
                  <a:gd name="connsiteX102" fmla="*/ 551021 w 3697415"/>
                  <a:gd name="connsiteY102" fmla="*/ 351663 h 608171"/>
                  <a:gd name="connsiteX103" fmla="*/ 551021 w 3697415"/>
                  <a:gd name="connsiteY103" fmla="*/ 357664 h 608171"/>
                  <a:gd name="connsiteX104" fmla="*/ 574167 w 3697415"/>
                  <a:gd name="connsiteY104" fmla="*/ 357664 h 608171"/>
                  <a:gd name="connsiteX105" fmla="*/ 574167 w 3697415"/>
                  <a:gd name="connsiteY105" fmla="*/ 363760 h 608171"/>
                  <a:gd name="connsiteX106" fmla="*/ 580549 w 3697415"/>
                  <a:gd name="connsiteY106" fmla="*/ 363760 h 608171"/>
                  <a:gd name="connsiteX107" fmla="*/ 580549 w 3697415"/>
                  <a:gd name="connsiteY107" fmla="*/ 369856 h 608171"/>
                  <a:gd name="connsiteX108" fmla="*/ 588931 w 3697415"/>
                  <a:gd name="connsiteY108" fmla="*/ 369856 h 608171"/>
                  <a:gd name="connsiteX109" fmla="*/ 588931 w 3697415"/>
                  <a:gd name="connsiteY109" fmla="*/ 375857 h 608171"/>
                  <a:gd name="connsiteX110" fmla="*/ 597313 w 3697415"/>
                  <a:gd name="connsiteY110" fmla="*/ 375857 h 608171"/>
                  <a:gd name="connsiteX111" fmla="*/ 597313 w 3697415"/>
                  <a:gd name="connsiteY111" fmla="*/ 381953 h 608171"/>
                  <a:gd name="connsiteX112" fmla="*/ 601504 w 3697415"/>
                  <a:gd name="connsiteY112" fmla="*/ 381953 h 608171"/>
                  <a:gd name="connsiteX113" fmla="*/ 601504 w 3697415"/>
                  <a:gd name="connsiteY113" fmla="*/ 388049 h 608171"/>
                  <a:gd name="connsiteX114" fmla="*/ 675132 w 3697415"/>
                  <a:gd name="connsiteY114" fmla="*/ 388049 h 608171"/>
                  <a:gd name="connsiteX115" fmla="*/ 675132 w 3697415"/>
                  <a:gd name="connsiteY115" fmla="*/ 394049 h 608171"/>
                  <a:gd name="connsiteX116" fmla="*/ 696182 w 3697415"/>
                  <a:gd name="connsiteY116" fmla="*/ 394049 h 608171"/>
                  <a:gd name="connsiteX117" fmla="*/ 696182 w 3697415"/>
                  <a:gd name="connsiteY117" fmla="*/ 400145 h 608171"/>
                  <a:gd name="connsiteX118" fmla="*/ 702469 w 3697415"/>
                  <a:gd name="connsiteY118" fmla="*/ 400145 h 608171"/>
                  <a:gd name="connsiteX119" fmla="*/ 702469 w 3697415"/>
                  <a:gd name="connsiteY119" fmla="*/ 406241 h 608171"/>
                  <a:gd name="connsiteX120" fmla="*/ 744569 w 3697415"/>
                  <a:gd name="connsiteY120" fmla="*/ 406241 h 608171"/>
                  <a:gd name="connsiteX121" fmla="*/ 744569 w 3697415"/>
                  <a:gd name="connsiteY121" fmla="*/ 412242 h 608171"/>
                  <a:gd name="connsiteX122" fmla="*/ 759238 w 3697415"/>
                  <a:gd name="connsiteY122" fmla="*/ 412242 h 608171"/>
                  <a:gd name="connsiteX123" fmla="*/ 759238 w 3697415"/>
                  <a:gd name="connsiteY123" fmla="*/ 418338 h 608171"/>
                  <a:gd name="connsiteX124" fmla="*/ 788765 w 3697415"/>
                  <a:gd name="connsiteY124" fmla="*/ 418338 h 608171"/>
                  <a:gd name="connsiteX125" fmla="*/ 788765 w 3697415"/>
                  <a:gd name="connsiteY125" fmla="*/ 424434 h 608171"/>
                  <a:gd name="connsiteX126" fmla="*/ 790861 w 3697415"/>
                  <a:gd name="connsiteY126" fmla="*/ 424434 h 608171"/>
                  <a:gd name="connsiteX127" fmla="*/ 790861 w 3697415"/>
                  <a:gd name="connsiteY127" fmla="*/ 430435 h 608171"/>
                  <a:gd name="connsiteX128" fmla="*/ 813911 w 3697415"/>
                  <a:gd name="connsiteY128" fmla="*/ 430435 h 608171"/>
                  <a:gd name="connsiteX129" fmla="*/ 813911 w 3697415"/>
                  <a:gd name="connsiteY129" fmla="*/ 436531 h 608171"/>
                  <a:gd name="connsiteX130" fmla="*/ 826580 w 3697415"/>
                  <a:gd name="connsiteY130" fmla="*/ 436531 h 608171"/>
                  <a:gd name="connsiteX131" fmla="*/ 826580 w 3697415"/>
                  <a:gd name="connsiteY131" fmla="*/ 442627 h 608171"/>
                  <a:gd name="connsiteX132" fmla="*/ 862298 w 3697415"/>
                  <a:gd name="connsiteY132" fmla="*/ 442627 h 608171"/>
                  <a:gd name="connsiteX133" fmla="*/ 862298 w 3697415"/>
                  <a:gd name="connsiteY133" fmla="*/ 448723 h 608171"/>
                  <a:gd name="connsiteX134" fmla="*/ 978027 w 3697415"/>
                  <a:gd name="connsiteY134" fmla="*/ 448723 h 608171"/>
                  <a:gd name="connsiteX135" fmla="*/ 978027 w 3697415"/>
                  <a:gd name="connsiteY135" fmla="*/ 454724 h 608171"/>
                  <a:gd name="connsiteX136" fmla="*/ 1015841 w 3697415"/>
                  <a:gd name="connsiteY136" fmla="*/ 454724 h 608171"/>
                  <a:gd name="connsiteX137" fmla="*/ 1015841 w 3697415"/>
                  <a:gd name="connsiteY137" fmla="*/ 460915 h 608171"/>
                  <a:gd name="connsiteX138" fmla="*/ 1068419 w 3697415"/>
                  <a:gd name="connsiteY138" fmla="*/ 460915 h 608171"/>
                  <a:gd name="connsiteX139" fmla="*/ 1068419 w 3697415"/>
                  <a:gd name="connsiteY139" fmla="*/ 467011 h 608171"/>
                  <a:gd name="connsiteX140" fmla="*/ 1087374 w 3697415"/>
                  <a:gd name="connsiteY140" fmla="*/ 467011 h 608171"/>
                  <a:gd name="connsiteX141" fmla="*/ 1087374 w 3697415"/>
                  <a:gd name="connsiteY141" fmla="*/ 473107 h 608171"/>
                  <a:gd name="connsiteX142" fmla="*/ 1097852 w 3697415"/>
                  <a:gd name="connsiteY142" fmla="*/ 473107 h 608171"/>
                  <a:gd name="connsiteX143" fmla="*/ 1097852 w 3697415"/>
                  <a:gd name="connsiteY143" fmla="*/ 479298 h 608171"/>
                  <a:gd name="connsiteX144" fmla="*/ 1131570 w 3697415"/>
                  <a:gd name="connsiteY144" fmla="*/ 479298 h 608171"/>
                  <a:gd name="connsiteX145" fmla="*/ 1131570 w 3697415"/>
                  <a:gd name="connsiteY145" fmla="*/ 485394 h 608171"/>
                  <a:gd name="connsiteX146" fmla="*/ 1137857 w 3697415"/>
                  <a:gd name="connsiteY146" fmla="*/ 485394 h 608171"/>
                  <a:gd name="connsiteX147" fmla="*/ 1137857 w 3697415"/>
                  <a:gd name="connsiteY147" fmla="*/ 491490 h 608171"/>
                  <a:gd name="connsiteX148" fmla="*/ 1152525 w 3697415"/>
                  <a:gd name="connsiteY148" fmla="*/ 491490 h 608171"/>
                  <a:gd name="connsiteX149" fmla="*/ 1152525 w 3697415"/>
                  <a:gd name="connsiteY149" fmla="*/ 497586 h 608171"/>
                  <a:gd name="connsiteX150" fmla="*/ 1165193 w 3697415"/>
                  <a:gd name="connsiteY150" fmla="*/ 497586 h 608171"/>
                  <a:gd name="connsiteX151" fmla="*/ 1165193 w 3697415"/>
                  <a:gd name="connsiteY151" fmla="*/ 503777 h 608171"/>
                  <a:gd name="connsiteX152" fmla="*/ 1190435 w 3697415"/>
                  <a:gd name="connsiteY152" fmla="*/ 503777 h 608171"/>
                  <a:gd name="connsiteX153" fmla="*/ 1190435 w 3697415"/>
                  <a:gd name="connsiteY153" fmla="*/ 509873 h 608171"/>
                  <a:gd name="connsiteX154" fmla="*/ 1419701 w 3697415"/>
                  <a:gd name="connsiteY154" fmla="*/ 509873 h 608171"/>
                  <a:gd name="connsiteX155" fmla="*/ 1419701 w 3697415"/>
                  <a:gd name="connsiteY155" fmla="*/ 516065 h 608171"/>
                  <a:gd name="connsiteX156" fmla="*/ 1533239 w 3697415"/>
                  <a:gd name="connsiteY156" fmla="*/ 516065 h 608171"/>
                  <a:gd name="connsiteX157" fmla="*/ 1533239 w 3697415"/>
                  <a:gd name="connsiteY157" fmla="*/ 522256 h 608171"/>
                  <a:gd name="connsiteX158" fmla="*/ 1802416 w 3697415"/>
                  <a:gd name="connsiteY158" fmla="*/ 522256 h 608171"/>
                  <a:gd name="connsiteX159" fmla="*/ 1802416 w 3697415"/>
                  <a:gd name="connsiteY159" fmla="*/ 528542 h 608171"/>
                  <a:gd name="connsiteX160" fmla="*/ 1876044 w 3697415"/>
                  <a:gd name="connsiteY160" fmla="*/ 528542 h 608171"/>
                  <a:gd name="connsiteX161" fmla="*/ 1876044 w 3697415"/>
                  <a:gd name="connsiteY161" fmla="*/ 534829 h 608171"/>
                  <a:gd name="connsiteX162" fmla="*/ 1955959 w 3697415"/>
                  <a:gd name="connsiteY162" fmla="*/ 534829 h 608171"/>
                  <a:gd name="connsiteX163" fmla="*/ 1955959 w 3697415"/>
                  <a:gd name="connsiteY163" fmla="*/ 541115 h 608171"/>
                  <a:gd name="connsiteX164" fmla="*/ 2117884 w 3697415"/>
                  <a:gd name="connsiteY164" fmla="*/ 541115 h 608171"/>
                  <a:gd name="connsiteX165" fmla="*/ 2117884 w 3697415"/>
                  <a:gd name="connsiteY165" fmla="*/ 547592 h 608171"/>
                  <a:gd name="connsiteX166" fmla="*/ 2134743 w 3697415"/>
                  <a:gd name="connsiteY166" fmla="*/ 547592 h 608171"/>
                  <a:gd name="connsiteX167" fmla="*/ 2134743 w 3697415"/>
                  <a:gd name="connsiteY167" fmla="*/ 553974 h 608171"/>
                  <a:gd name="connsiteX168" fmla="*/ 2252567 w 3697415"/>
                  <a:gd name="connsiteY168" fmla="*/ 553974 h 608171"/>
                  <a:gd name="connsiteX169" fmla="*/ 2252567 w 3697415"/>
                  <a:gd name="connsiteY169" fmla="*/ 560451 h 608171"/>
                  <a:gd name="connsiteX170" fmla="*/ 2345055 w 3697415"/>
                  <a:gd name="connsiteY170" fmla="*/ 560451 h 608171"/>
                  <a:gd name="connsiteX171" fmla="*/ 2345055 w 3697415"/>
                  <a:gd name="connsiteY171" fmla="*/ 566833 h 608171"/>
                  <a:gd name="connsiteX172" fmla="*/ 2364010 w 3697415"/>
                  <a:gd name="connsiteY172" fmla="*/ 566833 h 608171"/>
                  <a:gd name="connsiteX173" fmla="*/ 2364010 w 3697415"/>
                  <a:gd name="connsiteY173" fmla="*/ 573310 h 608171"/>
                  <a:gd name="connsiteX174" fmla="*/ 3217831 w 3697415"/>
                  <a:gd name="connsiteY174" fmla="*/ 573310 h 608171"/>
                  <a:gd name="connsiteX175" fmla="*/ 3217831 w 3697415"/>
                  <a:gd name="connsiteY175" fmla="*/ 608171 h 608171"/>
                  <a:gd name="connsiteX176" fmla="*/ 3697415 w 3697415"/>
                  <a:gd name="connsiteY176" fmla="*/ 608171 h 608171"/>
                  <a:gd name="connsiteX0" fmla="*/ 0 w 3697415"/>
                  <a:gd name="connsiteY0" fmla="*/ 0 h 608171"/>
                  <a:gd name="connsiteX1" fmla="*/ 40005 w 3697415"/>
                  <a:gd name="connsiteY1" fmla="*/ 5906 h 608171"/>
                  <a:gd name="connsiteX2" fmla="*/ 40005 w 3697415"/>
                  <a:gd name="connsiteY2" fmla="*/ 12002 h 608171"/>
                  <a:gd name="connsiteX3" fmla="*/ 48387 w 3697415"/>
                  <a:gd name="connsiteY3" fmla="*/ 12002 h 608171"/>
                  <a:gd name="connsiteX4" fmla="*/ 48387 w 3697415"/>
                  <a:gd name="connsiteY4" fmla="*/ 18002 h 608171"/>
                  <a:gd name="connsiteX5" fmla="*/ 58960 w 3697415"/>
                  <a:gd name="connsiteY5" fmla="*/ 18002 h 608171"/>
                  <a:gd name="connsiteX6" fmla="*/ 58960 w 3697415"/>
                  <a:gd name="connsiteY6" fmla="*/ 24003 h 608171"/>
                  <a:gd name="connsiteX7" fmla="*/ 109442 w 3697415"/>
                  <a:gd name="connsiteY7" fmla="*/ 24003 h 608171"/>
                  <a:gd name="connsiteX8" fmla="*/ 109442 w 3697415"/>
                  <a:gd name="connsiteY8" fmla="*/ 30099 h 608171"/>
                  <a:gd name="connsiteX9" fmla="*/ 117824 w 3697415"/>
                  <a:gd name="connsiteY9" fmla="*/ 30099 h 608171"/>
                  <a:gd name="connsiteX10" fmla="*/ 117824 w 3697415"/>
                  <a:gd name="connsiteY10" fmla="*/ 42196 h 608171"/>
                  <a:gd name="connsiteX11" fmla="*/ 124111 w 3697415"/>
                  <a:gd name="connsiteY11" fmla="*/ 42196 h 608171"/>
                  <a:gd name="connsiteX12" fmla="*/ 124111 w 3697415"/>
                  <a:gd name="connsiteY12" fmla="*/ 48292 h 608171"/>
                  <a:gd name="connsiteX13" fmla="*/ 128302 w 3697415"/>
                  <a:gd name="connsiteY13" fmla="*/ 48292 h 608171"/>
                  <a:gd name="connsiteX14" fmla="*/ 128302 w 3697415"/>
                  <a:gd name="connsiteY14" fmla="*/ 54388 h 608171"/>
                  <a:gd name="connsiteX15" fmla="*/ 132493 w 3697415"/>
                  <a:gd name="connsiteY15" fmla="*/ 54388 h 608171"/>
                  <a:gd name="connsiteX16" fmla="*/ 132493 w 3697415"/>
                  <a:gd name="connsiteY16" fmla="*/ 60484 h 608171"/>
                  <a:gd name="connsiteX17" fmla="*/ 134588 w 3697415"/>
                  <a:gd name="connsiteY17" fmla="*/ 60484 h 608171"/>
                  <a:gd name="connsiteX18" fmla="*/ 134588 w 3697415"/>
                  <a:gd name="connsiteY18" fmla="*/ 66485 h 608171"/>
                  <a:gd name="connsiteX19" fmla="*/ 136779 w 3697415"/>
                  <a:gd name="connsiteY19" fmla="*/ 66485 h 608171"/>
                  <a:gd name="connsiteX20" fmla="*/ 136779 w 3697415"/>
                  <a:gd name="connsiteY20" fmla="*/ 72581 h 608171"/>
                  <a:gd name="connsiteX21" fmla="*/ 147256 w 3697415"/>
                  <a:gd name="connsiteY21" fmla="*/ 72581 h 608171"/>
                  <a:gd name="connsiteX22" fmla="*/ 147256 w 3697415"/>
                  <a:gd name="connsiteY22" fmla="*/ 78677 h 608171"/>
                  <a:gd name="connsiteX23" fmla="*/ 153543 w 3697415"/>
                  <a:gd name="connsiteY23" fmla="*/ 78677 h 608171"/>
                  <a:gd name="connsiteX24" fmla="*/ 153543 w 3697415"/>
                  <a:gd name="connsiteY24" fmla="*/ 84677 h 608171"/>
                  <a:gd name="connsiteX25" fmla="*/ 168307 w 3697415"/>
                  <a:gd name="connsiteY25" fmla="*/ 84677 h 608171"/>
                  <a:gd name="connsiteX26" fmla="*/ 168307 w 3697415"/>
                  <a:gd name="connsiteY26" fmla="*/ 90773 h 608171"/>
                  <a:gd name="connsiteX27" fmla="*/ 176689 w 3697415"/>
                  <a:gd name="connsiteY27" fmla="*/ 90773 h 608171"/>
                  <a:gd name="connsiteX28" fmla="*/ 176689 w 3697415"/>
                  <a:gd name="connsiteY28" fmla="*/ 96869 h 608171"/>
                  <a:gd name="connsiteX29" fmla="*/ 187262 w 3697415"/>
                  <a:gd name="connsiteY29" fmla="*/ 96869 h 608171"/>
                  <a:gd name="connsiteX30" fmla="*/ 187262 w 3697415"/>
                  <a:gd name="connsiteY30" fmla="*/ 102870 h 608171"/>
                  <a:gd name="connsiteX31" fmla="*/ 199835 w 3697415"/>
                  <a:gd name="connsiteY31" fmla="*/ 102870 h 608171"/>
                  <a:gd name="connsiteX32" fmla="*/ 199835 w 3697415"/>
                  <a:gd name="connsiteY32" fmla="*/ 108966 h 608171"/>
                  <a:gd name="connsiteX33" fmla="*/ 206121 w 3697415"/>
                  <a:gd name="connsiteY33" fmla="*/ 108966 h 608171"/>
                  <a:gd name="connsiteX34" fmla="*/ 206121 w 3697415"/>
                  <a:gd name="connsiteY34" fmla="*/ 121063 h 608171"/>
                  <a:gd name="connsiteX35" fmla="*/ 210312 w 3697415"/>
                  <a:gd name="connsiteY35" fmla="*/ 121063 h 608171"/>
                  <a:gd name="connsiteX36" fmla="*/ 210312 w 3697415"/>
                  <a:gd name="connsiteY36" fmla="*/ 127159 h 608171"/>
                  <a:gd name="connsiteX37" fmla="*/ 222980 w 3697415"/>
                  <a:gd name="connsiteY37" fmla="*/ 127159 h 608171"/>
                  <a:gd name="connsiteX38" fmla="*/ 222980 w 3697415"/>
                  <a:gd name="connsiteY38" fmla="*/ 133255 h 608171"/>
                  <a:gd name="connsiteX39" fmla="*/ 237649 w 3697415"/>
                  <a:gd name="connsiteY39" fmla="*/ 133255 h 608171"/>
                  <a:gd name="connsiteX40" fmla="*/ 237649 w 3697415"/>
                  <a:gd name="connsiteY40" fmla="*/ 139256 h 608171"/>
                  <a:gd name="connsiteX41" fmla="*/ 241935 w 3697415"/>
                  <a:gd name="connsiteY41" fmla="*/ 139256 h 608171"/>
                  <a:gd name="connsiteX42" fmla="*/ 241935 w 3697415"/>
                  <a:gd name="connsiteY42" fmla="*/ 145352 h 608171"/>
                  <a:gd name="connsiteX43" fmla="*/ 252412 w 3697415"/>
                  <a:gd name="connsiteY43" fmla="*/ 145352 h 608171"/>
                  <a:gd name="connsiteX44" fmla="*/ 252412 w 3697415"/>
                  <a:gd name="connsiteY44" fmla="*/ 151448 h 608171"/>
                  <a:gd name="connsiteX45" fmla="*/ 260795 w 3697415"/>
                  <a:gd name="connsiteY45" fmla="*/ 151448 h 608171"/>
                  <a:gd name="connsiteX46" fmla="*/ 260795 w 3697415"/>
                  <a:gd name="connsiteY46" fmla="*/ 157544 h 608171"/>
                  <a:gd name="connsiteX47" fmla="*/ 275558 w 3697415"/>
                  <a:gd name="connsiteY47" fmla="*/ 157544 h 608171"/>
                  <a:gd name="connsiteX48" fmla="*/ 275558 w 3697415"/>
                  <a:gd name="connsiteY48" fmla="*/ 163544 h 608171"/>
                  <a:gd name="connsiteX49" fmla="*/ 279749 w 3697415"/>
                  <a:gd name="connsiteY49" fmla="*/ 163544 h 608171"/>
                  <a:gd name="connsiteX50" fmla="*/ 279749 w 3697415"/>
                  <a:gd name="connsiteY50" fmla="*/ 169640 h 608171"/>
                  <a:gd name="connsiteX51" fmla="*/ 283940 w 3697415"/>
                  <a:gd name="connsiteY51" fmla="*/ 169640 h 608171"/>
                  <a:gd name="connsiteX52" fmla="*/ 283940 w 3697415"/>
                  <a:gd name="connsiteY52" fmla="*/ 175736 h 608171"/>
                  <a:gd name="connsiteX53" fmla="*/ 296609 w 3697415"/>
                  <a:gd name="connsiteY53" fmla="*/ 175736 h 608171"/>
                  <a:gd name="connsiteX54" fmla="*/ 296609 w 3697415"/>
                  <a:gd name="connsiteY54" fmla="*/ 181737 h 608171"/>
                  <a:gd name="connsiteX55" fmla="*/ 326041 w 3697415"/>
                  <a:gd name="connsiteY55" fmla="*/ 181737 h 608171"/>
                  <a:gd name="connsiteX56" fmla="*/ 326041 w 3697415"/>
                  <a:gd name="connsiteY56" fmla="*/ 187833 h 608171"/>
                  <a:gd name="connsiteX57" fmla="*/ 334423 w 3697415"/>
                  <a:gd name="connsiteY57" fmla="*/ 187833 h 608171"/>
                  <a:gd name="connsiteX58" fmla="*/ 334423 w 3697415"/>
                  <a:gd name="connsiteY58" fmla="*/ 193929 h 608171"/>
                  <a:gd name="connsiteX59" fmla="*/ 336518 w 3697415"/>
                  <a:gd name="connsiteY59" fmla="*/ 193929 h 608171"/>
                  <a:gd name="connsiteX60" fmla="*/ 336518 w 3697415"/>
                  <a:gd name="connsiteY60" fmla="*/ 199930 h 608171"/>
                  <a:gd name="connsiteX61" fmla="*/ 351282 w 3697415"/>
                  <a:gd name="connsiteY61" fmla="*/ 199930 h 608171"/>
                  <a:gd name="connsiteX62" fmla="*/ 351282 w 3697415"/>
                  <a:gd name="connsiteY62" fmla="*/ 212122 h 608171"/>
                  <a:gd name="connsiteX63" fmla="*/ 353378 w 3697415"/>
                  <a:gd name="connsiteY63" fmla="*/ 212122 h 608171"/>
                  <a:gd name="connsiteX64" fmla="*/ 353378 w 3697415"/>
                  <a:gd name="connsiteY64" fmla="*/ 218123 h 608171"/>
                  <a:gd name="connsiteX65" fmla="*/ 359664 w 3697415"/>
                  <a:gd name="connsiteY65" fmla="*/ 218123 h 608171"/>
                  <a:gd name="connsiteX66" fmla="*/ 359664 w 3697415"/>
                  <a:gd name="connsiteY66" fmla="*/ 224219 h 608171"/>
                  <a:gd name="connsiteX67" fmla="*/ 363855 w 3697415"/>
                  <a:gd name="connsiteY67" fmla="*/ 224219 h 608171"/>
                  <a:gd name="connsiteX68" fmla="*/ 363855 w 3697415"/>
                  <a:gd name="connsiteY68" fmla="*/ 230315 h 608171"/>
                  <a:gd name="connsiteX69" fmla="*/ 380714 w 3697415"/>
                  <a:gd name="connsiteY69" fmla="*/ 230315 h 608171"/>
                  <a:gd name="connsiteX70" fmla="*/ 380714 w 3697415"/>
                  <a:gd name="connsiteY70" fmla="*/ 242411 h 608171"/>
                  <a:gd name="connsiteX71" fmla="*/ 384905 w 3697415"/>
                  <a:gd name="connsiteY71" fmla="*/ 242411 h 608171"/>
                  <a:gd name="connsiteX72" fmla="*/ 384905 w 3697415"/>
                  <a:gd name="connsiteY72" fmla="*/ 248507 h 608171"/>
                  <a:gd name="connsiteX73" fmla="*/ 408051 w 3697415"/>
                  <a:gd name="connsiteY73" fmla="*/ 248507 h 608171"/>
                  <a:gd name="connsiteX74" fmla="*/ 408051 w 3697415"/>
                  <a:gd name="connsiteY74" fmla="*/ 254603 h 608171"/>
                  <a:gd name="connsiteX75" fmla="*/ 412242 w 3697415"/>
                  <a:gd name="connsiteY75" fmla="*/ 254603 h 608171"/>
                  <a:gd name="connsiteX76" fmla="*/ 412242 w 3697415"/>
                  <a:gd name="connsiteY76" fmla="*/ 260604 h 608171"/>
                  <a:gd name="connsiteX77" fmla="*/ 418529 w 3697415"/>
                  <a:gd name="connsiteY77" fmla="*/ 260604 h 608171"/>
                  <a:gd name="connsiteX78" fmla="*/ 418529 w 3697415"/>
                  <a:gd name="connsiteY78" fmla="*/ 272796 h 608171"/>
                  <a:gd name="connsiteX79" fmla="*/ 437483 w 3697415"/>
                  <a:gd name="connsiteY79" fmla="*/ 272796 h 608171"/>
                  <a:gd name="connsiteX80" fmla="*/ 437483 w 3697415"/>
                  <a:gd name="connsiteY80" fmla="*/ 278797 h 608171"/>
                  <a:gd name="connsiteX81" fmla="*/ 445865 w 3697415"/>
                  <a:gd name="connsiteY81" fmla="*/ 278797 h 608171"/>
                  <a:gd name="connsiteX82" fmla="*/ 445865 w 3697415"/>
                  <a:gd name="connsiteY82" fmla="*/ 284893 h 608171"/>
                  <a:gd name="connsiteX83" fmla="*/ 458534 w 3697415"/>
                  <a:gd name="connsiteY83" fmla="*/ 284893 h 608171"/>
                  <a:gd name="connsiteX84" fmla="*/ 458534 w 3697415"/>
                  <a:gd name="connsiteY84" fmla="*/ 290989 h 608171"/>
                  <a:gd name="connsiteX85" fmla="*/ 475393 w 3697415"/>
                  <a:gd name="connsiteY85" fmla="*/ 290989 h 608171"/>
                  <a:gd name="connsiteX86" fmla="*/ 475393 w 3697415"/>
                  <a:gd name="connsiteY86" fmla="*/ 296990 h 608171"/>
                  <a:gd name="connsiteX87" fmla="*/ 502730 w 3697415"/>
                  <a:gd name="connsiteY87" fmla="*/ 296990 h 608171"/>
                  <a:gd name="connsiteX88" fmla="*/ 502730 w 3697415"/>
                  <a:gd name="connsiteY88" fmla="*/ 303086 h 608171"/>
                  <a:gd name="connsiteX89" fmla="*/ 504825 w 3697415"/>
                  <a:gd name="connsiteY89" fmla="*/ 303086 h 608171"/>
                  <a:gd name="connsiteX90" fmla="*/ 504825 w 3697415"/>
                  <a:gd name="connsiteY90" fmla="*/ 309182 h 608171"/>
                  <a:gd name="connsiteX91" fmla="*/ 515302 w 3697415"/>
                  <a:gd name="connsiteY91" fmla="*/ 309182 h 608171"/>
                  <a:gd name="connsiteX92" fmla="*/ 515302 w 3697415"/>
                  <a:gd name="connsiteY92" fmla="*/ 315182 h 608171"/>
                  <a:gd name="connsiteX93" fmla="*/ 521589 w 3697415"/>
                  <a:gd name="connsiteY93" fmla="*/ 315182 h 608171"/>
                  <a:gd name="connsiteX94" fmla="*/ 521589 w 3697415"/>
                  <a:gd name="connsiteY94" fmla="*/ 327374 h 608171"/>
                  <a:gd name="connsiteX95" fmla="*/ 530066 w 3697415"/>
                  <a:gd name="connsiteY95" fmla="*/ 327374 h 608171"/>
                  <a:gd name="connsiteX96" fmla="*/ 530066 w 3697415"/>
                  <a:gd name="connsiteY96" fmla="*/ 333375 h 608171"/>
                  <a:gd name="connsiteX97" fmla="*/ 536353 w 3697415"/>
                  <a:gd name="connsiteY97" fmla="*/ 333375 h 608171"/>
                  <a:gd name="connsiteX98" fmla="*/ 536353 w 3697415"/>
                  <a:gd name="connsiteY98" fmla="*/ 345567 h 608171"/>
                  <a:gd name="connsiteX99" fmla="*/ 538448 w 3697415"/>
                  <a:gd name="connsiteY99" fmla="*/ 345567 h 608171"/>
                  <a:gd name="connsiteX100" fmla="*/ 538448 w 3697415"/>
                  <a:gd name="connsiteY100" fmla="*/ 351663 h 608171"/>
                  <a:gd name="connsiteX101" fmla="*/ 551021 w 3697415"/>
                  <a:gd name="connsiteY101" fmla="*/ 351663 h 608171"/>
                  <a:gd name="connsiteX102" fmla="*/ 551021 w 3697415"/>
                  <a:gd name="connsiteY102" fmla="*/ 357664 h 608171"/>
                  <a:gd name="connsiteX103" fmla="*/ 574167 w 3697415"/>
                  <a:gd name="connsiteY103" fmla="*/ 357664 h 608171"/>
                  <a:gd name="connsiteX104" fmla="*/ 574167 w 3697415"/>
                  <a:gd name="connsiteY104" fmla="*/ 363760 h 608171"/>
                  <a:gd name="connsiteX105" fmla="*/ 580549 w 3697415"/>
                  <a:gd name="connsiteY105" fmla="*/ 363760 h 608171"/>
                  <a:gd name="connsiteX106" fmla="*/ 580549 w 3697415"/>
                  <a:gd name="connsiteY106" fmla="*/ 369856 h 608171"/>
                  <a:gd name="connsiteX107" fmla="*/ 588931 w 3697415"/>
                  <a:gd name="connsiteY107" fmla="*/ 369856 h 608171"/>
                  <a:gd name="connsiteX108" fmla="*/ 588931 w 3697415"/>
                  <a:gd name="connsiteY108" fmla="*/ 375857 h 608171"/>
                  <a:gd name="connsiteX109" fmla="*/ 597313 w 3697415"/>
                  <a:gd name="connsiteY109" fmla="*/ 375857 h 608171"/>
                  <a:gd name="connsiteX110" fmla="*/ 597313 w 3697415"/>
                  <a:gd name="connsiteY110" fmla="*/ 381953 h 608171"/>
                  <a:gd name="connsiteX111" fmla="*/ 601504 w 3697415"/>
                  <a:gd name="connsiteY111" fmla="*/ 381953 h 608171"/>
                  <a:gd name="connsiteX112" fmla="*/ 601504 w 3697415"/>
                  <a:gd name="connsiteY112" fmla="*/ 388049 h 608171"/>
                  <a:gd name="connsiteX113" fmla="*/ 675132 w 3697415"/>
                  <a:gd name="connsiteY113" fmla="*/ 388049 h 608171"/>
                  <a:gd name="connsiteX114" fmla="*/ 675132 w 3697415"/>
                  <a:gd name="connsiteY114" fmla="*/ 394049 h 608171"/>
                  <a:gd name="connsiteX115" fmla="*/ 696182 w 3697415"/>
                  <a:gd name="connsiteY115" fmla="*/ 394049 h 608171"/>
                  <a:gd name="connsiteX116" fmla="*/ 696182 w 3697415"/>
                  <a:gd name="connsiteY116" fmla="*/ 400145 h 608171"/>
                  <a:gd name="connsiteX117" fmla="*/ 702469 w 3697415"/>
                  <a:gd name="connsiteY117" fmla="*/ 400145 h 608171"/>
                  <a:gd name="connsiteX118" fmla="*/ 702469 w 3697415"/>
                  <a:gd name="connsiteY118" fmla="*/ 406241 h 608171"/>
                  <a:gd name="connsiteX119" fmla="*/ 744569 w 3697415"/>
                  <a:gd name="connsiteY119" fmla="*/ 406241 h 608171"/>
                  <a:gd name="connsiteX120" fmla="*/ 744569 w 3697415"/>
                  <a:gd name="connsiteY120" fmla="*/ 412242 h 608171"/>
                  <a:gd name="connsiteX121" fmla="*/ 759238 w 3697415"/>
                  <a:gd name="connsiteY121" fmla="*/ 412242 h 608171"/>
                  <a:gd name="connsiteX122" fmla="*/ 759238 w 3697415"/>
                  <a:gd name="connsiteY122" fmla="*/ 418338 h 608171"/>
                  <a:gd name="connsiteX123" fmla="*/ 788765 w 3697415"/>
                  <a:gd name="connsiteY123" fmla="*/ 418338 h 608171"/>
                  <a:gd name="connsiteX124" fmla="*/ 788765 w 3697415"/>
                  <a:gd name="connsiteY124" fmla="*/ 424434 h 608171"/>
                  <a:gd name="connsiteX125" fmla="*/ 790861 w 3697415"/>
                  <a:gd name="connsiteY125" fmla="*/ 424434 h 608171"/>
                  <a:gd name="connsiteX126" fmla="*/ 790861 w 3697415"/>
                  <a:gd name="connsiteY126" fmla="*/ 430435 h 608171"/>
                  <a:gd name="connsiteX127" fmla="*/ 813911 w 3697415"/>
                  <a:gd name="connsiteY127" fmla="*/ 430435 h 608171"/>
                  <a:gd name="connsiteX128" fmla="*/ 813911 w 3697415"/>
                  <a:gd name="connsiteY128" fmla="*/ 436531 h 608171"/>
                  <a:gd name="connsiteX129" fmla="*/ 826580 w 3697415"/>
                  <a:gd name="connsiteY129" fmla="*/ 436531 h 608171"/>
                  <a:gd name="connsiteX130" fmla="*/ 826580 w 3697415"/>
                  <a:gd name="connsiteY130" fmla="*/ 442627 h 608171"/>
                  <a:gd name="connsiteX131" fmla="*/ 862298 w 3697415"/>
                  <a:gd name="connsiteY131" fmla="*/ 442627 h 608171"/>
                  <a:gd name="connsiteX132" fmla="*/ 862298 w 3697415"/>
                  <a:gd name="connsiteY132" fmla="*/ 448723 h 608171"/>
                  <a:gd name="connsiteX133" fmla="*/ 978027 w 3697415"/>
                  <a:gd name="connsiteY133" fmla="*/ 448723 h 608171"/>
                  <a:gd name="connsiteX134" fmla="*/ 978027 w 3697415"/>
                  <a:gd name="connsiteY134" fmla="*/ 454724 h 608171"/>
                  <a:gd name="connsiteX135" fmla="*/ 1015841 w 3697415"/>
                  <a:gd name="connsiteY135" fmla="*/ 454724 h 608171"/>
                  <a:gd name="connsiteX136" fmla="*/ 1015841 w 3697415"/>
                  <a:gd name="connsiteY136" fmla="*/ 460915 h 608171"/>
                  <a:gd name="connsiteX137" fmla="*/ 1068419 w 3697415"/>
                  <a:gd name="connsiteY137" fmla="*/ 460915 h 608171"/>
                  <a:gd name="connsiteX138" fmla="*/ 1068419 w 3697415"/>
                  <a:gd name="connsiteY138" fmla="*/ 467011 h 608171"/>
                  <a:gd name="connsiteX139" fmla="*/ 1087374 w 3697415"/>
                  <a:gd name="connsiteY139" fmla="*/ 467011 h 608171"/>
                  <a:gd name="connsiteX140" fmla="*/ 1087374 w 3697415"/>
                  <a:gd name="connsiteY140" fmla="*/ 473107 h 608171"/>
                  <a:gd name="connsiteX141" fmla="*/ 1097852 w 3697415"/>
                  <a:gd name="connsiteY141" fmla="*/ 473107 h 608171"/>
                  <a:gd name="connsiteX142" fmla="*/ 1097852 w 3697415"/>
                  <a:gd name="connsiteY142" fmla="*/ 479298 h 608171"/>
                  <a:gd name="connsiteX143" fmla="*/ 1131570 w 3697415"/>
                  <a:gd name="connsiteY143" fmla="*/ 479298 h 608171"/>
                  <a:gd name="connsiteX144" fmla="*/ 1131570 w 3697415"/>
                  <a:gd name="connsiteY144" fmla="*/ 485394 h 608171"/>
                  <a:gd name="connsiteX145" fmla="*/ 1137857 w 3697415"/>
                  <a:gd name="connsiteY145" fmla="*/ 485394 h 608171"/>
                  <a:gd name="connsiteX146" fmla="*/ 1137857 w 3697415"/>
                  <a:gd name="connsiteY146" fmla="*/ 491490 h 608171"/>
                  <a:gd name="connsiteX147" fmla="*/ 1152525 w 3697415"/>
                  <a:gd name="connsiteY147" fmla="*/ 491490 h 608171"/>
                  <a:gd name="connsiteX148" fmla="*/ 1152525 w 3697415"/>
                  <a:gd name="connsiteY148" fmla="*/ 497586 h 608171"/>
                  <a:gd name="connsiteX149" fmla="*/ 1165193 w 3697415"/>
                  <a:gd name="connsiteY149" fmla="*/ 497586 h 608171"/>
                  <a:gd name="connsiteX150" fmla="*/ 1165193 w 3697415"/>
                  <a:gd name="connsiteY150" fmla="*/ 503777 h 608171"/>
                  <a:gd name="connsiteX151" fmla="*/ 1190435 w 3697415"/>
                  <a:gd name="connsiteY151" fmla="*/ 503777 h 608171"/>
                  <a:gd name="connsiteX152" fmla="*/ 1190435 w 3697415"/>
                  <a:gd name="connsiteY152" fmla="*/ 509873 h 608171"/>
                  <a:gd name="connsiteX153" fmla="*/ 1419701 w 3697415"/>
                  <a:gd name="connsiteY153" fmla="*/ 509873 h 608171"/>
                  <a:gd name="connsiteX154" fmla="*/ 1419701 w 3697415"/>
                  <a:gd name="connsiteY154" fmla="*/ 516065 h 608171"/>
                  <a:gd name="connsiteX155" fmla="*/ 1533239 w 3697415"/>
                  <a:gd name="connsiteY155" fmla="*/ 516065 h 608171"/>
                  <a:gd name="connsiteX156" fmla="*/ 1533239 w 3697415"/>
                  <a:gd name="connsiteY156" fmla="*/ 522256 h 608171"/>
                  <a:gd name="connsiteX157" fmla="*/ 1802416 w 3697415"/>
                  <a:gd name="connsiteY157" fmla="*/ 522256 h 608171"/>
                  <a:gd name="connsiteX158" fmla="*/ 1802416 w 3697415"/>
                  <a:gd name="connsiteY158" fmla="*/ 528542 h 608171"/>
                  <a:gd name="connsiteX159" fmla="*/ 1876044 w 3697415"/>
                  <a:gd name="connsiteY159" fmla="*/ 528542 h 608171"/>
                  <a:gd name="connsiteX160" fmla="*/ 1876044 w 3697415"/>
                  <a:gd name="connsiteY160" fmla="*/ 534829 h 608171"/>
                  <a:gd name="connsiteX161" fmla="*/ 1955959 w 3697415"/>
                  <a:gd name="connsiteY161" fmla="*/ 534829 h 608171"/>
                  <a:gd name="connsiteX162" fmla="*/ 1955959 w 3697415"/>
                  <a:gd name="connsiteY162" fmla="*/ 541115 h 608171"/>
                  <a:gd name="connsiteX163" fmla="*/ 2117884 w 3697415"/>
                  <a:gd name="connsiteY163" fmla="*/ 541115 h 608171"/>
                  <a:gd name="connsiteX164" fmla="*/ 2117884 w 3697415"/>
                  <a:gd name="connsiteY164" fmla="*/ 547592 h 608171"/>
                  <a:gd name="connsiteX165" fmla="*/ 2134743 w 3697415"/>
                  <a:gd name="connsiteY165" fmla="*/ 547592 h 608171"/>
                  <a:gd name="connsiteX166" fmla="*/ 2134743 w 3697415"/>
                  <a:gd name="connsiteY166" fmla="*/ 553974 h 608171"/>
                  <a:gd name="connsiteX167" fmla="*/ 2252567 w 3697415"/>
                  <a:gd name="connsiteY167" fmla="*/ 553974 h 608171"/>
                  <a:gd name="connsiteX168" fmla="*/ 2252567 w 3697415"/>
                  <a:gd name="connsiteY168" fmla="*/ 560451 h 608171"/>
                  <a:gd name="connsiteX169" fmla="*/ 2345055 w 3697415"/>
                  <a:gd name="connsiteY169" fmla="*/ 560451 h 608171"/>
                  <a:gd name="connsiteX170" fmla="*/ 2345055 w 3697415"/>
                  <a:gd name="connsiteY170" fmla="*/ 566833 h 608171"/>
                  <a:gd name="connsiteX171" fmla="*/ 2364010 w 3697415"/>
                  <a:gd name="connsiteY171" fmla="*/ 566833 h 608171"/>
                  <a:gd name="connsiteX172" fmla="*/ 2364010 w 3697415"/>
                  <a:gd name="connsiteY172" fmla="*/ 573310 h 608171"/>
                  <a:gd name="connsiteX173" fmla="*/ 3217831 w 3697415"/>
                  <a:gd name="connsiteY173" fmla="*/ 573310 h 608171"/>
                  <a:gd name="connsiteX174" fmla="*/ 3217831 w 3697415"/>
                  <a:gd name="connsiteY174" fmla="*/ 608171 h 608171"/>
                  <a:gd name="connsiteX175" fmla="*/ 3697415 w 3697415"/>
                  <a:gd name="connsiteY175" fmla="*/ 608171 h 608171"/>
                  <a:gd name="connsiteX0" fmla="*/ 0 w 3657410"/>
                  <a:gd name="connsiteY0" fmla="*/ 0 h 602265"/>
                  <a:gd name="connsiteX1" fmla="*/ 0 w 3657410"/>
                  <a:gd name="connsiteY1" fmla="*/ 6096 h 602265"/>
                  <a:gd name="connsiteX2" fmla="*/ 8382 w 3657410"/>
                  <a:gd name="connsiteY2" fmla="*/ 6096 h 602265"/>
                  <a:gd name="connsiteX3" fmla="*/ 8382 w 3657410"/>
                  <a:gd name="connsiteY3" fmla="*/ 12096 h 602265"/>
                  <a:gd name="connsiteX4" fmla="*/ 18955 w 3657410"/>
                  <a:gd name="connsiteY4" fmla="*/ 12096 h 602265"/>
                  <a:gd name="connsiteX5" fmla="*/ 18955 w 3657410"/>
                  <a:gd name="connsiteY5" fmla="*/ 18097 h 602265"/>
                  <a:gd name="connsiteX6" fmla="*/ 69437 w 3657410"/>
                  <a:gd name="connsiteY6" fmla="*/ 18097 h 602265"/>
                  <a:gd name="connsiteX7" fmla="*/ 69437 w 3657410"/>
                  <a:gd name="connsiteY7" fmla="*/ 24193 h 602265"/>
                  <a:gd name="connsiteX8" fmla="*/ 77819 w 3657410"/>
                  <a:gd name="connsiteY8" fmla="*/ 24193 h 602265"/>
                  <a:gd name="connsiteX9" fmla="*/ 77819 w 3657410"/>
                  <a:gd name="connsiteY9" fmla="*/ 36290 h 602265"/>
                  <a:gd name="connsiteX10" fmla="*/ 84106 w 3657410"/>
                  <a:gd name="connsiteY10" fmla="*/ 36290 h 602265"/>
                  <a:gd name="connsiteX11" fmla="*/ 84106 w 3657410"/>
                  <a:gd name="connsiteY11" fmla="*/ 42386 h 602265"/>
                  <a:gd name="connsiteX12" fmla="*/ 88297 w 3657410"/>
                  <a:gd name="connsiteY12" fmla="*/ 42386 h 602265"/>
                  <a:gd name="connsiteX13" fmla="*/ 88297 w 3657410"/>
                  <a:gd name="connsiteY13" fmla="*/ 48482 h 602265"/>
                  <a:gd name="connsiteX14" fmla="*/ 92488 w 3657410"/>
                  <a:gd name="connsiteY14" fmla="*/ 48482 h 602265"/>
                  <a:gd name="connsiteX15" fmla="*/ 92488 w 3657410"/>
                  <a:gd name="connsiteY15" fmla="*/ 54578 h 602265"/>
                  <a:gd name="connsiteX16" fmla="*/ 94583 w 3657410"/>
                  <a:gd name="connsiteY16" fmla="*/ 54578 h 602265"/>
                  <a:gd name="connsiteX17" fmla="*/ 94583 w 3657410"/>
                  <a:gd name="connsiteY17" fmla="*/ 60579 h 602265"/>
                  <a:gd name="connsiteX18" fmla="*/ 96774 w 3657410"/>
                  <a:gd name="connsiteY18" fmla="*/ 60579 h 602265"/>
                  <a:gd name="connsiteX19" fmla="*/ 96774 w 3657410"/>
                  <a:gd name="connsiteY19" fmla="*/ 66675 h 602265"/>
                  <a:gd name="connsiteX20" fmla="*/ 107251 w 3657410"/>
                  <a:gd name="connsiteY20" fmla="*/ 66675 h 602265"/>
                  <a:gd name="connsiteX21" fmla="*/ 107251 w 3657410"/>
                  <a:gd name="connsiteY21" fmla="*/ 72771 h 602265"/>
                  <a:gd name="connsiteX22" fmla="*/ 113538 w 3657410"/>
                  <a:gd name="connsiteY22" fmla="*/ 72771 h 602265"/>
                  <a:gd name="connsiteX23" fmla="*/ 113538 w 3657410"/>
                  <a:gd name="connsiteY23" fmla="*/ 78771 h 602265"/>
                  <a:gd name="connsiteX24" fmla="*/ 128302 w 3657410"/>
                  <a:gd name="connsiteY24" fmla="*/ 78771 h 602265"/>
                  <a:gd name="connsiteX25" fmla="*/ 128302 w 3657410"/>
                  <a:gd name="connsiteY25" fmla="*/ 84867 h 602265"/>
                  <a:gd name="connsiteX26" fmla="*/ 136684 w 3657410"/>
                  <a:gd name="connsiteY26" fmla="*/ 84867 h 602265"/>
                  <a:gd name="connsiteX27" fmla="*/ 136684 w 3657410"/>
                  <a:gd name="connsiteY27" fmla="*/ 90963 h 602265"/>
                  <a:gd name="connsiteX28" fmla="*/ 147257 w 3657410"/>
                  <a:gd name="connsiteY28" fmla="*/ 90963 h 602265"/>
                  <a:gd name="connsiteX29" fmla="*/ 147257 w 3657410"/>
                  <a:gd name="connsiteY29" fmla="*/ 96964 h 602265"/>
                  <a:gd name="connsiteX30" fmla="*/ 159830 w 3657410"/>
                  <a:gd name="connsiteY30" fmla="*/ 96964 h 602265"/>
                  <a:gd name="connsiteX31" fmla="*/ 159830 w 3657410"/>
                  <a:gd name="connsiteY31" fmla="*/ 103060 h 602265"/>
                  <a:gd name="connsiteX32" fmla="*/ 166116 w 3657410"/>
                  <a:gd name="connsiteY32" fmla="*/ 103060 h 602265"/>
                  <a:gd name="connsiteX33" fmla="*/ 166116 w 3657410"/>
                  <a:gd name="connsiteY33" fmla="*/ 115157 h 602265"/>
                  <a:gd name="connsiteX34" fmla="*/ 170307 w 3657410"/>
                  <a:gd name="connsiteY34" fmla="*/ 115157 h 602265"/>
                  <a:gd name="connsiteX35" fmla="*/ 170307 w 3657410"/>
                  <a:gd name="connsiteY35" fmla="*/ 121253 h 602265"/>
                  <a:gd name="connsiteX36" fmla="*/ 182975 w 3657410"/>
                  <a:gd name="connsiteY36" fmla="*/ 121253 h 602265"/>
                  <a:gd name="connsiteX37" fmla="*/ 182975 w 3657410"/>
                  <a:gd name="connsiteY37" fmla="*/ 127349 h 602265"/>
                  <a:gd name="connsiteX38" fmla="*/ 197644 w 3657410"/>
                  <a:gd name="connsiteY38" fmla="*/ 127349 h 602265"/>
                  <a:gd name="connsiteX39" fmla="*/ 197644 w 3657410"/>
                  <a:gd name="connsiteY39" fmla="*/ 133350 h 602265"/>
                  <a:gd name="connsiteX40" fmla="*/ 201930 w 3657410"/>
                  <a:gd name="connsiteY40" fmla="*/ 133350 h 602265"/>
                  <a:gd name="connsiteX41" fmla="*/ 201930 w 3657410"/>
                  <a:gd name="connsiteY41" fmla="*/ 139446 h 602265"/>
                  <a:gd name="connsiteX42" fmla="*/ 212407 w 3657410"/>
                  <a:gd name="connsiteY42" fmla="*/ 139446 h 602265"/>
                  <a:gd name="connsiteX43" fmla="*/ 212407 w 3657410"/>
                  <a:gd name="connsiteY43" fmla="*/ 145542 h 602265"/>
                  <a:gd name="connsiteX44" fmla="*/ 220790 w 3657410"/>
                  <a:gd name="connsiteY44" fmla="*/ 145542 h 602265"/>
                  <a:gd name="connsiteX45" fmla="*/ 220790 w 3657410"/>
                  <a:gd name="connsiteY45" fmla="*/ 151638 h 602265"/>
                  <a:gd name="connsiteX46" fmla="*/ 235553 w 3657410"/>
                  <a:gd name="connsiteY46" fmla="*/ 151638 h 602265"/>
                  <a:gd name="connsiteX47" fmla="*/ 235553 w 3657410"/>
                  <a:gd name="connsiteY47" fmla="*/ 157638 h 602265"/>
                  <a:gd name="connsiteX48" fmla="*/ 239744 w 3657410"/>
                  <a:gd name="connsiteY48" fmla="*/ 157638 h 602265"/>
                  <a:gd name="connsiteX49" fmla="*/ 239744 w 3657410"/>
                  <a:gd name="connsiteY49" fmla="*/ 163734 h 602265"/>
                  <a:gd name="connsiteX50" fmla="*/ 243935 w 3657410"/>
                  <a:gd name="connsiteY50" fmla="*/ 163734 h 602265"/>
                  <a:gd name="connsiteX51" fmla="*/ 243935 w 3657410"/>
                  <a:gd name="connsiteY51" fmla="*/ 169830 h 602265"/>
                  <a:gd name="connsiteX52" fmla="*/ 256604 w 3657410"/>
                  <a:gd name="connsiteY52" fmla="*/ 169830 h 602265"/>
                  <a:gd name="connsiteX53" fmla="*/ 256604 w 3657410"/>
                  <a:gd name="connsiteY53" fmla="*/ 175831 h 602265"/>
                  <a:gd name="connsiteX54" fmla="*/ 286036 w 3657410"/>
                  <a:gd name="connsiteY54" fmla="*/ 175831 h 602265"/>
                  <a:gd name="connsiteX55" fmla="*/ 286036 w 3657410"/>
                  <a:gd name="connsiteY55" fmla="*/ 181927 h 602265"/>
                  <a:gd name="connsiteX56" fmla="*/ 294418 w 3657410"/>
                  <a:gd name="connsiteY56" fmla="*/ 181927 h 602265"/>
                  <a:gd name="connsiteX57" fmla="*/ 294418 w 3657410"/>
                  <a:gd name="connsiteY57" fmla="*/ 188023 h 602265"/>
                  <a:gd name="connsiteX58" fmla="*/ 296513 w 3657410"/>
                  <a:gd name="connsiteY58" fmla="*/ 188023 h 602265"/>
                  <a:gd name="connsiteX59" fmla="*/ 296513 w 3657410"/>
                  <a:gd name="connsiteY59" fmla="*/ 194024 h 602265"/>
                  <a:gd name="connsiteX60" fmla="*/ 311277 w 3657410"/>
                  <a:gd name="connsiteY60" fmla="*/ 194024 h 602265"/>
                  <a:gd name="connsiteX61" fmla="*/ 311277 w 3657410"/>
                  <a:gd name="connsiteY61" fmla="*/ 206216 h 602265"/>
                  <a:gd name="connsiteX62" fmla="*/ 313373 w 3657410"/>
                  <a:gd name="connsiteY62" fmla="*/ 206216 h 602265"/>
                  <a:gd name="connsiteX63" fmla="*/ 313373 w 3657410"/>
                  <a:gd name="connsiteY63" fmla="*/ 212217 h 602265"/>
                  <a:gd name="connsiteX64" fmla="*/ 319659 w 3657410"/>
                  <a:gd name="connsiteY64" fmla="*/ 212217 h 602265"/>
                  <a:gd name="connsiteX65" fmla="*/ 319659 w 3657410"/>
                  <a:gd name="connsiteY65" fmla="*/ 218313 h 602265"/>
                  <a:gd name="connsiteX66" fmla="*/ 323850 w 3657410"/>
                  <a:gd name="connsiteY66" fmla="*/ 218313 h 602265"/>
                  <a:gd name="connsiteX67" fmla="*/ 323850 w 3657410"/>
                  <a:gd name="connsiteY67" fmla="*/ 224409 h 602265"/>
                  <a:gd name="connsiteX68" fmla="*/ 340709 w 3657410"/>
                  <a:gd name="connsiteY68" fmla="*/ 224409 h 602265"/>
                  <a:gd name="connsiteX69" fmla="*/ 340709 w 3657410"/>
                  <a:gd name="connsiteY69" fmla="*/ 236505 h 602265"/>
                  <a:gd name="connsiteX70" fmla="*/ 344900 w 3657410"/>
                  <a:gd name="connsiteY70" fmla="*/ 236505 h 602265"/>
                  <a:gd name="connsiteX71" fmla="*/ 344900 w 3657410"/>
                  <a:gd name="connsiteY71" fmla="*/ 242601 h 602265"/>
                  <a:gd name="connsiteX72" fmla="*/ 368046 w 3657410"/>
                  <a:gd name="connsiteY72" fmla="*/ 242601 h 602265"/>
                  <a:gd name="connsiteX73" fmla="*/ 368046 w 3657410"/>
                  <a:gd name="connsiteY73" fmla="*/ 248697 h 602265"/>
                  <a:gd name="connsiteX74" fmla="*/ 372237 w 3657410"/>
                  <a:gd name="connsiteY74" fmla="*/ 248697 h 602265"/>
                  <a:gd name="connsiteX75" fmla="*/ 372237 w 3657410"/>
                  <a:gd name="connsiteY75" fmla="*/ 254698 h 602265"/>
                  <a:gd name="connsiteX76" fmla="*/ 378524 w 3657410"/>
                  <a:gd name="connsiteY76" fmla="*/ 254698 h 602265"/>
                  <a:gd name="connsiteX77" fmla="*/ 378524 w 3657410"/>
                  <a:gd name="connsiteY77" fmla="*/ 266890 h 602265"/>
                  <a:gd name="connsiteX78" fmla="*/ 397478 w 3657410"/>
                  <a:gd name="connsiteY78" fmla="*/ 266890 h 602265"/>
                  <a:gd name="connsiteX79" fmla="*/ 397478 w 3657410"/>
                  <a:gd name="connsiteY79" fmla="*/ 272891 h 602265"/>
                  <a:gd name="connsiteX80" fmla="*/ 405860 w 3657410"/>
                  <a:gd name="connsiteY80" fmla="*/ 272891 h 602265"/>
                  <a:gd name="connsiteX81" fmla="*/ 405860 w 3657410"/>
                  <a:gd name="connsiteY81" fmla="*/ 278987 h 602265"/>
                  <a:gd name="connsiteX82" fmla="*/ 418529 w 3657410"/>
                  <a:gd name="connsiteY82" fmla="*/ 278987 h 602265"/>
                  <a:gd name="connsiteX83" fmla="*/ 418529 w 3657410"/>
                  <a:gd name="connsiteY83" fmla="*/ 285083 h 602265"/>
                  <a:gd name="connsiteX84" fmla="*/ 435388 w 3657410"/>
                  <a:gd name="connsiteY84" fmla="*/ 285083 h 602265"/>
                  <a:gd name="connsiteX85" fmla="*/ 435388 w 3657410"/>
                  <a:gd name="connsiteY85" fmla="*/ 291084 h 602265"/>
                  <a:gd name="connsiteX86" fmla="*/ 462725 w 3657410"/>
                  <a:gd name="connsiteY86" fmla="*/ 291084 h 602265"/>
                  <a:gd name="connsiteX87" fmla="*/ 462725 w 3657410"/>
                  <a:gd name="connsiteY87" fmla="*/ 297180 h 602265"/>
                  <a:gd name="connsiteX88" fmla="*/ 464820 w 3657410"/>
                  <a:gd name="connsiteY88" fmla="*/ 297180 h 602265"/>
                  <a:gd name="connsiteX89" fmla="*/ 464820 w 3657410"/>
                  <a:gd name="connsiteY89" fmla="*/ 303276 h 602265"/>
                  <a:gd name="connsiteX90" fmla="*/ 475297 w 3657410"/>
                  <a:gd name="connsiteY90" fmla="*/ 303276 h 602265"/>
                  <a:gd name="connsiteX91" fmla="*/ 475297 w 3657410"/>
                  <a:gd name="connsiteY91" fmla="*/ 309276 h 602265"/>
                  <a:gd name="connsiteX92" fmla="*/ 481584 w 3657410"/>
                  <a:gd name="connsiteY92" fmla="*/ 309276 h 602265"/>
                  <a:gd name="connsiteX93" fmla="*/ 481584 w 3657410"/>
                  <a:gd name="connsiteY93" fmla="*/ 321468 h 602265"/>
                  <a:gd name="connsiteX94" fmla="*/ 490061 w 3657410"/>
                  <a:gd name="connsiteY94" fmla="*/ 321468 h 602265"/>
                  <a:gd name="connsiteX95" fmla="*/ 490061 w 3657410"/>
                  <a:gd name="connsiteY95" fmla="*/ 327469 h 602265"/>
                  <a:gd name="connsiteX96" fmla="*/ 496348 w 3657410"/>
                  <a:gd name="connsiteY96" fmla="*/ 327469 h 602265"/>
                  <a:gd name="connsiteX97" fmla="*/ 496348 w 3657410"/>
                  <a:gd name="connsiteY97" fmla="*/ 339661 h 602265"/>
                  <a:gd name="connsiteX98" fmla="*/ 498443 w 3657410"/>
                  <a:gd name="connsiteY98" fmla="*/ 339661 h 602265"/>
                  <a:gd name="connsiteX99" fmla="*/ 498443 w 3657410"/>
                  <a:gd name="connsiteY99" fmla="*/ 345757 h 602265"/>
                  <a:gd name="connsiteX100" fmla="*/ 511016 w 3657410"/>
                  <a:gd name="connsiteY100" fmla="*/ 345757 h 602265"/>
                  <a:gd name="connsiteX101" fmla="*/ 511016 w 3657410"/>
                  <a:gd name="connsiteY101" fmla="*/ 351758 h 602265"/>
                  <a:gd name="connsiteX102" fmla="*/ 534162 w 3657410"/>
                  <a:gd name="connsiteY102" fmla="*/ 351758 h 602265"/>
                  <a:gd name="connsiteX103" fmla="*/ 534162 w 3657410"/>
                  <a:gd name="connsiteY103" fmla="*/ 357854 h 602265"/>
                  <a:gd name="connsiteX104" fmla="*/ 540544 w 3657410"/>
                  <a:gd name="connsiteY104" fmla="*/ 357854 h 602265"/>
                  <a:gd name="connsiteX105" fmla="*/ 540544 w 3657410"/>
                  <a:gd name="connsiteY105" fmla="*/ 363950 h 602265"/>
                  <a:gd name="connsiteX106" fmla="*/ 548926 w 3657410"/>
                  <a:gd name="connsiteY106" fmla="*/ 363950 h 602265"/>
                  <a:gd name="connsiteX107" fmla="*/ 548926 w 3657410"/>
                  <a:gd name="connsiteY107" fmla="*/ 369951 h 602265"/>
                  <a:gd name="connsiteX108" fmla="*/ 557308 w 3657410"/>
                  <a:gd name="connsiteY108" fmla="*/ 369951 h 602265"/>
                  <a:gd name="connsiteX109" fmla="*/ 557308 w 3657410"/>
                  <a:gd name="connsiteY109" fmla="*/ 376047 h 602265"/>
                  <a:gd name="connsiteX110" fmla="*/ 561499 w 3657410"/>
                  <a:gd name="connsiteY110" fmla="*/ 376047 h 602265"/>
                  <a:gd name="connsiteX111" fmla="*/ 561499 w 3657410"/>
                  <a:gd name="connsiteY111" fmla="*/ 382143 h 602265"/>
                  <a:gd name="connsiteX112" fmla="*/ 635127 w 3657410"/>
                  <a:gd name="connsiteY112" fmla="*/ 382143 h 602265"/>
                  <a:gd name="connsiteX113" fmla="*/ 635127 w 3657410"/>
                  <a:gd name="connsiteY113" fmla="*/ 388143 h 602265"/>
                  <a:gd name="connsiteX114" fmla="*/ 656177 w 3657410"/>
                  <a:gd name="connsiteY114" fmla="*/ 388143 h 602265"/>
                  <a:gd name="connsiteX115" fmla="*/ 656177 w 3657410"/>
                  <a:gd name="connsiteY115" fmla="*/ 394239 h 602265"/>
                  <a:gd name="connsiteX116" fmla="*/ 662464 w 3657410"/>
                  <a:gd name="connsiteY116" fmla="*/ 394239 h 602265"/>
                  <a:gd name="connsiteX117" fmla="*/ 662464 w 3657410"/>
                  <a:gd name="connsiteY117" fmla="*/ 400335 h 602265"/>
                  <a:gd name="connsiteX118" fmla="*/ 704564 w 3657410"/>
                  <a:gd name="connsiteY118" fmla="*/ 400335 h 602265"/>
                  <a:gd name="connsiteX119" fmla="*/ 704564 w 3657410"/>
                  <a:gd name="connsiteY119" fmla="*/ 406336 h 602265"/>
                  <a:gd name="connsiteX120" fmla="*/ 719233 w 3657410"/>
                  <a:gd name="connsiteY120" fmla="*/ 406336 h 602265"/>
                  <a:gd name="connsiteX121" fmla="*/ 719233 w 3657410"/>
                  <a:gd name="connsiteY121" fmla="*/ 412432 h 602265"/>
                  <a:gd name="connsiteX122" fmla="*/ 748760 w 3657410"/>
                  <a:gd name="connsiteY122" fmla="*/ 412432 h 602265"/>
                  <a:gd name="connsiteX123" fmla="*/ 748760 w 3657410"/>
                  <a:gd name="connsiteY123" fmla="*/ 418528 h 602265"/>
                  <a:gd name="connsiteX124" fmla="*/ 750856 w 3657410"/>
                  <a:gd name="connsiteY124" fmla="*/ 418528 h 602265"/>
                  <a:gd name="connsiteX125" fmla="*/ 750856 w 3657410"/>
                  <a:gd name="connsiteY125" fmla="*/ 424529 h 602265"/>
                  <a:gd name="connsiteX126" fmla="*/ 773906 w 3657410"/>
                  <a:gd name="connsiteY126" fmla="*/ 424529 h 602265"/>
                  <a:gd name="connsiteX127" fmla="*/ 773906 w 3657410"/>
                  <a:gd name="connsiteY127" fmla="*/ 430625 h 602265"/>
                  <a:gd name="connsiteX128" fmla="*/ 786575 w 3657410"/>
                  <a:gd name="connsiteY128" fmla="*/ 430625 h 602265"/>
                  <a:gd name="connsiteX129" fmla="*/ 786575 w 3657410"/>
                  <a:gd name="connsiteY129" fmla="*/ 436721 h 602265"/>
                  <a:gd name="connsiteX130" fmla="*/ 822293 w 3657410"/>
                  <a:gd name="connsiteY130" fmla="*/ 436721 h 602265"/>
                  <a:gd name="connsiteX131" fmla="*/ 822293 w 3657410"/>
                  <a:gd name="connsiteY131" fmla="*/ 442817 h 602265"/>
                  <a:gd name="connsiteX132" fmla="*/ 938022 w 3657410"/>
                  <a:gd name="connsiteY132" fmla="*/ 442817 h 602265"/>
                  <a:gd name="connsiteX133" fmla="*/ 938022 w 3657410"/>
                  <a:gd name="connsiteY133" fmla="*/ 448818 h 602265"/>
                  <a:gd name="connsiteX134" fmla="*/ 975836 w 3657410"/>
                  <a:gd name="connsiteY134" fmla="*/ 448818 h 602265"/>
                  <a:gd name="connsiteX135" fmla="*/ 975836 w 3657410"/>
                  <a:gd name="connsiteY135" fmla="*/ 455009 h 602265"/>
                  <a:gd name="connsiteX136" fmla="*/ 1028414 w 3657410"/>
                  <a:gd name="connsiteY136" fmla="*/ 455009 h 602265"/>
                  <a:gd name="connsiteX137" fmla="*/ 1028414 w 3657410"/>
                  <a:gd name="connsiteY137" fmla="*/ 461105 h 602265"/>
                  <a:gd name="connsiteX138" fmla="*/ 1047369 w 3657410"/>
                  <a:gd name="connsiteY138" fmla="*/ 461105 h 602265"/>
                  <a:gd name="connsiteX139" fmla="*/ 1047369 w 3657410"/>
                  <a:gd name="connsiteY139" fmla="*/ 467201 h 602265"/>
                  <a:gd name="connsiteX140" fmla="*/ 1057847 w 3657410"/>
                  <a:gd name="connsiteY140" fmla="*/ 467201 h 602265"/>
                  <a:gd name="connsiteX141" fmla="*/ 1057847 w 3657410"/>
                  <a:gd name="connsiteY141" fmla="*/ 473392 h 602265"/>
                  <a:gd name="connsiteX142" fmla="*/ 1091565 w 3657410"/>
                  <a:gd name="connsiteY142" fmla="*/ 473392 h 602265"/>
                  <a:gd name="connsiteX143" fmla="*/ 1091565 w 3657410"/>
                  <a:gd name="connsiteY143" fmla="*/ 479488 h 602265"/>
                  <a:gd name="connsiteX144" fmla="*/ 1097852 w 3657410"/>
                  <a:gd name="connsiteY144" fmla="*/ 479488 h 602265"/>
                  <a:gd name="connsiteX145" fmla="*/ 1097852 w 3657410"/>
                  <a:gd name="connsiteY145" fmla="*/ 485584 h 602265"/>
                  <a:gd name="connsiteX146" fmla="*/ 1112520 w 3657410"/>
                  <a:gd name="connsiteY146" fmla="*/ 485584 h 602265"/>
                  <a:gd name="connsiteX147" fmla="*/ 1112520 w 3657410"/>
                  <a:gd name="connsiteY147" fmla="*/ 491680 h 602265"/>
                  <a:gd name="connsiteX148" fmla="*/ 1125188 w 3657410"/>
                  <a:gd name="connsiteY148" fmla="*/ 491680 h 602265"/>
                  <a:gd name="connsiteX149" fmla="*/ 1125188 w 3657410"/>
                  <a:gd name="connsiteY149" fmla="*/ 497871 h 602265"/>
                  <a:gd name="connsiteX150" fmla="*/ 1150430 w 3657410"/>
                  <a:gd name="connsiteY150" fmla="*/ 497871 h 602265"/>
                  <a:gd name="connsiteX151" fmla="*/ 1150430 w 3657410"/>
                  <a:gd name="connsiteY151" fmla="*/ 503967 h 602265"/>
                  <a:gd name="connsiteX152" fmla="*/ 1379696 w 3657410"/>
                  <a:gd name="connsiteY152" fmla="*/ 503967 h 602265"/>
                  <a:gd name="connsiteX153" fmla="*/ 1379696 w 3657410"/>
                  <a:gd name="connsiteY153" fmla="*/ 510159 h 602265"/>
                  <a:gd name="connsiteX154" fmla="*/ 1493234 w 3657410"/>
                  <a:gd name="connsiteY154" fmla="*/ 510159 h 602265"/>
                  <a:gd name="connsiteX155" fmla="*/ 1493234 w 3657410"/>
                  <a:gd name="connsiteY155" fmla="*/ 516350 h 602265"/>
                  <a:gd name="connsiteX156" fmla="*/ 1762411 w 3657410"/>
                  <a:gd name="connsiteY156" fmla="*/ 516350 h 602265"/>
                  <a:gd name="connsiteX157" fmla="*/ 1762411 w 3657410"/>
                  <a:gd name="connsiteY157" fmla="*/ 522636 h 602265"/>
                  <a:gd name="connsiteX158" fmla="*/ 1836039 w 3657410"/>
                  <a:gd name="connsiteY158" fmla="*/ 522636 h 602265"/>
                  <a:gd name="connsiteX159" fmla="*/ 1836039 w 3657410"/>
                  <a:gd name="connsiteY159" fmla="*/ 528923 h 602265"/>
                  <a:gd name="connsiteX160" fmla="*/ 1915954 w 3657410"/>
                  <a:gd name="connsiteY160" fmla="*/ 528923 h 602265"/>
                  <a:gd name="connsiteX161" fmla="*/ 1915954 w 3657410"/>
                  <a:gd name="connsiteY161" fmla="*/ 535209 h 602265"/>
                  <a:gd name="connsiteX162" fmla="*/ 2077879 w 3657410"/>
                  <a:gd name="connsiteY162" fmla="*/ 535209 h 602265"/>
                  <a:gd name="connsiteX163" fmla="*/ 2077879 w 3657410"/>
                  <a:gd name="connsiteY163" fmla="*/ 541686 h 602265"/>
                  <a:gd name="connsiteX164" fmla="*/ 2094738 w 3657410"/>
                  <a:gd name="connsiteY164" fmla="*/ 541686 h 602265"/>
                  <a:gd name="connsiteX165" fmla="*/ 2094738 w 3657410"/>
                  <a:gd name="connsiteY165" fmla="*/ 548068 h 602265"/>
                  <a:gd name="connsiteX166" fmla="*/ 2212562 w 3657410"/>
                  <a:gd name="connsiteY166" fmla="*/ 548068 h 602265"/>
                  <a:gd name="connsiteX167" fmla="*/ 2212562 w 3657410"/>
                  <a:gd name="connsiteY167" fmla="*/ 554545 h 602265"/>
                  <a:gd name="connsiteX168" fmla="*/ 2305050 w 3657410"/>
                  <a:gd name="connsiteY168" fmla="*/ 554545 h 602265"/>
                  <a:gd name="connsiteX169" fmla="*/ 2305050 w 3657410"/>
                  <a:gd name="connsiteY169" fmla="*/ 560927 h 602265"/>
                  <a:gd name="connsiteX170" fmla="*/ 2324005 w 3657410"/>
                  <a:gd name="connsiteY170" fmla="*/ 560927 h 602265"/>
                  <a:gd name="connsiteX171" fmla="*/ 2324005 w 3657410"/>
                  <a:gd name="connsiteY171" fmla="*/ 567404 h 602265"/>
                  <a:gd name="connsiteX172" fmla="*/ 3177826 w 3657410"/>
                  <a:gd name="connsiteY172" fmla="*/ 567404 h 602265"/>
                  <a:gd name="connsiteX173" fmla="*/ 3177826 w 3657410"/>
                  <a:gd name="connsiteY173" fmla="*/ 602265 h 602265"/>
                  <a:gd name="connsiteX174" fmla="*/ 3657410 w 3657410"/>
                  <a:gd name="connsiteY174" fmla="*/ 602265 h 602265"/>
                  <a:gd name="connsiteX0" fmla="*/ 0 w 3657410"/>
                  <a:gd name="connsiteY0" fmla="*/ 0 h 602265"/>
                  <a:gd name="connsiteX1" fmla="*/ 8382 w 3657410"/>
                  <a:gd name="connsiteY1" fmla="*/ 6096 h 602265"/>
                  <a:gd name="connsiteX2" fmla="*/ 8382 w 3657410"/>
                  <a:gd name="connsiteY2" fmla="*/ 12096 h 602265"/>
                  <a:gd name="connsiteX3" fmla="*/ 18955 w 3657410"/>
                  <a:gd name="connsiteY3" fmla="*/ 12096 h 602265"/>
                  <a:gd name="connsiteX4" fmla="*/ 18955 w 3657410"/>
                  <a:gd name="connsiteY4" fmla="*/ 18097 h 602265"/>
                  <a:gd name="connsiteX5" fmla="*/ 69437 w 3657410"/>
                  <a:gd name="connsiteY5" fmla="*/ 18097 h 602265"/>
                  <a:gd name="connsiteX6" fmla="*/ 69437 w 3657410"/>
                  <a:gd name="connsiteY6" fmla="*/ 24193 h 602265"/>
                  <a:gd name="connsiteX7" fmla="*/ 77819 w 3657410"/>
                  <a:gd name="connsiteY7" fmla="*/ 24193 h 602265"/>
                  <a:gd name="connsiteX8" fmla="*/ 77819 w 3657410"/>
                  <a:gd name="connsiteY8" fmla="*/ 36290 h 602265"/>
                  <a:gd name="connsiteX9" fmla="*/ 84106 w 3657410"/>
                  <a:gd name="connsiteY9" fmla="*/ 36290 h 602265"/>
                  <a:gd name="connsiteX10" fmla="*/ 84106 w 3657410"/>
                  <a:gd name="connsiteY10" fmla="*/ 42386 h 602265"/>
                  <a:gd name="connsiteX11" fmla="*/ 88297 w 3657410"/>
                  <a:gd name="connsiteY11" fmla="*/ 42386 h 602265"/>
                  <a:gd name="connsiteX12" fmla="*/ 88297 w 3657410"/>
                  <a:gd name="connsiteY12" fmla="*/ 48482 h 602265"/>
                  <a:gd name="connsiteX13" fmla="*/ 92488 w 3657410"/>
                  <a:gd name="connsiteY13" fmla="*/ 48482 h 602265"/>
                  <a:gd name="connsiteX14" fmla="*/ 92488 w 3657410"/>
                  <a:gd name="connsiteY14" fmla="*/ 54578 h 602265"/>
                  <a:gd name="connsiteX15" fmla="*/ 94583 w 3657410"/>
                  <a:gd name="connsiteY15" fmla="*/ 54578 h 602265"/>
                  <a:gd name="connsiteX16" fmla="*/ 94583 w 3657410"/>
                  <a:gd name="connsiteY16" fmla="*/ 60579 h 602265"/>
                  <a:gd name="connsiteX17" fmla="*/ 96774 w 3657410"/>
                  <a:gd name="connsiteY17" fmla="*/ 60579 h 602265"/>
                  <a:gd name="connsiteX18" fmla="*/ 96774 w 3657410"/>
                  <a:gd name="connsiteY18" fmla="*/ 66675 h 602265"/>
                  <a:gd name="connsiteX19" fmla="*/ 107251 w 3657410"/>
                  <a:gd name="connsiteY19" fmla="*/ 66675 h 602265"/>
                  <a:gd name="connsiteX20" fmla="*/ 107251 w 3657410"/>
                  <a:gd name="connsiteY20" fmla="*/ 72771 h 602265"/>
                  <a:gd name="connsiteX21" fmla="*/ 113538 w 3657410"/>
                  <a:gd name="connsiteY21" fmla="*/ 72771 h 602265"/>
                  <a:gd name="connsiteX22" fmla="*/ 113538 w 3657410"/>
                  <a:gd name="connsiteY22" fmla="*/ 78771 h 602265"/>
                  <a:gd name="connsiteX23" fmla="*/ 128302 w 3657410"/>
                  <a:gd name="connsiteY23" fmla="*/ 78771 h 602265"/>
                  <a:gd name="connsiteX24" fmla="*/ 128302 w 3657410"/>
                  <a:gd name="connsiteY24" fmla="*/ 84867 h 602265"/>
                  <a:gd name="connsiteX25" fmla="*/ 136684 w 3657410"/>
                  <a:gd name="connsiteY25" fmla="*/ 84867 h 602265"/>
                  <a:gd name="connsiteX26" fmla="*/ 136684 w 3657410"/>
                  <a:gd name="connsiteY26" fmla="*/ 90963 h 602265"/>
                  <a:gd name="connsiteX27" fmla="*/ 147257 w 3657410"/>
                  <a:gd name="connsiteY27" fmla="*/ 90963 h 602265"/>
                  <a:gd name="connsiteX28" fmla="*/ 147257 w 3657410"/>
                  <a:gd name="connsiteY28" fmla="*/ 96964 h 602265"/>
                  <a:gd name="connsiteX29" fmla="*/ 159830 w 3657410"/>
                  <a:gd name="connsiteY29" fmla="*/ 96964 h 602265"/>
                  <a:gd name="connsiteX30" fmla="*/ 159830 w 3657410"/>
                  <a:gd name="connsiteY30" fmla="*/ 103060 h 602265"/>
                  <a:gd name="connsiteX31" fmla="*/ 166116 w 3657410"/>
                  <a:gd name="connsiteY31" fmla="*/ 103060 h 602265"/>
                  <a:gd name="connsiteX32" fmla="*/ 166116 w 3657410"/>
                  <a:gd name="connsiteY32" fmla="*/ 115157 h 602265"/>
                  <a:gd name="connsiteX33" fmla="*/ 170307 w 3657410"/>
                  <a:gd name="connsiteY33" fmla="*/ 115157 h 602265"/>
                  <a:gd name="connsiteX34" fmla="*/ 170307 w 3657410"/>
                  <a:gd name="connsiteY34" fmla="*/ 121253 h 602265"/>
                  <a:gd name="connsiteX35" fmla="*/ 182975 w 3657410"/>
                  <a:gd name="connsiteY35" fmla="*/ 121253 h 602265"/>
                  <a:gd name="connsiteX36" fmla="*/ 182975 w 3657410"/>
                  <a:gd name="connsiteY36" fmla="*/ 127349 h 602265"/>
                  <a:gd name="connsiteX37" fmla="*/ 197644 w 3657410"/>
                  <a:gd name="connsiteY37" fmla="*/ 127349 h 602265"/>
                  <a:gd name="connsiteX38" fmla="*/ 197644 w 3657410"/>
                  <a:gd name="connsiteY38" fmla="*/ 133350 h 602265"/>
                  <a:gd name="connsiteX39" fmla="*/ 201930 w 3657410"/>
                  <a:gd name="connsiteY39" fmla="*/ 133350 h 602265"/>
                  <a:gd name="connsiteX40" fmla="*/ 201930 w 3657410"/>
                  <a:gd name="connsiteY40" fmla="*/ 139446 h 602265"/>
                  <a:gd name="connsiteX41" fmla="*/ 212407 w 3657410"/>
                  <a:gd name="connsiteY41" fmla="*/ 139446 h 602265"/>
                  <a:gd name="connsiteX42" fmla="*/ 212407 w 3657410"/>
                  <a:gd name="connsiteY42" fmla="*/ 145542 h 602265"/>
                  <a:gd name="connsiteX43" fmla="*/ 220790 w 3657410"/>
                  <a:gd name="connsiteY43" fmla="*/ 145542 h 602265"/>
                  <a:gd name="connsiteX44" fmla="*/ 220790 w 3657410"/>
                  <a:gd name="connsiteY44" fmla="*/ 151638 h 602265"/>
                  <a:gd name="connsiteX45" fmla="*/ 235553 w 3657410"/>
                  <a:gd name="connsiteY45" fmla="*/ 151638 h 602265"/>
                  <a:gd name="connsiteX46" fmla="*/ 235553 w 3657410"/>
                  <a:gd name="connsiteY46" fmla="*/ 157638 h 602265"/>
                  <a:gd name="connsiteX47" fmla="*/ 239744 w 3657410"/>
                  <a:gd name="connsiteY47" fmla="*/ 157638 h 602265"/>
                  <a:gd name="connsiteX48" fmla="*/ 239744 w 3657410"/>
                  <a:gd name="connsiteY48" fmla="*/ 163734 h 602265"/>
                  <a:gd name="connsiteX49" fmla="*/ 243935 w 3657410"/>
                  <a:gd name="connsiteY49" fmla="*/ 163734 h 602265"/>
                  <a:gd name="connsiteX50" fmla="*/ 243935 w 3657410"/>
                  <a:gd name="connsiteY50" fmla="*/ 169830 h 602265"/>
                  <a:gd name="connsiteX51" fmla="*/ 256604 w 3657410"/>
                  <a:gd name="connsiteY51" fmla="*/ 169830 h 602265"/>
                  <a:gd name="connsiteX52" fmla="*/ 256604 w 3657410"/>
                  <a:gd name="connsiteY52" fmla="*/ 175831 h 602265"/>
                  <a:gd name="connsiteX53" fmla="*/ 286036 w 3657410"/>
                  <a:gd name="connsiteY53" fmla="*/ 175831 h 602265"/>
                  <a:gd name="connsiteX54" fmla="*/ 286036 w 3657410"/>
                  <a:gd name="connsiteY54" fmla="*/ 181927 h 602265"/>
                  <a:gd name="connsiteX55" fmla="*/ 294418 w 3657410"/>
                  <a:gd name="connsiteY55" fmla="*/ 181927 h 602265"/>
                  <a:gd name="connsiteX56" fmla="*/ 294418 w 3657410"/>
                  <a:gd name="connsiteY56" fmla="*/ 188023 h 602265"/>
                  <a:gd name="connsiteX57" fmla="*/ 296513 w 3657410"/>
                  <a:gd name="connsiteY57" fmla="*/ 188023 h 602265"/>
                  <a:gd name="connsiteX58" fmla="*/ 296513 w 3657410"/>
                  <a:gd name="connsiteY58" fmla="*/ 194024 h 602265"/>
                  <a:gd name="connsiteX59" fmla="*/ 311277 w 3657410"/>
                  <a:gd name="connsiteY59" fmla="*/ 194024 h 602265"/>
                  <a:gd name="connsiteX60" fmla="*/ 311277 w 3657410"/>
                  <a:gd name="connsiteY60" fmla="*/ 206216 h 602265"/>
                  <a:gd name="connsiteX61" fmla="*/ 313373 w 3657410"/>
                  <a:gd name="connsiteY61" fmla="*/ 206216 h 602265"/>
                  <a:gd name="connsiteX62" fmla="*/ 313373 w 3657410"/>
                  <a:gd name="connsiteY62" fmla="*/ 212217 h 602265"/>
                  <a:gd name="connsiteX63" fmla="*/ 319659 w 3657410"/>
                  <a:gd name="connsiteY63" fmla="*/ 212217 h 602265"/>
                  <a:gd name="connsiteX64" fmla="*/ 319659 w 3657410"/>
                  <a:gd name="connsiteY64" fmla="*/ 218313 h 602265"/>
                  <a:gd name="connsiteX65" fmla="*/ 323850 w 3657410"/>
                  <a:gd name="connsiteY65" fmla="*/ 218313 h 602265"/>
                  <a:gd name="connsiteX66" fmla="*/ 323850 w 3657410"/>
                  <a:gd name="connsiteY66" fmla="*/ 224409 h 602265"/>
                  <a:gd name="connsiteX67" fmla="*/ 340709 w 3657410"/>
                  <a:gd name="connsiteY67" fmla="*/ 224409 h 602265"/>
                  <a:gd name="connsiteX68" fmla="*/ 340709 w 3657410"/>
                  <a:gd name="connsiteY68" fmla="*/ 236505 h 602265"/>
                  <a:gd name="connsiteX69" fmla="*/ 344900 w 3657410"/>
                  <a:gd name="connsiteY69" fmla="*/ 236505 h 602265"/>
                  <a:gd name="connsiteX70" fmla="*/ 344900 w 3657410"/>
                  <a:gd name="connsiteY70" fmla="*/ 242601 h 602265"/>
                  <a:gd name="connsiteX71" fmla="*/ 368046 w 3657410"/>
                  <a:gd name="connsiteY71" fmla="*/ 242601 h 602265"/>
                  <a:gd name="connsiteX72" fmla="*/ 368046 w 3657410"/>
                  <a:gd name="connsiteY72" fmla="*/ 248697 h 602265"/>
                  <a:gd name="connsiteX73" fmla="*/ 372237 w 3657410"/>
                  <a:gd name="connsiteY73" fmla="*/ 248697 h 602265"/>
                  <a:gd name="connsiteX74" fmla="*/ 372237 w 3657410"/>
                  <a:gd name="connsiteY74" fmla="*/ 254698 h 602265"/>
                  <a:gd name="connsiteX75" fmla="*/ 378524 w 3657410"/>
                  <a:gd name="connsiteY75" fmla="*/ 254698 h 602265"/>
                  <a:gd name="connsiteX76" fmla="*/ 378524 w 3657410"/>
                  <a:gd name="connsiteY76" fmla="*/ 266890 h 602265"/>
                  <a:gd name="connsiteX77" fmla="*/ 397478 w 3657410"/>
                  <a:gd name="connsiteY77" fmla="*/ 266890 h 602265"/>
                  <a:gd name="connsiteX78" fmla="*/ 397478 w 3657410"/>
                  <a:gd name="connsiteY78" fmla="*/ 272891 h 602265"/>
                  <a:gd name="connsiteX79" fmla="*/ 405860 w 3657410"/>
                  <a:gd name="connsiteY79" fmla="*/ 272891 h 602265"/>
                  <a:gd name="connsiteX80" fmla="*/ 405860 w 3657410"/>
                  <a:gd name="connsiteY80" fmla="*/ 278987 h 602265"/>
                  <a:gd name="connsiteX81" fmla="*/ 418529 w 3657410"/>
                  <a:gd name="connsiteY81" fmla="*/ 278987 h 602265"/>
                  <a:gd name="connsiteX82" fmla="*/ 418529 w 3657410"/>
                  <a:gd name="connsiteY82" fmla="*/ 285083 h 602265"/>
                  <a:gd name="connsiteX83" fmla="*/ 435388 w 3657410"/>
                  <a:gd name="connsiteY83" fmla="*/ 285083 h 602265"/>
                  <a:gd name="connsiteX84" fmla="*/ 435388 w 3657410"/>
                  <a:gd name="connsiteY84" fmla="*/ 291084 h 602265"/>
                  <a:gd name="connsiteX85" fmla="*/ 462725 w 3657410"/>
                  <a:gd name="connsiteY85" fmla="*/ 291084 h 602265"/>
                  <a:gd name="connsiteX86" fmla="*/ 462725 w 3657410"/>
                  <a:gd name="connsiteY86" fmla="*/ 297180 h 602265"/>
                  <a:gd name="connsiteX87" fmla="*/ 464820 w 3657410"/>
                  <a:gd name="connsiteY87" fmla="*/ 297180 h 602265"/>
                  <a:gd name="connsiteX88" fmla="*/ 464820 w 3657410"/>
                  <a:gd name="connsiteY88" fmla="*/ 303276 h 602265"/>
                  <a:gd name="connsiteX89" fmla="*/ 475297 w 3657410"/>
                  <a:gd name="connsiteY89" fmla="*/ 303276 h 602265"/>
                  <a:gd name="connsiteX90" fmla="*/ 475297 w 3657410"/>
                  <a:gd name="connsiteY90" fmla="*/ 309276 h 602265"/>
                  <a:gd name="connsiteX91" fmla="*/ 481584 w 3657410"/>
                  <a:gd name="connsiteY91" fmla="*/ 309276 h 602265"/>
                  <a:gd name="connsiteX92" fmla="*/ 481584 w 3657410"/>
                  <a:gd name="connsiteY92" fmla="*/ 321468 h 602265"/>
                  <a:gd name="connsiteX93" fmla="*/ 490061 w 3657410"/>
                  <a:gd name="connsiteY93" fmla="*/ 321468 h 602265"/>
                  <a:gd name="connsiteX94" fmla="*/ 490061 w 3657410"/>
                  <a:gd name="connsiteY94" fmla="*/ 327469 h 602265"/>
                  <a:gd name="connsiteX95" fmla="*/ 496348 w 3657410"/>
                  <a:gd name="connsiteY95" fmla="*/ 327469 h 602265"/>
                  <a:gd name="connsiteX96" fmla="*/ 496348 w 3657410"/>
                  <a:gd name="connsiteY96" fmla="*/ 339661 h 602265"/>
                  <a:gd name="connsiteX97" fmla="*/ 498443 w 3657410"/>
                  <a:gd name="connsiteY97" fmla="*/ 339661 h 602265"/>
                  <a:gd name="connsiteX98" fmla="*/ 498443 w 3657410"/>
                  <a:gd name="connsiteY98" fmla="*/ 345757 h 602265"/>
                  <a:gd name="connsiteX99" fmla="*/ 511016 w 3657410"/>
                  <a:gd name="connsiteY99" fmla="*/ 345757 h 602265"/>
                  <a:gd name="connsiteX100" fmla="*/ 511016 w 3657410"/>
                  <a:gd name="connsiteY100" fmla="*/ 351758 h 602265"/>
                  <a:gd name="connsiteX101" fmla="*/ 534162 w 3657410"/>
                  <a:gd name="connsiteY101" fmla="*/ 351758 h 602265"/>
                  <a:gd name="connsiteX102" fmla="*/ 534162 w 3657410"/>
                  <a:gd name="connsiteY102" fmla="*/ 357854 h 602265"/>
                  <a:gd name="connsiteX103" fmla="*/ 540544 w 3657410"/>
                  <a:gd name="connsiteY103" fmla="*/ 357854 h 602265"/>
                  <a:gd name="connsiteX104" fmla="*/ 540544 w 3657410"/>
                  <a:gd name="connsiteY104" fmla="*/ 363950 h 602265"/>
                  <a:gd name="connsiteX105" fmla="*/ 548926 w 3657410"/>
                  <a:gd name="connsiteY105" fmla="*/ 363950 h 602265"/>
                  <a:gd name="connsiteX106" fmla="*/ 548926 w 3657410"/>
                  <a:gd name="connsiteY106" fmla="*/ 369951 h 602265"/>
                  <a:gd name="connsiteX107" fmla="*/ 557308 w 3657410"/>
                  <a:gd name="connsiteY107" fmla="*/ 369951 h 602265"/>
                  <a:gd name="connsiteX108" fmla="*/ 557308 w 3657410"/>
                  <a:gd name="connsiteY108" fmla="*/ 376047 h 602265"/>
                  <a:gd name="connsiteX109" fmla="*/ 561499 w 3657410"/>
                  <a:gd name="connsiteY109" fmla="*/ 376047 h 602265"/>
                  <a:gd name="connsiteX110" fmla="*/ 561499 w 3657410"/>
                  <a:gd name="connsiteY110" fmla="*/ 382143 h 602265"/>
                  <a:gd name="connsiteX111" fmla="*/ 635127 w 3657410"/>
                  <a:gd name="connsiteY111" fmla="*/ 382143 h 602265"/>
                  <a:gd name="connsiteX112" fmla="*/ 635127 w 3657410"/>
                  <a:gd name="connsiteY112" fmla="*/ 388143 h 602265"/>
                  <a:gd name="connsiteX113" fmla="*/ 656177 w 3657410"/>
                  <a:gd name="connsiteY113" fmla="*/ 388143 h 602265"/>
                  <a:gd name="connsiteX114" fmla="*/ 656177 w 3657410"/>
                  <a:gd name="connsiteY114" fmla="*/ 394239 h 602265"/>
                  <a:gd name="connsiteX115" fmla="*/ 662464 w 3657410"/>
                  <a:gd name="connsiteY115" fmla="*/ 394239 h 602265"/>
                  <a:gd name="connsiteX116" fmla="*/ 662464 w 3657410"/>
                  <a:gd name="connsiteY116" fmla="*/ 400335 h 602265"/>
                  <a:gd name="connsiteX117" fmla="*/ 704564 w 3657410"/>
                  <a:gd name="connsiteY117" fmla="*/ 400335 h 602265"/>
                  <a:gd name="connsiteX118" fmla="*/ 704564 w 3657410"/>
                  <a:gd name="connsiteY118" fmla="*/ 406336 h 602265"/>
                  <a:gd name="connsiteX119" fmla="*/ 719233 w 3657410"/>
                  <a:gd name="connsiteY119" fmla="*/ 406336 h 602265"/>
                  <a:gd name="connsiteX120" fmla="*/ 719233 w 3657410"/>
                  <a:gd name="connsiteY120" fmla="*/ 412432 h 602265"/>
                  <a:gd name="connsiteX121" fmla="*/ 748760 w 3657410"/>
                  <a:gd name="connsiteY121" fmla="*/ 412432 h 602265"/>
                  <a:gd name="connsiteX122" fmla="*/ 748760 w 3657410"/>
                  <a:gd name="connsiteY122" fmla="*/ 418528 h 602265"/>
                  <a:gd name="connsiteX123" fmla="*/ 750856 w 3657410"/>
                  <a:gd name="connsiteY123" fmla="*/ 418528 h 602265"/>
                  <a:gd name="connsiteX124" fmla="*/ 750856 w 3657410"/>
                  <a:gd name="connsiteY124" fmla="*/ 424529 h 602265"/>
                  <a:gd name="connsiteX125" fmla="*/ 773906 w 3657410"/>
                  <a:gd name="connsiteY125" fmla="*/ 424529 h 602265"/>
                  <a:gd name="connsiteX126" fmla="*/ 773906 w 3657410"/>
                  <a:gd name="connsiteY126" fmla="*/ 430625 h 602265"/>
                  <a:gd name="connsiteX127" fmla="*/ 786575 w 3657410"/>
                  <a:gd name="connsiteY127" fmla="*/ 430625 h 602265"/>
                  <a:gd name="connsiteX128" fmla="*/ 786575 w 3657410"/>
                  <a:gd name="connsiteY128" fmla="*/ 436721 h 602265"/>
                  <a:gd name="connsiteX129" fmla="*/ 822293 w 3657410"/>
                  <a:gd name="connsiteY129" fmla="*/ 436721 h 602265"/>
                  <a:gd name="connsiteX130" fmla="*/ 822293 w 3657410"/>
                  <a:gd name="connsiteY130" fmla="*/ 442817 h 602265"/>
                  <a:gd name="connsiteX131" fmla="*/ 938022 w 3657410"/>
                  <a:gd name="connsiteY131" fmla="*/ 442817 h 602265"/>
                  <a:gd name="connsiteX132" fmla="*/ 938022 w 3657410"/>
                  <a:gd name="connsiteY132" fmla="*/ 448818 h 602265"/>
                  <a:gd name="connsiteX133" fmla="*/ 975836 w 3657410"/>
                  <a:gd name="connsiteY133" fmla="*/ 448818 h 602265"/>
                  <a:gd name="connsiteX134" fmla="*/ 975836 w 3657410"/>
                  <a:gd name="connsiteY134" fmla="*/ 455009 h 602265"/>
                  <a:gd name="connsiteX135" fmla="*/ 1028414 w 3657410"/>
                  <a:gd name="connsiteY135" fmla="*/ 455009 h 602265"/>
                  <a:gd name="connsiteX136" fmla="*/ 1028414 w 3657410"/>
                  <a:gd name="connsiteY136" fmla="*/ 461105 h 602265"/>
                  <a:gd name="connsiteX137" fmla="*/ 1047369 w 3657410"/>
                  <a:gd name="connsiteY137" fmla="*/ 461105 h 602265"/>
                  <a:gd name="connsiteX138" fmla="*/ 1047369 w 3657410"/>
                  <a:gd name="connsiteY138" fmla="*/ 467201 h 602265"/>
                  <a:gd name="connsiteX139" fmla="*/ 1057847 w 3657410"/>
                  <a:gd name="connsiteY139" fmla="*/ 467201 h 602265"/>
                  <a:gd name="connsiteX140" fmla="*/ 1057847 w 3657410"/>
                  <a:gd name="connsiteY140" fmla="*/ 473392 h 602265"/>
                  <a:gd name="connsiteX141" fmla="*/ 1091565 w 3657410"/>
                  <a:gd name="connsiteY141" fmla="*/ 473392 h 602265"/>
                  <a:gd name="connsiteX142" fmla="*/ 1091565 w 3657410"/>
                  <a:gd name="connsiteY142" fmla="*/ 479488 h 602265"/>
                  <a:gd name="connsiteX143" fmla="*/ 1097852 w 3657410"/>
                  <a:gd name="connsiteY143" fmla="*/ 479488 h 602265"/>
                  <a:gd name="connsiteX144" fmla="*/ 1097852 w 3657410"/>
                  <a:gd name="connsiteY144" fmla="*/ 485584 h 602265"/>
                  <a:gd name="connsiteX145" fmla="*/ 1112520 w 3657410"/>
                  <a:gd name="connsiteY145" fmla="*/ 485584 h 602265"/>
                  <a:gd name="connsiteX146" fmla="*/ 1112520 w 3657410"/>
                  <a:gd name="connsiteY146" fmla="*/ 491680 h 602265"/>
                  <a:gd name="connsiteX147" fmla="*/ 1125188 w 3657410"/>
                  <a:gd name="connsiteY147" fmla="*/ 491680 h 602265"/>
                  <a:gd name="connsiteX148" fmla="*/ 1125188 w 3657410"/>
                  <a:gd name="connsiteY148" fmla="*/ 497871 h 602265"/>
                  <a:gd name="connsiteX149" fmla="*/ 1150430 w 3657410"/>
                  <a:gd name="connsiteY149" fmla="*/ 497871 h 602265"/>
                  <a:gd name="connsiteX150" fmla="*/ 1150430 w 3657410"/>
                  <a:gd name="connsiteY150" fmla="*/ 503967 h 602265"/>
                  <a:gd name="connsiteX151" fmla="*/ 1379696 w 3657410"/>
                  <a:gd name="connsiteY151" fmla="*/ 503967 h 602265"/>
                  <a:gd name="connsiteX152" fmla="*/ 1379696 w 3657410"/>
                  <a:gd name="connsiteY152" fmla="*/ 510159 h 602265"/>
                  <a:gd name="connsiteX153" fmla="*/ 1493234 w 3657410"/>
                  <a:gd name="connsiteY153" fmla="*/ 510159 h 602265"/>
                  <a:gd name="connsiteX154" fmla="*/ 1493234 w 3657410"/>
                  <a:gd name="connsiteY154" fmla="*/ 516350 h 602265"/>
                  <a:gd name="connsiteX155" fmla="*/ 1762411 w 3657410"/>
                  <a:gd name="connsiteY155" fmla="*/ 516350 h 602265"/>
                  <a:gd name="connsiteX156" fmla="*/ 1762411 w 3657410"/>
                  <a:gd name="connsiteY156" fmla="*/ 522636 h 602265"/>
                  <a:gd name="connsiteX157" fmla="*/ 1836039 w 3657410"/>
                  <a:gd name="connsiteY157" fmla="*/ 522636 h 602265"/>
                  <a:gd name="connsiteX158" fmla="*/ 1836039 w 3657410"/>
                  <a:gd name="connsiteY158" fmla="*/ 528923 h 602265"/>
                  <a:gd name="connsiteX159" fmla="*/ 1915954 w 3657410"/>
                  <a:gd name="connsiteY159" fmla="*/ 528923 h 602265"/>
                  <a:gd name="connsiteX160" fmla="*/ 1915954 w 3657410"/>
                  <a:gd name="connsiteY160" fmla="*/ 535209 h 602265"/>
                  <a:gd name="connsiteX161" fmla="*/ 2077879 w 3657410"/>
                  <a:gd name="connsiteY161" fmla="*/ 535209 h 602265"/>
                  <a:gd name="connsiteX162" fmla="*/ 2077879 w 3657410"/>
                  <a:gd name="connsiteY162" fmla="*/ 541686 h 602265"/>
                  <a:gd name="connsiteX163" fmla="*/ 2094738 w 3657410"/>
                  <a:gd name="connsiteY163" fmla="*/ 541686 h 602265"/>
                  <a:gd name="connsiteX164" fmla="*/ 2094738 w 3657410"/>
                  <a:gd name="connsiteY164" fmla="*/ 548068 h 602265"/>
                  <a:gd name="connsiteX165" fmla="*/ 2212562 w 3657410"/>
                  <a:gd name="connsiteY165" fmla="*/ 548068 h 602265"/>
                  <a:gd name="connsiteX166" fmla="*/ 2212562 w 3657410"/>
                  <a:gd name="connsiteY166" fmla="*/ 554545 h 602265"/>
                  <a:gd name="connsiteX167" fmla="*/ 2305050 w 3657410"/>
                  <a:gd name="connsiteY167" fmla="*/ 554545 h 602265"/>
                  <a:gd name="connsiteX168" fmla="*/ 2305050 w 3657410"/>
                  <a:gd name="connsiteY168" fmla="*/ 560927 h 602265"/>
                  <a:gd name="connsiteX169" fmla="*/ 2324005 w 3657410"/>
                  <a:gd name="connsiteY169" fmla="*/ 560927 h 602265"/>
                  <a:gd name="connsiteX170" fmla="*/ 2324005 w 3657410"/>
                  <a:gd name="connsiteY170" fmla="*/ 567404 h 602265"/>
                  <a:gd name="connsiteX171" fmla="*/ 3177826 w 3657410"/>
                  <a:gd name="connsiteY171" fmla="*/ 567404 h 602265"/>
                  <a:gd name="connsiteX172" fmla="*/ 3177826 w 3657410"/>
                  <a:gd name="connsiteY172" fmla="*/ 602265 h 602265"/>
                  <a:gd name="connsiteX173" fmla="*/ 3657410 w 3657410"/>
                  <a:gd name="connsiteY173" fmla="*/ 602265 h 602265"/>
                  <a:gd name="connsiteX0" fmla="*/ 0 w 3649028"/>
                  <a:gd name="connsiteY0" fmla="*/ 0 h 596169"/>
                  <a:gd name="connsiteX1" fmla="*/ 0 w 3649028"/>
                  <a:gd name="connsiteY1" fmla="*/ 6000 h 596169"/>
                  <a:gd name="connsiteX2" fmla="*/ 10573 w 3649028"/>
                  <a:gd name="connsiteY2" fmla="*/ 6000 h 596169"/>
                  <a:gd name="connsiteX3" fmla="*/ 10573 w 3649028"/>
                  <a:gd name="connsiteY3" fmla="*/ 12001 h 596169"/>
                  <a:gd name="connsiteX4" fmla="*/ 61055 w 3649028"/>
                  <a:gd name="connsiteY4" fmla="*/ 12001 h 596169"/>
                  <a:gd name="connsiteX5" fmla="*/ 61055 w 3649028"/>
                  <a:gd name="connsiteY5" fmla="*/ 18097 h 596169"/>
                  <a:gd name="connsiteX6" fmla="*/ 69437 w 3649028"/>
                  <a:gd name="connsiteY6" fmla="*/ 18097 h 596169"/>
                  <a:gd name="connsiteX7" fmla="*/ 69437 w 3649028"/>
                  <a:gd name="connsiteY7" fmla="*/ 30194 h 596169"/>
                  <a:gd name="connsiteX8" fmla="*/ 75724 w 3649028"/>
                  <a:gd name="connsiteY8" fmla="*/ 30194 h 596169"/>
                  <a:gd name="connsiteX9" fmla="*/ 75724 w 3649028"/>
                  <a:gd name="connsiteY9" fmla="*/ 36290 h 596169"/>
                  <a:gd name="connsiteX10" fmla="*/ 79915 w 3649028"/>
                  <a:gd name="connsiteY10" fmla="*/ 36290 h 596169"/>
                  <a:gd name="connsiteX11" fmla="*/ 79915 w 3649028"/>
                  <a:gd name="connsiteY11" fmla="*/ 42386 h 596169"/>
                  <a:gd name="connsiteX12" fmla="*/ 84106 w 3649028"/>
                  <a:gd name="connsiteY12" fmla="*/ 42386 h 596169"/>
                  <a:gd name="connsiteX13" fmla="*/ 84106 w 3649028"/>
                  <a:gd name="connsiteY13" fmla="*/ 48482 h 596169"/>
                  <a:gd name="connsiteX14" fmla="*/ 86201 w 3649028"/>
                  <a:gd name="connsiteY14" fmla="*/ 48482 h 596169"/>
                  <a:gd name="connsiteX15" fmla="*/ 86201 w 3649028"/>
                  <a:gd name="connsiteY15" fmla="*/ 54483 h 596169"/>
                  <a:gd name="connsiteX16" fmla="*/ 88392 w 3649028"/>
                  <a:gd name="connsiteY16" fmla="*/ 54483 h 596169"/>
                  <a:gd name="connsiteX17" fmla="*/ 88392 w 3649028"/>
                  <a:gd name="connsiteY17" fmla="*/ 60579 h 596169"/>
                  <a:gd name="connsiteX18" fmla="*/ 98869 w 3649028"/>
                  <a:gd name="connsiteY18" fmla="*/ 60579 h 596169"/>
                  <a:gd name="connsiteX19" fmla="*/ 98869 w 3649028"/>
                  <a:gd name="connsiteY19" fmla="*/ 66675 h 596169"/>
                  <a:gd name="connsiteX20" fmla="*/ 105156 w 3649028"/>
                  <a:gd name="connsiteY20" fmla="*/ 66675 h 596169"/>
                  <a:gd name="connsiteX21" fmla="*/ 105156 w 3649028"/>
                  <a:gd name="connsiteY21" fmla="*/ 72675 h 596169"/>
                  <a:gd name="connsiteX22" fmla="*/ 119920 w 3649028"/>
                  <a:gd name="connsiteY22" fmla="*/ 72675 h 596169"/>
                  <a:gd name="connsiteX23" fmla="*/ 119920 w 3649028"/>
                  <a:gd name="connsiteY23" fmla="*/ 78771 h 596169"/>
                  <a:gd name="connsiteX24" fmla="*/ 128302 w 3649028"/>
                  <a:gd name="connsiteY24" fmla="*/ 78771 h 596169"/>
                  <a:gd name="connsiteX25" fmla="*/ 128302 w 3649028"/>
                  <a:gd name="connsiteY25" fmla="*/ 84867 h 596169"/>
                  <a:gd name="connsiteX26" fmla="*/ 138875 w 3649028"/>
                  <a:gd name="connsiteY26" fmla="*/ 84867 h 596169"/>
                  <a:gd name="connsiteX27" fmla="*/ 138875 w 3649028"/>
                  <a:gd name="connsiteY27" fmla="*/ 90868 h 596169"/>
                  <a:gd name="connsiteX28" fmla="*/ 151448 w 3649028"/>
                  <a:gd name="connsiteY28" fmla="*/ 90868 h 596169"/>
                  <a:gd name="connsiteX29" fmla="*/ 151448 w 3649028"/>
                  <a:gd name="connsiteY29" fmla="*/ 96964 h 596169"/>
                  <a:gd name="connsiteX30" fmla="*/ 157734 w 3649028"/>
                  <a:gd name="connsiteY30" fmla="*/ 96964 h 596169"/>
                  <a:gd name="connsiteX31" fmla="*/ 157734 w 3649028"/>
                  <a:gd name="connsiteY31" fmla="*/ 109061 h 596169"/>
                  <a:gd name="connsiteX32" fmla="*/ 161925 w 3649028"/>
                  <a:gd name="connsiteY32" fmla="*/ 109061 h 596169"/>
                  <a:gd name="connsiteX33" fmla="*/ 161925 w 3649028"/>
                  <a:gd name="connsiteY33" fmla="*/ 115157 h 596169"/>
                  <a:gd name="connsiteX34" fmla="*/ 174593 w 3649028"/>
                  <a:gd name="connsiteY34" fmla="*/ 115157 h 596169"/>
                  <a:gd name="connsiteX35" fmla="*/ 174593 w 3649028"/>
                  <a:gd name="connsiteY35" fmla="*/ 121253 h 596169"/>
                  <a:gd name="connsiteX36" fmla="*/ 189262 w 3649028"/>
                  <a:gd name="connsiteY36" fmla="*/ 121253 h 596169"/>
                  <a:gd name="connsiteX37" fmla="*/ 189262 w 3649028"/>
                  <a:gd name="connsiteY37" fmla="*/ 127254 h 596169"/>
                  <a:gd name="connsiteX38" fmla="*/ 193548 w 3649028"/>
                  <a:gd name="connsiteY38" fmla="*/ 127254 h 596169"/>
                  <a:gd name="connsiteX39" fmla="*/ 193548 w 3649028"/>
                  <a:gd name="connsiteY39" fmla="*/ 133350 h 596169"/>
                  <a:gd name="connsiteX40" fmla="*/ 204025 w 3649028"/>
                  <a:gd name="connsiteY40" fmla="*/ 133350 h 596169"/>
                  <a:gd name="connsiteX41" fmla="*/ 204025 w 3649028"/>
                  <a:gd name="connsiteY41" fmla="*/ 139446 h 596169"/>
                  <a:gd name="connsiteX42" fmla="*/ 212408 w 3649028"/>
                  <a:gd name="connsiteY42" fmla="*/ 139446 h 596169"/>
                  <a:gd name="connsiteX43" fmla="*/ 212408 w 3649028"/>
                  <a:gd name="connsiteY43" fmla="*/ 145542 h 596169"/>
                  <a:gd name="connsiteX44" fmla="*/ 227171 w 3649028"/>
                  <a:gd name="connsiteY44" fmla="*/ 145542 h 596169"/>
                  <a:gd name="connsiteX45" fmla="*/ 227171 w 3649028"/>
                  <a:gd name="connsiteY45" fmla="*/ 151542 h 596169"/>
                  <a:gd name="connsiteX46" fmla="*/ 231362 w 3649028"/>
                  <a:gd name="connsiteY46" fmla="*/ 151542 h 596169"/>
                  <a:gd name="connsiteX47" fmla="*/ 231362 w 3649028"/>
                  <a:gd name="connsiteY47" fmla="*/ 157638 h 596169"/>
                  <a:gd name="connsiteX48" fmla="*/ 235553 w 3649028"/>
                  <a:gd name="connsiteY48" fmla="*/ 157638 h 596169"/>
                  <a:gd name="connsiteX49" fmla="*/ 235553 w 3649028"/>
                  <a:gd name="connsiteY49" fmla="*/ 163734 h 596169"/>
                  <a:gd name="connsiteX50" fmla="*/ 248222 w 3649028"/>
                  <a:gd name="connsiteY50" fmla="*/ 163734 h 596169"/>
                  <a:gd name="connsiteX51" fmla="*/ 248222 w 3649028"/>
                  <a:gd name="connsiteY51" fmla="*/ 169735 h 596169"/>
                  <a:gd name="connsiteX52" fmla="*/ 277654 w 3649028"/>
                  <a:gd name="connsiteY52" fmla="*/ 169735 h 596169"/>
                  <a:gd name="connsiteX53" fmla="*/ 277654 w 3649028"/>
                  <a:gd name="connsiteY53" fmla="*/ 175831 h 596169"/>
                  <a:gd name="connsiteX54" fmla="*/ 286036 w 3649028"/>
                  <a:gd name="connsiteY54" fmla="*/ 175831 h 596169"/>
                  <a:gd name="connsiteX55" fmla="*/ 286036 w 3649028"/>
                  <a:gd name="connsiteY55" fmla="*/ 181927 h 596169"/>
                  <a:gd name="connsiteX56" fmla="*/ 288131 w 3649028"/>
                  <a:gd name="connsiteY56" fmla="*/ 181927 h 596169"/>
                  <a:gd name="connsiteX57" fmla="*/ 288131 w 3649028"/>
                  <a:gd name="connsiteY57" fmla="*/ 187928 h 596169"/>
                  <a:gd name="connsiteX58" fmla="*/ 302895 w 3649028"/>
                  <a:gd name="connsiteY58" fmla="*/ 187928 h 596169"/>
                  <a:gd name="connsiteX59" fmla="*/ 302895 w 3649028"/>
                  <a:gd name="connsiteY59" fmla="*/ 200120 h 596169"/>
                  <a:gd name="connsiteX60" fmla="*/ 304991 w 3649028"/>
                  <a:gd name="connsiteY60" fmla="*/ 200120 h 596169"/>
                  <a:gd name="connsiteX61" fmla="*/ 304991 w 3649028"/>
                  <a:gd name="connsiteY61" fmla="*/ 206121 h 596169"/>
                  <a:gd name="connsiteX62" fmla="*/ 311277 w 3649028"/>
                  <a:gd name="connsiteY62" fmla="*/ 206121 h 596169"/>
                  <a:gd name="connsiteX63" fmla="*/ 311277 w 3649028"/>
                  <a:gd name="connsiteY63" fmla="*/ 212217 h 596169"/>
                  <a:gd name="connsiteX64" fmla="*/ 315468 w 3649028"/>
                  <a:gd name="connsiteY64" fmla="*/ 212217 h 596169"/>
                  <a:gd name="connsiteX65" fmla="*/ 315468 w 3649028"/>
                  <a:gd name="connsiteY65" fmla="*/ 218313 h 596169"/>
                  <a:gd name="connsiteX66" fmla="*/ 332327 w 3649028"/>
                  <a:gd name="connsiteY66" fmla="*/ 218313 h 596169"/>
                  <a:gd name="connsiteX67" fmla="*/ 332327 w 3649028"/>
                  <a:gd name="connsiteY67" fmla="*/ 230409 h 596169"/>
                  <a:gd name="connsiteX68" fmla="*/ 336518 w 3649028"/>
                  <a:gd name="connsiteY68" fmla="*/ 230409 h 596169"/>
                  <a:gd name="connsiteX69" fmla="*/ 336518 w 3649028"/>
                  <a:gd name="connsiteY69" fmla="*/ 236505 h 596169"/>
                  <a:gd name="connsiteX70" fmla="*/ 359664 w 3649028"/>
                  <a:gd name="connsiteY70" fmla="*/ 236505 h 596169"/>
                  <a:gd name="connsiteX71" fmla="*/ 359664 w 3649028"/>
                  <a:gd name="connsiteY71" fmla="*/ 242601 h 596169"/>
                  <a:gd name="connsiteX72" fmla="*/ 363855 w 3649028"/>
                  <a:gd name="connsiteY72" fmla="*/ 242601 h 596169"/>
                  <a:gd name="connsiteX73" fmla="*/ 363855 w 3649028"/>
                  <a:gd name="connsiteY73" fmla="*/ 248602 h 596169"/>
                  <a:gd name="connsiteX74" fmla="*/ 370142 w 3649028"/>
                  <a:gd name="connsiteY74" fmla="*/ 248602 h 596169"/>
                  <a:gd name="connsiteX75" fmla="*/ 370142 w 3649028"/>
                  <a:gd name="connsiteY75" fmla="*/ 260794 h 596169"/>
                  <a:gd name="connsiteX76" fmla="*/ 389096 w 3649028"/>
                  <a:gd name="connsiteY76" fmla="*/ 260794 h 596169"/>
                  <a:gd name="connsiteX77" fmla="*/ 389096 w 3649028"/>
                  <a:gd name="connsiteY77" fmla="*/ 266795 h 596169"/>
                  <a:gd name="connsiteX78" fmla="*/ 397478 w 3649028"/>
                  <a:gd name="connsiteY78" fmla="*/ 266795 h 596169"/>
                  <a:gd name="connsiteX79" fmla="*/ 397478 w 3649028"/>
                  <a:gd name="connsiteY79" fmla="*/ 272891 h 596169"/>
                  <a:gd name="connsiteX80" fmla="*/ 410147 w 3649028"/>
                  <a:gd name="connsiteY80" fmla="*/ 272891 h 596169"/>
                  <a:gd name="connsiteX81" fmla="*/ 410147 w 3649028"/>
                  <a:gd name="connsiteY81" fmla="*/ 278987 h 596169"/>
                  <a:gd name="connsiteX82" fmla="*/ 427006 w 3649028"/>
                  <a:gd name="connsiteY82" fmla="*/ 278987 h 596169"/>
                  <a:gd name="connsiteX83" fmla="*/ 427006 w 3649028"/>
                  <a:gd name="connsiteY83" fmla="*/ 284988 h 596169"/>
                  <a:gd name="connsiteX84" fmla="*/ 454343 w 3649028"/>
                  <a:gd name="connsiteY84" fmla="*/ 284988 h 596169"/>
                  <a:gd name="connsiteX85" fmla="*/ 454343 w 3649028"/>
                  <a:gd name="connsiteY85" fmla="*/ 291084 h 596169"/>
                  <a:gd name="connsiteX86" fmla="*/ 456438 w 3649028"/>
                  <a:gd name="connsiteY86" fmla="*/ 291084 h 596169"/>
                  <a:gd name="connsiteX87" fmla="*/ 456438 w 3649028"/>
                  <a:gd name="connsiteY87" fmla="*/ 297180 h 596169"/>
                  <a:gd name="connsiteX88" fmla="*/ 466915 w 3649028"/>
                  <a:gd name="connsiteY88" fmla="*/ 297180 h 596169"/>
                  <a:gd name="connsiteX89" fmla="*/ 466915 w 3649028"/>
                  <a:gd name="connsiteY89" fmla="*/ 303180 h 596169"/>
                  <a:gd name="connsiteX90" fmla="*/ 473202 w 3649028"/>
                  <a:gd name="connsiteY90" fmla="*/ 303180 h 596169"/>
                  <a:gd name="connsiteX91" fmla="*/ 473202 w 3649028"/>
                  <a:gd name="connsiteY91" fmla="*/ 315372 h 596169"/>
                  <a:gd name="connsiteX92" fmla="*/ 481679 w 3649028"/>
                  <a:gd name="connsiteY92" fmla="*/ 315372 h 596169"/>
                  <a:gd name="connsiteX93" fmla="*/ 481679 w 3649028"/>
                  <a:gd name="connsiteY93" fmla="*/ 321373 h 596169"/>
                  <a:gd name="connsiteX94" fmla="*/ 487966 w 3649028"/>
                  <a:gd name="connsiteY94" fmla="*/ 321373 h 596169"/>
                  <a:gd name="connsiteX95" fmla="*/ 487966 w 3649028"/>
                  <a:gd name="connsiteY95" fmla="*/ 333565 h 596169"/>
                  <a:gd name="connsiteX96" fmla="*/ 490061 w 3649028"/>
                  <a:gd name="connsiteY96" fmla="*/ 333565 h 596169"/>
                  <a:gd name="connsiteX97" fmla="*/ 490061 w 3649028"/>
                  <a:gd name="connsiteY97" fmla="*/ 339661 h 596169"/>
                  <a:gd name="connsiteX98" fmla="*/ 502634 w 3649028"/>
                  <a:gd name="connsiteY98" fmla="*/ 339661 h 596169"/>
                  <a:gd name="connsiteX99" fmla="*/ 502634 w 3649028"/>
                  <a:gd name="connsiteY99" fmla="*/ 345662 h 596169"/>
                  <a:gd name="connsiteX100" fmla="*/ 525780 w 3649028"/>
                  <a:gd name="connsiteY100" fmla="*/ 345662 h 596169"/>
                  <a:gd name="connsiteX101" fmla="*/ 525780 w 3649028"/>
                  <a:gd name="connsiteY101" fmla="*/ 351758 h 596169"/>
                  <a:gd name="connsiteX102" fmla="*/ 532162 w 3649028"/>
                  <a:gd name="connsiteY102" fmla="*/ 351758 h 596169"/>
                  <a:gd name="connsiteX103" fmla="*/ 532162 w 3649028"/>
                  <a:gd name="connsiteY103" fmla="*/ 357854 h 596169"/>
                  <a:gd name="connsiteX104" fmla="*/ 540544 w 3649028"/>
                  <a:gd name="connsiteY104" fmla="*/ 357854 h 596169"/>
                  <a:gd name="connsiteX105" fmla="*/ 540544 w 3649028"/>
                  <a:gd name="connsiteY105" fmla="*/ 363855 h 596169"/>
                  <a:gd name="connsiteX106" fmla="*/ 548926 w 3649028"/>
                  <a:gd name="connsiteY106" fmla="*/ 363855 h 596169"/>
                  <a:gd name="connsiteX107" fmla="*/ 548926 w 3649028"/>
                  <a:gd name="connsiteY107" fmla="*/ 369951 h 596169"/>
                  <a:gd name="connsiteX108" fmla="*/ 553117 w 3649028"/>
                  <a:gd name="connsiteY108" fmla="*/ 369951 h 596169"/>
                  <a:gd name="connsiteX109" fmla="*/ 553117 w 3649028"/>
                  <a:gd name="connsiteY109" fmla="*/ 376047 h 596169"/>
                  <a:gd name="connsiteX110" fmla="*/ 626745 w 3649028"/>
                  <a:gd name="connsiteY110" fmla="*/ 376047 h 596169"/>
                  <a:gd name="connsiteX111" fmla="*/ 626745 w 3649028"/>
                  <a:gd name="connsiteY111" fmla="*/ 382047 h 596169"/>
                  <a:gd name="connsiteX112" fmla="*/ 647795 w 3649028"/>
                  <a:gd name="connsiteY112" fmla="*/ 382047 h 596169"/>
                  <a:gd name="connsiteX113" fmla="*/ 647795 w 3649028"/>
                  <a:gd name="connsiteY113" fmla="*/ 388143 h 596169"/>
                  <a:gd name="connsiteX114" fmla="*/ 654082 w 3649028"/>
                  <a:gd name="connsiteY114" fmla="*/ 388143 h 596169"/>
                  <a:gd name="connsiteX115" fmla="*/ 654082 w 3649028"/>
                  <a:gd name="connsiteY115" fmla="*/ 394239 h 596169"/>
                  <a:gd name="connsiteX116" fmla="*/ 696182 w 3649028"/>
                  <a:gd name="connsiteY116" fmla="*/ 394239 h 596169"/>
                  <a:gd name="connsiteX117" fmla="*/ 696182 w 3649028"/>
                  <a:gd name="connsiteY117" fmla="*/ 400240 h 596169"/>
                  <a:gd name="connsiteX118" fmla="*/ 710851 w 3649028"/>
                  <a:gd name="connsiteY118" fmla="*/ 400240 h 596169"/>
                  <a:gd name="connsiteX119" fmla="*/ 710851 w 3649028"/>
                  <a:gd name="connsiteY119" fmla="*/ 406336 h 596169"/>
                  <a:gd name="connsiteX120" fmla="*/ 740378 w 3649028"/>
                  <a:gd name="connsiteY120" fmla="*/ 406336 h 596169"/>
                  <a:gd name="connsiteX121" fmla="*/ 740378 w 3649028"/>
                  <a:gd name="connsiteY121" fmla="*/ 412432 h 596169"/>
                  <a:gd name="connsiteX122" fmla="*/ 742474 w 3649028"/>
                  <a:gd name="connsiteY122" fmla="*/ 412432 h 596169"/>
                  <a:gd name="connsiteX123" fmla="*/ 742474 w 3649028"/>
                  <a:gd name="connsiteY123" fmla="*/ 418433 h 596169"/>
                  <a:gd name="connsiteX124" fmla="*/ 765524 w 3649028"/>
                  <a:gd name="connsiteY124" fmla="*/ 418433 h 596169"/>
                  <a:gd name="connsiteX125" fmla="*/ 765524 w 3649028"/>
                  <a:gd name="connsiteY125" fmla="*/ 424529 h 596169"/>
                  <a:gd name="connsiteX126" fmla="*/ 778193 w 3649028"/>
                  <a:gd name="connsiteY126" fmla="*/ 424529 h 596169"/>
                  <a:gd name="connsiteX127" fmla="*/ 778193 w 3649028"/>
                  <a:gd name="connsiteY127" fmla="*/ 430625 h 596169"/>
                  <a:gd name="connsiteX128" fmla="*/ 813911 w 3649028"/>
                  <a:gd name="connsiteY128" fmla="*/ 430625 h 596169"/>
                  <a:gd name="connsiteX129" fmla="*/ 813911 w 3649028"/>
                  <a:gd name="connsiteY129" fmla="*/ 436721 h 596169"/>
                  <a:gd name="connsiteX130" fmla="*/ 929640 w 3649028"/>
                  <a:gd name="connsiteY130" fmla="*/ 436721 h 596169"/>
                  <a:gd name="connsiteX131" fmla="*/ 929640 w 3649028"/>
                  <a:gd name="connsiteY131" fmla="*/ 442722 h 596169"/>
                  <a:gd name="connsiteX132" fmla="*/ 967454 w 3649028"/>
                  <a:gd name="connsiteY132" fmla="*/ 442722 h 596169"/>
                  <a:gd name="connsiteX133" fmla="*/ 967454 w 3649028"/>
                  <a:gd name="connsiteY133" fmla="*/ 448913 h 596169"/>
                  <a:gd name="connsiteX134" fmla="*/ 1020032 w 3649028"/>
                  <a:gd name="connsiteY134" fmla="*/ 448913 h 596169"/>
                  <a:gd name="connsiteX135" fmla="*/ 1020032 w 3649028"/>
                  <a:gd name="connsiteY135" fmla="*/ 455009 h 596169"/>
                  <a:gd name="connsiteX136" fmla="*/ 1038987 w 3649028"/>
                  <a:gd name="connsiteY136" fmla="*/ 455009 h 596169"/>
                  <a:gd name="connsiteX137" fmla="*/ 1038987 w 3649028"/>
                  <a:gd name="connsiteY137" fmla="*/ 461105 h 596169"/>
                  <a:gd name="connsiteX138" fmla="*/ 1049465 w 3649028"/>
                  <a:gd name="connsiteY138" fmla="*/ 461105 h 596169"/>
                  <a:gd name="connsiteX139" fmla="*/ 1049465 w 3649028"/>
                  <a:gd name="connsiteY139" fmla="*/ 467296 h 596169"/>
                  <a:gd name="connsiteX140" fmla="*/ 1083183 w 3649028"/>
                  <a:gd name="connsiteY140" fmla="*/ 467296 h 596169"/>
                  <a:gd name="connsiteX141" fmla="*/ 1083183 w 3649028"/>
                  <a:gd name="connsiteY141" fmla="*/ 473392 h 596169"/>
                  <a:gd name="connsiteX142" fmla="*/ 1089470 w 3649028"/>
                  <a:gd name="connsiteY142" fmla="*/ 473392 h 596169"/>
                  <a:gd name="connsiteX143" fmla="*/ 1089470 w 3649028"/>
                  <a:gd name="connsiteY143" fmla="*/ 479488 h 596169"/>
                  <a:gd name="connsiteX144" fmla="*/ 1104138 w 3649028"/>
                  <a:gd name="connsiteY144" fmla="*/ 479488 h 596169"/>
                  <a:gd name="connsiteX145" fmla="*/ 1104138 w 3649028"/>
                  <a:gd name="connsiteY145" fmla="*/ 485584 h 596169"/>
                  <a:gd name="connsiteX146" fmla="*/ 1116806 w 3649028"/>
                  <a:gd name="connsiteY146" fmla="*/ 485584 h 596169"/>
                  <a:gd name="connsiteX147" fmla="*/ 1116806 w 3649028"/>
                  <a:gd name="connsiteY147" fmla="*/ 491775 h 596169"/>
                  <a:gd name="connsiteX148" fmla="*/ 1142048 w 3649028"/>
                  <a:gd name="connsiteY148" fmla="*/ 491775 h 596169"/>
                  <a:gd name="connsiteX149" fmla="*/ 1142048 w 3649028"/>
                  <a:gd name="connsiteY149" fmla="*/ 497871 h 596169"/>
                  <a:gd name="connsiteX150" fmla="*/ 1371314 w 3649028"/>
                  <a:gd name="connsiteY150" fmla="*/ 497871 h 596169"/>
                  <a:gd name="connsiteX151" fmla="*/ 1371314 w 3649028"/>
                  <a:gd name="connsiteY151" fmla="*/ 504063 h 596169"/>
                  <a:gd name="connsiteX152" fmla="*/ 1484852 w 3649028"/>
                  <a:gd name="connsiteY152" fmla="*/ 504063 h 596169"/>
                  <a:gd name="connsiteX153" fmla="*/ 1484852 w 3649028"/>
                  <a:gd name="connsiteY153" fmla="*/ 510254 h 596169"/>
                  <a:gd name="connsiteX154" fmla="*/ 1754029 w 3649028"/>
                  <a:gd name="connsiteY154" fmla="*/ 510254 h 596169"/>
                  <a:gd name="connsiteX155" fmla="*/ 1754029 w 3649028"/>
                  <a:gd name="connsiteY155" fmla="*/ 516540 h 596169"/>
                  <a:gd name="connsiteX156" fmla="*/ 1827657 w 3649028"/>
                  <a:gd name="connsiteY156" fmla="*/ 516540 h 596169"/>
                  <a:gd name="connsiteX157" fmla="*/ 1827657 w 3649028"/>
                  <a:gd name="connsiteY157" fmla="*/ 522827 h 596169"/>
                  <a:gd name="connsiteX158" fmla="*/ 1907572 w 3649028"/>
                  <a:gd name="connsiteY158" fmla="*/ 522827 h 596169"/>
                  <a:gd name="connsiteX159" fmla="*/ 1907572 w 3649028"/>
                  <a:gd name="connsiteY159" fmla="*/ 529113 h 596169"/>
                  <a:gd name="connsiteX160" fmla="*/ 2069497 w 3649028"/>
                  <a:gd name="connsiteY160" fmla="*/ 529113 h 596169"/>
                  <a:gd name="connsiteX161" fmla="*/ 2069497 w 3649028"/>
                  <a:gd name="connsiteY161" fmla="*/ 535590 h 596169"/>
                  <a:gd name="connsiteX162" fmla="*/ 2086356 w 3649028"/>
                  <a:gd name="connsiteY162" fmla="*/ 535590 h 596169"/>
                  <a:gd name="connsiteX163" fmla="*/ 2086356 w 3649028"/>
                  <a:gd name="connsiteY163" fmla="*/ 541972 h 596169"/>
                  <a:gd name="connsiteX164" fmla="*/ 2204180 w 3649028"/>
                  <a:gd name="connsiteY164" fmla="*/ 541972 h 596169"/>
                  <a:gd name="connsiteX165" fmla="*/ 2204180 w 3649028"/>
                  <a:gd name="connsiteY165" fmla="*/ 548449 h 596169"/>
                  <a:gd name="connsiteX166" fmla="*/ 2296668 w 3649028"/>
                  <a:gd name="connsiteY166" fmla="*/ 548449 h 596169"/>
                  <a:gd name="connsiteX167" fmla="*/ 2296668 w 3649028"/>
                  <a:gd name="connsiteY167" fmla="*/ 554831 h 596169"/>
                  <a:gd name="connsiteX168" fmla="*/ 2315623 w 3649028"/>
                  <a:gd name="connsiteY168" fmla="*/ 554831 h 596169"/>
                  <a:gd name="connsiteX169" fmla="*/ 2315623 w 3649028"/>
                  <a:gd name="connsiteY169" fmla="*/ 561308 h 596169"/>
                  <a:gd name="connsiteX170" fmla="*/ 3169444 w 3649028"/>
                  <a:gd name="connsiteY170" fmla="*/ 561308 h 596169"/>
                  <a:gd name="connsiteX171" fmla="*/ 3169444 w 3649028"/>
                  <a:gd name="connsiteY171" fmla="*/ 596169 h 596169"/>
                  <a:gd name="connsiteX172" fmla="*/ 3649028 w 3649028"/>
                  <a:gd name="connsiteY172" fmla="*/ 596169 h 596169"/>
                  <a:gd name="connsiteX0" fmla="*/ 0 w 3649028"/>
                  <a:gd name="connsiteY0" fmla="*/ 0 h 590169"/>
                  <a:gd name="connsiteX1" fmla="*/ 10573 w 3649028"/>
                  <a:gd name="connsiteY1" fmla="*/ 0 h 590169"/>
                  <a:gd name="connsiteX2" fmla="*/ 10573 w 3649028"/>
                  <a:gd name="connsiteY2" fmla="*/ 6001 h 590169"/>
                  <a:gd name="connsiteX3" fmla="*/ 61055 w 3649028"/>
                  <a:gd name="connsiteY3" fmla="*/ 6001 h 590169"/>
                  <a:gd name="connsiteX4" fmla="*/ 61055 w 3649028"/>
                  <a:gd name="connsiteY4" fmla="*/ 12097 h 590169"/>
                  <a:gd name="connsiteX5" fmla="*/ 69437 w 3649028"/>
                  <a:gd name="connsiteY5" fmla="*/ 12097 h 590169"/>
                  <a:gd name="connsiteX6" fmla="*/ 69437 w 3649028"/>
                  <a:gd name="connsiteY6" fmla="*/ 24194 h 590169"/>
                  <a:gd name="connsiteX7" fmla="*/ 75724 w 3649028"/>
                  <a:gd name="connsiteY7" fmla="*/ 24194 h 590169"/>
                  <a:gd name="connsiteX8" fmla="*/ 75724 w 3649028"/>
                  <a:gd name="connsiteY8" fmla="*/ 30290 h 590169"/>
                  <a:gd name="connsiteX9" fmla="*/ 79915 w 3649028"/>
                  <a:gd name="connsiteY9" fmla="*/ 30290 h 590169"/>
                  <a:gd name="connsiteX10" fmla="*/ 79915 w 3649028"/>
                  <a:gd name="connsiteY10" fmla="*/ 36386 h 590169"/>
                  <a:gd name="connsiteX11" fmla="*/ 84106 w 3649028"/>
                  <a:gd name="connsiteY11" fmla="*/ 36386 h 590169"/>
                  <a:gd name="connsiteX12" fmla="*/ 84106 w 3649028"/>
                  <a:gd name="connsiteY12" fmla="*/ 42482 h 590169"/>
                  <a:gd name="connsiteX13" fmla="*/ 86201 w 3649028"/>
                  <a:gd name="connsiteY13" fmla="*/ 42482 h 590169"/>
                  <a:gd name="connsiteX14" fmla="*/ 86201 w 3649028"/>
                  <a:gd name="connsiteY14" fmla="*/ 48483 h 590169"/>
                  <a:gd name="connsiteX15" fmla="*/ 88392 w 3649028"/>
                  <a:gd name="connsiteY15" fmla="*/ 48483 h 590169"/>
                  <a:gd name="connsiteX16" fmla="*/ 88392 w 3649028"/>
                  <a:gd name="connsiteY16" fmla="*/ 54579 h 590169"/>
                  <a:gd name="connsiteX17" fmla="*/ 98869 w 3649028"/>
                  <a:gd name="connsiteY17" fmla="*/ 54579 h 590169"/>
                  <a:gd name="connsiteX18" fmla="*/ 98869 w 3649028"/>
                  <a:gd name="connsiteY18" fmla="*/ 60675 h 590169"/>
                  <a:gd name="connsiteX19" fmla="*/ 105156 w 3649028"/>
                  <a:gd name="connsiteY19" fmla="*/ 60675 h 590169"/>
                  <a:gd name="connsiteX20" fmla="*/ 105156 w 3649028"/>
                  <a:gd name="connsiteY20" fmla="*/ 66675 h 590169"/>
                  <a:gd name="connsiteX21" fmla="*/ 119920 w 3649028"/>
                  <a:gd name="connsiteY21" fmla="*/ 66675 h 590169"/>
                  <a:gd name="connsiteX22" fmla="*/ 119920 w 3649028"/>
                  <a:gd name="connsiteY22" fmla="*/ 72771 h 590169"/>
                  <a:gd name="connsiteX23" fmla="*/ 128302 w 3649028"/>
                  <a:gd name="connsiteY23" fmla="*/ 72771 h 590169"/>
                  <a:gd name="connsiteX24" fmla="*/ 128302 w 3649028"/>
                  <a:gd name="connsiteY24" fmla="*/ 78867 h 590169"/>
                  <a:gd name="connsiteX25" fmla="*/ 138875 w 3649028"/>
                  <a:gd name="connsiteY25" fmla="*/ 78867 h 590169"/>
                  <a:gd name="connsiteX26" fmla="*/ 138875 w 3649028"/>
                  <a:gd name="connsiteY26" fmla="*/ 84868 h 590169"/>
                  <a:gd name="connsiteX27" fmla="*/ 151448 w 3649028"/>
                  <a:gd name="connsiteY27" fmla="*/ 84868 h 590169"/>
                  <a:gd name="connsiteX28" fmla="*/ 151448 w 3649028"/>
                  <a:gd name="connsiteY28" fmla="*/ 90964 h 590169"/>
                  <a:gd name="connsiteX29" fmla="*/ 157734 w 3649028"/>
                  <a:gd name="connsiteY29" fmla="*/ 90964 h 590169"/>
                  <a:gd name="connsiteX30" fmla="*/ 157734 w 3649028"/>
                  <a:gd name="connsiteY30" fmla="*/ 103061 h 590169"/>
                  <a:gd name="connsiteX31" fmla="*/ 161925 w 3649028"/>
                  <a:gd name="connsiteY31" fmla="*/ 103061 h 590169"/>
                  <a:gd name="connsiteX32" fmla="*/ 161925 w 3649028"/>
                  <a:gd name="connsiteY32" fmla="*/ 109157 h 590169"/>
                  <a:gd name="connsiteX33" fmla="*/ 174593 w 3649028"/>
                  <a:gd name="connsiteY33" fmla="*/ 109157 h 590169"/>
                  <a:gd name="connsiteX34" fmla="*/ 174593 w 3649028"/>
                  <a:gd name="connsiteY34" fmla="*/ 115253 h 590169"/>
                  <a:gd name="connsiteX35" fmla="*/ 189262 w 3649028"/>
                  <a:gd name="connsiteY35" fmla="*/ 115253 h 590169"/>
                  <a:gd name="connsiteX36" fmla="*/ 189262 w 3649028"/>
                  <a:gd name="connsiteY36" fmla="*/ 121254 h 590169"/>
                  <a:gd name="connsiteX37" fmla="*/ 193548 w 3649028"/>
                  <a:gd name="connsiteY37" fmla="*/ 121254 h 590169"/>
                  <a:gd name="connsiteX38" fmla="*/ 193548 w 3649028"/>
                  <a:gd name="connsiteY38" fmla="*/ 127350 h 590169"/>
                  <a:gd name="connsiteX39" fmla="*/ 204025 w 3649028"/>
                  <a:gd name="connsiteY39" fmla="*/ 127350 h 590169"/>
                  <a:gd name="connsiteX40" fmla="*/ 204025 w 3649028"/>
                  <a:gd name="connsiteY40" fmla="*/ 133446 h 590169"/>
                  <a:gd name="connsiteX41" fmla="*/ 212408 w 3649028"/>
                  <a:gd name="connsiteY41" fmla="*/ 133446 h 590169"/>
                  <a:gd name="connsiteX42" fmla="*/ 212408 w 3649028"/>
                  <a:gd name="connsiteY42" fmla="*/ 139542 h 590169"/>
                  <a:gd name="connsiteX43" fmla="*/ 227171 w 3649028"/>
                  <a:gd name="connsiteY43" fmla="*/ 139542 h 590169"/>
                  <a:gd name="connsiteX44" fmla="*/ 227171 w 3649028"/>
                  <a:gd name="connsiteY44" fmla="*/ 145542 h 590169"/>
                  <a:gd name="connsiteX45" fmla="*/ 231362 w 3649028"/>
                  <a:gd name="connsiteY45" fmla="*/ 145542 h 590169"/>
                  <a:gd name="connsiteX46" fmla="*/ 231362 w 3649028"/>
                  <a:gd name="connsiteY46" fmla="*/ 151638 h 590169"/>
                  <a:gd name="connsiteX47" fmla="*/ 235553 w 3649028"/>
                  <a:gd name="connsiteY47" fmla="*/ 151638 h 590169"/>
                  <a:gd name="connsiteX48" fmla="*/ 235553 w 3649028"/>
                  <a:gd name="connsiteY48" fmla="*/ 157734 h 590169"/>
                  <a:gd name="connsiteX49" fmla="*/ 248222 w 3649028"/>
                  <a:gd name="connsiteY49" fmla="*/ 157734 h 590169"/>
                  <a:gd name="connsiteX50" fmla="*/ 248222 w 3649028"/>
                  <a:gd name="connsiteY50" fmla="*/ 163735 h 590169"/>
                  <a:gd name="connsiteX51" fmla="*/ 277654 w 3649028"/>
                  <a:gd name="connsiteY51" fmla="*/ 163735 h 590169"/>
                  <a:gd name="connsiteX52" fmla="*/ 277654 w 3649028"/>
                  <a:gd name="connsiteY52" fmla="*/ 169831 h 590169"/>
                  <a:gd name="connsiteX53" fmla="*/ 286036 w 3649028"/>
                  <a:gd name="connsiteY53" fmla="*/ 169831 h 590169"/>
                  <a:gd name="connsiteX54" fmla="*/ 286036 w 3649028"/>
                  <a:gd name="connsiteY54" fmla="*/ 175927 h 590169"/>
                  <a:gd name="connsiteX55" fmla="*/ 288131 w 3649028"/>
                  <a:gd name="connsiteY55" fmla="*/ 175927 h 590169"/>
                  <a:gd name="connsiteX56" fmla="*/ 288131 w 3649028"/>
                  <a:gd name="connsiteY56" fmla="*/ 181928 h 590169"/>
                  <a:gd name="connsiteX57" fmla="*/ 302895 w 3649028"/>
                  <a:gd name="connsiteY57" fmla="*/ 181928 h 590169"/>
                  <a:gd name="connsiteX58" fmla="*/ 302895 w 3649028"/>
                  <a:gd name="connsiteY58" fmla="*/ 194120 h 590169"/>
                  <a:gd name="connsiteX59" fmla="*/ 304991 w 3649028"/>
                  <a:gd name="connsiteY59" fmla="*/ 194120 h 590169"/>
                  <a:gd name="connsiteX60" fmla="*/ 304991 w 3649028"/>
                  <a:gd name="connsiteY60" fmla="*/ 200121 h 590169"/>
                  <a:gd name="connsiteX61" fmla="*/ 311277 w 3649028"/>
                  <a:gd name="connsiteY61" fmla="*/ 200121 h 590169"/>
                  <a:gd name="connsiteX62" fmla="*/ 311277 w 3649028"/>
                  <a:gd name="connsiteY62" fmla="*/ 206217 h 590169"/>
                  <a:gd name="connsiteX63" fmla="*/ 315468 w 3649028"/>
                  <a:gd name="connsiteY63" fmla="*/ 206217 h 590169"/>
                  <a:gd name="connsiteX64" fmla="*/ 315468 w 3649028"/>
                  <a:gd name="connsiteY64" fmla="*/ 212313 h 590169"/>
                  <a:gd name="connsiteX65" fmla="*/ 332327 w 3649028"/>
                  <a:gd name="connsiteY65" fmla="*/ 212313 h 590169"/>
                  <a:gd name="connsiteX66" fmla="*/ 332327 w 3649028"/>
                  <a:gd name="connsiteY66" fmla="*/ 224409 h 590169"/>
                  <a:gd name="connsiteX67" fmla="*/ 336518 w 3649028"/>
                  <a:gd name="connsiteY67" fmla="*/ 224409 h 590169"/>
                  <a:gd name="connsiteX68" fmla="*/ 336518 w 3649028"/>
                  <a:gd name="connsiteY68" fmla="*/ 230505 h 590169"/>
                  <a:gd name="connsiteX69" fmla="*/ 359664 w 3649028"/>
                  <a:gd name="connsiteY69" fmla="*/ 230505 h 590169"/>
                  <a:gd name="connsiteX70" fmla="*/ 359664 w 3649028"/>
                  <a:gd name="connsiteY70" fmla="*/ 236601 h 590169"/>
                  <a:gd name="connsiteX71" fmla="*/ 363855 w 3649028"/>
                  <a:gd name="connsiteY71" fmla="*/ 236601 h 590169"/>
                  <a:gd name="connsiteX72" fmla="*/ 363855 w 3649028"/>
                  <a:gd name="connsiteY72" fmla="*/ 242602 h 590169"/>
                  <a:gd name="connsiteX73" fmla="*/ 370142 w 3649028"/>
                  <a:gd name="connsiteY73" fmla="*/ 242602 h 590169"/>
                  <a:gd name="connsiteX74" fmla="*/ 370142 w 3649028"/>
                  <a:gd name="connsiteY74" fmla="*/ 254794 h 590169"/>
                  <a:gd name="connsiteX75" fmla="*/ 389096 w 3649028"/>
                  <a:gd name="connsiteY75" fmla="*/ 254794 h 590169"/>
                  <a:gd name="connsiteX76" fmla="*/ 389096 w 3649028"/>
                  <a:gd name="connsiteY76" fmla="*/ 260795 h 590169"/>
                  <a:gd name="connsiteX77" fmla="*/ 397478 w 3649028"/>
                  <a:gd name="connsiteY77" fmla="*/ 260795 h 590169"/>
                  <a:gd name="connsiteX78" fmla="*/ 397478 w 3649028"/>
                  <a:gd name="connsiteY78" fmla="*/ 266891 h 590169"/>
                  <a:gd name="connsiteX79" fmla="*/ 410147 w 3649028"/>
                  <a:gd name="connsiteY79" fmla="*/ 266891 h 590169"/>
                  <a:gd name="connsiteX80" fmla="*/ 410147 w 3649028"/>
                  <a:gd name="connsiteY80" fmla="*/ 272987 h 590169"/>
                  <a:gd name="connsiteX81" fmla="*/ 427006 w 3649028"/>
                  <a:gd name="connsiteY81" fmla="*/ 272987 h 590169"/>
                  <a:gd name="connsiteX82" fmla="*/ 427006 w 3649028"/>
                  <a:gd name="connsiteY82" fmla="*/ 278988 h 590169"/>
                  <a:gd name="connsiteX83" fmla="*/ 454343 w 3649028"/>
                  <a:gd name="connsiteY83" fmla="*/ 278988 h 590169"/>
                  <a:gd name="connsiteX84" fmla="*/ 454343 w 3649028"/>
                  <a:gd name="connsiteY84" fmla="*/ 285084 h 590169"/>
                  <a:gd name="connsiteX85" fmla="*/ 456438 w 3649028"/>
                  <a:gd name="connsiteY85" fmla="*/ 285084 h 590169"/>
                  <a:gd name="connsiteX86" fmla="*/ 456438 w 3649028"/>
                  <a:gd name="connsiteY86" fmla="*/ 291180 h 590169"/>
                  <a:gd name="connsiteX87" fmla="*/ 466915 w 3649028"/>
                  <a:gd name="connsiteY87" fmla="*/ 291180 h 590169"/>
                  <a:gd name="connsiteX88" fmla="*/ 466915 w 3649028"/>
                  <a:gd name="connsiteY88" fmla="*/ 297180 h 590169"/>
                  <a:gd name="connsiteX89" fmla="*/ 473202 w 3649028"/>
                  <a:gd name="connsiteY89" fmla="*/ 297180 h 590169"/>
                  <a:gd name="connsiteX90" fmla="*/ 473202 w 3649028"/>
                  <a:gd name="connsiteY90" fmla="*/ 309372 h 590169"/>
                  <a:gd name="connsiteX91" fmla="*/ 481679 w 3649028"/>
                  <a:gd name="connsiteY91" fmla="*/ 309372 h 590169"/>
                  <a:gd name="connsiteX92" fmla="*/ 481679 w 3649028"/>
                  <a:gd name="connsiteY92" fmla="*/ 315373 h 590169"/>
                  <a:gd name="connsiteX93" fmla="*/ 487966 w 3649028"/>
                  <a:gd name="connsiteY93" fmla="*/ 315373 h 590169"/>
                  <a:gd name="connsiteX94" fmla="*/ 487966 w 3649028"/>
                  <a:gd name="connsiteY94" fmla="*/ 327565 h 590169"/>
                  <a:gd name="connsiteX95" fmla="*/ 490061 w 3649028"/>
                  <a:gd name="connsiteY95" fmla="*/ 327565 h 590169"/>
                  <a:gd name="connsiteX96" fmla="*/ 490061 w 3649028"/>
                  <a:gd name="connsiteY96" fmla="*/ 333661 h 590169"/>
                  <a:gd name="connsiteX97" fmla="*/ 502634 w 3649028"/>
                  <a:gd name="connsiteY97" fmla="*/ 333661 h 590169"/>
                  <a:gd name="connsiteX98" fmla="*/ 502634 w 3649028"/>
                  <a:gd name="connsiteY98" fmla="*/ 339662 h 590169"/>
                  <a:gd name="connsiteX99" fmla="*/ 525780 w 3649028"/>
                  <a:gd name="connsiteY99" fmla="*/ 339662 h 590169"/>
                  <a:gd name="connsiteX100" fmla="*/ 525780 w 3649028"/>
                  <a:gd name="connsiteY100" fmla="*/ 345758 h 590169"/>
                  <a:gd name="connsiteX101" fmla="*/ 532162 w 3649028"/>
                  <a:gd name="connsiteY101" fmla="*/ 345758 h 590169"/>
                  <a:gd name="connsiteX102" fmla="*/ 532162 w 3649028"/>
                  <a:gd name="connsiteY102" fmla="*/ 351854 h 590169"/>
                  <a:gd name="connsiteX103" fmla="*/ 540544 w 3649028"/>
                  <a:gd name="connsiteY103" fmla="*/ 351854 h 590169"/>
                  <a:gd name="connsiteX104" fmla="*/ 540544 w 3649028"/>
                  <a:gd name="connsiteY104" fmla="*/ 357855 h 590169"/>
                  <a:gd name="connsiteX105" fmla="*/ 548926 w 3649028"/>
                  <a:gd name="connsiteY105" fmla="*/ 357855 h 590169"/>
                  <a:gd name="connsiteX106" fmla="*/ 548926 w 3649028"/>
                  <a:gd name="connsiteY106" fmla="*/ 363951 h 590169"/>
                  <a:gd name="connsiteX107" fmla="*/ 553117 w 3649028"/>
                  <a:gd name="connsiteY107" fmla="*/ 363951 h 590169"/>
                  <a:gd name="connsiteX108" fmla="*/ 553117 w 3649028"/>
                  <a:gd name="connsiteY108" fmla="*/ 370047 h 590169"/>
                  <a:gd name="connsiteX109" fmla="*/ 626745 w 3649028"/>
                  <a:gd name="connsiteY109" fmla="*/ 370047 h 590169"/>
                  <a:gd name="connsiteX110" fmla="*/ 626745 w 3649028"/>
                  <a:gd name="connsiteY110" fmla="*/ 376047 h 590169"/>
                  <a:gd name="connsiteX111" fmla="*/ 647795 w 3649028"/>
                  <a:gd name="connsiteY111" fmla="*/ 376047 h 590169"/>
                  <a:gd name="connsiteX112" fmla="*/ 647795 w 3649028"/>
                  <a:gd name="connsiteY112" fmla="*/ 382143 h 590169"/>
                  <a:gd name="connsiteX113" fmla="*/ 654082 w 3649028"/>
                  <a:gd name="connsiteY113" fmla="*/ 382143 h 590169"/>
                  <a:gd name="connsiteX114" fmla="*/ 654082 w 3649028"/>
                  <a:gd name="connsiteY114" fmla="*/ 388239 h 590169"/>
                  <a:gd name="connsiteX115" fmla="*/ 696182 w 3649028"/>
                  <a:gd name="connsiteY115" fmla="*/ 388239 h 590169"/>
                  <a:gd name="connsiteX116" fmla="*/ 696182 w 3649028"/>
                  <a:gd name="connsiteY116" fmla="*/ 394240 h 590169"/>
                  <a:gd name="connsiteX117" fmla="*/ 710851 w 3649028"/>
                  <a:gd name="connsiteY117" fmla="*/ 394240 h 590169"/>
                  <a:gd name="connsiteX118" fmla="*/ 710851 w 3649028"/>
                  <a:gd name="connsiteY118" fmla="*/ 400336 h 590169"/>
                  <a:gd name="connsiteX119" fmla="*/ 740378 w 3649028"/>
                  <a:gd name="connsiteY119" fmla="*/ 400336 h 590169"/>
                  <a:gd name="connsiteX120" fmla="*/ 740378 w 3649028"/>
                  <a:gd name="connsiteY120" fmla="*/ 406432 h 590169"/>
                  <a:gd name="connsiteX121" fmla="*/ 742474 w 3649028"/>
                  <a:gd name="connsiteY121" fmla="*/ 406432 h 590169"/>
                  <a:gd name="connsiteX122" fmla="*/ 742474 w 3649028"/>
                  <a:gd name="connsiteY122" fmla="*/ 412433 h 590169"/>
                  <a:gd name="connsiteX123" fmla="*/ 765524 w 3649028"/>
                  <a:gd name="connsiteY123" fmla="*/ 412433 h 590169"/>
                  <a:gd name="connsiteX124" fmla="*/ 765524 w 3649028"/>
                  <a:gd name="connsiteY124" fmla="*/ 418529 h 590169"/>
                  <a:gd name="connsiteX125" fmla="*/ 778193 w 3649028"/>
                  <a:gd name="connsiteY125" fmla="*/ 418529 h 590169"/>
                  <a:gd name="connsiteX126" fmla="*/ 778193 w 3649028"/>
                  <a:gd name="connsiteY126" fmla="*/ 424625 h 590169"/>
                  <a:gd name="connsiteX127" fmla="*/ 813911 w 3649028"/>
                  <a:gd name="connsiteY127" fmla="*/ 424625 h 590169"/>
                  <a:gd name="connsiteX128" fmla="*/ 813911 w 3649028"/>
                  <a:gd name="connsiteY128" fmla="*/ 430721 h 590169"/>
                  <a:gd name="connsiteX129" fmla="*/ 929640 w 3649028"/>
                  <a:gd name="connsiteY129" fmla="*/ 430721 h 590169"/>
                  <a:gd name="connsiteX130" fmla="*/ 929640 w 3649028"/>
                  <a:gd name="connsiteY130" fmla="*/ 436722 h 590169"/>
                  <a:gd name="connsiteX131" fmla="*/ 967454 w 3649028"/>
                  <a:gd name="connsiteY131" fmla="*/ 436722 h 590169"/>
                  <a:gd name="connsiteX132" fmla="*/ 967454 w 3649028"/>
                  <a:gd name="connsiteY132" fmla="*/ 442913 h 590169"/>
                  <a:gd name="connsiteX133" fmla="*/ 1020032 w 3649028"/>
                  <a:gd name="connsiteY133" fmla="*/ 442913 h 590169"/>
                  <a:gd name="connsiteX134" fmla="*/ 1020032 w 3649028"/>
                  <a:gd name="connsiteY134" fmla="*/ 449009 h 590169"/>
                  <a:gd name="connsiteX135" fmla="*/ 1038987 w 3649028"/>
                  <a:gd name="connsiteY135" fmla="*/ 449009 h 590169"/>
                  <a:gd name="connsiteX136" fmla="*/ 1038987 w 3649028"/>
                  <a:gd name="connsiteY136" fmla="*/ 455105 h 590169"/>
                  <a:gd name="connsiteX137" fmla="*/ 1049465 w 3649028"/>
                  <a:gd name="connsiteY137" fmla="*/ 455105 h 590169"/>
                  <a:gd name="connsiteX138" fmla="*/ 1049465 w 3649028"/>
                  <a:gd name="connsiteY138" fmla="*/ 461296 h 590169"/>
                  <a:gd name="connsiteX139" fmla="*/ 1083183 w 3649028"/>
                  <a:gd name="connsiteY139" fmla="*/ 461296 h 590169"/>
                  <a:gd name="connsiteX140" fmla="*/ 1083183 w 3649028"/>
                  <a:gd name="connsiteY140" fmla="*/ 467392 h 590169"/>
                  <a:gd name="connsiteX141" fmla="*/ 1089470 w 3649028"/>
                  <a:gd name="connsiteY141" fmla="*/ 467392 h 590169"/>
                  <a:gd name="connsiteX142" fmla="*/ 1089470 w 3649028"/>
                  <a:gd name="connsiteY142" fmla="*/ 473488 h 590169"/>
                  <a:gd name="connsiteX143" fmla="*/ 1104138 w 3649028"/>
                  <a:gd name="connsiteY143" fmla="*/ 473488 h 590169"/>
                  <a:gd name="connsiteX144" fmla="*/ 1104138 w 3649028"/>
                  <a:gd name="connsiteY144" fmla="*/ 479584 h 590169"/>
                  <a:gd name="connsiteX145" fmla="*/ 1116806 w 3649028"/>
                  <a:gd name="connsiteY145" fmla="*/ 479584 h 590169"/>
                  <a:gd name="connsiteX146" fmla="*/ 1116806 w 3649028"/>
                  <a:gd name="connsiteY146" fmla="*/ 485775 h 590169"/>
                  <a:gd name="connsiteX147" fmla="*/ 1142048 w 3649028"/>
                  <a:gd name="connsiteY147" fmla="*/ 485775 h 590169"/>
                  <a:gd name="connsiteX148" fmla="*/ 1142048 w 3649028"/>
                  <a:gd name="connsiteY148" fmla="*/ 491871 h 590169"/>
                  <a:gd name="connsiteX149" fmla="*/ 1371314 w 3649028"/>
                  <a:gd name="connsiteY149" fmla="*/ 491871 h 590169"/>
                  <a:gd name="connsiteX150" fmla="*/ 1371314 w 3649028"/>
                  <a:gd name="connsiteY150" fmla="*/ 498063 h 590169"/>
                  <a:gd name="connsiteX151" fmla="*/ 1484852 w 3649028"/>
                  <a:gd name="connsiteY151" fmla="*/ 498063 h 590169"/>
                  <a:gd name="connsiteX152" fmla="*/ 1484852 w 3649028"/>
                  <a:gd name="connsiteY152" fmla="*/ 504254 h 590169"/>
                  <a:gd name="connsiteX153" fmla="*/ 1754029 w 3649028"/>
                  <a:gd name="connsiteY153" fmla="*/ 504254 h 590169"/>
                  <a:gd name="connsiteX154" fmla="*/ 1754029 w 3649028"/>
                  <a:gd name="connsiteY154" fmla="*/ 510540 h 590169"/>
                  <a:gd name="connsiteX155" fmla="*/ 1827657 w 3649028"/>
                  <a:gd name="connsiteY155" fmla="*/ 510540 h 590169"/>
                  <a:gd name="connsiteX156" fmla="*/ 1827657 w 3649028"/>
                  <a:gd name="connsiteY156" fmla="*/ 516827 h 590169"/>
                  <a:gd name="connsiteX157" fmla="*/ 1907572 w 3649028"/>
                  <a:gd name="connsiteY157" fmla="*/ 516827 h 590169"/>
                  <a:gd name="connsiteX158" fmla="*/ 1907572 w 3649028"/>
                  <a:gd name="connsiteY158" fmla="*/ 523113 h 590169"/>
                  <a:gd name="connsiteX159" fmla="*/ 2069497 w 3649028"/>
                  <a:gd name="connsiteY159" fmla="*/ 523113 h 590169"/>
                  <a:gd name="connsiteX160" fmla="*/ 2069497 w 3649028"/>
                  <a:gd name="connsiteY160" fmla="*/ 529590 h 590169"/>
                  <a:gd name="connsiteX161" fmla="*/ 2086356 w 3649028"/>
                  <a:gd name="connsiteY161" fmla="*/ 529590 h 590169"/>
                  <a:gd name="connsiteX162" fmla="*/ 2086356 w 3649028"/>
                  <a:gd name="connsiteY162" fmla="*/ 535972 h 590169"/>
                  <a:gd name="connsiteX163" fmla="*/ 2204180 w 3649028"/>
                  <a:gd name="connsiteY163" fmla="*/ 535972 h 590169"/>
                  <a:gd name="connsiteX164" fmla="*/ 2204180 w 3649028"/>
                  <a:gd name="connsiteY164" fmla="*/ 542449 h 590169"/>
                  <a:gd name="connsiteX165" fmla="*/ 2296668 w 3649028"/>
                  <a:gd name="connsiteY165" fmla="*/ 542449 h 590169"/>
                  <a:gd name="connsiteX166" fmla="*/ 2296668 w 3649028"/>
                  <a:gd name="connsiteY166" fmla="*/ 548831 h 590169"/>
                  <a:gd name="connsiteX167" fmla="*/ 2315623 w 3649028"/>
                  <a:gd name="connsiteY167" fmla="*/ 548831 h 590169"/>
                  <a:gd name="connsiteX168" fmla="*/ 2315623 w 3649028"/>
                  <a:gd name="connsiteY168" fmla="*/ 555308 h 590169"/>
                  <a:gd name="connsiteX169" fmla="*/ 3169444 w 3649028"/>
                  <a:gd name="connsiteY169" fmla="*/ 555308 h 590169"/>
                  <a:gd name="connsiteX170" fmla="*/ 3169444 w 3649028"/>
                  <a:gd name="connsiteY170" fmla="*/ 590169 h 590169"/>
                  <a:gd name="connsiteX171" fmla="*/ 3649028 w 3649028"/>
                  <a:gd name="connsiteY171" fmla="*/ 590169 h 590169"/>
                  <a:gd name="connsiteX0" fmla="*/ 0 w 3638455"/>
                  <a:gd name="connsiteY0" fmla="*/ 0 h 590169"/>
                  <a:gd name="connsiteX1" fmla="*/ 0 w 3638455"/>
                  <a:gd name="connsiteY1" fmla="*/ 6001 h 590169"/>
                  <a:gd name="connsiteX2" fmla="*/ 50482 w 3638455"/>
                  <a:gd name="connsiteY2" fmla="*/ 6001 h 590169"/>
                  <a:gd name="connsiteX3" fmla="*/ 50482 w 3638455"/>
                  <a:gd name="connsiteY3" fmla="*/ 12097 h 590169"/>
                  <a:gd name="connsiteX4" fmla="*/ 58864 w 3638455"/>
                  <a:gd name="connsiteY4" fmla="*/ 12097 h 590169"/>
                  <a:gd name="connsiteX5" fmla="*/ 58864 w 3638455"/>
                  <a:gd name="connsiteY5" fmla="*/ 24194 h 590169"/>
                  <a:gd name="connsiteX6" fmla="*/ 65151 w 3638455"/>
                  <a:gd name="connsiteY6" fmla="*/ 24194 h 590169"/>
                  <a:gd name="connsiteX7" fmla="*/ 65151 w 3638455"/>
                  <a:gd name="connsiteY7" fmla="*/ 30290 h 590169"/>
                  <a:gd name="connsiteX8" fmla="*/ 69342 w 3638455"/>
                  <a:gd name="connsiteY8" fmla="*/ 30290 h 590169"/>
                  <a:gd name="connsiteX9" fmla="*/ 69342 w 3638455"/>
                  <a:gd name="connsiteY9" fmla="*/ 36386 h 590169"/>
                  <a:gd name="connsiteX10" fmla="*/ 73533 w 3638455"/>
                  <a:gd name="connsiteY10" fmla="*/ 36386 h 590169"/>
                  <a:gd name="connsiteX11" fmla="*/ 73533 w 3638455"/>
                  <a:gd name="connsiteY11" fmla="*/ 42482 h 590169"/>
                  <a:gd name="connsiteX12" fmla="*/ 75628 w 3638455"/>
                  <a:gd name="connsiteY12" fmla="*/ 42482 h 590169"/>
                  <a:gd name="connsiteX13" fmla="*/ 75628 w 3638455"/>
                  <a:gd name="connsiteY13" fmla="*/ 48483 h 590169"/>
                  <a:gd name="connsiteX14" fmla="*/ 77819 w 3638455"/>
                  <a:gd name="connsiteY14" fmla="*/ 48483 h 590169"/>
                  <a:gd name="connsiteX15" fmla="*/ 77819 w 3638455"/>
                  <a:gd name="connsiteY15" fmla="*/ 54579 h 590169"/>
                  <a:gd name="connsiteX16" fmla="*/ 88296 w 3638455"/>
                  <a:gd name="connsiteY16" fmla="*/ 54579 h 590169"/>
                  <a:gd name="connsiteX17" fmla="*/ 88296 w 3638455"/>
                  <a:gd name="connsiteY17" fmla="*/ 60675 h 590169"/>
                  <a:gd name="connsiteX18" fmla="*/ 94583 w 3638455"/>
                  <a:gd name="connsiteY18" fmla="*/ 60675 h 590169"/>
                  <a:gd name="connsiteX19" fmla="*/ 94583 w 3638455"/>
                  <a:gd name="connsiteY19" fmla="*/ 66675 h 590169"/>
                  <a:gd name="connsiteX20" fmla="*/ 109347 w 3638455"/>
                  <a:gd name="connsiteY20" fmla="*/ 66675 h 590169"/>
                  <a:gd name="connsiteX21" fmla="*/ 109347 w 3638455"/>
                  <a:gd name="connsiteY21" fmla="*/ 72771 h 590169"/>
                  <a:gd name="connsiteX22" fmla="*/ 117729 w 3638455"/>
                  <a:gd name="connsiteY22" fmla="*/ 72771 h 590169"/>
                  <a:gd name="connsiteX23" fmla="*/ 117729 w 3638455"/>
                  <a:gd name="connsiteY23" fmla="*/ 78867 h 590169"/>
                  <a:gd name="connsiteX24" fmla="*/ 128302 w 3638455"/>
                  <a:gd name="connsiteY24" fmla="*/ 78867 h 590169"/>
                  <a:gd name="connsiteX25" fmla="*/ 128302 w 3638455"/>
                  <a:gd name="connsiteY25" fmla="*/ 84868 h 590169"/>
                  <a:gd name="connsiteX26" fmla="*/ 140875 w 3638455"/>
                  <a:gd name="connsiteY26" fmla="*/ 84868 h 590169"/>
                  <a:gd name="connsiteX27" fmla="*/ 140875 w 3638455"/>
                  <a:gd name="connsiteY27" fmla="*/ 90964 h 590169"/>
                  <a:gd name="connsiteX28" fmla="*/ 147161 w 3638455"/>
                  <a:gd name="connsiteY28" fmla="*/ 90964 h 590169"/>
                  <a:gd name="connsiteX29" fmla="*/ 147161 w 3638455"/>
                  <a:gd name="connsiteY29" fmla="*/ 103061 h 590169"/>
                  <a:gd name="connsiteX30" fmla="*/ 151352 w 3638455"/>
                  <a:gd name="connsiteY30" fmla="*/ 103061 h 590169"/>
                  <a:gd name="connsiteX31" fmla="*/ 151352 w 3638455"/>
                  <a:gd name="connsiteY31" fmla="*/ 109157 h 590169"/>
                  <a:gd name="connsiteX32" fmla="*/ 164020 w 3638455"/>
                  <a:gd name="connsiteY32" fmla="*/ 109157 h 590169"/>
                  <a:gd name="connsiteX33" fmla="*/ 164020 w 3638455"/>
                  <a:gd name="connsiteY33" fmla="*/ 115253 h 590169"/>
                  <a:gd name="connsiteX34" fmla="*/ 178689 w 3638455"/>
                  <a:gd name="connsiteY34" fmla="*/ 115253 h 590169"/>
                  <a:gd name="connsiteX35" fmla="*/ 178689 w 3638455"/>
                  <a:gd name="connsiteY35" fmla="*/ 121254 h 590169"/>
                  <a:gd name="connsiteX36" fmla="*/ 182975 w 3638455"/>
                  <a:gd name="connsiteY36" fmla="*/ 121254 h 590169"/>
                  <a:gd name="connsiteX37" fmla="*/ 182975 w 3638455"/>
                  <a:gd name="connsiteY37" fmla="*/ 127350 h 590169"/>
                  <a:gd name="connsiteX38" fmla="*/ 193452 w 3638455"/>
                  <a:gd name="connsiteY38" fmla="*/ 127350 h 590169"/>
                  <a:gd name="connsiteX39" fmla="*/ 193452 w 3638455"/>
                  <a:gd name="connsiteY39" fmla="*/ 133446 h 590169"/>
                  <a:gd name="connsiteX40" fmla="*/ 201835 w 3638455"/>
                  <a:gd name="connsiteY40" fmla="*/ 133446 h 590169"/>
                  <a:gd name="connsiteX41" fmla="*/ 201835 w 3638455"/>
                  <a:gd name="connsiteY41" fmla="*/ 139542 h 590169"/>
                  <a:gd name="connsiteX42" fmla="*/ 216598 w 3638455"/>
                  <a:gd name="connsiteY42" fmla="*/ 139542 h 590169"/>
                  <a:gd name="connsiteX43" fmla="*/ 216598 w 3638455"/>
                  <a:gd name="connsiteY43" fmla="*/ 145542 h 590169"/>
                  <a:gd name="connsiteX44" fmla="*/ 220789 w 3638455"/>
                  <a:gd name="connsiteY44" fmla="*/ 145542 h 590169"/>
                  <a:gd name="connsiteX45" fmla="*/ 220789 w 3638455"/>
                  <a:gd name="connsiteY45" fmla="*/ 151638 h 590169"/>
                  <a:gd name="connsiteX46" fmla="*/ 224980 w 3638455"/>
                  <a:gd name="connsiteY46" fmla="*/ 151638 h 590169"/>
                  <a:gd name="connsiteX47" fmla="*/ 224980 w 3638455"/>
                  <a:gd name="connsiteY47" fmla="*/ 157734 h 590169"/>
                  <a:gd name="connsiteX48" fmla="*/ 237649 w 3638455"/>
                  <a:gd name="connsiteY48" fmla="*/ 157734 h 590169"/>
                  <a:gd name="connsiteX49" fmla="*/ 237649 w 3638455"/>
                  <a:gd name="connsiteY49" fmla="*/ 163735 h 590169"/>
                  <a:gd name="connsiteX50" fmla="*/ 267081 w 3638455"/>
                  <a:gd name="connsiteY50" fmla="*/ 163735 h 590169"/>
                  <a:gd name="connsiteX51" fmla="*/ 267081 w 3638455"/>
                  <a:gd name="connsiteY51" fmla="*/ 169831 h 590169"/>
                  <a:gd name="connsiteX52" fmla="*/ 275463 w 3638455"/>
                  <a:gd name="connsiteY52" fmla="*/ 169831 h 590169"/>
                  <a:gd name="connsiteX53" fmla="*/ 275463 w 3638455"/>
                  <a:gd name="connsiteY53" fmla="*/ 175927 h 590169"/>
                  <a:gd name="connsiteX54" fmla="*/ 277558 w 3638455"/>
                  <a:gd name="connsiteY54" fmla="*/ 175927 h 590169"/>
                  <a:gd name="connsiteX55" fmla="*/ 277558 w 3638455"/>
                  <a:gd name="connsiteY55" fmla="*/ 181928 h 590169"/>
                  <a:gd name="connsiteX56" fmla="*/ 292322 w 3638455"/>
                  <a:gd name="connsiteY56" fmla="*/ 181928 h 590169"/>
                  <a:gd name="connsiteX57" fmla="*/ 292322 w 3638455"/>
                  <a:gd name="connsiteY57" fmla="*/ 194120 h 590169"/>
                  <a:gd name="connsiteX58" fmla="*/ 294418 w 3638455"/>
                  <a:gd name="connsiteY58" fmla="*/ 194120 h 590169"/>
                  <a:gd name="connsiteX59" fmla="*/ 294418 w 3638455"/>
                  <a:gd name="connsiteY59" fmla="*/ 200121 h 590169"/>
                  <a:gd name="connsiteX60" fmla="*/ 300704 w 3638455"/>
                  <a:gd name="connsiteY60" fmla="*/ 200121 h 590169"/>
                  <a:gd name="connsiteX61" fmla="*/ 300704 w 3638455"/>
                  <a:gd name="connsiteY61" fmla="*/ 206217 h 590169"/>
                  <a:gd name="connsiteX62" fmla="*/ 304895 w 3638455"/>
                  <a:gd name="connsiteY62" fmla="*/ 206217 h 590169"/>
                  <a:gd name="connsiteX63" fmla="*/ 304895 w 3638455"/>
                  <a:gd name="connsiteY63" fmla="*/ 212313 h 590169"/>
                  <a:gd name="connsiteX64" fmla="*/ 321754 w 3638455"/>
                  <a:gd name="connsiteY64" fmla="*/ 212313 h 590169"/>
                  <a:gd name="connsiteX65" fmla="*/ 321754 w 3638455"/>
                  <a:gd name="connsiteY65" fmla="*/ 224409 h 590169"/>
                  <a:gd name="connsiteX66" fmla="*/ 325945 w 3638455"/>
                  <a:gd name="connsiteY66" fmla="*/ 224409 h 590169"/>
                  <a:gd name="connsiteX67" fmla="*/ 325945 w 3638455"/>
                  <a:gd name="connsiteY67" fmla="*/ 230505 h 590169"/>
                  <a:gd name="connsiteX68" fmla="*/ 349091 w 3638455"/>
                  <a:gd name="connsiteY68" fmla="*/ 230505 h 590169"/>
                  <a:gd name="connsiteX69" fmla="*/ 349091 w 3638455"/>
                  <a:gd name="connsiteY69" fmla="*/ 236601 h 590169"/>
                  <a:gd name="connsiteX70" fmla="*/ 353282 w 3638455"/>
                  <a:gd name="connsiteY70" fmla="*/ 236601 h 590169"/>
                  <a:gd name="connsiteX71" fmla="*/ 353282 w 3638455"/>
                  <a:gd name="connsiteY71" fmla="*/ 242602 h 590169"/>
                  <a:gd name="connsiteX72" fmla="*/ 359569 w 3638455"/>
                  <a:gd name="connsiteY72" fmla="*/ 242602 h 590169"/>
                  <a:gd name="connsiteX73" fmla="*/ 359569 w 3638455"/>
                  <a:gd name="connsiteY73" fmla="*/ 254794 h 590169"/>
                  <a:gd name="connsiteX74" fmla="*/ 378523 w 3638455"/>
                  <a:gd name="connsiteY74" fmla="*/ 254794 h 590169"/>
                  <a:gd name="connsiteX75" fmla="*/ 378523 w 3638455"/>
                  <a:gd name="connsiteY75" fmla="*/ 260795 h 590169"/>
                  <a:gd name="connsiteX76" fmla="*/ 386905 w 3638455"/>
                  <a:gd name="connsiteY76" fmla="*/ 260795 h 590169"/>
                  <a:gd name="connsiteX77" fmla="*/ 386905 w 3638455"/>
                  <a:gd name="connsiteY77" fmla="*/ 266891 h 590169"/>
                  <a:gd name="connsiteX78" fmla="*/ 399574 w 3638455"/>
                  <a:gd name="connsiteY78" fmla="*/ 266891 h 590169"/>
                  <a:gd name="connsiteX79" fmla="*/ 399574 w 3638455"/>
                  <a:gd name="connsiteY79" fmla="*/ 272987 h 590169"/>
                  <a:gd name="connsiteX80" fmla="*/ 416433 w 3638455"/>
                  <a:gd name="connsiteY80" fmla="*/ 272987 h 590169"/>
                  <a:gd name="connsiteX81" fmla="*/ 416433 w 3638455"/>
                  <a:gd name="connsiteY81" fmla="*/ 278988 h 590169"/>
                  <a:gd name="connsiteX82" fmla="*/ 443770 w 3638455"/>
                  <a:gd name="connsiteY82" fmla="*/ 278988 h 590169"/>
                  <a:gd name="connsiteX83" fmla="*/ 443770 w 3638455"/>
                  <a:gd name="connsiteY83" fmla="*/ 285084 h 590169"/>
                  <a:gd name="connsiteX84" fmla="*/ 445865 w 3638455"/>
                  <a:gd name="connsiteY84" fmla="*/ 285084 h 590169"/>
                  <a:gd name="connsiteX85" fmla="*/ 445865 w 3638455"/>
                  <a:gd name="connsiteY85" fmla="*/ 291180 h 590169"/>
                  <a:gd name="connsiteX86" fmla="*/ 456342 w 3638455"/>
                  <a:gd name="connsiteY86" fmla="*/ 291180 h 590169"/>
                  <a:gd name="connsiteX87" fmla="*/ 456342 w 3638455"/>
                  <a:gd name="connsiteY87" fmla="*/ 297180 h 590169"/>
                  <a:gd name="connsiteX88" fmla="*/ 462629 w 3638455"/>
                  <a:gd name="connsiteY88" fmla="*/ 297180 h 590169"/>
                  <a:gd name="connsiteX89" fmla="*/ 462629 w 3638455"/>
                  <a:gd name="connsiteY89" fmla="*/ 309372 h 590169"/>
                  <a:gd name="connsiteX90" fmla="*/ 471106 w 3638455"/>
                  <a:gd name="connsiteY90" fmla="*/ 309372 h 590169"/>
                  <a:gd name="connsiteX91" fmla="*/ 471106 w 3638455"/>
                  <a:gd name="connsiteY91" fmla="*/ 315373 h 590169"/>
                  <a:gd name="connsiteX92" fmla="*/ 477393 w 3638455"/>
                  <a:gd name="connsiteY92" fmla="*/ 315373 h 590169"/>
                  <a:gd name="connsiteX93" fmla="*/ 477393 w 3638455"/>
                  <a:gd name="connsiteY93" fmla="*/ 327565 h 590169"/>
                  <a:gd name="connsiteX94" fmla="*/ 479488 w 3638455"/>
                  <a:gd name="connsiteY94" fmla="*/ 327565 h 590169"/>
                  <a:gd name="connsiteX95" fmla="*/ 479488 w 3638455"/>
                  <a:gd name="connsiteY95" fmla="*/ 333661 h 590169"/>
                  <a:gd name="connsiteX96" fmla="*/ 492061 w 3638455"/>
                  <a:gd name="connsiteY96" fmla="*/ 333661 h 590169"/>
                  <a:gd name="connsiteX97" fmla="*/ 492061 w 3638455"/>
                  <a:gd name="connsiteY97" fmla="*/ 339662 h 590169"/>
                  <a:gd name="connsiteX98" fmla="*/ 515207 w 3638455"/>
                  <a:gd name="connsiteY98" fmla="*/ 339662 h 590169"/>
                  <a:gd name="connsiteX99" fmla="*/ 515207 w 3638455"/>
                  <a:gd name="connsiteY99" fmla="*/ 345758 h 590169"/>
                  <a:gd name="connsiteX100" fmla="*/ 521589 w 3638455"/>
                  <a:gd name="connsiteY100" fmla="*/ 345758 h 590169"/>
                  <a:gd name="connsiteX101" fmla="*/ 521589 w 3638455"/>
                  <a:gd name="connsiteY101" fmla="*/ 351854 h 590169"/>
                  <a:gd name="connsiteX102" fmla="*/ 529971 w 3638455"/>
                  <a:gd name="connsiteY102" fmla="*/ 351854 h 590169"/>
                  <a:gd name="connsiteX103" fmla="*/ 529971 w 3638455"/>
                  <a:gd name="connsiteY103" fmla="*/ 357855 h 590169"/>
                  <a:gd name="connsiteX104" fmla="*/ 538353 w 3638455"/>
                  <a:gd name="connsiteY104" fmla="*/ 357855 h 590169"/>
                  <a:gd name="connsiteX105" fmla="*/ 538353 w 3638455"/>
                  <a:gd name="connsiteY105" fmla="*/ 363951 h 590169"/>
                  <a:gd name="connsiteX106" fmla="*/ 542544 w 3638455"/>
                  <a:gd name="connsiteY106" fmla="*/ 363951 h 590169"/>
                  <a:gd name="connsiteX107" fmla="*/ 542544 w 3638455"/>
                  <a:gd name="connsiteY107" fmla="*/ 370047 h 590169"/>
                  <a:gd name="connsiteX108" fmla="*/ 616172 w 3638455"/>
                  <a:gd name="connsiteY108" fmla="*/ 370047 h 590169"/>
                  <a:gd name="connsiteX109" fmla="*/ 616172 w 3638455"/>
                  <a:gd name="connsiteY109" fmla="*/ 376047 h 590169"/>
                  <a:gd name="connsiteX110" fmla="*/ 637222 w 3638455"/>
                  <a:gd name="connsiteY110" fmla="*/ 376047 h 590169"/>
                  <a:gd name="connsiteX111" fmla="*/ 637222 w 3638455"/>
                  <a:gd name="connsiteY111" fmla="*/ 382143 h 590169"/>
                  <a:gd name="connsiteX112" fmla="*/ 643509 w 3638455"/>
                  <a:gd name="connsiteY112" fmla="*/ 382143 h 590169"/>
                  <a:gd name="connsiteX113" fmla="*/ 643509 w 3638455"/>
                  <a:gd name="connsiteY113" fmla="*/ 388239 h 590169"/>
                  <a:gd name="connsiteX114" fmla="*/ 685609 w 3638455"/>
                  <a:gd name="connsiteY114" fmla="*/ 388239 h 590169"/>
                  <a:gd name="connsiteX115" fmla="*/ 685609 w 3638455"/>
                  <a:gd name="connsiteY115" fmla="*/ 394240 h 590169"/>
                  <a:gd name="connsiteX116" fmla="*/ 700278 w 3638455"/>
                  <a:gd name="connsiteY116" fmla="*/ 394240 h 590169"/>
                  <a:gd name="connsiteX117" fmla="*/ 700278 w 3638455"/>
                  <a:gd name="connsiteY117" fmla="*/ 400336 h 590169"/>
                  <a:gd name="connsiteX118" fmla="*/ 729805 w 3638455"/>
                  <a:gd name="connsiteY118" fmla="*/ 400336 h 590169"/>
                  <a:gd name="connsiteX119" fmla="*/ 729805 w 3638455"/>
                  <a:gd name="connsiteY119" fmla="*/ 406432 h 590169"/>
                  <a:gd name="connsiteX120" fmla="*/ 731901 w 3638455"/>
                  <a:gd name="connsiteY120" fmla="*/ 406432 h 590169"/>
                  <a:gd name="connsiteX121" fmla="*/ 731901 w 3638455"/>
                  <a:gd name="connsiteY121" fmla="*/ 412433 h 590169"/>
                  <a:gd name="connsiteX122" fmla="*/ 754951 w 3638455"/>
                  <a:gd name="connsiteY122" fmla="*/ 412433 h 590169"/>
                  <a:gd name="connsiteX123" fmla="*/ 754951 w 3638455"/>
                  <a:gd name="connsiteY123" fmla="*/ 418529 h 590169"/>
                  <a:gd name="connsiteX124" fmla="*/ 767620 w 3638455"/>
                  <a:gd name="connsiteY124" fmla="*/ 418529 h 590169"/>
                  <a:gd name="connsiteX125" fmla="*/ 767620 w 3638455"/>
                  <a:gd name="connsiteY125" fmla="*/ 424625 h 590169"/>
                  <a:gd name="connsiteX126" fmla="*/ 803338 w 3638455"/>
                  <a:gd name="connsiteY126" fmla="*/ 424625 h 590169"/>
                  <a:gd name="connsiteX127" fmla="*/ 803338 w 3638455"/>
                  <a:gd name="connsiteY127" fmla="*/ 430721 h 590169"/>
                  <a:gd name="connsiteX128" fmla="*/ 919067 w 3638455"/>
                  <a:gd name="connsiteY128" fmla="*/ 430721 h 590169"/>
                  <a:gd name="connsiteX129" fmla="*/ 919067 w 3638455"/>
                  <a:gd name="connsiteY129" fmla="*/ 436722 h 590169"/>
                  <a:gd name="connsiteX130" fmla="*/ 956881 w 3638455"/>
                  <a:gd name="connsiteY130" fmla="*/ 436722 h 590169"/>
                  <a:gd name="connsiteX131" fmla="*/ 956881 w 3638455"/>
                  <a:gd name="connsiteY131" fmla="*/ 442913 h 590169"/>
                  <a:gd name="connsiteX132" fmla="*/ 1009459 w 3638455"/>
                  <a:gd name="connsiteY132" fmla="*/ 442913 h 590169"/>
                  <a:gd name="connsiteX133" fmla="*/ 1009459 w 3638455"/>
                  <a:gd name="connsiteY133" fmla="*/ 449009 h 590169"/>
                  <a:gd name="connsiteX134" fmla="*/ 1028414 w 3638455"/>
                  <a:gd name="connsiteY134" fmla="*/ 449009 h 590169"/>
                  <a:gd name="connsiteX135" fmla="*/ 1028414 w 3638455"/>
                  <a:gd name="connsiteY135" fmla="*/ 455105 h 590169"/>
                  <a:gd name="connsiteX136" fmla="*/ 1038892 w 3638455"/>
                  <a:gd name="connsiteY136" fmla="*/ 455105 h 590169"/>
                  <a:gd name="connsiteX137" fmla="*/ 1038892 w 3638455"/>
                  <a:gd name="connsiteY137" fmla="*/ 461296 h 590169"/>
                  <a:gd name="connsiteX138" fmla="*/ 1072610 w 3638455"/>
                  <a:gd name="connsiteY138" fmla="*/ 461296 h 590169"/>
                  <a:gd name="connsiteX139" fmla="*/ 1072610 w 3638455"/>
                  <a:gd name="connsiteY139" fmla="*/ 467392 h 590169"/>
                  <a:gd name="connsiteX140" fmla="*/ 1078897 w 3638455"/>
                  <a:gd name="connsiteY140" fmla="*/ 467392 h 590169"/>
                  <a:gd name="connsiteX141" fmla="*/ 1078897 w 3638455"/>
                  <a:gd name="connsiteY141" fmla="*/ 473488 h 590169"/>
                  <a:gd name="connsiteX142" fmla="*/ 1093565 w 3638455"/>
                  <a:gd name="connsiteY142" fmla="*/ 473488 h 590169"/>
                  <a:gd name="connsiteX143" fmla="*/ 1093565 w 3638455"/>
                  <a:gd name="connsiteY143" fmla="*/ 479584 h 590169"/>
                  <a:gd name="connsiteX144" fmla="*/ 1106233 w 3638455"/>
                  <a:gd name="connsiteY144" fmla="*/ 479584 h 590169"/>
                  <a:gd name="connsiteX145" fmla="*/ 1106233 w 3638455"/>
                  <a:gd name="connsiteY145" fmla="*/ 485775 h 590169"/>
                  <a:gd name="connsiteX146" fmla="*/ 1131475 w 3638455"/>
                  <a:gd name="connsiteY146" fmla="*/ 485775 h 590169"/>
                  <a:gd name="connsiteX147" fmla="*/ 1131475 w 3638455"/>
                  <a:gd name="connsiteY147" fmla="*/ 491871 h 590169"/>
                  <a:gd name="connsiteX148" fmla="*/ 1360741 w 3638455"/>
                  <a:gd name="connsiteY148" fmla="*/ 491871 h 590169"/>
                  <a:gd name="connsiteX149" fmla="*/ 1360741 w 3638455"/>
                  <a:gd name="connsiteY149" fmla="*/ 498063 h 590169"/>
                  <a:gd name="connsiteX150" fmla="*/ 1474279 w 3638455"/>
                  <a:gd name="connsiteY150" fmla="*/ 498063 h 590169"/>
                  <a:gd name="connsiteX151" fmla="*/ 1474279 w 3638455"/>
                  <a:gd name="connsiteY151" fmla="*/ 504254 h 590169"/>
                  <a:gd name="connsiteX152" fmla="*/ 1743456 w 3638455"/>
                  <a:gd name="connsiteY152" fmla="*/ 504254 h 590169"/>
                  <a:gd name="connsiteX153" fmla="*/ 1743456 w 3638455"/>
                  <a:gd name="connsiteY153" fmla="*/ 510540 h 590169"/>
                  <a:gd name="connsiteX154" fmla="*/ 1817084 w 3638455"/>
                  <a:gd name="connsiteY154" fmla="*/ 510540 h 590169"/>
                  <a:gd name="connsiteX155" fmla="*/ 1817084 w 3638455"/>
                  <a:gd name="connsiteY155" fmla="*/ 516827 h 590169"/>
                  <a:gd name="connsiteX156" fmla="*/ 1896999 w 3638455"/>
                  <a:gd name="connsiteY156" fmla="*/ 516827 h 590169"/>
                  <a:gd name="connsiteX157" fmla="*/ 1896999 w 3638455"/>
                  <a:gd name="connsiteY157" fmla="*/ 523113 h 590169"/>
                  <a:gd name="connsiteX158" fmla="*/ 2058924 w 3638455"/>
                  <a:gd name="connsiteY158" fmla="*/ 523113 h 590169"/>
                  <a:gd name="connsiteX159" fmla="*/ 2058924 w 3638455"/>
                  <a:gd name="connsiteY159" fmla="*/ 529590 h 590169"/>
                  <a:gd name="connsiteX160" fmla="*/ 2075783 w 3638455"/>
                  <a:gd name="connsiteY160" fmla="*/ 529590 h 590169"/>
                  <a:gd name="connsiteX161" fmla="*/ 2075783 w 3638455"/>
                  <a:gd name="connsiteY161" fmla="*/ 535972 h 590169"/>
                  <a:gd name="connsiteX162" fmla="*/ 2193607 w 3638455"/>
                  <a:gd name="connsiteY162" fmla="*/ 535972 h 590169"/>
                  <a:gd name="connsiteX163" fmla="*/ 2193607 w 3638455"/>
                  <a:gd name="connsiteY163" fmla="*/ 542449 h 590169"/>
                  <a:gd name="connsiteX164" fmla="*/ 2286095 w 3638455"/>
                  <a:gd name="connsiteY164" fmla="*/ 542449 h 590169"/>
                  <a:gd name="connsiteX165" fmla="*/ 2286095 w 3638455"/>
                  <a:gd name="connsiteY165" fmla="*/ 548831 h 590169"/>
                  <a:gd name="connsiteX166" fmla="*/ 2305050 w 3638455"/>
                  <a:gd name="connsiteY166" fmla="*/ 548831 h 590169"/>
                  <a:gd name="connsiteX167" fmla="*/ 2305050 w 3638455"/>
                  <a:gd name="connsiteY167" fmla="*/ 555308 h 590169"/>
                  <a:gd name="connsiteX168" fmla="*/ 3158871 w 3638455"/>
                  <a:gd name="connsiteY168" fmla="*/ 555308 h 590169"/>
                  <a:gd name="connsiteX169" fmla="*/ 3158871 w 3638455"/>
                  <a:gd name="connsiteY169" fmla="*/ 590169 h 590169"/>
                  <a:gd name="connsiteX170" fmla="*/ 3638455 w 3638455"/>
                  <a:gd name="connsiteY170" fmla="*/ 590169 h 590169"/>
                  <a:gd name="connsiteX0" fmla="*/ 0 w 3638455"/>
                  <a:gd name="connsiteY0" fmla="*/ 0 h 590169"/>
                  <a:gd name="connsiteX1" fmla="*/ 50482 w 3638455"/>
                  <a:gd name="connsiteY1" fmla="*/ 6001 h 590169"/>
                  <a:gd name="connsiteX2" fmla="*/ 50482 w 3638455"/>
                  <a:gd name="connsiteY2" fmla="*/ 12097 h 590169"/>
                  <a:gd name="connsiteX3" fmla="*/ 58864 w 3638455"/>
                  <a:gd name="connsiteY3" fmla="*/ 12097 h 590169"/>
                  <a:gd name="connsiteX4" fmla="*/ 58864 w 3638455"/>
                  <a:gd name="connsiteY4" fmla="*/ 24194 h 590169"/>
                  <a:gd name="connsiteX5" fmla="*/ 65151 w 3638455"/>
                  <a:gd name="connsiteY5" fmla="*/ 24194 h 590169"/>
                  <a:gd name="connsiteX6" fmla="*/ 65151 w 3638455"/>
                  <a:gd name="connsiteY6" fmla="*/ 30290 h 590169"/>
                  <a:gd name="connsiteX7" fmla="*/ 69342 w 3638455"/>
                  <a:gd name="connsiteY7" fmla="*/ 30290 h 590169"/>
                  <a:gd name="connsiteX8" fmla="*/ 69342 w 3638455"/>
                  <a:gd name="connsiteY8" fmla="*/ 36386 h 590169"/>
                  <a:gd name="connsiteX9" fmla="*/ 73533 w 3638455"/>
                  <a:gd name="connsiteY9" fmla="*/ 36386 h 590169"/>
                  <a:gd name="connsiteX10" fmla="*/ 73533 w 3638455"/>
                  <a:gd name="connsiteY10" fmla="*/ 42482 h 590169"/>
                  <a:gd name="connsiteX11" fmla="*/ 75628 w 3638455"/>
                  <a:gd name="connsiteY11" fmla="*/ 42482 h 590169"/>
                  <a:gd name="connsiteX12" fmla="*/ 75628 w 3638455"/>
                  <a:gd name="connsiteY12" fmla="*/ 48483 h 590169"/>
                  <a:gd name="connsiteX13" fmla="*/ 77819 w 3638455"/>
                  <a:gd name="connsiteY13" fmla="*/ 48483 h 590169"/>
                  <a:gd name="connsiteX14" fmla="*/ 77819 w 3638455"/>
                  <a:gd name="connsiteY14" fmla="*/ 54579 h 590169"/>
                  <a:gd name="connsiteX15" fmla="*/ 88296 w 3638455"/>
                  <a:gd name="connsiteY15" fmla="*/ 54579 h 590169"/>
                  <a:gd name="connsiteX16" fmla="*/ 88296 w 3638455"/>
                  <a:gd name="connsiteY16" fmla="*/ 60675 h 590169"/>
                  <a:gd name="connsiteX17" fmla="*/ 94583 w 3638455"/>
                  <a:gd name="connsiteY17" fmla="*/ 60675 h 590169"/>
                  <a:gd name="connsiteX18" fmla="*/ 94583 w 3638455"/>
                  <a:gd name="connsiteY18" fmla="*/ 66675 h 590169"/>
                  <a:gd name="connsiteX19" fmla="*/ 109347 w 3638455"/>
                  <a:gd name="connsiteY19" fmla="*/ 66675 h 590169"/>
                  <a:gd name="connsiteX20" fmla="*/ 109347 w 3638455"/>
                  <a:gd name="connsiteY20" fmla="*/ 72771 h 590169"/>
                  <a:gd name="connsiteX21" fmla="*/ 117729 w 3638455"/>
                  <a:gd name="connsiteY21" fmla="*/ 72771 h 590169"/>
                  <a:gd name="connsiteX22" fmla="*/ 117729 w 3638455"/>
                  <a:gd name="connsiteY22" fmla="*/ 78867 h 590169"/>
                  <a:gd name="connsiteX23" fmla="*/ 128302 w 3638455"/>
                  <a:gd name="connsiteY23" fmla="*/ 78867 h 590169"/>
                  <a:gd name="connsiteX24" fmla="*/ 128302 w 3638455"/>
                  <a:gd name="connsiteY24" fmla="*/ 84868 h 590169"/>
                  <a:gd name="connsiteX25" fmla="*/ 140875 w 3638455"/>
                  <a:gd name="connsiteY25" fmla="*/ 84868 h 590169"/>
                  <a:gd name="connsiteX26" fmla="*/ 140875 w 3638455"/>
                  <a:gd name="connsiteY26" fmla="*/ 90964 h 590169"/>
                  <a:gd name="connsiteX27" fmla="*/ 147161 w 3638455"/>
                  <a:gd name="connsiteY27" fmla="*/ 90964 h 590169"/>
                  <a:gd name="connsiteX28" fmla="*/ 147161 w 3638455"/>
                  <a:gd name="connsiteY28" fmla="*/ 103061 h 590169"/>
                  <a:gd name="connsiteX29" fmla="*/ 151352 w 3638455"/>
                  <a:gd name="connsiteY29" fmla="*/ 103061 h 590169"/>
                  <a:gd name="connsiteX30" fmla="*/ 151352 w 3638455"/>
                  <a:gd name="connsiteY30" fmla="*/ 109157 h 590169"/>
                  <a:gd name="connsiteX31" fmla="*/ 164020 w 3638455"/>
                  <a:gd name="connsiteY31" fmla="*/ 109157 h 590169"/>
                  <a:gd name="connsiteX32" fmla="*/ 164020 w 3638455"/>
                  <a:gd name="connsiteY32" fmla="*/ 115253 h 590169"/>
                  <a:gd name="connsiteX33" fmla="*/ 178689 w 3638455"/>
                  <a:gd name="connsiteY33" fmla="*/ 115253 h 590169"/>
                  <a:gd name="connsiteX34" fmla="*/ 178689 w 3638455"/>
                  <a:gd name="connsiteY34" fmla="*/ 121254 h 590169"/>
                  <a:gd name="connsiteX35" fmla="*/ 182975 w 3638455"/>
                  <a:gd name="connsiteY35" fmla="*/ 121254 h 590169"/>
                  <a:gd name="connsiteX36" fmla="*/ 182975 w 3638455"/>
                  <a:gd name="connsiteY36" fmla="*/ 127350 h 590169"/>
                  <a:gd name="connsiteX37" fmla="*/ 193452 w 3638455"/>
                  <a:gd name="connsiteY37" fmla="*/ 127350 h 590169"/>
                  <a:gd name="connsiteX38" fmla="*/ 193452 w 3638455"/>
                  <a:gd name="connsiteY38" fmla="*/ 133446 h 590169"/>
                  <a:gd name="connsiteX39" fmla="*/ 201835 w 3638455"/>
                  <a:gd name="connsiteY39" fmla="*/ 133446 h 590169"/>
                  <a:gd name="connsiteX40" fmla="*/ 201835 w 3638455"/>
                  <a:gd name="connsiteY40" fmla="*/ 139542 h 590169"/>
                  <a:gd name="connsiteX41" fmla="*/ 216598 w 3638455"/>
                  <a:gd name="connsiteY41" fmla="*/ 139542 h 590169"/>
                  <a:gd name="connsiteX42" fmla="*/ 216598 w 3638455"/>
                  <a:gd name="connsiteY42" fmla="*/ 145542 h 590169"/>
                  <a:gd name="connsiteX43" fmla="*/ 220789 w 3638455"/>
                  <a:gd name="connsiteY43" fmla="*/ 145542 h 590169"/>
                  <a:gd name="connsiteX44" fmla="*/ 220789 w 3638455"/>
                  <a:gd name="connsiteY44" fmla="*/ 151638 h 590169"/>
                  <a:gd name="connsiteX45" fmla="*/ 224980 w 3638455"/>
                  <a:gd name="connsiteY45" fmla="*/ 151638 h 590169"/>
                  <a:gd name="connsiteX46" fmla="*/ 224980 w 3638455"/>
                  <a:gd name="connsiteY46" fmla="*/ 157734 h 590169"/>
                  <a:gd name="connsiteX47" fmla="*/ 237649 w 3638455"/>
                  <a:gd name="connsiteY47" fmla="*/ 157734 h 590169"/>
                  <a:gd name="connsiteX48" fmla="*/ 237649 w 3638455"/>
                  <a:gd name="connsiteY48" fmla="*/ 163735 h 590169"/>
                  <a:gd name="connsiteX49" fmla="*/ 267081 w 3638455"/>
                  <a:gd name="connsiteY49" fmla="*/ 163735 h 590169"/>
                  <a:gd name="connsiteX50" fmla="*/ 267081 w 3638455"/>
                  <a:gd name="connsiteY50" fmla="*/ 169831 h 590169"/>
                  <a:gd name="connsiteX51" fmla="*/ 275463 w 3638455"/>
                  <a:gd name="connsiteY51" fmla="*/ 169831 h 590169"/>
                  <a:gd name="connsiteX52" fmla="*/ 275463 w 3638455"/>
                  <a:gd name="connsiteY52" fmla="*/ 175927 h 590169"/>
                  <a:gd name="connsiteX53" fmla="*/ 277558 w 3638455"/>
                  <a:gd name="connsiteY53" fmla="*/ 175927 h 590169"/>
                  <a:gd name="connsiteX54" fmla="*/ 277558 w 3638455"/>
                  <a:gd name="connsiteY54" fmla="*/ 181928 h 590169"/>
                  <a:gd name="connsiteX55" fmla="*/ 292322 w 3638455"/>
                  <a:gd name="connsiteY55" fmla="*/ 181928 h 590169"/>
                  <a:gd name="connsiteX56" fmla="*/ 292322 w 3638455"/>
                  <a:gd name="connsiteY56" fmla="*/ 194120 h 590169"/>
                  <a:gd name="connsiteX57" fmla="*/ 294418 w 3638455"/>
                  <a:gd name="connsiteY57" fmla="*/ 194120 h 590169"/>
                  <a:gd name="connsiteX58" fmla="*/ 294418 w 3638455"/>
                  <a:gd name="connsiteY58" fmla="*/ 200121 h 590169"/>
                  <a:gd name="connsiteX59" fmla="*/ 300704 w 3638455"/>
                  <a:gd name="connsiteY59" fmla="*/ 200121 h 590169"/>
                  <a:gd name="connsiteX60" fmla="*/ 300704 w 3638455"/>
                  <a:gd name="connsiteY60" fmla="*/ 206217 h 590169"/>
                  <a:gd name="connsiteX61" fmla="*/ 304895 w 3638455"/>
                  <a:gd name="connsiteY61" fmla="*/ 206217 h 590169"/>
                  <a:gd name="connsiteX62" fmla="*/ 304895 w 3638455"/>
                  <a:gd name="connsiteY62" fmla="*/ 212313 h 590169"/>
                  <a:gd name="connsiteX63" fmla="*/ 321754 w 3638455"/>
                  <a:gd name="connsiteY63" fmla="*/ 212313 h 590169"/>
                  <a:gd name="connsiteX64" fmla="*/ 321754 w 3638455"/>
                  <a:gd name="connsiteY64" fmla="*/ 224409 h 590169"/>
                  <a:gd name="connsiteX65" fmla="*/ 325945 w 3638455"/>
                  <a:gd name="connsiteY65" fmla="*/ 224409 h 590169"/>
                  <a:gd name="connsiteX66" fmla="*/ 325945 w 3638455"/>
                  <a:gd name="connsiteY66" fmla="*/ 230505 h 590169"/>
                  <a:gd name="connsiteX67" fmla="*/ 349091 w 3638455"/>
                  <a:gd name="connsiteY67" fmla="*/ 230505 h 590169"/>
                  <a:gd name="connsiteX68" fmla="*/ 349091 w 3638455"/>
                  <a:gd name="connsiteY68" fmla="*/ 236601 h 590169"/>
                  <a:gd name="connsiteX69" fmla="*/ 353282 w 3638455"/>
                  <a:gd name="connsiteY69" fmla="*/ 236601 h 590169"/>
                  <a:gd name="connsiteX70" fmla="*/ 353282 w 3638455"/>
                  <a:gd name="connsiteY70" fmla="*/ 242602 h 590169"/>
                  <a:gd name="connsiteX71" fmla="*/ 359569 w 3638455"/>
                  <a:gd name="connsiteY71" fmla="*/ 242602 h 590169"/>
                  <a:gd name="connsiteX72" fmla="*/ 359569 w 3638455"/>
                  <a:gd name="connsiteY72" fmla="*/ 254794 h 590169"/>
                  <a:gd name="connsiteX73" fmla="*/ 378523 w 3638455"/>
                  <a:gd name="connsiteY73" fmla="*/ 254794 h 590169"/>
                  <a:gd name="connsiteX74" fmla="*/ 378523 w 3638455"/>
                  <a:gd name="connsiteY74" fmla="*/ 260795 h 590169"/>
                  <a:gd name="connsiteX75" fmla="*/ 386905 w 3638455"/>
                  <a:gd name="connsiteY75" fmla="*/ 260795 h 590169"/>
                  <a:gd name="connsiteX76" fmla="*/ 386905 w 3638455"/>
                  <a:gd name="connsiteY76" fmla="*/ 266891 h 590169"/>
                  <a:gd name="connsiteX77" fmla="*/ 399574 w 3638455"/>
                  <a:gd name="connsiteY77" fmla="*/ 266891 h 590169"/>
                  <a:gd name="connsiteX78" fmla="*/ 399574 w 3638455"/>
                  <a:gd name="connsiteY78" fmla="*/ 272987 h 590169"/>
                  <a:gd name="connsiteX79" fmla="*/ 416433 w 3638455"/>
                  <a:gd name="connsiteY79" fmla="*/ 272987 h 590169"/>
                  <a:gd name="connsiteX80" fmla="*/ 416433 w 3638455"/>
                  <a:gd name="connsiteY80" fmla="*/ 278988 h 590169"/>
                  <a:gd name="connsiteX81" fmla="*/ 443770 w 3638455"/>
                  <a:gd name="connsiteY81" fmla="*/ 278988 h 590169"/>
                  <a:gd name="connsiteX82" fmla="*/ 443770 w 3638455"/>
                  <a:gd name="connsiteY82" fmla="*/ 285084 h 590169"/>
                  <a:gd name="connsiteX83" fmla="*/ 445865 w 3638455"/>
                  <a:gd name="connsiteY83" fmla="*/ 285084 h 590169"/>
                  <a:gd name="connsiteX84" fmla="*/ 445865 w 3638455"/>
                  <a:gd name="connsiteY84" fmla="*/ 291180 h 590169"/>
                  <a:gd name="connsiteX85" fmla="*/ 456342 w 3638455"/>
                  <a:gd name="connsiteY85" fmla="*/ 291180 h 590169"/>
                  <a:gd name="connsiteX86" fmla="*/ 456342 w 3638455"/>
                  <a:gd name="connsiteY86" fmla="*/ 297180 h 590169"/>
                  <a:gd name="connsiteX87" fmla="*/ 462629 w 3638455"/>
                  <a:gd name="connsiteY87" fmla="*/ 297180 h 590169"/>
                  <a:gd name="connsiteX88" fmla="*/ 462629 w 3638455"/>
                  <a:gd name="connsiteY88" fmla="*/ 309372 h 590169"/>
                  <a:gd name="connsiteX89" fmla="*/ 471106 w 3638455"/>
                  <a:gd name="connsiteY89" fmla="*/ 309372 h 590169"/>
                  <a:gd name="connsiteX90" fmla="*/ 471106 w 3638455"/>
                  <a:gd name="connsiteY90" fmla="*/ 315373 h 590169"/>
                  <a:gd name="connsiteX91" fmla="*/ 477393 w 3638455"/>
                  <a:gd name="connsiteY91" fmla="*/ 315373 h 590169"/>
                  <a:gd name="connsiteX92" fmla="*/ 477393 w 3638455"/>
                  <a:gd name="connsiteY92" fmla="*/ 327565 h 590169"/>
                  <a:gd name="connsiteX93" fmla="*/ 479488 w 3638455"/>
                  <a:gd name="connsiteY93" fmla="*/ 327565 h 590169"/>
                  <a:gd name="connsiteX94" fmla="*/ 479488 w 3638455"/>
                  <a:gd name="connsiteY94" fmla="*/ 333661 h 590169"/>
                  <a:gd name="connsiteX95" fmla="*/ 492061 w 3638455"/>
                  <a:gd name="connsiteY95" fmla="*/ 333661 h 590169"/>
                  <a:gd name="connsiteX96" fmla="*/ 492061 w 3638455"/>
                  <a:gd name="connsiteY96" fmla="*/ 339662 h 590169"/>
                  <a:gd name="connsiteX97" fmla="*/ 515207 w 3638455"/>
                  <a:gd name="connsiteY97" fmla="*/ 339662 h 590169"/>
                  <a:gd name="connsiteX98" fmla="*/ 515207 w 3638455"/>
                  <a:gd name="connsiteY98" fmla="*/ 345758 h 590169"/>
                  <a:gd name="connsiteX99" fmla="*/ 521589 w 3638455"/>
                  <a:gd name="connsiteY99" fmla="*/ 345758 h 590169"/>
                  <a:gd name="connsiteX100" fmla="*/ 521589 w 3638455"/>
                  <a:gd name="connsiteY100" fmla="*/ 351854 h 590169"/>
                  <a:gd name="connsiteX101" fmla="*/ 529971 w 3638455"/>
                  <a:gd name="connsiteY101" fmla="*/ 351854 h 590169"/>
                  <a:gd name="connsiteX102" fmla="*/ 529971 w 3638455"/>
                  <a:gd name="connsiteY102" fmla="*/ 357855 h 590169"/>
                  <a:gd name="connsiteX103" fmla="*/ 538353 w 3638455"/>
                  <a:gd name="connsiteY103" fmla="*/ 357855 h 590169"/>
                  <a:gd name="connsiteX104" fmla="*/ 538353 w 3638455"/>
                  <a:gd name="connsiteY104" fmla="*/ 363951 h 590169"/>
                  <a:gd name="connsiteX105" fmla="*/ 542544 w 3638455"/>
                  <a:gd name="connsiteY105" fmla="*/ 363951 h 590169"/>
                  <a:gd name="connsiteX106" fmla="*/ 542544 w 3638455"/>
                  <a:gd name="connsiteY106" fmla="*/ 370047 h 590169"/>
                  <a:gd name="connsiteX107" fmla="*/ 616172 w 3638455"/>
                  <a:gd name="connsiteY107" fmla="*/ 370047 h 590169"/>
                  <a:gd name="connsiteX108" fmla="*/ 616172 w 3638455"/>
                  <a:gd name="connsiteY108" fmla="*/ 376047 h 590169"/>
                  <a:gd name="connsiteX109" fmla="*/ 637222 w 3638455"/>
                  <a:gd name="connsiteY109" fmla="*/ 376047 h 590169"/>
                  <a:gd name="connsiteX110" fmla="*/ 637222 w 3638455"/>
                  <a:gd name="connsiteY110" fmla="*/ 382143 h 590169"/>
                  <a:gd name="connsiteX111" fmla="*/ 643509 w 3638455"/>
                  <a:gd name="connsiteY111" fmla="*/ 382143 h 590169"/>
                  <a:gd name="connsiteX112" fmla="*/ 643509 w 3638455"/>
                  <a:gd name="connsiteY112" fmla="*/ 388239 h 590169"/>
                  <a:gd name="connsiteX113" fmla="*/ 685609 w 3638455"/>
                  <a:gd name="connsiteY113" fmla="*/ 388239 h 590169"/>
                  <a:gd name="connsiteX114" fmla="*/ 685609 w 3638455"/>
                  <a:gd name="connsiteY114" fmla="*/ 394240 h 590169"/>
                  <a:gd name="connsiteX115" fmla="*/ 700278 w 3638455"/>
                  <a:gd name="connsiteY115" fmla="*/ 394240 h 590169"/>
                  <a:gd name="connsiteX116" fmla="*/ 700278 w 3638455"/>
                  <a:gd name="connsiteY116" fmla="*/ 400336 h 590169"/>
                  <a:gd name="connsiteX117" fmla="*/ 729805 w 3638455"/>
                  <a:gd name="connsiteY117" fmla="*/ 400336 h 590169"/>
                  <a:gd name="connsiteX118" fmla="*/ 729805 w 3638455"/>
                  <a:gd name="connsiteY118" fmla="*/ 406432 h 590169"/>
                  <a:gd name="connsiteX119" fmla="*/ 731901 w 3638455"/>
                  <a:gd name="connsiteY119" fmla="*/ 406432 h 590169"/>
                  <a:gd name="connsiteX120" fmla="*/ 731901 w 3638455"/>
                  <a:gd name="connsiteY120" fmla="*/ 412433 h 590169"/>
                  <a:gd name="connsiteX121" fmla="*/ 754951 w 3638455"/>
                  <a:gd name="connsiteY121" fmla="*/ 412433 h 590169"/>
                  <a:gd name="connsiteX122" fmla="*/ 754951 w 3638455"/>
                  <a:gd name="connsiteY122" fmla="*/ 418529 h 590169"/>
                  <a:gd name="connsiteX123" fmla="*/ 767620 w 3638455"/>
                  <a:gd name="connsiteY123" fmla="*/ 418529 h 590169"/>
                  <a:gd name="connsiteX124" fmla="*/ 767620 w 3638455"/>
                  <a:gd name="connsiteY124" fmla="*/ 424625 h 590169"/>
                  <a:gd name="connsiteX125" fmla="*/ 803338 w 3638455"/>
                  <a:gd name="connsiteY125" fmla="*/ 424625 h 590169"/>
                  <a:gd name="connsiteX126" fmla="*/ 803338 w 3638455"/>
                  <a:gd name="connsiteY126" fmla="*/ 430721 h 590169"/>
                  <a:gd name="connsiteX127" fmla="*/ 919067 w 3638455"/>
                  <a:gd name="connsiteY127" fmla="*/ 430721 h 590169"/>
                  <a:gd name="connsiteX128" fmla="*/ 919067 w 3638455"/>
                  <a:gd name="connsiteY128" fmla="*/ 436722 h 590169"/>
                  <a:gd name="connsiteX129" fmla="*/ 956881 w 3638455"/>
                  <a:gd name="connsiteY129" fmla="*/ 436722 h 590169"/>
                  <a:gd name="connsiteX130" fmla="*/ 956881 w 3638455"/>
                  <a:gd name="connsiteY130" fmla="*/ 442913 h 590169"/>
                  <a:gd name="connsiteX131" fmla="*/ 1009459 w 3638455"/>
                  <a:gd name="connsiteY131" fmla="*/ 442913 h 590169"/>
                  <a:gd name="connsiteX132" fmla="*/ 1009459 w 3638455"/>
                  <a:gd name="connsiteY132" fmla="*/ 449009 h 590169"/>
                  <a:gd name="connsiteX133" fmla="*/ 1028414 w 3638455"/>
                  <a:gd name="connsiteY133" fmla="*/ 449009 h 590169"/>
                  <a:gd name="connsiteX134" fmla="*/ 1028414 w 3638455"/>
                  <a:gd name="connsiteY134" fmla="*/ 455105 h 590169"/>
                  <a:gd name="connsiteX135" fmla="*/ 1038892 w 3638455"/>
                  <a:gd name="connsiteY135" fmla="*/ 455105 h 590169"/>
                  <a:gd name="connsiteX136" fmla="*/ 1038892 w 3638455"/>
                  <a:gd name="connsiteY136" fmla="*/ 461296 h 590169"/>
                  <a:gd name="connsiteX137" fmla="*/ 1072610 w 3638455"/>
                  <a:gd name="connsiteY137" fmla="*/ 461296 h 590169"/>
                  <a:gd name="connsiteX138" fmla="*/ 1072610 w 3638455"/>
                  <a:gd name="connsiteY138" fmla="*/ 467392 h 590169"/>
                  <a:gd name="connsiteX139" fmla="*/ 1078897 w 3638455"/>
                  <a:gd name="connsiteY139" fmla="*/ 467392 h 590169"/>
                  <a:gd name="connsiteX140" fmla="*/ 1078897 w 3638455"/>
                  <a:gd name="connsiteY140" fmla="*/ 473488 h 590169"/>
                  <a:gd name="connsiteX141" fmla="*/ 1093565 w 3638455"/>
                  <a:gd name="connsiteY141" fmla="*/ 473488 h 590169"/>
                  <a:gd name="connsiteX142" fmla="*/ 1093565 w 3638455"/>
                  <a:gd name="connsiteY142" fmla="*/ 479584 h 590169"/>
                  <a:gd name="connsiteX143" fmla="*/ 1106233 w 3638455"/>
                  <a:gd name="connsiteY143" fmla="*/ 479584 h 590169"/>
                  <a:gd name="connsiteX144" fmla="*/ 1106233 w 3638455"/>
                  <a:gd name="connsiteY144" fmla="*/ 485775 h 590169"/>
                  <a:gd name="connsiteX145" fmla="*/ 1131475 w 3638455"/>
                  <a:gd name="connsiteY145" fmla="*/ 485775 h 590169"/>
                  <a:gd name="connsiteX146" fmla="*/ 1131475 w 3638455"/>
                  <a:gd name="connsiteY146" fmla="*/ 491871 h 590169"/>
                  <a:gd name="connsiteX147" fmla="*/ 1360741 w 3638455"/>
                  <a:gd name="connsiteY147" fmla="*/ 491871 h 590169"/>
                  <a:gd name="connsiteX148" fmla="*/ 1360741 w 3638455"/>
                  <a:gd name="connsiteY148" fmla="*/ 498063 h 590169"/>
                  <a:gd name="connsiteX149" fmla="*/ 1474279 w 3638455"/>
                  <a:gd name="connsiteY149" fmla="*/ 498063 h 590169"/>
                  <a:gd name="connsiteX150" fmla="*/ 1474279 w 3638455"/>
                  <a:gd name="connsiteY150" fmla="*/ 504254 h 590169"/>
                  <a:gd name="connsiteX151" fmla="*/ 1743456 w 3638455"/>
                  <a:gd name="connsiteY151" fmla="*/ 504254 h 590169"/>
                  <a:gd name="connsiteX152" fmla="*/ 1743456 w 3638455"/>
                  <a:gd name="connsiteY152" fmla="*/ 510540 h 590169"/>
                  <a:gd name="connsiteX153" fmla="*/ 1817084 w 3638455"/>
                  <a:gd name="connsiteY153" fmla="*/ 510540 h 590169"/>
                  <a:gd name="connsiteX154" fmla="*/ 1817084 w 3638455"/>
                  <a:gd name="connsiteY154" fmla="*/ 516827 h 590169"/>
                  <a:gd name="connsiteX155" fmla="*/ 1896999 w 3638455"/>
                  <a:gd name="connsiteY155" fmla="*/ 516827 h 590169"/>
                  <a:gd name="connsiteX156" fmla="*/ 1896999 w 3638455"/>
                  <a:gd name="connsiteY156" fmla="*/ 523113 h 590169"/>
                  <a:gd name="connsiteX157" fmla="*/ 2058924 w 3638455"/>
                  <a:gd name="connsiteY157" fmla="*/ 523113 h 590169"/>
                  <a:gd name="connsiteX158" fmla="*/ 2058924 w 3638455"/>
                  <a:gd name="connsiteY158" fmla="*/ 529590 h 590169"/>
                  <a:gd name="connsiteX159" fmla="*/ 2075783 w 3638455"/>
                  <a:gd name="connsiteY159" fmla="*/ 529590 h 590169"/>
                  <a:gd name="connsiteX160" fmla="*/ 2075783 w 3638455"/>
                  <a:gd name="connsiteY160" fmla="*/ 535972 h 590169"/>
                  <a:gd name="connsiteX161" fmla="*/ 2193607 w 3638455"/>
                  <a:gd name="connsiteY161" fmla="*/ 535972 h 590169"/>
                  <a:gd name="connsiteX162" fmla="*/ 2193607 w 3638455"/>
                  <a:gd name="connsiteY162" fmla="*/ 542449 h 590169"/>
                  <a:gd name="connsiteX163" fmla="*/ 2286095 w 3638455"/>
                  <a:gd name="connsiteY163" fmla="*/ 542449 h 590169"/>
                  <a:gd name="connsiteX164" fmla="*/ 2286095 w 3638455"/>
                  <a:gd name="connsiteY164" fmla="*/ 548831 h 590169"/>
                  <a:gd name="connsiteX165" fmla="*/ 2305050 w 3638455"/>
                  <a:gd name="connsiteY165" fmla="*/ 548831 h 590169"/>
                  <a:gd name="connsiteX166" fmla="*/ 2305050 w 3638455"/>
                  <a:gd name="connsiteY166" fmla="*/ 555308 h 590169"/>
                  <a:gd name="connsiteX167" fmla="*/ 3158871 w 3638455"/>
                  <a:gd name="connsiteY167" fmla="*/ 555308 h 590169"/>
                  <a:gd name="connsiteX168" fmla="*/ 3158871 w 3638455"/>
                  <a:gd name="connsiteY168" fmla="*/ 590169 h 590169"/>
                  <a:gd name="connsiteX169" fmla="*/ 3638455 w 3638455"/>
                  <a:gd name="connsiteY169" fmla="*/ 590169 h 590169"/>
                  <a:gd name="connsiteX0" fmla="*/ 0 w 3587973"/>
                  <a:gd name="connsiteY0" fmla="*/ 0 h 584168"/>
                  <a:gd name="connsiteX1" fmla="*/ 0 w 3587973"/>
                  <a:gd name="connsiteY1" fmla="*/ 6096 h 584168"/>
                  <a:gd name="connsiteX2" fmla="*/ 8382 w 3587973"/>
                  <a:gd name="connsiteY2" fmla="*/ 6096 h 584168"/>
                  <a:gd name="connsiteX3" fmla="*/ 8382 w 3587973"/>
                  <a:gd name="connsiteY3" fmla="*/ 18193 h 584168"/>
                  <a:gd name="connsiteX4" fmla="*/ 14669 w 3587973"/>
                  <a:gd name="connsiteY4" fmla="*/ 18193 h 584168"/>
                  <a:gd name="connsiteX5" fmla="*/ 14669 w 3587973"/>
                  <a:gd name="connsiteY5" fmla="*/ 24289 h 584168"/>
                  <a:gd name="connsiteX6" fmla="*/ 18860 w 3587973"/>
                  <a:gd name="connsiteY6" fmla="*/ 24289 h 584168"/>
                  <a:gd name="connsiteX7" fmla="*/ 18860 w 3587973"/>
                  <a:gd name="connsiteY7" fmla="*/ 30385 h 584168"/>
                  <a:gd name="connsiteX8" fmla="*/ 23051 w 3587973"/>
                  <a:gd name="connsiteY8" fmla="*/ 30385 h 584168"/>
                  <a:gd name="connsiteX9" fmla="*/ 23051 w 3587973"/>
                  <a:gd name="connsiteY9" fmla="*/ 36481 h 584168"/>
                  <a:gd name="connsiteX10" fmla="*/ 25146 w 3587973"/>
                  <a:gd name="connsiteY10" fmla="*/ 36481 h 584168"/>
                  <a:gd name="connsiteX11" fmla="*/ 25146 w 3587973"/>
                  <a:gd name="connsiteY11" fmla="*/ 42482 h 584168"/>
                  <a:gd name="connsiteX12" fmla="*/ 27337 w 3587973"/>
                  <a:gd name="connsiteY12" fmla="*/ 42482 h 584168"/>
                  <a:gd name="connsiteX13" fmla="*/ 27337 w 3587973"/>
                  <a:gd name="connsiteY13" fmla="*/ 48578 h 584168"/>
                  <a:gd name="connsiteX14" fmla="*/ 37814 w 3587973"/>
                  <a:gd name="connsiteY14" fmla="*/ 48578 h 584168"/>
                  <a:gd name="connsiteX15" fmla="*/ 37814 w 3587973"/>
                  <a:gd name="connsiteY15" fmla="*/ 54674 h 584168"/>
                  <a:gd name="connsiteX16" fmla="*/ 44101 w 3587973"/>
                  <a:gd name="connsiteY16" fmla="*/ 54674 h 584168"/>
                  <a:gd name="connsiteX17" fmla="*/ 44101 w 3587973"/>
                  <a:gd name="connsiteY17" fmla="*/ 60674 h 584168"/>
                  <a:gd name="connsiteX18" fmla="*/ 58865 w 3587973"/>
                  <a:gd name="connsiteY18" fmla="*/ 60674 h 584168"/>
                  <a:gd name="connsiteX19" fmla="*/ 58865 w 3587973"/>
                  <a:gd name="connsiteY19" fmla="*/ 66770 h 584168"/>
                  <a:gd name="connsiteX20" fmla="*/ 67247 w 3587973"/>
                  <a:gd name="connsiteY20" fmla="*/ 66770 h 584168"/>
                  <a:gd name="connsiteX21" fmla="*/ 67247 w 3587973"/>
                  <a:gd name="connsiteY21" fmla="*/ 72866 h 584168"/>
                  <a:gd name="connsiteX22" fmla="*/ 77820 w 3587973"/>
                  <a:gd name="connsiteY22" fmla="*/ 72866 h 584168"/>
                  <a:gd name="connsiteX23" fmla="*/ 77820 w 3587973"/>
                  <a:gd name="connsiteY23" fmla="*/ 78867 h 584168"/>
                  <a:gd name="connsiteX24" fmla="*/ 90393 w 3587973"/>
                  <a:gd name="connsiteY24" fmla="*/ 78867 h 584168"/>
                  <a:gd name="connsiteX25" fmla="*/ 90393 w 3587973"/>
                  <a:gd name="connsiteY25" fmla="*/ 84963 h 584168"/>
                  <a:gd name="connsiteX26" fmla="*/ 96679 w 3587973"/>
                  <a:gd name="connsiteY26" fmla="*/ 84963 h 584168"/>
                  <a:gd name="connsiteX27" fmla="*/ 96679 w 3587973"/>
                  <a:gd name="connsiteY27" fmla="*/ 97060 h 584168"/>
                  <a:gd name="connsiteX28" fmla="*/ 100870 w 3587973"/>
                  <a:gd name="connsiteY28" fmla="*/ 97060 h 584168"/>
                  <a:gd name="connsiteX29" fmla="*/ 100870 w 3587973"/>
                  <a:gd name="connsiteY29" fmla="*/ 103156 h 584168"/>
                  <a:gd name="connsiteX30" fmla="*/ 113538 w 3587973"/>
                  <a:gd name="connsiteY30" fmla="*/ 103156 h 584168"/>
                  <a:gd name="connsiteX31" fmla="*/ 113538 w 3587973"/>
                  <a:gd name="connsiteY31" fmla="*/ 109252 h 584168"/>
                  <a:gd name="connsiteX32" fmla="*/ 128207 w 3587973"/>
                  <a:gd name="connsiteY32" fmla="*/ 109252 h 584168"/>
                  <a:gd name="connsiteX33" fmla="*/ 128207 w 3587973"/>
                  <a:gd name="connsiteY33" fmla="*/ 115253 h 584168"/>
                  <a:gd name="connsiteX34" fmla="*/ 132493 w 3587973"/>
                  <a:gd name="connsiteY34" fmla="*/ 115253 h 584168"/>
                  <a:gd name="connsiteX35" fmla="*/ 132493 w 3587973"/>
                  <a:gd name="connsiteY35" fmla="*/ 121349 h 584168"/>
                  <a:gd name="connsiteX36" fmla="*/ 142970 w 3587973"/>
                  <a:gd name="connsiteY36" fmla="*/ 121349 h 584168"/>
                  <a:gd name="connsiteX37" fmla="*/ 142970 w 3587973"/>
                  <a:gd name="connsiteY37" fmla="*/ 127445 h 584168"/>
                  <a:gd name="connsiteX38" fmla="*/ 151353 w 3587973"/>
                  <a:gd name="connsiteY38" fmla="*/ 127445 h 584168"/>
                  <a:gd name="connsiteX39" fmla="*/ 151353 w 3587973"/>
                  <a:gd name="connsiteY39" fmla="*/ 133541 h 584168"/>
                  <a:gd name="connsiteX40" fmla="*/ 166116 w 3587973"/>
                  <a:gd name="connsiteY40" fmla="*/ 133541 h 584168"/>
                  <a:gd name="connsiteX41" fmla="*/ 166116 w 3587973"/>
                  <a:gd name="connsiteY41" fmla="*/ 139541 h 584168"/>
                  <a:gd name="connsiteX42" fmla="*/ 170307 w 3587973"/>
                  <a:gd name="connsiteY42" fmla="*/ 139541 h 584168"/>
                  <a:gd name="connsiteX43" fmla="*/ 170307 w 3587973"/>
                  <a:gd name="connsiteY43" fmla="*/ 145637 h 584168"/>
                  <a:gd name="connsiteX44" fmla="*/ 174498 w 3587973"/>
                  <a:gd name="connsiteY44" fmla="*/ 145637 h 584168"/>
                  <a:gd name="connsiteX45" fmla="*/ 174498 w 3587973"/>
                  <a:gd name="connsiteY45" fmla="*/ 151733 h 584168"/>
                  <a:gd name="connsiteX46" fmla="*/ 187167 w 3587973"/>
                  <a:gd name="connsiteY46" fmla="*/ 151733 h 584168"/>
                  <a:gd name="connsiteX47" fmla="*/ 187167 w 3587973"/>
                  <a:gd name="connsiteY47" fmla="*/ 157734 h 584168"/>
                  <a:gd name="connsiteX48" fmla="*/ 216599 w 3587973"/>
                  <a:gd name="connsiteY48" fmla="*/ 157734 h 584168"/>
                  <a:gd name="connsiteX49" fmla="*/ 216599 w 3587973"/>
                  <a:gd name="connsiteY49" fmla="*/ 163830 h 584168"/>
                  <a:gd name="connsiteX50" fmla="*/ 224981 w 3587973"/>
                  <a:gd name="connsiteY50" fmla="*/ 163830 h 584168"/>
                  <a:gd name="connsiteX51" fmla="*/ 224981 w 3587973"/>
                  <a:gd name="connsiteY51" fmla="*/ 169926 h 584168"/>
                  <a:gd name="connsiteX52" fmla="*/ 227076 w 3587973"/>
                  <a:gd name="connsiteY52" fmla="*/ 169926 h 584168"/>
                  <a:gd name="connsiteX53" fmla="*/ 227076 w 3587973"/>
                  <a:gd name="connsiteY53" fmla="*/ 175927 h 584168"/>
                  <a:gd name="connsiteX54" fmla="*/ 241840 w 3587973"/>
                  <a:gd name="connsiteY54" fmla="*/ 175927 h 584168"/>
                  <a:gd name="connsiteX55" fmla="*/ 241840 w 3587973"/>
                  <a:gd name="connsiteY55" fmla="*/ 188119 h 584168"/>
                  <a:gd name="connsiteX56" fmla="*/ 243936 w 3587973"/>
                  <a:gd name="connsiteY56" fmla="*/ 188119 h 584168"/>
                  <a:gd name="connsiteX57" fmla="*/ 243936 w 3587973"/>
                  <a:gd name="connsiteY57" fmla="*/ 194120 h 584168"/>
                  <a:gd name="connsiteX58" fmla="*/ 250222 w 3587973"/>
                  <a:gd name="connsiteY58" fmla="*/ 194120 h 584168"/>
                  <a:gd name="connsiteX59" fmla="*/ 250222 w 3587973"/>
                  <a:gd name="connsiteY59" fmla="*/ 200216 h 584168"/>
                  <a:gd name="connsiteX60" fmla="*/ 254413 w 3587973"/>
                  <a:gd name="connsiteY60" fmla="*/ 200216 h 584168"/>
                  <a:gd name="connsiteX61" fmla="*/ 254413 w 3587973"/>
                  <a:gd name="connsiteY61" fmla="*/ 206312 h 584168"/>
                  <a:gd name="connsiteX62" fmla="*/ 271272 w 3587973"/>
                  <a:gd name="connsiteY62" fmla="*/ 206312 h 584168"/>
                  <a:gd name="connsiteX63" fmla="*/ 271272 w 3587973"/>
                  <a:gd name="connsiteY63" fmla="*/ 218408 h 584168"/>
                  <a:gd name="connsiteX64" fmla="*/ 275463 w 3587973"/>
                  <a:gd name="connsiteY64" fmla="*/ 218408 h 584168"/>
                  <a:gd name="connsiteX65" fmla="*/ 275463 w 3587973"/>
                  <a:gd name="connsiteY65" fmla="*/ 224504 h 584168"/>
                  <a:gd name="connsiteX66" fmla="*/ 298609 w 3587973"/>
                  <a:gd name="connsiteY66" fmla="*/ 224504 h 584168"/>
                  <a:gd name="connsiteX67" fmla="*/ 298609 w 3587973"/>
                  <a:gd name="connsiteY67" fmla="*/ 230600 h 584168"/>
                  <a:gd name="connsiteX68" fmla="*/ 302800 w 3587973"/>
                  <a:gd name="connsiteY68" fmla="*/ 230600 h 584168"/>
                  <a:gd name="connsiteX69" fmla="*/ 302800 w 3587973"/>
                  <a:gd name="connsiteY69" fmla="*/ 236601 h 584168"/>
                  <a:gd name="connsiteX70" fmla="*/ 309087 w 3587973"/>
                  <a:gd name="connsiteY70" fmla="*/ 236601 h 584168"/>
                  <a:gd name="connsiteX71" fmla="*/ 309087 w 3587973"/>
                  <a:gd name="connsiteY71" fmla="*/ 248793 h 584168"/>
                  <a:gd name="connsiteX72" fmla="*/ 328041 w 3587973"/>
                  <a:gd name="connsiteY72" fmla="*/ 248793 h 584168"/>
                  <a:gd name="connsiteX73" fmla="*/ 328041 w 3587973"/>
                  <a:gd name="connsiteY73" fmla="*/ 254794 h 584168"/>
                  <a:gd name="connsiteX74" fmla="*/ 336423 w 3587973"/>
                  <a:gd name="connsiteY74" fmla="*/ 254794 h 584168"/>
                  <a:gd name="connsiteX75" fmla="*/ 336423 w 3587973"/>
                  <a:gd name="connsiteY75" fmla="*/ 260890 h 584168"/>
                  <a:gd name="connsiteX76" fmla="*/ 349092 w 3587973"/>
                  <a:gd name="connsiteY76" fmla="*/ 260890 h 584168"/>
                  <a:gd name="connsiteX77" fmla="*/ 349092 w 3587973"/>
                  <a:gd name="connsiteY77" fmla="*/ 266986 h 584168"/>
                  <a:gd name="connsiteX78" fmla="*/ 365951 w 3587973"/>
                  <a:gd name="connsiteY78" fmla="*/ 266986 h 584168"/>
                  <a:gd name="connsiteX79" fmla="*/ 365951 w 3587973"/>
                  <a:gd name="connsiteY79" fmla="*/ 272987 h 584168"/>
                  <a:gd name="connsiteX80" fmla="*/ 393288 w 3587973"/>
                  <a:gd name="connsiteY80" fmla="*/ 272987 h 584168"/>
                  <a:gd name="connsiteX81" fmla="*/ 393288 w 3587973"/>
                  <a:gd name="connsiteY81" fmla="*/ 279083 h 584168"/>
                  <a:gd name="connsiteX82" fmla="*/ 395383 w 3587973"/>
                  <a:gd name="connsiteY82" fmla="*/ 279083 h 584168"/>
                  <a:gd name="connsiteX83" fmla="*/ 395383 w 3587973"/>
                  <a:gd name="connsiteY83" fmla="*/ 285179 h 584168"/>
                  <a:gd name="connsiteX84" fmla="*/ 405860 w 3587973"/>
                  <a:gd name="connsiteY84" fmla="*/ 285179 h 584168"/>
                  <a:gd name="connsiteX85" fmla="*/ 405860 w 3587973"/>
                  <a:gd name="connsiteY85" fmla="*/ 291179 h 584168"/>
                  <a:gd name="connsiteX86" fmla="*/ 412147 w 3587973"/>
                  <a:gd name="connsiteY86" fmla="*/ 291179 h 584168"/>
                  <a:gd name="connsiteX87" fmla="*/ 412147 w 3587973"/>
                  <a:gd name="connsiteY87" fmla="*/ 303371 h 584168"/>
                  <a:gd name="connsiteX88" fmla="*/ 420624 w 3587973"/>
                  <a:gd name="connsiteY88" fmla="*/ 303371 h 584168"/>
                  <a:gd name="connsiteX89" fmla="*/ 420624 w 3587973"/>
                  <a:gd name="connsiteY89" fmla="*/ 309372 h 584168"/>
                  <a:gd name="connsiteX90" fmla="*/ 426911 w 3587973"/>
                  <a:gd name="connsiteY90" fmla="*/ 309372 h 584168"/>
                  <a:gd name="connsiteX91" fmla="*/ 426911 w 3587973"/>
                  <a:gd name="connsiteY91" fmla="*/ 321564 h 584168"/>
                  <a:gd name="connsiteX92" fmla="*/ 429006 w 3587973"/>
                  <a:gd name="connsiteY92" fmla="*/ 321564 h 584168"/>
                  <a:gd name="connsiteX93" fmla="*/ 429006 w 3587973"/>
                  <a:gd name="connsiteY93" fmla="*/ 327660 h 584168"/>
                  <a:gd name="connsiteX94" fmla="*/ 441579 w 3587973"/>
                  <a:gd name="connsiteY94" fmla="*/ 327660 h 584168"/>
                  <a:gd name="connsiteX95" fmla="*/ 441579 w 3587973"/>
                  <a:gd name="connsiteY95" fmla="*/ 333661 h 584168"/>
                  <a:gd name="connsiteX96" fmla="*/ 464725 w 3587973"/>
                  <a:gd name="connsiteY96" fmla="*/ 333661 h 584168"/>
                  <a:gd name="connsiteX97" fmla="*/ 464725 w 3587973"/>
                  <a:gd name="connsiteY97" fmla="*/ 339757 h 584168"/>
                  <a:gd name="connsiteX98" fmla="*/ 471107 w 3587973"/>
                  <a:gd name="connsiteY98" fmla="*/ 339757 h 584168"/>
                  <a:gd name="connsiteX99" fmla="*/ 471107 w 3587973"/>
                  <a:gd name="connsiteY99" fmla="*/ 345853 h 584168"/>
                  <a:gd name="connsiteX100" fmla="*/ 479489 w 3587973"/>
                  <a:gd name="connsiteY100" fmla="*/ 345853 h 584168"/>
                  <a:gd name="connsiteX101" fmla="*/ 479489 w 3587973"/>
                  <a:gd name="connsiteY101" fmla="*/ 351854 h 584168"/>
                  <a:gd name="connsiteX102" fmla="*/ 487871 w 3587973"/>
                  <a:gd name="connsiteY102" fmla="*/ 351854 h 584168"/>
                  <a:gd name="connsiteX103" fmla="*/ 487871 w 3587973"/>
                  <a:gd name="connsiteY103" fmla="*/ 357950 h 584168"/>
                  <a:gd name="connsiteX104" fmla="*/ 492062 w 3587973"/>
                  <a:gd name="connsiteY104" fmla="*/ 357950 h 584168"/>
                  <a:gd name="connsiteX105" fmla="*/ 492062 w 3587973"/>
                  <a:gd name="connsiteY105" fmla="*/ 364046 h 584168"/>
                  <a:gd name="connsiteX106" fmla="*/ 565690 w 3587973"/>
                  <a:gd name="connsiteY106" fmla="*/ 364046 h 584168"/>
                  <a:gd name="connsiteX107" fmla="*/ 565690 w 3587973"/>
                  <a:gd name="connsiteY107" fmla="*/ 370046 h 584168"/>
                  <a:gd name="connsiteX108" fmla="*/ 586740 w 3587973"/>
                  <a:gd name="connsiteY108" fmla="*/ 370046 h 584168"/>
                  <a:gd name="connsiteX109" fmla="*/ 586740 w 3587973"/>
                  <a:gd name="connsiteY109" fmla="*/ 376142 h 584168"/>
                  <a:gd name="connsiteX110" fmla="*/ 593027 w 3587973"/>
                  <a:gd name="connsiteY110" fmla="*/ 376142 h 584168"/>
                  <a:gd name="connsiteX111" fmla="*/ 593027 w 3587973"/>
                  <a:gd name="connsiteY111" fmla="*/ 382238 h 584168"/>
                  <a:gd name="connsiteX112" fmla="*/ 635127 w 3587973"/>
                  <a:gd name="connsiteY112" fmla="*/ 382238 h 584168"/>
                  <a:gd name="connsiteX113" fmla="*/ 635127 w 3587973"/>
                  <a:gd name="connsiteY113" fmla="*/ 388239 h 584168"/>
                  <a:gd name="connsiteX114" fmla="*/ 649796 w 3587973"/>
                  <a:gd name="connsiteY114" fmla="*/ 388239 h 584168"/>
                  <a:gd name="connsiteX115" fmla="*/ 649796 w 3587973"/>
                  <a:gd name="connsiteY115" fmla="*/ 394335 h 584168"/>
                  <a:gd name="connsiteX116" fmla="*/ 679323 w 3587973"/>
                  <a:gd name="connsiteY116" fmla="*/ 394335 h 584168"/>
                  <a:gd name="connsiteX117" fmla="*/ 679323 w 3587973"/>
                  <a:gd name="connsiteY117" fmla="*/ 400431 h 584168"/>
                  <a:gd name="connsiteX118" fmla="*/ 681419 w 3587973"/>
                  <a:gd name="connsiteY118" fmla="*/ 400431 h 584168"/>
                  <a:gd name="connsiteX119" fmla="*/ 681419 w 3587973"/>
                  <a:gd name="connsiteY119" fmla="*/ 406432 h 584168"/>
                  <a:gd name="connsiteX120" fmla="*/ 704469 w 3587973"/>
                  <a:gd name="connsiteY120" fmla="*/ 406432 h 584168"/>
                  <a:gd name="connsiteX121" fmla="*/ 704469 w 3587973"/>
                  <a:gd name="connsiteY121" fmla="*/ 412528 h 584168"/>
                  <a:gd name="connsiteX122" fmla="*/ 717138 w 3587973"/>
                  <a:gd name="connsiteY122" fmla="*/ 412528 h 584168"/>
                  <a:gd name="connsiteX123" fmla="*/ 717138 w 3587973"/>
                  <a:gd name="connsiteY123" fmla="*/ 418624 h 584168"/>
                  <a:gd name="connsiteX124" fmla="*/ 752856 w 3587973"/>
                  <a:gd name="connsiteY124" fmla="*/ 418624 h 584168"/>
                  <a:gd name="connsiteX125" fmla="*/ 752856 w 3587973"/>
                  <a:gd name="connsiteY125" fmla="*/ 424720 h 584168"/>
                  <a:gd name="connsiteX126" fmla="*/ 868585 w 3587973"/>
                  <a:gd name="connsiteY126" fmla="*/ 424720 h 584168"/>
                  <a:gd name="connsiteX127" fmla="*/ 868585 w 3587973"/>
                  <a:gd name="connsiteY127" fmla="*/ 430721 h 584168"/>
                  <a:gd name="connsiteX128" fmla="*/ 906399 w 3587973"/>
                  <a:gd name="connsiteY128" fmla="*/ 430721 h 584168"/>
                  <a:gd name="connsiteX129" fmla="*/ 906399 w 3587973"/>
                  <a:gd name="connsiteY129" fmla="*/ 436912 h 584168"/>
                  <a:gd name="connsiteX130" fmla="*/ 958977 w 3587973"/>
                  <a:gd name="connsiteY130" fmla="*/ 436912 h 584168"/>
                  <a:gd name="connsiteX131" fmla="*/ 958977 w 3587973"/>
                  <a:gd name="connsiteY131" fmla="*/ 443008 h 584168"/>
                  <a:gd name="connsiteX132" fmla="*/ 977932 w 3587973"/>
                  <a:gd name="connsiteY132" fmla="*/ 443008 h 584168"/>
                  <a:gd name="connsiteX133" fmla="*/ 977932 w 3587973"/>
                  <a:gd name="connsiteY133" fmla="*/ 449104 h 584168"/>
                  <a:gd name="connsiteX134" fmla="*/ 988410 w 3587973"/>
                  <a:gd name="connsiteY134" fmla="*/ 449104 h 584168"/>
                  <a:gd name="connsiteX135" fmla="*/ 988410 w 3587973"/>
                  <a:gd name="connsiteY135" fmla="*/ 455295 h 584168"/>
                  <a:gd name="connsiteX136" fmla="*/ 1022128 w 3587973"/>
                  <a:gd name="connsiteY136" fmla="*/ 455295 h 584168"/>
                  <a:gd name="connsiteX137" fmla="*/ 1022128 w 3587973"/>
                  <a:gd name="connsiteY137" fmla="*/ 461391 h 584168"/>
                  <a:gd name="connsiteX138" fmla="*/ 1028415 w 3587973"/>
                  <a:gd name="connsiteY138" fmla="*/ 461391 h 584168"/>
                  <a:gd name="connsiteX139" fmla="*/ 1028415 w 3587973"/>
                  <a:gd name="connsiteY139" fmla="*/ 467487 h 584168"/>
                  <a:gd name="connsiteX140" fmla="*/ 1043083 w 3587973"/>
                  <a:gd name="connsiteY140" fmla="*/ 467487 h 584168"/>
                  <a:gd name="connsiteX141" fmla="*/ 1043083 w 3587973"/>
                  <a:gd name="connsiteY141" fmla="*/ 473583 h 584168"/>
                  <a:gd name="connsiteX142" fmla="*/ 1055751 w 3587973"/>
                  <a:gd name="connsiteY142" fmla="*/ 473583 h 584168"/>
                  <a:gd name="connsiteX143" fmla="*/ 1055751 w 3587973"/>
                  <a:gd name="connsiteY143" fmla="*/ 479774 h 584168"/>
                  <a:gd name="connsiteX144" fmla="*/ 1080993 w 3587973"/>
                  <a:gd name="connsiteY144" fmla="*/ 479774 h 584168"/>
                  <a:gd name="connsiteX145" fmla="*/ 1080993 w 3587973"/>
                  <a:gd name="connsiteY145" fmla="*/ 485870 h 584168"/>
                  <a:gd name="connsiteX146" fmla="*/ 1310259 w 3587973"/>
                  <a:gd name="connsiteY146" fmla="*/ 485870 h 584168"/>
                  <a:gd name="connsiteX147" fmla="*/ 1310259 w 3587973"/>
                  <a:gd name="connsiteY147" fmla="*/ 492062 h 584168"/>
                  <a:gd name="connsiteX148" fmla="*/ 1423797 w 3587973"/>
                  <a:gd name="connsiteY148" fmla="*/ 492062 h 584168"/>
                  <a:gd name="connsiteX149" fmla="*/ 1423797 w 3587973"/>
                  <a:gd name="connsiteY149" fmla="*/ 498253 h 584168"/>
                  <a:gd name="connsiteX150" fmla="*/ 1692974 w 3587973"/>
                  <a:gd name="connsiteY150" fmla="*/ 498253 h 584168"/>
                  <a:gd name="connsiteX151" fmla="*/ 1692974 w 3587973"/>
                  <a:gd name="connsiteY151" fmla="*/ 504539 h 584168"/>
                  <a:gd name="connsiteX152" fmla="*/ 1766602 w 3587973"/>
                  <a:gd name="connsiteY152" fmla="*/ 504539 h 584168"/>
                  <a:gd name="connsiteX153" fmla="*/ 1766602 w 3587973"/>
                  <a:gd name="connsiteY153" fmla="*/ 510826 h 584168"/>
                  <a:gd name="connsiteX154" fmla="*/ 1846517 w 3587973"/>
                  <a:gd name="connsiteY154" fmla="*/ 510826 h 584168"/>
                  <a:gd name="connsiteX155" fmla="*/ 1846517 w 3587973"/>
                  <a:gd name="connsiteY155" fmla="*/ 517112 h 584168"/>
                  <a:gd name="connsiteX156" fmla="*/ 2008442 w 3587973"/>
                  <a:gd name="connsiteY156" fmla="*/ 517112 h 584168"/>
                  <a:gd name="connsiteX157" fmla="*/ 2008442 w 3587973"/>
                  <a:gd name="connsiteY157" fmla="*/ 523589 h 584168"/>
                  <a:gd name="connsiteX158" fmla="*/ 2025301 w 3587973"/>
                  <a:gd name="connsiteY158" fmla="*/ 523589 h 584168"/>
                  <a:gd name="connsiteX159" fmla="*/ 2025301 w 3587973"/>
                  <a:gd name="connsiteY159" fmla="*/ 529971 h 584168"/>
                  <a:gd name="connsiteX160" fmla="*/ 2143125 w 3587973"/>
                  <a:gd name="connsiteY160" fmla="*/ 529971 h 584168"/>
                  <a:gd name="connsiteX161" fmla="*/ 2143125 w 3587973"/>
                  <a:gd name="connsiteY161" fmla="*/ 536448 h 584168"/>
                  <a:gd name="connsiteX162" fmla="*/ 2235613 w 3587973"/>
                  <a:gd name="connsiteY162" fmla="*/ 536448 h 584168"/>
                  <a:gd name="connsiteX163" fmla="*/ 2235613 w 3587973"/>
                  <a:gd name="connsiteY163" fmla="*/ 542830 h 584168"/>
                  <a:gd name="connsiteX164" fmla="*/ 2254568 w 3587973"/>
                  <a:gd name="connsiteY164" fmla="*/ 542830 h 584168"/>
                  <a:gd name="connsiteX165" fmla="*/ 2254568 w 3587973"/>
                  <a:gd name="connsiteY165" fmla="*/ 549307 h 584168"/>
                  <a:gd name="connsiteX166" fmla="*/ 3108389 w 3587973"/>
                  <a:gd name="connsiteY166" fmla="*/ 549307 h 584168"/>
                  <a:gd name="connsiteX167" fmla="*/ 3108389 w 3587973"/>
                  <a:gd name="connsiteY167" fmla="*/ 584168 h 584168"/>
                  <a:gd name="connsiteX168" fmla="*/ 3587973 w 3587973"/>
                  <a:gd name="connsiteY168" fmla="*/ 584168 h 584168"/>
                  <a:gd name="connsiteX0" fmla="*/ 0 w 3587973"/>
                  <a:gd name="connsiteY0" fmla="*/ 0 h 578072"/>
                  <a:gd name="connsiteX1" fmla="*/ 8382 w 3587973"/>
                  <a:gd name="connsiteY1" fmla="*/ 0 h 578072"/>
                  <a:gd name="connsiteX2" fmla="*/ 8382 w 3587973"/>
                  <a:gd name="connsiteY2" fmla="*/ 12097 h 578072"/>
                  <a:gd name="connsiteX3" fmla="*/ 14669 w 3587973"/>
                  <a:gd name="connsiteY3" fmla="*/ 12097 h 578072"/>
                  <a:gd name="connsiteX4" fmla="*/ 14669 w 3587973"/>
                  <a:gd name="connsiteY4" fmla="*/ 18193 h 578072"/>
                  <a:gd name="connsiteX5" fmla="*/ 18860 w 3587973"/>
                  <a:gd name="connsiteY5" fmla="*/ 18193 h 578072"/>
                  <a:gd name="connsiteX6" fmla="*/ 18860 w 3587973"/>
                  <a:gd name="connsiteY6" fmla="*/ 24289 h 578072"/>
                  <a:gd name="connsiteX7" fmla="*/ 23051 w 3587973"/>
                  <a:gd name="connsiteY7" fmla="*/ 24289 h 578072"/>
                  <a:gd name="connsiteX8" fmla="*/ 23051 w 3587973"/>
                  <a:gd name="connsiteY8" fmla="*/ 30385 h 578072"/>
                  <a:gd name="connsiteX9" fmla="*/ 25146 w 3587973"/>
                  <a:gd name="connsiteY9" fmla="*/ 30385 h 578072"/>
                  <a:gd name="connsiteX10" fmla="*/ 25146 w 3587973"/>
                  <a:gd name="connsiteY10" fmla="*/ 36386 h 578072"/>
                  <a:gd name="connsiteX11" fmla="*/ 27337 w 3587973"/>
                  <a:gd name="connsiteY11" fmla="*/ 36386 h 578072"/>
                  <a:gd name="connsiteX12" fmla="*/ 27337 w 3587973"/>
                  <a:gd name="connsiteY12" fmla="*/ 42482 h 578072"/>
                  <a:gd name="connsiteX13" fmla="*/ 37814 w 3587973"/>
                  <a:gd name="connsiteY13" fmla="*/ 42482 h 578072"/>
                  <a:gd name="connsiteX14" fmla="*/ 37814 w 3587973"/>
                  <a:gd name="connsiteY14" fmla="*/ 48578 h 578072"/>
                  <a:gd name="connsiteX15" fmla="*/ 44101 w 3587973"/>
                  <a:gd name="connsiteY15" fmla="*/ 48578 h 578072"/>
                  <a:gd name="connsiteX16" fmla="*/ 44101 w 3587973"/>
                  <a:gd name="connsiteY16" fmla="*/ 54578 h 578072"/>
                  <a:gd name="connsiteX17" fmla="*/ 58865 w 3587973"/>
                  <a:gd name="connsiteY17" fmla="*/ 54578 h 578072"/>
                  <a:gd name="connsiteX18" fmla="*/ 58865 w 3587973"/>
                  <a:gd name="connsiteY18" fmla="*/ 60674 h 578072"/>
                  <a:gd name="connsiteX19" fmla="*/ 67247 w 3587973"/>
                  <a:gd name="connsiteY19" fmla="*/ 60674 h 578072"/>
                  <a:gd name="connsiteX20" fmla="*/ 67247 w 3587973"/>
                  <a:gd name="connsiteY20" fmla="*/ 66770 h 578072"/>
                  <a:gd name="connsiteX21" fmla="*/ 77820 w 3587973"/>
                  <a:gd name="connsiteY21" fmla="*/ 66770 h 578072"/>
                  <a:gd name="connsiteX22" fmla="*/ 77820 w 3587973"/>
                  <a:gd name="connsiteY22" fmla="*/ 72771 h 578072"/>
                  <a:gd name="connsiteX23" fmla="*/ 90393 w 3587973"/>
                  <a:gd name="connsiteY23" fmla="*/ 72771 h 578072"/>
                  <a:gd name="connsiteX24" fmla="*/ 90393 w 3587973"/>
                  <a:gd name="connsiteY24" fmla="*/ 78867 h 578072"/>
                  <a:gd name="connsiteX25" fmla="*/ 96679 w 3587973"/>
                  <a:gd name="connsiteY25" fmla="*/ 78867 h 578072"/>
                  <a:gd name="connsiteX26" fmla="*/ 96679 w 3587973"/>
                  <a:gd name="connsiteY26" fmla="*/ 90964 h 578072"/>
                  <a:gd name="connsiteX27" fmla="*/ 100870 w 3587973"/>
                  <a:gd name="connsiteY27" fmla="*/ 90964 h 578072"/>
                  <a:gd name="connsiteX28" fmla="*/ 100870 w 3587973"/>
                  <a:gd name="connsiteY28" fmla="*/ 97060 h 578072"/>
                  <a:gd name="connsiteX29" fmla="*/ 113538 w 3587973"/>
                  <a:gd name="connsiteY29" fmla="*/ 97060 h 578072"/>
                  <a:gd name="connsiteX30" fmla="*/ 113538 w 3587973"/>
                  <a:gd name="connsiteY30" fmla="*/ 103156 h 578072"/>
                  <a:gd name="connsiteX31" fmla="*/ 128207 w 3587973"/>
                  <a:gd name="connsiteY31" fmla="*/ 103156 h 578072"/>
                  <a:gd name="connsiteX32" fmla="*/ 128207 w 3587973"/>
                  <a:gd name="connsiteY32" fmla="*/ 109157 h 578072"/>
                  <a:gd name="connsiteX33" fmla="*/ 132493 w 3587973"/>
                  <a:gd name="connsiteY33" fmla="*/ 109157 h 578072"/>
                  <a:gd name="connsiteX34" fmla="*/ 132493 w 3587973"/>
                  <a:gd name="connsiteY34" fmla="*/ 115253 h 578072"/>
                  <a:gd name="connsiteX35" fmla="*/ 142970 w 3587973"/>
                  <a:gd name="connsiteY35" fmla="*/ 115253 h 578072"/>
                  <a:gd name="connsiteX36" fmla="*/ 142970 w 3587973"/>
                  <a:gd name="connsiteY36" fmla="*/ 121349 h 578072"/>
                  <a:gd name="connsiteX37" fmla="*/ 151353 w 3587973"/>
                  <a:gd name="connsiteY37" fmla="*/ 121349 h 578072"/>
                  <a:gd name="connsiteX38" fmla="*/ 151353 w 3587973"/>
                  <a:gd name="connsiteY38" fmla="*/ 127445 h 578072"/>
                  <a:gd name="connsiteX39" fmla="*/ 166116 w 3587973"/>
                  <a:gd name="connsiteY39" fmla="*/ 127445 h 578072"/>
                  <a:gd name="connsiteX40" fmla="*/ 166116 w 3587973"/>
                  <a:gd name="connsiteY40" fmla="*/ 133445 h 578072"/>
                  <a:gd name="connsiteX41" fmla="*/ 170307 w 3587973"/>
                  <a:gd name="connsiteY41" fmla="*/ 133445 h 578072"/>
                  <a:gd name="connsiteX42" fmla="*/ 170307 w 3587973"/>
                  <a:gd name="connsiteY42" fmla="*/ 139541 h 578072"/>
                  <a:gd name="connsiteX43" fmla="*/ 174498 w 3587973"/>
                  <a:gd name="connsiteY43" fmla="*/ 139541 h 578072"/>
                  <a:gd name="connsiteX44" fmla="*/ 174498 w 3587973"/>
                  <a:gd name="connsiteY44" fmla="*/ 145637 h 578072"/>
                  <a:gd name="connsiteX45" fmla="*/ 187167 w 3587973"/>
                  <a:gd name="connsiteY45" fmla="*/ 145637 h 578072"/>
                  <a:gd name="connsiteX46" fmla="*/ 187167 w 3587973"/>
                  <a:gd name="connsiteY46" fmla="*/ 151638 h 578072"/>
                  <a:gd name="connsiteX47" fmla="*/ 216599 w 3587973"/>
                  <a:gd name="connsiteY47" fmla="*/ 151638 h 578072"/>
                  <a:gd name="connsiteX48" fmla="*/ 216599 w 3587973"/>
                  <a:gd name="connsiteY48" fmla="*/ 157734 h 578072"/>
                  <a:gd name="connsiteX49" fmla="*/ 224981 w 3587973"/>
                  <a:gd name="connsiteY49" fmla="*/ 157734 h 578072"/>
                  <a:gd name="connsiteX50" fmla="*/ 224981 w 3587973"/>
                  <a:gd name="connsiteY50" fmla="*/ 163830 h 578072"/>
                  <a:gd name="connsiteX51" fmla="*/ 227076 w 3587973"/>
                  <a:gd name="connsiteY51" fmla="*/ 163830 h 578072"/>
                  <a:gd name="connsiteX52" fmla="*/ 227076 w 3587973"/>
                  <a:gd name="connsiteY52" fmla="*/ 169831 h 578072"/>
                  <a:gd name="connsiteX53" fmla="*/ 241840 w 3587973"/>
                  <a:gd name="connsiteY53" fmla="*/ 169831 h 578072"/>
                  <a:gd name="connsiteX54" fmla="*/ 241840 w 3587973"/>
                  <a:gd name="connsiteY54" fmla="*/ 182023 h 578072"/>
                  <a:gd name="connsiteX55" fmla="*/ 243936 w 3587973"/>
                  <a:gd name="connsiteY55" fmla="*/ 182023 h 578072"/>
                  <a:gd name="connsiteX56" fmla="*/ 243936 w 3587973"/>
                  <a:gd name="connsiteY56" fmla="*/ 188024 h 578072"/>
                  <a:gd name="connsiteX57" fmla="*/ 250222 w 3587973"/>
                  <a:gd name="connsiteY57" fmla="*/ 188024 h 578072"/>
                  <a:gd name="connsiteX58" fmla="*/ 250222 w 3587973"/>
                  <a:gd name="connsiteY58" fmla="*/ 194120 h 578072"/>
                  <a:gd name="connsiteX59" fmla="*/ 254413 w 3587973"/>
                  <a:gd name="connsiteY59" fmla="*/ 194120 h 578072"/>
                  <a:gd name="connsiteX60" fmla="*/ 254413 w 3587973"/>
                  <a:gd name="connsiteY60" fmla="*/ 200216 h 578072"/>
                  <a:gd name="connsiteX61" fmla="*/ 271272 w 3587973"/>
                  <a:gd name="connsiteY61" fmla="*/ 200216 h 578072"/>
                  <a:gd name="connsiteX62" fmla="*/ 271272 w 3587973"/>
                  <a:gd name="connsiteY62" fmla="*/ 212312 h 578072"/>
                  <a:gd name="connsiteX63" fmla="*/ 275463 w 3587973"/>
                  <a:gd name="connsiteY63" fmla="*/ 212312 h 578072"/>
                  <a:gd name="connsiteX64" fmla="*/ 275463 w 3587973"/>
                  <a:gd name="connsiteY64" fmla="*/ 218408 h 578072"/>
                  <a:gd name="connsiteX65" fmla="*/ 298609 w 3587973"/>
                  <a:gd name="connsiteY65" fmla="*/ 218408 h 578072"/>
                  <a:gd name="connsiteX66" fmla="*/ 298609 w 3587973"/>
                  <a:gd name="connsiteY66" fmla="*/ 224504 h 578072"/>
                  <a:gd name="connsiteX67" fmla="*/ 302800 w 3587973"/>
                  <a:gd name="connsiteY67" fmla="*/ 224504 h 578072"/>
                  <a:gd name="connsiteX68" fmla="*/ 302800 w 3587973"/>
                  <a:gd name="connsiteY68" fmla="*/ 230505 h 578072"/>
                  <a:gd name="connsiteX69" fmla="*/ 309087 w 3587973"/>
                  <a:gd name="connsiteY69" fmla="*/ 230505 h 578072"/>
                  <a:gd name="connsiteX70" fmla="*/ 309087 w 3587973"/>
                  <a:gd name="connsiteY70" fmla="*/ 242697 h 578072"/>
                  <a:gd name="connsiteX71" fmla="*/ 328041 w 3587973"/>
                  <a:gd name="connsiteY71" fmla="*/ 242697 h 578072"/>
                  <a:gd name="connsiteX72" fmla="*/ 328041 w 3587973"/>
                  <a:gd name="connsiteY72" fmla="*/ 248698 h 578072"/>
                  <a:gd name="connsiteX73" fmla="*/ 336423 w 3587973"/>
                  <a:gd name="connsiteY73" fmla="*/ 248698 h 578072"/>
                  <a:gd name="connsiteX74" fmla="*/ 336423 w 3587973"/>
                  <a:gd name="connsiteY74" fmla="*/ 254794 h 578072"/>
                  <a:gd name="connsiteX75" fmla="*/ 349092 w 3587973"/>
                  <a:gd name="connsiteY75" fmla="*/ 254794 h 578072"/>
                  <a:gd name="connsiteX76" fmla="*/ 349092 w 3587973"/>
                  <a:gd name="connsiteY76" fmla="*/ 260890 h 578072"/>
                  <a:gd name="connsiteX77" fmla="*/ 365951 w 3587973"/>
                  <a:gd name="connsiteY77" fmla="*/ 260890 h 578072"/>
                  <a:gd name="connsiteX78" fmla="*/ 365951 w 3587973"/>
                  <a:gd name="connsiteY78" fmla="*/ 266891 h 578072"/>
                  <a:gd name="connsiteX79" fmla="*/ 393288 w 3587973"/>
                  <a:gd name="connsiteY79" fmla="*/ 266891 h 578072"/>
                  <a:gd name="connsiteX80" fmla="*/ 393288 w 3587973"/>
                  <a:gd name="connsiteY80" fmla="*/ 272987 h 578072"/>
                  <a:gd name="connsiteX81" fmla="*/ 395383 w 3587973"/>
                  <a:gd name="connsiteY81" fmla="*/ 272987 h 578072"/>
                  <a:gd name="connsiteX82" fmla="*/ 395383 w 3587973"/>
                  <a:gd name="connsiteY82" fmla="*/ 279083 h 578072"/>
                  <a:gd name="connsiteX83" fmla="*/ 405860 w 3587973"/>
                  <a:gd name="connsiteY83" fmla="*/ 279083 h 578072"/>
                  <a:gd name="connsiteX84" fmla="*/ 405860 w 3587973"/>
                  <a:gd name="connsiteY84" fmla="*/ 285083 h 578072"/>
                  <a:gd name="connsiteX85" fmla="*/ 412147 w 3587973"/>
                  <a:gd name="connsiteY85" fmla="*/ 285083 h 578072"/>
                  <a:gd name="connsiteX86" fmla="*/ 412147 w 3587973"/>
                  <a:gd name="connsiteY86" fmla="*/ 297275 h 578072"/>
                  <a:gd name="connsiteX87" fmla="*/ 420624 w 3587973"/>
                  <a:gd name="connsiteY87" fmla="*/ 297275 h 578072"/>
                  <a:gd name="connsiteX88" fmla="*/ 420624 w 3587973"/>
                  <a:gd name="connsiteY88" fmla="*/ 303276 h 578072"/>
                  <a:gd name="connsiteX89" fmla="*/ 426911 w 3587973"/>
                  <a:gd name="connsiteY89" fmla="*/ 303276 h 578072"/>
                  <a:gd name="connsiteX90" fmla="*/ 426911 w 3587973"/>
                  <a:gd name="connsiteY90" fmla="*/ 315468 h 578072"/>
                  <a:gd name="connsiteX91" fmla="*/ 429006 w 3587973"/>
                  <a:gd name="connsiteY91" fmla="*/ 315468 h 578072"/>
                  <a:gd name="connsiteX92" fmla="*/ 429006 w 3587973"/>
                  <a:gd name="connsiteY92" fmla="*/ 321564 h 578072"/>
                  <a:gd name="connsiteX93" fmla="*/ 441579 w 3587973"/>
                  <a:gd name="connsiteY93" fmla="*/ 321564 h 578072"/>
                  <a:gd name="connsiteX94" fmla="*/ 441579 w 3587973"/>
                  <a:gd name="connsiteY94" fmla="*/ 327565 h 578072"/>
                  <a:gd name="connsiteX95" fmla="*/ 464725 w 3587973"/>
                  <a:gd name="connsiteY95" fmla="*/ 327565 h 578072"/>
                  <a:gd name="connsiteX96" fmla="*/ 464725 w 3587973"/>
                  <a:gd name="connsiteY96" fmla="*/ 333661 h 578072"/>
                  <a:gd name="connsiteX97" fmla="*/ 471107 w 3587973"/>
                  <a:gd name="connsiteY97" fmla="*/ 333661 h 578072"/>
                  <a:gd name="connsiteX98" fmla="*/ 471107 w 3587973"/>
                  <a:gd name="connsiteY98" fmla="*/ 339757 h 578072"/>
                  <a:gd name="connsiteX99" fmla="*/ 479489 w 3587973"/>
                  <a:gd name="connsiteY99" fmla="*/ 339757 h 578072"/>
                  <a:gd name="connsiteX100" fmla="*/ 479489 w 3587973"/>
                  <a:gd name="connsiteY100" fmla="*/ 345758 h 578072"/>
                  <a:gd name="connsiteX101" fmla="*/ 487871 w 3587973"/>
                  <a:gd name="connsiteY101" fmla="*/ 345758 h 578072"/>
                  <a:gd name="connsiteX102" fmla="*/ 487871 w 3587973"/>
                  <a:gd name="connsiteY102" fmla="*/ 351854 h 578072"/>
                  <a:gd name="connsiteX103" fmla="*/ 492062 w 3587973"/>
                  <a:gd name="connsiteY103" fmla="*/ 351854 h 578072"/>
                  <a:gd name="connsiteX104" fmla="*/ 492062 w 3587973"/>
                  <a:gd name="connsiteY104" fmla="*/ 357950 h 578072"/>
                  <a:gd name="connsiteX105" fmla="*/ 565690 w 3587973"/>
                  <a:gd name="connsiteY105" fmla="*/ 357950 h 578072"/>
                  <a:gd name="connsiteX106" fmla="*/ 565690 w 3587973"/>
                  <a:gd name="connsiteY106" fmla="*/ 363950 h 578072"/>
                  <a:gd name="connsiteX107" fmla="*/ 586740 w 3587973"/>
                  <a:gd name="connsiteY107" fmla="*/ 363950 h 578072"/>
                  <a:gd name="connsiteX108" fmla="*/ 586740 w 3587973"/>
                  <a:gd name="connsiteY108" fmla="*/ 370046 h 578072"/>
                  <a:gd name="connsiteX109" fmla="*/ 593027 w 3587973"/>
                  <a:gd name="connsiteY109" fmla="*/ 370046 h 578072"/>
                  <a:gd name="connsiteX110" fmla="*/ 593027 w 3587973"/>
                  <a:gd name="connsiteY110" fmla="*/ 376142 h 578072"/>
                  <a:gd name="connsiteX111" fmla="*/ 635127 w 3587973"/>
                  <a:gd name="connsiteY111" fmla="*/ 376142 h 578072"/>
                  <a:gd name="connsiteX112" fmla="*/ 635127 w 3587973"/>
                  <a:gd name="connsiteY112" fmla="*/ 382143 h 578072"/>
                  <a:gd name="connsiteX113" fmla="*/ 649796 w 3587973"/>
                  <a:gd name="connsiteY113" fmla="*/ 382143 h 578072"/>
                  <a:gd name="connsiteX114" fmla="*/ 649796 w 3587973"/>
                  <a:gd name="connsiteY114" fmla="*/ 388239 h 578072"/>
                  <a:gd name="connsiteX115" fmla="*/ 679323 w 3587973"/>
                  <a:gd name="connsiteY115" fmla="*/ 388239 h 578072"/>
                  <a:gd name="connsiteX116" fmla="*/ 679323 w 3587973"/>
                  <a:gd name="connsiteY116" fmla="*/ 394335 h 578072"/>
                  <a:gd name="connsiteX117" fmla="*/ 681419 w 3587973"/>
                  <a:gd name="connsiteY117" fmla="*/ 394335 h 578072"/>
                  <a:gd name="connsiteX118" fmla="*/ 681419 w 3587973"/>
                  <a:gd name="connsiteY118" fmla="*/ 400336 h 578072"/>
                  <a:gd name="connsiteX119" fmla="*/ 704469 w 3587973"/>
                  <a:gd name="connsiteY119" fmla="*/ 400336 h 578072"/>
                  <a:gd name="connsiteX120" fmla="*/ 704469 w 3587973"/>
                  <a:gd name="connsiteY120" fmla="*/ 406432 h 578072"/>
                  <a:gd name="connsiteX121" fmla="*/ 717138 w 3587973"/>
                  <a:gd name="connsiteY121" fmla="*/ 406432 h 578072"/>
                  <a:gd name="connsiteX122" fmla="*/ 717138 w 3587973"/>
                  <a:gd name="connsiteY122" fmla="*/ 412528 h 578072"/>
                  <a:gd name="connsiteX123" fmla="*/ 752856 w 3587973"/>
                  <a:gd name="connsiteY123" fmla="*/ 412528 h 578072"/>
                  <a:gd name="connsiteX124" fmla="*/ 752856 w 3587973"/>
                  <a:gd name="connsiteY124" fmla="*/ 418624 h 578072"/>
                  <a:gd name="connsiteX125" fmla="*/ 868585 w 3587973"/>
                  <a:gd name="connsiteY125" fmla="*/ 418624 h 578072"/>
                  <a:gd name="connsiteX126" fmla="*/ 868585 w 3587973"/>
                  <a:gd name="connsiteY126" fmla="*/ 424625 h 578072"/>
                  <a:gd name="connsiteX127" fmla="*/ 906399 w 3587973"/>
                  <a:gd name="connsiteY127" fmla="*/ 424625 h 578072"/>
                  <a:gd name="connsiteX128" fmla="*/ 906399 w 3587973"/>
                  <a:gd name="connsiteY128" fmla="*/ 430816 h 578072"/>
                  <a:gd name="connsiteX129" fmla="*/ 958977 w 3587973"/>
                  <a:gd name="connsiteY129" fmla="*/ 430816 h 578072"/>
                  <a:gd name="connsiteX130" fmla="*/ 958977 w 3587973"/>
                  <a:gd name="connsiteY130" fmla="*/ 436912 h 578072"/>
                  <a:gd name="connsiteX131" fmla="*/ 977932 w 3587973"/>
                  <a:gd name="connsiteY131" fmla="*/ 436912 h 578072"/>
                  <a:gd name="connsiteX132" fmla="*/ 977932 w 3587973"/>
                  <a:gd name="connsiteY132" fmla="*/ 443008 h 578072"/>
                  <a:gd name="connsiteX133" fmla="*/ 988410 w 3587973"/>
                  <a:gd name="connsiteY133" fmla="*/ 443008 h 578072"/>
                  <a:gd name="connsiteX134" fmla="*/ 988410 w 3587973"/>
                  <a:gd name="connsiteY134" fmla="*/ 449199 h 578072"/>
                  <a:gd name="connsiteX135" fmla="*/ 1022128 w 3587973"/>
                  <a:gd name="connsiteY135" fmla="*/ 449199 h 578072"/>
                  <a:gd name="connsiteX136" fmla="*/ 1022128 w 3587973"/>
                  <a:gd name="connsiteY136" fmla="*/ 455295 h 578072"/>
                  <a:gd name="connsiteX137" fmla="*/ 1028415 w 3587973"/>
                  <a:gd name="connsiteY137" fmla="*/ 455295 h 578072"/>
                  <a:gd name="connsiteX138" fmla="*/ 1028415 w 3587973"/>
                  <a:gd name="connsiteY138" fmla="*/ 461391 h 578072"/>
                  <a:gd name="connsiteX139" fmla="*/ 1043083 w 3587973"/>
                  <a:gd name="connsiteY139" fmla="*/ 461391 h 578072"/>
                  <a:gd name="connsiteX140" fmla="*/ 1043083 w 3587973"/>
                  <a:gd name="connsiteY140" fmla="*/ 467487 h 578072"/>
                  <a:gd name="connsiteX141" fmla="*/ 1055751 w 3587973"/>
                  <a:gd name="connsiteY141" fmla="*/ 467487 h 578072"/>
                  <a:gd name="connsiteX142" fmla="*/ 1055751 w 3587973"/>
                  <a:gd name="connsiteY142" fmla="*/ 473678 h 578072"/>
                  <a:gd name="connsiteX143" fmla="*/ 1080993 w 3587973"/>
                  <a:gd name="connsiteY143" fmla="*/ 473678 h 578072"/>
                  <a:gd name="connsiteX144" fmla="*/ 1080993 w 3587973"/>
                  <a:gd name="connsiteY144" fmla="*/ 479774 h 578072"/>
                  <a:gd name="connsiteX145" fmla="*/ 1310259 w 3587973"/>
                  <a:gd name="connsiteY145" fmla="*/ 479774 h 578072"/>
                  <a:gd name="connsiteX146" fmla="*/ 1310259 w 3587973"/>
                  <a:gd name="connsiteY146" fmla="*/ 485966 h 578072"/>
                  <a:gd name="connsiteX147" fmla="*/ 1423797 w 3587973"/>
                  <a:gd name="connsiteY147" fmla="*/ 485966 h 578072"/>
                  <a:gd name="connsiteX148" fmla="*/ 1423797 w 3587973"/>
                  <a:gd name="connsiteY148" fmla="*/ 492157 h 578072"/>
                  <a:gd name="connsiteX149" fmla="*/ 1692974 w 3587973"/>
                  <a:gd name="connsiteY149" fmla="*/ 492157 h 578072"/>
                  <a:gd name="connsiteX150" fmla="*/ 1692974 w 3587973"/>
                  <a:gd name="connsiteY150" fmla="*/ 498443 h 578072"/>
                  <a:gd name="connsiteX151" fmla="*/ 1766602 w 3587973"/>
                  <a:gd name="connsiteY151" fmla="*/ 498443 h 578072"/>
                  <a:gd name="connsiteX152" fmla="*/ 1766602 w 3587973"/>
                  <a:gd name="connsiteY152" fmla="*/ 504730 h 578072"/>
                  <a:gd name="connsiteX153" fmla="*/ 1846517 w 3587973"/>
                  <a:gd name="connsiteY153" fmla="*/ 504730 h 578072"/>
                  <a:gd name="connsiteX154" fmla="*/ 1846517 w 3587973"/>
                  <a:gd name="connsiteY154" fmla="*/ 511016 h 578072"/>
                  <a:gd name="connsiteX155" fmla="*/ 2008442 w 3587973"/>
                  <a:gd name="connsiteY155" fmla="*/ 511016 h 578072"/>
                  <a:gd name="connsiteX156" fmla="*/ 2008442 w 3587973"/>
                  <a:gd name="connsiteY156" fmla="*/ 517493 h 578072"/>
                  <a:gd name="connsiteX157" fmla="*/ 2025301 w 3587973"/>
                  <a:gd name="connsiteY157" fmla="*/ 517493 h 578072"/>
                  <a:gd name="connsiteX158" fmla="*/ 2025301 w 3587973"/>
                  <a:gd name="connsiteY158" fmla="*/ 523875 h 578072"/>
                  <a:gd name="connsiteX159" fmla="*/ 2143125 w 3587973"/>
                  <a:gd name="connsiteY159" fmla="*/ 523875 h 578072"/>
                  <a:gd name="connsiteX160" fmla="*/ 2143125 w 3587973"/>
                  <a:gd name="connsiteY160" fmla="*/ 530352 h 578072"/>
                  <a:gd name="connsiteX161" fmla="*/ 2235613 w 3587973"/>
                  <a:gd name="connsiteY161" fmla="*/ 530352 h 578072"/>
                  <a:gd name="connsiteX162" fmla="*/ 2235613 w 3587973"/>
                  <a:gd name="connsiteY162" fmla="*/ 536734 h 578072"/>
                  <a:gd name="connsiteX163" fmla="*/ 2254568 w 3587973"/>
                  <a:gd name="connsiteY163" fmla="*/ 536734 h 578072"/>
                  <a:gd name="connsiteX164" fmla="*/ 2254568 w 3587973"/>
                  <a:gd name="connsiteY164" fmla="*/ 543211 h 578072"/>
                  <a:gd name="connsiteX165" fmla="*/ 3108389 w 3587973"/>
                  <a:gd name="connsiteY165" fmla="*/ 543211 h 578072"/>
                  <a:gd name="connsiteX166" fmla="*/ 3108389 w 3587973"/>
                  <a:gd name="connsiteY166" fmla="*/ 578072 h 578072"/>
                  <a:gd name="connsiteX167" fmla="*/ 3587973 w 3587973"/>
                  <a:gd name="connsiteY167" fmla="*/ 578072 h 578072"/>
                  <a:gd name="connsiteX0" fmla="*/ 0 w 3587973"/>
                  <a:gd name="connsiteY0" fmla="*/ 0 h 578072"/>
                  <a:gd name="connsiteX1" fmla="*/ 8382 w 3587973"/>
                  <a:gd name="connsiteY1" fmla="*/ 12097 h 578072"/>
                  <a:gd name="connsiteX2" fmla="*/ 14669 w 3587973"/>
                  <a:gd name="connsiteY2" fmla="*/ 12097 h 578072"/>
                  <a:gd name="connsiteX3" fmla="*/ 14669 w 3587973"/>
                  <a:gd name="connsiteY3" fmla="*/ 18193 h 578072"/>
                  <a:gd name="connsiteX4" fmla="*/ 18860 w 3587973"/>
                  <a:gd name="connsiteY4" fmla="*/ 18193 h 578072"/>
                  <a:gd name="connsiteX5" fmla="*/ 18860 w 3587973"/>
                  <a:gd name="connsiteY5" fmla="*/ 24289 h 578072"/>
                  <a:gd name="connsiteX6" fmla="*/ 23051 w 3587973"/>
                  <a:gd name="connsiteY6" fmla="*/ 24289 h 578072"/>
                  <a:gd name="connsiteX7" fmla="*/ 23051 w 3587973"/>
                  <a:gd name="connsiteY7" fmla="*/ 30385 h 578072"/>
                  <a:gd name="connsiteX8" fmla="*/ 25146 w 3587973"/>
                  <a:gd name="connsiteY8" fmla="*/ 30385 h 578072"/>
                  <a:gd name="connsiteX9" fmla="*/ 25146 w 3587973"/>
                  <a:gd name="connsiteY9" fmla="*/ 36386 h 578072"/>
                  <a:gd name="connsiteX10" fmla="*/ 27337 w 3587973"/>
                  <a:gd name="connsiteY10" fmla="*/ 36386 h 578072"/>
                  <a:gd name="connsiteX11" fmla="*/ 27337 w 3587973"/>
                  <a:gd name="connsiteY11" fmla="*/ 42482 h 578072"/>
                  <a:gd name="connsiteX12" fmla="*/ 37814 w 3587973"/>
                  <a:gd name="connsiteY12" fmla="*/ 42482 h 578072"/>
                  <a:gd name="connsiteX13" fmla="*/ 37814 w 3587973"/>
                  <a:gd name="connsiteY13" fmla="*/ 48578 h 578072"/>
                  <a:gd name="connsiteX14" fmla="*/ 44101 w 3587973"/>
                  <a:gd name="connsiteY14" fmla="*/ 48578 h 578072"/>
                  <a:gd name="connsiteX15" fmla="*/ 44101 w 3587973"/>
                  <a:gd name="connsiteY15" fmla="*/ 54578 h 578072"/>
                  <a:gd name="connsiteX16" fmla="*/ 58865 w 3587973"/>
                  <a:gd name="connsiteY16" fmla="*/ 54578 h 578072"/>
                  <a:gd name="connsiteX17" fmla="*/ 58865 w 3587973"/>
                  <a:gd name="connsiteY17" fmla="*/ 60674 h 578072"/>
                  <a:gd name="connsiteX18" fmla="*/ 67247 w 3587973"/>
                  <a:gd name="connsiteY18" fmla="*/ 60674 h 578072"/>
                  <a:gd name="connsiteX19" fmla="*/ 67247 w 3587973"/>
                  <a:gd name="connsiteY19" fmla="*/ 66770 h 578072"/>
                  <a:gd name="connsiteX20" fmla="*/ 77820 w 3587973"/>
                  <a:gd name="connsiteY20" fmla="*/ 66770 h 578072"/>
                  <a:gd name="connsiteX21" fmla="*/ 77820 w 3587973"/>
                  <a:gd name="connsiteY21" fmla="*/ 72771 h 578072"/>
                  <a:gd name="connsiteX22" fmla="*/ 90393 w 3587973"/>
                  <a:gd name="connsiteY22" fmla="*/ 72771 h 578072"/>
                  <a:gd name="connsiteX23" fmla="*/ 90393 w 3587973"/>
                  <a:gd name="connsiteY23" fmla="*/ 78867 h 578072"/>
                  <a:gd name="connsiteX24" fmla="*/ 96679 w 3587973"/>
                  <a:gd name="connsiteY24" fmla="*/ 78867 h 578072"/>
                  <a:gd name="connsiteX25" fmla="*/ 96679 w 3587973"/>
                  <a:gd name="connsiteY25" fmla="*/ 90964 h 578072"/>
                  <a:gd name="connsiteX26" fmla="*/ 100870 w 3587973"/>
                  <a:gd name="connsiteY26" fmla="*/ 90964 h 578072"/>
                  <a:gd name="connsiteX27" fmla="*/ 100870 w 3587973"/>
                  <a:gd name="connsiteY27" fmla="*/ 97060 h 578072"/>
                  <a:gd name="connsiteX28" fmla="*/ 113538 w 3587973"/>
                  <a:gd name="connsiteY28" fmla="*/ 97060 h 578072"/>
                  <a:gd name="connsiteX29" fmla="*/ 113538 w 3587973"/>
                  <a:gd name="connsiteY29" fmla="*/ 103156 h 578072"/>
                  <a:gd name="connsiteX30" fmla="*/ 128207 w 3587973"/>
                  <a:gd name="connsiteY30" fmla="*/ 103156 h 578072"/>
                  <a:gd name="connsiteX31" fmla="*/ 128207 w 3587973"/>
                  <a:gd name="connsiteY31" fmla="*/ 109157 h 578072"/>
                  <a:gd name="connsiteX32" fmla="*/ 132493 w 3587973"/>
                  <a:gd name="connsiteY32" fmla="*/ 109157 h 578072"/>
                  <a:gd name="connsiteX33" fmla="*/ 132493 w 3587973"/>
                  <a:gd name="connsiteY33" fmla="*/ 115253 h 578072"/>
                  <a:gd name="connsiteX34" fmla="*/ 142970 w 3587973"/>
                  <a:gd name="connsiteY34" fmla="*/ 115253 h 578072"/>
                  <a:gd name="connsiteX35" fmla="*/ 142970 w 3587973"/>
                  <a:gd name="connsiteY35" fmla="*/ 121349 h 578072"/>
                  <a:gd name="connsiteX36" fmla="*/ 151353 w 3587973"/>
                  <a:gd name="connsiteY36" fmla="*/ 121349 h 578072"/>
                  <a:gd name="connsiteX37" fmla="*/ 151353 w 3587973"/>
                  <a:gd name="connsiteY37" fmla="*/ 127445 h 578072"/>
                  <a:gd name="connsiteX38" fmla="*/ 166116 w 3587973"/>
                  <a:gd name="connsiteY38" fmla="*/ 127445 h 578072"/>
                  <a:gd name="connsiteX39" fmla="*/ 166116 w 3587973"/>
                  <a:gd name="connsiteY39" fmla="*/ 133445 h 578072"/>
                  <a:gd name="connsiteX40" fmla="*/ 170307 w 3587973"/>
                  <a:gd name="connsiteY40" fmla="*/ 133445 h 578072"/>
                  <a:gd name="connsiteX41" fmla="*/ 170307 w 3587973"/>
                  <a:gd name="connsiteY41" fmla="*/ 139541 h 578072"/>
                  <a:gd name="connsiteX42" fmla="*/ 174498 w 3587973"/>
                  <a:gd name="connsiteY42" fmla="*/ 139541 h 578072"/>
                  <a:gd name="connsiteX43" fmla="*/ 174498 w 3587973"/>
                  <a:gd name="connsiteY43" fmla="*/ 145637 h 578072"/>
                  <a:gd name="connsiteX44" fmla="*/ 187167 w 3587973"/>
                  <a:gd name="connsiteY44" fmla="*/ 145637 h 578072"/>
                  <a:gd name="connsiteX45" fmla="*/ 187167 w 3587973"/>
                  <a:gd name="connsiteY45" fmla="*/ 151638 h 578072"/>
                  <a:gd name="connsiteX46" fmla="*/ 216599 w 3587973"/>
                  <a:gd name="connsiteY46" fmla="*/ 151638 h 578072"/>
                  <a:gd name="connsiteX47" fmla="*/ 216599 w 3587973"/>
                  <a:gd name="connsiteY47" fmla="*/ 157734 h 578072"/>
                  <a:gd name="connsiteX48" fmla="*/ 224981 w 3587973"/>
                  <a:gd name="connsiteY48" fmla="*/ 157734 h 578072"/>
                  <a:gd name="connsiteX49" fmla="*/ 224981 w 3587973"/>
                  <a:gd name="connsiteY49" fmla="*/ 163830 h 578072"/>
                  <a:gd name="connsiteX50" fmla="*/ 227076 w 3587973"/>
                  <a:gd name="connsiteY50" fmla="*/ 163830 h 578072"/>
                  <a:gd name="connsiteX51" fmla="*/ 227076 w 3587973"/>
                  <a:gd name="connsiteY51" fmla="*/ 169831 h 578072"/>
                  <a:gd name="connsiteX52" fmla="*/ 241840 w 3587973"/>
                  <a:gd name="connsiteY52" fmla="*/ 169831 h 578072"/>
                  <a:gd name="connsiteX53" fmla="*/ 241840 w 3587973"/>
                  <a:gd name="connsiteY53" fmla="*/ 182023 h 578072"/>
                  <a:gd name="connsiteX54" fmla="*/ 243936 w 3587973"/>
                  <a:gd name="connsiteY54" fmla="*/ 182023 h 578072"/>
                  <a:gd name="connsiteX55" fmla="*/ 243936 w 3587973"/>
                  <a:gd name="connsiteY55" fmla="*/ 188024 h 578072"/>
                  <a:gd name="connsiteX56" fmla="*/ 250222 w 3587973"/>
                  <a:gd name="connsiteY56" fmla="*/ 188024 h 578072"/>
                  <a:gd name="connsiteX57" fmla="*/ 250222 w 3587973"/>
                  <a:gd name="connsiteY57" fmla="*/ 194120 h 578072"/>
                  <a:gd name="connsiteX58" fmla="*/ 254413 w 3587973"/>
                  <a:gd name="connsiteY58" fmla="*/ 194120 h 578072"/>
                  <a:gd name="connsiteX59" fmla="*/ 254413 w 3587973"/>
                  <a:gd name="connsiteY59" fmla="*/ 200216 h 578072"/>
                  <a:gd name="connsiteX60" fmla="*/ 271272 w 3587973"/>
                  <a:gd name="connsiteY60" fmla="*/ 200216 h 578072"/>
                  <a:gd name="connsiteX61" fmla="*/ 271272 w 3587973"/>
                  <a:gd name="connsiteY61" fmla="*/ 212312 h 578072"/>
                  <a:gd name="connsiteX62" fmla="*/ 275463 w 3587973"/>
                  <a:gd name="connsiteY62" fmla="*/ 212312 h 578072"/>
                  <a:gd name="connsiteX63" fmla="*/ 275463 w 3587973"/>
                  <a:gd name="connsiteY63" fmla="*/ 218408 h 578072"/>
                  <a:gd name="connsiteX64" fmla="*/ 298609 w 3587973"/>
                  <a:gd name="connsiteY64" fmla="*/ 218408 h 578072"/>
                  <a:gd name="connsiteX65" fmla="*/ 298609 w 3587973"/>
                  <a:gd name="connsiteY65" fmla="*/ 224504 h 578072"/>
                  <a:gd name="connsiteX66" fmla="*/ 302800 w 3587973"/>
                  <a:gd name="connsiteY66" fmla="*/ 224504 h 578072"/>
                  <a:gd name="connsiteX67" fmla="*/ 302800 w 3587973"/>
                  <a:gd name="connsiteY67" fmla="*/ 230505 h 578072"/>
                  <a:gd name="connsiteX68" fmla="*/ 309087 w 3587973"/>
                  <a:gd name="connsiteY68" fmla="*/ 230505 h 578072"/>
                  <a:gd name="connsiteX69" fmla="*/ 309087 w 3587973"/>
                  <a:gd name="connsiteY69" fmla="*/ 242697 h 578072"/>
                  <a:gd name="connsiteX70" fmla="*/ 328041 w 3587973"/>
                  <a:gd name="connsiteY70" fmla="*/ 242697 h 578072"/>
                  <a:gd name="connsiteX71" fmla="*/ 328041 w 3587973"/>
                  <a:gd name="connsiteY71" fmla="*/ 248698 h 578072"/>
                  <a:gd name="connsiteX72" fmla="*/ 336423 w 3587973"/>
                  <a:gd name="connsiteY72" fmla="*/ 248698 h 578072"/>
                  <a:gd name="connsiteX73" fmla="*/ 336423 w 3587973"/>
                  <a:gd name="connsiteY73" fmla="*/ 254794 h 578072"/>
                  <a:gd name="connsiteX74" fmla="*/ 349092 w 3587973"/>
                  <a:gd name="connsiteY74" fmla="*/ 254794 h 578072"/>
                  <a:gd name="connsiteX75" fmla="*/ 349092 w 3587973"/>
                  <a:gd name="connsiteY75" fmla="*/ 260890 h 578072"/>
                  <a:gd name="connsiteX76" fmla="*/ 365951 w 3587973"/>
                  <a:gd name="connsiteY76" fmla="*/ 260890 h 578072"/>
                  <a:gd name="connsiteX77" fmla="*/ 365951 w 3587973"/>
                  <a:gd name="connsiteY77" fmla="*/ 266891 h 578072"/>
                  <a:gd name="connsiteX78" fmla="*/ 393288 w 3587973"/>
                  <a:gd name="connsiteY78" fmla="*/ 266891 h 578072"/>
                  <a:gd name="connsiteX79" fmla="*/ 393288 w 3587973"/>
                  <a:gd name="connsiteY79" fmla="*/ 272987 h 578072"/>
                  <a:gd name="connsiteX80" fmla="*/ 395383 w 3587973"/>
                  <a:gd name="connsiteY80" fmla="*/ 272987 h 578072"/>
                  <a:gd name="connsiteX81" fmla="*/ 395383 w 3587973"/>
                  <a:gd name="connsiteY81" fmla="*/ 279083 h 578072"/>
                  <a:gd name="connsiteX82" fmla="*/ 405860 w 3587973"/>
                  <a:gd name="connsiteY82" fmla="*/ 279083 h 578072"/>
                  <a:gd name="connsiteX83" fmla="*/ 405860 w 3587973"/>
                  <a:gd name="connsiteY83" fmla="*/ 285083 h 578072"/>
                  <a:gd name="connsiteX84" fmla="*/ 412147 w 3587973"/>
                  <a:gd name="connsiteY84" fmla="*/ 285083 h 578072"/>
                  <a:gd name="connsiteX85" fmla="*/ 412147 w 3587973"/>
                  <a:gd name="connsiteY85" fmla="*/ 297275 h 578072"/>
                  <a:gd name="connsiteX86" fmla="*/ 420624 w 3587973"/>
                  <a:gd name="connsiteY86" fmla="*/ 297275 h 578072"/>
                  <a:gd name="connsiteX87" fmla="*/ 420624 w 3587973"/>
                  <a:gd name="connsiteY87" fmla="*/ 303276 h 578072"/>
                  <a:gd name="connsiteX88" fmla="*/ 426911 w 3587973"/>
                  <a:gd name="connsiteY88" fmla="*/ 303276 h 578072"/>
                  <a:gd name="connsiteX89" fmla="*/ 426911 w 3587973"/>
                  <a:gd name="connsiteY89" fmla="*/ 315468 h 578072"/>
                  <a:gd name="connsiteX90" fmla="*/ 429006 w 3587973"/>
                  <a:gd name="connsiteY90" fmla="*/ 315468 h 578072"/>
                  <a:gd name="connsiteX91" fmla="*/ 429006 w 3587973"/>
                  <a:gd name="connsiteY91" fmla="*/ 321564 h 578072"/>
                  <a:gd name="connsiteX92" fmla="*/ 441579 w 3587973"/>
                  <a:gd name="connsiteY92" fmla="*/ 321564 h 578072"/>
                  <a:gd name="connsiteX93" fmla="*/ 441579 w 3587973"/>
                  <a:gd name="connsiteY93" fmla="*/ 327565 h 578072"/>
                  <a:gd name="connsiteX94" fmla="*/ 464725 w 3587973"/>
                  <a:gd name="connsiteY94" fmla="*/ 327565 h 578072"/>
                  <a:gd name="connsiteX95" fmla="*/ 464725 w 3587973"/>
                  <a:gd name="connsiteY95" fmla="*/ 333661 h 578072"/>
                  <a:gd name="connsiteX96" fmla="*/ 471107 w 3587973"/>
                  <a:gd name="connsiteY96" fmla="*/ 333661 h 578072"/>
                  <a:gd name="connsiteX97" fmla="*/ 471107 w 3587973"/>
                  <a:gd name="connsiteY97" fmla="*/ 339757 h 578072"/>
                  <a:gd name="connsiteX98" fmla="*/ 479489 w 3587973"/>
                  <a:gd name="connsiteY98" fmla="*/ 339757 h 578072"/>
                  <a:gd name="connsiteX99" fmla="*/ 479489 w 3587973"/>
                  <a:gd name="connsiteY99" fmla="*/ 345758 h 578072"/>
                  <a:gd name="connsiteX100" fmla="*/ 487871 w 3587973"/>
                  <a:gd name="connsiteY100" fmla="*/ 345758 h 578072"/>
                  <a:gd name="connsiteX101" fmla="*/ 487871 w 3587973"/>
                  <a:gd name="connsiteY101" fmla="*/ 351854 h 578072"/>
                  <a:gd name="connsiteX102" fmla="*/ 492062 w 3587973"/>
                  <a:gd name="connsiteY102" fmla="*/ 351854 h 578072"/>
                  <a:gd name="connsiteX103" fmla="*/ 492062 w 3587973"/>
                  <a:gd name="connsiteY103" fmla="*/ 357950 h 578072"/>
                  <a:gd name="connsiteX104" fmla="*/ 565690 w 3587973"/>
                  <a:gd name="connsiteY104" fmla="*/ 357950 h 578072"/>
                  <a:gd name="connsiteX105" fmla="*/ 565690 w 3587973"/>
                  <a:gd name="connsiteY105" fmla="*/ 363950 h 578072"/>
                  <a:gd name="connsiteX106" fmla="*/ 586740 w 3587973"/>
                  <a:gd name="connsiteY106" fmla="*/ 363950 h 578072"/>
                  <a:gd name="connsiteX107" fmla="*/ 586740 w 3587973"/>
                  <a:gd name="connsiteY107" fmla="*/ 370046 h 578072"/>
                  <a:gd name="connsiteX108" fmla="*/ 593027 w 3587973"/>
                  <a:gd name="connsiteY108" fmla="*/ 370046 h 578072"/>
                  <a:gd name="connsiteX109" fmla="*/ 593027 w 3587973"/>
                  <a:gd name="connsiteY109" fmla="*/ 376142 h 578072"/>
                  <a:gd name="connsiteX110" fmla="*/ 635127 w 3587973"/>
                  <a:gd name="connsiteY110" fmla="*/ 376142 h 578072"/>
                  <a:gd name="connsiteX111" fmla="*/ 635127 w 3587973"/>
                  <a:gd name="connsiteY111" fmla="*/ 382143 h 578072"/>
                  <a:gd name="connsiteX112" fmla="*/ 649796 w 3587973"/>
                  <a:gd name="connsiteY112" fmla="*/ 382143 h 578072"/>
                  <a:gd name="connsiteX113" fmla="*/ 649796 w 3587973"/>
                  <a:gd name="connsiteY113" fmla="*/ 388239 h 578072"/>
                  <a:gd name="connsiteX114" fmla="*/ 679323 w 3587973"/>
                  <a:gd name="connsiteY114" fmla="*/ 388239 h 578072"/>
                  <a:gd name="connsiteX115" fmla="*/ 679323 w 3587973"/>
                  <a:gd name="connsiteY115" fmla="*/ 394335 h 578072"/>
                  <a:gd name="connsiteX116" fmla="*/ 681419 w 3587973"/>
                  <a:gd name="connsiteY116" fmla="*/ 394335 h 578072"/>
                  <a:gd name="connsiteX117" fmla="*/ 681419 w 3587973"/>
                  <a:gd name="connsiteY117" fmla="*/ 400336 h 578072"/>
                  <a:gd name="connsiteX118" fmla="*/ 704469 w 3587973"/>
                  <a:gd name="connsiteY118" fmla="*/ 400336 h 578072"/>
                  <a:gd name="connsiteX119" fmla="*/ 704469 w 3587973"/>
                  <a:gd name="connsiteY119" fmla="*/ 406432 h 578072"/>
                  <a:gd name="connsiteX120" fmla="*/ 717138 w 3587973"/>
                  <a:gd name="connsiteY120" fmla="*/ 406432 h 578072"/>
                  <a:gd name="connsiteX121" fmla="*/ 717138 w 3587973"/>
                  <a:gd name="connsiteY121" fmla="*/ 412528 h 578072"/>
                  <a:gd name="connsiteX122" fmla="*/ 752856 w 3587973"/>
                  <a:gd name="connsiteY122" fmla="*/ 412528 h 578072"/>
                  <a:gd name="connsiteX123" fmla="*/ 752856 w 3587973"/>
                  <a:gd name="connsiteY123" fmla="*/ 418624 h 578072"/>
                  <a:gd name="connsiteX124" fmla="*/ 868585 w 3587973"/>
                  <a:gd name="connsiteY124" fmla="*/ 418624 h 578072"/>
                  <a:gd name="connsiteX125" fmla="*/ 868585 w 3587973"/>
                  <a:gd name="connsiteY125" fmla="*/ 424625 h 578072"/>
                  <a:gd name="connsiteX126" fmla="*/ 906399 w 3587973"/>
                  <a:gd name="connsiteY126" fmla="*/ 424625 h 578072"/>
                  <a:gd name="connsiteX127" fmla="*/ 906399 w 3587973"/>
                  <a:gd name="connsiteY127" fmla="*/ 430816 h 578072"/>
                  <a:gd name="connsiteX128" fmla="*/ 958977 w 3587973"/>
                  <a:gd name="connsiteY128" fmla="*/ 430816 h 578072"/>
                  <a:gd name="connsiteX129" fmla="*/ 958977 w 3587973"/>
                  <a:gd name="connsiteY129" fmla="*/ 436912 h 578072"/>
                  <a:gd name="connsiteX130" fmla="*/ 977932 w 3587973"/>
                  <a:gd name="connsiteY130" fmla="*/ 436912 h 578072"/>
                  <a:gd name="connsiteX131" fmla="*/ 977932 w 3587973"/>
                  <a:gd name="connsiteY131" fmla="*/ 443008 h 578072"/>
                  <a:gd name="connsiteX132" fmla="*/ 988410 w 3587973"/>
                  <a:gd name="connsiteY132" fmla="*/ 443008 h 578072"/>
                  <a:gd name="connsiteX133" fmla="*/ 988410 w 3587973"/>
                  <a:gd name="connsiteY133" fmla="*/ 449199 h 578072"/>
                  <a:gd name="connsiteX134" fmla="*/ 1022128 w 3587973"/>
                  <a:gd name="connsiteY134" fmla="*/ 449199 h 578072"/>
                  <a:gd name="connsiteX135" fmla="*/ 1022128 w 3587973"/>
                  <a:gd name="connsiteY135" fmla="*/ 455295 h 578072"/>
                  <a:gd name="connsiteX136" fmla="*/ 1028415 w 3587973"/>
                  <a:gd name="connsiteY136" fmla="*/ 455295 h 578072"/>
                  <a:gd name="connsiteX137" fmla="*/ 1028415 w 3587973"/>
                  <a:gd name="connsiteY137" fmla="*/ 461391 h 578072"/>
                  <a:gd name="connsiteX138" fmla="*/ 1043083 w 3587973"/>
                  <a:gd name="connsiteY138" fmla="*/ 461391 h 578072"/>
                  <a:gd name="connsiteX139" fmla="*/ 1043083 w 3587973"/>
                  <a:gd name="connsiteY139" fmla="*/ 467487 h 578072"/>
                  <a:gd name="connsiteX140" fmla="*/ 1055751 w 3587973"/>
                  <a:gd name="connsiteY140" fmla="*/ 467487 h 578072"/>
                  <a:gd name="connsiteX141" fmla="*/ 1055751 w 3587973"/>
                  <a:gd name="connsiteY141" fmla="*/ 473678 h 578072"/>
                  <a:gd name="connsiteX142" fmla="*/ 1080993 w 3587973"/>
                  <a:gd name="connsiteY142" fmla="*/ 473678 h 578072"/>
                  <a:gd name="connsiteX143" fmla="*/ 1080993 w 3587973"/>
                  <a:gd name="connsiteY143" fmla="*/ 479774 h 578072"/>
                  <a:gd name="connsiteX144" fmla="*/ 1310259 w 3587973"/>
                  <a:gd name="connsiteY144" fmla="*/ 479774 h 578072"/>
                  <a:gd name="connsiteX145" fmla="*/ 1310259 w 3587973"/>
                  <a:gd name="connsiteY145" fmla="*/ 485966 h 578072"/>
                  <a:gd name="connsiteX146" fmla="*/ 1423797 w 3587973"/>
                  <a:gd name="connsiteY146" fmla="*/ 485966 h 578072"/>
                  <a:gd name="connsiteX147" fmla="*/ 1423797 w 3587973"/>
                  <a:gd name="connsiteY147" fmla="*/ 492157 h 578072"/>
                  <a:gd name="connsiteX148" fmla="*/ 1692974 w 3587973"/>
                  <a:gd name="connsiteY148" fmla="*/ 492157 h 578072"/>
                  <a:gd name="connsiteX149" fmla="*/ 1692974 w 3587973"/>
                  <a:gd name="connsiteY149" fmla="*/ 498443 h 578072"/>
                  <a:gd name="connsiteX150" fmla="*/ 1766602 w 3587973"/>
                  <a:gd name="connsiteY150" fmla="*/ 498443 h 578072"/>
                  <a:gd name="connsiteX151" fmla="*/ 1766602 w 3587973"/>
                  <a:gd name="connsiteY151" fmla="*/ 504730 h 578072"/>
                  <a:gd name="connsiteX152" fmla="*/ 1846517 w 3587973"/>
                  <a:gd name="connsiteY152" fmla="*/ 504730 h 578072"/>
                  <a:gd name="connsiteX153" fmla="*/ 1846517 w 3587973"/>
                  <a:gd name="connsiteY153" fmla="*/ 511016 h 578072"/>
                  <a:gd name="connsiteX154" fmla="*/ 2008442 w 3587973"/>
                  <a:gd name="connsiteY154" fmla="*/ 511016 h 578072"/>
                  <a:gd name="connsiteX155" fmla="*/ 2008442 w 3587973"/>
                  <a:gd name="connsiteY155" fmla="*/ 517493 h 578072"/>
                  <a:gd name="connsiteX156" fmla="*/ 2025301 w 3587973"/>
                  <a:gd name="connsiteY156" fmla="*/ 517493 h 578072"/>
                  <a:gd name="connsiteX157" fmla="*/ 2025301 w 3587973"/>
                  <a:gd name="connsiteY157" fmla="*/ 523875 h 578072"/>
                  <a:gd name="connsiteX158" fmla="*/ 2143125 w 3587973"/>
                  <a:gd name="connsiteY158" fmla="*/ 523875 h 578072"/>
                  <a:gd name="connsiteX159" fmla="*/ 2143125 w 3587973"/>
                  <a:gd name="connsiteY159" fmla="*/ 530352 h 578072"/>
                  <a:gd name="connsiteX160" fmla="*/ 2235613 w 3587973"/>
                  <a:gd name="connsiteY160" fmla="*/ 530352 h 578072"/>
                  <a:gd name="connsiteX161" fmla="*/ 2235613 w 3587973"/>
                  <a:gd name="connsiteY161" fmla="*/ 536734 h 578072"/>
                  <a:gd name="connsiteX162" fmla="*/ 2254568 w 3587973"/>
                  <a:gd name="connsiteY162" fmla="*/ 536734 h 578072"/>
                  <a:gd name="connsiteX163" fmla="*/ 2254568 w 3587973"/>
                  <a:gd name="connsiteY163" fmla="*/ 543211 h 578072"/>
                  <a:gd name="connsiteX164" fmla="*/ 3108389 w 3587973"/>
                  <a:gd name="connsiteY164" fmla="*/ 543211 h 578072"/>
                  <a:gd name="connsiteX165" fmla="*/ 3108389 w 3587973"/>
                  <a:gd name="connsiteY165" fmla="*/ 578072 h 578072"/>
                  <a:gd name="connsiteX166" fmla="*/ 3587973 w 3587973"/>
                  <a:gd name="connsiteY166" fmla="*/ 578072 h 578072"/>
                  <a:gd name="connsiteX0" fmla="*/ 0 w 3579591"/>
                  <a:gd name="connsiteY0" fmla="*/ 0 h 565975"/>
                  <a:gd name="connsiteX1" fmla="*/ 6287 w 3579591"/>
                  <a:gd name="connsiteY1" fmla="*/ 0 h 565975"/>
                  <a:gd name="connsiteX2" fmla="*/ 6287 w 3579591"/>
                  <a:gd name="connsiteY2" fmla="*/ 6096 h 565975"/>
                  <a:gd name="connsiteX3" fmla="*/ 10478 w 3579591"/>
                  <a:gd name="connsiteY3" fmla="*/ 6096 h 565975"/>
                  <a:gd name="connsiteX4" fmla="*/ 10478 w 3579591"/>
                  <a:gd name="connsiteY4" fmla="*/ 12192 h 565975"/>
                  <a:gd name="connsiteX5" fmla="*/ 14669 w 3579591"/>
                  <a:gd name="connsiteY5" fmla="*/ 12192 h 565975"/>
                  <a:gd name="connsiteX6" fmla="*/ 14669 w 3579591"/>
                  <a:gd name="connsiteY6" fmla="*/ 18288 h 565975"/>
                  <a:gd name="connsiteX7" fmla="*/ 16764 w 3579591"/>
                  <a:gd name="connsiteY7" fmla="*/ 18288 h 565975"/>
                  <a:gd name="connsiteX8" fmla="*/ 16764 w 3579591"/>
                  <a:gd name="connsiteY8" fmla="*/ 24289 h 565975"/>
                  <a:gd name="connsiteX9" fmla="*/ 18955 w 3579591"/>
                  <a:gd name="connsiteY9" fmla="*/ 24289 h 565975"/>
                  <a:gd name="connsiteX10" fmla="*/ 18955 w 3579591"/>
                  <a:gd name="connsiteY10" fmla="*/ 30385 h 565975"/>
                  <a:gd name="connsiteX11" fmla="*/ 29432 w 3579591"/>
                  <a:gd name="connsiteY11" fmla="*/ 30385 h 565975"/>
                  <a:gd name="connsiteX12" fmla="*/ 29432 w 3579591"/>
                  <a:gd name="connsiteY12" fmla="*/ 36481 h 565975"/>
                  <a:gd name="connsiteX13" fmla="*/ 35719 w 3579591"/>
                  <a:gd name="connsiteY13" fmla="*/ 36481 h 565975"/>
                  <a:gd name="connsiteX14" fmla="*/ 35719 w 3579591"/>
                  <a:gd name="connsiteY14" fmla="*/ 42481 h 565975"/>
                  <a:gd name="connsiteX15" fmla="*/ 50483 w 3579591"/>
                  <a:gd name="connsiteY15" fmla="*/ 42481 h 565975"/>
                  <a:gd name="connsiteX16" fmla="*/ 50483 w 3579591"/>
                  <a:gd name="connsiteY16" fmla="*/ 48577 h 565975"/>
                  <a:gd name="connsiteX17" fmla="*/ 58865 w 3579591"/>
                  <a:gd name="connsiteY17" fmla="*/ 48577 h 565975"/>
                  <a:gd name="connsiteX18" fmla="*/ 58865 w 3579591"/>
                  <a:gd name="connsiteY18" fmla="*/ 54673 h 565975"/>
                  <a:gd name="connsiteX19" fmla="*/ 69438 w 3579591"/>
                  <a:gd name="connsiteY19" fmla="*/ 54673 h 565975"/>
                  <a:gd name="connsiteX20" fmla="*/ 69438 w 3579591"/>
                  <a:gd name="connsiteY20" fmla="*/ 60674 h 565975"/>
                  <a:gd name="connsiteX21" fmla="*/ 82011 w 3579591"/>
                  <a:gd name="connsiteY21" fmla="*/ 60674 h 565975"/>
                  <a:gd name="connsiteX22" fmla="*/ 82011 w 3579591"/>
                  <a:gd name="connsiteY22" fmla="*/ 66770 h 565975"/>
                  <a:gd name="connsiteX23" fmla="*/ 88297 w 3579591"/>
                  <a:gd name="connsiteY23" fmla="*/ 66770 h 565975"/>
                  <a:gd name="connsiteX24" fmla="*/ 88297 w 3579591"/>
                  <a:gd name="connsiteY24" fmla="*/ 78867 h 565975"/>
                  <a:gd name="connsiteX25" fmla="*/ 92488 w 3579591"/>
                  <a:gd name="connsiteY25" fmla="*/ 78867 h 565975"/>
                  <a:gd name="connsiteX26" fmla="*/ 92488 w 3579591"/>
                  <a:gd name="connsiteY26" fmla="*/ 84963 h 565975"/>
                  <a:gd name="connsiteX27" fmla="*/ 105156 w 3579591"/>
                  <a:gd name="connsiteY27" fmla="*/ 84963 h 565975"/>
                  <a:gd name="connsiteX28" fmla="*/ 105156 w 3579591"/>
                  <a:gd name="connsiteY28" fmla="*/ 91059 h 565975"/>
                  <a:gd name="connsiteX29" fmla="*/ 119825 w 3579591"/>
                  <a:gd name="connsiteY29" fmla="*/ 91059 h 565975"/>
                  <a:gd name="connsiteX30" fmla="*/ 119825 w 3579591"/>
                  <a:gd name="connsiteY30" fmla="*/ 97060 h 565975"/>
                  <a:gd name="connsiteX31" fmla="*/ 124111 w 3579591"/>
                  <a:gd name="connsiteY31" fmla="*/ 97060 h 565975"/>
                  <a:gd name="connsiteX32" fmla="*/ 124111 w 3579591"/>
                  <a:gd name="connsiteY32" fmla="*/ 103156 h 565975"/>
                  <a:gd name="connsiteX33" fmla="*/ 134588 w 3579591"/>
                  <a:gd name="connsiteY33" fmla="*/ 103156 h 565975"/>
                  <a:gd name="connsiteX34" fmla="*/ 134588 w 3579591"/>
                  <a:gd name="connsiteY34" fmla="*/ 109252 h 565975"/>
                  <a:gd name="connsiteX35" fmla="*/ 142971 w 3579591"/>
                  <a:gd name="connsiteY35" fmla="*/ 109252 h 565975"/>
                  <a:gd name="connsiteX36" fmla="*/ 142971 w 3579591"/>
                  <a:gd name="connsiteY36" fmla="*/ 115348 h 565975"/>
                  <a:gd name="connsiteX37" fmla="*/ 157734 w 3579591"/>
                  <a:gd name="connsiteY37" fmla="*/ 115348 h 565975"/>
                  <a:gd name="connsiteX38" fmla="*/ 157734 w 3579591"/>
                  <a:gd name="connsiteY38" fmla="*/ 121348 h 565975"/>
                  <a:gd name="connsiteX39" fmla="*/ 161925 w 3579591"/>
                  <a:gd name="connsiteY39" fmla="*/ 121348 h 565975"/>
                  <a:gd name="connsiteX40" fmla="*/ 161925 w 3579591"/>
                  <a:gd name="connsiteY40" fmla="*/ 127444 h 565975"/>
                  <a:gd name="connsiteX41" fmla="*/ 166116 w 3579591"/>
                  <a:gd name="connsiteY41" fmla="*/ 127444 h 565975"/>
                  <a:gd name="connsiteX42" fmla="*/ 166116 w 3579591"/>
                  <a:gd name="connsiteY42" fmla="*/ 133540 h 565975"/>
                  <a:gd name="connsiteX43" fmla="*/ 178785 w 3579591"/>
                  <a:gd name="connsiteY43" fmla="*/ 133540 h 565975"/>
                  <a:gd name="connsiteX44" fmla="*/ 178785 w 3579591"/>
                  <a:gd name="connsiteY44" fmla="*/ 139541 h 565975"/>
                  <a:gd name="connsiteX45" fmla="*/ 208217 w 3579591"/>
                  <a:gd name="connsiteY45" fmla="*/ 139541 h 565975"/>
                  <a:gd name="connsiteX46" fmla="*/ 208217 w 3579591"/>
                  <a:gd name="connsiteY46" fmla="*/ 145637 h 565975"/>
                  <a:gd name="connsiteX47" fmla="*/ 216599 w 3579591"/>
                  <a:gd name="connsiteY47" fmla="*/ 145637 h 565975"/>
                  <a:gd name="connsiteX48" fmla="*/ 216599 w 3579591"/>
                  <a:gd name="connsiteY48" fmla="*/ 151733 h 565975"/>
                  <a:gd name="connsiteX49" fmla="*/ 218694 w 3579591"/>
                  <a:gd name="connsiteY49" fmla="*/ 151733 h 565975"/>
                  <a:gd name="connsiteX50" fmla="*/ 218694 w 3579591"/>
                  <a:gd name="connsiteY50" fmla="*/ 157734 h 565975"/>
                  <a:gd name="connsiteX51" fmla="*/ 233458 w 3579591"/>
                  <a:gd name="connsiteY51" fmla="*/ 157734 h 565975"/>
                  <a:gd name="connsiteX52" fmla="*/ 233458 w 3579591"/>
                  <a:gd name="connsiteY52" fmla="*/ 169926 h 565975"/>
                  <a:gd name="connsiteX53" fmla="*/ 235554 w 3579591"/>
                  <a:gd name="connsiteY53" fmla="*/ 169926 h 565975"/>
                  <a:gd name="connsiteX54" fmla="*/ 235554 w 3579591"/>
                  <a:gd name="connsiteY54" fmla="*/ 175927 h 565975"/>
                  <a:gd name="connsiteX55" fmla="*/ 241840 w 3579591"/>
                  <a:gd name="connsiteY55" fmla="*/ 175927 h 565975"/>
                  <a:gd name="connsiteX56" fmla="*/ 241840 w 3579591"/>
                  <a:gd name="connsiteY56" fmla="*/ 182023 h 565975"/>
                  <a:gd name="connsiteX57" fmla="*/ 246031 w 3579591"/>
                  <a:gd name="connsiteY57" fmla="*/ 182023 h 565975"/>
                  <a:gd name="connsiteX58" fmla="*/ 246031 w 3579591"/>
                  <a:gd name="connsiteY58" fmla="*/ 188119 h 565975"/>
                  <a:gd name="connsiteX59" fmla="*/ 262890 w 3579591"/>
                  <a:gd name="connsiteY59" fmla="*/ 188119 h 565975"/>
                  <a:gd name="connsiteX60" fmla="*/ 262890 w 3579591"/>
                  <a:gd name="connsiteY60" fmla="*/ 200215 h 565975"/>
                  <a:gd name="connsiteX61" fmla="*/ 267081 w 3579591"/>
                  <a:gd name="connsiteY61" fmla="*/ 200215 h 565975"/>
                  <a:gd name="connsiteX62" fmla="*/ 267081 w 3579591"/>
                  <a:gd name="connsiteY62" fmla="*/ 206311 h 565975"/>
                  <a:gd name="connsiteX63" fmla="*/ 290227 w 3579591"/>
                  <a:gd name="connsiteY63" fmla="*/ 206311 h 565975"/>
                  <a:gd name="connsiteX64" fmla="*/ 290227 w 3579591"/>
                  <a:gd name="connsiteY64" fmla="*/ 212407 h 565975"/>
                  <a:gd name="connsiteX65" fmla="*/ 294418 w 3579591"/>
                  <a:gd name="connsiteY65" fmla="*/ 212407 h 565975"/>
                  <a:gd name="connsiteX66" fmla="*/ 294418 w 3579591"/>
                  <a:gd name="connsiteY66" fmla="*/ 218408 h 565975"/>
                  <a:gd name="connsiteX67" fmla="*/ 300705 w 3579591"/>
                  <a:gd name="connsiteY67" fmla="*/ 218408 h 565975"/>
                  <a:gd name="connsiteX68" fmla="*/ 300705 w 3579591"/>
                  <a:gd name="connsiteY68" fmla="*/ 230600 h 565975"/>
                  <a:gd name="connsiteX69" fmla="*/ 319659 w 3579591"/>
                  <a:gd name="connsiteY69" fmla="*/ 230600 h 565975"/>
                  <a:gd name="connsiteX70" fmla="*/ 319659 w 3579591"/>
                  <a:gd name="connsiteY70" fmla="*/ 236601 h 565975"/>
                  <a:gd name="connsiteX71" fmla="*/ 328041 w 3579591"/>
                  <a:gd name="connsiteY71" fmla="*/ 236601 h 565975"/>
                  <a:gd name="connsiteX72" fmla="*/ 328041 w 3579591"/>
                  <a:gd name="connsiteY72" fmla="*/ 242697 h 565975"/>
                  <a:gd name="connsiteX73" fmla="*/ 340710 w 3579591"/>
                  <a:gd name="connsiteY73" fmla="*/ 242697 h 565975"/>
                  <a:gd name="connsiteX74" fmla="*/ 340710 w 3579591"/>
                  <a:gd name="connsiteY74" fmla="*/ 248793 h 565975"/>
                  <a:gd name="connsiteX75" fmla="*/ 357569 w 3579591"/>
                  <a:gd name="connsiteY75" fmla="*/ 248793 h 565975"/>
                  <a:gd name="connsiteX76" fmla="*/ 357569 w 3579591"/>
                  <a:gd name="connsiteY76" fmla="*/ 254794 h 565975"/>
                  <a:gd name="connsiteX77" fmla="*/ 384906 w 3579591"/>
                  <a:gd name="connsiteY77" fmla="*/ 254794 h 565975"/>
                  <a:gd name="connsiteX78" fmla="*/ 384906 w 3579591"/>
                  <a:gd name="connsiteY78" fmla="*/ 260890 h 565975"/>
                  <a:gd name="connsiteX79" fmla="*/ 387001 w 3579591"/>
                  <a:gd name="connsiteY79" fmla="*/ 260890 h 565975"/>
                  <a:gd name="connsiteX80" fmla="*/ 387001 w 3579591"/>
                  <a:gd name="connsiteY80" fmla="*/ 266986 h 565975"/>
                  <a:gd name="connsiteX81" fmla="*/ 397478 w 3579591"/>
                  <a:gd name="connsiteY81" fmla="*/ 266986 h 565975"/>
                  <a:gd name="connsiteX82" fmla="*/ 397478 w 3579591"/>
                  <a:gd name="connsiteY82" fmla="*/ 272986 h 565975"/>
                  <a:gd name="connsiteX83" fmla="*/ 403765 w 3579591"/>
                  <a:gd name="connsiteY83" fmla="*/ 272986 h 565975"/>
                  <a:gd name="connsiteX84" fmla="*/ 403765 w 3579591"/>
                  <a:gd name="connsiteY84" fmla="*/ 285178 h 565975"/>
                  <a:gd name="connsiteX85" fmla="*/ 412242 w 3579591"/>
                  <a:gd name="connsiteY85" fmla="*/ 285178 h 565975"/>
                  <a:gd name="connsiteX86" fmla="*/ 412242 w 3579591"/>
                  <a:gd name="connsiteY86" fmla="*/ 291179 h 565975"/>
                  <a:gd name="connsiteX87" fmla="*/ 418529 w 3579591"/>
                  <a:gd name="connsiteY87" fmla="*/ 291179 h 565975"/>
                  <a:gd name="connsiteX88" fmla="*/ 418529 w 3579591"/>
                  <a:gd name="connsiteY88" fmla="*/ 303371 h 565975"/>
                  <a:gd name="connsiteX89" fmla="*/ 420624 w 3579591"/>
                  <a:gd name="connsiteY89" fmla="*/ 303371 h 565975"/>
                  <a:gd name="connsiteX90" fmla="*/ 420624 w 3579591"/>
                  <a:gd name="connsiteY90" fmla="*/ 309467 h 565975"/>
                  <a:gd name="connsiteX91" fmla="*/ 433197 w 3579591"/>
                  <a:gd name="connsiteY91" fmla="*/ 309467 h 565975"/>
                  <a:gd name="connsiteX92" fmla="*/ 433197 w 3579591"/>
                  <a:gd name="connsiteY92" fmla="*/ 315468 h 565975"/>
                  <a:gd name="connsiteX93" fmla="*/ 456343 w 3579591"/>
                  <a:gd name="connsiteY93" fmla="*/ 315468 h 565975"/>
                  <a:gd name="connsiteX94" fmla="*/ 456343 w 3579591"/>
                  <a:gd name="connsiteY94" fmla="*/ 321564 h 565975"/>
                  <a:gd name="connsiteX95" fmla="*/ 462725 w 3579591"/>
                  <a:gd name="connsiteY95" fmla="*/ 321564 h 565975"/>
                  <a:gd name="connsiteX96" fmla="*/ 462725 w 3579591"/>
                  <a:gd name="connsiteY96" fmla="*/ 327660 h 565975"/>
                  <a:gd name="connsiteX97" fmla="*/ 471107 w 3579591"/>
                  <a:gd name="connsiteY97" fmla="*/ 327660 h 565975"/>
                  <a:gd name="connsiteX98" fmla="*/ 471107 w 3579591"/>
                  <a:gd name="connsiteY98" fmla="*/ 333661 h 565975"/>
                  <a:gd name="connsiteX99" fmla="*/ 479489 w 3579591"/>
                  <a:gd name="connsiteY99" fmla="*/ 333661 h 565975"/>
                  <a:gd name="connsiteX100" fmla="*/ 479489 w 3579591"/>
                  <a:gd name="connsiteY100" fmla="*/ 339757 h 565975"/>
                  <a:gd name="connsiteX101" fmla="*/ 483680 w 3579591"/>
                  <a:gd name="connsiteY101" fmla="*/ 339757 h 565975"/>
                  <a:gd name="connsiteX102" fmla="*/ 483680 w 3579591"/>
                  <a:gd name="connsiteY102" fmla="*/ 345853 h 565975"/>
                  <a:gd name="connsiteX103" fmla="*/ 557308 w 3579591"/>
                  <a:gd name="connsiteY103" fmla="*/ 345853 h 565975"/>
                  <a:gd name="connsiteX104" fmla="*/ 557308 w 3579591"/>
                  <a:gd name="connsiteY104" fmla="*/ 351853 h 565975"/>
                  <a:gd name="connsiteX105" fmla="*/ 578358 w 3579591"/>
                  <a:gd name="connsiteY105" fmla="*/ 351853 h 565975"/>
                  <a:gd name="connsiteX106" fmla="*/ 578358 w 3579591"/>
                  <a:gd name="connsiteY106" fmla="*/ 357949 h 565975"/>
                  <a:gd name="connsiteX107" fmla="*/ 584645 w 3579591"/>
                  <a:gd name="connsiteY107" fmla="*/ 357949 h 565975"/>
                  <a:gd name="connsiteX108" fmla="*/ 584645 w 3579591"/>
                  <a:gd name="connsiteY108" fmla="*/ 364045 h 565975"/>
                  <a:gd name="connsiteX109" fmla="*/ 626745 w 3579591"/>
                  <a:gd name="connsiteY109" fmla="*/ 364045 h 565975"/>
                  <a:gd name="connsiteX110" fmla="*/ 626745 w 3579591"/>
                  <a:gd name="connsiteY110" fmla="*/ 370046 h 565975"/>
                  <a:gd name="connsiteX111" fmla="*/ 641414 w 3579591"/>
                  <a:gd name="connsiteY111" fmla="*/ 370046 h 565975"/>
                  <a:gd name="connsiteX112" fmla="*/ 641414 w 3579591"/>
                  <a:gd name="connsiteY112" fmla="*/ 376142 h 565975"/>
                  <a:gd name="connsiteX113" fmla="*/ 670941 w 3579591"/>
                  <a:gd name="connsiteY113" fmla="*/ 376142 h 565975"/>
                  <a:gd name="connsiteX114" fmla="*/ 670941 w 3579591"/>
                  <a:gd name="connsiteY114" fmla="*/ 382238 h 565975"/>
                  <a:gd name="connsiteX115" fmla="*/ 673037 w 3579591"/>
                  <a:gd name="connsiteY115" fmla="*/ 382238 h 565975"/>
                  <a:gd name="connsiteX116" fmla="*/ 673037 w 3579591"/>
                  <a:gd name="connsiteY116" fmla="*/ 388239 h 565975"/>
                  <a:gd name="connsiteX117" fmla="*/ 696087 w 3579591"/>
                  <a:gd name="connsiteY117" fmla="*/ 388239 h 565975"/>
                  <a:gd name="connsiteX118" fmla="*/ 696087 w 3579591"/>
                  <a:gd name="connsiteY118" fmla="*/ 394335 h 565975"/>
                  <a:gd name="connsiteX119" fmla="*/ 708756 w 3579591"/>
                  <a:gd name="connsiteY119" fmla="*/ 394335 h 565975"/>
                  <a:gd name="connsiteX120" fmla="*/ 708756 w 3579591"/>
                  <a:gd name="connsiteY120" fmla="*/ 400431 h 565975"/>
                  <a:gd name="connsiteX121" fmla="*/ 744474 w 3579591"/>
                  <a:gd name="connsiteY121" fmla="*/ 400431 h 565975"/>
                  <a:gd name="connsiteX122" fmla="*/ 744474 w 3579591"/>
                  <a:gd name="connsiteY122" fmla="*/ 406527 h 565975"/>
                  <a:gd name="connsiteX123" fmla="*/ 860203 w 3579591"/>
                  <a:gd name="connsiteY123" fmla="*/ 406527 h 565975"/>
                  <a:gd name="connsiteX124" fmla="*/ 860203 w 3579591"/>
                  <a:gd name="connsiteY124" fmla="*/ 412528 h 565975"/>
                  <a:gd name="connsiteX125" fmla="*/ 898017 w 3579591"/>
                  <a:gd name="connsiteY125" fmla="*/ 412528 h 565975"/>
                  <a:gd name="connsiteX126" fmla="*/ 898017 w 3579591"/>
                  <a:gd name="connsiteY126" fmla="*/ 418719 h 565975"/>
                  <a:gd name="connsiteX127" fmla="*/ 950595 w 3579591"/>
                  <a:gd name="connsiteY127" fmla="*/ 418719 h 565975"/>
                  <a:gd name="connsiteX128" fmla="*/ 950595 w 3579591"/>
                  <a:gd name="connsiteY128" fmla="*/ 424815 h 565975"/>
                  <a:gd name="connsiteX129" fmla="*/ 969550 w 3579591"/>
                  <a:gd name="connsiteY129" fmla="*/ 424815 h 565975"/>
                  <a:gd name="connsiteX130" fmla="*/ 969550 w 3579591"/>
                  <a:gd name="connsiteY130" fmla="*/ 430911 h 565975"/>
                  <a:gd name="connsiteX131" fmla="*/ 980028 w 3579591"/>
                  <a:gd name="connsiteY131" fmla="*/ 430911 h 565975"/>
                  <a:gd name="connsiteX132" fmla="*/ 980028 w 3579591"/>
                  <a:gd name="connsiteY132" fmla="*/ 437102 h 565975"/>
                  <a:gd name="connsiteX133" fmla="*/ 1013746 w 3579591"/>
                  <a:gd name="connsiteY133" fmla="*/ 437102 h 565975"/>
                  <a:gd name="connsiteX134" fmla="*/ 1013746 w 3579591"/>
                  <a:gd name="connsiteY134" fmla="*/ 443198 h 565975"/>
                  <a:gd name="connsiteX135" fmla="*/ 1020033 w 3579591"/>
                  <a:gd name="connsiteY135" fmla="*/ 443198 h 565975"/>
                  <a:gd name="connsiteX136" fmla="*/ 1020033 w 3579591"/>
                  <a:gd name="connsiteY136" fmla="*/ 449294 h 565975"/>
                  <a:gd name="connsiteX137" fmla="*/ 1034701 w 3579591"/>
                  <a:gd name="connsiteY137" fmla="*/ 449294 h 565975"/>
                  <a:gd name="connsiteX138" fmla="*/ 1034701 w 3579591"/>
                  <a:gd name="connsiteY138" fmla="*/ 455390 h 565975"/>
                  <a:gd name="connsiteX139" fmla="*/ 1047369 w 3579591"/>
                  <a:gd name="connsiteY139" fmla="*/ 455390 h 565975"/>
                  <a:gd name="connsiteX140" fmla="*/ 1047369 w 3579591"/>
                  <a:gd name="connsiteY140" fmla="*/ 461581 h 565975"/>
                  <a:gd name="connsiteX141" fmla="*/ 1072611 w 3579591"/>
                  <a:gd name="connsiteY141" fmla="*/ 461581 h 565975"/>
                  <a:gd name="connsiteX142" fmla="*/ 1072611 w 3579591"/>
                  <a:gd name="connsiteY142" fmla="*/ 467677 h 565975"/>
                  <a:gd name="connsiteX143" fmla="*/ 1301877 w 3579591"/>
                  <a:gd name="connsiteY143" fmla="*/ 467677 h 565975"/>
                  <a:gd name="connsiteX144" fmla="*/ 1301877 w 3579591"/>
                  <a:gd name="connsiteY144" fmla="*/ 473869 h 565975"/>
                  <a:gd name="connsiteX145" fmla="*/ 1415415 w 3579591"/>
                  <a:gd name="connsiteY145" fmla="*/ 473869 h 565975"/>
                  <a:gd name="connsiteX146" fmla="*/ 1415415 w 3579591"/>
                  <a:gd name="connsiteY146" fmla="*/ 480060 h 565975"/>
                  <a:gd name="connsiteX147" fmla="*/ 1684592 w 3579591"/>
                  <a:gd name="connsiteY147" fmla="*/ 480060 h 565975"/>
                  <a:gd name="connsiteX148" fmla="*/ 1684592 w 3579591"/>
                  <a:gd name="connsiteY148" fmla="*/ 486346 h 565975"/>
                  <a:gd name="connsiteX149" fmla="*/ 1758220 w 3579591"/>
                  <a:gd name="connsiteY149" fmla="*/ 486346 h 565975"/>
                  <a:gd name="connsiteX150" fmla="*/ 1758220 w 3579591"/>
                  <a:gd name="connsiteY150" fmla="*/ 492633 h 565975"/>
                  <a:gd name="connsiteX151" fmla="*/ 1838135 w 3579591"/>
                  <a:gd name="connsiteY151" fmla="*/ 492633 h 565975"/>
                  <a:gd name="connsiteX152" fmla="*/ 1838135 w 3579591"/>
                  <a:gd name="connsiteY152" fmla="*/ 498919 h 565975"/>
                  <a:gd name="connsiteX153" fmla="*/ 2000060 w 3579591"/>
                  <a:gd name="connsiteY153" fmla="*/ 498919 h 565975"/>
                  <a:gd name="connsiteX154" fmla="*/ 2000060 w 3579591"/>
                  <a:gd name="connsiteY154" fmla="*/ 505396 h 565975"/>
                  <a:gd name="connsiteX155" fmla="*/ 2016919 w 3579591"/>
                  <a:gd name="connsiteY155" fmla="*/ 505396 h 565975"/>
                  <a:gd name="connsiteX156" fmla="*/ 2016919 w 3579591"/>
                  <a:gd name="connsiteY156" fmla="*/ 511778 h 565975"/>
                  <a:gd name="connsiteX157" fmla="*/ 2134743 w 3579591"/>
                  <a:gd name="connsiteY157" fmla="*/ 511778 h 565975"/>
                  <a:gd name="connsiteX158" fmla="*/ 2134743 w 3579591"/>
                  <a:gd name="connsiteY158" fmla="*/ 518255 h 565975"/>
                  <a:gd name="connsiteX159" fmla="*/ 2227231 w 3579591"/>
                  <a:gd name="connsiteY159" fmla="*/ 518255 h 565975"/>
                  <a:gd name="connsiteX160" fmla="*/ 2227231 w 3579591"/>
                  <a:gd name="connsiteY160" fmla="*/ 524637 h 565975"/>
                  <a:gd name="connsiteX161" fmla="*/ 2246186 w 3579591"/>
                  <a:gd name="connsiteY161" fmla="*/ 524637 h 565975"/>
                  <a:gd name="connsiteX162" fmla="*/ 2246186 w 3579591"/>
                  <a:gd name="connsiteY162" fmla="*/ 531114 h 565975"/>
                  <a:gd name="connsiteX163" fmla="*/ 3100007 w 3579591"/>
                  <a:gd name="connsiteY163" fmla="*/ 531114 h 565975"/>
                  <a:gd name="connsiteX164" fmla="*/ 3100007 w 3579591"/>
                  <a:gd name="connsiteY164" fmla="*/ 565975 h 565975"/>
                  <a:gd name="connsiteX165" fmla="*/ 3579591 w 3579591"/>
                  <a:gd name="connsiteY165" fmla="*/ 565975 h 565975"/>
                  <a:gd name="connsiteX0" fmla="*/ 0 w 3579591"/>
                  <a:gd name="connsiteY0" fmla="*/ 0 h 565975"/>
                  <a:gd name="connsiteX1" fmla="*/ 6287 w 3579591"/>
                  <a:gd name="connsiteY1" fmla="*/ 6096 h 565975"/>
                  <a:gd name="connsiteX2" fmla="*/ 10478 w 3579591"/>
                  <a:gd name="connsiteY2" fmla="*/ 6096 h 565975"/>
                  <a:gd name="connsiteX3" fmla="*/ 10478 w 3579591"/>
                  <a:gd name="connsiteY3" fmla="*/ 12192 h 565975"/>
                  <a:gd name="connsiteX4" fmla="*/ 14669 w 3579591"/>
                  <a:gd name="connsiteY4" fmla="*/ 12192 h 565975"/>
                  <a:gd name="connsiteX5" fmla="*/ 14669 w 3579591"/>
                  <a:gd name="connsiteY5" fmla="*/ 18288 h 565975"/>
                  <a:gd name="connsiteX6" fmla="*/ 16764 w 3579591"/>
                  <a:gd name="connsiteY6" fmla="*/ 18288 h 565975"/>
                  <a:gd name="connsiteX7" fmla="*/ 16764 w 3579591"/>
                  <a:gd name="connsiteY7" fmla="*/ 24289 h 565975"/>
                  <a:gd name="connsiteX8" fmla="*/ 18955 w 3579591"/>
                  <a:gd name="connsiteY8" fmla="*/ 24289 h 565975"/>
                  <a:gd name="connsiteX9" fmla="*/ 18955 w 3579591"/>
                  <a:gd name="connsiteY9" fmla="*/ 30385 h 565975"/>
                  <a:gd name="connsiteX10" fmla="*/ 29432 w 3579591"/>
                  <a:gd name="connsiteY10" fmla="*/ 30385 h 565975"/>
                  <a:gd name="connsiteX11" fmla="*/ 29432 w 3579591"/>
                  <a:gd name="connsiteY11" fmla="*/ 36481 h 565975"/>
                  <a:gd name="connsiteX12" fmla="*/ 35719 w 3579591"/>
                  <a:gd name="connsiteY12" fmla="*/ 36481 h 565975"/>
                  <a:gd name="connsiteX13" fmla="*/ 35719 w 3579591"/>
                  <a:gd name="connsiteY13" fmla="*/ 42481 h 565975"/>
                  <a:gd name="connsiteX14" fmla="*/ 50483 w 3579591"/>
                  <a:gd name="connsiteY14" fmla="*/ 42481 h 565975"/>
                  <a:gd name="connsiteX15" fmla="*/ 50483 w 3579591"/>
                  <a:gd name="connsiteY15" fmla="*/ 48577 h 565975"/>
                  <a:gd name="connsiteX16" fmla="*/ 58865 w 3579591"/>
                  <a:gd name="connsiteY16" fmla="*/ 48577 h 565975"/>
                  <a:gd name="connsiteX17" fmla="*/ 58865 w 3579591"/>
                  <a:gd name="connsiteY17" fmla="*/ 54673 h 565975"/>
                  <a:gd name="connsiteX18" fmla="*/ 69438 w 3579591"/>
                  <a:gd name="connsiteY18" fmla="*/ 54673 h 565975"/>
                  <a:gd name="connsiteX19" fmla="*/ 69438 w 3579591"/>
                  <a:gd name="connsiteY19" fmla="*/ 60674 h 565975"/>
                  <a:gd name="connsiteX20" fmla="*/ 82011 w 3579591"/>
                  <a:gd name="connsiteY20" fmla="*/ 60674 h 565975"/>
                  <a:gd name="connsiteX21" fmla="*/ 82011 w 3579591"/>
                  <a:gd name="connsiteY21" fmla="*/ 66770 h 565975"/>
                  <a:gd name="connsiteX22" fmla="*/ 88297 w 3579591"/>
                  <a:gd name="connsiteY22" fmla="*/ 66770 h 565975"/>
                  <a:gd name="connsiteX23" fmla="*/ 88297 w 3579591"/>
                  <a:gd name="connsiteY23" fmla="*/ 78867 h 565975"/>
                  <a:gd name="connsiteX24" fmla="*/ 92488 w 3579591"/>
                  <a:gd name="connsiteY24" fmla="*/ 78867 h 565975"/>
                  <a:gd name="connsiteX25" fmla="*/ 92488 w 3579591"/>
                  <a:gd name="connsiteY25" fmla="*/ 84963 h 565975"/>
                  <a:gd name="connsiteX26" fmla="*/ 105156 w 3579591"/>
                  <a:gd name="connsiteY26" fmla="*/ 84963 h 565975"/>
                  <a:gd name="connsiteX27" fmla="*/ 105156 w 3579591"/>
                  <a:gd name="connsiteY27" fmla="*/ 91059 h 565975"/>
                  <a:gd name="connsiteX28" fmla="*/ 119825 w 3579591"/>
                  <a:gd name="connsiteY28" fmla="*/ 91059 h 565975"/>
                  <a:gd name="connsiteX29" fmla="*/ 119825 w 3579591"/>
                  <a:gd name="connsiteY29" fmla="*/ 97060 h 565975"/>
                  <a:gd name="connsiteX30" fmla="*/ 124111 w 3579591"/>
                  <a:gd name="connsiteY30" fmla="*/ 97060 h 565975"/>
                  <a:gd name="connsiteX31" fmla="*/ 124111 w 3579591"/>
                  <a:gd name="connsiteY31" fmla="*/ 103156 h 565975"/>
                  <a:gd name="connsiteX32" fmla="*/ 134588 w 3579591"/>
                  <a:gd name="connsiteY32" fmla="*/ 103156 h 565975"/>
                  <a:gd name="connsiteX33" fmla="*/ 134588 w 3579591"/>
                  <a:gd name="connsiteY33" fmla="*/ 109252 h 565975"/>
                  <a:gd name="connsiteX34" fmla="*/ 142971 w 3579591"/>
                  <a:gd name="connsiteY34" fmla="*/ 109252 h 565975"/>
                  <a:gd name="connsiteX35" fmla="*/ 142971 w 3579591"/>
                  <a:gd name="connsiteY35" fmla="*/ 115348 h 565975"/>
                  <a:gd name="connsiteX36" fmla="*/ 157734 w 3579591"/>
                  <a:gd name="connsiteY36" fmla="*/ 115348 h 565975"/>
                  <a:gd name="connsiteX37" fmla="*/ 157734 w 3579591"/>
                  <a:gd name="connsiteY37" fmla="*/ 121348 h 565975"/>
                  <a:gd name="connsiteX38" fmla="*/ 161925 w 3579591"/>
                  <a:gd name="connsiteY38" fmla="*/ 121348 h 565975"/>
                  <a:gd name="connsiteX39" fmla="*/ 161925 w 3579591"/>
                  <a:gd name="connsiteY39" fmla="*/ 127444 h 565975"/>
                  <a:gd name="connsiteX40" fmla="*/ 166116 w 3579591"/>
                  <a:gd name="connsiteY40" fmla="*/ 127444 h 565975"/>
                  <a:gd name="connsiteX41" fmla="*/ 166116 w 3579591"/>
                  <a:gd name="connsiteY41" fmla="*/ 133540 h 565975"/>
                  <a:gd name="connsiteX42" fmla="*/ 178785 w 3579591"/>
                  <a:gd name="connsiteY42" fmla="*/ 133540 h 565975"/>
                  <a:gd name="connsiteX43" fmla="*/ 178785 w 3579591"/>
                  <a:gd name="connsiteY43" fmla="*/ 139541 h 565975"/>
                  <a:gd name="connsiteX44" fmla="*/ 208217 w 3579591"/>
                  <a:gd name="connsiteY44" fmla="*/ 139541 h 565975"/>
                  <a:gd name="connsiteX45" fmla="*/ 208217 w 3579591"/>
                  <a:gd name="connsiteY45" fmla="*/ 145637 h 565975"/>
                  <a:gd name="connsiteX46" fmla="*/ 216599 w 3579591"/>
                  <a:gd name="connsiteY46" fmla="*/ 145637 h 565975"/>
                  <a:gd name="connsiteX47" fmla="*/ 216599 w 3579591"/>
                  <a:gd name="connsiteY47" fmla="*/ 151733 h 565975"/>
                  <a:gd name="connsiteX48" fmla="*/ 218694 w 3579591"/>
                  <a:gd name="connsiteY48" fmla="*/ 151733 h 565975"/>
                  <a:gd name="connsiteX49" fmla="*/ 218694 w 3579591"/>
                  <a:gd name="connsiteY49" fmla="*/ 157734 h 565975"/>
                  <a:gd name="connsiteX50" fmla="*/ 233458 w 3579591"/>
                  <a:gd name="connsiteY50" fmla="*/ 157734 h 565975"/>
                  <a:gd name="connsiteX51" fmla="*/ 233458 w 3579591"/>
                  <a:gd name="connsiteY51" fmla="*/ 169926 h 565975"/>
                  <a:gd name="connsiteX52" fmla="*/ 235554 w 3579591"/>
                  <a:gd name="connsiteY52" fmla="*/ 169926 h 565975"/>
                  <a:gd name="connsiteX53" fmla="*/ 235554 w 3579591"/>
                  <a:gd name="connsiteY53" fmla="*/ 175927 h 565975"/>
                  <a:gd name="connsiteX54" fmla="*/ 241840 w 3579591"/>
                  <a:gd name="connsiteY54" fmla="*/ 175927 h 565975"/>
                  <a:gd name="connsiteX55" fmla="*/ 241840 w 3579591"/>
                  <a:gd name="connsiteY55" fmla="*/ 182023 h 565975"/>
                  <a:gd name="connsiteX56" fmla="*/ 246031 w 3579591"/>
                  <a:gd name="connsiteY56" fmla="*/ 182023 h 565975"/>
                  <a:gd name="connsiteX57" fmla="*/ 246031 w 3579591"/>
                  <a:gd name="connsiteY57" fmla="*/ 188119 h 565975"/>
                  <a:gd name="connsiteX58" fmla="*/ 262890 w 3579591"/>
                  <a:gd name="connsiteY58" fmla="*/ 188119 h 565975"/>
                  <a:gd name="connsiteX59" fmla="*/ 262890 w 3579591"/>
                  <a:gd name="connsiteY59" fmla="*/ 200215 h 565975"/>
                  <a:gd name="connsiteX60" fmla="*/ 267081 w 3579591"/>
                  <a:gd name="connsiteY60" fmla="*/ 200215 h 565975"/>
                  <a:gd name="connsiteX61" fmla="*/ 267081 w 3579591"/>
                  <a:gd name="connsiteY61" fmla="*/ 206311 h 565975"/>
                  <a:gd name="connsiteX62" fmla="*/ 290227 w 3579591"/>
                  <a:gd name="connsiteY62" fmla="*/ 206311 h 565975"/>
                  <a:gd name="connsiteX63" fmla="*/ 290227 w 3579591"/>
                  <a:gd name="connsiteY63" fmla="*/ 212407 h 565975"/>
                  <a:gd name="connsiteX64" fmla="*/ 294418 w 3579591"/>
                  <a:gd name="connsiteY64" fmla="*/ 212407 h 565975"/>
                  <a:gd name="connsiteX65" fmla="*/ 294418 w 3579591"/>
                  <a:gd name="connsiteY65" fmla="*/ 218408 h 565975"/>
                  <a:gd name="connsiteX66" fmla="*/ 300705 w 3579591"/>
                  <a:gd name="connsiteY66" fmla="*/ 218408 h 565975"/>
                  <a:gd name="connsiteX67" fmla="*/ 300705 w 3579591"/>
                  <a:gd name="connsiteY67" fmla="*/ 230600 h 565975"/>
                  <a:gd name="connsiteX68" fmla="*/ 319659 w 3579591"/>
                  <a:gd name="connsiteY68" fmla="*/ 230600 h 565975"/>
                  <a:gd name="connsiteX69" fmla="*/ 319659 w 3579591"/>
                  <a:gd name="connsiteY69" fmla="*/ 236601 h 565975"/>
                  <a:gd name="connsiteX70" fmla="*/ 328041 w 3579591"/>
                  <a:gd name="connsiteY70" fmla="*/ 236601 h 565975"/>
                  <a:gd name="connsiteX71" fmla="*/ 328041 w 3579591"/>
                  <a:gd name="connsiteY71" fmla="*/ 242697 h 565975"/>
                  <a:gd name="connsiteX72" fmla="*/ 340710 w 3579591"/>
                  <a:gd name="connsiteY72" fmla="*/ 242697 h 565975"/>
                  <a:gd name="connsiteX73" fmla="*/ 340710 w 3579591"/>
                  <a:gd name="connsiteY73" fmla="*/ 248793 h 565975"/>
                  <a:gd name="connsiteX74" fmla="*/ 357569 w 3579591"/>
                  <a:gd name="connsiteY74" fmla="*/ 248793 h 565975"/>
                  <a:gd name="connsiteX75" fmla="*/ 357569 w 3579591"/>
                  <a:gd name="connsiteY75" fmla="*/ 254794 h 565975"/>
                  <a:gd name="connsiteX76" fmla="*/ 384906 w 3579591"/>
                  <a:gd name="connsiteY76" fmla="*/ 254794 h 565975"/>
                  <a:gd name="connsiteX77" fmla="*/ 384906 w 3579591"/>
                  <a:gd name="connsiteY77" fmla="*/ 260890 h 565975"/>
                  <a:gd name="connsiteX78" fmla="*/ 387001 w 3579591"/>
                  <a:gd name="connsiteY78" fmla="*/ 260890 h 565975"/>
                  <a:gd name="connsiteX79" fmla="*/ 387001 w 3579591"/>
                  <a:gd name="connsiteY79" fmla="*/ 266986 h 565975"/>
                  <a:gd name="connsiteX80" fmla="*/ 397478 w 3579591"/>
                  <a:gd name="connsiteY80" fmla="*/ 266986 h 565975"/>
                  <a:gd name="connsiteX81" fmla="*/ 397478 w 3579591"/>
                  <a:gd name="connsiteY81" fmla="*/ 272986 h 565975"/>
                  <a:gd name="connsiteX82" fmla="*/ 403765 w 3579591"/>
                  <a:gd name="connsiteY82" fmla="*/ 272986 h 565975"/>
                  <a:gd name="connsiteX83" fmla="*/ 403765 w 3579591"/>
                  <a:gd name="connsiteY83" fmla="*/ 285178 h 565975"/>
                  <a:gd name="connsiteX84" fmla="*/ 412242 w 3579591"/>
                  <a:gd name="connsiteY84" fmla="*/ 285178 h 565975"/>
                  <a:gd name="connsiteX85" fmla="*/ 412242 w 3579591"/>
                  <a:gd name="connsiteY85" fmla="*/ 291179 h 565975"/>
                  <a:gd name="connsiteX86" fmla="*/ 418529 w 3579591"/>
                  <a:gd name="connsiteY86" fmla="*/ 291179 h 565975"/>
                  <a:gd name="connsiteX87" fmla="*/ 418529 w 3579591"/>
                  <a:gd name="connsiteY87" fmla="*/ 303371 h 565975"/>
                  <a:gd name="connsiteX88" fmla="*/ 420624 w 3579591"/>
                  <a:gd name="connsiteY88" fmla="*/ 303371 h 565975"/>
                  <a:gd name="connsiteX89" fmla="*/ 420624 w 3579591"/>
                  <a:gd name="connsiteY89" fmla="*/ 309467 h 565975"/>
                  <a:gd name="connsiteX90" fmla="*/ 433197 w 3579591"/>
                  <a:gd name="connsiteY90" fmla="*/ 309467 h 565975"/>
                  <a:gd name="connsiteX91" fmla="*/ 433197 w 3579591"/>
                  <a:gd name="connsiteY91" fmla="*/ 315468 h 565975"/>
                  <a:gd name="connsiteX92" fmla="*/ 456343 w 3579591"/>
                  <a:gd name="connsiteY92" fmla="*/ 315468 h 565975"/>
                  <a:gd name="connsiteX93" fmla="*/ 456343 w 3579591"/>
                  <a:gd name="connsiteY93" fmla="*/ 321564 h 565975"/>
                  <a:gd name="connsiteX94" fmla="*/ 462725 w 3579591"/>
                  <a:gd name="connsiteY94" fmla="*/ 321564 h 565975"/>
                  <a:gd name="connsiteX95" fmla="*/ 462725 w 3579591"/>
                  <a:gd name="connsiteY95" fmla="*/ 327660 h 565975"/>
                  <a:gd name="connsiteX96" fmla="*/ 471107 w 3579591"/>
                  <a:gd name="connsiteY96" fmla="*/ 327660 h 565975"/>
                  <a:gd name="connsiteX97" fmla="*/ 471107 w 3579591"/>
                  <a:gd name="connsiteY97" fmla="*/ 333661 h 565975"/>
                  <a:gd name="connsiteX98" fmla="*/ 479489 w 3579591"/>
                  <a:gd name="connsiteY98" fmla="*/ 333661 h 565975"/>
                  <a:gd name="connsiteX99" fmla="*/ 479489 w 3579591"/>
                  <a:gd name="connsiteY99" fmla="*/ 339757 h 565975"/>
                  <a:gd name="connsiteX100" fmla="*/ 483680 w 3579591"/>
                  <a:gd name="connsiteY100" fmla="*/ 339757 h 565975"/>
                  <a:gd name="connsiteX101" fmla="*/ 483680 w 3579591"/>
                  <a:gd name="connsiteY101" fmla="*/ 345853 h 565975"/>
                  <a:gd name="connsiteX102" fmla="*/ 557308 w 3579591"/>
                  <a:gd name="connsiteY102" fmla="*/ 345853 h 565975"/>
                  <a:gd name="connsiteX103" fmla="*/ 557308 w 3579591"/>
                  <a:gd name="connsiteY103" fmla="*/ 351853 h 565975"/>
                  <a:gd name="connsiteX104" fmla="*/ 578358 w 3579591"/>
                  <a:gd name="connsiteY104" fmla="*/ 351853 h 565975"/>
                  <a:gd name="connsiteX105" fmla="*/ 578358 w 3579591"/>
                  <a:gd name="connsiteY105" fmla="*/ 357949 h 565975"/>
                  <a:gd name="connsiteX106" fmla="*/ 584645 w 3579591"/>
                  <a:gd name="connsiteY106" fmla="*/ 357949 h 565975"/>
                  <a:gd name="connsiteX107" fmla="*/ 584645 w 3579591"/>
                  <a:gd name="connsiteY107" fmla="*/ 364045 h 565975"/>
                  <a:gd name="connsiteX108" fmla="*/ 626745 w 3579591"/>
                  <a:gd name="connsiteY108" fmla="*/ 364045 h 565975"/>
                  <a:gd name="connsiteX109" fmla="*/ 626745 w 3579591"/>
                  <a:gd name="connsiteY109" fmla="*/ 370046 h 565975"/>
                  <a:gd name="connsiteX110" fmla="*/ 641414 w 3579591"/>
                  <a:gd name="connsiteY110" fmla="*/ 370046 h 565975"/>
                  <a:gd name="connsiteX111" fmla="*/ 641414 w 3579591"/>
                  <a:gd name="connsiteY111" fmla="*/ 376142 h 565975"/>
                  <a:gd name="connsiteX112" fmla="*/ 670941 w 3579591"/>
                  <a:gd name="connsiteY112" fmla="*/ 376142 h 565975"/>
                  <a:gd name="connsiteX113" fmla="*/ 670941 w 3579591"/>
                  <a:gd name="connsiteY113" fmla="*/ 382238 h 565975"/>
                  <a:gd name="connsiteX114" fmla="*/ 673037 w 3579591"/>
                  <a:gd name="connsiteY114" fmla="*/ 382238 h 565975"/>
                  <a:gd name="connsiteX115" fmla="*/ 673037 w 3579591"/>
                  <a:gd name="connsiteY115" fmla="*/ 388239 h 565975"/>
                  <a:gd name="connsiteX116" fmla="*/ 696087 w 3579591"/>
                  <a:gd name="connsiteY116" fmla="*/ 388239 h 565975"/>
                  <a:gd name="connsiteX117" fmla="*/ 696087 w 3579591"/>
                  <a:gd name="connsiteY117" fmla="*/ 394335 h 565975"/>
                  <a:gd name="connsiteX118" fmla="*/ 708756 w 3579591"/>
                  <a:gd name="connsiteY118" fmla="*/ 394335 h 565975"/>
                  <a:gd name="connsiteX119" fmla="*/ 708756 w 3579591"/>
                  <a:gd name="connsiteY119" fmla="*/ 400431 h 565975"/>
                  <a:gd name="connsiteX120" fmla="*/ 744474 w 3579591"/>
                  <a:gd name="connsiteY120" fmla="*/ 400431 h 565975"/>
                  <a:gd name="connsiteX121" fmla="*/ 744474 w 3579591"/>
                  <a:gd name="connsiteY121" fmla="*/ 406527 h 565975"/>
                  <a:gd name="connsiteX122" fmla="*/ 860203 w 3579591"/>
                  <a:gd name="connsiteY122" fmla="*/ 406527 h 565975"/>
                  <a:gd name="connsiteX123" fmla="*/ 860203 w 3579591"/>
                  <a:gd name="connsiteY123" fmla="*/ 412528 h 565975"/>
                  <a:gd name="connsiteX124" fmla="*/ 898017 w 3579591"/>
                  <a:gd name="connsiteY124" fmla="*/ 412528 h 565975"/>
                  <a:gd name="connsiteX125" fmla="*/ 898017 w 3579591"/>
                  <a:gd name="connsiteY125" fmla="*/ 418719 h 565975"/>
                  <a:gd name="connsiteX126" fmla="*/ 950595 w 3579591"/>
                  <a:gd name="connsiteY126" fmla="*/ 418719 h 565975"/>
                  <a:gd name="connsiteX127" fmla="*/ 950595 w 3579591"/>
                  <a:gd name="connsiteY127" fmla="*/ 424815 h 565975"/>
                  <a:gd name="connsiteX128" fmla="*/ 969550 w 3579591"/>
                  <a:gd name="connsiteY128" fmla="*/ 424815 h 565975"/>
                  <a:gd name="connsiteX129" fmla="*/ 969550 w 3579591"/>
                  <a:gd name="connsiteY129" fmla="*/ 430911 h 565975"/>
                  <a:gd name="connsiteX130" fmla="*/ 980028 w 3579591"/>
                  <a:gd name="connsiteY130" fmla="*/ 430911 h 565975"/>
                  <a:gd name="connsiteX131" fmla="*/ 980028 w 3579591"/>
                  <a:gd name="connsiteY131" fmla="*/ 437102 h 565975"/>
                  <a:gd name="connsiteX132" fmla="*/ 1013746 w 3579591"/>
                  <a:gd name="connsiteY132" fmla="*/ 437102 h 565975"/>
                  <a:gd name="connsiteX133" fmla="*/ 1013746 w 3579591"/>
                  <a:gd name="connsiteY133" fmla="*/ 443198 h 565975"/>
                  <a:gd name="connsiteX134" fmla="*/ 1020033 w 3579591"/>
                  <a:gd name="connsiteY134" fmla="*/ 443198 h 565975"/>
                  <a:gd name="connsiteX135" fmla="*/ 1020033 w 3579591"/>
                  <a:gd name="connsiteY135" fmla="*/ 449294 h 565975"/>
                  <a:gd name="connsiteX136" fmla="*/ 1034701 w 3579591"/>
                  <a:gd name="connsiteY136" fmla="*/ 449294 h 565975"/>
                  <a:gd name="connsiteX137" fmla="*/ 1034701 w 3579591"/>
                  <a:gd name="connsiteY137" fmla="*/ 455390 h 565975"/>
                  <a:gd name="connsiteX138" fmla="*/ 1047369 w 3579591"/>
                  <a:gd name="connsiteY138" fmla="*/ 455390 h 565975"/>
                  <a:gd name="connsiteX139" fmla="*/ 1047369 w 3579591"/>
                  <a:gd name="connsiteY139" fmla="*/ 461581 h 565975"/>
                  <a:gd name="connsiteX140" fmla="*/ 1072611 w 3579591"/>
                  <a:gd name="connsiteY140" fmla="*/ 461581 h 565975"/>
                  <a:gd name="connsiteX141" fmla="*/ 1072611 w 3579591"/>
                  <a:gd name="connsiteY141" fmla="*/ 467677 h 565975"/>
                  <a:gd name="connsiteX142" fmla="*/ 1301877 w 3579591"/>
                  <a:gd name="connsiteY142" fmla="*/ 467677 h 565975"/>
                  <a:gd name="connsiteX143" fmla="*/ 1301877 w 3579591"/>
                  <a:gd name="connsiteY143" fmla="*/ 473869 h 565975"/>
                  <a:gd name="connsiteX144" fmla="*/ 1415415 w 3579591"/>
                  <a:gd name="connsiteY144" fmla="*/ 473869 h 565975"/>
                  <a:gd name="connsiteX145" fmla="*/ 1415415 w 3579591"/>
                  <a:gd name="connsiteY145" fmla="*/ 480060 h 565975"/>
                  <a:gd name="connsiteX146" fmla="*/ 1684592 w 3579591"/>
                  <a:gd name="connsiteY146" fmla="*/ 480060 h 565975"/>
                  <a:gd name="connsiteX147" fmla="*/ 1684592 w 3579591"/>
                  <a:gd name="connsiteY147" fmla="*/ 486346 h 565975"/>
                  <a:gd name="connsiteX148" fmla="*/ 1758220 w 3579591"/>
                  <a:gd name="connsiteY148" fmla="*/ 486346 h 565975"/>
                  <a:gd name="connsiteX149" fmla="*/ 1758220 w 3579591"/>
                  <a:gd name="connsiteY149" fmla="*/ 492633 h 565975"/>
                  <a:gd name="connsiteX150" fmla="*/ 1838135 w 3579591"/>
                  <a:gd name="connsiteY150" fmla="*/ 492633 h 565975"/>
                  <a:gd name="connsiteX151" fmla="*/ 1838135 w 3579591"/>
                  <a:gd name="connsiteY151" fmla="*/ 498919 h 565975"/>
                  <a:gd name="connsiteX152" fmla="*/ 2000060 w 3579591"/>
                  <a:gd name="connsiteY152" fmla="*/ 498919 h 565975"/>
                  <a:gd name="connsiteX153" fmla="*/ 2000060 w 3579591"/>
                  <a:gd name="connsiteY153" fmla="*/ 505396 h 565975"/>
                  <a:gd name="connsiteX154" fmla="*/ 2016919 w 3579591"/>
                  <a:gd name="connsiteY154" fmla="*/ 505396 h 565975"/>
                  <a:gd name="connsiteX155" fmla="*/ 2016919 w 3579591"/>
                  <a:gd name="connsiteY155" fmla="*/ 511778 h 565975"/>
                  <a:gd name="connsiteX156" fmla="*/ 2134743 w 3579591"/>
                  <a:gd name="connsiteY156" fmla="*/ 511778 h 565975"/>
                  <a:gd name="connsiteX157" fmla="*/ 2134743 w 3579591"/>
                  <a:gd name="connsiteY157" fmla="*/ 518255 h 565975"/>
                  <a:gd name="connsiteX158" fmla="*/ 2227231 w 3579591"/>
                  <a:gd name="connsiteY158" fmla="*/ 518255 h 565975"/>
                  <a:gd name="connsiteX159" fmla="*/ 2227231 w 3579591"/>
                  <a:gd name="connsiteY159" fmla="*/ 524637 h 565975"/>
                  <a:gd name="connsiteX160" fmla="*/ 2246186 w 3579591"/>
                  <a:gd name="connsiteY160" fmla="*/ 524637 h 565975"/>
                  <a:gd name="connsiteX161" fmla="*/ 2246186 w 3579591"/>
                  <a:gd name="connsiteY161" fmla="*/ 531114 h 565975"/>
                  <a:gd name="connsiteX162" fmla="*/ 3100007 w 3579591"/>
                  <a:gd name="connsiteY162" fmla="*/ 531114 h 565975"/>
                  <a:gd name="connsiteX163" fmla="*/ 3100007 w 3579591"/>
                  <a:gd name="connsiteY163" fmla="*/ 565975 h 565975"/>
                  <a:gd name="connsiteX164" fmla="*/ 3579591 w 3579591"/>
                  <a:gd name="connsiteY164" fmla="*/ 565975 h 565975"/>
                  <a:gd name="connsiteX0" fmla="*/ 0 w 3573304"/>
                  <a:gd name="connsiteY0" fmla="*/ 0 h 559879"/>
                  <a:gd name="connsiteX1" fmla="*/ 4191 w 3573304"/>
                  <a:gd name="connsiteY1" fmla="*/ 0 h 559879"/>
                  <a:gd name="connsiteX2" fmla="*/ 4191 w 3573304"/>
                  <a:gd name="connsiteY2" fmla="*/ 6096 h 559879"/>
                  <a:gd name="connsiteX3" fmla="*/ 8382 w 3573304"/>
                  <a:gd name="connsiteY3" fmla="*/ 6096 h 559879"/>
                  <a:gd name="connsiteX4" fmla="*/ 8382 w 3573304"/>
                  <a:gd name="connsiteY4" fmla="*/ 12192 h 559879"/>
                  <a:gd name="connsiteX5" fmla="*/ 10477 w 3573304"/>
                  <a:gd name="connsiteY5" fmla="*/ 12192 h 559879"/>
                  <a:gd name="connsiteX6" fmla="*/ 10477 w 3573304"/>
                  <a:gd name="connsiteY6" fmla="*/ 18193 h 559879"/>
                  <a:gd name="connsiteX7" fmla="*/ 12668 w 3573304"/>
                  <a:gd name="connsiteY7" fmla="*/ 18193 h 559879"/>
                  <a:gd name="connsiteX8" fmla="*/ 12668 w 3573304"/>
                  <a:gd name="connsiteY8" fmla="*/ 24289 h 559879"/>
                  <a:gd name="connsiteX9" fmla="*/ 23145 w 3573304"/>
                  <a:gd name="connsiteY9" fmla="*/ 24289 h 559879"/>
                  <a:gd name="connsiteX10" fmla="*/ 23145 w 3573304"/>
                  <a:gd name="connsiteY10" fmla="*/ 30385 h 559879"/>
                  <a:gd name="connsiteX11" fmla="*/ 29432 w 3573304"/>
                  <a:gd name="connsiteY11" fmla="*/ 30385 h 559879"/>
                  <a:gd name="connsiteX12" fmla="*/ 29432 w 3573304"/>
                  <a:gd name="connsiteY12" fmla="*/ 36385 h 559879"/>
                  <a:gd name="connsiteX13" fmla="*/ 44196 w 3573304"/>
                  <a:gd name="connsiteY13" fmla="*/ 36385 h 559879"/>
                  <a:gd name="connsiteX14" fmla="*/ 44196 w 3573304"/>
                  <a:gd name="connsiteY14" fmla="*/ 42481 h 559879"/>
                  <a:gd name="connsiteX15" fmla="*/ 52578 w 3573304"/>
                  <a:gd name="connsiteY15" fmla="*/ 42481 h 559879"/>
                  <a:gd name="connsiteX16" fmla="*/ 52578 w 3573304"/>
                  <a:gd name="connsiteY16" fmla="*/ 48577 h 559879"/>
                  <a:gd name="connsiteX17" fmla="*/ 63151 w 3573304"/>
                  <a:gd name="connsiteY17" fmla="*/ 48577 h 559879"/>
                  <a:gd name="connsiteX18" fmla="*/ 63151 w 3573304"/>
                  <a:gd name="connsiteY18" fmla="*/ 54578 h 559879"/>
                  <a:gd name="connsiteX19" fmla="*/ 75724 w 3573304"/>
                  <a:gd name="connsiteY19" fmla="*/ 54578 h 559879"/>
                  <a:gd name="connsiteX20" fmla="*/ 75724 w 3573304"/>
                  <a:gd name="connsiteY20" fmla="*/ 60674 h 559879"/>
                  <a:gd name="connsiteX21" fmla="*/ 82010 w 3573304"/>
                  <a:gd name="connsiteY21" fmla="*/ 60674 h 559879"/>
                  <a:gd name="connsiteX22" fmla="*/ 82010 w 3573304"/>
                  <a:gd name="connsiteY22" fmla="*/ 72771 h 559879"/>
                  <a:gd name="connsiteX23" fmla="*/ 86201 w 3573304"/>
                  <a:gd name="connsiteY23" fmla="*/ 72771 h 559879"/>
                  <a:gd name="connsiteX24" fmla="*/ 86201 w 3573304"/>
                  <a:gd name="connsiteY24" fmla="*/ 78867 h 559879"/>
                  <a:gd name="connsiteX25" fmla="*/ 98869 w 3573304"/>
                  <a:gd name="connsiteY25" fmla="*/ 78867 h 559879"/>
                  <a:gd name="connsiteX26" fmla="*/ 98869 w 3573304"/>
                  <a:gd name="connsiteY26" fmla="*/ 84963 h 559879"/>
                  <a:gd name="connsiteX27" fmla="*/ 113538 w 3573304"/>
                  <a:gd name="connsiteY27" fmla="*/ 84963 h 559879"/>
                  <a:gd name="connsiteX28" fmla="*/ 113538 w 3573304"/>
                  <a:gd name="connsiteY28" fmla="*/ 90964 h 559879"/>
                  <a:gd name="connsiteX29" fmla="*/ 117824 w 3573304"/>
                  <a:gd name="connsiteY29" fmla="*/ 90964 h 559879"/>
                  <a:gd name="connsiteX30" fmla="*/ 117824 w 3573304"/>
                  <a:gd name="connsiteY30" fmla="*/ 97060 h 559879"/>
                  <a:gd name="connsiteX31" fmla="*/ 128301 w 3573304"/>
                  <a:gd name="connsiteY31" fmla="*/ 97060 h 559879"/>
                  <a:gd name="connsiteX32" fmla="*/ 128301 w 3573304"/>
                  <a:gd name="connsiteY32" fmla="*/ 103156 h 559879"/>
                  <a:gd name="connsiteX33" fmla="*/ 136684 w 3573304"/>
                  <a:gd name="connsiteY33" fmla="*/ 103156 h 559879"/>
                  <a:gd name="connsiteX34" fmla="*/ 136684 w 3573304"/>
                  <a:gd name="connsiteY34" fmla="*/ 109252 h 559879"/>
                  <a:gd name="connsiteX35" fmla="*/ 151447 w 3573304"/>
                  <a:gd name="connsiteY35" fmla="*/ 109252 h 559879"/>
                  <a:gd name="connsiteX36" fmla="*/ 151447 w 3573304"/>
                  <a:gd name="connsiteY36" fmla="*/ 115252 h 559879"/>
                  <a:gd name="connsiteX37" fmla="*/ 155638 w 3573304"/>
                  <a:gd name="connsiteY37" fmla="*/ 115252 h 559879"/>
                  <a:gd name="connsiteX38" fmla="*/ 155638 w 3573304"/>
                  <a:gd name="connsiteY38" fmla="*/ 121348 h 559879"/>
                  <a:gd name="connsiteX39" fmla="*/ 159829 w 3573304"/>
                  <a:gd name="connsiteY39" fmla="*/ 121348 h 559879"/>
                  <a:gd name="connsiteX40" fmla="*/ 159829 w 3573304"/>
                  <a:gd name="connsiteY40" fmla="*/ 127444 h 559879"/>
                  <a:gd name="connsiteX41" fmla="*/ 172498 w 3573304"/>
                  <a:gd name="connsiteY41" fmla="*/ 127444 h 559879"/>
                  <a:gd name="connsiteX42" fmla="*/ 172498 w 3573304"/>
                  <a:gd name="connsiteY42" fmla="*/ 133445 h 559879"/>
                  <a:gd name="connsiteX43" fmla="*/ 201930 w 3573304"/>
                  <a:gd name="connsiteY43" fmla="*/ 133445 h 559879"/>
                  <a:gd name="connsiteX44" fmla="*/ 201930 w 3573304"/>
                  <a:gd name="connsiteY44" fmla="*/ 139541 h 559879"/>
                  <a:gd name="connsiteX45" fmla="*/ 210312 w 3573304"/>
                  <a:gd name="connsiteY45" fmla="*/ 139541 h 559879"/>
                  <a:gd name="connsiteX46" fmla="*/ 210312 w 3573304"/>
                  <a:gd name="connsiteY46" fmla="*/ 145637 h 559879"/>
                  <a:gd name="connsiteX47" fmla="*/ 212407 w 3573304"/>
                  <a:gd name="connsiteY47" fmla="*/ 145637 h 559879"/>
                  <a:gd name="connsiteX48" fmla="*/ 212407 w 3573304"/>
                  <a:gd name="connsiteY48" fmla="*/ 151638 h 559879"/>
                  <a:gd name="connsiteX49" fmla="*/ 227171 w 3573304"/>
                  <a:gd name="connsiteY49" fmla="*/ 151638 h 559879"/>
                  <a:gd name="connsiteX50" fmla="*/ 227171 w 3573304"/>
                  <a:gd name="connsiteY50" fmla="*/ 163830 h 559879"/>
                  <a:gd name="connsiteX51" fmla="*/ 229267 w 3573304"/>
                  <a:gd name="connsiteY51" fmla="*/ 163830 h 559879"/>
                  <a:gd name="connsiteX52" fmla="*/ 229267 w 3573304"/>
                  <a:gd name="connsiteY52" fmla="*/ 169831 h 559879"/>
                  <a:gd name="connsiteX53" fmla="*/ 235553 w 3573304"/>
                  <a:gd name="connsiteY53" fmla="*/ 169831 h 559879"/>
                  <a:gd name="connsiteX54" fmla="*/ 235553 w 3573304"/>
                  <a:gd name="connsiteY54" fmla="*/ 175927 h 559879"/>
                  <a:gd name="connsiteX55" fmla="*/ 239744 w 3573304"/>
                  <a:gd name="connsiteY55" fmla="*/ 175927 h 559879"/>
                  <a:gd name="connsiteX56" fmla="*/ 239744 w 3573304"/>
                  <a:gd name="connsiteY56" fmla="*/ 182023 h 559879"/>
                  <a:gd name="connsiteX57" fmla="*/ 256603 w 3573304"/>
                  <a:gd name="connsiteY57" fmla="*/ 182023 h 559879"/>
                  <a:gd name="connsiteX58" fmla="*/ 256603 w 3573304"/>
                  <a:gd name="connsiteY58" fmla="*/ 194119 h 559879"/>
                  <a:gd name="connsiteX59" fmla="*/ 260794 w 3573304"/>
                  <a:gd name="connsiteY59" fmla="*/ 194119 h 559879"/>
                  <a:gd name="connsiteX60" fmla="*/ 260794 w 3573304"/>
                  <a:gd name="connsiteY60" fmla="*/ 200215 h 559879"/>
                  <a:gd name="connsiteX61" fmla="*/ 283940 w 3573304"/>
                  <a:gd name="connsiteY61" fmla="*/ 200215 h 559879"/>
                  <a:gd name="connsiteX62" fmla="*/ 283940 w 3573304"/>
                  <a:gd name="connsiteY62" fmla="*/ 206311 h 559879"/>
                  <a:gd name="connsiteX63" fmla="*/ 288131 w 3573304"/>
                  <a:gd name="connsiteY63" fmla="*/ 206311 h 559879"/>
                  <a:gd name="connsiteX64" fmla="*/ 288131 w 3573304"/>
                  <a:gd name="connsiteY64" fmla="*/ 212312 h 559879"/>
                  <a:gd name="connsiteX65" fmla="*/ 294418 w 3573304"/>
                  <a:gd name="connsiteY65" fmla="*/ 212312 h 559879"/>
                  <a:gd name="connsiteX66" fmla="*/ 294418 w 3573304"/>
                  <a:gd name="connsiteY66" fmla="*/ 224504 h 559879"/>
                  <a:gd name="connsiteX67" fmla="*/ 313372 w 3573304"/>
                  <a:gd name="connsiteY67" fmla="*/ 224504 h 559879"/>
                  <a:gd name="connsiteX68" fmla="*/ 313372 w 3573304"/>
                  <a:gd name="connsiteY68" fmla="*/ 230505 h 559879"/>
                  <a:gd name="connsiteX69" fmla="*/ 321754 w 3573304"/>
                  <a:gd name="connsiteY69" fmla="*/ 230505 h 559879"/>
                  <a:gd name="connsiteX70" fmla="*/ 321754 w 3573304"/>
                  <a:gd name="connsiteY70" fmla="*/ 236601 h 559879"/>
                  <a:gd name="connsiteX71" fmla="*/ 334423 w 3573304"/>
                  <a:gd name="connsiteY71" fmla="*/ 236601 h 559879"/>
                  <a:gd name="connsiteX72" fmla="*/ 334423 w 3573304"/>
                  <a:gd name="connsiteY72" fmla="*/ 242697 h 559879"/>
                  <a:gd name="connsiteX73" fmla="*/ 351282 w 3573304"/>
                  <a:gd name="connsiteY73" fmla="*/ 242697 h 559879"/>
                  <a:gd name="connsiteX74" fmla="*/ 351282 w 3573304"/>
                  <a:gd name="connsiteY74" fmla="*/ 248698 h 559879"/>
                  <a:gd name="connsiteX75" fmla="*/ 378619 w 3573304"/>
                  <a:gd name="connsiteY75" fmla="*/ 248698 h 559879"/>
                  <a:gd name="connsiteX76" fmla="*/ 378619 w 3573304"/>
                  <a:gd name="connsiteY76" fmla="*/ 254794 h 559879"/>
                  <a:gd name="connsiteX77" fmla="*/ 380714 w 3573304"/>
                  <a:gd name="connsiteY77" fmla="*/ 254794 h 559879"/>
                  <a:gd name="connsiteX78" fmla="*/ 380714 w 3573304"/>
                  <a:gd name="connsiteY78" fmla="*/ 260890 h 559879"/>
                  <a:gd name="connsiteX79" fmla="*/ 391191 w 3573304"/>
                  <a:gd name="connsiteY79" fmla="*/ 260890 h 559879"/>
                  <a:gd name="connsiteX80" fmla="*/ 391191 w 3573304"/>
                  <a:gd name="connsiteY80" fmla="*/ 266890 h 559879"/>
                  <a:gd name="connsiteX81" fmla="*/ 397478 w 3573304"/>
                  <a:gd name="connsiteY81" fmla="*/ 266890 h 559879"/>
                  <a:gd name="connsiteX82" fmla="*/ 397478 w 3573304"/>
                  <a:gd name="connsiteY82" fmla="*/ 279082 h 559879"/>
                  <a:gd name="connsiteX83" fmla="*/ 405955 w 3573304"/>
                  <a:gd name="connsiteY83" fmla="*/ 279082 h 559879"/>
                  <a:gd name="connsiteX84" fmla="*/ 405955 w 3573304"/>
                  <a:gd name="connsiteY84" fmla="*/ 285083 h 559879"/>
                  <a:gd name="connsiteX85" fmla="*/ 412242 w 3573304"/>
                  <a:gd name="connsiteY85" fmla="*/ 285083 h 559879"/>
                  <a:gd name="connsiteX86" fmla="*/ 412242 w 3573304"/>
                  <a:gd name="connsiteY86" fmla="*/ 297275 h 559879"/>
                  <a:gd name="connsiteX87" fmla="*/ 414337 w 3573304"/>
                  <a:gd name="connsiteY87" fmla="*/ 297275 h 559879"/>
                  <a:gd name="connsiteX88" fmla="*/ 414337 w 3573304"/>
                  <a:gd name="connsiteY88" fmla="*/ 303371 h 559879"/>
                  <a:gd name="connsiteX89" fmla="*/ 426910 w 3573304"/>
                  <a:gd name="connsiteY89" fmla="*/ 303371 h 559879"/>
                  <a:gd name="connsiteX90" fmla="*/ 426910 w 3573304"/>
                  <a:gd name="connsiteY90" fmla="*/ 309372 h 559879"/>
                  <a:gd name="connsiteX91" fmla="*/ 450056 w 3573304"/>
                  <a:gd name="connsiteY91" fmla="*/ 309372 h 559879"/>
                  <a:gd name="connsiteX92" fmla="*/ 450056 w 3573304"/>
                  <a:gd name="connsiteY92" fmla="*/ 315468 h 559879"/>
                  <a:gd name="connsiteX93" fmla="*/ 456438 w 3573304"/>
                  <a:gd name="connsiteY93" fmla="*/ 315468 h 559879"/>
                  <a:gd name="connsiteX94" fmla="*/ 456438 w 3573304"/>
                  <a:gd name="connsiteY94" fmla="*/ 321564 h 559879"/>
                  <a:gd name="connsiteX95" fmla="*/ 464820 w 3573304"/>
                  <a:gd name="connsiteY95" fmla="*/ 321564 h 559879"/>
                  <a:gd name="connsiteX96" fmla="*/ 464820 w 3573304"/>
                  <a:gd name="connsiteY96" fmla="*/ 327565 h 559879"/>
                  <a:gd name="connsiteX97" fmla="*/ 473202 w 3573304"/>
                  <a:gd name="connsiteY97" fmla="*/ 327565 h 559879"/>
                  <a:gd name="connsiteX98" fmla="*/ 473202 w 3573304"/>
                  <a:gd name="connsiteY98" fmla="*/ 333661 h 559879"/>
                  <a:gd name="connsiteX99" fmla="*/ 477393 w 3573304"/>
                  <a:gd name="connsiteY99" fmla="*/ 333661 h 559879"/>
                  <a:gd name="connsiteX100" fmla="*/ 477393 w 3573304"/>
                  <a:gd name="connsiteY100" fmla="*/ 339757 h 559879"/>
                  <a:gd name="connsiteX101" fmla="*/ 551021 w 3573304"/>
                  <a:gd name="connsiteY101" fmla="*/ 339757 h 559879"/>
                  <a:gd name="connsiteX102" fmla="*/ 551021 w 3573304"/>
                  <a:gd name="connsiteY102" fmla="*/ 345757 h 559879"/>
                  <a:gd name="connsiteX103" fmla="*/ 572071 w 3573304"/>
                  <a:gd name="connsiteY103" fmla="*/ 345757 h 559879"/>
                  <a:gd name="connsiteX104" fmla="*/ 572071 w 3573304"/>
                  <a:gd name="connsiteY104" fmla="*/ 351853 h 559879"/>
                  <a:gd name="connsiteX105" fmla="*/ 578358 w 3573304"/>
                  <a:gd name="connsiteY105" fmla="*/ 351853 h 559879"/>
                  <a:gd name="connsiteX106" fmla="*/ 578358 w 3573304"/>
                  <a:gd name="connsiteY106" fmla="*/ 357949 h 559879"/>
                  <a:gd name="connsiteX107" fmla="*/ 620458 w 3573304"/>
                  <a:gd name="connsiteY107" fmla="*/ 357949 h 559879"/>
                  <a:gd name="connsiteX108" fmla="*/ 620458 w 3573304"/>
                  <a:gd name="connsiteY108" fmla="*/ 363950 h 559879"/>
                  <a:gd name="connsiteX109" fmla="*/ 635127 w 3573304"/>
                  <a:gd name="connsiteY109" fmla="*/ 363950 h 559879"/>
                  <a:gd name="connsiteX110" fmla="*/ 635127 w 3573304"/>
                  <a:gd name="connsiteY110" fmla="*/ 370046 h 559879"/>
                  <a:gd name="connsiteX111" fmla="*/ 664654 w 3573304"/>
                  <a:gd name="connsiteY111" fmla="*/ 370046 h 559879"/>
                  <a:gd name="connsiteX112" fmla="*/ 664654 w 3573304"/>
                  <a:gd name="connsiteY112" fmla="*/ 376142 h 559879"/>
                  <a:gd name="connsiteX113" fmla="*/ 666750 w 3573304"/>
                  <a:gd name="connsiteY113" fmla="*/ 376142 h 559879"/>
                  <a:gd name="connsiteX114" fmla="*/ 666750 w 3573304"/>
                  <a:gd name="connsiteY114" fmla="*/ 382143 h 559879"/>
                  <a:gd name="connsiteX115" fmla="*/ 689800 w 3573304"/>
                  <a:gd name="connsiteY115" fmla="*/ 382143 h 559879"/>
                  <a:gd name="connsiteX116" fmla="*/ 689800 w 3573304"/>
                  <a:gd name="connsiteY116" fmla="*/ 388239 h 559879"/>
                  <a:gd name="connsiteX117" fmla="*/ 702469 w 3573304"/>
                  <a:gd name="connsiteY117" fmla="*/ 388239 h 559879"/>
                  <a:gd name="connsiteX118" fmla="*/ 702469 w 3573304"/>
                  <a:gd name="connsiteY118" fmla="*/ 394335 h 559879"/>
                  <a:gd name="connsiteX119" fmla="*/ 738187 w 3573304"/>
                  <a:gd name="connsiteY119" fmla="*/ 394335 h 559879"/>
                  <a:gd name="connsiteX120" fmla="*/ 738187 w 3573304"/>
                  <a:gd name="connsiteY120" fmla="*/ 400431 h 559879"/>
                  <a:gd name="connsiteX121" fmla="*/ 853916 w 3573304"/>
                  <a:gd name="connsiteY121" fmla="*/ 400431 h 559879"/>
                  <a:gd name="connsiteX122" fmla="*/ 853916 w 3573304"/>
                  <a:gd name="connsiteY122" fmla="*/ 406432 h 559879"/>
                  <a:gd name="connsiteX123" fmla="*/ 891730 w 3573304"/>
                  <a:gd name="connsiteY123" fmla="*/ 406432 h 559879"/>
                  <a:gd name="connsiteX124" fmla="*/ 891730 w 3573304"/>
                  <a:gd name="connsiteY124" fmla="*/ 412623 h 559879"/>
                  <a:gd name="connsiteX125" fmla="*/ 944308 w 3573304"/>
                  <a:gd name="connsiteY125" fmla="*/ 412623 h 559879"/>
                  <a:gd name="connsiteX126" fmla="*/ 944308 w 3573304"/>
                  <a:gd name="connsiteY126" fmla="*/ 418719 h 559879"/>
                  <a:gd name="connsiteX127" fmla="*/ 963263 w 3573304"/>
                  <a:gd name="connsiteY127" fmla="*/ 418719 h 559879"/>
                  <a:gd name="connsiteX128" fmla="*/ 963263 w 3573304"/>
                  <a:gd name="connsiteY128" fmla="*/ 424815 h 559879"/>
                  <a:gd name="connsiteX129" fmla="*/ 973741 w 3573304"/>
                  <a:gd name="connsiteY129" fmla="*/ 424815 h 559879"/>
                  <a:gd name="connsiteX130" fmla="*/ 973741 w 3573304"/>
                  <a:gd name="connsiteY130" fmla="*/ 431006 h 559879"/>
                  <a:gd name="connsiteX131" fmla="*/ 1007459 w 3573304"/>
                  <a:gd name="connsiteY131" fmla="*/ 431006 h 559879"/>
                  <a:gd name="connsiteX132" fmla="*/ 1007459 w 3573304"/>
                  <a:gd name="connsiteY132" fmla="*/ 437102 h 559879"/>
                  <a:gd name="connsiteX133" fmla="*/ 1013746 w 3573304"/>
                  <a:gd name="connsiteY133" fmla="*/ 437102 h 559879"/>
                  <a:gd name="connsiteX134" fmla="*/ 1013746 w 3573304"/>
                  <a:gd name="connsiteY134" fmla="*/ 443198 h 559879"/>
                  <a:gd name="connsiteX135" fmla="*/ 1028414 w 3573304"/>
                  <a:gd name="connsiteY135" fmla="*/ 443198 h 559879"/>
                  <a:gd name="connsiteX136" fmla="*/ 1028414 w 3573304"/>
                  <a:gd name="connsiteY136" fmla="*/ 449294 h 559879"/>
                  <a:gd name="connsiteX137" fmla="*/ 1041082 w 3573304"/>
                  <a:gd name="connsiteY137" fmla="*/ 449294 h 559879"/>
                  <a:gd name="connsiteX138" fmla="*/ 1041082 w 3573304"/>
                  <a:gd name="connsiteY138" fmla="*/ 455485 h 559879"/>
                  <a:gd name="connsiteX139" fmla="*/ 1066324 w 3573304"/>
                  <a:gd name="connsiteY139" fmla="*/ 455485 h 559879"/>
                  <a:gd name="connsiteX140" fmla="*/ 1066324 w 3573304"/>
                  <a:gd name="connsiteY140" fmla="*/ 461581 h 559879"/>
                  <a:gd name="connsiteX141" fmla="*/ 1295590 w 3573304"/>
                  <a:gd name="connsiteY141" fmla="*/ 461581 h 559879"/>
                  <a:gd name="connsiteX142" fmla="*/ 1295590 w 3573304"/>
                  <a:gd name="connsiteY142" fmla="*/ 467773 h 559879"/>
                  <a:gd name="connsiteX143" fmla="*/ 1409128 w 3573304"/>
                  <a:gd name="connsiteY143" fmla="*/ 467773 h 559879"/>
                  <a:gd name="connsiteX144" fmla="*/ 1409128 w 3573304"/>
                  <a:gd name="connsiteY144" fmla="*/ 473964 h 559879"/>
                  <a:gd name="connsiteX145" fmla="*/ 1678305 w 3573304"/>
                  <a:gd name="connsiteY145" fmla="*/ 473964 h 559879"/>
                  <a:gd name="connsiteX146" fmla="*/ 1678305 w 3573304"/>
                  <a:gd name="connsiteY146" fmla="*/ 480250 h 559879"/>
                  <a:gd name="connsiteX147" fmla="*/ 1751933 w 3573304"/>
                  <a:gd name="connsiteY147" fmla="*/ 480250 h 559879"/>
                  <a:gd name="connsiteX148" fmla="*/ 1751933 w 3573304"/>
                  <a:gd name="connsiteY148" fmla="*/ 486537 h 559879"/>
                  <a:gd name="connsiteX149" fmla="*/ 1831848 w 3573304"/>
                  <a:gd name="connsiteY149" fmla="*/ 486537 h 559879"/>
                  <a:gd name="connsiteX150" fmla="*/ 1831848 w 3573304"/>
                  <a:gd name="connsiteY150" fmla="*/ 492823 h 559879"/>
                  <a:gd name="connsiteX151" fmla="*/ 1993773 w 3573304"/>
                  <a:gd name="connsiteY151" fmla="*/ 492823 h 559879"/>
                  <a:gd name="connsiteX152" fmla="*/ 1993773 w 3573304"/>
                  <a:gd name="connsiteY152" fmla="*/ 499300 h 559879"/>
                  <a:gd name="connsiteX153" fmla="*/ 2010632 w 3573304"/>
                  <a:gd name="connsiteY153" fmla="*/ 499300 h 559879"/>
                  <a:gd name="connsiteX154" fmla="*/ 2010632 w 3573304"/>
                  <a:gd name="connsiteY154" fmla="*/ 505682 h 559879"/>
                  <a:gd name="connsiteX155" fmla="*/ 2128456 w 3573304"/>
                  <a:gd name="connsiteY155" fmla="*/ 505682 h 559879"/>
                  <a:gd name="connsiteX156" fmla="*/ 2128456 w 3573304"/>
                  <a:gd name="connsiteY156" fmla="*/ 512159 h 559879"/>
                  <a:gd name="connsiteX157" fmla="*/ 2220944 w 3573304"/>
                  <a:gd name="connsiteY157" fmla="*/ 512159 h 559879"/>
                  <a:gd name="connsiteX158" fmla="*/ 2220944 w 3573304"/>
                  <a:gd name="connsiteY158" fmla="*/ 518541 h 559879"/>
                  <a:gd name="connsiteX159" fmla="*/ 2239899 w 3573304"/>
                  <a:gd name="connsiteY159" fmla="*/ 518541 h 559879"/>
                  <a:gd name="connsiteX160" fmla="*/ 2239899 w 3573304"/>
                  <a:gd name="connsiteY160" fmla="*/ 525018 h 559879"/>
                  <a:gd name="connsiteX161" fmla="*/ 3093720 w 3573304"/>
                  <a:gd name="connsiteY161" fmla="*/ 525018 h 559879"/>
                  <a:gd name="connsiteX162" fmla="*/ 3093720 w 3573304"/>
                  <a:gd name="connsiteY162" fmla="*/ 559879 h 559879"/>
                  <a:gd name="connsiteX163" fmla="*/ 3573304 w 3573304"/>
                  <a:gd name="connsiteY163" fmla="*/ 559879 h 559879"/>
                  <a:gd name="connsiteX0" fmla="*/ 0 w 3573304"/>
                  <a:gd name="connsiteY0" fmla="*/ 0 h 559879"/>
                  <a:gd name="connsiteX1" fmla="*/ 4191 w 3573304"/>
                  <a:gd name="connsiteY1" fmla="*/ 6096 h 559879"/>
                  <a:gd name="connsiteX2" fmla="*/ 8382 w 3573304"/>
                  <a:gd name="connsiteY2" fmla="*/ 6096 h 559879"/>
                  <a:gd name="connsiteX3" fmla="*/ 8382 w 3573304"/>
                  <a:gd name="connsiteY3" fmla="*/ 12192 h 559879"/>
                  <a:gd name="connsiteX4" fmla="*/ 10477 w 3573304"/>
                  <a:gd name="connsiteY4" fmla="*/ 12192 h 559879"/>
                  <a:gd name="connsiteX5" fmla="*/ 10477 w 3573304"/>
                  <a:gd name="connsiteY5" fmla="*/ 18193 h 559879"/>
                  <a:gd name="connsiteX6" fmla="*/ 12668 w 3573304"/>
                  <a:gd name="connsiteY6" fmla="*/ 18193 h 559879"/>
                  <a:gd name="connsiteX7" fmla="*/ 12668 w 3573304"/>
                  <a:gd name="connsiteY7" fmla="*/ 24289 h 559879"/>
                  <a:gd name="connsiteX8" fmla="*/ 23145 w 3573304"/>
                  <a:gd name="connsiteY8" fmla="*/ 24289 h 559879"/>
                  <a:gd name="connsiteX9" fmla="*/ 23145 w 3573304"/>
                  <a:gd name="connsiteY9" fmla="*/ 30385 h 559879"/>
                  <a:gd name="connsiteX10" fmla="*/ 29432 w 3573304"/>
                  <a:gd name="connsiteY10" fmla="*/ 30385 h 559879"/>
                  <a:gd name="connsiteX11" fmla="*/ 29432 w 3573304"/>
                  <a:gd name="connsiteY11" fmla="*/ 36385 h 559879"/>
                  <a:gd name="connsiteX12" fmla="*/ 44196 w 3573304"/>
                  <a:gd name="connsiteY12" fmla="*/ 36385 h 559879"/>
                  <a:gd name="connsiteX13" fmla="*/ 44196 w 3573304"/>
                  <a:gd name="connsiteY13" fmla="*/ 42481 h 559879"/>
                  <a:gd name="connsiteX14" fmla="*/ 52578 w 3573304"/>
                  <a:gd name="connsiteY14" fmla="*/ 42481 h 559879"/>
                  <a:gd name="connsiteX15" fmla="*/ 52578 w 3573304"/>
                  <a:gd name="connsiteY15" fmla="*/ 48577 h 559879"/>
                  <a:gd name="connsiteX16" fmla="*/ 63151 w 3573304"/>
                  <a:gd name="connsiteY16" fmla="*/ 48577 h 559879"/>
                  <a:gd name="connsiteX17" fmla="*/ 63151 w 3573304"/>
                  <a:gd name="connsiteY17" fmla="*/ 54578 h 559879"/>
                  <a:gd name="connsiteX18" fmla="*/ 75724 w 3573304"/>
                  <a:gd name="connsiteY18" fmla="*/ 54578 h 559879"/>
                  <a:gd name="connsiteX19" fmla="*/ 75724 w 3573304"/>
                  <a:gd name="connsiteY19" fmla="*/ 60674 h 559879"/>
                  <a:gd name="connsiteX20" fmla="*/ 82010 w 3573304"/>
                  <a:gd name="connsiteY20" fmla="*/ 60674 h 559879"/>
                  <a:gd name="connsiteX21" fmla="*/ 82010 w 3573304"/>
                  <a:gd name="connsiteY21" fmla="*/ 72771 h 559879"/>
                  <a:gd name="connsiteX22" fmla="*/ 86201 w 3573304"/>
                  <a:gd name="connsiteY22" fmla="*/ 72771 h 559879"/>
                  <a:gd name="connsiteX23" fmla="*/ 86201 w 3573304"/>
                  <a:gd name="connsiteY23" fmla="*/ 78867 h 559879"/>
                  <a:gd name="connsiteX24" fmla="*/ 98869 w 3573304"/>
                  <a:gd name="connsiteY24" fmla="*/ 78867 h 559879"/>
                  <a:gd name="connsiteX25" fmla="*/ 98869 w 3573304"/>
                  <a:gd name="connsiteY25" fmla="*/ 84963 h 559879"/>
                  <a:gd name="connsiteX26" fmla="*/ 113538 w 3573304"/>
                  <a:gd name="connsiteY26" fmla="*/ 84963 h 559879"/>
                  <a:gd name="connsiteX27" fmla="*/ 113538 w 3573304"/>
                  <a:gd name="connsiteY27" fmla="*/ 90964 h 559879"/>
                  <a:gd name="connsiteX28" fmla="*/ 117824 w 3573304"/>
                  <a:gd name="connsiteY28" fmla="*/ 90964 h 559879"/>
                  <a:gd name="connsiteX29" fmla="*/ 117824 w 3573304"/>
                  <a:gd name="connsiteY29" fmla="*/ 97060 h 559879"/>
                  <a:gd name="connsiteX30" fmla="*/ 128301 w 3573304"/>
                  <a:gd name="connsiteY30" fmla="*/ 97060 h 559879"/>
                  <a:gd name="connsiteX31" fmla="*/ 128301 w 3573304"/>
                  <a:gd name="connsiteY31" fmla="*/ 103156 h 559879"/>
                  <a:gd name="connsiteX32" fmla="*/ 136684 w 3573304"/>
                  <a:gd name="connsiteY32" fmla="*/ 103156 h 559879"/>
                  <a:gd name="connsiteX33" fmla="*/ 136684 w 3573304"/>
                  <a:gd name="connsiteY33" fmla="*/ 109252 h 559879"/>
                  <a:gd name="connsiteX34" fmla="*/ 151447 w 3573304"/>
                  <a:gd name="connsiteY34" fmla="*/ 109252 h 559879"/>
                  <a:gd name="connsiteX35" fmla="*/ 151447 w 3573304"/>
                  <a:gd name="connsiteY35" fmla="*/ 115252 h 559879"/>
                  <a:gd name="connsiteX36" fmla="*/ 155638 w 3573304"/>
                  <a:gd name="connsiteY36" fmla="*/ 115252 h 559879"/>
                  <a:gd name="connsiteX37" fmla="*/ 155638 w 3573304"/>
                  <a:gd name="connsiteY37" fmla="*/ 121348 h 559879"/>
                  <a:gd name="connsiteX38" fmla="*/ 159829 w 3573304"/>
                  <a:gd name="connsiteY38" fmla="*/ 121348 h 559879"/>
                  <a:gd name="connsiteX39" fmla="*/ 159829 w 3573304"/>
                  <a:gd name="connsiteY39" fmla="*/ 127444 h 559879"/>
                  <a:gd name="connsiteX40" fmla="*/ 172498 w 3573304"/>
                  <a:gd name="connsiteY40" fmla="*/ 127444 h 559879"/>
                  <a:gd name="connsiteX41" fmla="*/ 172498 w 3573304"/>
                  <a:gd name="connsiteY41" fmla="*/ 133445 h 559879"/>
                  <a:gd name="connsiteX42" fmla="*/ 201930 w 3573304"/>
                  <a:gd name="connsiteY42" fmla="*/ 133445 h 559879"/>
                  <a:gd name="connsiteX43" fmla="*/ 201930 w 3573304"/>
                  <a:gd name="connsiteY43" fmla="*/ 139541 h 559879"/>
                  <a:gd name="connsiteX44" fmla="*/ 210312 w 3573304"/>
                  <a:gd name="connsiteY44" fmla="*/ 139541 h 559879"/>
                  <a:gd name="connsiteX45" fmla="*/ 210312 w 3573304"/>
                  <a:gd name="connsiteY45" fmla="*/ 145637 h 559879"/>
                  <a:gd name="connsiteX46" fmla="*/ 212407 w 3573304"/>
                  <a:gd name="connsiteY46" fmla="*/ 145637 h 559879"/>
                  <a:gd name="connsiteX47" fmla="*/ 212407 w 3573304"/>
                  <a:gd name="connsiteY47" fmla="*/ 151638 h 559879"/>
                  <a:gd name="connsiteX48" fmla="*/ 227171 w 3573304"/>
                  <a:gd name="connsiteY48" fmla="*/ 151638 h 559879"/>
                  <a:gd name="connsiteX49" fmla="*/ 227171 w 3573304"/>
                  <a:gd name="connsiteY49" fmla="*/ 163830 h 559879"/>
                  <a:gd name="connsiteX50" fmla="*/ 229267 w 3573304"/>
                  <a:gd name="connsiteY50" fmla="*/ 163830 h 559879"/>
                  <a:gd name="connsiteX51" fmla="*/ 229267 w 3573304"/>
                  <a:gd name="connsiteY51" fmla="*/ 169831 h 559879"/>
                  <a:gd name="connsiteX52" fmla="*/ 235553 w 3573304"/>
                  <a:gd name="connsiteY52" fmla="*/ 169831 h 559879"/>
                  <a:gd name="connsiteX53" fmla="*/ 235553 w 3573304"/>
                  <a:gd name="connsiteY53" fmla="*/ 175927 h 559879"/>
                  <a:gd name="connsiteX54" fmla="*/ 239744 w 3573304"/>
                  <a:gd name="connsiteY54" fmla="*/ 175927 h 559879"/>
                  <a:gd name="connsiteX55" fmla="*/ 239744 w 3573304"/>
                  <a:gd name="connsiteY55" fmla="*/ 182023 h 559879"/>
                  <a:gd name="connsiteX56" fmla="*/ 256603 w 3573304"/>
                  <a:gd name="connsiteY56" fmla="*/ 182023 h 559879"/>
                  <a:gd name="connsiteX57" fmla="*/ 256603 w 3573304"/>
                  <a:gd name="connsiteY57" fmla="*/ 194119 h 559879"/>
                  <a:gd name="connsiteX58" fmla="*/ 260794 w 3573304"/>
                  <a:gd name="connsiteY58" fmla="*/ 194119 h 559879"/>
                  <a:gd name="connsiteX59" fmla="*/ 260794 w 3573304"/>
                  <a:gd name="connsiteY59" fmla="*/ 200215 h 559879"/>
                  <a:gd name="connsiteX60" fmla="*/ 283940 w 3573304"/>
                  <a:gd name="connsiteY60" fmla="*/ 200215 h 559879"/>
                  <a:gd name="connsiteX61" fmla="*/ 283940 w 3573304"/>
                  <a:gd name="connsiteY61" fmla="*/ 206311 h 559879"/>
                  <a:gd name="connsiteX62" fmla="*/ 288131 w 3573304"/>
                  <a:gd name="connsiteY62" fmla="*/ 206311 h 559879"/>
                  <a:gd name="connsiteX63" fmla="*/ 288131 w 3573304"/>
                  <a:gd name="connsiteY63" fmla="*/ 212312 h 559879"/>
                  <a:gd name="connsiteX64" fmla="*/ 294418 w 3573304"/>
                  <a:gd name="connsiteY64" fmla="*/ 212312 h 559879"/>
                  <a:gd name="connsiteX65" fmla="*/ 294418 w 3573304"/>
                  <a:gd name="connsiteY65" fmla="*/ 224504 h 559879"/>
                  <a:gd name="connsiteX66" fmla="*/ 313372 w 3573304"/>
                  <a:gd name="connsiteY66" fmla="*/ 224504 h 559879"/>
                  <a:gd name="connsiteX67" fmla="*/ 313372 w 3573304"/>
                  <a:gd name="connsiteY67" fmla="*/ 230505 h 559879"/>
                  <a:gd name="connsiteX68" fmla="*/ 321754 w 3573304"/>
                  <a:gd name="connsiteY68" fmla="*/ 230505 h 559879"/>
                  <a:gd name="connsiteX69" fmla="*/ 321754 w 3573304"/>
                  <a:gd name="connsiteY69" fmla="*/ 236601 h 559879"/>
                  <a:gd name="connsiteX70" fmla="*/ 334423 w 3573304"/>
                  <a:gd name="connsiteY70" fmla="*/ 236601 h 559879"/>
                  <a:gd name="connsiteX71" fmla="*/ 334423 w 3573304"/>
                  <a:gd name="connsiteY71" fmla="*/ 242697 h 559879"/>
                  <a:gd name="connsiteX72" fmla="*/ 351282 w 3573304"/>
                  <a:gd name="connsiteY72" fmla="*/ 242697 h 559879"/>
                  <a:gd name="connsiteX73" fmla="*/ 351282 w 3573304"/>
                  <a:gd name="connsiteY73" fmla="*/ 248698 h 559879"/>
                  <a:gd name="connsiteX74" fmla="*/ 378619 w 3573304"/>
                  <a:gd name="connsiteY74" fmla="*/ 248698 h 559879"/>
                  <a:gd name="connsiteX75" fmla="*/ 378619 w 3573304"/>
                  <a:gd name="connsiteY75" fmla="*/ 254794 h 559879"/>
                  <a:gd name="connsiteX76" fmla="*/ 380714 w 3573304"/>
                  <a:gd name="connsiteY76" fmla="*/ 254794 h 559879"/>
                  <a:gd name="connsiteX77" fmla="*/ 380714 w 3573304"/>
                  <a:gd name="connsiteY77" fmla="*/ 260890 h 559879"/>
                  <a:gd name="connsiteX78" fmla="*/ 391191 w 3573304"/>
                  <a:gd name="connsiteY78" fmla="*/ 260890 h 559879"/>
                  <a:gd name="connsiteX79" fmla="*/ 391191 w 3573304"/>
                  <a:gd name="connsiteY79" fmla="*/ 266890 h 559879"/>
                  <a:gd name="connsiteX80" fmla="*/ 397478 w 3573304"/>
                  <a:gd name="connsiteY80" fmla="*/ 266890 h 559879"/>
                  <a:gd name="connsiteX81" fmla="*/ 397478 w 3573304"/>
                  <a:gd name="connsiteY81" fmla="*/ 279082 h 559879"/>
                  <a:gd name="connsiteX82" fmla="*/ 405955 w 3573304"/>
                  <a:gd name="connsiteY82" fmla="*/ 279082 h 559879"/>
                  <a:gd name="connsiteX83" fmla="*/ 405955 w 3573304"/>
                  <a:gd name="connsiteY83" fmla="*/ 285083 h 559879"/>
                  <a:gd name="connsiteX84" fmla="*/ 412242 w 3573304"/>
                  <a:gd name="connsiteY84" fmla="*/ 285083 h 559879"/>
                  <a:gd name="connsiteX85" fmla="*/ 412242 w 3573304"/>
                  <a:gd name="connsiteY85" fmla="*/ 297275 h 559879"/>
                  <a:gd name="connsiteX86" fmla="*/ 414337 w 3573304"/>
                  <a:gd name="connsiteY86" fmla="*/ 297275 h 559879"/>
                  <a:gd name="connsiteX87" fmla="*/ 414337 w 3573304"/>
                  <a:gd name="connsiteY87" fmla="*/ 303371 h 559879"/>
                  <a:gd name="connsiteX88" fmla="*/ 426910 w 3573304"/>
                  <a:gd name="connsiteY88" fmla="*/ 303371 h 559879"/>
                  <a:gd name="connsiteX89" fmla="*/ 426910 w 3573304"/>
                  <a:gd name="connsiteY89" fmla="*/ 309372 h 559879"/>
                  <a:gd name="connsiteX90" fmla="*/ 450056 w 3573304"/>
                  <a:gd name="connsiteY90" fmla="*/ 309372 h 559879"/>
                  <a:gd name="connsiteX91" fmla="*/ 450056 w 3573304"/>
                  <a:gd name="connsiteY91" fmla="*/ 315468 h 559879"/>
                  <a:gd name="connsiteX92" fmla="*/ 456438 w 3573304"/>
                  <a:gd name="connsiteY92" fmla="*/ 315468 h 559879"/>
                  <a:gd name="connsiteX93" fmla="*/ 456438 w 3573304"/>
                  <a:gd name="connsiteY93" fmla="*/ 321564 h 559879"/>
                  <a:gd name="connsiteX94" fmla="*/ 464820 w 3573304"/>
                  <a:gd name="connsiteY94" fmla="*/ 321564 h 559879"/>
                  <a:gd name="connsiteX95" fmla="*/ 464820 w 3573304"/>
                  <a:gd name="connsiteY95" fmla="*/ 327565 h 559879"/>
                  <a:gd name="connsiteX96" fmla="*/ 473202 w 3573304"/>
                  <a:gd name="connsiteY96" fmla="*/ 327565 h 559879"/>
                  <a:gd name="connsiteX97" fmla="*/ 473202 w 3573304"/>
                  <a:gd name="connsiteY97" fmla="*/ 333661 h 559879"/>
                  <a:gd name="connsiteX98" fmla="*/ 477393 w 3573304"/>
                  <a:gd name="connsiteY98" fmla="*/ 333661 h 559879"/>
                  <a:gd name="connsiteX99" fmla="*/ 477393 w 3573304"/>
                  <a:gd name="connsiteY99" fmla="*/ 339757 h 559879"/>
                  <a:gd name="connsiteX100" fmla="*/ 551021 w 3573304"/>
                  <a:gd name="connsiteY100" fmla="*/ 339757 h 559879"/>
                  <a:gd name="connsiteX101" fmla="*/ 551021 w 3573304"/>
                  <a:gd name="connsiteY101" fmla="*/ 345757 h 559879"/>
                  <a:gd name="connsiteX102" fmla="*/ 572071 w 3573304"/>
                  <a:gd name="connsiteY102" fmla="*/ 345757 h 559879"/>
                  <a:gd name="connsiteX103" fmla="*/ 572071 w 3573304"/>
                  <a:gd name="connsiteY103" fmla="*/ 351853 h 559879"/>
                  <a:gd name="connsiteX104" fmla="*/ 578358 w 3573304"/>
                  <a:gd name="connsiteY104" fmla="*/ 351853 h 559879"/>
                  <a:gd name="connsiteX105" fmla="*/ 578358 w 3573304"/>
                  <a:gd name="connsiteY105" fmla="*/ 357949 h 559879"/>
                  <a:gd name="connsiteX106" fmla="*/ 620458 w 3573304"/>
                  <a:gd name="connsiteY106" fmla="*/ 357949 h 559879"/>
                  <a:gd name="connsiteX107" fmla="*/ 620458 w 3573304"/>
                  <a:gd name="connsiteY107" fmla="*/ 363950 h 559879"/>
                  <a:gd name="connsiteX108" fmla="*/ 635127 w 3573304"/>
                  <a:gd name="connsiteY108" fmla="*/ 363950 h 559879"/>
                  <a:gd name="connsiteX109" fmla="*/ 635127 w 3573304"/>
                  <a:gd name="connsiteY109" fmla="*/ 370046 h 559879"/>
                  <a:gd name="connsiteX110" fmla="*/ 664654 w 3573304"/>
                  <a:gd name="connsiteY110" fmla="*/ 370046 h 559879"/>
                  <a:gd name="connsiteX111" fmla="*/ 664654 w 3573304"/>
                  <a:gd name="connsiteY111" fmla="*/ 376142 h 559879"/>
                  <a:gd name="connsiteX112" fmla="*/ 666750 w 3573304"/>
                  <a:gd name="connsiteY112" fmla="*/ 376142 h 559879"/>
                  <a:gd name="connsiteX113" fmla="*/ 666750 w 3573304"/>
                  <a:gd name="connsiteY113" fmla="*/ 382143 h 559879"/>
                  <a:gd name="connsiteX114" fmla="*/ 689800 w 3573304"/>
                  <a:gd name="connsiteY114" fmla="*/ 382143 h 559879"/>
                  <a:gd name="connsiteX115" fmla="*/ 689800 w 3573304"/>
                  <a:gd name="connsiteY115" fmla="*/ 388239 h 559879"/>
                  <a:gd name="connsiteX116" fmla="*/ 702469 w 3573304"/>
                  <a:gd name="connsiteY116" fmla="*/ 388239 h 559879"/>
                  <a:gd name="connsiteX117" fmla="*/ 702469 w 3573304"/>
                  <a:gd name="connsiteY117" fmla="*/ 394335 h 559879"/>
                  <a:gd name="connsiteX118" fmla="*/ 738187 w 3573304"/>
                  <a:gd name="connsiteY118" fmla="*/ 394335 h 559879"/>
                  <a:gd name="connsiteX119" fmla="*/ 738187 w 3573304"/>
                  <a:gd name="connsiteY119" fmla="*/ 400431 h 559879"/>
                  <a:gd name="connsiteX120" fmla="*/ 853916 w 3573304"/>
                  <a:gd name="connsiteY120" fmla="*/ 400431 h 559879"/>
                  <a:gd name="connsiteX121" fmla="*/ 853916 w 3573304"/>
                  <a:gd name="connsiteY121" fmla="*/ 406432 h 559879"/>
                  <a:gd name="connsiteX122" fmla="*/ 891730 w 3573304"/>
                  <a:gd name="connsiteY122" fmla="*/ 406432 h 559879"/>
                  <a:gd name="connsiteX123" fmla="*/ 891730 w 3573304"/>
                  <a:gd name="connsiteY123" fmla="*/ 412623 h 559879"/>
                  <a:gd name="connsiteX124" fmla="*/ 944308 w 3573304"/>
                  <a:gd name="connsiteY124" fmla="*/ 412623 h 559879"/>
                  <a:gd name="connsiteX125" fmla="*/ 944308 w 3573304"/>
                  <a:gd name="connsiteY125" fmla="*/ 418719 h 559879"/>
                  <a:gd name="connsiteX126" fmla="*/ 963263 w 3573304"/>
                  <a:gd name="connsiteY126" fmla="*/ 418719 h 559879"/>
                  <a:gd name="connsiteX127" fmla="*/ 963263 w 3573304"/>
                  <a:gd name="connsiteY127" fmla="*/ 424815 h 559879"/>
                  <a:gd name="connsiteX128" fmla="*/ 973741 w 3573304"/>
                  <a:gd name="connsiteY128" fmla="*/ 424815 h 559879"/>
                  <a:gd name="connsiteX129" fmla="*/ 973741 w 3573304"/>
                  <a:gd name="connsiteY129" fmla="*/ 431006 h 559879"/>
                  <a:gd name="connsiteX130" fmla="*/ 1007459 w 3573304"/>
                  <a:gd name="connsiteY130" fmla="*/ 431006 h 559879"/>
                  <a:gd name="connsiteX131" fmla="*/ 1007459 w 3573304"/>
                  <a:gd name="connsiteY131" fmla="*/ 437102 h 559879"/>
                  <a:gd name="connsiteX132" fmla="*/ 1013746 w 3573304"/>
                  <a:gd name="connsiteY132" fmla="*/ 437102 h 559879"/>
                  <a:gd name="connsiteX133" fmla="*/ 1013746 w 3573304"/>
                  <a:gd name="connsiteY133" fmla="*/ 443198 h 559879"/>
                  <a:gd name="connsiteX134" fmla="*/ 1028414 w 3573304"/>
                  <a:gd name="connsiteY134" fmla="*/ 443198 h 559879"/>
                  <a:gd name="connsiteX135" fmla="*/ 1028414 w 3573304"/>
                  <a:gd name="connsiteY135" fmla="*/ 449294 h 559879"/>
                  <a:gd name="connsiteX136" fmla="*/ 1041082 w 3573304"/>
                  <a:gd name="connsiteY136" fmla="*/ 449294 h 559879"/>
                  <a:gd name="connsiteX137" fmla="*/ 1041082 w 3573304"/>
                  <a:gd name="connsiteY137" fmla="*/ 455485 h 559879"/>
                  <a:gd name="connsiteX138" fmla="*/ 1066324 w 3573304"/>
                  <a:gd name="connsiteY138" fmla="*/ 455485 h 559879"/>
                  <a:gd name="connsiteX139" fmla="*/ 1066324 w 3573304"/>
                  <a:gd name="connsiteY139" fmla="*/ 461581 h 559879"/>
                  <a:gd name="connsiteX140" fmla="*/ 1295590 w 3573304"/>
                  <a:gd name="connsiteY140" fmla="*/ 461581 h 559879"/>
                  <a:gd name="connsiteX141" fmla="*/ 1295590 w 3573304"/>
                  <a:gd name="connsiteY141" fmla="*/ 467773 h 559879"/>
                  <a:gd name="connsiteX142" fmla="*/ 1409128 w 3573304"/>
                  <a:gd name="connsiteY142" fmla="*/ 467773 h 559879"/>
                  <a:gd name="connsiteX143" fmla="*/ 1409128 w 3573304"/>
                  <a:gd name="connsiteY143" fmla="*/ 473964 h 559879"/>
                  <a:gd name="connsiteX144" fmla="*/ 1678305 w 3573304"/>
                  <a:gd name="connsiteY144" fmla="*/ 473964 h 559879"/>
                  <a:gd name="connsiteX145" fmla="*/ 1678305 w 3573304"/>
                  <a:gd name="connsiteY145" fmla="*/ 480250 h 559879"/>
                  <a:gd name="connsiteX146" fmla="*/ 1751933 w 3573304"/>
                  <a:gd name="connsiteY146" fmla="*/ 480250 h 559879"/>
                  <a:gd name="connsiteX147" fmla="*/ 1751933 w 3573304"/>
                  <a:gd name="connsiteY147" fmla="*/ 486537 h 559879"/>
                  <a:gd name="connsiteX148" fmla="*/ 1831848 w 3573304"/>
                  <a:gd name="connsiteY148" fmla="*/ 486537 h 559879"/>
                  <a:gd name="connsiteX149" fmla="*/ 1831848 w 3573304"/>
                  <a:gd name="connsiteY149" fmla="*/ 492823 h 559879"/>
                  <a:gd name="connsiteX150" fmla="*/ 1993773 w 3573304"/>
                  <a:gd name="connsiteY150" fmla="*/ 492823 h 559879"/>
                  <a:gd name="connsiteX151" fmla="*/ 1993773 w 3573304"/>
                  <a:gd name="connsiteY151" fmla="*/ 499300 h 559879"/>
                  <a:gd name="connsiteX152" fmla="*/ 2010632 w 3573304"/>
                  <a:gd name="connsiteY152" fmla="*/ 499300 h 559879"/>
                  <a:gd name="connsiteX153" fmla="*/ 2010632 w 3573304"/>
                  <a:gd name="connsiteY153" fmla="*/ 505682 h 559879"/>
                  <a:gd name="connsiteX154" fmla="*/ 2128456 w 3573304"/>
                  <a:gd name="connsiteY154" fmla="*/ 505682 h 559879"/>
                  <a:gd name="connsiteX155" fmla="*/ 2128456 w 3573304"/>
                  <a:gd name="connsiteY155" fmla="*/ 512159 h 559879"/>
                  <a:gd name="connsiteX156" fmla="*/ 2220944 w 3573304"/>
                  <a:gd name="connsiteY156" fmla="*/ 512159 h 559879"/>
                  <a:gd name="connsiteX157" fmla="*/ 2220944 w 3573304"/>
                  <a:gd name="connsiteY157" fmla="*/ 518541 h 559879"/>
                  <a:gd name="connsiteX158" fmla="*/ 2239899 w 3573304"/>
                  <a:gd name="connsiteY158" fmla="*/ 518541 h 559879"/>
                  <a:gd name="connsiteX159" fmla="*/ 2239899 w 3573304"/>
                  <a:gd name="connsiteY159" fmla="*/ 525018 h 559879"/>
                  <a:gd name="connsiteX160" fmla="*/ 3093720 w 3573304"/>
                  <a:gd name="connsiteY160" fmla="*/ 525018 h 559879"/>
                  <a:gd name="connsiteX161" fmla="*/ 3093720 w 3573304"/>
                  <a:gd name="connsiteY161" fmla="*/ 559879 h 559879"/>
                  <a:gd name="connsiteX162" fmla="*/ 3573304 w 3573304"/>
                  <a:gd name="connsiteY162" fmla="*/ 559879 h 559879"/>
                  <a:gd name="connsiteX0" fmla="*/ 0 w 3573304"/>
                  <a:gd name="connsiteY0" fmla="*/ 0 h 559879"/>
                  <a:gd name="connsiteX1" fmla="*/ 4191 w 3573304"/>
                  <a:gd name="connsiteY1" fmla="*/ 6096 h 559879"/>
                  <a:gd name="connsiteX2" fmla="*/ 8382 w 3573304"/>
                  <a:gd name="connsiteY2" fmla="*/ 12192 h 559879"/>
                  <a:gd name="connsiteX3" fmla="*/ 10477 w 3573304"/>
                  <a:gd name="connsiteY3" fmla="*/ 12192 h 559879"/>
                  <a:gd name="connsiteX4" fmla="*/ 10477 w 3573304"/>
                  <a:gd name="connsiteY4" fmla="*/ 18193 h 559879"/>
                  <a:gd name="connsiteX5" fmla="*/ 12668 w 3573304"/>
                  <a:gd name="connsiteY5" fmla="*/ 18193 h 559879"/>
                  <a:gd name="connsiteX6" fmla="*/ 12668 w 3573304"/>
                  <a:gd name="connsiteY6" fmla="*/ 24289 h 559879"/>
                  <a:gd name="connsiteX7" fmla="*/ 23145 w 3573304"/>
                  <a:gd name="connsiteY7" fmla="*/ 24289 h 559879"/>
                  <a:gd name="connsiteX8" fmla="*/ 23145 w 3573304"/>
                  <a:gd name="connsiteY8" fmla="*/ 30385 h 559879"/>
                  <a:gd name="connsiteX9" fmla="*/ 29432 w 3573304"/>
                  <a:gd name="connsiteY9" fmla="*/ 30385 h 559879"/>
                  <a:gd name="connsiteX10" fmla="*/ 29432 w 3573304"/>
                  <a:gd name="connsiteY10" fmla="*/ 36385 h 559879"/>
                  <a:gd name="connsiteX11" fmla="*/ 44196 w 3573304"/>
                  <a:gd name="connsiteY11" fmla="*/ 36385 h 559879"/>
                  <a:gd name="connsiteX12" fmla="*/ 44196 w 3573304"/>
                  <a:gd name="connsiteY12" fmla="*/ 42481 h 559879"/>
                  <a:gd name="connsiteX13" fmla="*/ 52578 w 3573304"/>
                  <a:gd name="connsiteY13" fmla="*/ 42481 h 559879"/>
                  <a:gd name="connsiteX14" fmla="*/ 52578 w 3573304"/>
                  <a:gd name="connsiteY14" fmla="*/ 48577 h 559879"/>
                  <a:gd name="connsiteX15" fmla="*/ 63151 w 3573304"/>
                  <a:gd name="connsiteY15" fmla="*/ 48577 h 559879"/>
                  <a:gd name="connsiteX16" fmla="*/ 63151 w 3573304"/>
                  <a:gd name="connsiteY16" fmla="*/ 54578 h 559879"/>
                  <a:gd name="connsiteX17" fmla="*/ 75724 w 3573304"/>
                  <a:gd name="connsiteY17" fmla="*/ 54578 h 559879"/>
                  <a:gd name="connsiteX18" fmla="*/ 75724 w 3573304"/>
                  <a:gd name="connsiteY18" fmla="*/ 60674 h 559879"/>
                  <a:gd name="connsiteX19" fmla="*/ 82010 w 3573304"/>
                  <a:gd name="connsiteY19" fmla="*/ 60674 h 559879"/>
                  <a:gd name="connsiteX20" fmla="*/ 82010 w 3573304"/>
                  <a:gd name="connsiteY20" fmla="*/ 72771 h 559879"/>
                  <a:gd name="connsiteX21" fmla="*/ 86201 w 3573304"/>
                  <a:gd name="connsiteY21" fmla="*/ 72771 h 559879"/>
                  <a:gd name="connsiteX22" fmla="*/ 86201 w 3573304"/>
                  <a:gd name="connsiteY22" fmla="*/ 78867 h 559879"/>
                  <a:gd name="connsiteX23" fmla="*/ 98869 w 3573304"/>
                  <a:gd name="connsiteY23" fmla="*/ 78867 h 559879"/>
                  <a:gd name="connsiteX24" fmla="*/ 98869 w 3573304"/>
                  <a:gd name="connsiteY24" fmla="*/ 84963 h 559879"/>
                  <a:gd name="connsiteX25" fmla="*/ 113538 w 3573304"/>
                  <a:gd name="connsiteY25" fmla="*/ 84963 h 559879"/>
                  <a:gd name="connsiteX26" fmla="*/ 113538 w 3573304"/>
                  <a:gd name="connsiteY26" fmla="*/ 90964 h 559879"/>
                  <a:gd name="connsiteX27" fmla="*/ 117824 w 3573304"/>
                  <a:gd name="connsiteY27" fmla="*/ 90964 h 559879"/>
                  <a:gd name="connsiteX28" fmla="*/ 117824 w 3573304"/>
                  <a:gd name="connsiteY28" fmla="*/ 97060 h 559879"/>
                  <a:gd name="connsiteX29" fmla="*/ 128301 w 3573304"/>
                  <a:gd name="connsiteY29" fmla="*/ 97060 h 559879"/>
                  <a:gd name="connsiteX30" fmla="*/ 128301 w 3573304"/>
                  <a:gd name="connsiteY30" fmla="*/ 103156 h 559879"/>
                  <a:gd name="connsiteX31" fmla="*/ 136684 w 3573304"/>
                  <a:gd name="connsiteY31" fmla="*/ 103156 h 559879"/>
                  <a:gd name="connsiteX32" fmla="*/ 136684 w 3573304"/>
                  <a:gd name="connsiteY32" fmla="*/ 109252 h 559879"/>
                  <a:gd name="connsiteX33" fmla="*/ 151447 w 3573304"/>
                  <a:gd name="connsiteY33" fmla="*/ 109252 h 559879"/>
                  <a:gd name="connsiteX34" fmla="*/ 151447 w 3573304"/>
                  <a:gd name="connsiteY34" fmla="*/ 115252 h 559879"/>
                  <a:gd name="connsiteX35" fmla="*/ 155638 w 3573304"/>
                  <a:gd name="connsiteY35" fmla="*/ 115252 h 559879"/>
                  <a:gd name="connsiteX36" fmla="*/ 155638 w 3573304"/>
                  <a:gd name="connsiteY36" fmla="*/ 121348 h 559879"/>
                  <a:gd name="connsiteX37" fmla="*/ 159829 w 3573304"/>
                  <a:gd name="connsiteY37" fmla="*/ 121348 h 559879"/>
                  <a:gd name="connsiteX38" fmla="*/ 159829 w 3573304"/>
                  <a:gd name="connsiteY38" fmla="*/ 127444 h 559879"/>
                  <a:gd name="connsiteX39" fmla="*/ 172498 w 3573304"/>
                  <a:gd name="connsiteY39" fmla="*/ 127444 h 559879"/>
                  <a:gd name="connsiteX40" fmla="*/ 172498 w 3573304"/>
                  <a:gd name="connsiteY40" fmla="*/ 133445 h 559879"/>
                  <a:gd name="connsiteX41" fmla="*/ 201930 w 3573304"/>
                  <a:gd name="connsiteY41" fmla="*/ 133445 h 559879"/>
                  <a:gd name="connsiteX42" fmla="*/ 201930 w 3573304"/>
                  <a:gd name="connsiteY42" fmla="*/ 139541 h 559879"/>
                  <a:gd name="connsiteX43" fmla="*/ 210312 w 3573304"/>
                  <a:gd name="connsiteY43" fmla="*/ 139541 h 559879"/>
                  <a:gd name="connsiteX44" fmla="*/ 210312 w 3573304"/>
                  <a:gd name="connsiteY44" fmla="*/ 145637 h 559879"/>
                  <a:gd name="connsiteX45" fmla="*/ 212407 w 3573304"/>
                  <a:gd name="connsiteY45" fmla="*/ 145637 h 559879"/>
                  <a:gd name="connsiteX46" fmla="*/ 212407 w 3573304"/>
                  <a:gd name="connsiteY46" fmla="*/ 151638 h 559879"/>
                  <a:gd name="connsiteX47" fmla="*/ 227171 w 3573304"/>
                  <a:gd name="connsiteY47" fmla="*/ 151638 h 559879"/>
                  <a:gd name="connsiteX48" fmla="*/ 227171 w 3573304"/>
                  <a:gd name="connsiteY48" fmla="*/ 163830 h 559879"/>
                  <a:gd name="connsiteX49" fmla="*/ 229267 w 3573304"/>
                  <a:gd name="connsiteY49" fmla="*/ 163830 h 559879"/>
                  <a:gd name="connsiteX50" fmla="*/ 229267 w 3573304"/>
                  <a:gd name="connsiteY50" fmla="*/ 169831 h 559879"/>
                  <a:gd name="connsiteX51" fmla="*/ 235553 w 3573304"/>
                  <a:gd name="connsiteY51" fmla="*/ 169831 h 559879"/>
                  <a:gd name="connsiteX52" fmla="*/ 235553 w 3573304"/>
                  <a:gd name="connsiteY52" fmla="*/ 175927 h 559879"/>
                  <a:gd name="connsiteX53" fmla="*/ 239744 w 3573304"/>
                  <a:gd name="connsiteY53" fmla="*/ 175927 h 559879"/>
                  <a:gd name="connsiteX54" fmla="*/ 239744 w 3573304"/>
                  <a:gd name="connsiteY54" fmla="*/ 182023 h 559879"/>
                  <a:gd name="connsiteX55" fmla="*/ 256603 w 3573304"/>
                  <a:gd name="connsiteY55" fmla="*/ 182023 h 559879"/>
                  <a:gd name="connsiteX56" fmla="*/ 256603 w 3573304"/>
                  <a:gd name="connsiteY56" fmla="*/ 194119 h 559879"/>
                  <a:gd name="connsiteX57" fmla="*/ 260794 w 3573304"/>
                  <a:gd name="connsiteY57" fmla="*/ 194119 h 559879"/>
                  <a:gd name="connsiteX58" fmla="*/ 260794 w 3573304"/>
                  <a:gd name="connsiteY58" fmla="*/ 200215 h 559879"/>
                  <a:gd name="connsiteX59" fmla="*/ 283940 w 3573304"/>
                  <a:gd name="connsiteY59" fmla="*/ 200215 h 559879"/>
                  <a:gd name="connsiteX60" fmla="*/ 283940 w 3573304"/>
                  <a:gd name="connsiteY60" fmla="*/ 206311 h 559879"/>
                  <a:gd name="connsiteX61" fmla="*/ 288131 w 3573304"/>
                  <a:gd name="connsiteY61" fmla="*/ 206311 h 559879"/>
                  <a:gd name="connsiteX62" fmla="*/ 288131 w 3573304"/>
                  <a:gd name="connsiteY62" fmla="*/ 212312 h 559879"/>
                  <a:gd name="connsiteX63" fmla="*/ 294418 w 3573304"/>
                  <a:gd name="connsiteY63" fmla="*/ 212312 h 559879"/>
                  <a:gd name="connsiteX64" fmla="*/ 294418 w 3573304"/>
                  <a:gd name="connsiteY64" fmla="*/ 224504 h 559879"/>
                  <a:gd name="connsiteX65" fmla="*/ 313372 w 3573304"/>
                  <a:gd name="connsiteY65" fmla="*/ 224504 h 559879"/>
                  <a:gd name="connsiteX66" fmla="*/ 313372 w 3573304"/>
                  <a:gd name="connsiteY66" fmla="*/ 230505 h 559879"/>
                  <a:gd name="connsiteX67" fmla="*/ 321754 w 3573304"/>
                  <a:gd name="connsiteY67" fmla="*/ 230505 h 559879"/>
                  <a:gd name="connsiteX68" fmla="*/ 321754 w 3573304"/>
                  <a:gd name="connsiteY68" fmla="*/ 236601 h 559879"/>
                  <a:gd name="connsiteX69" fmla="*/ 334423 w 3573304"/>
                  <a:gd name="connsiteY69" fmla="*/ 236601 h 559879"/>
                  <a:gd name="connsiteX70" fmla="*/ 334423 w 3573304"/>
                  <a:gd name="connsiteY70" fmla="*/ 242697 h 559879"/>
                  <a:gd name="connsiteX71" fmla="*/ 351282 w 3573304"/>
                  <a:gd name="connsiteY71" fmla="*/ 242697 h 559879"/>
                  <a:gd name="connsiteX72" fmla="*/ 351282 w 3573304"/>
                  <a:gd name="connsiteY72" fmla="*/ 248698 h 559879"/>
                  <a:gd name="connsiteX73" fmla="*/ 378619 w 3573304"/>
                  <a:gd name="connsiteY73" fmla="*/ 248698 h 559879"/>
                  <a:gd name="connsiteX74" fmla="*/ 378619 w 3573304"/>
                  <a:gd name="connsiteY74" fmla="*/ 254794 h 559879"/>
                  <a:gd name="connsiteX75" fmla="*/ 380714 w 3573304"/>
                  <a:gd name="connsiteY75" fmla="*/ 254794 h 559879"/>
                  <a:gd name="connsiteX76" fmla="*/ 380714 w 3573304"/>
                  <a:gd name="connsiteY76" fmla="*/ 260890 h 559879"/>
                  <a:gd name="connsiteX77" fmla="*/ 391191 w 3573304"/>
                  <a:gd name="connsiteY77" fmla="*/ 260890 h 559879"/>
                  <a:gd name="connsiteX78" fmla="*/ 391191 w 3573304"/>
                  <a:gd name="connsiteY78" fmla="*/ 266890 h 559879"/>
                  <a:gd name="connsiteX79" fmla="*/ 397478 w 3573304"/>
                  <a:gd name="connsiteY79" fmla="*/ 266890 h 559879"/>
                  <a:gd name="connsiteX80" fmla="*/ 397478 w 3573304"/>
                  <a:gd name="connsiteY80" fmla="*/ 279082 h 559879"/>
                  <a:gd name="connsiteX81" fmla="*/ 405955 w 3573304"/>
                  <a:gd name="connsiteY81" fmla="*/ 279082 h 559879"/>
                  <a:gd name="connsiteX82" fmla="*/ 405955 w 3573304"/>
                  <a:gd name="connsiteY82" fmla="*/ 285083 h 559879"/>
                  <a:gd name="connsiteX83" fmla="*/ 412242 w 3573304"/>
                  <a:gd name="connsiteY83" fmla="*/ 285083 h 559879"/>
                  <a:gd name="connsiteX84" fmla="*/ 412242 w 3573304"/>
                  <a:gd name="connsiteY84" fmla="*/ 297275 h 559879"/>
                  <a:gd name="connsiteX85" fmla="*/ 414337 w 3573304"/>
                  <a:gd name="connsiteY85" fmla="*/ 297275 h 559879"/>
                  <a:gd name="connsiteX86" fmla="*/ 414337 w 3573304"/>
                  <a:gd name="connsiteY86" fmla="*/ 303371 h 559879"/>
                  <a:gd name="connsiteX87" fmla="*/ 426910 w 3573304"/>
                  <a:gd name="connsiteY87" fmla="*/ 303371 h 559879"/>
                  <a:gd name="connsiteX88" fmla="*/ 426910 w 3573304"/>
                  <a:gd name="connsiteY88" fmla="*/ 309372 h 559879"/>
                  <a:gd name="connsiteX89" fmla="*/ 450056 w 3573304"/>
                  <a:gd name="connsiteY89" fmla="*/ 309372 h 559879"/>
                  <a:gd name="connsiteX90" fmla="*/ 450056 w 3573304"/>
                  <a:gd name="connsiteY90" fmla="*/ 315468 h 559879"/>
                  <a:gd name="connsiteX91" fmla="*/ 456438 w 3573304"/>
                  <a:gd name="connsiteY91" fmla="*/ 315468 h 559879"/>
                  <a:gd name="connsiteX92" fmla="*/ 456438 w 3573304"/>
                  <a:gd name="connsiteY92" fmla="*/ 321564 h 559879"/>
                  <a:gd name="connsiteX93" fmla="*/ 464820 w 3573304"/>
                  <a:gd name="connsiteY93" fmla="*/ 321564 h 559879"/>
                  <a:gd name="connsiteX94" fmla="*/ 464820 w 3573304"/>
                  <a:gd name="connsiteY94" fmla="*/ 327565 h 559879"/>
                  <a:gd name="connsiteX95" fmla="*/ 473202 w 3573304"/>
                  <a:gd name="connsiteY95" fmla="*/ 327565 h 559879"/>
                  <a:gd name="connsiteX96" fmla="*/ 473202 w 3573304"/>
                  <a:gd name="connsiteY96" fmla="*/ 333661 h 559879"/>
                  <a:gd name="connsiteX97" fmla="*/ 477393 w 3573304"/>
                  <a:gd name="connsiteY97" fmla="*/ 333661 h 559879"/>
                  <a:gd name="connsiteX98" fmla="*/ 477393 w 3573304"/>
                  <a:gd name="connsiteY98" fmla="*/ 339757 h 559879"/>
                  <a:gd name="connsiteX99" fmla="*/ 551021 w 3573304"/>
                  <a:gd name="connsiteY99" fmla="*/ 339757 h 559879"/>
                  <a:gd name="connsiteX100" fmla="*/ 551021 w 3573304"/>
                  <a:gd name="connsiteY100" fmla="*/ 345757 h 559879"/>
                  <a:gd name="connsiteX101" fmla="*/ 572071 w 3573304"/>
                  <a:gd name="connsiteY101" fmla="*/ 345757 h 559879"/>
                  <a:gd name="connsiteX102" fmla="*/ 572071 w 3573304"/>
                  <a:gd name="connsiteY102" fmla="*/ 351853 h 559879"/>
                  <a:gd name="connsiteX103" fmla="*/ 578358 w 3573304"/>
                  <a:gd name="connsiteY103" fmla="*/ 351853 h 559879"/>
                  <a:gd name="connsiteX104" fmla="*/ 578358 w 3573304"/>
                  <a:gd name="connsiteY104" fmla="*/ 357949 h 559879"/>
                  <a:gd name="connsiteX105" fmla="*/ 620458 w 3573304"/>
                  <a:gd name="connsiteY105" fmla="*/ 357949 h 559879"/>
                  <a:gd name="connsiteX106" fmla="*/ 620458 w 3573304"/>
                  <a:gd name="connsiteY106" fmla="*/ 363950 h 559879"/>
                  <a:gd name="connsiteX107" fmla="*/ 635127 w 3573304"/>
                  <a:gd name="connsiteY107" fmla="*/ 363950 h 559879"/>
                  <a:gd name="connsiteX108" fmla="*/ 635127 w 3573304"/>
                  <a:gd name="connsiteY108" fmla="*/ 370046 h 559879"/>
                  <a:gd name="connsiteX109" fmla="*/ 664654 w 3573304"/>
                  <a:gd name="connsiteY109" fmla="*/ 370046 h 559879"/>
                  <a:gd name="connsiteX110" fmla="*/ 664654 w 3573304"/>
                  <a:gd name="connsiteY110" fmla="*/ 376142 h 559879"/>
                  <a:gd name="connsiteX111" fmla="*/ 666750 w 3573304"/>
                  <a:gd name="connsiteY111" fmla="*/ 376142 h 559879"/>
                  <a:gd name="connsiteX112" fmla="*/ 666750 w 3573304"/>
                  <a:gd name="connsiteY112" fmla="*/ 382143 h 559879"/>
                  <a:gd name="connsiteX113" fmla="*/ 689800 w 3573304"/>
                  <a:gd name="connsiteY113" fmla="*/ 382143 h 559879"/>
                  <a:gd name="connsiteX114" fmla="*/ 689800 w 3573304"/>
                  <a:gd name="connsiteY114" fmla="*/ 388239 h 559879"/>
                  <a:gd name="connsiteX115" fmla="*/ 702469 w 3573304"/>
                  <a:gd name="connsiteY115" fmla="*/ 388239 h 559879"/>
                  <a:gd name="connsiteX116" fmla="*/ 702469 w 3573304"/>
                  <a:gd name="connsiteY116" fmla="*/ 394335 h 559879"/>
                  <a:gd name="connsiteX117" fmla="*/ 738187 w 3573304"/>
                  <a:gd name="connsiteY117" fmla="*/ 394335 h 559879"/>
                  <a:gd name="connsiteX118" fmla="*/ 738187 w 3573304"/>
                  <a:gd name="connsiteY118" fmla="*/ 400431 h 559879"/>
                  <a:gd name="connsiteX119" fmla="*/ 853916 w 3573304"/>
                  <a:gd name="connsiteY119" fmla="*/ 400431 h 559879"/>
                  <a:gd name="connsiteX120" fmla="*/ 853916 w 3573304"/>
                  <a:gd name="connsiteY120" fmla="*/ 406432 h 559879"/>
                  <a:gd name="connsiteX121" fmla="*/ 891730 w 3573304"/>
                  <a:gd name="connsiteY121" fmla="*/ 406432 h 559879"/>
                  <a:gd name="connsiteX122" fmla="*/ 891730 w 3573304"/>
                  <a:gd name="connsiteY122" fmla="*/ 412623 h 559879"/>
                  <a:gd name="connsiteX123" fmla="*/ 944308 w 3573304"/>
                  <a:gd name="connsiteY123" fmla="*/ 412623 h 559879"/>
                  <a:gd name="connsiteX124" fmla="*/ 944308 w 3573304"/>
                  <a:gd name="connsiteY124" fmla="*/ 418719 h 559879"/>
                  <a:gd name="connsiteX125" fmla="*/ 963263 w 3573304"/>
                  <a:gd name="connsiteY125" fmla="*/ 418719 h 559879"/>
                  <a:gd name="connsiteX126" fmla="*/ 963263 w 3573304"/>
                  <a:gd name="connsiteY126" fmla="*/ 424815 h 559879"/>
                  <a:gd name="connsiteX127" fmla="*/ 973741 w 3573304"/>
                  <a:gd name="connsiteY127" fmla="*/ 424815 h 559879"/>
                  <a:gd name="connsiteX128" fmla="*/ 973741 w 3573304"/>
                  <a:gd name="connsiteY128" fmla="*/ 431006 h 559879"/>
                  <a:gd name="connsiteX129" fmla="*/ 1007459 w 3573304"/>
                  <a:gd name="connsiteY129" fmla="*/ 431006 h 559879"/>
                  <a:gd name="connsiteX130" fmla="*/ 1007459 w 3573304"/>
                  <a:gd name="connsiteY130" fmla="*/ 437102 h 559879"/>
                  <a:gd name="connsiteX131" fmla="*/ 1013746 w 3573304"/>
                  <a:gd name="connsiteY131" fmla="*/ 437102 h 559879"/>
                  <a:gd name="connsiteX132" fmla="*/ 1013746 w 3573304"/>
                  <a:gd name="connsiteY132" fmla="*/ 443198 h 559879"/>
                  <a:gd name="connsiteX133" fmla="*/ 1028414 w 3573304"/>
                  <a:gd name="connsiteY133" fmla="*/ 443198 h 559879"/>
                  <a:gd name="connsiteX134" fmla="*/ 1028414 w 3573304"/>
                  <a:gd name="connsiteY134" fmla="*/ 449294 h 559879"/>
                  <a:gd name="connsiteX135" fmla="*/ 1041082 w 3573304"/>
                  <a:gd name="connsiteY135" fmla="*/ 449294 h 559879"/>
                  <a:gd name="connsiteX136" fmla="*/ 1041082 w 3573304"/>
                  <a:gd name="connsiteY136" fmla="*/ 455485 h 559879"/>
                  <a:gd name="connsiteX137" fmla="*/ 1066324 w 3573304"/>
                  <a:gd name="connsiteY137" fmla="*/ 455485 h 559879"/>
                  <a:gd name="connsiteX138" fmla="*/ 1066324 w 3573304"/>
                  <a:gd name="connsiteY138" fmla="*/ 461581 h 559879"/>
                  <a:gd name="connsiteX139" fmla="*/ 1295590 w 3573304"/>
                  <a:gd name="connsiteY139" fmla="*/ 461581 h 559879"/>
                  <a:gd name="connsiteX140" fmla="*/ 1295590 w 3573304"/>
                  <a:gd name="connsiteY140" fmla="*/ 467773 h 559879"/>
                  <a:gd name="connsiteX141" fmla="*/ 1409128 w 3573304"/>
                  <a:gd name="connsiteY141" fmla="*/ 467773 h 559879"/>
                  <a:gd name="connsiteX142" fmla="*/ 1409128 w 3573304"/>
                  <a:gd name="connsiteY142" fmla="*/ 473964 h 559879"/>
                  <a:gd name="connsiteX143" fmla="*/ 1678305 w 3573304"/>
                  <a:gd name="connsiteY143" fmla="*/ 473964 h 559879"/>
                  <a:gd name="connsiteX144" fmla="*/ 1678305 w 3573304"/>
                  <a:gd name="connsiteY144" fmla="*/ 480250 h 559879"/>
                  <a:gd name="connsiteX145" fmla="*/ 1751933 w 3573304"/>
                  <a:gd name="connsiteY145" fmla="*/ 480250 h 559879"/>
                  <a:gd name="connsiteX146" fmla="*/ 1751933 w 3573304"/>
                  <a:gd name="connsiteY146" fmla="*/ 486537 h 559879"/>
                  <a:gd name="connsiteX147" fmla="*/ 1831848 w 3573304"/>
                  <a:gd name="connsiteY147" fmla="*/ 486537 h 559879"/>
                  <a:gd name="connsiteX148" fmla="*/ 1831848 w 3573304"/>
                  <a:gd name="connsiteY148" fmla="*/ 492823 h 559879"/>
                  <a:gd name="connsiteX149" fmla="*/ 1993773 w 3573304"/>
                  <a:gd name="connsiteY149" fmla="*/ 492823 h 559879"/>
                  <a:gd name="connsiteX150" fmla="*/ 1993773 w 3573304"/>
                  <a:gd name="connsiteY150" fmla="*/ 499300 h 559879"/>
                  <a:gd name="connsiteX151" fmla="*/ 2010632 w 3573304"/>
                  <a:gd name="connsiteY151" fmla="*/ 499300 h 559879"/>
                  <a:gd name="connsiteX152" fmla="*/ 2010632 w 3573304"/>
                  <a:gd name="connsiteY152" fmla="*/ 505682 h 559879"/>
                  <a:gd name="connsiteX153" fmla="*/ 2128456 w 3573304"/>
                  <a:gd name="connsiteY153" fmla="*/ 505682 h 559879"/>
                  <a:gd name="connsiteX154" fmla="*/ 2128456 w 3573304"/>
                  <a:gd name="connsiteY154" fmla="*/ 512159 h 559879"/>
                  <a:gd name="connsiteX155" fmla="*/ 2220944 w 3573304"/>
                  <a:gd name="connsiteY155" fmla="*/ 512159 h 559879"/>
                  <a:gd name="connsiteX156" fmla="*/ 2220944 w 3573304"/>
                  <a:gd name="connsiteY156" fmla="*/ 518541 h 559879"/>
                  <a:gd name="connsiteX157" fmla="*/ 2239899 w 3573304"/>
                  <a:gd name="connsiteY157" fmla="*/ 518541 h 559879"/>
                  <a:gd name="connsiteX158" fmla="*/ 2239899 w 3573304"/>
                  <a:gd name="connsiteY158" fmla="*/ 525018 h 559879"/>
                  <a:gd name="connsiteX159" fmla="*/ 3093720 w 3573304"/>
                  <a:gd name="connsiteY159" fmla="*/ 525018 h 559879"/>
                  <a:gd name="connsiteX160" fmla="*/ 3093720 w 3573304"/>
                  <a:gd name="connsiteY160" fmla="*/ 559879 h 559879"/>
                  <a:gd name="connsiteX161" fmla="*/ 3573304 w 3573304"/>
                  <a:gd name="connsiteY161" fmla="*/ 559879 h 559879"/>
                  <a:gd name="connsiteX0" fmla="*/ 0 w 3573304"/>
                  <a:gd name="connsiteY0" fmla="*/ 0 h 559879"/>
                  <a:gd name="connsiteX1" fmla="*/ 8382 w 3573304"/>
                  <a:gd name="connsiteY1" fmla="*/ 12192 h 559879"/>
                  <a:gd name="connsiteX2" fmla="*/ 10477 w 3573304"/>
                  <a:gd name="connsiteY2" fmla="*/ 12192 h 559879"/>
                  <a:gd name="connsiteX3" fmla="*/ 10477 w 3573304"/>
                  <a:gd name="connsiteY3" fmla="*/ 18193 h 559879"/>
                  <a:gd name="connsiteX4" fmla="*/ 12668 w 3573304"/>
                  <a:gd name="connsiteY4" fmla="*/ 18193 h 559879"/>
                  <a:gd name="connsiteX5" fmla="*/ 12668 w 3573304"/>
                  <a:gd name="connsiteY5" fmla="*/ 24289 h 559879"/>
                  <a:gd name="connsiteX6" fmla="*/ 23145 w 3573304"/>
                  <a:gd name="connsiteY6" fmla="*/ 24289 h 559879"/>
                  <a:gd name="connsiteX7" fmla="*/ 23145 w 3573304"/>
                  <a:gd name="connsiteY7" fmla="*/ 30385 h 559879"/>
                  <a:gd name="connsiteX8" fmla="*/ 29432 w 3573304"/>
                  <a:gd name="connsiteY8" fmla="*/ 30385 h 559879"/>
                  <a:gd name="connsiteX9" fmla="*/ 29432 w 3573304"/>
                  <a:gd name="connsiteY9" fmla="*/ 36385 h 559879"/>
                  <a:gd name="connsiteX10" fmla="*/ 44196 w 3573304"/>
                  <a:gd name="connsiteY10" fmla="*/ 36385 h 559879"/>
                  <a:gd name="connsiteX11" fmla="*/ 44196 w 3573304"/>
                  <a:gd name="connsiteY11" fmla="*/ 42481 h 559879"/>
                  <a:gd name="connsiteX12" fmla="*/ 52578 w 3573304"/>
                  <a:gd name="connsiteY12" fmla="*/ 42481 h 559879"/>
                  <a:gd name="connsiteX13" fmla="*/ 52578 w 3573304"/>
                  <a:gd name="connsiteY13" fmla="*/ 48577 h 559879"/>
                  <a:gd name="connsiteX14" fmla="*/ 63151 w 3573304"/>
                  <a:gd name="connsiteY14" fmla="*/ 48577 h 559879"/>
                  <a:gd name="connsiteX15" fmla="*/ 63151 w 3573304"/>
                  <a:gd name="connsiteY15" fmla="*/ 54578 h 559879"/>
                  <a:gd name="connsiteX16" fmla="*/ 75724 w 3573304"/>
                  <a:gd name="connsiteY16" fmla="*/ 54578 h 559879"/>
                  <a:gd name="connsiteX17" fmla="*/ 75724 w 3573304"/>
                  <a:gd name="connsiteY17" fmla="*/ 60674 h 559879"/>
                  <a:gd name="connsiteX18" fmla="*/ 82010 w 3573304"/>
                  <a:gd name="connsiteY18" fmla="*/ 60674 h 559879"/>
                  <a:gd name="connsiteX19" fmla="*/ 82010 w 3573304"/>
                  <a:gd name="connsiteY19" fmla="*/ 72771 h 559879"/>
                  <a:gd name="connsiteX20" fmla="*/ 86201 w 3573304"/>
                  <a:gd name="connsiteY20" fmla="*/ 72771 h 559879"/>
                  <a:gd name="connsiteX21" fmla="*/ 86201 w 3573304"/>
                  <a:gd name="connsiteY21" fmla="*/ 78867 h 559879"/>
                  <a:gd name="connsiteX22" fmla="*/ 98869 w 3573304"/>
                  <a:gd name="connsiteY22" fmla="*/ 78867 h 559879"/>
                  <a:gd name="connsiteX23" fmla="*/ 98869 w 3573304"/>
                  <a:gd name="connsiteY23" fmla="*/ 84963 h 559879"/>
                  <a:gd name="connsiteX24" fmla="*/ 113538 w 3573304"/>
                  <a:gd name="connsiteY24" fmla="*/ 84963 h 559879"/>
                  <a:gd name="connsiteX25" fmla="*/ 113538 w 3573304"/>
                  <a:gd name="connsiteY25" fmla="*/ 90964 h 559879"/>
                  <a:gd name="connsiteX26" fmla="*/ 117824 w 3573304"/>
                  <a:gd name="connsiteY26" fmla="*/ 90964 h 559879"/>
                  <a:gd name="connsiteX27" fmla="*/ 117824 w 3573304"/>
                  <a:gd name="connsiteY27" fmla="*/ 97060 h 559879"/>
                  <a:gd name="connsiteX28" fmla="*/ 128301 w 3573304"/>
                  <a:gd name="connsiteY28" fmla="*/ 97060 h 559879"/>
                  <a:gd name="connsiteX29" fmla="*/ 128301 w 3573304"/>
                  <a:gd name="connsiteY29" fmla="*/ 103156 h 559879"/>
                  <a:gd name="connsiteX30" fmla="*/ 136684 w 3573304"/>
                  <a:gd name="connsiteY30" fmla="*/ 103156 h 559879"/>
                  <a:gd name="connsiteX31" fmla="*/ 136684 w 3573304"/>
                  <a:gd name="connsiteY31" fmla="*/ 109252 h 559879"/>
                  <a:gd name="connsiteX32" fmla="*/ 151447 w 3573304"/>
                  <a:gd name="connsiteY32" fmla="*/ 109252 h 559879"/>
                  <a:gd name="connsiteX33" fmla="*/ 151447 w 3573304"/>
                  <a:gd name="connsiteY33" fmla="*/ 115252 h 559879"/>
                  <a:gd name="connsiteX34" fmla="*/ 155638 w 3573304"/>
                  <a:gd name="connsiteY34" fmla="*/ 115252 h 559879"/>
                  <a:gd name="connsiteX35" fmla="*/ 155638 w 3573304"/>
                  <a:gd name="connsiteY35" fmla="*/ 121348 h 559879"/>
                  <a:gd name="connsiteX36" fmla="*/ 159829 w 3573304"/>
                  <a:gd name="connsiteY36" fmla="*/ 121348 h 559879"/>
                  <a:gd name="connsiteX37" fmla="*/ 159829 w 3573304"/>
                  <a:gd name="connsiteY37" fmla="*/ 127444 h 559879"/>
                  <a:gd name="connsiteX38" fmla="*/ 172498 w 3573304"/>
                  <a:gd name="connsiteY38" fmla="*/ 127444 h 559879"/>
                  <a:gd name="connsiteX39" fmla="*/ 172498 w 3573304"/>
                  <a:gd name="connsiteY39" fmla="*/ 133445 h 559879"/>
                  <a:gd name="connsiteX40" fmla="*/ 201930 w 3573304"/>
                  <a:gd name="connsiteY40" fmla="*/ 133445 h 559879"/>
                  <a:gd name="connsiteX41" fmla="*/ 201930 w 3573304"/>
                  <a:gd name="connsiteY41" fmla="*/ 139541 h 559879"/>
                  <a:gd name="connsiteX42" fmla="*/ 210312 w 3573304"/>
                  <a:gd name="connsiteY42" fmla="*/ 139541 h 559879"/>
                  <a:gd name="connsiteX43" fmla="*/ 210312 w 3573304"/>
                  <a:gd name="connsiteY43" fmla="*/ 145637 h 559879"/>
                  <a:gd name="connsiteX44" fmla="*/ 212407 w 3573304"/>
                  <a:gd name="connsiteY44" fmla="*/ 145637 h 559879"/>
                  <a:gd name="connsiteX45" fmla="*/ 212407 w 3573304"/>
                  <a:gd name="connsiteY45" fmla="*/ 151638 h 559879"/>
                  <a:gd name="connsiteX46" fmla="*/ 227171 w 3573304"/>
                  <a:gd name="connsiteY46" fmla="*/ 151638 h 559879"/>
                  <a:gd name="connsiteX47" fmla="*/ 227171 w 3573304"/>
                  <a:gd name="connsiteY47" fmla="*/ 163830 h 559879"/>
                  <a:gd name="connsiteX48" fmla="*/ 229267 w 3573304"/>
                  <a:gd name="connsiteY48" fmla="*/ 163830 h 559879"/>
                  <a:gd name="connsiteX49" fmla="*/ 229267 w 3573304"/>
                  <a:gd name="connsiteY49" fmla="*/ 169831 h 559879"/>
                  <a:gd name="connsiteX50" fmla="*/ 235553 w 3573304"/>
                  <a:gd name="connsiteY50" fmla="*/ 169831 h 559879"/>
                  <a:gd name="connsiteX51" fmla="*/ 235553 w 3573304"/>
                  <a:gd name="connsiteY51" fmla="*/ 175927 h 559879"/>
                  <a:gd name="connsiteX52" fmla="*/ 239744 w 3573304"/>
                  <a:gd name="connsiteY52" fmla="*/ 175927 h 559879"/>
                  <a:gd name="connsiteX53" fmla="*/ 239744 w 3573304"/>
                  <a:gd name="connsiteY53" fmla="*/ 182023 h 559879"/>
                  <a:gd name="connsiteX54" fmla="*/ 256603 w 3573304"/>
                  <a:gd name="connsiteY54" fmla="*/ 182023 h 559879"/>
                  <a:gd name="connsiteX55" fmla="*/ 256603 w 3573304"/>
                  <a:gd name="connsiteY55" fmla="*/ 194119 h 559879"/>
                  <a:gd name="connsiteX56" fmla="*/ 260794 w 3573304"/>
                  <a:gd name="connsiteY56" fmla="*/ 194119 h 559879"/>
                  <a:gd name="connsiteX57" fmla="*/ 260794 w 3573304"/>
                  <a:gd name="connsiteY57" fmla="*/ 200215 h 559879"/>
                  <a:gd name="connsiteX58" fmla="*/ 283940 w 3573304"/>
                  <a:gd name="connsiteY58" fmla="*/ 200215 h 559879"/>
                  <a:gd name="connsiteX59" fmla="*/ 283940 w 3573304"/>
                  <a:gd name="connsiteY59" fmla="*/ 206311 h 559879"/>
                  <a:gd name="connsiteX60" fmla="*/ 288131 w 3573304"/>
                  <a:gd name="connsiteY60" fmla="*/ 206311 h 559879"/>
                  <a:gd name="connsiteX61" fmla="*/ 288131 w 3573304"/>
                  <a:gd name="connsiteY61" fmla="*/ 212312 h 559879"/>
                  <a:gd name="connsiteX62" fmla="*/ 294418 w 3573304"/>
                  <a:gd name="connsiteY62" fmla="*/ 212312 h 559879"/>
                  <a:gd name="connsiteX63" fmla="*/ 294418 w 3573304"/>
                  <a:gd name="connsiteY63" fmla="*/ 224504 h 559879"/>
                  <a:gd name="connsiteX64" fmla="*/ 313372 w 3573304"/>
                  <a:gd name="connsiteY64" fmla="*/ 224504 h 559879"/>
                  <a:gd name="connsiteX65" fmla="*/ 313372 w 3573304"/>
                  <a:gd name="connsiteY65" fmla="*/ 230505 h 559879"/>
                  <a:gd name="connsiteX66" fmla="*/ 321754 w 3573304"/>
                  <a:gd name="connsiteY66" fmla="*/ 230505 h 559879"/>
                  <a:gd name="connsiteX67" fmla="*/ 321754 w 3573304"/>
                  <a:gd name="connsiteY67" fmla="*/ 236601 h 559879"/>
                  <a:gd name="connsiteX68" fmla="*/ 334423 w 3573304"/>
                  <a:gd name="connsiteY68" fmla="*/ 236601 h 559879"/>
                  <a:gd name="connsiteX69" fmla="*/ 334423 w 3573304"/>
                  <a:gd name="connsiteY69" fmla="*/ 242697 h 559879"/>
                  <a:gd name="connsiteX70" fmla="*/ 351282 w 3573304"/>
                  <a:gd name="connsiteY70" fmla="*/ 242697 h 559879"/>
                  <a:gd name="connsiteX71" fmla="*/ 351282 w 3573304"/>
                  <a:gd name="connsiteY71" fmla="*/ 248698 h 559879"/>
                  <a:gd name="connsiteX72" fmla="*/ 378619 w 3573304"/>
                  <a:gd name="connsiteY72" fmla="*/ 248698 h 559879"/>
                  <a:gd name="connsiteX73" fmla="*/ 378619 w 3573304"/>
                  <a:gd name="connsiteY73" fmla="*/ 254794 h 559879"/>
                  <a:gd name="connsiteX74" fmla="*/ 380714 w 3573304"/>
                  <a:gd name="connsiteY74" fmla="*/ 254794 h 559879"/>
                  <a:gd name="connsiteX75" fmla="*/ 380714 w 3573304"/>
                  <a:gd name="connsiteY75" fmla="*/ 260890 h 559879"/>
                  <a:gd name="connsiteX76" fmla="*/ 391191 w 3573304"/>
                  <a:gd name="connsiteY76" fmla="*/ 260890 h 559879"/>
                  <a:gd name="connsiteX77" fmla="*/ 391191 w 3573304"/>
                  <a:gd name="connsiteY77" fmla="*/ 266890 h 559879"/>
                  <a:gd name="connsiteX78" fmla="*/ 397478 w 3573304"/>
                  <a:gd name="connsiteY78" fmla="*/ 266890 h 559879"/>
                  <a:gd name="connsiteX79" fmla="*/ 397478 w 3573304"/>
                  <a:gd name="connsiteY79" fmla="*/ 279082 h 559879"/>
                  <a:gd name="connsiteX80" fmla="*/ 405955 w 3573304"/>
                  <a:gd name="connsiteY80" fmla="*/ 279082 h 559879"/>
                  <a:gd name="connsiteX81" fmla="*/ 405955 w 3573304"/>
                  <a:gd name="connsiteY81" fmla="*/ 285083 h 559879"/>
                  <a:gd name="connsiteX82" fmla="*/ 412242 w 3573304"/>
                  <a:gd name="connsiteY82" fmla="*/ 285083 h 559879"/>
                  <a:gd name="connsiteX83" fmla="*/ 412242 w 3573304"/>
                  <a:gd name="connsiteY83" fmla="*/ 297275 h 559879"/>
                  <a:gd name="connsiteX84" fmla="*/ 414337 w 3573304"/>
                  <a:gd name="connsiteY84" fmla="*/ 297275 h 559879"/>
                  <a:gd name="connsiteX85" fmla="*/ 414337 w 3573304"/>
                  <a:gd name="connsiteY85" fmla="*/ 303371 h 559879"/>
                  <a:gd name="connsiteX86" fmla="*/ 426910 w 3573304"/>
                  <a:gd name="connsiteY86" fmla="*/ 303371 h 559879"/>
                  <a:gd name="connsiteX87" fmla="*/ 426910 w 3573304"/>
                  <a:gd name="connsiteY87" fmla="*/ 309372 h 559879"/>
                  <a:gd name="connsiteX88" fmla="*/ 450056 w 3573304"/>
                  <a:gd name="connsiteY88" fmla="*/ 309372 h 559879"/>
                  <a:gd name="connsiteX89" fmla="*/ 450056 w 3573304"/>
                  <a:gd name="connsiteY89" fmla="*/ 315468 h 559879"/>
                  <a:gd name="connsiteX90" fmla="*/ 456438 w 3573304"/>
                  <a:gd name="connsiteY90" fmla="*/ 315468 h 559879"/>
                  <a:gd name="connsiteX91" fmla="*/ 456438 w 3573304"/>
                  <a:gd name="connsiteY91" fmla="*/ 321564 h 559879"/>
                  <a:gd name="connsiteX92" fmla="*/ 464820 w 3573304"/>
                  <a:gd name="connsiteY92" fmla="*/ 321564 h 559879"/>
                  <a:gd name="connsiteX93" fmla="*/ 464820 w 3573304"/>
                  <a:gd name="connsiteY93" fmla="*/ 327565 h 559879"/>
                  <a:gd name="connsiteX94" fmla="*/ 473202 w 3573304"/>
                  <a:gd name="connsiteY94" fmla="*/ 327565 h 559879"/>
                  <a:gd name="connsiteX95" fmla="*/ 473202 w 3573304"/>
                  <a:gd name="connsiteY95" fmla="*/ 333661 h 559879"/>
                  <a:gd name="connsiteX96" fmla="*/ 477393 w 3573304"/>
                  <a:gd name="connsiteY96" fmla="*/ 333661 h 559879"/>
                  <a:gd name="connsiteX97" fmla="*/ 477393 w 3573304"/>
                  <a:gd name="connsiteY97" fmla="*/ 339757 h 559879"/>
                  <a:gd name="connsiteX98" fmla="*/ 551021 w 3573304"/>
                  <a:gd name="connsiteY98" fmla="*/ 339757 h 559879"/>
                  <a:gd name="connsiteX99" fmla="*/ 551021 w 3573304"/>
                  <a:gd name="connsiteY99" fmla="*/ 345757 h 559879"/>
                  <a:gd name="connsiteX100" fmla="*/ 572071 w 3573304"/>
                  <a:gd name="connsiteY100" fmla="*/ 345757 h 559879"/>
                  <a:gd name="connsiteX101" fmla="*/ 572071 w 3573304"/>
                  <a:gd name="connsiteY101" fmla="*/ 351853 h 559879"/>
                  <a:gd name="connsiteX102" fmla="*/ 578358 w 3573304"/>
                  <a:gd name="connsiteY102" fmla="*/ 351853 h 559879"/>
                  <a:gd name="connsiteX103" fmla="*/ 578358 w 3573304"/>
                  <a:gd name="connsiteY103" fmla="*/ 357949 h 559879"/>
                  <a:gd name="connsiteX104" fmla="*/ 620458 w 3573304"/>
                  <a:gd name="connsiteY104" fmla="*/ 357949 h 559879"/>
                  <a:gd name="connsiteX105" fmla="*/ 620458 w 3573304"/>
                  <a:gd name="connsiteY105" fmla="*/ 363950 h 559879"/>
                  <a:gd name="connsiteX106" fmla="*/ 635127 w 3573304"/>
                  <a:gd name="connsiteY106" fmla="*/ 363950 h 559879"/>
                  <a:gd name="connsiteX107" fmla="*/ 635127 w 3573304"/>
                  <a:gd name="connsiteY107" fmla="*/ 370046 h 559879"/>
                  <a:gd name="connsiteX108" fmla="*/ 664654 w 3573304"/>
                  <a:gd name="connsiteY108" fmla="*/ 370046 h 559879"/>
                  <a:gd name="connsiteX109" fmla="*/ 664654 w 3573304"/>
                  <a:gd name="connsiteY109" fmla="*/ 376142 h 559879"/>
                  <a:gd name="connsiteX110" fmla="*/ 666750 w 3573304"/>
                  <a:gd name="connsiteY110" fmla="*/ 376142 h 559879"/>
                  <a:gd name="connsiteX111" fmla="*/ 666750 w 3573304"/>
                  <a:gd name="connsiteY111" fmla="*/ 382143 h 559879"/>
                  <a:gd name="connsiteX112" fmla="*/ 689800 w 3573304"/>
                  <a:gd name="connsiteY112" fmla="*/ 382143 h 559879"/>
                  <a:gd name="connsiteX113" fmla="*/ 689800 w 3573304"/>
                  <a:gd name="connsiteY113" fmla="*/ 388239 h 559879"/>
                  <a:gd name="connsiteX114" fmla="*/ 702469 w 3573304"/>
                  <a:gd name="connsiteY114" fmla="*/ 388239 h 559879"/>
                  <a:gd name="connsiteX115" fmla="*/ 702469 w 3573304"/>
                  <a:gd name="connsiteY115" fmla="*/ 394335 h 559879"/>
                  <a:gd name="connsiteX116" fmla="*/ 738187 w 3573304"/>
                  <a:gd name="connsiteY116" fmla="*/ 394335 h 559879"/>
                  <a:gd name="connsiteX117" fmla="*/ 738187 w 3573304"/>
                  <a:gd name="connsiteY117" fmla="*/ 400431 h 559879"/>
                  <a:gd name="connsiteX118" fmla="*/ 853916 w 3573304"/>
                  <a:gd name="connsiteY118" fmla="*/ 400431 h 559879"/>
                  <a:gd name="connsiteX119" fmla="*/ 853916 w 3573304"/>
                  <a:gd name="connsiteY119" fmla="*/ 406432 h 559879"/>
                  <a:gd name="connsiteX120" fmla="*/ 891730 w 3573304"/>
                  <a:gd name="connsiteY120" fmla="*/ 406432 h 559879"/>
                  <a:gd name="connsiteX121" fmla="*/ 891730 w 3573304"/>
                  <a:gd name="connsiteY121" fmla="*/ 412623 h 559879"/>
                  <a:gd name="connsiteX122" fmla="*/ 944308 w 3573304"/>
                  <a:gd name="connsiteY122" fmla="*/ 412623 h 559879"/>
                  <a:gd name="connsiteX123" fmla="*/ 944308 w 3573304"/>
                  <a:gd name="connsiteY123" fmla="*/ 418719 h 559879"/>
                  <a:gd name="connsiteX124" fmla="*/ 963263 w 3573304"/>
                  <a:gd name="connsiteY124" fmla="*/ 418719 h 559879"/>
                  <a:gd name="connsiteX125" fmla="*/ 963263 w 3573304"/>
                  <a:gd name="connsiteY125" fmla="*/ 424815 h 559879"/>
                  <a:gd name="connsiteX126" fmla="*/ 973741 w 3573304"/>
                  <a:gd name="connsiteY126" fmla="*/ 424815 h 559879"/>
                  <a:gd name="connsiteX127" fmla="*/ 973741 w 3573304"/>
                  <a:gd name="connsiteY127" fmla="*/ 431006 h 559879"/>
                  <a:gd name="connsiteX128" fmla="*/ 1007459 w 3573304"/>
                  <a:gd name="connsiteY128" fmla="*/ 431006 h 559879"/>
                  <a:gd name="connsiteX129" fmla="*/ 1007459 w 3573304"/>
                  <a:gd name="connsiteY129" fmla="*/ 437102 h 559879"/>
                  <a:gd name="connsiteX130" fmla="*/ 1013746 w 3573304"/>
                  <a:gd name="connsiteY130" fmla="*/ 437102 h 559879"/>
                  <a:gd name="connsiteX131" fmla="*/ 1013746 w 3573304"/>
                  <a:gd name="connsiteY131" fmla="*/ 443198 h 559879"/>
                  <a:gd name="connsiteX132" fmla="*/ 1028414 w 3573304"/>
                  <a:gd name="connsiteY132" fmla="*/ 443198 h 559879"/>
                  <a:gd name="connsiteX133" fmla="*/ 1028414 w 3573304"/>
                  <a:gd name="connsiteY133" fmla="*/ 449294 h 559879"/>
                  <a:gd name="connsiteX134" fmla="*/ 1041082 w 3573304"/>
                  <a:gd name="connsiteY134" fmla="*/ 449294 h 559879"/>
                  <a:gd name="connsiteX135" fmla="*/ 1041082 w 3573304"/>
                  <a:gd name="connsiteY135" fmla="*/ 455485 h 559879"/>
                  <a:gd name="connsiteX136" fmla="*/ 1066324 w 3573304"/>
                  <a:gd name="connsiteY136" fmla="*/ 455485 h 559879"/>
                  <a:gd name="connsiteX137" fmla="*/ 1066324 w 3573304"/>
                  <a:gd name="connsiteY137" fmla="*/ 461581 h 559879"/>
                  <a:gd name="connsiteX138" fmla="*/ 1295590 w 3573304"/>
                  <a:gd name="connsiteY138" fmla="*/ 461581 h 559879"/>
                  <a:gd name="connsiteX139" fmla="*/ 1295590 w 3573304"/>
                  <a:gd name="connsiteY139" fmla="*/ 467773 h 559879"/>
                  <a:gd name="connsiteX140" fmla="*/ 1409128 w 3573304"/>
                  <a:gd name="connsiteY140" fmla="*/ 467773 h 559879"/>
                  <a:gd name="connsiteX141" fmla="*/ 1409128 w 3573304"/>
                  <a:gd name="connsiteY141" fmla="*/ 473964 h 559879"/>
                  <a:gd name="connsiteX142" fmla="*/ 1678305 w 3573304"/>
                  <a:gd name="connsiteY142" fmla="*/ 473964 h 559879"/>
                  <a:gd name="connsiteX143" fmla="*/ 1678305 w 3573304"/>
                  <a:gd name="connsiteY143" fmla="*/ 480250 h 559879"/>
                  <a:gd name="connsiteX144" fmla="*/ 1751933 w 3573304"/>
                  <a:gd name="connsiteY144" fmla="*/ 480250 h 559879"/>
                  <a:gd name="connsiteX145" fmla="*/ 1751933 w 3573304"/>
                  <a:gd name="connsiteY145" fmla="*/ 486537 h 559879"/>
                  <a:gd name="connsiteX146" fmla="*/ 1831848 w 3573304"/>
                  <a:gd name="connsiteY146" fmla="*/ 486537 h 559879"/>
                  <a:gd name="connsiteX147" fmla="*/ 1831848 w 3573304"/>
                  <a:gd name="connsiteY147" fmla="*/ 492823 h 559879"/>
                  <a:gd name="connsiteX148" fmla="*/ 1993773 w 3573304"/>
                  <a:gd name="connsiteY148" fmla="*/ 492823 h 559879"/>
                  <a:gd name="connsiteX149" fmla="*/ 1993773 w 3573304"/>
                  <a:gd name="connsiteY149" fmla="*/ 499300 h 559879"/>
                  <a:gd name="connsiteX150" fmla="*/ 2010632 w 3573304"/>
                  <a:gd name="connsiteY150" fmla="*/ 499300 h 559879"/>
                  <a:gd name="connsiteX151" fmla="*/ 2010632 w 3573304"/>
                  <a:gd name="connsiteY151" fmla="*/ 505682 h 559879"/>
                  <a:gd name="connsiteX152" fmla="*/ 2128456 w 3573304"/>
                  <a:gd name="connsiteY152" fmla="*/ 505682 h 559879"/>
                  <a:gd name="connsiteX153" fmla="*/ 2128456 w 3573304"/>
                  <a:gd name="connsiteY153" fmla="*/ 512159 h 559879"/>
                  <a:gd name="connsiteX154" fmla="*/ 2220944 w 3573304"/>
                  <a:gd name="connsiteY154" fmla="*/ 512159 h 559879"/>
                  <a:gd name="connsiteX155" fmla="*/ 2220944 w 3573304"/>
                  <a:gd name="connsiteY155" fmla="*/ 518541 h 559879"/>
                  <a:gd name="connsiteX156" fmla="*/ 2239899 w 3573304"/>
                  <a:gd name="connsiteY156" fmla="*/ 518541 h 559879"/>
                  <a:gd name="connsiteX157" fmla="*/ 2239899 w 3573304"/>
                  <a:gd name="connsiteY157" fmla="*/ 525018 h 559879"/>
                  <a:gd name="connsiteX158" fmla="*/ 3093720 w 3573304"/>
                  <a:gd name="connsiteY158" fmla="*/ 525018 h 559879"/>
                  <a:gd name="connsiteX159" fmla="*/ 3093720 w 3573304"/>
                  <a:gd name="connsiteY159" fmla="*/ 559879 h 559879"/>
                  <a:gd name="connsiteX160" fmla="*/ 3573304 w 3573304"/>
                  <a:gd name="connsiteY160" fmla="*/ 559879 h 559879"/>
                  <a:gd name="connsiteX0" fmla="*/ 0 w 3564922"/>
                  <a:gd name="connsiteY0" fmla="*/ 0 h 547687"/>
                  <a:gd name="connsiteX1" fmla="*/ 2095 w 3564922"/>
                  <a:gd name="connsiteY1" fmla="*/ 0 h 547687"/>
                  <a:gd name="connsiteX2" fmla="*/ 2095 w 3564922"/>
                  <a:gd name="connsiteY2" fmla="*/ 6001 h 547687"/>
                  <a:gd name="connsiteX3" fmla="*/ 4286 w 3564922"/>
                  <a:gd name="connsiteY3" fmla="*/ 6001 h 547687"/>
                  <a:gd name="connsiteX4" fmla="*/ 4286 w 3564922"/>
                  <a:gd name="connsiteY4" fmla="*/ 12097 h 547687"/>
                  <a:gd name="connsiteX5" fmla="*/ 14763 w 3564922"/>
                  <a:gd name="connsiteY5" fmla="*/ 12097 h 547687"/>
                  <a:gd name="connsiteX6" fmla="*/ 14763 w 3564922"/>
                  <a:gd name="connsiteY6" fmla="*/ 18193 h 547687"/>
                  <a:gd name="connsiteX7" fmla="*/ 21050 w 3564922"/>
                  <a:gd name="connsiteY7" fmla="*/ 18193 h 547687"/>
                  <a:gd name="connsiteX8" fmla="*/ 21050 w 3564922"/>
                  <a:gd name="connsiteY8" fmla="*/ 24193 h 547687"/>
                  <a:gd name="connsiteX9" fmla="*/ 35814 w 3564922"/>
                  <a:gd name="connsiteY9" fmla="*/ 24193 h 547687"/>
                  <a:gd name="connsiteX10" fmla="*/ 35814 w 3564922"/>
                  <a:gd name="connsiteY10" fmla="*/ 30289 h 547687"/>
                  <a:gd name="connsiteX11" fmla="*/ 44196 w 3564922"/>
                  <a:gd name="connsiteY11" fmla="*/ 30289 h 547687"/>
                  <a:gd name="connsiteX12" fmla="*/ 44196 w 3564922"/>
                  <a:gd name="connsiteY12" fmla="*/ 36385 h 547687"/>
                  <a:gd name="connsiteX13" fmla="*/ 54769 w 3564922"/>
                  <a:gd name="connsiteY13" fmla="*/ 36385 h 547687"/>
                  <a:gd name="connsiteX14" fmla="*/ 54769 w 3564922"/>
                  <a:gd name="connsiteY14" fmla="*/ 42386 h 547687"/>
                  <a:gd name="connsiteX15" fmla="*/ 67342 w 3564922"/>
                  <a:gd name="connsiteY15" fmla="*/ 42386 h 547687"/>
                  <a:gd name="connsiteX16" fmla="*/ 67342 w 3564922"/>
                  <a:gd name="connsiteY16" fmla="*/ 48482 h 547687"/>
                  <a:gd name="connsiteX17" fmla="*/ 73628 w 3564922"/>
                  <a:gd name="connsiteY17" fmla="*/ 48482 h 547687"/>
                  <a:gd name="connsiteX18" fmla="*/ 73628 w 3564922"/>
                  <a:gd name="connsiteY18" fmla="*/ 60579 h 547687"/>
                  <a:gd name="connsiteX19" fmla="*/ 77819 w 3564922"/>
                  <a:gd name="connsiteY19" fmla="*/ 60579 h 547687"/>
                  <a:gd name="connsiteX20" fmla="*/ 77819 w 3564922"/>
                  <a:gd name="connsiteY20" fmla="*/ 66675 h 547687"/>
                  <a:gd name="connsiteX21" fmla="*/ 90487 w 3564922"/>
                  <a:gd name="connsiteY21" fmla="*/ 66675 h 547687"/>
                  <a:gd name="connsiteX22" fmla="*/ 90487 w 3564922"/>
                  <a:gd name="connsiteY22" fmla="*/ 72771 h 547687"/>
                  <a:gd name="connsiteX23" fmla="*/ 105156 w 3564922"/>
                  <a:gd name="connsiteY23" fmla="*/ 72771 h 547687"/>
                  <a:gd name="connsiteX24" fmla="*/ 105156 w 3564922"/>
                  <a:gd name="connsiteY24" fmla="*/ 78772 h 547687"/>
                  <a:gd name="connsiteX25" fmla="*/ 109442 w 3564922"/>
                  <a:gd name="connsiteY25" fmla="*/ 78772 h 547687"/>
                  <a:gd name="connsiteX26" fmla="*/ 109442 w 3564922"/>
                  <a:gd name="connsiteY26" fmla="*/ 84868 h 547687"/>
                  <a:gd name="connsiteX27" fmla="*/ 119919 w 3564922"/>
                  <a:gd name="connsiteY27" fmla="*/ 84868 h 547687"/>
                  <a:gd name="connsiteX28" fmla="*/ 119919 w 3564922"/>
                  <a:gd name="connsiteY28" fmla="*/ 90964 h 547687"/>
                  <a:gd name="connsiteX29" fmla="*/ 128302 w 3564922"/>
                  <a:gd name="connsiteY29" fmla="*/ 90964 h 547687"/>
                  <a:gd name="connsiteX30" fmla="*/ 128302 w 3564922"/>
                  <a:gd name="connsiteY30" fmla="*/ 97060 h 547687"/>
                  <a:gd name="connsiteX31" fmla="*/ 143065 w 3564922"/>
                  <a:gd name="connsiteY31" fmla="*/ 97060 h 547687"/>
                  <a:gd name="connsiteX32" fmla="*/ 143065 w 3564922"/>
                  <a:gd name="connsiteY32" fmla="*/ 103060 h 547687"/>
                  <a:gd name="connsiteX33" fmla="*/ 147256 w 3564922"/>
                  <a:gd name="connsiteY33" fmla="*/ 103060 h 547687"/>
                  <a:gd name="connsiteX34" fmla="*/ 147256 w 3564922"/>
                  <a:gd name="connsiteY34" fmla="*/ 109156 h 547687"/>
                  <a:gd name="connsiteX35" fmla="*/ 151447 w 3564922"/>
                  <a:gd name="connsiteY35" fmla="*/ 109156 h 547687"/>
                  <a:gd name="connsiteX36" fmla="*/ 151447 w 3564922"/>
                  <a:gd name="connsiteY36" fmla="*/ 115252 h 547687"/>
                  <a:gd name="connsiteX37" fmla="*/ 164116 w 3564922"/>
                  <a:gd name="connsiteY37" fmla="*/ 115252 h 547687"/>
                  <a:gd name="connsiteX38" fmla="*/ 164116 w 3564922"/>
                  <a:gd name="connsiteY38" fmla="*/ 121253 h 547687"/>
                  <a:gd name="connsiteX39" fmla="*/ 193548 w 3564922"/>
                  <a:gd name="connsiteY39" fmla="*/ 121253 h 547687"/>
                  <a:gd name="connsiteX40" fmla="*/ 193548 w 3564922"/>
                  <a:gd name="connsiteY40" fmla="*/ 127349 h 547687"/>
                  <a:gd name="connsiteX41" fmla="*/ 201930 w 3564922"/>
                  <a:gd name="connsiteY41" fmla="*/ 127349 h 547687"/>
                  <a:gd name="connsiteX42" fmla="*/ 201930 w 3564922"/>
                  <a:gd name="connsiteY42" fmla="*/ 133445 h 547687"/>
                  <a:gd name="connsiteX43" fmla="*/ 204025 w 3564922"/>
                  <a:gd name="connsiteY43" fmla="*/ 133445 h 547687"/>
                  <a:gd name="connsiteX44" fmla="*/ 204025 w 3564922"/>
                  <a:gd name="connsiteY44" fmla="*/ 139446 h 547687"/>
                  <a:gd name="connsiteX45" fmla="*/ 218789 w 3564922"/>
                  <a:gd name="connsiteY45" fmla="*/ 139446 h 547687"/>
                  <a:gd name="connsiteX46" fmla="*/ 218789 w 3564922"/>
                  <a:gd name="connsiteY46" fmla="*/ 151638 h 547687"/>
                  <a:gd name="connsiteX47" fmla="*/ 220885 w 3564922"/>
                  <a:gd name="connsiteY47" fmla="*/ 151638 h 547687"/>
                  <a:gd name="connsiteX48" fmla="*/ 220885 w 3564922"/>
                  <a:gd name="connsiteY48" fmla="*/ 157639 h 547687"/>
                  <a:gd name="connsiteX49" fmla="*/ 227171 w 3564922"/>
                  <a:gd name="connsiteY49" fmla="*/ 157639 h 547687"/>
                  <a:gd name="connsiteX50" fmla="*/ 227171 w 3564922"/>
                  <a:gd name="connsiteY50" fmla="*/ 163735 h 547687"/>
                  <a:gd name="connsiteX51" fmla="*/ 231362 w 3564922"/>
                  <a:gd name="connsiteY51" fmla="*/ 163735 h 547687"/>
                  <a:gd name="connsiteX52" fmla="*/ 231362 w 3564922"/>
                  <a:gd name="connsiteY52" fmla="*/ 169831 h 547687"/>
                  <a:gd name="connsiteX53" fmla="*/ 248221 w 3564922"/>
                  <a:gd name="connsiteY53" fmla="*/ 169831 h 547687"/>
                  <a:gd name="connsiteX54" fmla="*/ 248221 w 3564922"/>
                  <a:gd name="connsiteY54" fmla="*/ 181927 h 547687"/>
                  <a:gd name="connsiteX55" fmla="*/ 252412 w 3564922"/>
                  <a:gd name="connsiteY55" fmla="*/ 181927 h 547687"/>
                  <a:gd name="connsiteX56" fmla="*/ 252412 w 3564922"/>
                  <a:gd name="connsiteY56" fmla="*/ 188023 h 547687"/>
                  <a:gd name="connsiteX57" fmla="*/ 275558 w 3564922"/>
                  <a:gd name="connsiteY57" fmla="*/ 188023 h 547687"/>
                  <a:gd name="connsiteX58" fmla="*/ 275558 w 3564922"/>
                  <a:gd name="connsiteY58" fmla="*/ 194119 h 547687"/>
                  <a:gd name="connsiteX59" fmla="*/ 279749 w 3564922"/>
                  <a:gd name="connsiteY59" fmla="*/ 194119 h 547687"/>
                  <a:gd name="connsiteX60" fmla="*/ 279749 w 3564922"/>
                  <a:gd name="connsiteY60" fmla="*/ 200120 h 547687"/>
                  <a:gd name="connsiteX61" fmla="*/ 286036 w 3564922"/>
                  <a:gd name="connsiteY61" fmla="*/ 200120 h 547687"/>
                  <a:gd name="connsiteX62" fmla="*/ 286036 w 3564922"/>
                  <a:gd name="connsiteY62" fmla="*/ 212312 h 547687"/>
                  <a:gd name="connsiteX63" fmla="*/ 304990 w 3564922"/>
                  <a:gd name="connsiteY63" fmla="*/ 212312 h 547687"/>
                  <a:gd name="connsiteX64" fmla="*/ 304990 w 3564922"/>
                  <a:gd name="connsiteY64" fmla="*/ 218313 h 547687"/>
                  <a:gd name="connsiteX65" fmla="*/ 313372 w 3564922"/>
                  <a:gd name="connsiteY65" fmla="*/ 218313 h 547687"/>
                  <a:gd name="connsiteX66" fmla="*/ 313372 w 3564922"/>
                  <a:gd name="connsiteY66" fmla="*/ 224409 h 547687"/>
                  <a:gd name="connsiteX67" fmla="*/ 326041 w 3564922"/>
                  <a:gd name="connsiteY67" fmla="*/ 224409 h 547687"/>
                  <a:gd name="connsiteX68" fmla="*/ 326041 w 3564922"/>
                  <a:gd name="connsiteY68" fmla="*/ 230505 h 547687"/>
                  <a:gd name="connsiteX69" fmla="*/ 342900 w 3564922"/>
                  <a:gd name="connsiteY69" fmla="*/ 230505 h 547687"/>
                  <a:gd name="connsiteX70" fmla="*/ 342900 w 3564922"/>
                  <a:gd name="connsiteY70" fmla="*/ 236506 h 547687"/>
                  <a:gd name="connsiteX71" fmla="*/ 370237 w 3564922"/>
                  <a:gd name="connsiteY71" fmla="*/ 236506 h 547687"/>
                  <a:gd name="connsiteX72" fmla="*/ 370237 w 3564922"/>
                  <a:gd name="connsiteY72" fmla="*/ 242602 h 547687"/>
                  <a:gd name="connsiteX73" fmla="*/ 372332 w 3564922"/>
                  <a:gd name="connsiteY73" fmla="*/ 242602 h 547687"/>
                  <a:gd name="connsiteX74" fmla="*/ 372332 w 3564922"/>
                  <a:gd name="connsiteY74" fmla="*/ 248698 h 547687"/>
                  <a:gd name="connsiteX75" fmla="*/ 382809 w 3564922"/>
                  <a:gd name="connsiteY75" fmla="*/ 248698 h 547687"/>
                  <a:gd name="connsiteX76" fmla="*/ 382809 w 3564922"/>
                  <a:gd name="connsiteY76" fmla="*/ 254698 h 547687"/>
                  <a:gd name="connsiteX77" fmla="*/ 389096 w 3564922"/>
                  <a:gd name="connsiteY77" fmla="*/ 254698 h 547687"/>
                  <a:gd name="connsiteX78" fmla="*/ 389096 w 3564922"/>
                  <a:gd name="connsiteY78" fmla="*/ 266890 h 547687"/>
                  <a:gd name="connsiteX79" fmla="*/ 397573 w 3564922"/>
                  <a:gd name="connsiteY79" fmla="*/ 266890 h 547687"/>
                  <a:gd name="connsiteX80" fmla="*/ 397573 w 3564922"/>
                  <a:gd name="connsiteY80" fmla="*/ 272891 h 547687"/>
                  <a:gd name="connsiteX81" fmla="*/ 403860 w 3564922"/>
                  <a:gd name="connsiteY81" fmla="*/ 272891 h 547687"/>
                  <a:gd name="connsiteX82" fmla="*/ 403860 w 3564922"/>
                  <a:gd name="connsiteY82" fmla="*/ 285083 h 547687"/>
                  <a:gd name="connsiteX83" fmla="*/ 405955 w 3564922"/>
                  <a:gd name="connsiteY83" fmla="*/ 285083 h 547687"/>
                  <a:gd name="connsiteX84" fmla="*/ 405955 w 3564922"/>
                  <a:gd name="connsiteY84" fmla="*/ 291179 h 547687"/>
                  <a:gd name="connsiteX85" fmla="*/ 418528 w 3564922"/>
                  <a:gd name="connsiteY85" fmla="*/ 291179 h 547687"/>
                  <a:gd name="connsiteX86" fmla="*/ 418528 w 3564922"/>
                  <a:gd name="connsiteY86" fmla="*/ 297180 h 547687"/>
                  <a:gd name="connsiteX87" fmla="*/ 441674 w 3564922"/>
                  <a:gd name="connsiteY87" fmla="*/ 297180 h 547687"/>
                  <a:gd name="connsiteX88" fmla="*/ 441674 w 3564922"/>
                  <a:gd name="connsiteY88" fmla="*/ 303276 h 547687"/>
                  <a:gd name="connsiteX89" fmla="*/ 448056 w 3564922"/>
                  <a:gd name="connsiteY89" fmla="*/ 303276 h 547687"/>
                  <a:gd name="connsiteX90" fmla="*/ 448056 w 3564922"/>
                  <a:gd name="connsiteY90" fmla="*/ 309372 h 547687"/>
                  <a:gd name="connsiteX91" fmla="*/ 456438 w 3564922"/>
                  <a:gd name="connsiteY91" fmla="*/ 309372 h 547687"/>
                  <a:gd name="connsiteX92" fmla="*/ 456438 w 3564922"/>
                  <a:gd name="connsiteY92" fmla="*/ 315373 h 547687"/>
                  <a:gd name="connsiteX93" fmla="*/ 464820 w 3564922"/>
                  <a:gd name="connsiteY93" fmla="*/ 315373 h 547687"/>
                  <a:gd name="connsiteX94" fmla="*/ 464820 w 3564922"/>
                  <a:gd name="connsiteY94" fmla="*/ 321469 h 547687"/>
                  <a:gd name="connsiteX95" fmla="*/ 469011 w 3564922"/>
                  <a:gd name="connsiteY95" fmla="*/ 321469 h 547687"/>
                  <a:gd name="connsiteX96" fmla="*/ 469011 w 3564922"/>
                  <a:gd name="connsiteY96" fmla="*/ 327565 h 547687"/>
                  <a:gd name="connsiteX97" fmla="*/ 542639 w 3564922"/>
                  <a:gd name="connsiteY97" fmla="*/ 327565 h 547687"/>
                  <a:gd name="connsiteX98" fmla="*/ 542639 w 3564922"/>
                  <a:gd name="connsiteY98" fmla="*/ 333565 h 547687"/>
                  <a:gd name="connsiteX99" fmla="*/ 563689 w 3564922"/>
                  <a:gd name="connsiteY99" fmla="*/ 333565 h 547687"/>
                  <a:gd name="connsiteX100" fmla="*/ 563689 w 3564922"/>
                  <a:gd name="connsiteY100" fmla="*/ 339661 h 547687"/>
                  <a:gd name="connsiteX101" fmla="*/ 569976 w 3564922"/>
                  <a:gd name="connsiteY101" fmla="*/ 339661 h 547687"/>
                  <a:gd name="connsiteX102" fmla="*/ 569976 w 3564922"/>
                  <a:gd name="connsiteY102" fmla="*/ 345757 h 547687"/>
                  <a:gd name="connsiteX103" fmla="*/ 612076 w 3564922"/>
                  <a:gd name="connsiteY103" fmla="*/ 345757 h 547687"/>
                  <a:gd name="connsiteX104" fmla="*/ 612076 w 3564922"/>
                  <a:gd name="connsiteY104" fmla="*/ 351758 h 547687"/>
                  <a:gd name="connsiteX105" fmla="*/ 626745 w 3564922"/>
                  <a:gd name="connsiteY105" fmla="*/ 351758 h 547687"/>
                  <a:gd name="connsiteX106" fmla="*/ 626745 w 3564922"/>
                  <a:gd name="connsiteY106" fmla="*/ 357854 h 547687"/>
                  <a:gd name="connsiteX107" fmla="*/ 656272 w 3564922"/>
                  <a:gd name="connsiteY107" fmla="*/ 357854 h 547687"/>
                  <a:gd name="connsiteX108" fmla="*/ 656272 w 3564922"/>
                  <a:gd name="connsiteY108" fmla="*/ 363950 h 547687"/>
                  <a:gd name="connsiteX109" fmla="*/ 658368 w 3564922"/>
                  <a:gd name="connsiteY109" fmla="*/ 363950 h 547687"/>
                  <a:gd name="connsiteX110" fmla="*/ 658368 w 3564922"/>
                  <a:gd name="connsiteY110" fmla="*/ 369951 h 547687"/>
                  <a:gd name="connsiteX111" fmla="*/ 681418 w 3564922"/>
                  <a:gd name="connsiteY111" fmla="*/ 369951 h 547687"/>
                  <a:gd name="connsiteX112" fmla="*/ 681418 w 3564922"/>
                  <a:gd name="connsiteY112" fmla="*/ 376047 h 547687"/>
                  <a:gd name="connsiteX113" fmla="*/ 694087 w 3564922"/>
                  <a:gd name="connsiteY113" fmla="*/ 376047 h 547687"/>
                  <a:gd name="connsiteX114" fmla="*/ 694087 w 3564922"/>
                  <a:gd name="connsiteY114" fmla="*/ 382143 h 547687"/>
                  <a:gd name="connsiteX115" fmla="*/ 729805 w 3564922"/>
                  <a:gd name="connsiteY115" fmla="*/ 382143 h 547687"/>
                  <a:gd name="connsiteX116" fmla="*/ 729805 w 3564922"/>
                  <a:gd name="connsiteY116" fmla="*/ 388239 h 547687"/>
                  <a:gd name="connsiteX117" fmla="*/ 845534 w 3564922"/>
                  <a:gd name="connsiteY117" fmla="*/ 388239 h 547687"/>
                  <a:gd name="connsiteX118" fmla="*/ 845534 w 3564922"/>
                  <a:gd name="connsiteY118" fmla="*/ 394240 h 547687"/>
                  <a:gd name="connsiteX119" fmla="*/ 883348 w 3564922"/>
                  <a:gd name="connsiteY119" fmla="*/ 394240 h 547687"/>
                  <a:gd name="connsiteX120" fmla="*/ 883348 w 3564922"/>
                  <a:gd name="connsiteY120" fmla="*/ 400431 h 547687"/>
                  <a:gd name="connsiteX121" fmla="*/ 935926 w 3564922"/>
                  <a:gd name="connsiteY121" fmla="*/ 400431 h 547687"/>
                  <a:gd name="connsiteX122" fmla="*/ 935926 w 3564922"/>
                  <a:gd name="connsiteY122" fmla="*/ 406527 h 547687"/>
                  <a:gd name="connsiteX123" fmla="*/ 954881 w 3564922"/>
                  <a:gd name="connsiteY123" fmla="*/ 406527 h 547687"/>
                  <a:gd name="connsiteX124" fmla="*/ 954881 w 3564922"/>
                  <a:gd name="connsiteY124" fmla="*/ 412623 h 547687"/>
                  <a:gd name="connsiteX125" fmla="*/ 965359 w 3564922"/>
                  <a:gd name="connsiteY125" fmla="*/ 412623 h 547687"/>
                  <a:gd name="connsiteX126" fmla="*/ 965359 w 3564922"/>
                  <a:gd name="connsiteY126" fmla="*/ 418814 h 547687"/>
                  <a:gd name="connsiteX127" fmla="*/ 999077 w 3564922"/>
                  <a:gd name="connsiteY127" fmla="*/ 418814 h 547687"/>
                  <a:gd name="connsiteX128" fmla="*/ 999077 w 3564922"/>
                  <a:gd name="connsiteY128" fmla="*/ 424910 h 547687"/>
                  <a:gd name="connsiteX129" fmla="*/ 1005364 w 3564922"/>
                  <a:gd name="connsiteY129" fmla="*/ 424910 h 547687"/>
                  <a:gd name="connsiteX130" fmla="*/ 1005364 w 3564922"/>
                  <a:gd name="connsiteY130" fmla="*/ 431006 h 547687"/>
                  <a:gd name="connsiteX131" fmla="*/ 1020032 w 3564922"/>
                  <a:gd name="connsiteY131" fmla="*/ 431006 h 547687"/>
                  <a:gd name="connsiteX132" fmla="*/ 1020032 w 3564922"/>
                  <a:gd name="connsiteY132" fmla="*/ 437102 h 547687"/>
                  <a:gd name="connsiteX133" fmla="*/ 1032700 w 3564922"/>
                  <a:gd name="connsiteY133" fmla="*/ 437102 h 547687"/>
                  <a:gd name="connsiteX134" fmla="*/ 1032700 w 3564922"/>
                  <a:gd name="connsiteY134" fmla="*/ 443293 h 547687"/>
                  <a:gd name="connsiteX135" fmla="*/ 1057942 w 3564922"/>
                  <a:gd name="connsiteY135" fmla="*/ 443293 h 547687"/>
                  <a:gd name="connsiteX136" fmla="*/ 1057942 w 3564922"/>
                  <a:gd name="connsiteY136" fmla="*/ 449389 h 547687"/>
                  <a:gd name="connsiteX137" fmla="*/ 1287208 w 3564922"/>
                  <a:gd name="connsiteY137" fmla="*/ 449389 h 547687"/>
                  <a:gd name="connsiteX138" fmla="*/ 1287208 w 3564922"/>
                  <a:gd name="connsiteY138" fmla="*/ 455581 h 547687"/>
                  <a:gd name="connsiteX139" fmla="*/ 1400746 w 3564922"/>
                  <a:gd name="connsiteY139" fmla="*/ 455581 h 547687"/>
                  <a:gd name="connsiteX140" fmla="*/ 1400746 w 3564922"/>
                  <a:gd name="connsiteY140" fmla="*/ 461772 h 547687"/>
                  <a:gd name="connsiteX141" fmla="*/ 1669923 w 3564922"/>
                  <a:gd name="connsiteY141" fmla="*/ 461772 h 547687"/>
                  <a:gd name="connsiteX142" fmla="*/ 1669923 w 3564922"/>
                  <a:gd name="connsiteY142" fmla="*/ 468058 h 547687"/>
                  <a:gd name="connsiteX143" fmla="*/ 1743551 w 3564922"/>
                  <a:gd name="connsiteY143" fmla="*/ 468058 h 547687"/>
                  <a:gd name="connsiteX144" fmla="*/ 1743551 w 3564922"/>
                  <a:gd name="connsiteY144" fmla="*/ 474345 h 547687"/>
                  <a:gd name="connsiteX145" fmla="*/ 1823466 w 3564922"/>
                  <a:gd name="connsiteY145" fmla="*/ 474345 h 547687"/>
                  <a:gd name="connsiteX146" fmla="*/ 1823466 w 3564922"/>
                  <a:gd name="connsiteY146" fmla="*/ 480631 h 547687"/>
                  <a:gd name="connsiteX147" fmla="*/ 1985391 w 3564922"/>
                  <a:gd name="connsiteY147" fmla="*/ 480631 h 547687"/>
                  <a:gd name="connsiteX148" fmla="*/ 1985391 w 3564922"/>
                  <a:gd name="connsiteY148" fmla="*/ 487108 h 547687"/>
                  <a:gd name="connsiteX149" fmla="*/ 2002250 w 3564922"/>
                  <a:gd name="connsiteY149" fmla="*/ 487108 h 547687"/>
                  <a:gd name="connsiteX150" fmla="*/ 2002250 w 3564922"/>
                  <a:gd name="connsiteY150" fmla="*/ 493490 h 547687"/>
                  <a:gd name="connsiteX151" fmla="*/ 2120074 w 3564922"/>
                  <a:gd name="connsiteY151" fmla="*/ 493490 h 547687"/>
                  <a:gd name="connsiteX152" fmla="*/ 2120074 w 3564922"/>
                  <a:gd name="connsiteY152" fmla="*/ 499967 h 547687"/>
                  <a:gd name="connsiteX153" fmla="*/ 2212562 w 3564922"/>
                  <a:gd name="connsiteY153" fmla="*/ 499967 h 547687"/>
                  <a:gd name="connsiteX154" fmla="*/ 2212562 w 3564922"/>
                  <a:gd name="connsiteY154" fmla="*/ 506349 h 547687"/>
                  <a:gd name="connsiteX155" fmla="*/ 2231517 w 3564922"/>
                  <a:gd name="connsiteY155" fmla="*/ 506349 h 547687"/>
                  <a:gd name="connsiteX156" fmla="*/ 2231517 w 3564922"/>
                  <a:gd name="connsiteY156" fmla="*/ 512826 h 547687"/>
                  <a:gd name="connsiteX157" fmla="*/ 3085338 w 3564922"/>
                  <a:gd name="connsiteY157" fmla="*/ 512826 h 547687"/>
                  <a:gd name="connsiteX158" fmla="*/ 3085338 w 3564922"/>
                  <a:gd name="connsiteY158" fmla="*/ 547687 h 547687"/>
                  <a:gd name="connsiteX159" fmla="*/ 3564922 w 3564922"/>
                  <a:gd name="connsiteY159" fmla="*/ 547687 h 547687"/>
                  <a:gd name="connsiteX0" fmla="*/ 0 w 3564922"/>
                  <a:gd name="connsiteY0" fmla="*/ 0 h 547687"/>
                  <a:gd name="connsiteX1" fmla="*/ 2095 w 3564922"/>
                  <a:gd name="connsiteY1" fmla="*/ 0 h 547687"/>
                  <a:gd name="connsiteX2" fmla="*/ 2095 w 3564922"/>
                  <a:gd name="connsiteY2" fmla="*/ 6001 h 547687"/>
                  <a:gd name="connsiteX3" fmla="*/ 4286 w 3564922"/>
                  <a:gd name="connsiteY3" fmla="*/ 12097 h 547687"/>
                  <a:gd name="connsiteX4" fmla="*/ 14763 w 3564922"/>
                  <a:gd name="connsiteY4" fmla="*/ 12097 h 547687"/>
                  <a:gd name="connsiteX5" fmla="*/ 14763 w 3564922"/>
                  <a:gd name="connsiteY5" fmla="*/ 18193 h 547687"/>
                  <a:gd name="connsiteX6" fmla="*/ 21050 w 3564922"/>
                  <a:gd name="connsiteY6" fmla="*/ 18193 h 547687"/>
                  <a:gd name="connsiteX7" fmla="*/ 21050 w 3564922"/>
                  <a:gd name="connsiteY7" fmla="*/ 24193 h 547687"/>
                  <a:gd name="connsiteX8" fmla="*/ 35814 w 3564922"/>
                  <a:gd name="connsiteY8" fmla="*/ 24193 h 547687"/>
                  <a:gd name="connsiteX9" fmla="*/ 35814 w 3564922"/>
                  <a:gd name="connsiteY9" fmla="*/ 30289 h 547687"/>
                  <a:gd name="connsiteX10" fmla="*/ 44196 w 3564922"/>
                  <a:gd name="connsiteY10" fmla="*/ 30289 h 547687"/>
                  <a:gd name="connsiteX11" fmla="*/ 44196 w 3564922"/>
                  <a:gd name="connsiteY11" fmla="*/ 36385 h 547687"/>
                  <a:gd name="connsiteX12" fmla="*/ 54769 w 3564922"/>
                  <a:gd name="connsiteY12" fmla="*/ 36385 h 547687"/>
                  <a:gd name="connsiteX13" fmla="*/ 54769 w 3564922"/>
                  <a:gd name="connsiteY13" fmla="*/ 42386 h 547687"/>
                  <a:gd name="connsiteX14" fmla="*/ 67342 w 3564922"/>
                  <a:gd name="connsiteY14" fmla="*/ 42386 h 547687"/>
                  <a:gd name="connsiteX15" fmla="*/ 67342 w 3564922"/>
                  <a:gd name="connsiteY15" fmla="*/ 48482 h 547687"/>
                  <a:gd name="connsiteX16" fmla="*/ 73628 w 3564922"/>
                  <a:gd name="connsiteY16" fmla="*/ 48482 h 547687"/>
                  <a:gd name="connsiteX17" fmla="*/ 73628 w 3564922"/>
                  <a:gd name="connsiteY17" fmla="*/ 60579 h 547687"/>
                  <a:gd name="connsiteX18" fmla="*/ 77819 w 3564922"/>
                  <a:gd name="connsiteY18" fmla="*/ 60579 h 547687"/>
                  <a:gd name="connsiteX19" fmla="*/ 77819 w 3564922"/>
                  <a:gd name="connsiteY19" fmla="*/ 66675 h 547687"/>
                  <a:gd name="connsiteX20" fmla="*/ 90487 w 3564922"/>
                  <a:gd name="connsiteY20" fmla="*/ 66675 h 547687"/>
                  <a:gd name="connsiteX21" fmla="*/ 90487 w 3564922"/>
                  <a:gd name="connsiteY21" fmla="*/ 72771 h 547687"/>
                  <a:gd name="connsiteX22" fmla="*/ 105156 w 3564922"/>
                  <a:gd name="connsiteY22" fmla="*/ 72771 h 547687"/>
                  <a:gd name="connsiteX23" fmla="*/ 105156 w 3564922"/>
                  <a:gd name="connsiteY23" fmla="*/ 78772 h 547687"/>
                  <a:gd name="connsiteX24" fmla="*/ 109442 w 3564922"/>
                  <a:gd name="connsiteY24" fmla="*/ 78772 h 547687"/>
                  <a:gd name="connsiteX25" fmla="*/ 109442 w 3564922"/>
                  <a:gd name="connsiteY25" fmla="*/ 84868 h 547687"/>
                  <a:gd name="connsiteX26" fmla="*/ 119919 w 3564922"/>
                  <a:gd name="connsiteY26" fmla="*/ 84868 h 547687"/>
                  <a:gd name="connsiteX27" fmla="*/ 119919 w 3564922"/>
                  <a:gd name="connsiteY27" fmla="*/ 90964 h 547687"/>
                  <a:gd name="connsiteX28" fmla="*/ 128302 w 3564922"/>
                  <a:gd name="connsiteY28" fmla="*/ 90964 h 547687"/>
                  <a:gd name="connsiteX29" fmla="*/ 128302 w 3564922"/>
                  <a:gd name="connsiteY29" fmla="*/ 97060 h 547687"/>
                  <a:gd name="connsiteX30" fmla="*/ 143065 w 3564922"/>
                  <a:gd name="connsiteY30" fmla="*/ 97060 h 547687"/>
                  <a:gd name="connsiteX31" fmla="*/ 143065 w 3564922"/>
                  <a:gd name="connsiteY31" fmla="*/ 103060 h 547687"/>
                  <a:gd name="connsiteX32" fmla="*/ 147256 w 3564922"/>
                  <a:gd name="connsiteY32" fmla="*/ 103060 h 547687"/>
                  <a:gd name="connsiteX33" fmla="*/ 147256 w 3564922"/>
                  <a:gd name="connsiteY33" fmla="*/ 109156 h 547687"/>
                  <a:gd name="connsiteX34" fmla="*/ 151447 w 3564922"/>
                  <a:gd name="connsiteY34" fmla="*/ 109156 h 547687"/>
                  <a:gd name="connsiteX35" fmla="*/ 151447 w 3564922"/>
                  <a:gd name="connsiteY35" fmla="*/ 115252 h 547687"/>
                  <a:gd name="connsiteX36" fmla="*/ 164116 w 3564922"/>
                  <a:gd name="connsiteY36" fmla="*/ 115252 h 547687"/>
                  <a:gd name="connsiteX37" fmla="*/ 164116 w 3564922"/>
                  <a:gd name="connsiteY37" fmla="*/ 121253 h 547687"/>
                  <a:gd name="connsiteX38" fmla="*/ 193548 w 3564922"/>
                  <a:gd name="connsiteY38" fmla="*/ 121253 h 547687"/>
                  <a:gd name="connsiteX39" fmla="*/ 193548 w 3564922"/>
                  <a:gd name="connsiteY39" fmla="*/ 127349 h 547687"/>
                  <a:gd name="connsiteX40" fmla="*/ 201930 w 3564922"/>
                  <a:gd name="connsiteY40" fmla="*/ 127349 h 547687"/>
                  <a:gd name="connsiteX41" fmla="*/ 201930 w 3564922"/>
                  <a:gd name="connsiteY41" fmla="*/ 133445 h 547687"/>
                  <a:gd name="connsiteX42" fmla="*/ 204025 w 3564922"/>
                  <a:gd name="connsiteY42" fmla="*/ 133445 h 547687"/>
                  <a:gd name="connsiteX43" fmla="*/ 204025 w 3564922"/>
                  <a:gd name="connsiteY43" fmla="*/ 139446 h 547687"/>
                  <a:gd name="connsiteX44" fmla="*/ 218789 w 3564922"/>
                  <a:gd name="connsiteY44" fmla="*/ 139446 h 547687"/>
                  <a:gd name="connsiteX45" fmla="*/ 218789 w 3564922"/>
                  <a:gd name="connsiteY45" fmla="*/ 151638 h 547687"/>
                  <a:gd name="connsiteX46" fmla="*/ 220885 w 3564922"/>
                  <a:gd name="connsiteY46" fmla="*/ 151638 h 547687"/>
                  <a:gd name="connsiteX47" fmla="*/ 220885 w 3564922"/>
                  <a:gd name="connsiteY47" fmla="*/ 157639 h 547687"/>
                  <a:gd name="connsiteX48" fmla="*/ 227171 w 3564922"/>
                  <a:gd name="connsiteY48" fmla="*/ 157639 h 547687"/>
                  <a:gd name="connsiteX49" fmla="*/ 227171 w 3564922"/>
                  <a:gd name="connsiteY49" fmla="*/ 163735 h 547687"/>
                  <a:gd name="connsiteX50" fmla="*/ 231362 w 3564922"/>
                  <a:gd name="connsiteY50" fmla="*/ 163735 h 547687"/>
                  <a:gd name="connsiteX51" fmla="*/ 231362 w 3564922"/>
                  <a:gd name="connsiteY51" fmla="*/ 169831 h 547687"/>
                  <a:gd name="connsiteX52" fmla="*/ 248221 w 3564922"/>
                  <a:gd name="connsiteY52" fmla="*/ 169831 h 547687"/>
                  <a:gd name="connsiteX53" fmla="*/ 248221 w 3564922"/>
                  <a:gd name="connsiteY53" fmla="*/ 181927 h 547687"/>
                  <a:gd name="connsiteX54" fmla="*/ 252412 w 3564922"/>
                  <a:gd name="connsiteY54" fmla="*/ 181927 h 547687"/>
                  <a:gd name="connsiteX55" fmla="*/ 252412 w 3564922"/>
                  <a:gd name="connsiteY55" fmla="*/ 188023 h 547687"/>
                  <a:gd name="connsiteX56" fmla="*/ 275558 w 3564922"/>
                  <a:gd name="connsiteY56" fmla="*/ 188023 h 547687"/>
                  <a:gd name="connsiteX57" fmla="*/ 275558 w 3564922"/>
                  <a:gd name="connsiteY57" fmla="*/ 194119 h 547687"/>
                  <a:gd name="connsiteX58" fmla="*/ 279749 w 3564922"/>
                  <a:gd name="connsiteY58" fmla="*/ 194119 h 547687"/>
                  <a:gd name="connsiteX59" fmla="*/ 279749 w 3564922"/>
                  <a:gd name="connsiteY59" fmla="*/ 200120 h 547687"/>
                  <a:gd name="connsiteX60" fmla="*/ 286036 w 3564922"/>
                  <a:gd name="connsiteY60" fmla="*/ 200120 h 547687"/>
                  <a:gd name="connsiteX61" fmla="*/ 286036 w 3564922"/>
                  <a:gd name="connsiteY61" fmla="*/ 212312 h 547687"/>
                  <a:gd name="connsiteX62" fmla="*/ 304990 w 3564922"/>
                  <a:gd name="connsiteY62" fmla="*/ 212312 h 547687"/>
                  <a:gd name="connsiteX63" fmla="*/ 304990 w 3564922"/>
                  <a:gd name="connsiteY63" fmla="*/ 218313 h 547687"/>
                  <a:gd name="connsiteX64" fmla="*/ 313372 w 3564922"/>
                  <a:gd name="connsiteY64" fmla="*/ 218313 h 547687"/>
                  <a:gd name="connsiteX65" fmla="*/ 313372 w 3564922"/>
                  <a:gd name="connsiteY65" fmla="*/ 224409 h 547687"/>
                  <a:gd name="connsiteX66" fmla="*/ 326041 w 3564922"/>
                  <a:gd name="connsiteY66" fmla="*/ 224409 h 547687"/>
                  <a:gd name="connsiteX67" fmla="*/ 326041 w 3564922"/>
                  <a:gd name="connsiteY67" fmla="*/ 230505 h 547687"/>
                  <a:gd name="connsiteX68" fmla="*/ 342900 w 3564922"/>
                  <a:gd name="connsiteY68" fmla="*/ 230505 h 547687"/>
                  <a:gd name="connsiteX69" fmla="*/ 342900 w 3564922"/>
                  <a:gd name="connsiteY69" fmla="*/ 236506 h 547687"/>
                  <a:gd name="connsiteX70" fmla="*/ 370237 w 3564922"/>
                  <a:gd name="connsiteY70" fmla="*/ 236506 h 547687"/>
                  <a:gd name="connsiteX71" fmla="*/ 370237 w 3564922"/>
                  <a:gd name="connsiteY71" fmla="*/ 242602 h 547687"/>
                  <a:gd name="connsiteX72" fmla="*/ 372332 w 3564922"/>
                  <a:gd name="connsiteY72" fmla="*/ 242602 h 547687"/>
                  <a:gd name="connsiteX73" fmla="*/ 372332 w 3564922"/>
                  <a:gd name="connsiteY73" fmla="*/ 248698 h 547687"/>
                  <a:gd name="connsiteX74" fmla="*/ 382809 w 3564922"/>
                  <a:gd name="connsiteY74" fmla="*/ 248698 h 547687"/>
                  <a:gd name="connsiteX75" fmla="*/ 382809 w 3564922"/>
                  <a:gd name="connsiteY75" fmla="*/ 254698 h 547687"/>
                  <a:gd name="connsiteX76" fmla="*/ 389096 w 3564922"/>
                  <a:gd name="connsiteY76" fmla="*/ 254698 h 547687"/>
                  <a:gd name="connsiteX77" fmla="*/ 389096 w 3564922"/>
                  <a:gd name="connsiteY77" fmla="*/ 266890 h 547687"/>
                  <a:gd name="connsiteX78" fmla="*/ 397573 w 3564922"/>
                  <a:gd name="connsiteY78" fmla="*/ 266890 h 547687"/>
                  <a:gd name="connsiteX79" fmla="*/ 397573 w 3564922"/>
                  <a:gd name="connsiteY79" fmla="*/ 272891 h 547687"/>
                  <a:gd name="connsiteX80" fmla="*/ 403860 w 3564922"/>
                  <a:gd name="connsiteY80" fmla="*/ 272891 h 547687"/>
                  <a:gd name="connsiteX81" fmla="*/ 403860 w 3564922"/>
                  <a:gd name="connsiteY81" fmla="*/ 285083 h 547687"/>
                  <a:gd name="connsiteX82" fmla="*/ 405955 w 3564922"/>
                  <a:gd name="connsiteY82" fmla="*/ 285083 h 547687"/>
                  <a:gd name="connsiteX83" fmla="*/ 405955 w 3564922"/>
                  <a:gd name="connsiteY83" fmla="*/ 291179 h 547687"/>
                  <a:gd name="connsiteX84" fmla="*/ 418528 w 3564922"/>
                  <a:gd name="connsiteY84" fmla="*/ 291179 h 547687"/>
                  <a:gd name="connsiteX85" fmla="*/ 418528 w 3564922"/>
                  <a:gd name="connsiteY85" fmla="*/ 297180 h 547687"/>
                  <a:gd name="connsiteX86" fmla="*/ 441674 w 3564922"/>
                  <a:gd name="connsiteY86" fmla="*/ 297180 h 547687"/>
                  <a:gd name="connsiteX87" fmla="*/ 441674 w 3564922"/>
                  <a:gd name="connsiteY87" fmla="*/ 303276 h 547687"/>
                  <a:gd name="connsiteX88" fmla="*/ 448056 w 3564922"/>
                  <a:gd name="connsiteY88" fmla="*/ 303276 h 547687"/>
                  <a:gd name="connsiteX89" fmla="*/ 448056 w 3564922"/>
                  <a:gd name="connsiteY89" fmla="*/ 309372 h 547687"/>
                  <a:gd name="connsiteX90" fmla="*/ 456438 w 3564922"/>
                  <a:gd name="connsiteY90" fmla="*/ 309372 h 547687"/>
                  <a:gd name="connsiteX91" fmla="*/ 456438 w 3564922"/>
                  <a:gd name="connsiteY91" fmla="*/ 315373 h 547687"/>
                  <a:gd name="connsiteX92" fmla="*/ 464820 w 3564922"/>
                  <a:gd name="connsiteY92" fmla="*/ 315373 h 547687"/>
                  <a:gd name="connsiteX93" fmla="*/ 464820 w 3564922"/>
                  <a:gd name="connsiteY93" fmla="*/ 321469 h 547687"/>
                  <a:gd name="connsiteX94" fmla="*/ 469011 w 3564922"/>
                  <a:gd name="connsiteY94" fmla="*/ 321469 h 547687"/>
                  <a:gd name="connsiteX95" fmla="*/ 469011 w 3564922"/>
                  <a:gd name="connsiteY95" fmla="*/ 327565 h 547687"/>
                  <a:gd name="connsiteX96" fmla="*/ 542639 w 3564922"/>
                  <a:gd name="connsiteY96" fmla="*/ 327565 h 547687"/>
                  <a:gd name="connsiteX97" fmla="*/ 542639 w 3564922"/>
                  <a:gd name="connsiteY97" fmla="*/ 333565 h 547687"/>
                  <a:gd name="connsiteX98" fmla="*/ 563689 w 3564922"/>
                  <a:gd name="connsiteY98" fmla="*/ 333565 h 547687"/>
                  <a:gd name="connsiteX99" fmla="*/ 563689 w 3564922"/>
                  <a:gd name="connsiteY99" fmla="*/ 339661 h 547687"/>
                  <a:gd name="connsiteX100" fmla="*/ 569976 w 3564922"/>
                  <a:gd name="connsiteY100" fmla="*/ 339661 h 547687"/>
                  <a:gd name="connsiteX101" fmla="*/ 569976 w 3564922"/>
                  <a:gd name="connsiteY101" fmla="*/ 345757 h 547687"/>
                  <a:gd name="connsiteX102" fmla="*/ 612076 w 3564922"/>
                  <a:gd name="connsiteY102" fmla="*/ 345757 h 547687"/>
                  <a:gd name="connsiteX103" fmla="*/ 612076 w 3564922"/>
                  <a:gd name="connsiteY103" fmla="*/ 351758 h 547687"/>
                  <a:gd name="connsiteX104" fmla="*/ 626745 w 3564922"/>
                  <a:gd name="connsiteY104" fmla="*/ 351758 h 547687"/>
                  <a:gd name="connsiteX105" fmla="*/ 626745 w 3564922"/>
                  <a:gd name="connsiteY105" fmla="*/ 357854 h 547687"/>
                  <a:gd name="connsiteX106" fmla="*/ 656272 w 3564922"/>
                  <a:gd name="connsiteY106" fmla="*/ 357854 h 547687"/>
                  <a:gd name="connsiteX107" fmla="*/ 656272 w 3564922"/>
                  <a:gd name="connsiteY107" fmla="*/ 363950 h 547687"/>
                  <a:gd name="connsiteX108" fmla="*/ 658368 w 3564922"/>
                  <a:gd name="connsiteY108" fmla="*/ 363950 h 547687"/>
                  <a:gd name="connsiteX109" fmla="*/ 658368 w 3564922"/>
                  <a:gd name="connsiteY109" fmla="*/ 369951 h 547687"/>
                  <a:gd name="connsiteX110" fmla="*/ 681418 w 3564922"/>
                  <a:gd name="connsiteY110" fmla="*/ 369951 h 547687"/>
                  <a:gd name="connsiteX111" fmla="*/ 681418 w 3564922"/>
                  <a:gd name="connsiteY111" fmla="*/ 376047 h 547687"/>
                  <a:gd name="connsiteX112" fmla="*/ 694087 w 3564922"/>
                  <a:gd name="connsiteY112" fmla="*/ 376047 h 547687"/>
                  <a:gd name="connsiteX113" fmla="*/ 694087 w 3564922"/>
                  <a:gd name="connsiteY113" fmla="*/ 382143 h 547687"/>
                  <a:gd name="connsiteX114" fmla="*/ 729805 w 3564922"/>
                  <a:gd name="connsiteY114" fmla="*/ 382143 h 547687"/>
                  <a:gd name="connsiteX115" fmla="*/ 729805 w 3564922"/>
                  <a:gd name="connsiteY115" fmla="*/ 388239 h 547687"/>
                  <a:gd name="connsiteX116" fmla="*/ 845534 w 3564922"/>
                  <a:gd name="connsiteY116" fmla="*/ 388239 h 547687"/>
                  <a:gd name="connsiteX117" fmla="*/ 845534 w 3564922"/>
                  <a:gd name="connsiteY117" fmla="*/ 394240 h 547687"/>
                  <a:gd name="connsiteX118" fmla="*/ 883348 w 3564922"/>
                  <a:gd name="connsiteY118" fmla="*/ 394240 h 547687"/>
                  <a:gd name="connsiteX119" fmla="*/ 883348 w 3564922"/>
                  <a:gd name="connsiteY119" fmla="*/ 400431 h 547687"/>
                  <a:gd name="connsiteX120" fmla="*/ 935926 w 3564922"/>
                  <a:gd name="connsiteY120" fmla="*/ 400431 h 547687"/>
                  <a:gd name="connsiteX121" fmla="*/ 935926 w 3564922"/>
                  <a:gd name="connsiteY121" fmla="*/ 406527 h 547687"/>
                  <a:gd name="connsiteX122" fmla="*/ 954881 w 3564922"/>
                  <a:gd name="connsiteY122" fmla="*/ 406527 h 547687"/>
                  <a:gd name="connsiteX123" fmla="*/ 954881 w 3564922"/>
                  <a:gd name="connsiteY123" fmla="*/ 412623 h 547687"/>
                  <a:gd name="connsiteX124" fmla="*/ 965359 w 3564922"/>
                  <a:gd name="connsiteY124" fmla="*/ 412623 h 547687"/>
                  <a:gd name="connsiteX125" fmla="*/ 965359 w 3564922"/>
                  <a:gd name="connsiteY125" fmla="*/ 418814 h 547687"/>
                  <a:gd name="connsiteX126" fmla="*/ 999077 w 3564922"/>
                  <a:gd name="connsiteY126" fmla="*/ 418814 h 547687"/>
                  <a:gd name="connsiteX127" fmla="*/ 999077 w 3564922"/>
                  <a:gd name="connsiteY127" fmla="*/ 424910 h 547687"/>
                  <a:gd name="connsiteX128" fmla="*/ 1005364 w 3564922"/>
                  <a:gd name="connsiteY128" fmla="*/ 424910 h 547687"/>
                  <a:gd name="connsiteX129" fmla="*/ 1005364 w 3564922"/>
                  <a:gd name="connsiteY129" fmla="*/ 431006 h 547687"/>
                  <a:gd name="connsiteX130" fmla="*/ 1020032 w 3564922"/>
                  <a:gd name="connsiteY130" fmla="*/ 431006 h 547687"/>
                  <a:gd name="connsiteX131" fmla="*/ 1020032 w 3564922"/>
                  <a:gd name="connsiteY131" fmla="*/ 437102 h 547687"/>
                  <a:gd name="connsiteX132" fmla="*/ 1032700 w 3564922"/>
                  <a:gd name="connsiteY132" fmla="*/ 437102 h 547687"/>
                  <a:gd name="connsiteX133" fmla="*/ 1032700 w 3564922"/>
                  <a:gd name="connsiteY133" fmla="*/ 443293 h 547687"/>
                  <a:gd name="connsiteX134" fmla="*/ 1057942 w 3564922"/>
                  <a:gd name="connsiteY134" fmla="*/ 443293 h 547687"/>
                  <a:gd name="connsiteX135" fmla="*/ 1057942 w 3564922"/>
                  <a:gd name="connsiteY135" fmla="*/ 449389 h 547687"/>
                  <a:gd name="connsiteX136" fmla="*/ 1287208 w 3564922"/>
                  <a:gd name="connsiteY136" fmla="*/ 449389 h 547687"/>
                  <a:gd name="connsiteX137" fmla="*/ 1287208 w 3564922"/>
                  <a:gd name="connsiteY137" fmla="*/ 455581 h 547687"/>
                  <a:gd name="connsiteX138" fmla="*/ 1400746 w 3564922"/>
                  <a:gd name="connsiteY138" fmla="*/ 455581 h 547687"/>
                  <a:gd name="connsiteX139" fmla="*/ 1400746 w 3564922"/>
                  <a:gd name="connsiteY139" fmla="*/ 461772 h 547687"/>
                  <a:gd name="connsiteX140" fmla="*/ 1669923 w 3564922"/>
                  <a:gd name="connsiteY140" fmla="*/ 461772 h 547687"/>
                  <a:gd name="connsiteX141" fmla="*/ 1669923 w 3564922"/>
                  <a:gd name="connsiteY141" fmla="*/ 468058 h 547687"/>
                  <a:gd name="connsiteX142" fmla="*/ 1743551 w 3564922"/>
                  <a:gd name="connsiteY142" fmla="*/ 468058 h 547687"/>
                  <a:gd name="connsiteX143" fmla="*/ 1743551 w 3564922"/>
                  <a:gd name="connsiteY143" fmla="*/ 474345 h 547687"/>
                  <a:gd name="connsiteX144" fmla="*/ 1823466 w 3564922"/>
                  <a:gd name="connsiteY144" fmla="*/ 474345 h 547687"/>
                  <a:gd name="connsiteX145" fmla="*/ 1823466 w 3564922"/>
                  <a:gd name="connsiteY145" fmla="*/ 480631 h 547687"/>
                  <a:gd name="connsiteX146" fmla="*/ 1985391 w 3564922"/>
                  <a:gd name="connsiteY146" fmla="*/ 480631 h 547687"/>
                  <a:gd name="connsiteX147" fmla="*/ 1985391 w 3564922"/>
                  <a:gd name="connsiteY147" fmla="*/ 487108 h 547687"/>
                  <a:gd name="connsiteX148" fmla="*/ 2002250 w 3564922"/>
                  <a:gd name="connsiteY148" fmla="*/ 487108 h 547687"/>
                  <a:gd name="connsiteX149" fmla="*/ 2002250 w 3564922"/>
                  <a:gd name="connsiteY149" fmla="*/ 493490 h 547687"/>
                  <a:gd name="connsiteX150" fmla="*/ 2120074 w 3564922"/>
                  <a:gd name="connsiteY150" fmla="*/ 493490 h 547687"/>
                  <a:gd name="connsiteX151" fmla="*/ 2120074 w 3564922"/>
                  <a:gd name="connsiteY151" fmla="*/ 499967 h 547687"/>
                  <a:gd name="connsiteX152" fmla="*/ 2212562 w 3564922"/>
                  <a:gd name="connsiteY152" fmla="*/ 499967 h 547687"/>
                  <a:gd name="connsiteX153" fmla="*/ 2212562 w 3564922"/>
                  <a:gd name="connsiteY153" fmla="*/ 506349 h 547687"/>
                  <a:gd name="connsiteX154" fmla="*/ 2231517 w 3564922"/>
                  <a:gd name="connsiteY154" fmla="*/ 506349 h 547687"/>
                  <a:gd name="connsiteX155" fmla="*/ 2231517 w 3564922"/>
                  <a:gd name="connsiteY155" fmla="*/ 512826 h 547687"/>
                  <a:gd name="connsiteX156" fmla="*/ 3085338 w 3564922"/>
                  <a:gd name="connsiteY156" fmla="*/ 512826 h 547687"/>
                  <a:gd name="connsiteX157" fmla="*/ 3085338 w 3564922"/>
                  <a:gd name="connsiteY157" fmla="*/ 547687 h 547687"/>
                  <a:gd name="connsiteX158" fmla="*/ 3564922 w 3564922"/>
                  <a:gd name="connsiteY158" fmla="*/ 547687 h 547687"/>
                  <a:gd name="connsiteX0" fmla="*/ 0 w 3564922"/>
                  <a:gd name="connsiteY0" fmla="*/ 0 h 547687"/>
                  <a:gd name="connsiteX1" fmla="*/ 2095 w 3564922"/>
                  <a:gd name="connsiteY1" fmla="*/ 6001 h 547687"/>
                  <a:gd name="connsiteX2" fmla="*/ 4286 w 3564922"/>
                  <a:gd name="connsiteY2" fmla="*/ 12097 h 547687"/>
                  <a:gd name="connsiteX3" fmla="*/ 14763 w 3564922"/>
                  <a:gd name="connsiteY3" fmla="*/ 12097 h 547687"/>
                  <a:gd name="connsiteX4" fmla="*/ 14763 w 3564922"/>
                  <a:gd name="connsiteY4" fmla="*/ 18193 h 547687"/>
                  <a:gd name="connsiteX5" fmla="*/ 21050 w 3564922"/>
                  <a:gd name="connsiteY5" fmla="*/ 18193 h 547687"/>
                  <a:gd name="connsiteX6" fmla="*/ 21050 w 3564922"/>
                  <a:gd name="connsiteY6" fmla="*/ 24193 h 547687"/>
                  <a:gd name="connsiteX7" fmla="*/ 35814 w 3564922"/>
                  <a:gd name="connsiteY7" fmla="*/ 24193 h 547687"/>
                  <a:gd name="connsiteX8" fmla="*/ 35814 w 3564922"/>
                  <a:gd name="connsiteY8" fmla="*/ 30289 h 547687"/>
                  <a:gd name="connsiteX9" fmla="*/ 44196 w 3564922"/>
                  <a:gd name="connsiteY9" fmla="*/ 30289 h 547687"/>
                  <a:gd name="connsiteX10" fmla="*/ 44196 w 3564922"/>
                  <a:gd name="connsiteY10" fmla="*/ 36385 h 547687"/>
                  <a:gd name="connsiteX11" fmla="*/ 54769 w 3564922"/>
                  <a:gd name="connsiteY11" fmla="*/ 36385 h 547687"/>
                  <a:gd name="connsiteX12" fmla="*/ 54769 w 3564922"/>
                  <a:gd name="connsiteY12" fmla="*/ 42386 h 547687"/>
                  <a:gd name="connsiteX13" fmla="*/ 67342 w 3564922"/>
                  <a:gd name="connsiteY13" fmla="*/ 42386 h 547687"/>
                  <a:gd name="connsiteX14" fmla="*/ 67342 w 3564922"/>
                  <a:gd name="connsiteY14" fmla="*/ 48482 h 547687"/>
                  <a:gd name="connsiteX15" fmla="*/ 73628 w 3564922"/>
                  <a:gd name="connsiteY15" fmla="*/ 48482 h 547687"/>
                  <a:gd name="connsiteX16" fmla="*/ 73628 w 3564922"/>
                  <a:gd name="connsiteY16" fmla="*/ 60579 h 547687"/>
                  <a:gd name="connsiteX17" fmla="*/ 77819 w 3564922"/>
                  <a:gd name="connsiteY17" fmla="*/ 60579 h 547687"/>
                  <a:gd name="connsiteX18" fmla="*/ 77819 w 3564922"/>
                  <a:gd name="connsiteY18" fmla="*/ 66675 h 547687"/>
                  <a:gd name="connsiteX19" fmla="*/ 90487 w 3564922"/>
                  <a:gd name="connsiteY19" fmla="*/ 66675 h 547687"/>
                  <a:gd name="connsiteX20" fmla="*/ 90487 w 3564922"/>
                  <a:gd name="connsiteY20" fmla="*/ 72771 h 547687"/>
                  <a:gd name="connsiteX21" fmla="*/ 105156 w 3564922"/>
                  <a:gd name="connsiteY21" fmla="*/ 72771 h 547687"/>
                  <a:gd name="connsiteX22" fmla="*/ 105156 w 3564922"/>
                  <a:gd name="connsiteY22" fmla="*/ 78772 h 547687"/>
                  <a:gd name="connsiteX23" fmla="*/ 109442 w 3564922"/>
                  <a:gd name="connsiteY23" fmla="*/ 78772 h 547687"/>
                  <a:gd name="connsiteX24" fmla="*/ 109442 w 3564922"/>
                  <a:gd name="connsiteY24" fmla="*/ 84868 h 547687"/>
                  <a:gd name="connsiteX25" fmla="*/ 119919 w 3564922"/>
                  <a:gd name="connsiteY25" fmla="*/ 84868 h 547687"/>
                  <a:gd name="connsiteX26" fmla="*/ 119919 w 3564922"/>
                  <a:gd name="connsiteY26" fmla="*/ 90964 h 547687"/>
                  <a:gd name="connsiteX27" fmla="*/ 128302 w 3564922"/>
                  <a:gd name="connsiteY27" fmla="*/ 90964 h 547687"/>
                  <a:gd name="connsiteX28" fmla="*/ 128302 w 3564922"/>
                  <a:gd name="connsiteY28" fmla="*/ 97060 h 547687"/>
                  <a:gd name="connsiteX29" fmla="*/ 143065 w 3564922"/>
                  <a:gd name="connsiteY29" fmla="*/ 97060 h 547687"/>
                  <a:gd name="connsiteX30" fmla="*/ 143065 w 3564922"/>
                  <a:gd name="connsiteY30" fmla="*/ 103060 h 547687"/>
                  <a:gd name="connsiteX31" fmla="*/ 147256 w 3564922"/>
                  <a:gd name="connsiteY31" fmla="*/ 103060 h 547687"/>
                  <a:gd name="connsiteX32" fmla="*/ 147256 w 3564922"/>
                  <a:gd name="connsiteY32" fmla="*/ 109156 h 547687"/>
                  <a:gd name="connsiteX33" fmla="*/ 151447 w 3564922"/>
                  <a:gd name="connsiteY33" fmla="*/ 109156 h 547687"/>
                  <a:gd name="connsiteX34" fmla="*/ 151447 w 3564922"/>
                  <a:gd name="connsiteY34" fmla="*/ 115252 h 547687"/>
                  <a:gd name="connsiteX35" fmla="*/ 164116 w 3564922"/>
                  <a:gd name="connsiteY35" fmla="*/ 115252 h 547687"/>
                  <a:gd name="connsiteX36" fmla="*/ 164116 w 3564922"/>
                  <a:gd name="connsiteY36" fmla="*/ 121253 h 547687"/>
                  <a:gd name="connsiteX37" fmla="*/ 193548 w 3564922"/>
                  <a:gd name="connsiteY37" fmla="*/ 121253 h 547687"/>
                  <a:gd name="connsiteX38" fmla="*/ 193548 w 3564922"/>
                  <a:gd name="connsiteY38" fmla="*/ 127349 h 547687"/>
                  <a:gd name="connsiteX39" fmla="*/ 201930 w 3564922"/>
                  <a:gd name="connsiteY39" fmla="*/ 127349 h 547687"/>
                  <a:gd name="connsiteX40" fmla="*/ 201930 w 3564922"/>
                  <a:gd name="connsiteY40" fmla="*/ 133445 h 547687"/>
                  <a:gd name="connsiteX41" fmla="*/ 204025 w 3564922"/>
                  <a:gd name="connsiteY41" fmla="*/ 133445 h 547687"/>
                  <a:gd name="connsiteX42" fmla="*/ 204025 w 3564922"/>
                  <a:gd name="connsiteY42" fmla="*/ 139446 h 547687"/>
                  <a:gd name="connsiteX43" fmla="*/ 218789 w 3564922"/>
                  <a:gd name="connsiteY43" fmla="*/ 139446 h 547687"/>
                  <a:gd name="connsiteX44" fmla="*/ 218789 w 3564922"/>
                  <a:gd name="connsiteY44" fmla="*/ 151638 h 547687"/>
                  <a:gd name="connsiteX45" fmla="*/ 220885 w 3564922"/>
                  <a:gd name="connsiteY45" fmla="*/ 151638 h 547687"/>
                  <a:gd name="connsiteX46" fmla="*/ 220885 w 3564922"/>
                  <a:gd name="connsiteY46" fmla="*/ 157639 h 547687"/>
                  <a:gd name="connsiteX47" fmla="*/ 227171 w 3564922"/>
                  <a:gd name="connsiteY47" fmla="*/ 157639 h 547687"/>
                  <a:gd name="connsiteX48" fmla="*/ 227171 w 3564922"/>
                  <a:gd name="connsiteY48" fmla="*/ 163735 h 547687"/>
                  <a:gd name="connsiteX49" fmla="*/ 231362 w 3564922"/>
                  <a:gd name="connsiteY49" fmla="*/ 163735 h 547687"/>
                  <a:gd name="connsiteX50" fmla="*/ 231362 w 3564922"/>
                  <a:gd name="connsiteY50" fmla="*/ 169831 h 547687"/>
                  <a:gd name="connsiteX51" fmla="*/ 248221 w 3564922"/>
                  <a:gd name="connsiteY51" fmla="*/ 169831 h 547687"/>
                  <a:gd name="connsiteX52" fmla="*/ 248221 w 3564922"/>
                  <a:gd name="connsiteY52" fmla="*/ 181927 h 547687"/>
                  <a:gd name="connsiteX53" fmla="*/ 252412 w 3564922"/>
                  <a:gd name="connsiteY53" fmla="*/ 181927 h 547687"/>
                  <a:gd name="connsiteX54" fmla="*/ 252412 w 3564922"/>
                  <a:gd name="connsiteY54" fmla="*/ 188023 h 547687"/>
                  <a:gd name="connsiteX55" fmla="*/ 275558 w 3564922"/>
                  <a:gd name="connsiteY55" fmla="*/ 188023 h 547687"/>
                  <a:gd name="connsiteX56" fmla="*/ 275558 w 3564922"/>
                  <a:gd name="connsiteY56" fmla="*/ 194119 h 547687"/>
                  <a:gd name="connsiteX57" fmla="*/ 279749 w 3564922"/>
                  <a:gd name="connsiteY57" fmla="*/ 194119 h 547687"/>
                  <a:gd name="connsiteX58" fmla="*/ 279749 w 3564922"/>
                  <a:gd name="connsiteY58" fmla="*/ 200120 h 547687"/>
                  <a:gd name="connsiteX59" fmla="*/ 286036 w 3564922"/>
                  <a:gd name="connsiteY59" fmla="*/ 200120 h 547687"/>
                  <a:gd name="connsiteX60" fmla="*/ 286036 w 3564922"/>
                  <a:gd name="connsiteY60" fmla="*/ 212312 h 547687"/>
                  <a:gd name="connsiteX61" fmla="*/ 304990 w 3564922"/>
                  <a:gd name="connsiteY61" fmla="*/ 212312 h 547687"/>
                  <a:gd name="connsiteX62" fmla="*/ 304990 w 3564922"/>
                  <a:gd name="connsiteY62" fmla="*/ 218313 h 547687"/>
                  <a:gd name="connsiteX63" fmla="*/ 313372 w 3564922"/>
                  <a:gd name="connsiteY63" fmla="*/ 218313 h 547687"/>
                  <a:gd name="connsiteX64" fmla="*/ 313372 w 3564922"/>
                  <a:gd name="connsiteY64" fmla="*/ 224409 h 547687"/>
                  <a:gd name="connsiteX65" fmla="*/ 326041 w 3564922"/>
                  <a:gd name="connsiteY65" fmla="*/ 224409 h 547687"/>
                  <a:gd name="connsiteX66" fmla="*/ 326041 w 3564922"/>
                  <a:gd name="connsiteY66" fmla="*/ 230505 h 547687"/>
                  <a:gd name="connsiteX67" fmla="*/ 342900 w 3564922"/>
                  <a:gd name="connsiteY67" fmla="*/ 230505 h 547687"/>
                  <a:gd name="connsiteX68" fmla="*/ 342900 w 3564922"/>
                  <a:gd name="connsiteY68" fmla="*/ 236506 h 547687"/>
                  <a:gd name="connsiteX69" fmla="*/ 370237 w 3564922"/>
                  <a:gd name="connsiteY69" fmla="*/ 236506 h 547687"/>
                  <a:gd name="connsiteX70" fmla="*/ 370237 w 3564922"/>
                  <a:gd name="connsiteY70" fmla="*/ 242602 h 547687"/>
                  <a:gd name="connsiteX71" fmla="*/ 372332 w 3564922"/>
                  <a:gd name="connsiteY71" fmla="*/ 242602 h 547687"/>
                  <a:gd name="connsiteX72" fmla="*/ 372332 w 3564922"/>
                  <a:gd name="connsiteY72" fmla="*/ 248698 h 547687"/>
                  <a:gd name="connsiteX73" fmla="*/ 382809 w 3564922"/>
                  <a:gd name="connsiteY73" fmla="*/ 248698 h 547687"/>
                  <a:gd name="connsiteX74" fmla="*/ 382809 w 3564922"/>
                  <a:gd name="connsiteY74" fmla="*/ 254698 h 547687"/>
                  <a:gd name="connsiteX75" fmla="*/ 389096 w 3564922"/>
                  <a:gd name="connsiteY75" fmla="*/ 254698 h 547687"/>
                  <a:gd name="connsiteX76" fmla="*/ 389096 w 3564922"/>
                  <a:gd name="connsiteY76" fmla="*/ 266890 h 547687"/>
                  <a:gd name="connsiteX77" fmla="*/ 397573 w 3564922"/>
                  <a:gd name="connsiteY77" fmla="*/ 266890 h 547687"/>
                  <a:gd name="connsiteX78" fmla="*/ 397573 w 3564922"/>
                  <a:gd name="connsiteY78" fmla="*/ 272891 h 547687"/>
                  <a:gd name="connsiteX79" fmla="*/ 403860 w 3564922"/>
                  <a:gd name="connsiteY79" fmla="*/ 272891 h 547687"/>
                  <a:gd name="connsiteX80" fmla="*/ 403860 w 3564922"/>
                  <a:gd name="connsiteY80" fmla="*/ 285083 h 547687"/>
                  <a:gd name="connsiteX81" fmla="*/ 405955 w 3564922"/>
                  <a:gd name="connsiteY81" fmla="*/ 285083 h 547687"/>
                  <a:gd name="connsiteX82" fmla="*/ 405955 w 3564922"/>
                  <a:gd name="connsiteY82" fmla="*/ 291179 h 547687"/>
                  <a:gd name="connsiteX83" fmla="*/ 418528 w 3564922"/>
                  <a:gd name="connsiteY83" fmla="*/ 291179 h 547687"/>
                  <a:gd name="connsiteX84" fmla="*/ 418528 w 3564922"/>
                  <a:gd name="connsiteY84" fmla="*/ 297180 h 547687"/>
                  <a:gd name="connsiteX85" fmla="*/ 441674 w 3564922"/>
                  <a:gd name="connsiteY85" fmla="*/ 297180 h 547687"/>
                  <a:gd name="connsiteX86" fmla="*/ 441674 w 3564922"/>
                  <a:gd name="connsiteY86" fmla="*/ 303276 h 547687"/>
                  <a:gd name="connsiteX87" fmla="*/ 448056 w 3564922"/>
                  <a:gd name="connsiteY87" fmla="*/ 303276 h 547687"/>
                  <a:gd name="connsiteX88" fmla="*/ 448056 w 3564922"/>
                  <a:gd name="connsiteY88" fmla="*/ 309372 h 547687"/>
                  <a:gd name="connsiteX89" fmla="*/ 456438 w 3564922"/>
                  <a:gd name="connsiteY89" fmla="*/ 309372 h 547687"/>
                  <a:gd name="connsiteX90" fmla="*/ 456438 w 3564922"/>
                  <a:gd name="connsiteY90" fmla="*/ 315373 h 547687"/>
                  <a:gd name="connsiteX91" fmla="*/ 464820 w 3564922"/>
                  <a:gd name="connsiteY91" fmla="*/ 315373 h 547687"/>
                  <a:gd name="connsiteX92" fmla="*/ 464820 w 3564922"/>
                  <a:gd name="connsiteY92" fmla="*/ 321469 h 547687"/>
                  <a:gd name="connsiteX93" fmla="*/ 469011 w 3564922"/>
                  <a:gd name="connsiteY93" fmla="*/ 321469 h 547687"/>
                  <a:gd name="connsiteX94" fmla="*/ 469011 w 3564922"/>
                  <a:gd name="connsiteY94" fmla="*/ 327565 h 547687"/>
                  <a:gd name="connsiteX95" fmla="*/ 542639 w 3564922"/>
                  <a:gd name="connsiteY95" fmla="*/ 327565 h 547687"/>
                  <a:gd name="connsiteX96" fmla="*/ 542639 w 3564922"/>
                  <a:gd name="connsiteY96" fmla="*/ 333565 h 547687"/>
                  <a:gd name="connsiteX97" fmla="*/ 563689 w 3564922"/>
                  <a:gd name="connsiteY97" fmla="*/ 333565 h 547687"/>
                  <a:gd name="connsiteX98" fmla="*/ 563689 w 3564922"/>
                  <a:gd name="connsiteY98" fmla="*/ 339661 h 547687"/>
                  <a:gd name="connsiteX99" fmla="*/ 569976 w 3564922"/>
                  <a:gd name="connsiteY99" fmla="*/ 339661 h 547687"/>
                  <a:gd name="connsiteX100" fmla="*/ 569976 w 3564922"/>
                  <a:gd name="connsiteY100" fmla="*/ 345757 h 547687"/>
                  <a:gd name="connsiteX101" fmla="*/ 612076 w 3564922"/>
                  <a:gd name="connsiteY101" fmla="*/ 345757 h 547687"/>
                  <a:gd name="connsiteX102" fmla="*/ 612076 w 3564922"/>
                  <a:gd name="connsiteY102" fmla="*/ 351758 h 547687"/>
                  <a:gd name="connsiteX103" fmla="*/ 626745 w 3564922"/>
                  <a:gd name="connsiteY103" fmla="*/ 351758 h 547687"/>
                  <a:gd name="connsiteX104" fmla="*/ 626745 w 3564922"/>
                  <a:gd name="connsiteY104" fmla="*/ 357854 h 547687"/>
                  <a:gd name="connsiteX105" fmla="*/ 656272 w 3564922"/>
                  <a:gd name="connsiteY105" fmla="*/ 357854 h 547687"/>
                  <a:gd name="connsiteX106" fmla="*/ 656272 w 3564922"/>
                  <a:gd name="connsiteY106" fmla="*/ 363950 h 547687"/>
                  <a:gd name="connsiteX107" fmla="*/ 658368 w 3564922"/>
                  <a:gd name="connsiteY107" fmla="*/ 363950 h 547687"/>
                  <a:gd name="connsiteX108" fmla="*/ 658368 w 3564922"/>
                  <a:gd name="connsiteY108" fmla="*/ 369951 h 547687"/>
                  <a:gd name="connsiteX109" fmla="*/ 681418 w 3564922"/>
                  <a:gd name="connsiteY109" fmla="*/ 369951 h 547687"/>
                  <a:gd name="connsiteX110" fmla="*/ 681418 w 3564922"/>
                  <a:gd name="connsiteY110" fmla="*/ 376047 h 547687"/>
                  <a:gd name="connsiteX111" fmla="*/ 694087 w 3564922"/>
                  <a:gd name="connsiteY111" fmla="*/ 376047 h 547687"/>
                  <a:gd name="connsiteX112" fmla="*/ 694087 w 3564922"/>
                  <a:gd name="connsiteY112" fmla="*/ 382143 h 547687"/>
                  <a:gd name="connsiteX113" fmla="*/ 729805 w 3564922"/>
                  <a:gd name="connsiteY113" fmla="*/ 382143 h 547687"/>
                  <a:gd name="connsiteX114" fmla="*/ 729805 w 3564922"/>
                  <a:gd name="connsiteY114" fmla="*/ 388239 h 547687"/>
                  <a:gd name="connsiteX115" fmla="*/ 845534 w 3564922"/>
                  <a:gd name="connsiteY115" fmla="*/ 388239 h 547687"/>
                  <a:gd name="connsiteX116" fmla="*/ 845534 w 3564922"/>
                  <a:gd name="connsiteY116" fmla="*/ 394240 h 547687"/>
                  <a:gd name="connsiteX117" fmla="*/ 883348 w 3564922"/>
                  <a:gd name="connsiteY117" fmla="*/ 394240 h 547687"/>
                  <a:gd name="connsiteX118" fmla="*/ 883348 w 3564922"/>
                  <a:gd name="connsiteY118" fmla="*/ 400431 h 547687"/>
                  <a:gd name="connsiteX119" fmla="*/ 935926 w 3564922"/>
                  <a:gd name="connsiteY119" fmla="*/ 400431 h 547687"/>
                  <a:gd name="connsiteX120" fmla="*/ 935926 w 3564922"/>
                  <a:gd name="connsiteY120" fmla="*/ 406527 h 547687"/>
                  <a:gd name="connsiteX121" fmla="*/ 954881 w 3564922"/>
                  <a:gd name="connsiteY121" fmla="*/ 406527 h 547687"/>
                  <a:gd name="connsiteX122" fmla="*/ 954881 w 3564922"/>
                  <a:gd name="connsiteY122" fmla="*/ 412623 h 547687"/>
                  <a:gd name="connsiteX123" fmla="*/ 965359 w 3564922"/>
                  <a:gd name="connsiteY123" fmla="*/ 412623 h 547687"/>
                  <a:gd name="connsiteX124" fmla="*/ 965359 w 3564922"/>
                  <a:gd name="connsiteY124" fmla="*/ 418814 h 547687"/>
                  <a:gd name="connsiteX125" fmla="*/ 999077 w 3564922"/>
                  <a:gd name="connsiteY125" fmla="*/ 418814 h 547687"/>
                  <a:gd name="connsiteX126" fmla="*/ 999077 w 3564922"/>
                  <a:gd name="connsiteY126" fmla="*/ 424910 h 547687"/>
                  <a:gd name="connsiteX127" fmla="*/ 1005364 w 3564922"/>
                  <a:gd name="connsiteY127" fmla="*/ 424910 h 547687"/>
                  <a:gd name="connsiteX128" fmla="*/ 1005364 w 3564922"/>
                  <a:gd name="connsiteY128" fmla="*/ 431006 h 547687"/>
                  <a:gd name="connsiteX129" fmla="*/ 1020032 w 3564922"/>
                  <a:gd name="connsiteY129" fmla="*/ 431006 h 547687"/>
                  <a:gd name="connsiteX130" fmla="*/ 1020032 w 3564922"/>
                  <a:gd name="connsiteY130" fmla="*/ 437102 h 547687"/>
                  <a:gd name="connsiteX131" fmla="*/ 1032700 w 3564922"/>
                  <a:gd name="connsiteY131" fmla="*/ 437102 h 547687"/>
                  <a:gd name="connsiteX132" fmla="*/ 1032700 w 3564922"/>
                  <a:gd name="connsiteY132" fmla="*/ 443293 h 547687"/>
                  <a:gd name="connsiteX133" fmla="*/ 1057942 w 3564922"/>
                  <a:gd name="connsiteY133" fmla="*/ 443293 h 547687"/>
                  <a:gd name="connsiteX134" fmla="*/ 1057942 w 3564922"/>
                  <a:gd name="connsiteY134" fmla="*/ 449389 h 547687"/>
                  <a:gd name="connsiteX135" fmla="*/ 1287208 w 3564922"/>
                  <a:gd name="connsiteY135" fmla="*/ 449389 h 547687"/>
                  <a:gd name="connsiteX136" fmla="*/ 1287208 w 3564922"/>
                  <a:gd name="connsiteY136" fmla="*/ 455581 h 547687"/>
                  <a:gd name="connsiteX137" fmla="*/ 1400746 w 3564922"/>
                  <a:gd name="connsiteY137" fmla="*/ 455581 h 547687"/>
                  <a:gd name="connsiteX138" fmla="*/ 1400746 w 3564922"/>
                  <a:gd name="connsiteY138" fmla="*/ 461772 h 547687"/>
                  <a:gd name="connsiteX139" fmla="*/ 1669923 w 3564922"/>
                  <a:gd name="connsiteY139" fmla="*/ 461772 h 547687"/>
                  <a:gd name="connsiteX140" fmla="*/ 1669923 w 3564922"/>
                  <a:gd name="connsiteY140" fmla="*/ 468058 h 547687"/>
                  <a:gd name="connsiteX141" fmla="*/ 1743551 w 3564922"/>
                  <a:gd name="connsiteY141" fmla="*/ 468058 h 547687"/>
                  <a:gd name="connsiteX142" fmla="*/ 1743551 w 3564922"/>
                  <a:gd name="connsiteY142" fmla="*/ 474345 h 547687"/>
                  <a:gd name="connsiteX143" fmla="*/ 1823466 w 3564922"/>
                  <a:gd name="connsiteY143" fmla="*/ 474345 h 547687"/>
                  <a:gd name="connsiteX144" fmla="*/ 1823466 w 3564922"/>
                  <a:gd name="connsiteY144" fmla="*/ 480631 h 547687"/>
                  <a:gd name="connsiteX145" fmla="*/ 1985391 w 3564922"/>
                  <a:gd name="connsiteY145" fmla="*/ 480631 h 547687"/>
                  <a:gd name="connsiteX146" fmla="*/ 1985391 w 3564922"/>
                  <a:gd name="connsiteY146" fmla="*/ 487108 h 547687"/>
                  <a:gd name="connsiteX147" fmla="*/ 2002250 w 3564922"/>
                  <a:gd name="connsiteY147" fmla="*/ 487108 h 547687"/>
                  <a:gd name="connsiteX148" fmla="*/ 2002250 w 3564922"/>
                  <a:gd name="connsiteY148" fmla="*/ 493490 h 547687"/>
                  <a:gd name="connsiteX149" fmla="*/ 2120074 w 3564922"/>
                  <a:gd name="connsiteY149" fmla="*/ 493490 h 547687"/>
                  <a:gd name="connsiteX150" fmla="*/ 2120074 w 3564922"/>
                  <a:gd name="connsiteY150" fmla="*/ 499967 h 547687"/>
                  <a:gd name="connsiteX151" fmla="*/ 2212562 w 3564922"/>
                  <a:gd name="connsiteY151" fmla="*/ 499967 h 547687"/>
                  <a:gd name="connsiteX152" fmla="*/ 2212562 w 3564922"/>
                  <a:gd name="connsiteY152" fmla="*/ 506349 h 547687"/>
                  <a:gd name="connsiteX153" fmla="*/ 2231517 w 3564922"/>
                  <a:gd name="connsiteY153" fmla="*/ 506349 h 547687"/>
                  <a:gd name="connsiteX154" fmla="*/ 2231517 w 3564922"/>
                  <a:gd name="connsiteY154" fmla="*/ 512826 h 547687"/>
                  <a:gd name="connsiteX155" fmla="*/ 3085338 w 3564922"/>
                  <a:gd name="connsiteY155" fmla="*/ 512826 h 547687"/>
                  <a:gd name="connsiteX156" fmla="*/ 3085338 w 3564922"/>
                  <a:gd name="connsiteY156" fmla="*/ 547687 h 547687"/>
                  <a:gd name="connsiteX157" fmla="*/ 3564922 w 3564922"/>
                  <a:gd name="connsiteY157" fmla="*/ 547687 h 547687"/>
                  <a:gd name="connsiteX0" fmla="*/ 0 w 3562827"/>
                  <a:gd name="connsiteY0" fmla="*/ 0 h 541686"/>
                  <a:gd name="connsiteX1" fmla="*/ 2191 w 3562827"/>
                  <a:gd name="connsiteY1" fmla="*/ 6096 h 541686"/>
                  <a:gd name="connsiteX2" fmla="*/ 12668 w 3562827"/>
                  <a:gd name="connsiteY2" fmla="*/ 6096 h 541686"/>
                  <a:gd name="connsiteX3" fmla="*/ 12668 w 3562827"/>
                  <a:gd name="connsiteY3" fmla="*/ 12192 h 541686"/>
                  <a:gd name="connsiteX4" fmla="*/ 18955 w 3562827"/>
                  <a:gd name="connsiteY4" fmla="*/ 12192 h 541686"/>
                  <a:gd name="connsiteX5" fmla="*/ 18955 w 3562827"/>
                  <a:gd name="connsiteY5" fmla="*/ 18192 h 541686"/>
                  <a:gd name="connsiteX6" fmla="*/ 33719 w 3562827"/>
                  <a:gd name="connsiteY6" fmla="*/ 18192 h 541686"/>
                  <a:gd name="connsiteX7" fmla="*/ 33719 w 3562827"/>
                  <a:gd name="connsiteY7" fmla="*/ 24288 h 541686"/>
                  <a:gd name="connsiteX8" fmla="*/ 42101 w 3562827"/>
                  <a:gd name="connsiteY8" fmla="*/ 24288 h 541686"/>
                  <a:gd name="connsiteX9" fmla="*/ 42101 w 3562827"/>
                  <a:gd name="connsiteY9" fmla="*/ 30384 h 541686"/>
                  <a:gd name="connsiteX10" fmla="*/ 52674 w 3562827"/>
                  <a:gd name="connsiteY10" fmla="*/ 30384 h 541686"/>
                  <a:gd name="connsiteX11" fmla="*/ 52674 w 3562827"/>
                  <a:gd name="connsiteY11" fmla="*/ 36385 h 541686"/>
                  <a:gd name="connsiteX12" fmla="*/ 65247 w 3562827"/>
                  <a:gd name="connsiteY12" fmla="*/ 36385 h 541686"/>
                  <a:gd name="connsiteX13" fmla="*/ 65247 w 3562827"/>
                  <a:gd name="connsiteY13" fmla="*/ 42481 h 541686"/>
                  <a:gd name="connsiteX14" fmla="*/ 71533 w 3562827"/>
                  <a:gd name="connsiteY14" fmla="*/ 42481 h 541686"/>
                  <a:gd name="connsiteX15" fmla="*/ 71533 w 3562827"/>
                  <a:gd name="connsiteY15" fmla="*/ 54578 h 541686"/>
                  <a:gd name="connsiteX16" fmla="*/ 75724 w 3562827"/>
                  <a:gd name="connsiteY16" fmla="*/ 54578 h 541686"/>
                  <a:gd name="connsiteX17" fmla="*/ 75724 w 3562827"/>
                  <a:gd name="connsiteY17" fmla="*/ 60674 h 541686"/>
                  <a:gd name="connsiteX18" fmla="*/ 88392 w 3562827"/>
                  <a:gd name="connsiteY18" fmla="*/ 60674 h 541686"/>
                  <a:gd name="connsiteX19" fmla="*/ 88392 w 3562827"/>
                  <a:gd name="connsiteY19" fmla="*/ 66770 h 541686"/>
                  <a:gd name="connsiteX20" fmla="*/ 103061 w 3562827"/>
                  <a:gd name="connsiteY20" fmla="*/ 66770 h 541686"/>
                  <a:gd name="connsiteX21" fmla="*/ 103061 w 3562827"/>
                  <a:gd name="connsiteY21" fmla="*/ 72771 h 541686"/>
                  <a:gd name="connsiteX22" fmla="*/ 107347 w 3562827"/>
                  <a:gd name="connsiteY22" fmla="*/ 72771 h 541686"/>
                  <a:gd name="connsiteX23" fmla="*/ 107347 w 3562827"/>
                  <a:gd name="connsiteY23" fmla="*/ 78867 h 541686"/>
                  <a:gd name="connsiteX24" fmla="*/ 117824 w 3562827"/>
                  <a:gd name="connsiteY24" fmla="*/ 78867 h 541686"/>
                  <a:gd name="connsiteX25" fmla="*/ 117824 w 3562827"/>
                  <a:gd name="connsiteY25" fmla="*/ 84963 h 541686"/>
                  <a:gd name="connsiteX26" fmla="*/ 126207 w 3562827"/>
                  <a:gd name="connsiteY26" fmla="*/ 84963 h 541686"/>
                  <a:gd name="connsiteX27" fmla="*/ 126207 w 3562827"/>
                  <a:gd name="connsiteY27" fmla="*/ 91059 h 541686"/>
                  <a:gd name="connsiteX28" fmla="*/ 140970 w 3562827"/>
                  <a:gd name="connsiteY28" fmla="*/ 91059 h 541686"/>
                  <a:gd name="connsiteX29" fmla="*/ 140970 w 3562827"/>
                  <a:gd name="connsiteY29" fmla="*/ 97059 h 541686"/>
                  <a:gd name="connsiteX30" fmla="*/ 145161 w 3562827"/>
                  <a:gd name="connsiteY30" fmla="*/ 97059 h 541686"/>
                  <a:gd name="connsiteX31" fmla="*/ 145161 w 3562827"/>
                  <a:gd name="connsiteY31" fmla="*/ 103155 h 541686"/>
                  <a:gd name="connsiteX32" fmla="*/ 149352 w 3562827"/>
                  <a:gd name="connsiteY32" fmla="*/ 103155 h 541686"/>
                  <a:gd name="connsiteX33" fmla="*/ 149352 w 3562827"/>
                  <a:gd name="connsiteY33" fmla="*/ 109251 h 541686"/>
                  <a:gd name="connsiteX34" fmla="*/ 162021 w 3562827"/>
                  <a:gd name="connsiteY34" fmla="*/ 109251 h 541686"/>
                  <a:gd name="connsiteX35" fmla="*/ 162021 w 3562827"/>
                  <a:gd name="connsiteY35" fmla="*/ 115252 h 541686"/>
                  <a:gd name="connsiteX36" fmla="*/ 191453 w 3562827"/>
                  <a:gd name="connsiteY36" fmla="*/ 115252 h 541686"/>
                  <a:gd name="connsiteX37" fmla="*/ 191453 w 3562827"/>
                  <a:gd name="connsiteY37" fmla="*/ 121348 h 541686"/>
                  <a:gd name="connsiteX38" fmla="*/ 199835 w 3562827"/>
                  <a:gd name="connsiteY38" fmla="*/ 121348 h 541686"/>
                  <a:gd name="connsiteX39" fmla="*/ 199835 w 3562827"/>
                  <a:gd name="connsiteY39" fmla="*/ 127444 h 541686"/>
                  <a:gd name="connsiteX40" fmla="*/ 201930 w 3562827"/>
                  <a:gd name="connsiteY40" fmla="*/ 127444 h 541686"/>
                  <a:gd name="connsiteX41" fmla="*/ 201930 w 3562827"/>
                  <a:gd name="connsiteY41" fmla="*/ 133445 h 541686"/>
                  <a:gd name="connsiteX42" fmla="*/ 216694 w 3562827"/>
                  <a:gd name="connsiteY42" fmla="*/ 133445 h 541686"/>
                  <a:gd name="connsiteX43" fmla="*/ 216694 w 3562827"/>
                  <a:gd name="connsiteY43" fmla="*/ 145637 h 541686"/>
                  <a:gd name="connsiteX44" fmla="*/ 218790 w 3562827"/>
                  <a:gd name="connsiteY44" fmla="*/ 145637 h 541686"/>
                  <a:gd name="connsiteX45" fmla="*/ 218790 w 3562827"/>
                  <a:gd name="connsiteY45" fmla="*/ 151638 h 541686"/>
                  <a:gd name="connsiteX46" fmla="*/ 225076 w 3562827"/>
                  <a:gd name="connsiteY46" fmla="*/ 151638 h 541686"/>
                  <a:gd name="connsiteX47" fmla="*/ 225076 w 3562827"/>
                  <a:gd name="connsiteY47" fmla="*/ 157734 h 541686"/>
                  <a:gd name="connsiteX48" fmla="*/ 229267 w 3562827"/>
                  <a:gd name="connsiteY48" fmla="*/ 157734 h 541686"/>
                  <a:gd name="connsiteX49" fmla="*/ 229267 w 3562827"/>
                  <a:gd name="connsiteY49" fmla="*/ 163830 h 541686"/>
                  <a:gd name="connsiteX50" fmla="*/ 246126 w 3562827"/>
                  <a:gd name="connsiteY50" fmla="*/ 163830 h 541686"/>
                  <a:gd name="connsiteX51" fmla="*/ 246126 w 3562827"/>
                  <a:gd name="connsiteY51" fmla="*/ 175926 h 541686"/>
                  <a:gd name="connsiteX52" fmla="*/ 250317 w 3562827"/>
                  <a:gd name="connsiteY52" fmla="*/ 175926 h 541686"/>
                  <a:gd name="connsiteX53" fmla="*/ 250317 w 3562827"/>
                  <a:gd name="connsiteY53" fmla="*/ 182022 h 541686"/>
                  <a:gd name="connsiteX54" fmla="*/ 273463 w 3562827"/>
                  <a:gd name="connsiteY54" fmla="*/ 182022 h 541686"/>
                  <a:gd name="connsiteX55" fmla="*/ 273463 w 3562827"/>
                  <a:gd name="connsiteY55" fmla="*/ 188118 h 541686"/>
                  <a:gd name="connsiteX56" fmla="*/ 277654 w 3562827"/>
                  <a:gd name="connsiteY56" fmla="*/ 188118 h 541686"/>
                  <a:gd name="connsiteX57" fmla="*/ 277654 w 3562827"/>
                  <a:gd name="connsiteY57" fmla="*/ 194119 h 541686"/>
                  <a:gd name="connsiteX58" fmla="*/ 283941 w 3562827"/>
                  <a:gd name="connsiteY58" fmla="*/ 194119 h 541686"/>
                  <a:gd name="connsiteX59" fmla="*/ 283941 w 3562827"/>
                  <a:gd name="connsiteY59" fmla="*/ 206311 h 541686"/>
                  <a:gd name="connsiteX60" fmla="*/ 302895 w 3562827"/>
                  <a:gd name="connsiteY60" fmla="*/ 206311 h 541686"/>
                  <a:gd name="connsiteX61" fmla="*/ 302895 w 3562827"/>
                  <a:gd name="connsiteY61" fmla="*/ 212312 h 541686"/>
                  <a:gd name="connsiteX62" fmla="*/ 311277 w 3562827"/>
                  <a:gd name="connsiteY62" fmla="*/ 212312 h 541686"/>
                  <a:gd name="connsiteX63" fmla="*/ 311277 w 3562827"/>
                  <a:gd name="connsiteY63" fmla="*/ 218408 h 541686"/>
                  <a:gd name="connsiteX64" fmla="*/ 323946 w 3562827"/>
                  <a:gd name="connsiteY64" fmla="*/ 218408 h 541686"/>
                  <a:gd name="connsiteX65" fmla="*/ 323946 w 3562827"/>
                  <a:gd name="connsiteY65" fmla="*/ 224504 h 541686"/>
                  <a:gd name="connsiteX66" fmla="*/ 340805 w 3562827"/>
                  <a:gd name="connsiteY66" fmla="*/ 224504 h 541686"/>
                  <a:gd name="connsiteX67" fmla="*/ 340805 w 3562827"/>
                  <a:gd name="connsiteY67" fmla="*/ 230505 h 541686"/>
                  <a:gd name="connsiteX68" fmla="*/ 368142 w 3562827"/>
                  <a:gd name="connsiteY68" fmla="*/ 230505 h 541686"/>
                  <a:gd name="connsiteX69" fmla="*/ 368142 w 3562827"/>
                  <a:gd name="connsiteY69" fmla="*/ 236601 h 541686"/>
                  <a:gd name="connsiteX70" fmla="*/ 370237 w 3562827"/>
                  <a:gd name="connsiteY70" fmla="*/ 236601 h 541686"/>
                  <a:gd name="connsiteX71" fmla="*/ 370237 w 3562827"/>
                  <a:gd name="connsiteY71" fmla="*/ 242697 h 541686"/>
                  <a:gd name="connsiteX72" fmla="*/ 380714 w 3562827"/>
                  <a:gd name="connsiteY72" fmla="*/ 242697 h 541686"/>
                  <a:gd name="connsiteX73" fmla="*/ 380714 w 3562827"/>
                  <a:gd name="connsiteY73" fmla="*/ 248697 h 541686"/>
                  <a:gd name="connsiteX74" fmla="*/ 387001 w 3562827"/>
                  <a:gd name="connsiteY74" fmla="*/ 248697 h 541686"/>
                  <a:gd name="connsiteX75" fmla="*/ 387001 w 3562827"/>
                  <a:gd name="connsiteY75" fmla="*/ 260889 h 541686"/>
                  <a:gd name="connsiteX76" fmla="*/ 395478 w 3562827"/>
                  <a:gd name="connsiteY76" fmla="*/ 260889 h 541686"/>
                  <a:gd name="connsiteX77" fmla="*/ 395478 w 3562827"/>
                  <a:gd name="connsiteY77" fmla="*/ 266890 h 541686"/>
                  <a:gd name="connsiteX78" fmla="*/ 401765 w 3562827"/>
                  <a:gd name="connsiteY78" fmla="*/ 266890 h 541686"/>
                  <a:gd name="connsiteX79" fmla="*/ 401765 w 3562827"/>
                  <a:gd name="connsiteY79" fmla="*/ 279082 h 541686"/>
                  <a:gd name="connsiteX80" fmla="*/ 403860 w 3562827"/>
                  <a:gd name="connsiteY80" fmla="*/ 279082 h 541686"/>
                  <a:gd name="connsiteX81" fmla="*/ 403860 w 3562827"/>
                  <a:gd name="connsiteY81" fmla="*/ 285178 h 541686"/>
                  <a:gd name="connsiteX82" fmla="*/ 416433 w 3562827"/>
                  <a:gd name="connsiteY82" fmla="*/ 285178 h 541686"/>
                  <a:gd name="connsiteX83" fmla="*/ 416433 w 3562827"/>
                  <a:gd name="connsiteY83" fmla="*/ 291179 h 541686"/>
                  <a:gd name="connsiteX84" fmla="*/ 439579 w 3562827"/>
                  <a:gd name="connsiteY84" fmla="*/ 291179 h 541686"/>
                  <a:gd name="connsiteX85" fmla="*/ 439579 w 3562827"/>
                  <a:gd name="connsiteY85" fmla="*/ 297275 h 541686"/>
                  <a:gd name="connsiteX86" fmla="*/ 445961 w 3562827"/>
                  <a:gd name="connsiteY86" fmla="*/ 297275 h 541686"/>
                  <a:gd name="connsiteX87" fmla="*/ 445961 w 3562827"/>
                  <a:gd name="connsiteY87" fmla="*/ 303371 h 541686"/>
                  <a:gd name="connsiteX88" fmla="*/ 454343 w 3562827"/>
                  <a:gd name="connsiteY88" fmla="*/ 303371 h 541686"/>
                  <a:gd name="connsiteX89" fmla="*/ 454343 w 3562827"/>
                  <a:gd name="connsiteY89" fmla="*/ 309372 h 541686"/>
                  <a:gd name="connsiteX90" fmla="*/ 462725 w 3562827"/>
                  <a:gd name="connsiteY90" fmla="*/ 309372 h 541686"/>
                  <a:gd name="connsiteX91" fmla="*/ 462725 w 3562827"/>
                  <a:gd name="connsiteY91" fmla="*/ 315468 h 541686"/>
                  <a:gd name="connsiteX92" fmla="*/ 466916 w 3562827"/>
                  <a:gd name="connsiteY92" fmla="*/ 315468 h 541686"/>
                  <a:gd name="connsiteX93" fmla="*/ 466916 w 3562827"/>
                  <a:gd name="connsiteY93" fmla="*/ 321564 h 541686"/>
                  <a:gd name="connsiteX94" fmla="*/ 540544 w 3562827"/>
                  <a:gd name="connsiteY94" fmla="*/ 321564 h 541686"/>
                  <a:gd name="connsiteX95" fmla="*/ 540544 w 3562827"/>
                  <a:gd name="connsiteY95" fmla="*/ 327564 h 541686"/>
                  <a:gd name="connsiteX96" fmla="*/ 561594 w 3562827"/>
                  <a:gd name="connsiteY96" fmla="*/ 327564 h 541686"/>
                  <a:gd name="connsiteX97" fmla="*/ 561594 w 3562827"/>
                  <a:gd name="connsiteY97" fmla="*/ 333660 h 541686"/>
                  <a:gd name="connsiteX98" fmla="*/ 567881 w 3562827"/>
                  <a:gd name="connsiteY98" fmla="*/ 333660 h 541686"/>
                  <a:gd name="connsiteX99" fmla="*/ 567881 w 3562827"/>
                  <a:gd name="connsiteY99" fmla="*/ 339756 h 541686"/>
                  <a:gd name="connsiteX100" fmla="*/ 609981 w 3562827"/>
                  <a:gd name="connsiteY100" fmla="*/ 339756 h 541686"/>
                  <a:gd name="connsiteX101" fmla="*/ 609981 w 3562827"/>
                  <a:gd name="connsiteY101" fmla="*/ 345757 h 541686"/>
                  <a:gd name="connsiteX102" fmla="*/ 624650 w 3562827"/>
                  <a:gd name="connsiteY102" fmla="*/ 345757 h 541686"/>
                  <a:gd name="connsiteX103" fmla="*/ 624650 w 3562827"/>
                  <a:gd name="connsiteY103" fmla="*/ 351853 h 541686"/>
                  <a:gd name="connsiteX104" fmla="*/ 654177 w 3562827"/>
                  <a:gd name="connsiteY104" fmla="*/ 351853 h 541686"/>
                  <a:gd name="connsiteX105" fmla="*/ 654177 w 3562827"/>
                  <a:gd name="connsiteY105" fmla="*/ 357949 h 541686"/>
                  <a:gd name="connsiteX106" fmla="*/ 656273 w 3562827"/>
                  <a:gd name="connsiteY106" fmla="*/ 357949 h 541686"/>
                  <a:gd name="connsiteX107" fmla="*/ 656273 w 3562827"/>
                  <a:gd name="connsiteY107" fmla="*/ 363950 h 541686"/>
                  <a:gd name="connsiteX108" fmla="*/ 679323 w 3562827"/>
                  <a:gd name="connsiteY108" fmla="*/ 363950 h 541686"/>
                  <a:gd name="connsiteX109" fmla="*/ 679323 w 3562827"/>
                  <a:gd name="connsiteY109" fmla="*/ 370046 h 541686"/>
                  <a:gd name="connsiteX110" fmla="*/ 691992 w 3562827"/>
                  <a:gd name="connsiteY110" fmla="*/ 370046 h 541686"/>
                  <a:gd name="connsiteX111" fmla="*/ 691992 w 3562827"/>
                  <a:gd name="connsiteY111" fmla="*/ 376142 h 541686"/>
                  <a:gd name="connsiteX112" fmla="*/ 727710 w 3562827"/>
                  <a:gd name="connsiteY112" fmla="*/ 376142 h 541686"/>
                  <a:gd name="connsiteX113" fmla="*/ 727710 w 3562827"/>
                  <a:gd name="connsiteY113" fmla="*/ 382238 h 541686"/>
                  <a:gd name="connsiteX114" fmla="*/ 843439 w 3562827"/>
                  <a:gd name="connsiteY114" fmla="*/ 382238 h 541686"/>
                  <a:gd name="connsiteX115" fmla="*/ 843439 w 3562827"/>
                  <a:gd name="connsiteY115" fmla="*/ 388239 h 541686"/>
                  <a:gd name="connsiteX116" fmla="*/ 881253 w 3562827"/>
                  <a:gd name="connsiteY116" fmla="*/ 388239 h 541686"/>
                  <a:gd name="connsiteX117" fmla="*/ 881253 w 3562827"/>
                  <a:gd name="connsiteY117" fmla="*/ 394430 h 541686"/>
                  <a:gd name="connsiteX118" fmla="*/ 933831 w 3562827"/>
                  <a:gd name="connsiteY118" fmla="*/ 394430 h 541686"/>
                  <a:gd name="connsiteX119" fmla="*/ 933831 w 3562827"/>
                  <a:gd name="connsiteY119" fmla="*/ 400526 h 541686"/>
                  <a:gd name="connsiteX120" fmla="*/ 952786 w 3562827"/>
                  <a:gd name="connsiteY120" fmla="*/ 400526 h 541686"/>
                  <a:gd name="connsiteX121" fmla="*/ 952786 w 3562827"/>
                  <a:gd name="connsiteY121" fmla="*/ 406622 h 541686"/>
                  <a:gd name="connsiteX122" fmla="*/ 963264 w 3562827"/>
                  <a:gd name="connsiteY122" fmla="*/ 406622 h 541686"/>
                  <a:gd name="connsiteX123" fmla="*/ 963264 w 3562827"/>
                  <a:gd name="connsiteY123" fmla="*/ 412813 h 541686"/>
                  <a:gd name="connsiteX124" fmla="*/ 996982 w 3562827"/>
                  <a:gd name="connsiteY124" fmla="*/ 412813 h 541686"/>
                  <a:gd name="connsiteX125" fmla="*/ 996982 w 3562827"/>
                  <a:gd name="connsiteY125" fmla="*/ 418909 h 541686"/>
                  <a:gd name="connsiteX126" fmla="*/ 1003269 w 3562827"/>
                  <a:gd name="connsiteY126" fmla="*/ 418909 h 541686"/>
                  <a:gd name="connsiteX127" fmla="*/ 1003269 w 3562827"/>
                  <a:gd name="connsiteY127" fmla="*/ 425005 h 541686"/>
                  <a:gd name="connsiteX128" fmla="*/ 1017937 w 3562827"/>
                  <a:gd name="connsiteY128" fmla="*/ 425005 h 541686"/>
                  <a:gd name="connsiteX129" fmla="*/ 1017937 w 3562827"/>
                  <a:gd name="connsiteY129" fmla="*/ 431101 h 541686"/>
                  <a:gd name="connsiteX130" fmla="*/ 1030605 w 3562827"/>
                  <a:gd name="connsiteY130" fmla="*/ 431101 h 541686"/>
                  <a:gd name="connsiteX131" fmla="*/ 1030605 w 3562827"/>
                  <a:gd name="connsiteY131" fmla="*/ 437292 h 541686"/>
                  <a:gd name="connsiteX132" fmla="*/ 1055847 w 3562827"/>
                  <a:gd name="connsiteY132" fmla="*/ 437292 h 541686"/>
                  <a:gd name="connsiteX133" fmla="*/ 1055847 w 3562827"/>
                  <a:gd name="connsiteY133" fmla="*/ 443388 h 541686"/>
                  <a:gd name="connsiteX134" fmla="*/ 1285113 w 3562827"/>
                  <a:gd name="connsiteY134" fmla="*/ 443388 h 541686"/>
                  <a:gd name="connsiteX135" fmla="*/ 1285113 w 3562827"/>
                  <a:gd name="connsiteY135" fmla="*/ 449580 h 541686"/>
                  <a:gd name="connsiteX136" fmla="*/ 1398651 w 3562827"/>
                  <a:gd name="connsiteY136" fmla="*/ 449580 h 541686"/>
                  <a:gd name="connsiteX137" fmla="*/ 1398651 w 3562827"/>
                  <a:gd name="connsiteY137" fmla="*/ 455771 h 541686"/>
                  <a:gd name="connsiteX138" fmla="*/ 1667828 w 3562827"/>
                  <a:gd name="connsiteY138" fmla="*/ 455771 h 541686"/>
                  <a:gd name="connsiteX139" fmla="*/ 1667828 w 3562827"/>
                  <a:gd name="connsiteY139" fmla="*/ 462057 h 541686"/>
                  <a:gd name="connsiteX140" fmla="*/ 1741456 w 3562827"/>
                  <a:gd name="connsiteY140" fmla="*/ 462057 h 541686"/>
                  <a:gd name="connsiteX141" fmla="*/ 1741456 w 3562827"/>
                  <a:gd name="connsiteY141" fmla="*/ 468344 h 541686"/>
                  <a:gd name="connsiteX142" fmla="*/ 1821371 w 3562827"/>
                  <a:gd name="connsiteY142" fmla="*/ 468344 h 541686"/>
                  <a:gd name="connsiteX143" fmla="*/ 1821371 w 3562827"/>
                  <a:gd name="connsiteY143" fmla="*/ 474630 h 541686"/>
                  <a:gd name="connsiteX144" fmla="*/ 1983296 w 3562827"/>
                  <a:gd name="connsiteY144" fmla="*/ 474630 h 541686"/>
                  <a:gd name="connsiteX145" fmla="*/ 1983296 w 3562827"/>
                  <a:gd name="connsiteY145" fmla="*/ 481107 h 541686"/>
                  <a:gd name="connsiteX146" fmla="*/ 2000155 w 3562827"/>
                  <a:gd name="connsiteY146" fmla="*/ 481107 h 541686"/>
                  <a:gd name="connsiteX147" fmla="*/ 2000155 w 3562827"/>
                  <a:gd name="connsiteY147" fmla="*/ 487489 h 541686"/>
                  <a:gd name="connsiteX148" fmla="*/ 2117979 w 3562827"/>
                  <a:gd name="connsiteY148" fmla="*/ 487489 h 541686"/>
                  <a:gd name="connsiteX149" fmla="*/ 2117979 w 3562827"/>
                  <a:gd name="connsiteY149" fmla="*/ 493966 h 541686"/>
                  <a:gd name="connsiteX150" fmla="*/ 2210467 w 3562827"/>
                  <a:gd name="connsiteY150" fmla="*/ 493966 h 541686"/>
                  <a:gd name="connsiteX151" fmla="*/ 2210467 w 3562827"/>
                  <a:gd name="connsiteY151" fmla="*/ 500348 h 541686"/>
                  <a:gd name="connsiteX152" fmla="*/ 2229422 w 3562827"/>
                  <a:gd name="connsiteY152" fmla="*/ 500348 h 541686"/>
                  <a:gd name="connsiteX153" fmla="*/ 2229422 w 3562827"/>
                  <a:gd name="connsiteY153" fmla="*/ 506825 h 541686"/>
                  <a:gd name="connsiteX154" fmla="*/ 3083243 w 3562827"/>
                  <a:gd name="connsiteY154" fmla="*/ 506825 h 541686"/>
                  <a:gd name="connsiteX155" fmla="*/ 3083243 w 3562827"/>
                  <a:gd name="connsiteY155" fmla="*/ 541686 h 541686"/>
                  <a:gd name="connsiteX156" fmla="*/ 3562827 w 3562827"/>
                  <a:gd name="connsiteY156" fmla="*/ 541686 h 541686"/>
                  <a:gd name="connsiteX0" fmla="*/ 0 w 3560636"/>
                  <a:gd name="connsiteY0" fmla="*/ 0 h 535590"/>
                  <a:gd name="connsiteX1" fmla="*/ 10477 w 3560636"/>
                  <a:gd name="connsiteY1" fmla="*/ 0 h 535590"/>
                  <a:gd name="connsiteX2" fmla="*/ 10477 w 3560636"/>
                  <a:gd name="connsiteY2" fmla="*/ 6096 h 535590"/>
                  <a:gd name="connsiteX3" fmla="*/ 16764 w 3560636"/>
                  <a:gd name="connsiteY3" fmla="*/ 6096 h 535590"/>
                  <a:gd name="connsiteX4" fmla="*/ 16764 w 3560636"/>
                  <a:gd name="connsiteY4" fmla="*/ 12096 h 535590"/>
                  <a:gd name="connsiteX5" fmla="*/ 31528 w 3560636"/>
                  <a:gd name="connsiteY5" fmla="*/ 12096 h 535590"/>
                  <a:gd name="connsiteX6" fmla="*/ 31528 w 3560636"/>
                  <a:gd name="connsiteY6" fmla="*/ 18192 h 535590"/>
                  <a:gd name="connsiteX7" fmla="*/ 39910 w 3560636"/>
                  <a:gd name="connsiteY7" fmla="*/ 18192 h 535590"/>
                  <a:gd name="connsiteX8" fmla="*/ 39910 w 3560636"/>
                  <a:gd name="connsiteY8" fmla="*/ 24288 h 535590"/>
                  <a:gd name="connsiteX9" fmla="*/ 50483 w 3560636"/>
                  <a:gd name="connsiteY9" fmla="*/ 24288 h 535590"/>
                  <a:gd name="connsiteX10" fmla="*/ 50483 w 3560636"/>
                  <a:gd name="connsiteY10" fmla="*/ 30289 h 535590"/>
                  <a:gd name="connsiteX11" fmla="*/ 63056 w 3560636"/>
                  <a:gd name="connsiteY11" fmla="*/ 30289 h 535590"/>
                  <a:gd name="connsiteX12" fmla="*/ 63056 w 3560636"/>
                  <a:gd name="connsiteY12" fmla="*/ 36385 h 535590"/>
                  <a:gd name="connsiteX13" fmla="*/ 69342 w 3560636"/>
                  <a:gd name="connsiteY13" fmla="*/ 36385 h 535590"/>
                  <a:gd name="connsiteX14" fmla="*/ 69342 w 3560636"/>
                  <a:gd name="connsiteY14" fmla="*/ 48482 h 535590"/>
                  <a:gd name="connsiteX15" fmla="*/ 73533 w 3560636"/>
                  <a:gd name="connsiteY15" fmla="*/ 48482 h 535590"/>
                  <a:gd name="connsiteX16" fmla="*/ 73533 w 3560636"/>
                  <a:gd name="connsiteY16" fmla="*/ 54578 h 535590"/>
                  <a:gd name="connsiteX17" fmla="*/ 86201 w 3560636"/>
                  <a:gd name="connsiteY17" fmla="*/ 54578 h 535590"/>
                  <a:gd name="connsiteX18" fmla="*/ 86201 w 3560636"/>
                  <a:gd name="connsiteY18" fmla="*/ 60674 h 535590"/>
                  <a:gd name="connsiteX19" fmla="*/ 100870 w 3560636"/>
                  <a:gd name="connsiteY19" fmla="*/ 60674 h 535590"/>
                  <a:gd name="connsiteX20" fmla="*/ 100870 w 3560636"/>
                  <a:gd name="connsiteY20" fmla="*/ 66675 h 535590"/>
                  <a:gd name="connsiteX21" fmla="*/ 105156 w 3560636"/>
                  <a:gd name="connsiteY21" fmla="*/ 66675 h 535590"/>
                  <a:gd name="connsiteX22" fmla="*/ 105156 w 3560636"/>
                  <a:gd name="connsiteY22" fmla="*/ 72771 h 535590"/>
                  <a:gd name="connsiteX23" fmla="*/ 115633 w 3560636"/>
                  <a:gd name="connsiteY23" fmla="*/ 72771 h 535590"/>
                  <a:gd name="connsiteX24" fmla="*/ 115633 w 3560636"/>
                  <a:gd name="connsiteY24" fmla="*/ 78867 h 535590"/>
                  <a:gd name="connsiteX25" fmla="*/ 124016 w 3560636"/>
                  <a:gd name="connsiteY25" fmla="*/ 78867 h 535590"/>
                  <a:gd name="connsiteX26" fmla="*/ 124016 w 3560636"/>
                  <a:gd name="connsiteY26" fmla="*/ 84963 h 535590"/>
                  <a:gd name="connsiteX27" fmla="*/ 138779 w 3560636"/>
                  <a:gd name="connsiteY27" fmla="*/ 84963 h 535590"/>
                  <a:gd name="connsiteX28" fmla="*/ 138779 w 3560636"/>
                  <a:gd name="connsiteY28" fmla="*/ 90963 h 535590"/>
                  <a:gd name="connsiteX29" fmla="*/ 142970 w 3560636"/>
                  <a:gd name="connsiteY29" fmla="*/ 90963 h 535590"/>
                  <a:gd name="connsiteX30" fmla="*/ 142970 w 3560636"/>
                  <a:gd name="connsiteY30" fmla="*/ 97059 h 535590"/>
                  <a:gd name="connsiteX31" fmla="*/ 147161 w 3560636"/>
                  <a:gd name="connsiteY31" fmla="*/ 97059 h 535590"/>
                  <a:gd name="connsiteX32" fmla="*/ 147161 w 3560636"/>
                  <a:gd name="connsiteY32" fmla="*/ 103155 h 535590"/>
                  <a:gd name="connsiteX33" fmla="*/ 159830 w 3560636"/>
                  <a:gd name="connsiteY33" fmla="*/ 103155 h 535590"/>
                  <a:gd name="connsiteX34" fmla="*/ 159830 w 3560636"/>
                  <a:gd name="connsiteY34" fmla="*/ 109156 h 535590"/>
                  <a:gd name="connsiteX35" fmla="*/ 189262 w 3560636"/>
                  <a:gd name="connsiteY35" fmla="*/ 109156 h 535590"/>
                  <a:gd name="connsiteX36" fmla="*/ 189262 w 3560636"/>
                  <a:gd name="connsiteY36" fmla="*/ 115252 h 535590"/>
                  <a:gd name="connsiteX37" fmla="*/ 197644 w 3560636"/>
                  <a:gd name="connsiteY37" fmla="*/ 115252 h 535590"/>
                  <a:gd name="connsiteX38" fmla="*/ 197644 w 3560636"/>
                  <a:gd name="connsiteY38" fmla="*/ 121348 h 535590"/>
                  <a:gd name="connsiteX39" fmla="*/ 199739 w 3560636"/>
                  <a:gd name="connsiteY39" fmla="*/ 121348 h 535590"/>
                  <a:gd name="connsiteX40" fmla="*/ 199739 w 3560636"/>
                  <a:gd name="connsiteY40" fmla="*/ 127349 h 535590"/>
                  <a:gd name="connsiteX41" fmla="*/ 214503 w 3560636"/>
                  <a:gd name="connsiteY41" fmla="*/ 127349 h 535590"/>
                  <a:gd name="connsiteX42" fmla="*/ 214503 w 3560636"/>
                  <a:gd name="connsiteY42" fmla="*/ 139541 h 535590"/>
                  <a:gd name="connsiteX43" fmla="*/ 216599 w 3560636"/>
                  <a:gd name="connsiteY43" fmla="*/ 139541 h 535590"/>
                  <a:gd name="connsiteX44" fmla="*/ 216599 w 3560636"/>
                  <a:gd name="connsiteY44" fmla="*/ 145542 h 535590"/>
                  <a:gd name="connsiteX45" fmla="*/ 222885 w 3560636"/>
                  <a:gd name="connsiteY45" fmla="*/ 145542 h 535590"/>
                  <a:gd name="connsiteX46" fmla="*/ 222885 w 3560636"/>
                  <a:gd name="connsiteY46" fmla="*/ 151638 h 535590"/>
                  <a:gd name="connsiteX47" fmla="*/ 227076 w 3560636"/>
                  <a:gd name="connsiteY47" fmla="*/ 151638 h 535590"/>
                  <a:gd name="connsiteX48" fmla="*/ 227076 w 3560636"/>
                  <a:gd name="connsiteY48" fmla="*/ 157734 h 535590"/>
                  <a:gd name="connsiteX49" fmla="*/ 243935 w 3560636"/>
                  <a:gd name="connsiteY49" fmla="*/ 157734 h 535590"/>
                  <a:gd name="connsiteX50" fmla="*/ 243935 w 3560636"/>
                  <a:gd name="connsiteY50" fmla="*/ 169830 h 535590"/>
                  <a:gd name="connsiteX51" fmla="*/ 248126 w 3560636"/>
                  <a:gd name="connsiteY51" fmla="*/ 169830 h 535590"/>
                  <a:gd name="connsiteX52" fmla="*/ 248126 w 3560636"/>
                  <a:gd name="connsiteY52" fmla="*/ 175926 h 535590"/>
                  <a:gd name="connsiteX53" fmla="*/ 271272 w 3560636"/>
                  <a:gd name="connsiteY53" fmla="*/ 175926 h 535590"/>
                  <a:gd name="connsiteX54" fmla="*/ 271272 w 3560636"/>
                  <a:gd name="connsiteY54" fmla="*/ 182022 h 535590"/>
                  <a:gd name="connsiteX55" fmla="*/ 275463 w 3560636"/>
                  <a:gd name="connsiteY55" fmla="*/ 182022 h 535590"/>
                  <a:gd name="connsiteX56" fmla="*/ 275463 w 3560636"/>
                  <a:gd name="connsiteY56" fmla="*/ 188023 h 535590"/>
                  <a:gd name="connsiteX57" fmla="*/ 281750 w 3560636"/>
                  <a:gd name="connsiteY57" fmla="*/ 188023 h 535590"/>
                  <a:gd name="connsiteX58" fmla="*/ 281750 w 3560636"/>
                  <a:gd name="connsiteY58" fmla="*/ 200215 h 535590"/>
                  <a:gd name="connsiteX59" fmla="*/ 300704 w 3560636"/>
                  <a:gd name="connsiteY59" fmla="*/ 200215 h 535590"/>
                  <a:gd name="connsiteX60" fmla="*/ 300704 w 3560636"/>
                  <a:gd name="connsiteY60" fmla="*/ 206216 h 535590"/>
                  <a:gd name="connsiteX61" fmla="*/ 309086 w 3560636"/>
                  <a:gd name="connsiteY61" fmla="*/ 206216 h 535590"/>
                  <a:gd name="connsiteX62" fmla="*/ 309086 w 3560636"/>
                  <a:gd name="connsiteY62" fmla="*/ 212312 h 535590"/>
                  <a:gd name="connsiteX63" fmla="*/ 321755 w 3560636"/>
                  <a:gd name="connsiteY63" fmla="*/ 212312 h 535590"/>
                  <a:gd name="connsiteX64" fmla="*/ 321755 w 3560636"/>
                  <a:gd name="connsiteY64" fmla="*/ 218408 h 535590"/>
                  <a:gd name="connsiteX65" fmla="*/ 338614 w 3560636"/>
                  <a:gd name="connsiteY65" fmla="*/ 218408 h 535590"/>
                  <a:gd name="connsiteX66" fmla="*/ 338614 w 3560636"/>
                  <a:gd name="connsiteY66" fmla="*/ 224409 h 535590"/>
                  <a:gd name="connsiteX67" fmla="*/ 365951 w 3560636"/>
                  <a:gd name="connsiteY67" fmla="*/ 224409 h 535590"/>
                  <a:gd name="connsiteX68" fmla="*/ 365951 w 3560636"/>
                  <a:gd name="connsiteY68" fmla="*/ 230505 h 535590"/>
                  <a:gd name="connsiteX69" fmla="*/ 368046 w 3560636"/>
                  <a:gd name="connsiteY69" fmla="*/ 230505 h 535590"/>
                  <a:gd name="connsiteX70" fmla="*/ 368046 w 3560636"/>
                  <a:gd name="connsiteY70" fmla="*/ 236601 h 535590"/>
                  <a:gd name="connsiteX71" fmla="*/ 378523 w 3560636"/>
                  <a:gd name="connsiteY71" fmla="*/ 236601 h 535590"/>
                  <a:gd name="connsiteX72" fmla="*/ 378523 w 3560636"/>
                  <a:gd name="connsiteY72" fmla="*/ 242601 h 535590"/>
                  <a:gd name="connsiteX73" fmla="*/ 384810 w 3560636"/>
                  <a:gd name="connsiteY73" fmla="*/ 242601 h 535590"/>
                  <a:gd name="connsiteX74" fmla="*/ 384810 w 3560636"/>
                  <a:gd name="connsiteY74" fmla="*/ 254793 h 535590"/>
                  <a:gd name="connsiteX75" fmla="*/ 393287 w 3560636"/>
                  <a:gd name="connsiteY75" fmla="*/ 254793 h 535590"/>
                  <a:gd name="connsiteX76" fmla="*/ 393287 w 3560636"/>
                  <a:gd name="connsiteY76" fmla="*/ 260794 h 535590"/>
                  <a:gd name="connsiteX77" fmla="*/ 399574 w 3560636"/>
                  <a:gd name="connsiteY77" fmla="*/ 260794 h 535590"/>
                  <a:gd name="connsiteX78" fmla="*/ 399574 w 3560636"/>
                  <a:gd name="connsiteY78" fmla="*/ 272986 h 535590"/>
                  <a:gd name="connsiteX79" fmla="*/ 401669 w 3560636"/>
                  <a:gd name="connsiteY79" fmla="*/ 272986 h 535590"/>
                  <a:gd name="connsiteX80" fmla="*/ 401669 w 3560636"/>
                  <a:gd name="connsiteY80" fmla="*/ 279082 h 535590"/>
                  <a:gd name="connsiteX81" fmla="*/ 414242 w 3560636"/>
                  <a:gd name="connsiteY81" fmla="*/ 279082 h 535590"/>
                  <a:gd name="connsiteX82" fmla="*/ 414242 w 3560636"/>
                  <a:gd name="connsiteY82" fmla="*/ 285083 h 535590"/>
                  <a:gd name="connsiteX83" fmla="*/ 437388 w 3560636"/>
                  <a:gd name="connsiteY83" fmla="*/ 285083 h 535590"/>
                  <a:gd name="connsiteX84" fmla="*/ 437388 w 3560636"/>
                  <a:gd name="connsiteY84" fmla="*/ 291179 h 535590"/>
                  <a:gd name="connsiteX85" fmla="*/ 443770 w 3560636"/>
                  <a:gd name="connsiteY85" fmla="*/ 291179 h 535590"/>
                  <a:gd name="connsiteX86" fmla="*/ 443770 w 3560636"/>
                  <a:gd name="connsiteY86" fmla="*/ 297275 h 535590"/>
                  <a:gd name="connsiteX87" fmla="*/ 452152 w 3560636"/>
                  <a:gd name="connsiteY87" fmla="*/ 297275 h 535590"/>
                  <a:gd name="connsiteX88" fmla="*/ 452152 w 3560636"/>
                  <a:gd name="connsiteY88" fmla="*/ 303276 h 535590"/>
                  <a:gd name="connsiteX89" fmla="*/ 460534 w 3560636"/>
                  <a:gd name="connsiteY89" fmla="*/ 303276 h 535590"/>
                  <a:gd name="connsiteX90" fmla="*/ 460534 w 3560636"/>
                  <a:gd name="connsiteY90" fmla="*/ 309372 h 535590"/>
                  <a:gd name="connsiteX91" fmla="*/ 464725 w 3560636"/>
                  <a:gd name="connsiteY91" fmla="*/ 309372 h 535590"/>
                  <a:gd name="connsiteX92" fmla="*/ 464725 w 3560636"/>
                  <a:gd name="connsiteY92" fmla="*/ 315468 h 535590"/>
                  <a:gd name="connsiteX93" fmla="*/ 538353 w 3560636"/>
                  <a:gd name="connsiteY93" fmla="*/ 315468 h 535590"/>
                  <a:gd name="connsiteX94" fmla="*/ 538353 w 3560636"/>
                  <a:gd name="connsiteY94" fmla="*/ 321468 h 535590"/>
                  <a:gd name="connsiteX95" fmla="*/ 559403 w 3560636"/>
                  <a:gd name="connsiteY95" fmla="*/ 321468 h 535590"/>
                  <a:gd name="connsiteX96" fmla="*/ 559403 w 3560636"/>
                  <a:gd name="connsiteY96" fmla="*/ 327564 h 535590"/>
                  <a:gd name="connsiteX97" fmla="*/ 565690 w 3560636"/>
                  <a:gd name="connsiteY97" fmla="*/ 327564 h 535590"/>
                  <a:gd name="connsiteX98" fmla="*/ 565690 w 3560636"/>
                  <a:gd name="connsiteY98" fmla="*/ 333660 h 535590"/>
                  <a:gd name="connsiteX99" fmla="*/ 607790 w 3560636"/>
                  <a:gd name="connsiteY99" fmla="*/ 333660 h 535590"/>
                  <a:gd name="connsiteX100" fmla="*/ 607790 w 3560636"/>
                  <a:gd name="connsiteY100" fmla="*/ 339661 h 535590"/>
                  <a:gd name="connsiteX101" fmla="*/ 622459 w 3560636"/>
                  <a:gd name="connsiteY101" fmla="*/ 339661 h 535590"/>
                  <a:gd name="connsiteX102" fmla="*/ 622459 w 3560636"/>
                  <a:gd name="connsiteY102" fmla="*/ 345757 h 535590"/>
                  <a:gd name="connsiteX103" fmla="*/ 651986 w 3560636"/>
                  <a:gd name="connsiteY103" fmla="*/ 345757 h 535590"/>
                  <a:gd name="connsiteX104" fmla="*/ 651986 w 3560636"/>
                  <a:gd name="connsiteY104" fmla="*/ 351853 h 535590"/>
                  <a:gd name="connsiteX105" fmla="*/ 654082 w 3560636"/>
                  <a:gd name="connsiteY105" fmla="*/ 351853 h 535590"/>
                  <a:gd name="connsiteX106" fmla="*/ 654082 w 3560636"/>
                  <a:gd name="connsiteY106" fmla="*/ 357854 h 535590"/>
                  <a:gd name="connsiteX107" fmla="*/ 677132 w 3560636"/>
                  <a:gd name="connsiteY107" fmla="*/ 357854 h 535590"/>
                  <a:gd name="connsiteX108" fmla="*/ 677132 w 3560636"/>
                  <a:gd name="connsiteY108" fmla="*/ 363950 h 535590"/>
                  <a:gd name="connsiteX109" fmla="*/ 689801 w 3560636"/>
                  <a:gd name="connsiteY109" fmla="*/ 363950 h 535590"/>
                  <a:gd name="connsiteX110" fmla="*/ 689801 w 3560636"/>
                  <a:gd name="connsiteY110" fmla="*/ 370046 h 535590"/>
                  <a:gd name="connsiteX111" fmla="*/ 725519 w 3560636"/>
                  <a:gd name="connsiteY111" fmla="*/ 370046 h 535590"/>
                  <a:gd name="connsiteX112" fmla="*/ 725519 w 3560636"/>
                  <a:gd name="connsiteY112" fmla="*/ 376142 h 535590"/>
                  <a:gd name="connsiteX113" fmla="*/ 841248 w 3560636"/>
                  <a:gd name="connsiteY113" fmla="*/ 376142 h 535590"/>
                  <a:gd name="connsiteX114" fmla="*/ 841248 w 3560636"/>
                  <a:gd name="connsiteY114" fmla="*/ 382143 h 535590"/>
                  <a:gd name="connsiteX115" fmla="*/ 879062 w 3560636"/>
                  <a:gd name="connsiteY115" fmla="*/ 382143 h 535590"/>
                  <a:gd name="connsiteX116" fmla="*/ 879062 w 3560636"/>
                  <a:gd name="connsiteY116" fmla="*/ 388334 h 535590"/>
                  <a:gd name="connsiteX117" fmla="*/ 931640 w 3560636"/>
                  <a:gd name="connsiteY117" fmla="*/ 388334 h 535590"/>
                  <a:gd name="connsiteX118" fmla="*/ 931640 w 3560636"/>
                  <a:gd name="connsiteY118" fmla="*/ 394430 h 535590"/>
                  <a:gd name="connsiteX119" fmla="*/ 950595 w 3560636"/>
                  <a:gd name="connsiteY119" fmla="*/ 394430 h 535590"/>
                  <a:gd name="connsiteX120" fmla="*/ 950595 w 3560636"/>
                  <a:gd name="connsiteY120" fmla="*/ 400526 h 535590"/>
                  <a:gd name="connsiteX121" fmla="*/ 961073 w 3560636"/>
                  <a:gd name="connsiteY121" fmla="*/ 400526 h 535590"/>
                  <a:gd name="connsiteX122" fmla="*/ 961073 w 3560636"/>
                  <a:gd name="connsiteY122" fmla="*/ 406717 h 535590"/>
                  <a:gd name="connsiteX123" fmla="*/ 994791 w 3560636"/>
                  <a:gd name="connsiteY123" fmla="*/ 406717 h 535590"/>
                  <a:gd name="connsiteX124" fmla="*/ 994791 w 3560636"/>
                  <a:gd name="connsiteY124" fmla="*/ 412813 h 535590"/>
                  <a:gd name="connsiteX125" fmla="*/ 1001078 w 3560636"/>
                  <a:gd name="connsiteY125" fmla="*/ 412813 h 535590"/>
                  <a:gd name="connsiteX126" fmla="*/ 1001078 w 3560636"/>
                  <a:gd name="connsiteY126" fmla="*/ 418909 h 535590"/>
                  <a:gd name="connsiteX127" fmla="*/ 1015746 w 3560636"/>
                  <a:gd name="connsiteY127" fmla="*/ 418909 h 535590"/>
                  <a:gd name="connsiteX128" fmla="*/ 1015746 w 3560636"/>
                  <a:gd name="connsiteY128" fmla="*/ 425005 h 535590"/>
                  <a:gd name="connsiteX129" fmla="*/ 1028414 w 3560636"/>
                  <a:gd name="connsiteY129" fmla="*/ 425005 h 535590"/>
                  <a:gd name="connsiteX130" fmla="*/ 1028414 w 3560636"/>
                  <a:gd name="connsiteY130" fmla="*/ 431196 h 535590"/>
                  <a:gd name="connsiteX131" fmla="*/ 1053656 w 3560636"/>
                  <a:gd name="connsiteY131" fmla="*/ 431196 h 535590"/>
                  <a:gd name="connsiteX132" fmla="*/ 1053656 w 3560636"/>
                  <a:gd name="connsiteY132" fmla="*/ 437292 h 535590"/>
                  <a:gd name="connsiteX133" fmla="*/ 1282922 w 3560636"/>
                  <a:gd name="connsiteY133" fmla="*/ 437292 h 535590"/>
                  <a:gd name="connsiteX134" fmla="*/ 1282922 w 3560636"/>
                  <a:gd name="connsiteY134" fmla="*/ 443484 h 535590"/>
                  <a:gd name="connsiteX135" fmla="*/ 1396460 w 3560636"/>
                  <a:gd name="connsiteY135" fmla="*/ 443484 h 535590"/>
                  <a:gd name="connsiteX136" fmla="*/ 1396460 w 3560636"/>
                  <a:gd name="connsiteY136" fmla="*/ 449675 h 535590"/>
                  <a:gd name="connsiteX137" fmla="*/ 1665637 w 3560636"/>
                  <a:gd name="connsiteY137" fmla="*/ 449675 h 535590"/>
                  <a:gd name="connsiteX138" fmla="*/ 1665637 w 3560636"/>
                  <a:gd name="connsiteY138" fmla="*/ 455961 h 535590"/>
                  <a:gd name="connsiteX139" fmla="*/ 1739265 w 3560636"/>
                  <a:gd name="connsiteY139" fmla="*/ 455961 h 535590"/>
                  <a:gd name="connsiteX140" fmla="*/ 1739265 w 3560636"/>
                  <a:gd name="connsiteY140" fmla="*/ 462248 h 535590"/>
                  <a:gd name="connsiteX141" fmla="*/ 1819180 w 3560636"/>
                  <a:gd name="connsiteY141" fmla="*/ 462248 h 535590"/>
                  <a:gd name="connsiteX142" fmla="*/ 1819180 w 3560636"/>
                  <a:gd name="connsiteY142" fmla="*/ 468534 h 535590"/>
                  <a:gd name="connsiteX143" fmla="*/ 1981105 w 3560636"/>
                  <a:gd name="connsiteY143" fmla="*/ 468534 h 535590"/>
                  <a:gd name="connsiteX144" fmla="*/ 1981105 w 3560636"/>
                  <a:gd name="connsiteY144" fmla="*/ 475011 h 535590"/>
                  <a:gd name="connsiteX145" fmla="*/ 1997964 w 3560636"/>
                  <a:gd name="connsiteY145" fmla="*/ 475011 h 535590"/>
                  <a:gd name="connsiteX146" fmla="*/ 1997964 w 3560636"/>
                  <a:gd name="connsiteY146" fmla="*/ 481393 h 535590"/>
                  <a:gd name="connsiteX147" fmla="*/ 2115788 w 3560636"/>
                  <a:gd name="connsiteY147" fmla="*/ 481393 h 535590"/>
                  <a:gd name="connsiteX148" fmla="*/ 2115788 w 3560636"/>
                  <a:gd name="connsiteY148" fmla="*/ 487870 h 535590"/>
                  <a:gd name="connsiteX149" fmla="*/ 2208276 w 3560636"/>
                  <a:gd name="connsiteY149" fmla="*/ 487870 h 535590"/>
                  <a:gd name="connsiteX150" fmla="*/ 2208276 w 3560636"/>
                  <a:gd name="connsiteY150" fmla="*/ 494252 h 535590"/>
                  <a:gd name="connsiteX151" fmla="*/ 2227231 w 3560636"/>
                  <a:gd name="connsiteY151" fmla="*/ 494252 h 535590"/>
                  <a:gd name="connsiteX152" fmla="*/ 2227231 w 3560636"/>
                  <a:gd name="connsiteY152" fmla="*/ 500729 h 535590"/>
                  <a:gd name="connsiteX153" fmla="*/ 3081052 w 3560636"/>
                  <a:gd name="connsiteY153" fmla="*/ 500729 h 535590"/>
                  <a:gd name="connsiteX154" fmla="*/ 3081052 w 3560636"/>
                  <a:gd name="connsiteY154" fmla="*/ 535590 h 535590"/>
                  <a:gd name="connsiteX155" fmla="*/ 3560636 w 3560636"/>
                  <a:gd name="connsiteY155" fmla="*/ 535590 h 535590"/>
                  <a:gd name="connsiteX0" fmla="*/ 0 w 3550159"/>
                  <a:gd name="connsiteY0" fmla="*/ 0 h 535590"/>
                  <a:gd name="connsiteX1" fmla="*/ 0 w 3550159"/>
                  <a:gd name="connsiteY1" fmla="*/ 6096 h 535590"/>
                  <a:gd name="connsiteX2" fmla="*/ 6287 w 3550159"/>
                  <a:gd name="connsiteY2" fmla="*/ 6096 h 535590"/>
                  <a:gd name="connsiteX3" fmla="*/ 6287 w 3550159"/>
                  <a:gd name="connsiteY3" fmla="*/ 12096 h 535590"/>
                  <a:gd name="connsiteX4" fmla="*/ 21051 w 3550159"/>
                  <a:gd name="connsiteY4" fmla="*/ 12096 h 535590"/>
                  <a:gd name="connsiteX5" fmla="*/ 21051 w 3550159"/>
                  <a:gd name="connsiteY5" fmla="*/ 18192 h 535590"/>
                  <a:gd name="connsiteX6" fmla="*/ 29433 w 3550159"/>
                  <a:gd name="connsiteY6" fmla="*/ 18192 h 535590"/>
                  <a:gd name="connsiteX7" fmla="*/ 29433 w 3550159"/>
                  <a:gd name="connsiteY7" fmla="*/ 24288 h 535590"/>
                  <a:gd name="connsiteX8" fmla="*/ 40006 w 3550159"/>
                  <a:gd name="connsiteY8" fmla="*/ 24288 h 535590"/>
                  <a:gd name="connsiteX9" fmla="*/ 40006 w 3550159"/>
                  <a:gd name="connsiteY9" fmla="*/ 30289 h 535590"/>
                  <a:gd name="connsiteX10" fmla="*/ 52579 w 3550159"/>
                  <a:gd name="connsiteY10" fmla="*/ 30289 h 535590"/>
                  <a:gd name="connsiteX11" fmla="*/ 52579 w 3550159"/>
                  <a:gd name="connsiteY11" fmla="*/ 36385 h 535590"/>
                  <a:gd name="connsiteX12" fmla="*/ 58865 w 3550159"/>
                  <a:gd name="connsiteY12" fmla="*/ 36385 h 535590"/>
                  <a:gd name="connsiteX13" fmla="*/ 58865 w 3550159"/>
                  <a:gd name="connsiteY13" fmla="*/ 48482 h 535590"/>
                  <a:gd name="connsiteX14" fmla="*/ 63056 w 3550159"/>
                  <a:gd name="connsiteY14" fmla="*/ 48482 h 535590"/>
                  <a:gd name="connsiteX15" fmla="*/ 63056 w 3550159"/>
                  <a:gd name="connsiteY15" fmla="*/ 54578 h 535590"/>
                  <a:gd name="connsiteX16" fmla="*/ 75724 w 3550159"/>
                  <a:gd name="connsiteY16" fmla="*/ 54578 h 535590"/>
                  <a:gd name="connsiteX17" fmla="*/ 75724 w 3550159"/>
                  <a:gd name="connsiteY17" fmla="*/ 60674 h 535590"/>
                  <a:gd name="connsiteX18" fmla="*/ 90393 w 3550159"/>
                  <a:gd name="connsiteY18" fmla="*/ 60674 h 535590"/>
                  <a:gd name="connsiteX19" fmla="*/ 90393 w 3550159"/>
                  <a:gd name="connsiteY19" fmla="*/ 66675 h 535590"/>
                  <a:gd name="connsiteX20" fmla="*/ 94679 w 3550159"/>
                  <a:gd name="connsiteY20" fmla="*/ 66675 h 535590"/>
                  <a:gd name="connsiteX21" fmla="*/ 94679 w 3550159"/>
                  <a:gd name="connsiteY21" fmla="*/ 72771 h 535590"/>
                  <a:gd name="connsiteX22" fmla="*/ 105156 w 3550159"/>
                  <a:gd name="connsiteY22" fmla="*/ 72771 h 535590"/>
                  <a:gd name="connsiteX23" fmla="*/ 105156 w 3550159"/>
                  <a:gd name="connsiteY23" fmla="*/ 78867 h 535590"/>
                  <a:gd name="connsiteX24" fmla="*/ 113539 w 3550159"/>
                  <a:gd name="connsiteY24" fmla="*/ 78867 h 535590"/>
                  <a:gd name="connsiteX25" fmla="*/ 113539 w 3550159"/>
                  <a:gd name="connsiteY25" fmla="*/ 84963 h 535590"/>
                  <a:gd name="connsiteX26" fmla="*/ 128302 w 3550159"/>
                  <a:gd name="connsiteY26" fmla="*/ 84963 h 535590"/>
                  <a:gd name="connsiteX27" fmla="*/ 128302 w 3550159"/>
                  <a:gd name="connsiteY27" fmla="*/ 90963 h 535590"/>
                  <a:gd name="connsiteX28" fmla="*/ 132493 w 3550159"/>
                  <a:gd name="connsiteY28" fmla="*/ 90963 h 535590"/>
                  <a:gd name="connsiteX29" fmla="*/ 132493 w 3550159"/>
                  <a:gd name="connsiteY29" fmla="*/ 97059 h 535590"/>
                  <a:gd name="connsiteX30" fmla="*/ 136684 w 3550159"/>
                  <a:gd name="connsiteY30" fmla="*/ 97059 h 535590"/>
                  <a:gd name="connsiteX31" fmla="*/ 136684 w 3550159"/>
                  <a:gd name="connsiteY31" fmla="*/ 103155 h 535590"/>
                  <a:gd name="connsiteX32" fmla="*/ 149353 w 3550159"/>
                  <a:gd name="connsiteY32" fmla="*/ 103155 h 535590"/>
                  <a:gd name="connsiteX33" fmla="*/ 149353 w 3550159"/>
                  <a:gd name="connsiteY33" fmla="*/ 109156 h 535590"/>
                  <a:gd name="connsiteX34" fmla="*/ 178785 w 3550159"/>
                  <a:gd name="connsiteY34" fmla="*/ 109156 h 535590"/>
                  <a:gd name="connsiteX35" fmla="*/ 178785 w 3550159"/>
                  <a:gd name="connsiteY35" fmla="*/ 115252 h 535590"/>
                  <a:gd name="connsiteX36" fmla="*/ 187167 w 3550159"/>
                  <a:gd name="connsiteY36" fmla="*/ 115252 h 535590"/>
                  <a:gd name="connsiteX37" fmla="*/ 187167 w 3550159"/>
                  <a:gd name="connsiteY37" fmla="*/ 121348 h 535590"/>
                  <a:gd name="connsiteX38" fmla="*/ 189262 w 3550159"/>
                  <a:gd name="connsiteY38" fmla="*/ 121348 h 535590"/>
                  <a:gd name="connsiteX39" fmla="*/ 189262 w 3550159"/>
                  <a:gd name="connsiteY39" fmla="*/ 127349 h 535590"/>
                  <a:gd name="connsiteX40" fmla="*/ 204026 w 3550159"/>
                  <a:gd name="connsiteY40" fmla="*/ 127349 h 535590"/>
                  <a:gd name="connsiteX41" fmla="*/ 204026 w 3550159"/>
                  <a:gd name="connsiteY41" fmla="*/ 139541 h 535590"/>
                  <a:gd name="connsiteX42" fmla="*/ 206122 w 3550159"/>
                  <a:gd name="connsiteY42" fmla="*/ 139541 h 535590"/>
                  <a:gd name="connsiteX43" fmla="*/ 206122 w 3550159"/>
                  <a:gd name="connsiteY43" fmla="*/ 145542 h 535590"/>
                  <a:gd name="connsiteX44" fmla="*/ 212408 w 3550159"/>
                  <a:gd name="connsiteY44" fmla="*/ 145542 h 535590"/>
                  <a:gd name="connsiteX45" fmla="*/ 212408 w 3550159"/>
                  <a:gd name="connsiteY45" fmla="*/ 151638 h 535590"/>
                  <a:gd name="connsiteX46" fmla="*/ 216599 w 3550159"/>
                  <a:gd name="connsiteY46" fmla="*/ 151638 h 535590"/>
                  <a:gd name="connsiteX47" fmla="*/ 216599 w 3550159"/>
                  <a:gd name="connsiteY47" fmla="*/ 157734 h 535590"/>
                  <a:gd name="connsiteX48" fmla="*/ 233458 w 3550159"/>
                  <a:gd name="connsiteY48" fmla="*/ 157734 h 535590"/>
                  <a:gd name="connsiteX49" fmla="*/ 233458 w 3550159"/>
                  <a:gd name="connsiteY49" fmla="*/ 169830 h 535590"/>
                  <a:gd name="connsiteX50" fmla="*/ 237649 w 3550159"/>
                  <a:gd name="connsiteY50" fmla="*/ 169830 h 535590"/>
                  <a:gd name="connsiteX51" fmla="*/ 237649 w 3550159"/>
                  <a:gd name="connsiteY51" fmla="*/ 175926 h 535590"/>
                  <a:gd name="connsiteX52" fmla="*/ 260795 w 3550159"/>
                  <a:gd name="connsiteY52" fmla="*/ 175926 h 535590"/>
                  <a:gd name="connsiteX53" fmla="*/ 260795 w 3550159"/>
                  <a:gd name="connsiteY53" fmla="*/ 182022 h 535590"/>
                  <a:gd name="connsiteX54" fmla="*/ 264986 w 3550159"/>
                  <a:gd name="connsiteY54" fmla="*/ 182022 h 535590"/>
                  <a:gd name="connsiteX55" fmla="*/ 264986 w 3550159"/>
                  <a:gd name="connsiteY55" fmla="*/ 188023 h 535590"/>
                  <a:gd name="connsiteX56" fmla="*/ 271273 w 3550159"/>
                  <a:gd name="connsiteY56" fmla="*/ 188023 h 535590"/>
                  <a:gd name="connsiteX57" fmla="*/ 271273 w 3550159"/>
                  <a:gd name="connsiteY57" fmla="*/ 200215 h 535590"/>
                  <a:gd name="connsiteX58" fmla="*/ 290227 w 3550159"/>
                  <a:gd name="connsiteY58" fmla="*/ 200215 h 535590"/>
                  <a:gd name="connsiteX59" fmla="*/ 290227 w 3550159"/>
                  <a:gd name="connsiteY59" fmla="*/ 206216 h 535590"/>
                  <a:gd name="connsiteX60" fmla="*/ 298609 w 3550159"/>
                  <a:gd name="connsiteY60" fmla="*/ 206216 h 535590"/>
                  <a:gd name="connsiteX61" fmla="*/ 298609 w 3550159"/>
                  <a:gd name="connsiteY61" fmla="*/ 212312 h 535590"/>
                  <a:gd name="connsiteX62" fmla="*/ 311278 w 3550159"/>
                  <a:gd name="connsiteY62" fmla="*/ 212312 h 535590"/>
                  <a:gd name="connsiteX63" fmla="*/ 311278 w 3550159"/>
                  <a:gd name="connsiteY63" fmla="*/ 218408 h 535590"/>
                  <a:gd name="connsiteX64" fmla="*/ 328137 w 3550159"/>
                  <a:gd name="connsiteY64" fmla="*/ 218408 h 535590"/>
                  <a:gd name="connsiteX65" fmla="*/ 328137 w 3550159"/>
                  <a:gd name="connsiteY65" fmla="*/ 224409 h 535590"/>
                  <a:gd name="connsiteX66" fmla="*/ 355474 w 3550159"/>
                  <a:gd name="connsiteY66" fmla="*/ 224409 h 535590"/>
                  <a:gd name="connsiteX67" fmla="*/ 355474 w 3550159"/>
                  <a:gd name="connsiteY67" fmla="*/ 230505 h 535590"/>
                  <a:gd name="connsiteX68" fmla="*/ 357569 w 3550159"/>
                  <a:gd name="connsiteY68" fmla="*/ 230505 h 535590"/>
                  <a:gd name="connsiteX69" fmla="*/ 357569 w 3550159"/>
                  <a:gd name="connsiteY69" fmla="*/ 236601 h 535590"/>
                  <a:gd name="connsiteX70" fmla="*/ 368046 w 3550159"/>
                  <a:gd name="connsiteY70" fmla="*/ 236601 h 535590"/>
                  <a:gd name="connsiteX71" fmla="*/ 368046 w 3550159"/>
                  <a:gd name="connsiteY71" fmla="*/ 242601 h 535590"/>
                  <a:gd name="connsiteX72" fmla="*/ 374333 w 3550159"/>
                  <a:gd name="connsiteY72" fmla="*/ 242601 h 535590"/>
                  <a:gd name="connsiteX73" fmla="*/ 374333 w 3550159"/>
                  <a:gd name="connsiteY73" fmla="*/ 254793 h 535590"/>
                  <a:gd name="connsiteX74" fmla="*/ 382810 w 3550159"/>
                  <a:gd name="connsiteY74" fmla="*/ 254793 h 535590"/>
                  <a:gd name="connsiteX75" fmla="*/ 382810 w 3550159"/>
                  <a:gd name="connsiteY75" fmla="*/ 260794 h 535590"/>
                  <a:gd name="connsiteX76" fmla="*/ 389097 w 3550159"/>
                  <a:gd name="connsiteY76" fmla="*/ 260794 h 535590"/>
                  <a:gd name="connsiteX77" fmla="*/ 389097 w 3550159"/>
                  <a:gd name="connsiteY77" fmla="*/ 272986 h 535590"/>
                  <a:gd name="connsiteX78" fmla="*/ 391192 w 3550159"/>
                  <a:gd name="connsiteY78" fmla="*/ 272986 h 535590"/>
                  <a:gd name="connsiteX79" fmla="*/ 391192 w 3550159"/>
                  <a:gd name="connsiteY79" fmla="*/ 279082 h 535590"/>
                  <a:gd name="connsiteX80" fmla="*/ 403765 w 3550159"/>
                  <a:gd name="connsiteY80" fmla="*/ 279082 h 535590"/>
                  <a:gd name="connsiteX81" fmla="*/ 403765 w 3550159"/>
                  <a:gd name="connsiteY81" fmla="*/ 285083 h 535590"/>
                  <a:gd name="connsiteX82" fmla="*/ 426911 w 3550159"/>
                  <a:gd name="connsiteY82" fmla="*/ 285083 h 535590"/>
                  <a:gd name="connsiteX83" fmla="*/ 426911 w 3550159"/>
                  <a:gd name="connsiteY83" fmla="*/ 291179 h 535590"/>
                  <a:gd name="connsiteX84" fmla="*/ 433293 w 3550159"/>
                  <a:gd name="connsiteY84" fmla="*/ 291179 h 535590"/>
                  <a:gd name="connsiteX85" fmla="*/ 433293 w 3550159"/>
                  <a:gd name="connsiteY85" fmla="*/ 297275 h 535590"/>
                  <a:gd name="connsiteX86" fmla="*/ 441675 w 3550159"/>
                  <a:gd name="connsiteY86" fmla="*/ 297275 h 535590"/>
                  <a:gd name="connsiteX87" fmla="*/ 441675 w 3550159"/>
                  <a:gd name="connsiteY87" fmla="*/ 303276 h 535590"/>
                  <a:gd name="connsiteX88" fmla="*/ 450057 w 3550159"/>
                  <a:gd name="connsiteY88" fmla="*/ 303276 h 535590"/>
                  <a:gd name="connsiteX89" fmla="*/ 450057 w 3550159"/>
                  <a:gd name="connsiteY89" fmla="*/ 309372 h 535590"/>
                  <a:gd name="connsiteX90" fmla="*/ 454248 w 3550159"/>
                  <a:gd name="connsiteY90" fmla="*/ 309372 h 535590"/>
                  <a:gd name="connsiteX91" fmla="*/ 454248 w 3550159"/>
                  <a:gd name="connsiteY91" fmla="*/ 315468 h 535590"/>
                  <a:gd name="connsiteX92" fmla="*/ 527876 w 3550159"/>
                  <a:gd name="connsiteY92" fmla="*/ 315468 h 535590"/>
                  <a:gd name="connsiteX93" fmla="*/ 527876 w 3550159"/>
                  <a:gd name="connsiteY93" fmla="*/ 321468 h 535590"/>
                  <a:gd name="connsiteX94" fmla="*/ 548926 w 3550159"/>
                  <a:gd name="connsiteY94" fmla="*/ 321468 h 535590"/>
                  <a:gd name="connsiteX95" fmla="*/ 548926 w 3550159"/>
                  <a:gd name="connsiteY95" fmla="*/ 327564 h 535590"/>
                  <a:gd name="connsiteX96" fmla="*/ 555213 w 3550159"/>
                  <a:gd name="connsiteY96" fmla="*/ 327564 h 535590"/>
                  <a:gd name="connsiteX97" fmla="*/ 555213 w 3550159"/>
                  <a:gd name="connsiteY97" fmla="*/ 333660 h 535590"/>
                  <a:gd name="connsiteX98" fmla="*/ 597313 w 3550159"/>
                  <a:gd name="connsiteY98" fmla="*/ 333660 h 535590"/>
                  <a:gd name="connsiteX99" fmla="*/ 597313 w 3550159"/>
                  <a:gd name="connsiteY99" fmla="*/ 339661 h 535590"/>
                  <a:gd name="connsiteX100" fmla="*/ 611982 w 3550159"/>
                  <a:gd name="connsiteY100" fmla="*/ 339661 h 535590"/>
                  <a:gd name="connsiteX101" fmla="*/ 611982 w 3550159"/>
                  <a:gd name="connsiteY101" fmla="*/ 345757 h 535590"/>
                  <a:gd name="connsiteX102" fmla="*/ 641509 w 3550159"/>
                  <a:gd name="connsiteY102" fmla="*/ 345757 h 535590"/>
                  <a:gd name="connsiteX103" fmla="*/ 641509 w 3550159"/>
                  <a:gd name="connsiteY103" fmla="*/ 351853 h 535590"/>
                  <a:gd name="connsiteX104" fmla="*/ 643605 w 3550159"/>
                  <a:gd name="connsiteY104" fmla="*/ 351853 h 535590"/>
                  <a:gd name="connsiteX105" fmla="*/ 643605 w 3550159"/>
                  <a:gd name="connsiteY105" fmla="*/ 357854 h 535590"/>
                  <a:gd name="connsiteX106" fmla="*/ 666655 w 3550159"/>
                  <a:gd name="connsiteY106" fmla="*/ 357854 h 535590"/>
                  <a:gd name="connsiteX107" fmla="*/ 666655 w 3550159"/>
                  <a:gd name="connsiteY107" fmla="*/ 363950 h 535590"/>
                  <a:gd name="connsiteX108" fmla="*/ 679324 w 3550159"/>
                  <a:gd name="connsiteY108" fmla="*/ 363950 h 535590"/>
                  <a:gd name="connsiteX109" fmla="*/ 679324 w 3550159"/>
                  <a:gd name="connsiteY109" fmla="*/ 370046 h 535590"/>
                  <a:gd name="connsiteX110" fmla="*/ 715042 w 3550159"/>
                  <a:gd name="connsiteY110" fmla="*/ 370046 h 535590"/>
                  <a:gd name="connsiteX111" fmla="*/ 715042 w 3550159"/>
                  <a:gd name="connsiteY111" fmla="*/ 376142 h 535590"/>
                  <a:gd name="connsiteX112" fmla="*/ 830771 w 3550159"/>
                  <a:gd name="connsiteY112" fmla="*/ 376142 h 535590"/>
                  <a:gd name="connsiteX113" fmla="*/ 830771 w 3550159"/>
                  <a:gd name="connsiteY113" fmla="*/ 382143 h 535590"/>
                  <a:gd name="connsiteX114" fmla="*/ 868585 w 3550159"/>
                  <a:gd name="connsiteY114" fmla="*/ 382143 h 535590"/>
                  <a:gd name="connsiteX115" fmla="*/ 868585 w 3550159"/>
                  <a:gd name="connsiteY115" fmla="*/ 388334 h 535590"/>
                  <a:gd name="connsiteX116" fmla="*/ 921163 w 3550159"/>
                  <a:gd name="connsiteY116" fmla="*/ 388334 h 535590"/>
                  <a:gd name="connsiteX117" fmla="*/ 921163 w 3550159"/>
                  <a:gd name="connsiteY117" fmla="*/ 394430 h 535590"/>
                  <a:gd name="connsiteX118" fmla="*/ 940118 w 3550159"/>
                  <a:gd name="connsiteY118" fmla="*/ 394430 h 535590"/>
                  <a:gd name="connsiteX119" fmla="*/ 940118 w 3550159"/>
                  <a:gd name="connsiteY119" fmla="*/ 400526 h 535590"/>
                  <a:gd name="connsiteX120" fmla="*/ 950596 w 3550159"/>
                  <a:gd name="connsiteY120" fmla="*/ 400526 h 535590"/>
                  <a:gd name="connsiteX121" fmla="*/ 950596 w 3550159"/>
                  <a:gd name="connsiteY121" fmla="*/ 406717 h 535590"/>
                  <a:gd name="connsiteX122" fmla="*/ 984314 w 3550159"/>
                  <a:gd name="connsiteY122" fmla="*/ 406717 h 535590"/>
                  <a:gd name="connsiteX123" fmla="*/ 984314 w 3550159"/>
                  <a:gd name="connsiteY123" fmla="*/ 412813 h 535590"/>
                  <a:gd name="connsiteX124" fmla="*/ 990601 w 3550159"/>
                  <a:gd name="connsiteY124" fmla="*/ 412813 h 535590"/>
                  <a:gd name="connsiteX125" fmla="*/ 990601 w 3550159"/>
                  <a:gd name="connsiteY125" fmla="*/ 418909 h 535590"/>
                  <a:gd name="connsiteX126" fmla="*/ 1005269 w 3550159"/>
                  <a:gd name="connsiteY126" fmla="*/ 418909 h 535590"/>
                  <a:gd name="connsiteX127" fmla="*/ 1005269 w 3550159"/>
                  <a:gd name="connsiteY127" fmla="*/ 425005 h 535590"/>
                  <a:gd name="connsiteX128" fmla="*/ 1017937 w 3550159"/>
                  <a:gd name="connsiteY128" fmla="*/ 425005 h 535590"/>
                  <a:gd name="connsiteX129" fmla="*/ 1017937 w 3550159"/>
                  <a:gd name="connsiteY129" fmla="*/ 431196 h 535590"/>
                  <a:gd name="connsiteX130" fmla="*/ 1043179 w 3550159"/>
                  <a:gd name="connsiteY130" fmla="*/ 431196 h 535590"/>
                  <a:gd name="connsiteX131" fmla="*/ 1043179 w 3550159"/>
                  <a:gd name="connsiteY131" fmla="*/ 437292 h 535590"/>
                  <a:gd name="connsiteX132" fmla="*/ 1272445 w 3550159"/>
                  <a:gd name="connsiteY132" fmla="*/ 437292 h 535590"/>
                  <a:gd name="connsiteX133" fmla="*/ 1272445 w 3550159"/>
                  <a:gd name="connsiteY133" fmla="*/ 443484 h 535590"/>
                  <a:gd name="connsiteX134" fmla="*/ 1385983 w 3550159"/>
                  <a:gd name="connsiteY134" fmla="*/ 443484 h 535590"/>
                  <a:gd name="connsiteX135" fmla="*/ 1385983 w 3550159"/>
                  <a:gd name="connsiteY135" fmla="*/ 449675 h 535590"/>
                  <a:gd name="connsiteX136" fmla="*/ 1655160 w 3550159"/>
                  <a:gd name="connsiteY136" fmla="*/ 449675 h 535590"/>
                  <a:gd name="connsiteX137" fmla="*/ 1655160 w 3550159"/>
                  <a:gd name="connsiteY137" fmla="*/ 455961 h 535590"/>
                  <a:gd name="connsiteX138" fmla="*/ 1728788 w 3550159"/>
                  <a:gd name="connsiteY138" fmla="*/ 455961 h 535590"/>
                  <a:gd name="connsiteX139" fmla="*/ 1728788 w 3550159"/>
                  <a:gd name="connsiteY139" fmla="*/ 462248 h 535590"/>
                  <a:gd name="connsiteX140" fmla="*/ 1808703 w 3550159"/>
                  <a:gd name="connsiteY140" fmla="*/ 462248 h 535590"/>
                  <a:gd name="connsiteX141" fmla="*/ 1808703 w 3550159"/>
                  <a:gd name="connsiteY141" fmla="*/ 468534 h 535590"/>
                  <a:gd name="connsiteX142" fmla="*/ 1970628 w 3550159"/>
                  <a:gd name="connsiteY142" fmla="*/ 468534 h 535590"/>
                  <a:gd name="connsiteX143" fmla="*/ 1970628 w 3550159"/>
                  <a:gd name="connsiteY143" fmla="*/ 475011 h 535590"/>
                  <a:gd name="connsiteX144" fmla="*/ 1987487 w 3550159"/>
                  <a:gd name="connsiteY144" fmla="*/ 475011 h 535590"/>
                  <a:gd name="connsiteX145" fmla="*/ 1987487 w 3550159"/>
                  <a:gd name="connsiteY145" fmla="*/ 481393 h 535590"/>
                  <a:gd name="connsiteX146" fmla="*/ 2105311 w 3550159"/>
                  <a:gd name="connsiteY146" fmla="*/ 481393 h 535590"/>
                  <a:gd name="connsiteX147" fmla="*/ 2105311 w 3550159"/>
                  <a:gd name="connsiteY147" fmla="*/ 487870 h 535590"/>
                  <a:gd name="connsiteX148" fmla="*/ 2197799 w 3550159"/>
                  <a:gd name="connsiteY148" fmla="*/ 487870 h 535590"/>
                  <a:gd name="connsiteX149" fmla="*/ 2197799 w 3550159"/>
                  <a:gd name="connsiteY149" fmla="*/ 494252 h 535590"/>
                  <a:gd name="connsiteX150" fmla="*/ 2216754 w 3550159"/>
                  <a:gd name="connsiteY150" fmla="*/ 494252 h 535590"/>
                  <a:gd name="connsiteX151" fmla="*/ 2216754 w 3550159"/>
                  <a:gd name="connsiteY151" fmla="*/ 500729 h 535590"/>
                  <a:gd name="connsiteX152" fmla="*/ 3070575 w 3550159"/>
                  <a:gd name="connsiteY152" fmla="*/ 500729 h 535590"/>
                  <a:gd name="connsiteX153" fmla="*/ 3070575 w 3550159"/>
                  <a:gd name="connsiteY153" fmla="*/ 535590 h 535590"/>
                  <a:gd name="connsiteX154" fmla="*/ 3550159 w 3550159"/>
                  <a:gd name="connsiteY154" fmla="*/ 535590 h 535590"/>
                  <a:gd name="connsiteX0" fmla="*/ 0 w 3550159"/>
                  <a:gd name="connsiteY0" fmla="*/ 0 h 529494"/>
                  <a:gd name="connsiteX1" fmla="*/ 6287 w 3550159"/>
                  <a:gd name="connsiteY1" fmla="*/ 0 h 529494"/>
                  <a:gd name="connsiteX2" fmla="*/ 6287 w 3550159"/>
                  <a:gd name="connsiteY2" fmla="*/ 6000 h 529494"/>
                  <a:gd name="connsiteX3" fmla="*/ 21051 w 3550159"/>
                  <a:gd name="connsiteY3" fmla="*/ 6000 h 529494"/>
                  <a:gd name="connsiteX4" fmla="*/ 21051 w 3550159"/>
                  <a:gd name="connsiteY4" fmla="*/ 12096 h 529494"/>
                  <a:gd name="connsiteX5" fmla="*/ 29433 w 3550159"/>
                  <a:gd name="connsiteY5" fmla="*/ 12096 h 529494"/>
                  <a:gd name="connsiteX6" fmla="*/ 29433 w 3550159"/>
                  <a:gd name="connsiteY6" fmla="*/ 18192 h 529494"/>
                  <a:gd name="connsiteX7" fmla="*/ 40006 w 3550159"/>
                  <a:gd name="connsiteY7" fmla="*/ 18192 h 529494"/>
                  <a:gd name="connsiteX8" fmla="*/ 40006 w 3550159"/>
                  <a:gd name="connsiteY8" fmla="*/ 24193 h 529494"/>
                  <a:gd name="connsiteX9" fmla="*/ 52579 w 3550159"/>
                  <a:gd name="connsiteY9" fmla="*/ 24193 h 529494"/>
                  <a:gd name="connsiteX10" fmla="*/ 52579 w 3550159"/>
                  <a:gd name="connsiteY10" fmla="*/ 30289 h 529494"/>
                  <a:gd name="connsiteX11" fmla="*/ 58865 w 3550159"/>
                  <a:gd name="connsiteY11" fmla="*/ 30289 h 529494"/>
                  <a:gd name="connsiteX12" fmla="*/ 58865 w 3550159"/>
                  <a:gd name="connsiteY12" fmla="*/ 42386 h 529494"/>
                  <a:gd name="connsiteX13" fmla="*/ 63056 w 3550159"/>
                  <a:gd name="connsiteY13" fmla="*/ 42386 h 529494"/>
                  <a:gd name="connsiteX14" fmla="*/ 63056 w 3550159"/>
                  <a:gd name="connsiteY14" fmla="*/ 48482 h 529494"/>
                  <a:gd name="connsiteX15" fmla="*/ 75724 w 3550159"/>
                  <a:gd name="connsiteY15" fmla="*/ 48482 h 529494"/>
                  <a:gd name="connsiteX16" fmla="*/ 75724 w 3550159"/>
                  <a:gd name="connsiteY16" fmla="*/ 54578 h 529494"/>
                  <a:gd name="connsiteX17" fmla="*/ 90393 w 3550159"/>
                  <a:gd name="connsiteY17" fmla="*/ 54578 h 529494"/>
                  <a:gd name="connsiteX18" fmla="*/ 90393 w 3550159"/>
                  <a:gd name="connsiteY18" fmla="*/ 60579 h 529494"/>
                  <a:gd name="connsiteX19" fmla="*/ 94679 w 3550159"/>
                  <a:gd name="connsiteY19" fmla="*/ 60579 h 529494"/>
                  <a:gd name="connsiteX20" fmla="*/ 94679 w 3550159"/>
                  <a:gd name="connsiteY20" fmla="*/ 66675 h 529494"/>
                  <a:gd name="connsiteX21" fmla="*/ 105156 w 3550159"/>
                  <a:gd name="connsiteY21" fmla="*/ 66675 h 529494"/>
                  <a:gd name="connsiteX22" fmla="*/ 105156 w 3550159"/>
                  <a:gd name="connsiteY22" fmla="*/ 72771 h 529494"/>
                  <a:gd name="connsiteX23" fmla="*/ 113539 w 3550159"/>
                  <a:gd name="connsiteY23" fmla="*/ 72771 h 529494"/>
                  <a:gd name="connsiteX24" fmla="*/ 113539 w 3550159"/>
                  <a:gd name="connsiteY24" fmla="*/ 78867 h 529494"/>
                  <a:gd name="connsiteX25" fmla="*/ 128302 w 3550159"/>
                  <a:gd name="connsiteY25" fmla="*/ 78867 h 529494"/>
                  <a:gd name="connsiteX26" fmla="*/ 128302 w 3550159"/>
                  <a:gd name="connsiteY26" fmla="*/ 84867 h 529494"/>
                  <a:gd name="connsiteX27" fmla="*/ 132493 w 3550159"/>
                  <a:gd name="connsiteY27" fmla="*/ 84867 h 529494"/>
                  <a:gd name="connsiteX28" fmla="*/ 132493 w 3550159"/>
                  <a:gd name="connsiteY28" fmla="*/ 90963 h 529494"/>
                  <a:gd name="connsiteX29" fmla="*/ 136684 w 3550159"/>
                  <a:gd name="connsiteY29" fmla="*/ 90963 h 529494"/>
                  <a:gd name="connsiteX30" fmla="*/ 136684 w 3550159"/>
                  <a:gd name="connsiteY30" fmla="*/ 97059 h 529494"/>
                  <a:gd name="connsiteX31" fmla="*/ 149353 w 3550159"/>
                  <a:gd name="connsiteY31" fmla="*/ 97059 h 529494"/>
                  <a:gd name="connsiteX32" fmla="*/ 149353 w 3550159"/>
                  <a:gd name="connsiteY32" fmla="*/ 103060 h 529494"/>
                  <a:gd name="connsiteX33" fmla="*/ 178785 w 3550159"/>
                  <a:gd name="connsiteY33" fmla="*/ 103060 h 529494"/>
                  <a:gd name="connsiteX34" fmla="*/ 178785 w 3550159"/>
                  <a:gd name="connsiteY34" fmla="*/ 109156 h 529494"/>
                  <a:gd name="connsiteX35" fmla="*/ 187167 w 3550159"/>
                  <a:gd name="connsiteY35" fmla="*/ 109156 h 529494"/>
                  <a:gd name="connsiteX36" fmla="*/ 187167 w 3550159"/>
                  <a:gd name="connsiteY36" fmla="*/ 115252 h 529494"/>
                  <a:gd name="connsiteX37" fmla="*/ 189262 w 3550159"/>
                  <a:gd name="connsiteY37" fmla="*/ 115252 h 529494"/>
                  <a:gd name="connsiteX38" fmla="*/ 189262 w 3550159"/>
                  <a:gd name="connsiteY38" fmla="*/ 121253 h 529494"/>
                  <a:gd name="connsiteX39" fmla="*/ 204026 w 3550159"/>
                  <a:gd name="connsiteY39" fmla="*/ 121253 h 529494"/>
                  <a:gd name="connsiteX40" fmla="*/ 204026 w 3550159"/>
                  <a:gd name="connsiteY40" fmla="*/ 133445 h 529494"/>
                  <a:gd name="connsiteX41" fmla="*/ 206122 w 3550159"/>
                  <a:gd name="connsiteY41" fmla="*/ 133445 h 529494"/>
                  <a:gd name="connsiteX42" fmla="*/ 206122 w 3550159"/>
                  <a:gd name="connsiteY42" fmla="*/ 139446 h 529494"/>
                  <a:gd name="connsiteX43" fmla="*/ 212408 w 3550159"/>
                  <a:gd name="connsiteY43" fmla="*/ 139446 h 529494"/>
                  <a:gd name="connsiteX44" fmla="*/ 212408 w 3550159"/>
                  <a:gd name="connsiteY44" fmla="*/ 145542 h 529494"/>
                  <a:gd name="connsiteX45" fmla="*/ 216599 w 3550159"/>
                  <a:gd name="connsiteY45" fmla="*/ 145542 h 529494"/>
                  <a:gd name="connsiteX46" fmla="*/ 216599 w 3550159"/>
                  <a:gd name="connsiteY46" fmla="*/ 151638 h 529494"/>
                  <a:gd name="connsiteX47" fmla="*/ 233458 w 3550159"/>
                  <a:gd name="connsiteY47" fmla="*/ 151638 h 529494"/>
                  <a:gd name="connsiteX48" fmla="*/ 233458 w 3550159"/>
                  <a:gd name="connsiteY48" fmla="*/ 163734 h 529494"/>
                  <a:gd name="connsiteX49" fmla="*/ 237649 w 3550159"/>
                  <a:gd name="connsiteY49" fmla="*/ 163734 h 529494"/>
                  <a:gd name="connsiteX50" fmla="*/ 237649 w 3550159"/>
                  <a:gd name="connsiteY50" fmla="*/ 169830 h 529494"/>
                  <a:gd name="connsiteX51" fmla="*/ 260795 w 3550159"/>
                  <a:gd name="connsiteY51" fmla="*/ 169830 h 529494"/>
                  <a:gd name="connsiteX52" fmla="*/ 260795 w 3550159"/>
                  <a:gd name="connsiteY52" fmla="*/ 175926 h 529494"/>
                  <a:gd name="connsiteX53" fmla="*/ 264986 w 3550159"/>
                  <a:gd name="connsiteY53" fmla="*/ 175926 h 529494"/>
                  <a:gd name="connsiteX54" fmla="*/ 264986 w 3550159"/>
                  <a:gd name="connsiteY54" fmla="*/ 181927 h 529494"/>
                  <a:gd name="connsiteX55" fmla="*/ 271273 w 3550159"/>
                  <a:gd name="connsiteY55" fmla="*/ 181927 h 529494"/>
                  <a:gd name="connsiteX56" fmla="*/ 271273 w 3550159"/>
                  <a:gd name="connsiteY56" fmla="*/ 194119 h 529494"/>
                  <a:gd name="connsiteX57" fmla="*/ 290227 w 3550159"/>
                  <a:gd name="connsiteY57" fmla="*/ 194119 h 529494"/>
                  <a:gd name="connsiteX58" fmla="*/ 290227 w 3550159"/>
                  <a:gd name="connsiteY58" fmla="*/ 200120 h 529494"/>
                  <a:gd name="connsiteX59" fmla="*/ 298609 w 3550159"/>
                  <a:gd name="connsiteY59" fmla="*/ 200120 h 529494"/>
                  <a:gd name="connsiteX60" fmla="*/ 298609 w 3550159"/>
                  <a:gd name="connsiteY60" fmla="*/ 206216 h 529494"/>
                  <a:gd name="connsiteX61" fmla="*/ 311278 w 3550159"/>
                  <a:gd name="connsiteY61" fmla="*/ 206216 h 529494"/>
                  <a:gd name="connsiteX62" fmla="*/ 311278 w 3550159"/>
                  <a:gd name="connsiteY62" fmla="*/ 212312 h 529494"/>
                  <a:gd name="connsiteX63" fmla="*/ 328137 w 3550159"/>
                  <a:gd name="connsiteY63" fmla="*/ 212312 h 529494"/>
                  <a:gd name="connsiteX64" fmla="*/ 328137 w 3550159"/>
                  <a:gd name="connsiteY64" fmla="*/ 218313 h 529494"/>
                  <a:gd name="connsiteX65" fmla="*/ 355474 w 3550159"/>
                  <a:gd name="connsiteY65" fmla="*/ 218313 h 529494"/>
                  <a:gd name="connsiteX66" fmla="*/ 355474 w 3550159"/>
                  <a:gd name="connsiteY66" fmla="*/ 224409 h 529494"/>
                  <a:gd name="connsiteX67" fmla="*/ 357569 w 3550159"/>
                  <a:gd name="connsiteY67" fmla="*/ 224409 h 529494"/>
                  <a:gd name="connsiteX68" fmla="*/ 357569 w 3550159"/>
                  <a:gd name="connsiteY68" fmla="*/ 230505 h 529494"/>
                  <a:gd name="connsiteX69" fmla="*/ 368046 w 3550159"/>
                  <a:gd name="connsiteY69" fmla="*/ 230505 h 529494"/>
                  <a:gd name="connsiteX70" fmla="*/ 368046 w 3550159"/>
                  <a:gd name="connsiteY70" fmla="*/ 236505 h 529494"/>
                  <a:gd name="connsiteX71" fmla="*/ 374333 w 3550159"/>
                  <a:gd name="connsiteY71" fmla="*/ 236505 h 529494"/>
                  <a:gd name="connsiteX72" fmla="*/ 374333 w 3550159"/>
                  <a:gd name="connsiteY72" fmla="*/ 248697 h 529494"/>
                  <a:gd name="connsiteX73" fmla="*/ 382810 w 3550159"/>
                  <a:gd name="connsiteY73" fmla="*/ 248697 h 529494"/>
                  <a:gd name="connsiteX74" fmla="*/ 382810 w 3550159"/>
                  <a:gd name="connsiteY74" fmla="*/ 254698 h 529494"/>
                  <a:gd name="connsiteX75" fmla="*/ 389097 w 3550159"/>
                  <a:gd name="connsiteY75" fmla="*/ 254698 h 529494"/>
                  <a:gd name="connsiteX76" fmla="*/ 389097 w 3550159"/>
                  <a:gd name="connsiteY76" fmla="*/ 266890 h 529494"/>
                  <a:gd name="connsiteX77" fmla="*/ 391192 w 3550159"/>
                  <a:gd name="connsiteY77" fmla="*/ 266890 h 529494"/>
                  <a:gd name="connsiteX78" fmla="*/ 391192 w 3550159"/>
                  <a:gd name="connsiteY78" fmla="*/ 272986 h 529494"/>
                  <a:gd name="connsiteX79" fmla="*/ 403765 w 3550159"/>
                  <a:gd name="connsiteY79" fmla="*/ 272986 h 529494"/>
                  <a:gd name="connsiteX80" fmla="*/ 403765 w 3550159"/>
                  <a:gd name="connsiteY80" fmla="*/ 278987 h 529494"/>
                  <a:gd name="connsiteX81" fmla="*/ 426911 w 3550159"/>
                  <a:gd name="connsiteY81" fmla="*/ 278987 h 529494"/>
                  <a:gd name="connsiteX82" fmla="*/ 426911 w 3550159"/>
                  <a:gd name="connsiteY82" fmla="*/ 285083 h 529494"/>
                  <a:gd name="connsiteX83" fmla="*/ 433293 w 3550159"/>
                  <a:gd name="connsiteY83" fmla="*/ 285083 h 529494"/>
                  <a:gd name="connsiteX84" fmla="*/ 433293 w 3550159"/>
                  <a:gd name="connsiteY84" fmla="*/ 291179 h 529494"/>
                  <a:gd name="connsiteX85" fmla="*/ 441675 w 3550159"/>
                  <a:gd name="connsiteY85" fmla="*/ 291179 h 529494"/>
                  <a:gd name="connsiteX86" fmla="*/ 441675 w 3550159"/>
                  <a:gd name="connsiteY86" fmla="*/ 297180 h 529494"/>
                  <a:gd name="connsiteX87" fmla="*/ 450057 w 3550159"/>
                  <a:gd name="connsiteY87" fmla="*/ 297180 h 529494"/>
                  <a:gd name="connsiteX88" fmla="*/ 450057 w 3550159"/>
                  <a:gd name="connsiteY88" fmla="*/ 303276 h 529494"/>
                  <a:gd name="connsiteX89" fmla="*/ 454248 w 3550159"/>
                  <a:gd name="connsiteY89" fmla="*/ 303276 h 529494"/>
                  <a:gd name="connsiteX90" fmla="*/ 454248 w 3550159"/>
                  <a:gd name="connsiteY90" fmla="*/ 309372 h 529494"/>
                  <a:gd name="connsiteX91" fmla="*/ 527876 w 3550159"/>
                  <a:gd name="connsiteY91" fmla="*/ 309372 h 529494"/>
                  <a:gd name="connsiteX92" fmla="*/ 527876 w 3550159"/>
                  <a:gd name="connsiteY92" fmla="*/ 315372 h 529494"/>
                  <a:gd name="connsiteX93" fmla="*/ 548926 w 3550159"/>
                  <a:gd name="connsiteY93" fmla="*/ 315372 h 529494"/>
                  <a:gd name="connsiteX94" fmla="*/ 548926 w 3550159"/>
                  <a:gd name="connsiteY94" fmla="*/ 321468 h 529494"/>
                  <a:gd name="connsiteX95" fmla="*/ 555213 w 3550159"/>
                  <a:gd name="connsiteY95" fmla="*/ 321468 h 529494"/>
                  <a:gd name="connsiteX96" fmla="*/ 555213 w 3550159"/>
                  <a:gd name="connsiteY96" fmla="*/ 327564 h 529494"/>
                  <a:gd name="connsiteX97" fmla="*/ 597313 w 3550159"/>
                  <a:gd name="connsiteY97" fmla="*/ 327564 h 529494"/>
                  <a:gd name="connsiteX98" fmla="*/ 597313 w 3550159"/>
                  <a:gd name="connsiteY98" fmla="*/ 333565 h 529494"/>
                  <a:gd name="connsiteX99" fmla="*/ 611982 w 3550159"/>
                  <a:gd name="connsiteY99" fmla="*/ 333565 h 529494"/>
                  <a:gd name="connsiteX100" fmla="*/ 611982 w 3550159"/>
                  <a:gd name="connsiteY100" fmla="*/ 339661 h 529494"/>
                  <a:gd name="connsiteX101" fmla="*/ 641509 w 3550159"/>
                  <a:gd name="connsiteY101" fmla="*/ 339661 h 529494"/>
                  <a:gd name="connsiteX102" fmla="*/ 641509 w 3550159"/>
                  <a:gd name="connsiteY102" fmla="*/ 345757 h 529494"/>
                  <a:gd name="connsiteX103" fmla="*/ 643605 w 3550159"/>
                  <a:gd name="connsiteY103" fmla="*/ 345757 h 529494"/>
                  <a:gd name="connsiteX104" fmla="*/ 643605 w 3550159"/>
                  <a:gd name="connsiteY104" fmla="*/ 351758 h 529494"/>
                  <a:gd name="connsiteX105" fmla="*/ 666655 w 3550159"/>
                  <a:gd name="connsiteY105" fmla="*/ 351758 h 529494"/>
                  <a:gd name="connsiteX106" fmla="*/ 666655 w 3550159"/>
                  <a:gd name="connsiteY106" fmla="*/ 357854 h 529494"/>
                  <a:gd name="connsiteX107" fmla="*/ 679324 w 3550159"/>
                  <a:gd name="connsiteY107" fmla="*/ 357854 h 529494"/>
                  <a:gd name="connsiteX108" fmla="*/ 679324 w 3550159"/>
                  <a:gd name="connsiteY108" fmla="*/ 363950 h 529494"/>
                  <a:gd name="connsiteX109" fmla="*/ 715042 w 3550159"/>
                  <a:gd name="connsiteY109" fmla="*/ 363950 h 529494"/>
                  <a:gd name="connsiteX110" fmla="*/ 715042 w 3550159"/>
                  <a:gd name="connsiteY110" fmla="*/ 370046 h 529494"/>
                  <a:gd name="connsiteX111" fmla="*/ 830771 w 3550159"/>
                  <a:gd name="connsiteY111" fmla="*/ 370046 h 529494"/>
                  <a:gd name="connsiteX112" fmla="*/ 830771 w 3550159"/>
                  <a:gd name="connsiteY112" fmla="*/ 376047 h 529494"/>
                  <a:gd name="connsiteX113" fmla="*/ 868585 w 3550159"/>
                  <a:gd name="connsiteY113" fmla="*/ 376047 h 529494"/>
                  <a:gd name="connsiteX114" fmla="*/ 868585 w 3550159"/>
                  <a:gd name="connsiteY114" fmla="*/ 382238 h 529494"/>
                  <a:gd name="connsiteX115" fmla="*/ 921163 w 3550159"/>
                  <a:gd name="connsiteY115" fmla="*/ 382238 h 529494"/>
                  <a:gd name="connsiteX116" fmla="*/ 921163 w 3550159"/>
                  <a:gd name="connsiteY116" fmla="*/ 388334 h 529494"/>
                  <a:gd name="connsiteX117" fmla="*/ 940118 w 3550159"/>
                  <a:gd name="connsiteY117" fmla="*/ 388334 h 529494"/>
                  <a:gd name="connsiteX118" fmla="*/ 940118 w 3550159"/>
                  <a:gd name="connsiteY118" fmla="*/ 394430 h 529494"/>
                  <a:gd name="connsiteX119" fmla="*/ 950596 w 3550159"/>
                  <a:gd name="connsiteY119" fmla="*/ 394430 h 529494"/>
                  <a:gd name="connsiteX120" fmla="*/ 950596 w 3550159"/>
                  <a:gd name="connsiteY120" fmla="*/ 400621 h 529494"/>
                  <a:gd name="connsiteX121" fmla="*/ 984314 w 3550159"/>
                  <a:gd name="connsiteY121" fmla="*/ 400621 h 529494"/>
                  <a:gd name="connsiteX122" fmla="*/ 984314 w 3550159"/>
                  <a:gd name="connsiteY122" fmla="*/ 406717 h 529494"/>
                  <a:gd name="connsiteX123" fmla="*/ 990601 w 3550159"/>
                  <a:gd name="connsiteY123" fmla="*/ 406717 h 529494"/>
                  <a:gd name="connsiteX124" fmla="*/ 990601 w 3550159"/>
                  <a:gd name="connsiteY124" fmla="*/ 412813 h 529494"/>
                  <a:gd name="connsiteX125" fmla="*/ 1005269 w 3550159"/>
                  <a:gd name="connsiteY125" fmla="*/ 412813 h 529494"/>
                  <a:gd name="connsiteX126" fmla="*/ 1005269 w 3550159"/>
                  <a:gd name="connsiteY126" fmla="*/ 418909 h 529494"/>
                  <a:gd name="connsiteX127" fmla="*/ 1017937 w 3550159"/>
                  <a:gd name="connsiteY127" fmla="*/ 418909 h 529494"/>
                  <a:gd name="connsiteX128" fmla="*/ 1017937 w 3550159"/>
                  <a:gd name="connsiteY128" fmla="*/ 425100 h 529494"/>
                  <a:gd name="connsiteX129" fmla="*/ 1043179 w 3550159"/>
                  <a:gd name="connsiteY129" fmla="*/ 425100 h 529494"/>
                  <a:gd name="connsiteX130" fmla="*/ 1043179 w 3550159"/>
                  <a:gd name="connsiteY130" fmla="*/ 431196 h 529494"/>
                  <a:gd name="connsiteX131" fmla="*/ 1272445 w 3550159"/>
                  <a:gd name="connsiteY131" fmla="*/ 431196 h 529494"/>
                  <a:gd name="connsiteX132" fmla="*/ 1272445 w 3550159"/>
                  <a:gd name="connsiteY132" fmla="*/ 437388 h 529494"/>
                  <a:gd name="connsiteX133" fmla="*/ 1385983 w 3550159"/>
                  <a:gd name="connsiteY133" fmla="*/ 437388 h 529494"/>
                  <a:gd name="connsiteX134" fmla="*/ 1385983 w 3550159"/>
                  <a:gd name="connsiteY134" fmla="*/ 443579 h 529494"/>
                  <a:gd name="connsiteX135" fmla="*/ 1655160 w 3550159"/>
                  <a:gd name="connsiteY135" fmla="*/ 443579 h 529494"/>
                  <a:gd name="connsiteX136" fmla="*/ 1655160 w 3550159"/>
                  <a:gd name="connsiteY136" fmla="*/ 449865 h 529494"/>
                  <a:gd name="connsiteX137" fmla="*/ 1728788 w 3550159"/>
                  <a:gd name="connsiteY137" fmla="*/ 449865 h 529494"/>
                  <a:gd name="connsiteX138" fmla="*/ 1728788 w 3550159"/>
                  <a:gd name="connsiteY138" fmla="*/ 456152 h 529494"/>
                  <a:gd name="connsiteX139" fmla="*/ 1808703 w 3550159"/>
                  <a:gd name="connsiteY139" fmla="*/ 456152 h 529494"/>
                  <a:gd name="connsiteX140" fmla="*/ 1808703 w 3550159"/>
                  <a:gd name="connsiteY140" fmla="*/ 462438 h 529494"/>
                  <a:gd name="connsiteX141" fmla="*/ 1970628 w 3550159"/>
                  <a:gd name="connsiteY141" fmla="*/ 462438 h 529494"/>
                  <a:gd name="connsiteX142" fmla="*/ 1970628 w 3550159"/>
                  <a:gd name="connsiteY142" fmla="*/ 468915 h 529494"/>
                  <a:gd name="connsiteX143" fmla="*/ 1987487 w 3550159"/>
                  <a:gd name="connsiteY143" fmla="*/ 468915 h 529494"/>
                  <a:gd name="connsiteX144" fmla="*/ 1987487 w 3550159"/>
                  <a:gd name="connsiteY144" fmla="*/ 475297 h 529494"/>
                  <a:gd name="connsiteX145" fmla="*/ 2105311 w 3550159"/>
                  <a:gd name="connsiteY145" fmla="*/ 475297 h 529494"/>
                  <a:gd name="connsiteX146" fmla="*/ 2105311 w 3550159"/>
                  <a:gd name="connsiteY146" fmla="*/ 481774 h 529494"/>
                  <a:gd name="connsiteX147" fmla="*/ 2197799 w 3550159"/>
                  <a:gd name="connsiteY147" fmla="*/ 481774 h 529494"/>
                  <a:gd name="connsiteX148" fmla="*/ 2197799 w 3550159"/>
                  <a:gd name="connsiteY148" fmla="*/ 488156 h 529494"/>
                  <a:gd name="connsiteX149" fmla="*/ 2216754 w 3550159"/>
                  <a:gd name="connsiteY149" fmla="*/ 488156 h 529494"/>
                  <a:gd name="connsiteX150" fmla="*/ 2216754 w 3550159"/>
                  <a:gd name="connsiteY150" fmla="*/ 494633 h 529494"/>
                  <a:gd name="connsiteX151" fmla="*/ 3070575 w 3550159"/>
                  <a:gd name="connsiteY151" fmla="*/ 494633 h 529494"/>
                  <a:gd name="connsiteX152" fmla="*/ 3070575 w 3550159"/>
                  <a:gd name="connsiteY152" fmla="*/ 529494 h 529494"/>
                  <a:gd name="connsiteX153" fmla="*/ 3550159 w 3550159"/>
                  <a:gd name="connsiteY153" fmla="*/ 529494 h 529494"/>
                  <a:gd name="connsiteX0" fmla="*/ 0 w 3550159"/>
                  <a:gd name="connsiteY0" fmla="*/ 0 h 529494"/>
                  <a:gd name="connsiteX1" fmla="*/ 6287 w 3550159"/>
                  <a:gd name="connsiteY1" fmla="*/ 0 h 529494"/>
                  <a:gd name="connsiteX2" fmla="*/ 21051 w 3550159"/>
                  <a:gd name="connsiteY2" fmla="*/ 6000 h 529494"/>
                  <a:gd name="connsiteX3" fmla="*/ 21051 w 3550159"/>
                  <a:gd name="connsiteY3" fmla="*/ 12096 h 529494"/>
                  <a:gd name="connsiteX4" fmla="*/ 29433 w 3550159"/>
                  <a:gd name="connsiteY4" fmla="*/ 12096 h 529494"/>
                  <a:gd name="connsiteX5" fmla="*/ 29433 w 3550159"/>
                  <a:gd name="connsiteY5" fmla="*/ 18192 h 529494"/>
                  <a:gd name="connsiteX6" fmla="*/ 40006 w 3550159"/>
                  <a:gd name="connsiteY6" fmla="*/ 18192 h 529494"/>
                  <a:gd name="connsiteX7" fmla="*/ 40006 w 3550159"/>
                  <a:gd name="connsiteY7" fmla="*/ 24193 h 529494"/>
                  <a:gd name="connsiteX8" fmla="*/ 52579 w 3550159"/>
                  <a:gd name="connsiteY8" fmla="*/ 24193 h 529494"/>
                  <a:gd name="connsiteX9" fmla="*/ 52579 w 3550159"/>
                  <a:gd name="connsiteY9" fmla="*/ 30289 h 529494"/>
                  <a:gd name="connsiteX10" fmla="*/ 58865 w 3550159"/>
                  <a:gd name="connsiteY10" fmla="*/ 30289 h 529494"/>
                  <a:gd name="connsiteX11" fmla="*/ 58865 w 3550159"/>
                  <a:gd name="connsiteY11" fmla="*/ 42386 h 529494"/>
                  <a:gd name="connsiteX12" fmla="*/ 63056 w 3550159"/>
                  <a:gd name="connsiteY12" fmla="*/ 42386 h 529494"/>
                  <a:gd name="connsiteX13" fmla="*/ 63056 w 3550159"/>
                  <a:gd name="connsiteY13" fmla="*/ 48482 h 529494"/>
                  <a:gd name="connsiteX14" fmla="*/ 75724 w 3550159"/>
                  <a:gd name="connsiteY14" fmla="*/ 48482 h 529494"/>
                  <a:gd name="connsiteX15" fmla="*/ 75724 w 3550159"/>
                  <a:gd name="connsiteY15" fmla="*/ 54578 h 529494"/>
                  <a:gd name="connsiteX16" fmla="*/ 90393 w 3550159"/>
                  <a:gd name="connsiteY16" fmla="*/ 54578 h 529494"/>
                  <a:gd name="connsiteX17" fmla="*/ 90393 w 3550159"/>
                  <a:gd name="connsiteY17" fmla="*/ 60579 h 529494"/>
                  <a:gd name="connsiteX18" fmla="*/ 94679 w 3550159"/>
                  <a:gd name="connsiteY18" fmla="*/ 60579 h 529494"/>
                  <a:gd name="connsiteX19" fmla="*/ 94679 w 3550159"/>
                  <a:gd name="connsiteY19" fmla="*/ 66675 h 529494"/>
                  <a:gd name="connsiteX20" fmla="*/ 105156 w 3550159"/>
                  <a:gd name="connsiteY20" fmla="*/ 66675 h 529494"/>
                  <a:gd name="connsiteX21" fmla="*/ 105156 w 3550159"/>
                  <a:gd name="connsiteY21" fmla="*/ 72771 h 529494"/>
                  <a:gd name="connsiteX22" fmla="*/ 113539 w 3550159"/>
                  <a:gd name="connsiteY22" fmla="*/ 72771 h 529494"/>
                  <a:gd name="connsiteX23" fmla="*/ 113539 w 3550159"/>
                  <a:gd name="connsiteY23" fmla="*/ 78867 h 529494"/>
                  <a:gd name="connsiteX24" fmla="*/ 128302 w 3550159"/>
                  <a:gd name="connsiteY24" fmla="*/ 78867 h 529494"/>
                  <a:gd name="connsiteX25" fmla="*/ 128302 w 3550159"/>
                  <a:gd name="connsiteY25" fmla="*/ 84867 h 529494"/>
                  <a:gd name="connsiteX26" fmla="*/ 132493 w 3550159"/>
                  <a:gd name="connsiteY26" fmla="*/ 84867 h 529494"/>
                  <a:gd name="connsiteX27" fmla="*/ 132493 w 3550159"/>
                  <a:gd name="connsiteY27" fmla="*/ 90963 h 529494"/>
                  <a:gd name="connsiteX28" fmla="*/ 136684 w 3550159"/>
                  <a:gd name="connsiteY28" fmla="*/ 90963 h 529494"/>
                  <a:gd name="connsiteX29" fmla="*/ 136684 w 3550159"/>
                  <a:gd name="connsiteY29" fmla="*/ 97059 h 529494"/>
                  <a:gd name="connsiteX30" fmla="*/ 149353 w 3550159"/>
                  <a:gd name="connsiteY30" fmla="*/ 97059 h 529494"/>
                  <a:gd name="connsiteX31" fmla="*/ 149353 w 3550159"/>
                  <a:gd name="connsiteY31" fmla="*/ 103060 h 529494"/>
                  <a:gd name="connsiteX32" fmla="*/ 178785 w 3550159"/>
                  <a:gd name="connsiteY32" fmla="*/ 103060 h 529494"/>
                  <a:gd name="connsiteX33" fmla="*/ 178785 w 3550159"/>
                  <a:gd name="connsiteY33" fmla="*/ 109156 h 529494"/>
                  <a:gd name="connsiteX34" fmla="*/ 187167 w 3550159"/>
                  <a:gd name="connsiteY34" fmla="*/ 109156 h 529494"/>
                  <a:gd name="connsiteX35" fmla="*/ 187167 w 3550159"/>
                  <a:gd name="connsiteY35" fmla="*/ 115252 h 529494"/>
                  <a:gd name="connsiteX36" fmla="*/ 189262 w 3550159"/>
                  <a:gd name="connsiteY36" fmla="*/ 115252 h 529494"/>
                  <a:gd name="connsiteX37" fmla="*/ 189262 w 3550159"/>
                  <a:gd name="connsiteY37" fmla="*/ 121253 h 529494"/>
                  <a:gd name="connsiteX38" fmla="*/ 204026 w 3550159"/>
                  <a:gd name="connsiteY38" fmla="*/ 121253 h 529494"/>
                  <a:gd name="connsiteX39" fmla="*/ 204026 w 3550159"/>
                  <a:gd name="connsiteY39" fmla="*/ 133445 h 529494"/>
                  <a:gd name="connsiteX40" fmla="*/ 206122 w 3550159"/>
                  <a:gd name="connsiteY40" fmla="*/ 133445 h 529494"/>
                  <a:gd name="connsiteX41" fmla="*/ 206122 w 3550159"/>
                  <a:gd name="connsiteY41" fmla="*/ 139446 h 529494"/>
                  <a:gd name="connsiteX42" fmla="*/ 212408 w 3550159"/>
                  <a:gd name="connsiteY42" fmla="*/ 139446 h 529494"/>
                  <a:gd name="connsiteX43" fmla="*/ 212408 w 3550159"/>
                  <a:gd name="connsiteY43" fmla="*/ 145542 h 529494"/>
                  <a:gd name="connsiteX44" fmla="*/ 216599 w 3550159"/>
                  <a:gd name="connsiteY44" fmla="*/ 145542 h 529494"/>
                  <a:gd name="connsiteX45" fmla="*/ 216599 w 3550159"/>
                  <a:gd name="connsiteY45" fmla="*/ 151638 h 529494"/>
                  <a:gd name="connsiteX46" fmla="*/ 233458 w 3550159"/>
                  <a:gd name="connsiteY46" fmla="*/ 151638 h 529494"/>
                  <a:gd name="connsiteX47" fmla="*/ 233458 w 3550159"/>
                  <a:gd name="connsiteY47" fmla="*/ 163734 h 529494"/>
                  <a:gd name="connsiteX48" fmla="*/ 237649 w 3550159"/>
                  <a:gd name="connsiteY48" fmla="*/ 163734 h 529494"/>
                  <a:gd name="connsiteX49" fmla="*/ 237649 w 3550159"/>
                  <a:gd name="connsiteY49" fmla="*/ 169830 h 529494"/>
                  <a:gd name="connsiteX50" fmla="*/ 260795 w 3550159"/>
                  <a:gd name="connsiteY50" fmla="*/ 169830 h 529494"/>
                  <a:gd name="connsiteX51" fmla="*/ 260795 w 3550159"/>
                  <a:gd name="connsiteY51" fmla="*/ 175926 h 529494"/>
                  <a:gd name="connsiteX52" fmla="*/ 264986 w 3550159"/>
                  <a:gd name="connsiteY52" fmla="*/ 175926 h 529494"/>
                  <a:gd name="connsiteX53" fmla="*/ 264986 w 3550159"/>
                  <a:gd name="connsiteY53" fmla="*/ 181927 h 529494"/>
                  <a:gd name="connsiteX54" fmla="*/ 271273 w 3550159"/>
                  <a:gd name="connsiteY54" fmla="*/ 181927 h 529494"/>
                  <a:gd name="connsiteX55" fmla="*/ 271273 w 3550159"/>
                  <a:gd name="connsiteY55" fmla="*/ 194119 h 529494"/>
                  <a:gd name="connsiteX56" fmla="*/ 290227 w 3550159"/>
                  <a:gd name="connsiteY56" fmla="*/ 194119 h 529494"/>
                  <a:gd name="connsiteX57" fmla="*/ 290227 w 3550159"/>
                  <a:gd name="connsiteY57" fmla="*/ 200120 h 529494"/>
                  <a:gd name="connsiteX58" fmla="*/ 298609 w 3550159"/>
                  <a:gd name="connsiteY58" fmla="*/ 200120 h 529494"/>
                  <a:gd name="connsiteX59" fmla="*/ 298609 w 3550159"/>
                  <a:gd name="connsiteY59" fmla="*/ 206216 h 529494"/>
                  <a:gd name="connsiteX60" fmla="*/ 311278 w 3550159"/>
                  <a:gd name="connsiteY60" fmla="*/ 206216 h 529494"/>
                  <a:gd name="connsiteX61" fmla="*/ 311278 w 3550159"/>
                  <a:gd name="connsiteY61" fmla="*/ 212312 h 529494"/>
                  <a:gd name="connsiteX62" fmla="*/ 328137 w 3550159"/>
                  <a:gd name="connsiteY62" fmla="*/ 212312 h 529494"/>
                  <a:gd name="connsiteX63" fmla="*/ 328137 w 3550159"/>
                  <a:gd name="connsiteY63" fmla="*/ 218313 h 529494"/>
                  <a:gd name="connsiteX64" fmla="*/ 355474 w 3550159"/>
                  <a:gd name="connsiteY64" fmla="*/ 218313 h 529494"/>
                  <a:gd name="connsiteX65" fmla="*/ 355474 w 3550159"/>
                  <a:gd name="connsiteY65" fmla="*/ 224409 h 529494"/>
                  <a:gd name="connsiteX66" fmla="*/ 357569 w 3550159"/>
                  <a:gd name="connsiteY66" fmla="*/ 224409 h 529494"/>
                  <a:gd name="connsiteX67" fmla="*/ 357569 w 3550159"/>
                  <a:gd name="connsiteY67" fmla="*/ 230505 h 529494"/>
                  <a:gd name="connsiteX68" fmla="*/ 368046 w 3550159"/>
                  <a:gd name="connsiteY68" fmla="*/ 230505 h 529494"/>
                  <a:gd name="connsiteX69" fmla="*/ 368046 w 3550159"/>
                  <a:gd name="connsiteY69" fmla="*/ 236505 h 529494"/>
                  <a:gd name="connsiteX70" fmla="*/ 374333 w 3550159"/>
                  <a:gd name="connsiteY70" fmla="*/ 236505 h 529494"/>
                  <a:gd name="connsiteX71" fmla="*/ 374333 w 3550159"/>
                  <a:gd name="connsiteY71" fmla="*/ 248697 h 529494"/>
                  <a:gd name="connsiteX72" fmla="*/ 382810 w 3550159"/>
                  <a:gd name="connsiteY72" fmla="*/ 248697 h 529494"/>
                  <a:gd name="connsiteX73" fmla="*/ 382810 w 3550159"/>
                  <a:gd name="connsiteY73" fmla="*/ 254698 h 529494"/>
                  <a:gd name="connsiteX74" fmla="*/ 389097 w 3550159"/>
                  <a:gd name="connsiteY74" fmla="*/ 254698 h 529494"/>
                  <a:gd name="connsiteX75" fmla="*/ 389097 w 3550159"/>
                  <a:gd name="connsiteY75" fmla="*/ 266890 h 529494"/>
                  <a:gd name="connsiteX76" fmla="*/ 391192 w 3550159"/>
                  <a:gd name="connsiteY76" fmla="*/ 266890 h 529494"/>
                  <a:gd name="connsiteX77" fmla="*/ 391192 w 3550159"/>
                  <a:gd name="connsiteY77" fmla="*/ 272986 h 529494"/>
                  <a:gd name="connsiteX78" fmla="*/ 403765 w 3550159"/>
                  <a:gd name="connsiteY78" fmla="*/ 272986 h 529494"/>
                  <a:gd name="connsiteX79" fmla="*/ 403765 w 3550159"/>
                  <a:gd name="connsiteY79" fmla="*/ 278987 h 529494"/>
                  <a:gd name="connsiteX80" fmla="*/ 426911 w 3550159"/>
                  <a:gd name="connsiteY80" fmla="*/ 278987 h 529494"/>
                  <a:gd name="connsiteX81" fmla="*/ 426911 w 3550159"/>
                  <a:gd name="connsiteY81" fmla="*/ 285083 h 529494"/>
                  <a:gd name="connsiteX82" fmla="*/ 433293 w 3550159"/>
                  <a:gd name="connsiteY82" fmla="*/ 285083 h 529494"/>
                  <a:gd name="connsiteX83" fmla="*/ 433293 w 3550159"/>
                  <a:gd name="connsiteY83" fmla="*/ 291179 h 529494"/>
                  <a:gd name="connsiteX84" fmla="*/ 441675 w 3550159"/>
                  <a:gd name="connsiteY84" fmla="*/ 291179 h 529494"/>
                  <a:gd name="connsiteX85" fmla="*/ 441675 w 3550159"/>
                  <a:gd name="connsiteY85" fmla="*/ 297180 h 529494"/>
                  <a:gd name="connsiteX86" fmla="*/ 450057 w 3550159"/>
                  <a:gd name="connsiteY86" fmla="*/ 297180 h 529494"/>
                  <a:gd name="connsiteX87" fmla="*/ 450057 w 3550159"/>
                  <a:gd name="connsiteY87" fmla="*/ 303276 h 529494"/>
                  <a:gd name="connsiteX88" fmla="*/ 454248 w 3550159"/>
                  <a:gd name="connsiteY88" fmla="*/ 303276 h 529494"/>
                  <a:gd name="connsiteX89" fmla="*/ 454248 w 3550159"/>
                  <a:gd name="connsiteY89" fmla="*/ 309372 h 529494"/>
                  <a:gd name="connsiteX90" fmla="*/ 527876 w 3550159"/>
                  <a:gd name="connsiteY90" fmla="*/ 309372 h 529494"/>
                  <a:gd name="connsiteX91" fmla="*/ 527876 w 3550159"/>
                  <a:gd name="connsiteY91" fmla="*/ 315372 h 529494"/>
                  <a:gd name="connsiteX92" fmla="*/ 548926 w 3550159"/>
                  <a:gd name="connsiteY92" fmla="*/ 315372 h 529494"/>
                  <a:gd name="connsiteX93" fmla="*/ 548926 w 3550159"/>
                  <a:gd name="connsiteY93" fmla="*/ 321468 h 529494"/>
                  <a:gd name="connsiteX94" fmla="*/ 555213 w 3550159"/>
                  <a:gd name="connsiteY94" fmla="*/ 321468 h 529494"/>
                  <a:gd name="connsiteX95" fmla="*/ 555213 w 3550159"/>
                  <a:gd name="connsiteY95" fmla="*/ 327564 h 529494"/>
                  <a:gd name="connsiteX96" fmla="*/ 597313 w 3550159"/>
                  <a:gd name="connsiteY96" fmla="*/ 327564 h 529494"/>
                  <a:gd name="connsiteX97" fmla="*/ 597313 w 3550159"/>
                  <a:gd name="connsiteY97" fmla="*/ 333565 h 529494"/>
                  <a:gd name="connsiteX98" fmla="*/ 611982 w 3550159"/>
                  <a:gd name="connsiteY98" fmla="*/ 333565 h 529494"/>
                  <a:gd name="connsiteX99" fmla="*/ 611982 w 3550159"/>
                  <a:gd name="connsiteY99" fmla="*/ 339661 h 529494"/>
                  <a:gd name="connsiteX100" fmla="*/ 641509 w 3550159"/>
                  <a:gd name="connsiteY100" fmla="*/ 339661 h 529494"/>
                  <a:gd name="connsiteX101" fmla="*/ 641509 w 3550159"/>
                  <a:gd name="connsiteY101" fmla="*/ 345757 h 529494"/>
                  <a:gd name="connsiteX102" fmla="*/ 643605 w 3550159"/>
                  <a:gd name="connsiteY102" fmla="*/ 345757 h 529494"/>
                  <a:gd name="connsiteX103" fmla="*/ 643605 w 3550159"/>
                  <a:gd name="connsiteY103" fmla="*/ 351758 h 529494"/>
                  <a:gd name="connsiteX104" fmla="*/ 666655 w 3550159"/>
                  <a:gd name="connsiteY104" fmla="*/ 351758 h 529494"/>
                  <a:gd name="connsiteX105" fmla="*/ 666655 w 3550159"/>
                  <a:gd name="connsiteY105" fmla="*/ 357854 h 529494"/>
                  <a:gd name="connsiteX106" fmla="*/ 679324 w 3550159"/>
                  <a:gd name="connsiteY106" fmla="*/ 357854 h 529494"/>
                  <a:gd name="connsiteX107" fmla="*/ 679324 w 3550159"/>
                  <a:gd name="connsiteY107" fmla="*/ 363950 h 529494"/>
                  <a:gd name="connsiteX108" fmla="*/ 715042 w 3550159"/>
                  <a:gd name="connsiteY108" fmla="*/ 363950 h 529494"/>
                  <a:gd name="connsiteX109" fmla="*/ 715042 w 3550159"/>
                  <a:gd name="connsiteY109" fmla="*/ 370046 h 529494"/>
                  <a:gd name="connsiteX110" fmla="*/ 830771 w 3550159"/>
                  <a:gd name="connsiteY110" fmla="*/ 370046 h 529494"/>
                  <a:gd name="connsiteX111" fmla="*/ 830771 w 3550159"/>
                  <a:gd name="connsiteY111" fmla="*/ 376047 h 529494"/>
                  <a:gd name="connsiteX112" fmla="*/ 868585 w 3550159"/>
                  <a:gd name="connsiteY112" fmla="*/ 376047 h 529494"/>
                  <a:gd name="connsiteX113" fmla="*/ 868585 w 3550159"/>
                  <a:gd name="connsiteY113" fmla="*/ 382238 h 529494"/>
                  <a:gd name="connsiteX114" fmla="*/ 921163 w 3550159"/>
                  <a:gd name="connsiteY114" fmla="*/ 382238 h 529494"/>
                  <a:gd name="connsiteX115" fmla="*/ 921163 w 3550159"/>
                  <a:gd name="connsiteY115" fmla="*/ 388334 h 529494"/>
                  <a:gd name="connsiteX116" fmla="*/ 940118 w 3550159"/>
                  <a:gd name="connsiteY116" fmla="*/ 388334 h 529494"/>
                  <a:gd name="connsiteX117" fmla="*/ 940118 w 3550159"/>
                  <a:gd name="connsiteY117" fmla="*/ 394430 h 529494"/>
                  <a:gd name="connsiteX118" fmla="*/ 950596 w 3550159"/>
                  <a:gd name="connsiteY118" fmla="*/ 394430 h 529494"/>
                  <a:gd name="connsiteX119" fmla="*/ 950596 w 3550159"/>
                  <a:gd name="connsiteY119" fmla="*/ 400621 h 529494"/>
                  <a:gd name="connsiteX120" fmla="*/ 984314 w 3550159"/>
                  <a:gd name="connsiteY120" fmla="*/ 400621 h 529494"/>
                  <a:gd name="connsiteX121" fmla="*/ 984314 w 3550159"/>
                  <a:gd name="connsiteY121" fmla="*/ 406717 h 529494"/>
                  <a:gd name="connsiteX122" fmla="*/ 990601 w 3550159"/>
                  <a:gd name="connsiteY122" fmla="*/ 406717 h 529494"/>
                  <a:gd name="connsiteX123" fmla="*/ 990601 w 3550159"/>
                  <a:gd name="connsiteY123" fmla="*/ 412813 h 529494"/>
                  <a:gd name="connsiteX124" fmla="*/ 1005269 w 3550159"/>
                  <a:gd name="connsiteY124" fmla="*/ 412813 h 529494"/>
                  <a:gd name="connsiteX125" fmla="*/ 1005269 w 3550159"/>
                  <a:gd name="connsiteY125" fmla="*/ 418909 h 529494"/>
                  <a:gd name="connsiteX126" fmla="*/ 1017937 w 3550159"/>
                  <a:gd name="connsiteY126" fmla="*/ 418909 h 529494"/>
                  <a:gd name="connsiteX127" fmla="*/ 1017937 w 3550159"/>
                  <a:gd name="connsiteY127" fmla="*/ 425100 h 529494"/>
                  <a:gd name="connsiteX128" fmla="*/ 1043179 w 3550159"/>
                  <a:gd name="connsiteY128" fmla="*/ 425100 h 529494"/>
                  <a:gd name="connsiteX129" fmla="*/ 1043179 w 3550159"/>
                  <a:gd name="connsiteY129" fmla="*/ 431196 h 529494"/>
                  <a:gd name="connsiteX130" fmla="*/ 1272445 w 3550159"/>
                  <a:gd name="connsiteY130" fmla="*/ 431196 h 529494"/>
                  <a:gd name="connsiteX131" fmla="*/ 1272445 w 3550159"/>
                  <a:gd name="connsiteY131" fmla="*/ 437388 h 529494"/>
                  <a:gd name="connsiteX132" fmla="*/ 1385983 w 3550159"/>
                  <a:gd name="connsiteY132" fmla="*/ 437388 h 529494"/>
                  <a:gd name="connsiteX133" fmla="*/ 1385983 w 3550159"/>
                  <a:gd name="connsiteY133" fmla="*/ 443579 h 529494"/>
                  <a:gd name="connsiteX134" fmla="*/ 1655160 w 3550159"/>
                  <a:gd name="connsiteY134" fmla="*/ 443579 h 529494"/>
                  <a:gd name="connsiteX135" fmla="*/ 1655160 w 3550159"/>
                  <a:gd name="connsiteY135" fmla="*/ 449865 h 529494"/>
                  <a:gd name="connsiteX136" fmla="*/ 1728788 w 3550159"/>
                  <a:gd name="connsiteY136" fmla="*/ 449865 h 529494"/>
                  <a:gd name="connsiteX137" fmla="*/ 1728788 w 3550159"/>
                  <a:gd name="connsiteY137" fmla="*/ 456152 h 529494"/>
                  <a:gd name="connsiteX138" fmla="*/ 1808703 w 3550159"/>
                  <a:gd name="connsiteY138" fmla="*/ 456152 h 529494"/>
                  <a:gd name="connsiteX139" fmla="*/ 1808703 w 3550159"/>
                  <a:gd name="connsiteY139" fmla="*/ 462438 h 529494"/>
                  <a:gd name="connsiteX140" fmla="*/ 1970628 w 3550159"/>
                  <a:gd name="connsiteY140" fmla="*/ 462438 h 529494"/>
                  <a:gd name="connsiteX141" fmla="*/ 1970628 w 3550159"/>
                  <a:gd name="connsiteY141" fmla="*/ 468915 h 529494"/>
                  <a:gd name="connsiteX142" fmla="*/ 1987487 w 3550159"/>
                  <a:gd name="connsiteY142" fmla="*/ 468915 h 529494"/>
                  <a:gd name="connsiteX143" fmla="*/ 1987487 w 3550159"/>
                  <a:gd name="connsiteY143" fmla="*/ 475297 h 529494"/>
                  <a:gd name="connsiteX144" fmla="*/ 2105311 w 3550159"/>
                  <a:gd name="connsiteY144" fmla="*/ 475297 h 529494"/>
                  <a:gd name="connsiteX145" fmla="*/ 2105311 w 3550159"/>
                  <a:gd name="connsiteY145" fmla="*/ 481774 h 529494"/>
                  <a:gd name="connsiteX146" fmla="*/ 2197799 w 3550159"/>
                  <a:gd name="connsiteY146" fmla="*/ 481774 h 529494"/>
                  <a:gd name="connsiteX147" fmla="*/ 2197799 w 3550159"/>
                  <a:gd name="connsiteY147" fmla="*/ 488156 h 529494"/>
                  <a:gd name="connsiteX148" fmla="*/ 2216754 w 3550159"/>
                  <a:gd name="connsiteY148" fmla="*/ 488156 h 529494"/>
                  <a:gd name="connsiteX149" fmla="*/ 2216754 w 3550159"/>
                  <a:gd name="connsiteY149" fmla="*/ 494633 h 529494"/>
                  <a:gd name="connsiteX150" fmla="*/ 3070575 w 3550159"/>
                  <a:gd name="connsiteY150" fmla="*/ 494633 h 529494"/>
                  <a:gd name="connsiteX151" fmla="*/ 3070575 w 3550159"/>
                  <a:gd name="connsiteY151" fmla="*/ 529494 h 529494"/>
                  <a:gd name="connsiteX152" fmla="*/ 3550159 w 3550159"/>
                  <a:gd name="connsiteY152" fmla="*/ 529494 h 529494"/>
                  <a:gd name="connsiteX0" fmla="*/ 0 w 3550159"/>
                  <a:gd name="connsiteY0" fmla="*/ 0 h 529494"/>
                  <a:gd name="connsiteX1" fmla="*/ 21051 w 3550159"/>
                  <a:gd name="connsiteY1" fmla="*/ 6000 h 529494"/>
                  <a:gd name="connsiteX2" fmla="*/ 21051 w 3550159"/>
                  <a:gd name="connsiteY2" fmla="*/ 12096 h 529494"/>
                  <a:gd name="connsiteX3" fmla="*/ 29433 w 3550159"/>
                  <a:gd name="connsiteY3" fmla="*/ 12096 h 529494"/>
                  <a:gd name="connsiteX4" fmla="*/ 29433 w 3550159"/>
                  <a:gd name="connsiteY4" fmla="*/ 18192 h 529494"/>
                  <a:gd name="connsiteX5" fmla="*/ 40006 w 3550159"/>
                  <a:gd name="connsiteY5" fmla="*/ 18192 h 529494"/>
                  <a:gd name="connsiteX6" fmla="*/ 40006 w 3550159"/>
                  <a:gd name="connsiteY6" fmla="*/ 24193 h 529494"/>
                  <a:gd name="connsiteX7" fmla="*/ 52579 w 3550159"/>
                  <a:gd name="connsiteY7" fmla="*/ 24193 h 529494"/>
                  <a:gd name="connsiteX8" fmla="*/ 52579 w 3550159"/>
                  <a:gd name="connsiteY8" fmla="*/ 30289 h 529494"/>
                  <a:gd name="connsiteX9" fmla="*/ 58865 w 3550159"/>
                  <a:gd name="connsiteY9" fmla="*/ 30289 h 529494"/>
                  <a:gd name="connsiteX10" fmla="*/ 58865 w 3550159"/>
                  <a:gd name="connsiteY10" fmla="*/ 42386 h 529494"/>
                  <a:gd name="connsiteX11" fmla="*/ 63056 w 3550159"/>
                  <a:gd name="connsiteY11" fmla="*/ 42386 h 529494"/>
                  <a:gd name="connsiteX12" fmla="*/ 63056 w 3550159"/>
                  <a:gd name="connsiteY12" fmla="*/ 48482 h 529494"/>
                  <a:gd name="connsiteX13" fmla="*/ 75724 w 3550159"/>
                  <a:gd name="connsiteY13" fmla="*/ 48482 h 529494"/>
                  <a:gd name="connsiteX14" fmla="*/ 75724 w 3550159"/>
                  <a:gd name="connsiteY14" fmla="*/ 54578 h 529494"/>
                  <a:gd name="connsiteX15" fmla="*/ 90393 w 3550159"/>
                  <a:gd name="connsiteY15" fmla="*/ 54578 h 529494"/>
                  <a:gd name="connsiteX16" fmla="*/ 90393 w 3550159"/>
                  <a:gd name="connsiteY16" fmla="*/ 60579 h 529494"/>
                  <a:gd name="connsiteX17" fmla="*/ 94679 w 3550159"/>
                  <a:gd name="connsiteY17" fmla="*/ 60579 h 529494"/>
                  <a:gd name="connsiteX18" fmla="*/ 94679 w 3550159"/>
                  <a:gd name="connsiteY18" fmla="*/ 66675 h 529494"/>
                  <a:gd name="connsiteX19" fmla="*/ 105156 w 3550159"/>
                  <a:gd name="connsiteY19" fmla="*/ 66675 h 529494"/>
                  <a:gd name="connsiteX20" fmla="*/ 105156 w 3550159"/>
                  <a:gd name="connsiteY20" fmla="*/ 72771 h 529494"/>
                  <a:gd name="connsiteX21" fmla="*/ 113539 w 3550159"/>
                  <a:gd name="connsiteY21" fmla="*/ 72771 h 529494"/>
                  <a:gd name="connsiteX22" fmla="*/ 113539 w 3550159"/>
                  <a:gd name="connsiteY22" fmla="*/ 78867 h 529494"/>
                  <a:gd name="connsiteX23" fmla="*/ 128302 w 3550159"/>
                  <a:gd name="connsiteY23" fmla="*/ 78867 h 529494"/>
                  <a:gd name="connsiteX24" fmla="*/ 128302 w 3550159"/>
                  <a:gd name="connsiteY24" fmla="*/ 84867 h 529494"/>
                  <a:gd name="connsiteX25" fmla="*/ 132493 w 3550159"/>
                  <a:gd name="connsiteY25" fmla="*/ 84867 h 529494"/>
                  <a:gd name="connsiteX26" fmla="*/ 132493 w 3550159"/>
                  <a:gd name="connsiteY26" fmla="*/ 90963 h 529494"/>
                  <a:gd name="connsiteX27" fmla="*/ 136684 w 3550159"/>
                  <a:gd name="connsiteY27" fmla="*/ 90963 h 529494"/>
                  <a:gd name="connsiteX28" fmla="*/ 136684 w 3550159"/>
                  <a:gd name="connsiteY28" fmla="*/ 97059 h 529494"/>
                  <a:gd name="connsiteX29" fmla="*/ 149353 w 3550159"/>
                  <a:gd name="connsiteY29" fmla="*/ 97059 h 529494"/>
                  <a:gd name="connsiteX30" fmla="*/ 149353 w 3550159"/>
                  <a:gd name="connsiteY30" fmla="*/ 103060 h 529494"/>
                  <a:gd name="connsiteX31" fmla="*/ 178785 w 3550159"/>
                  <a:gd name="connsiteY31" fmla="*/ 103060 h 529494"/>
                  <a:gd name="connsiteX32" fmla="*/ 178785 w 3550159"/>
                  <a:gd name="connsiteY32" fmla="*/ 109156 h 529494"/>
                  <a:gd name="connsiteX33" fmla="*/ 187167 w 3550159"/>
                  <a:gd name="connsiteY33" fmla="*/ 109156 h 529494"/>
                  <a:gd name="connsiteX34" fmla="*/ 187167 w 3550159"/>
                  <a:gd name="connsiteY34" fmla="*/ 115252 h 529494"/>
                  <a:gd name="connsiteX35" fmla="*/ 189262 w 3550159"/>
                  <a:gd name="connsiteY35" fmla="*/ 115252 h 529494"/>
                  <a:gd name="connsiteX36" fmla="*/ 189262 w 3550159"/>
                  <a:gd name="connsiteY36" fmla="*/ 121253 h 529494"/>
                  <a:gd name="connsiteX37" fmla="*/ 204026 w 3550159"/>
                  <a:gd name="connsiteY37" fmla="*/ 121253 h 529494"/>
                  <a:gd name="connsiteX38" fmla="*/ 204026 w 3550159"/>
                  <a:gd name="connsiteY38" fmla="*/ 133445 h 529494"/>
                  <a:gd name="connsiteX39" fmla="*/ 206122 w 3550159"/>
                  <a:gd name="connsiteY39" fmla="*/ 133445 h 529494"/>
                  <a:gd name="connsiteX40" fmla="*/ 206122 w 3550159"/>
                  <a:gd name="connsiteY40" fmla="*/ 139446 h 529494"/>
                  <a:gd name="connsiteX41" fmla="*/ 212408 w 3550159"/>
                  <a:gd name="connsiteY41" fmla="*/ 139446 h 529494"/>
                  <a:gd name="connsiteX42" fmla="*/ 212408 w 3550159"/>
                  <a:gd name="connsiteY42" fmla="*/ 145542 h 529494"/>
                  <a:gd name="connsiteX43" fmla="*/ 216599 w 3550159"/>
                  <a:gd name="connsiteY43" fmla="*/ 145542 h 529494"/>
                  <a:gd name="connsiteX44" fmla="*/ 216599 w 3550159"/>
                  <a:gd name="connsiteY44" fmla="*/ 151638 h 529494"/>
                  <a:gd name="connsiteX45" fmla="*/ 233458 w 3550159"/>
                  <a:gd name="connsiteY45" fmla="*/ 151638 h 529494"/>
                  <a:gd name="connsiteX46" fmla="*/ 233458 w 3550159"/>
                  <a:gd name="connsiteY46" fmla="*/ 163734 h 529494"/>
                  <a:gd name="connsiteX47" fmla="*/ 237649 w 3550159"/>
                  <a:gd name="connsiteY47" fmla="*/ 163734 h 529494"/>
                  <a:gd name="connsiteX48" fmla="*/ 237649 w 3550159"/>
                  <a:gd name="connsiteY48" fmla="*/ 169830 h 529494"/>
                  <a:gd name="connsiteX49" fmla="*/ 260795 w 3550159"/>
                  <a:gd name="connsiteY49" fmla="*/ 169830 h 529494"/>
                  <a:gd name="connsiteX50" fmla="*/ 260795 w 3550159"/>
                  <a:gd name="connsiteY50" fmla="*/ 175926 h 529494"/>
                  <a:gd name="connsiteX51" fmla="*/ 264986 w 3550159"/>
                  <a:gd name="connsiteY51" fmla="*/ 175926 h 529494"/>
                  <a:gd name="connsiteX52" fmla="*/ 264986 w 3550159"/>
                  <a:gd name="connsiteY52" fmla="*/ 181927 h 529494"/>
                  <a:gd name="connsiteX53" fmla="*/ 271273 w 3550159"/>
                  <a:gd name="connsiteY53" fmla="*/ 181927 h 529494"/>
                  <a:gd name="connsiteX54" fmla="*/ 271273 w 3550159"/>
                  <a:gd name="connsiteY54" fmla="*/ 194119 h 529494"/>
                  <a:gd name="connsiteX55" fmla="*/ 290227 w 3550159"/>
                  <a:gd name="connsiteY55" fmla="*/ 194119 h 529494"/>
                  <a:gd name="connsiteX56" fmla="*/ 290227 w 3550159"/>
                  <a:gd name="connsiteY56" fmla="*/ 200120 h 529494"/>
                  <a:gd name="connsiteX57" fmla="*/ 298609 w 3550159"/>
                  <a:gd name="connsiteY57" fmla="*/ 200120 h 529494"/>
                  <a:gd name="connsiteX58" fmla="*/ 298609 w 3550159"/>
                  <a:gd name="connsiteY58" fmla="*/ 206216 h 529494"/>
                  <a:gd name="connsiteX59" fmla="*/ 311278 w 3550159"/>
                  <a:gd name="connsiteY59" fmla="*/ 206216 h 529494"/>
                  <a:gd name="connsiteX60" fmla="*/ 311278 w 3550159"/>
                  <a:gd name="connsiteY60" fmla="*/ 212312 h 529494"/>
                  <a:gd name="connsiteX61" fmla="*/ 328137 w 3550159"/>
                  <a:gd name="connsiteY61" fmla="*/ 212312 h 529494"/>
                  <a:gd name="connsiteX62" fmla="*/ 328137 w 3550159"/>
                  <a:gd name="connsiteY62" fmla="*/ 218313 h 529494"/>
                  <a:gd name="connsiteX63" fmla="*/ 355474 w 3550159"/>
                  <a:gd name="connsiteY63" fmla="*/ 218313 h 529494"/>
                  <a:gd name="connsiteX64" fmla="*/ 355474 w 3550159"/>
                  <a:gd name="connsiteY64" fmla="*/ 224409 h 529494"/>
                  <a:gd name="connsiteX65" fmla="*/ 357569 w 3550159"/>
                  <a:gd name="connsiteY65" fmla="*/ 224409 h 529494"/>
                  <a:gd name="connsiteX66" fmla="*/ 357569 w 3550159"/>
                  <a:gd name="connsiteY66" fmla="*/ 230505 h 529494"/>
                  <a:gd name="connsiteX67" fmla="*/ 368046 w 3550159"/>
                  <a:gd name="connsiteY67" fmla="*/ 230505 h 529494"/>
                  <a:gd name="connsiteX68" fmla="*/ 368046 w 3550159"/>
                  <a:gd name="connsiteY68" fmla="*/ 236505 h 529494"/>
                  <a:gd name="connsiteX69" fmla="*/ 374333 w 3550159"/>
                  <a:gd name="connsiteY69" fmla="*/ 236505 h 529494"/>
                  <a:gd name="connsiteX70" fmla="*/ 374333 w 3550159"/>
                  <a:gd name="connsiteY70" fmla="*/ 248697 h 529494"/>
                  <a:gd name="connsiteX71" fmla="*/ 382810 w 3550159"/>
                  <a:gd name="connsiteY71" fmla="*/ 248697 h 529494"/>
                  <a:gd name="connsiteX72" fmla="*/ 382810 w 3550159"/>
                  <a:gd name="connsiteY72" fmla="*/ 254698 h 529494"/>
                  <a:gd name="connsiteX73" fmla="*/ 389097 w 3550159"/>
                  <a:gd name="connsiteY73" fmla="*/ 254698 h 529494"/>
                  <a:gd name="connsiteX74" fmla="*/ 389097 w 3550159"/>
                  <a:gd name="connsiteY74" fmla="*/ 266890 h 529494"/>
                  <a:gd name="connsiteX75" fmla="*/ 391192 w 3550159"/>
                  <a:gd name="connsiteY75" fmla="*/ 266890 h 529494"/>
                  <a:gd name="connsiteX76" fmla="*/ 391192 w 3550159"/>
                  <a:gd name="connsiteY76" fmla="*/ 272986 h 529494"/>
                  <a:gd name="connsiteX77" fmla="*/ 403765 w 3550159"/>
                  <a:gd name="connsiteY77" fmla="*/ 272986 h 529494"/>
                  <a:gd name="connsiteX78" fmla="*/ 403765 w 3550159"/>
                  <a:gd name="connsiteY78" fmla="*/ 278987 h 529494"/>
                  <a:gd name="connsiteX79" fmla="*/ 426911 w 3550159"/>
                  <a:gd name="connsiteY79" fmla="*/ 278987 h 529494"/>
                  <a:gd name="connsiteX80" fmla="*/ 426911 w 3550159"/>
                  <a:gd name="connsiteY80" fmla="*/ 285083 h 529494"/>
                  <a:gd name="connsiteX81" fmla="*/ 433293 w 3550159"/>
                  <a:gd name="connsiteY81" fmla="*/ 285083 h 529494"/>
                  <a:gd name="connsiteX82" fmla="*/ 433293 w 3550159"/>
                  <a:gd name="connsiteY82" fmla="*/ 291179 h 529494"/>
                  <a:gd name="connsiteX83" fmla="*/ 441675 w 3550159"/>
                  <a:gd name="connsiteY83" fmla="*/ 291179 h 529494"/>
                  <a:gd name="connsiteX84" fmla="*/ 441675 w 3550159"/>
                  <a:gd name="connsiteY84" fmla="*/ 297180 h 529494"/>
                  <a:gd name="connsiteX85" fmla="*/ 450057 w 3550159"/>
                  <a:gd name="connsiteY85" fmla="*/ 297180 h 529494"/>
                  <a:gd name="connsiteX86" fmla="*/ 450057 w 3550159"/>
                  <a:gd name="connsiteY86" fmla="*/ 303276 h 529494"/>
                  <a:gd name="connsiteX87" fmla="*/ 454248 w 3550159"/>
                  <a:gd name="connsiteY87" fmla="*/ 303276 h 529494"/>
                  <a:gd name="connsiteX88" fmla="*/ 454248 w 3550159"/>
                  <a:gd name="connsiteY88" fmla="*/ 309372 h 529494"/>
                  <a:gd name="connsiteX89" fmla="*/ 527876 w 3550159"/>
                  <a:gd name="connsiteY89" fmla="*/ 309372 h 529494"/>
                  <a:gd name="connsiteX90" fmla="*/ 527876 w 3550159"/>
                  <a:gd name="connsiteY90" fmla="*/ 315372 h 529494"/>
                  <a:gd name="connsiteX91" fmla="*/ 548926 w 3550159"/>
                  <a:gd name="connsiteY91" fmla="*/ 315372 h 529494"/>
                  <a:gd name="connsiteX92" fmla="*/ 548926 w 3550159"/>
                  <a:gd name="connsiteY92" fmla="*/ 321468 h 529494"/>
                  <a:gd name="connsiteX93" fmla="*/ 555213 w 3550159"/>
                  <a:gd name="connsiteY93" fmla="*/ 321468 h 529494"/>
                  <a:gd name="connsiteX94" fmla="*/ 555213 w 3550159"/>
                  <a:gd name="connsiteY94" fmla="*/ 327564 h 529494"/>
                  <a:gd name="connsiteX95" fmla="*/ 597313 w 3550159"/>
                  <a:gd name="connsiteY95" fmla="*/ 327564 h 529494"/>
                  <a:gd name="connsiteX96" fmla="*/ 597313 w 3550159"/>
                  <a:gd name="connsiteY96" fmla="*/ 333565 h 529494"/>
                  <a:gd name="connsiteX97" fmla="*/ 611982 w 3550159"/>
                  <a:gd name="connsiteY97" fmla="*/ 333565 h 529494"/>
                  <a:gd name="connsiteX98" fmla="*/ 611982 w 3550159"/>
                  <a:gd name="connsiteY98" fmla="*/ 339661 h 529494"/>
                  <a:gd name="connsiteX99" fmla="*/ 641509 w 3550159"/>
                  <a:gd name="connsiteY99" fmla="*/ 339661 h 529494"/>
                  <a:gd name="connsiteX100" fmla="*/ 641509 w 3550159"/>
                  <a:gd name="connsiteY100" fmla="*/ 345757 h 529494"/>
                  <a:gd name="connsiteX101" fmla="*/ 643605 w 3550159"/>
                  <a:gd name="connsiteY101" fmla="*/ 345757 h 529494"/>
                  <a:gd name="connsiteX102" fmla="*/ 643605 w 3550159"/>
                  <a:gd name="connsiteY102" fmla="*/ 351758 h 529494"/>
                  <a:gd name="connsiteX103" fmla="*/ 666655 w 3550159"/>
                  <a:gd name="connsiteY103" fmla="*/ 351758 h 529494"/>
                  <a:gd name="connsiteX104" fmla="*/ 666655 w 3550159"/>
                  <a:gd name="connsiteY104" fmla="*/ 357854 h 529494"/>
                  <a:gd name="connsiteX105" fmla="*/ 679324 w 3550159"/>
                  <a:gd name="connsiteY105" fmla="*/ 357854 h 529494"/>
                  <a:gd name="connsiteX106" fmla="*/ 679324 w 3550159"/>
                  <a:gd name="connsiteY106" fmla="*/ 363950 h 529494"/>
                  <a:gd name="connsiteX107" fmla="*/ 715042 w 3550159"/>
                  <a:gd name="connsiteY107" fmla="*/ 363950 h 529494"/>
                  <a:gd name="connsiteX108" fmla="*/ 715042 w 3550159"/>
                  <a:gd name="connsiteY108" fmla="*/ 370046 h 529494"/>
                  <a:gd name="connsiteX109" fmla="*/ 830771 w 3550159"/>
                  <a:gd name="connsiteY109" fmla="*/ 370046 h 529494"/>
                  <a:gd name="connsiteX110" fmla="*/ 830771 w 3550159"/>
                  <a:gd name="connsiteY110" fmla="*/ 376047 h 529494"/>
                  <a:gd name="connsiteX111" fmla="*/ 868585 w 3550159"/>
                  <a:gd name="connsiteY111" fmla="*/ 376047 h 529494"/>
                  <a:gd name="connsiteX112" fmla="*/ 868585 w 3550159"/>
                  <a:gd name="connsiteY112" fmla="*/ 382238 h 529494"/>
                  <a:gd name="connsiteX113" fmla="*/ 921163 w 3550159"/>
                  <a:gd name="connsiteY113" fmla="*/ 382238 h 529494"/>
                  <a:gd name="connsiteX114" fmla="*/ 921163 w 3550159"/>
                  <a:gd name="connsiteY114" fmla="*/ 388334 h 529494"/>
                  <a:gd name="connsiteX115" fmla="*/ 940118 w 3550159"/>
                  <a:gd name="connsiteY115" fmla="*/ 388334 h 529494"/>
                  <a:gd name="connsiteX116" fmla="*/ 940118 w 3550159"/>
                  <a:gd name="connsiteY116" fmla="*/ 394430 h 529494"/>
                  <a:gd name="connsiteX117" fmla="*/ 950596 w 3550159"/>
                  <a:gd name="connsiteY117" fmla="*/ 394430 h 529494"/>
                  <a:gd name="connsiteX118" fmla="*/ 950596 w 3550159"/>
                  <a:gd name="connsiteY118" fmla="*/ 400621 h 529494"/>
                  <a:gd name="connsiteX119" fmla="*/ 984314 w 3550159"/>
                  <a:gd name="connsiteY119" fmla="*/ 400621 h 529494"/>
                  <a:gd name="connsiteX120" fmla="*/ 984314 w 3550159"/>
                  <a:gd name="connsiteY120" fmla="*/ 406717 h 529494"/>
                  <a:gd name="connsiteX121" fmla="*/ 990601 w 3550159"/>
                  <a:gd name="connsiteY121" fmla="*/ 406717 h 529494"/>
                  <a:gd name="connsiteX122" fmla="*/ 990601 w 3550159"/>
                  <a:gd name="connsiteY122" fmla="*/ 412813 h 529494"/>
                  <a:gd name="connsiteX123" fmla="*/ 1005269 w 3550159"/>
                  <a:gd name="connsiteY123" fmla="*/ 412813 h 529494"/>
                  <a:gd name="connsiteX124" fmla="*/ 1005269 w 3550159"/>
                  <a:gd name="connsiteY124" fmla="*/ 418909 h 529494"/>
                  <a:gd name="connsiteX125" fmla="*/ 1017937 w 3550159"/>
                  <a:gd name="connsiteY125" fmla="*/ 418909 h 529494"/>
                  <a:gd name="connsiteX126" fmla="*/ 1017937 w 3550159"/>
                  <a:gd name="connsiteY126" fmla="*/ 425100 h 529494"/>
                  <a:gd name="connsiteX127" fmla="*/ 1043179 w 3550159"/>
                  <a:gd name="connsiteY127" fmla="*/ 425100 h 529494"/>
                  <a:gd name="connsiteX128" fmla="*/ 1043179 w 3550159"/>
                  <a:gd name="connsiteY128" fmla="*/ 431196 h 529494"/>
                  <a:gd name="connsiteX129" fmla="*/ 1272445 w 3550159"/>
                  <a:gd name="connsiteY129" fmla="*/ 431196 h 529494"/>
                  <a:gd name="connsiteX130" fmla="*/ 1272445 w 3550159"/>
                  <a:gd name="connsiteY130" fmla="*/ 437388 h 529494"/>
                  <a:gd name="connsiteX131" fmla="*/ 1385983 w 3550159"/>
                  <a:gd name="connsiteY131" fmla="*/ 437388 h 529494"/>
                  <a:gd name="connsiteX132" fmla="*/ 1385983 w 3550159"/>
                  <a:gd name="connsiteY132" fmla="*/ 443579 h 529494"/>
                  <a:gd name="connsiteX133" fmla="*/ 1655160 w 3550159"/>
                  <a:gd name="connsiteY133" fmla="*/ 443579 h 529494"/>
                  <a:gd name="connsiteX134" fmla="*/ 1655160 w 3550159"/>
                  <a:gd name="connsiteY134" fmla="*/ 449865 h 529494"/>
                  <a:gd name="connsiteX135" fmla="*/ 1728788 w 3550159"/>
                  <a:gd name="connsiteY135" fmla="*/ 449865 h 529494"/>
                  <a:gd name="connsiteX136" fmla="*/ 1728788 w 3550159"/>
                  <a:gd name="connsiteY136" fmla="*/ 456152 h 529494"/>
                  <a:gd name="connsiteX137" fmla="*/ 1808703 w 3550159"/>
                  <a:gd name="connsiteY137" fmla="*/ 456152 h 529494"/>
                  <a:gd name="connsiteX138" fmla="*/ 1808703 w 3550159"/>
                  <a:gd name="connsiteY138" fmla="*/ 462438 h 529494"/>
                  <a:gd name="connsiteX139" fmla="*/ 1970628 w 3550159"/>
                  <a:gd name="connsiteY139" fmla="*/ 462438 h 529494"/>
                  <a:gd name="connsiteX140" fmla="*/ 1970628 w 3550159"/>
                  <a:gd name="connsiteY140" fmla="*/ 468915 h 529494"/>
                  <a:gd name="connsiteX141" fmla="*/ 1987487 w 3550159"/>
                  <a:gd name="connsiteY141" fmla="*/ 468915 h 529494"/>
                  <a:gd name="connsiteX142" fmla="*/ 1987487 w 3550159"/>
                  <a:gd name="connsiteY142" fmla="*/ 475297 h 529494"/>
                  <a:gd name="connsiteX143" fmla="*/ 2105311 w 3550159"/>
                  <a:gd name="connsiteY143" fmla="*/ 475297 h 529494"/>
                  <a:gd name="connsiteX144" fmla="*/ 2105311 w 3550159"/>
                  <a:gd name="connsiteY144" fmla="*/ 481774 h 529494"/>
                  <a:gd name="connsiteX145" fmla="*/ 2197799 w 3550159"/>
                  <a:gd name="connsiteY145" fmla="*/ 481774 h 529494"/>
                  <a:gd name="connsiteX146" fmla="*/ 2197799 w 3550159"/>
                  <a:gd name="connsiteY146" fmla="*/ 488156 h 529494"/>
                  <a:gd name="connsiteX147" fmla="*/ 2216754 w 3550159"/>
                  <a:gd name="connsiteY147" fmla="*/ 488156 h 529494"/>
                  <a:gd name="connsiteX148" fmla="*/ 2216754 w 3550159"/>
                  <a:gd name="connsiteY148" fmla="*/ 494633 h 529494"/>
                  <a:gd name="connsiteX149" fmla="*/ 3070575 w 3550159"/>
                  <a:gd name="connsiteY149" fmla="*/ 494633 h 529494"/>
                  <a:gd name="connsiteX150" fmla="*/ 3070575 w 3550159"/>
                  <a:gd name="connsiteY150" fmla="*/ 529494 h 529494"/>
                  <a:gd name="connsiteX151" fmla="*/ 3550159 w 3550159"/>
                  <a:gd name="connsiteY151" fmla="*/ 529494 h 529494"/>
                  <a:gd name="connsiteX0" fmla="*/ 0 w 3550159"/>
                  <a:gd name="connsiteY0" fmla="*/ 0 h 529494"/>
                  <a:gd name="connsiteX1" fmla="*/ 21051 w 3550159"/>
                  <a:gd name="connsiteY1" fmla="*/ 6000 h 529494"/>
                  <a:gd name="connsiteX2" fmla="*/ 21051 w 3550159"/>
                  <a:gd name="connsiteY2" fmla="*/ 12096 h 529494"/>
                  <a:gd name="connsiteX3" fmla="*/ 29433 w 3550159"/>
                  <a:gd name="connsiteY3" fmla="*/ 12096 h 529494"/>
                  <a:gd name="connsiteX4" fmla="*/ 40006 w 3550159"/>
                  <a:gd name="connsiteY4" fmla="*/ 18192 h 529494"/>
                  <a:gd name="connsiteX5" fmla="*/ 40006 w 3550159"/>
                  <a:gd name="connsiteY5" fmla="*/ 24193 h 529494"/>
                  <a:gd name="connsiteX6" fmla="*/ 52579 w 3550159"/>
                  <a:gd name="connsiteY6" fmla="*/ 24193 h 529494"/>
                  <a:gd name="connsiteX7" fmla="*/ 52579 w 3550159"/>
                  <a:gd name="connsiteY7" fmla="*/ 30289 h 529494"/>
                  <a:gd name="connsiteX8" fmla="*/ 58865 w 3550159"/>
                  <a:gd name="connsiteY8" fmla="*/ 30289 h 529494"/>
                  <a:gd name="connsiteX9" fmla="*/ 58865 w 3550159"/>
                  <a:gd name="connsiteY9" fmla="*/ 42386 h 529494"/>
                  <a:gd name="connsiteX10" fmla="*/ 63056 w 3550159"/>
                  <a:gd name="connsiteY10" fmla="*/ 42386 h 529494"/>
                  <a:gd name="connsiteX11" fmla="*/ 63056 w 3550159"/>
                  <a:gd name="connsiteY11" fmla="*/ 48482 h 529494"/>
                  <a:gd name="connsiteX12" fmla="*/ 75724 w 3550159"/>
                  <a:gd name="connsiteY12" fmla="*/ 48482 h 529494"/>
                  <a:gd name="connsiteX13" fmla="*/ 75724 w 3550159"/>
                  <a:gd name="connsiteY13" fmla="*/ 54578 h 529494"/>
                  <a:gd name="connsiteX14" fmla="*/ 90393 w 3550159"/>
                  <a:gd name="connsiteY14" fmla="*/ 54578 h 529494"/>
                  <a:gd name="connsiteX15" fmla="*/ 90393 w 3550159"/>
                  <a:gd name="connsiteY15" fmla="*/ 60579 h 529494"/>
                  <a:gd name="connsiteX16" fmla="*/ 94679 w 3550159"/>
                  <a:gd name="connsiteY16" fmla="*/ 60579 h 529494"/>
                  <a:gd name="connsiteX17" fmla="*/ 94679 w 3550159"/>
                  <a:gd name="connsiteY17" fmla="*/ 66675 h 529494"/>
                  <a:gd name="connsiteX18" fmla="*/ 105156 w 3550159"/>
                  <a:gd name="connsiteY18" fmla="*/ 66675 h 529494"/>
                  <a:gd name="connsiteX19" fmla="*/ 105156 w 3550159"/>
                  <a:gd name="connsiteY19" fmla="*/ 72771 h 529494"/>
                  <a:gd name="connsiteX20" fmla="*/ 113539 w 3550159"/>
                  <a:gd name="connsiteY20" fmla="*/ 72771 h 529494"/>
                  <a:gd name="connsiteX21" fmla="*/ 113539 w 3550159"/>
                  <a:gd name="connsiteY21" fmla="*/ 78867 h 529494"/>
                  <a:gd name="connsiteX22" fmla="*/ 128302 w 3550159"/>
                  <a:gd name="connsiteY22" fmla="*/ 78867 h 529494"/>
                  <a:gd name="connsiteX23" fmla="*/ 128302 w 3550159"/>
                  <a:gd name="connsiteY23" fmla="*/ 84867 h 529494"/>
                  <a:gd name="connsiteX24" fmla="*/ 132493 w 3550159"/>
                  <a:gd name="connsiteY24" fmla="*/ 84867 h 529494"/>
                  <a:gd name="connsiteX25" fmla="*/ 132493 w 3550159"/>
                  <a:gd name="connsiteY25" fmla="*/ 90963 h 529494"/>
                  <a:gd name="connsiteX26" fmla="*/ 136684 w 3550159"/>
                  <a:gd name="connsiteY26" fmla="*/ 90963 h 529494"/>
                  <a:gd name="connsiteX27" fmla="*/ 136684 w 3550159"/>
                  <a:gd name="connsiteY27" fmla="*/ 97059 h 529494"/>
                  <a:gd name="connsiteX28" fmla="*/ 149353 w 3550159"/>
                  <a:gd name="connsiteY28" fmla="*/ 97059 h 529494"/>
                  <a:gd name="connsiteX29" fmla="*/ 149353 w 3550159"/>
                  <a:gd name="connsiteY29" fmla="*/ 103060 h 529494"/>
                  <a:gd name="connsiteX30" fmla="*/ 178785 w 3550159"/>
                  <a:gd name="connsiteY30" fmla="*/ 103060 h 529494"/>
                  <a:gd name="connsiteX31" fmla="*/ 178785 w 3550159"/>
                  <a:gd name="connsiteY31" fmla="*/ 109156 h 529494"/>
                  <a:gd name="connsiteX32" fmla="*/ 187167 w 3550159"/>
                  <a:gd name="connsiteY32" fmla="*/ 109156 h 529494"/>
                  <a:gd name="connsiteX33" fmla="*/ 187167 w 3550159"/>
                  <a:gd name="connsiteY33" fmla="*/ 115252 h 529494"/>
                  <a:gd name="connsiteX34" fmla="*/ 189262 w 3550159"/>
                  <a:gd name="connsiteY34" fmla="*/ 115252 h 529494"/>
                  <a:gd name="connsiteX35" fmla="*/ 189262 w 3550159"/>
                  <a:gd name="connsiteY35" fmla="*/ 121253 h 529494"/>
                  <a:gd name="connsiteX36" fmla="*/ 204026 w 3550159"/>
                  <a:gd name="connsiteY36" fmla="*/ 121253 h 529494"/>
                  <a:gd name="connsiteX37" fmla="*/ 204026 w 3550159"/>
                  <a:gd name="connsiteY37" fmla="*/ 133445 h 529494"/>
                  <a:gd name="connsiteX38" fmla="*/ 206122 w 3550159"/>
                  <a:gd name="connsiteY38" fmla="*/ 133445 h 529494"/>
                  <a:gd name="connsiteX39" fmla="*/ 206122 w 3550159"/>
                  <a:gd name="connsiteY39" fmla="*/ 139446 h 529494"/>
                  <a:gd name="connsiteX40" fmla="*/ 212408 w 3550159"/>
                  <a:gd name="connsiteY40" fmla="*/ 139446 h 529494"/>
                  <a:gd name="connsiteX41" fmla="*/ 212408 w 3550159"/>
                  <a:gd name="connsiteY41" fmla="*/ 145542 h 529494"/>
                  <a:gd name="connsiteX42" fmla="*/ 216599 w 3550159"/>
                  <a:gd name="connsiteY42" fmla="*/ 145542 h 529494"/>
                  <a:gd name="connsiteX43" fmla="*/ 216599 w 3550159"/>
                  <a:gd name="connsiteY43" fmla="*/ 151638 h 529494"/>
                  <a:gd name="connsiteX44" fmla="*/ 233458 w 3550159"/>
                  <a:gd name="connsiteY44" fmla="*/ 151638 h 529494"/>
                  <a:gd name="connsiteX45" fmla="*/ 233458 w 3550159"/>
                  <a:gd name="connsiteY45" fmla="*/ 163734 h 529494"/>
                  <a:gd name="connsiteX46" fmla="*/ 237649 w 3550159"/>
                  <a:gd name="connsiteY46" fmla="*/ 163734 h 529494"/>
                  <a:gd name="connsiteX47" fmla="*/ 237649 w 3550159"/>
                  <a:gd name="connsiteY47" fmla="*/ 169830 h 529494"/>
                  <a:gd name="connsiteX48" fmla="*/ 260795 w 3550159"/>
                  <a:gd name="connsiteY48" fmla="*/ 169830 h 529494"/>
                  <a:gd name="connsiteX49" fmla="*/ 260795 w 3550159"/>
                  <a:gd name="connsiteY49" fmla="*/ 175926 h 529494"/>
                  <a:gd name="connsiteX50" fmla="*/ 264986 w 3550159"/>
                  <a:gd name="connsiteY50" fmla="*/ 175926 h 529494"/>
                  <a:gd name="connsiteX51" fmla="*/ 264986 w 3550159"/>
                  <a:gd name="connsiteY51" fmla="*/ 181927 h 529494"/>
                  <a:gd name="connsiteX52" fmla="*/ 271273 w 3550159"/>
                  <a:gd name="connsiteY52" fmla="*/ 181927 h 529494"/>
                  <a:gd name="connsiteX53" fmla="*/ 271273 w 3550159"/>
                  <a:gd name="connsiteY53" fmla="*/ 194119 h 529494"/>
                  <a:gd name="connsiteX54" fmla="*/ 290227 w 3550159"/>
                  <a:gd name="connsiteY54" fmla="*/ 194119 h 529494"/>
                  <a:gd name="connsiteX55" fmla="*/ 290227 w 3550159"/>
                  <a:gd name="connsiteY55" fmla="*/ 200120 h 529494"/>
                  <a:gd name="connsiteX56" fmla="*/ 298609 w 3550159"/>
                  <a:gd name="connsiteY56" fmla="*/ 200120 h 529494"/>
                  <a:gd name="connsiteX57" fmla="*/ 298609 w 3550159"/>
                  <a:gd name="connsiteY57" fmla="*/ 206216 h 529494"/>
                  <a:gd name="connsiteX58" fmla="*/ 311278 w 3550159"/>
                  <a:gd name="connsiteY58" fmla="*/ 206216 h 529494"/>
                  <a:gd name="connsiteX59" fmla="*/ 311278 w 3550159"/>
                  <a:gd name="connsiteY59" fmla="*/ 212312 h 529494"/>
                  <a:gd name="connsiteX60" fmla="*/ 328137 w 3550159"/>
                  <a:gd name="connsiteY60" fmla="*/ 212312 h 529494"/>
                  <a:gd name="connsiteX61" fmla="*/ 328137 w 3550159"/>
                  <a:gd name="connsiteY61" fmla="*/ 218313 h 529494"/>
                  <a:gd name="connsiteX62" fmla="*/ 355474 w 3550159"/>
                  <a:gd name="connsiteY62" fmla="*/ 218313 h 529494"/>
                  <a:gd name="connsiteX63" fmla="*/ 355474 w 3550159"/>
                  <a:gd name="connsiteY63" fmla="*/ 224409 h 529494"/>
                  <a:gd name="connsiteX64" fmla="*/ 357569 w 3550159"/>
                  <a:gd name="connsiteY64" fmla="*/ 224409 h 529494"/>
                  <a:gd name="connsiteX65" fmla="*/ 357569 w 3550159"/>
                  <a:gd name="connsiteY65" fmla="*/ 230505 h 529494"/>
                  <a:gd name="connsiteX66" fmla="*/ 368046 w 3550159"/>
                  <a:gd name="connsiteY66" fmla="*/ 230505 h 529494"/>
                  <a:gd name="connsiteX67" fmla="*/ 368046 w 3550159"/>
                  <a:gd name="connsiteY67" fmla="*/ 236505 h 529494"/>
                  <a:gd name="connsiteX68" fmla="*/ 374333 w 3550159"/>
                  <a:gd name="connsiteY68" fmla="*/ 236505 h 529494"/>
                  <a:gd name="connsiteX69" fmla="*/ 374333 w 3550159"/>
                  <a:gd name="connsiteY69" fmla="*/ 248697 h 529494"/>
                  <a:gd name="connsiteX70" fmla="*/ 382810 w 3550159"/>
                  <a:gd name="connsiteY70" fmla="*/ 248697 h 529494"/>
                  <a:gd name="connsiteX71" fmla="*/ 382810 w 3550159"/>
                  <a:gd name="connsiteY71" fmla="*/ 254698 h 529494"/>
                  <a:gd name="connsiteX72" fmla="*/ 389097 w 3550159"/>
                  <a:gd name="connsiteY72" fmla="*/ 254698 h 529494"/>
                  <a:gd name="connsiteX73" fmla="*/ 389097 w 3550159"/>
                  <a:gd name="connsiteY73" fmla="*/ 266890 h 529494"/>
                  <a:gd name="connsiteX74" fmla="*/ 391192 w 3550159"/>
                  <a:gd name="connsiteY74" fmla="*/ 266890 h 529494"/>
                  <a:gd name="connsiteX75" fmla="*/ 391192 w 3550159"/>
                  <a:gd name="connsiteY75" fmla="*/ 272986 h 529494"/>
                  <a:gd name="connsiteX76" fmla="*/ 403765 w 3550159"/>
                  <a:gd name="connsiteY76" fmla="*/ 272986 h 529494"/>
                  <a:gd name="connsiteX77" fmla="*/ 403765 w 3550159"/>
                  <a:gd name="connsiteY77" fmla="*/ 278987 h 529494"/>
                  <a:gd name="connsiteX78" fmla="*/ 426911 w 3550159"/>
                  <a:gd name="connsiteY78" fmla="*/ 278987 h 529494"/>
                  <a:gd name="connsiteX79" fmla="*/ 426911 w 3550159"/>
                  <a:gd name="connsiteY79" fmla="*/ 285083 h 529494"/>
                  <a:gd name="connsiteX80" fmla="*/ 433293 w 3550159"/>
                  <a:gd name="connsiteY80" fmla="*/ 285083 h 529494"/>
                  <a:gd name="connsiteX81" fmla="*/ 433293 w 3550159"/>
                  <a:gd name="connsiteY81" fmla="*/ 291179 h 529494"/>
                  <a:gd name="connsiteX82" fmla="*/ 441675 w 3550159"/>
                  <a:gd name="connsiteY82" fmla="*/ 291179 h 529494"/>
                  <a:gd name="connsiteX83" fmla="*/ 441675 w 3550159"/>
                  <a:gd name="connsiteY83" fmla="*/ 297180 h 529494"/>
                  <a:gd name="connsiteX84" fmla="*/ 450057 w 3550159"/>
                  <a:gd name="connsiteY84" fmla="*/ 297180 h 529494"/>
                  <a:gd name="connsiteX85" fmla="*/ 450057 w 3550159"/>
                  <a:gd name="connsiteY85" fmla="*/ 303276 h 529494"/>
                  <a:gd name="connsiteX86" fmla="*/ 454248 w 3550159"/>
                  <a:gd name="connsiteY86" fmla="*/ 303276 h 529494"/>
                  <a:gd name="connsiteX87" fmla="*/ 454248 w 3550159"/>
                  <a:gd name="connsiteY87" fmla="*/ 309372 h 529494"/>
                  <a:gd name="connsiteX88" fmla="*/ 527876 w 3550159"/>
                  <a:gd name="connsiteY88" fmla="*/ 309372 h 529494"/>
                  <a:gd name="connsiteX89" fmla="*/ 527876 w 3550159"/>
                  <a:gd name="connsiteY89" fmla="*/ 315372 h 529494"/>
                  <a:gd name="connsiteX90" fmla="*/ 548926 w 3550159"/>
                  <a:gd name="connsiteY90" fmla="*/ 315372 h 529494"/>
                  <a:gd name="connsiteX91" fmla="*/ 548926 w 3550159"/>
                  <a:gd name="connsiteY91" fmla="*/ 321468 h 529494"/>
                  <a:gd name="connsiteX92" fmla="*/ 555213 w 3550159"/>
                  <a:gd name="connsiteY92" fmla="*/ 321468 h 529494"/>
                  <a:gd name="connsiteX93" fmla="*/ 555213 w 3550159"/>
                  <a:gd name="connsiteY93" fmla="*/ 327564 h 529494"/>
                  <a:gd name="connsiteX94" fmla="*/ 597313 w 3550159"/>
                  <a:gd name="connsiteY94" fmla="*/ 327564 h 529494"/>
                  <a:gd name="connsiteX95" fmla="*/ 597313 w 3550159"/>
                  <a:gd name="connsiteY95" fmla="*/ 333565 h 529494"/>
                  <a:gd name="connsiteX96" fmla="*/ 611982 w 3550159"/>
                  <a:gd name="connsiteY96" fmla="*/ 333565 h 529494"/>
                  <a:gd name="connsiteX97" fmla="*/ 611982 w 3550159"/>
                  <a:gd name="connsiteY97" fmla="*/ 339661 h 529494"/>
                  <a:gd name="connsiteX98" fmla="*/ 641509 w 3550159"/>
                  <a:gd name="connsiteY98" fmla="*/ 339661 h 529494"/>
                  <a:gd name="connsiteX99" fmla="*/ 641509 w 3550159"/>
                  <a:gd name="connsiteY99" fmla="*/ 345757 h 529494"/>
                  <a:gd name="connsiteX100" fmla="*/ 643605 w 3550159"/>
                  <a:gd name="connsiteY100" fmla="*/ 345757 h 529494"/>
                  <a:gd name="connsiteX101" fmla="*/ 643605 w 3550159"/>
                  <a:gd name="connsiteY101" fmla="*/ 351758 h 529494"/>
                  <a:gd name="connsiteX102" fmla="*/ 666655 w 3550159"/>
                  <a:gd name="connsiteY102" fmla="*/ 351758 h 529494"/>
                  <a:gd name="connsiteX103" fmla="*/ 666655 w 3550159"/>
                  <a:gd name="connsiteY103" fmla="*/ 357854 h 529494"/>
                  <a:gd name="connsiteX104" fmla="*/ 679324 w 3550159"/>
                  <a:gd name="connsiteY104" fmla="*/ 357854 h 529494"/>
                  <a:gd name="connsiteX105" fmla="*/ 679324 w 3550159"/>
                  <a:gd name="connsiteY105" fmla="*/ 363950 h 529494"/>
                  <a:gd name="connsiteX106" fmla="*/ 715042 w 3550159"/>
                  <a:gd name="connsiteY106" fmla="*/ 363950 h 529494"/>
                  <a:gd name="connsiteX107" fmla="*/ 715042 w 3550159"/>
                  <a:gd name="connsiteY107" fmla="*/ 370046 h 529494"/>
                  <a:gd name="connsiteX108" fmla="*/ 830771 w 3550159"/>
                  <a:gd name="connsiteY108" fmla="*/ 370046 h 529494"/>
                  <a:gd name="connsiteX109" fmla="*/ 830771 w 3550159"/>
                  <a:gd name="connsiteY109" fmla="*/ 376047 h 529494"/>
                  <a:gd name="connsiteX110" fmla="*/ 868585 w 3550159"/>
                  <a:gd name="connsiteY110" fmla="*/ 376047 h 529494"/>
                  <a:gd name="connsiteX111" fmla="*/ 868585 w 3550159"/>
                  <a:gd name="connsiteY111" fmla="*/ 382238 h 529494"/>
                  <a:gd name="connsiteX112" fmla="*/ 921163 w 3550159"/>
                  <a:gd name="connsiteY112" fmla="*/ 382238 h 529494"/>
                  <a:gd name="connsiteX113" fmla="*/ 921163 w 3550159"/>
                  <a:gd name="connsiteY113" fmla="*/ 388334 h 529494"/>
                  <a:gd name="connsiteX114" fmla="*/ 940118 w 3550159"/>
                  <a:gd name="connsiteY114" fmla="*/ 388334 h 529494"/>
                  <a:gd name="connsiteX115" fmla="*/ 940118 w 3550159"/>
                  <a:gd name="connsiteY115" fmla="*/ 394430 h 529494"/>
                  <a:gd name="connsiteX116" fmla="*/ 950596 w 3550159"/>
                  <a:gd name="connsiteY116" fmla="*/ 394430 h 529494"/>
                  <a:gd name="connsiteX117" fmla="*/ 950596 w 3550159"/>
                  <a:gd name="connsiteY117" fmla="*/ 400621 h 529494"/>
                  <a:gd name="connsiteX118" fmla="*/ 984314 w 3550159"/>
                  <a:gd name="connsiteY118" fmla="*/ 400621 h 529494"/>
                  <a:gd name="connsiteX119" fmla="*/ 984314 w 3550159"/>
                  <a:gd name="connsiteY119" fmla="*/ 406717 h 529494"/>
                  <a:gd name="connsiteX120" fmla="*/ 990601 w 3550159"/>
                  <a:gd name="connsiteY120" fmla="*/ 406717 h 529494"/>
                  <a:gd name="connsiteX121" fmla="*/ 990601 w 3550159"/>
                  <a:gd name="connsiteY121" fmla="*/ 412813 h 529494"/>
                  <a:gd name="connsiteX122" fmla="*/ 1005269 w 3550159"/>
                  <a:gd name="connsiteY122" fmla="*/ 412813 h 529494"/>
                  <a:gd name="connsiteX123" fmla="*/ 1005269 w 3550159"/>
                  <a:gd name="connsiteY123" fmla="*/ 418909 h 529494"/>
                  <a:gd name="connsiteX124" fmla="*/ 1017937 w 3550159"/>
                  <a:gd name="connsiteY124" fmla="*/ 418909 h 529494"/>
                  <a:gd name="connsiteX125" fmla="*/ 1017937 w 3550159"/>
                  <a:gd name="connsiteY125" fmla="*/ 425100 h 529494"/>
                  <a:gd name="connsiteX126" fmla="*/ 1043179 w 3550159"/>
                  <a:gd name="connsiteY126" fmla="*/ 425100 h 529494"/>
                  <a:gd name="connsiteX127" fmla="*/ 1043179 w 3550159"/>
                  <a:gd name="connsiteY127" fmla="*/ 431196 h 529494"/>
                  <a:gd name="connsiteX128" fmla="*/ 1272445 w 3550159"/>
                  <a:gd name="connsiteY128" fmla="*/ 431196 h 529494"/>
                  <a:gd name="connsiteX129" fmla="*/ 1272445 w 3550159"/>
                  <a:gd name="connsiteY129" fmla="*/ 437388 h 529494"/>
                  <a:gd name="connsiteX130" fmla="*/ 1385983 w 3550159"/>
                  <a:gd name="connsiteY130" fmla="*/ 437388 h 529494"/>
                  <a:gd name="connsiteX131" fmla="*/ 1385983 w 3550159"/>
                  <a:gd name="connsiteY131" fmla="*/ 443579 h 529494"/>
                  <a:gd name="connsiteX132" fmla="*/ 1655160 w 3550159"/>
                  <a:gd name="connsiteY132" fmla="*/ 443579 h 529494"/>
                  <a:gd name="connsiteX133" fmla="*/ 1655160 w 3550159"/>
                  <a:gd name="connsiteY133" fmla="*/ 449865 h 529494"/>
                  <a:gd name="connsiteX134" fmla="*/ 1728788 w 3550159"/>
                  <a:gd name="connsiteY134" fmla="*/ 449865 h 529494"/>
                  <a:gd name="connsiteX135" fmla="*/ 1728788 w 3550159"/>
                  <a:gd name="connsiteY135" fmla="*/ 456152 h 529494"/>
                  <a:gd name="connsiteX136" fmla="*/ 1808703 w 3550159"/>
                  <a:gd name="connsiteY136" fmla="*/ 456152 h 529494"/>
                  <a:gd name="connsiteX137" fmla="*/ 1808703 w 3550159"/>
                  <a:gd name="connsiteY137" fmla="*/ 462438 h 529494"/>
                  <a:gd name="connsiteX138" fmla="*/ 1970628 w 3550159"/>
                  <a:gd name="connsiteY138" fmla="*/ 462438 h 529494"/>
                  <a:gd name="connsiteX139" fmla="*/ 1970628 w 3550159"/>
                  <a:gd name="connsiteY139" fmla="*/ 468915 h 529494"/>
                  <a:gd name="connsiteX140" fmla="*/ 1987487 w 3550159"/>
                  <a:gd name="connsiteY140" fmla="*/ 468915 h 529494"/>
                  <a:gd name="connsiteX141" fmla="*/ 1987487 w 3550159"/>
                  <a:gd name="connsiteY141" fmla="*/ 475297 h 529494"/>
                  <a:gd name="connsiteX142" fmla="*/ 2105311 w 3550159"/>
                  <a:gd name="connsiteY142" fmla="*/ 475297 h 529494"/>
                  <a:gd name="connsiteX143" fmla="*/ 2105311 w 3550159"/>
                  <a:gd name="connsiteY143" fmla="*/ 481774 h 529494"/>
                  <a:gd name="connsiteX144" fmla="*/ 2197799 w 3550159"/>
                  <a:gd name="connsiteY144" fmla="*/ 481774 h 529494"/>
                  <a:gd name="connsiteX145" fmla="*/ 2197799 w 3550159"/>
                  <a:gd name="connsiteY145" fmla="*/ 488156 h 529494"/>
                  <a:gd name="connsiteX146" fmla="*/ 2216754 w 3550159"/>
                  <a:gd name="connsiteY146" fmla="*/ 488156 h 529494"/>
                  <a:gd name="connsiteX147" fmla="*/ 2216754 w 3550159"/>
                  <a:gd name="connsiteY147" fmla="*/ 494633 h 529494"/>
                  <a:gd name="connsiteX148" fmla="*/ 3070575 w 3550159"/>
                  <a:gd name="connsiteY148" fmla="*/ 494633 h 529494"/>
                  <a:gd name="connsiteX149" fmla="*/ 3070575 w 3550159"/>
                  <a:gd name="connsiteY149" fmla="*/ 529494 h 529494"/>
                  <a:gd name="connsiteX150" fmla="*/ 3550159 w 3550159"/>
                  <a:gd name="connsiteY150" fmla="*/ 529494 h 529494"/>
                  <a:gd name="connsiteX0" fmla="*/ 0 w 3529108"/>
                  <a:gd name="connsiteY0" fmla="*/ 0 h 523494"/>
                  <a:gd name="connsiteX1" fmla="*/ 0 w 3529108"/>
                  <a:gd name="connsiteY1" fmla="*/ 6096 h 523494"/>
                  <a:gd name="connsiteX2" fmla="*/ 8382 w 3529108"/>
                  <a:gd name="connsiteY2" fmla="*/ 6096 h 523494"/>
                  <a:gd name="connsiteX3" fmla="*/ 18955 w 3529108"/>
                  <a:gd name="connsiteY3" fmla="*/ 12192 h 523494"/>
                  <a:gd name="connsiteX4" fmla="*/ 18955 w 3529108"/>
                  <a:gd name="connsiteY4" fmla="*/ 18193 h 523494"/>
                  <a:gd name="connsiteX5" fmla="*/ 31528 w 3529108"/>
                  <a:gd name="connsiteY5" fmla="*/ 18193 h 523494"/>
                  <a:gd name="connsiteX6" fmla="*/ 31528 w 3529108"/>
                  <a:gd name="connsiteY6" fmla="*/ 24289 h 523494"/>
                  <a:gd name="connsiteX7" fmla="*/ 37814 w 3529108"/>
                  <a:gd name="connsiteY7" fmla="*/ 24289 h 523494"/>
                  <a:gd name="connsiteX8" fmla="*/ 37814 w 3529108"/>
                  <a:gd name="connsiteY8" fmla="*/ 36386 h 523494"/>
                  <a:gd name="connsiteX9" fmla="*/ 42005 w 3529108"/>
                  <a:gd name="connsiteY9" fmla="*/ 36386 h 523494"/>
                  <a:gd name="connsiteX10" fmla="*/ 42005 w 3529108"/>
                  <a:gd name="connsiteY10" fmla="*/ 42482 h 523494"/>
                  <a:gd name="connsiteX11" fmla="*/ 54673 w 3529108"/>
                  <a:gd name="connsiteY11" fmla="*/ 42482 h 523494"/>
                  <a:gd name="connsiteX12" fmla="*/ 54673 w 3529108"/>
                  <a:gd name="connsiteY12" fmla="*/ 48578 h 523494"/>
                  <a:gd name="connsiteX13" fmla="*/ 69342 w 3529108"/>
                  <a:gd name="connsiteY13" fmla="*/ 48578 h 523494"/>
                  <a:gd name="connsiteX14" fmla="*/ 69342 w 3529108"/>
                  <a:gd name="connsiteY14" fmla="*/ 54579 h 523494"/>
                  <a:gd name="connsiteX15" fmla="*/ 73628 w 3529108"/>
                  <a:gd name="connsiteY15" fmla="*/ 54579 h 523494"/>
                  <a:gd name="connsiteX16" fmla="*/ 73628 w 3529108"/>
                  <a:gd name="connsiteY16" fmla="*/ 60675 h 523494"/>
                  <a:gd name="connsiteX17" fmla="*/ 84105 w 3529108"/>
                  <a:gd name="connsiteY17" fmla="*/ 60675 h 523494"/>
                  <a:gd name="connsiteX18" fmla="*/ 84105 w 3529108"/>
                  <a:gd name="connsiteY18" fmla="*/ 66771 h 523494"/>
                  <a:gd name="connsiteX19" fmla="*/ 92488 w 3529108"/>
                  <a:gd name="connsiteY19" fmla="*/ 66771 h 523494"/>
                  <a:gd name="connsiteX20" fmla="*/ 92488 w 3529108"/>
                  <a:gd name="connsiteY20" fmla="*/ 72867 h 523494"/>
                  <a:gd name="connsiteX21" fmla="*/ 107251 w 3529108"/>
                  <a:gd name="connsiteY21" fmla="*/ 72867 h 523494"/>
                  <a:gd name="connsiteX22" fmla="*/ 107251 w 3529108"/>
                  <a:gd name="connsiteY22" fmla="*/ 78867 h 523494"/>
                  <a:gd name="connsiteX23" fmla="*/ 111442 w 3529108"/>
                  <a:gd name="connsiteY23" fmla="*/ 78867 h 523494"/>
                  <a:gd name="connsiteX24" fmla="*/ 111442 w 3529108"/>
                  <a:gd name="connsiteY24" fmla="*/ 84963 h 523494"/>
                  <a:gd name="connsiteX25" fmla="*/ 115633 w 3529108"/>
                  <a:gd name="connsiteY25" fmla="*/ 84963 h 523494"/>
                  <a:gd name="connsiteX26" fmla="*/ 115633 w 3529108"/>
                  <a:gd name="connsiteY26" fmla="*/ 91059 h 523494"/>
                  <a:gd name="connsiteX27" fmla="*/ 128302 w 3529108"/>
                  <a:gd name="connsiteY27" fmla="*/ 91059 h 523494"/>
                  <a:gd name="connsiteX28" fmla="*/ 128302 w 3529108"/>
                  <a:gd name="connsiteY28" fmla="*/ 97060 h 523494"/>
                  <a:gd name="connsiteX29" fmla="*/ 157734 w 3529108"/>
                  <a:gd name="connsiteY29" fmla="*/ 97060 h 523494"/>
                  <a:gd name="connsiteX30" fmla="*/ 157734 w 3529108"/>
                  <a:gd name="connsiteY30" fmla="*/ 103156 h 523494"/>
                  <a:gd name="connsiteX31" fmla="*/ 166116 w 3529108"/>
                  <a:gd name="connsiteY31" fmla="*/ 103156 h 523494"/>
                  <a:gd name="connsiteX32" fmla="*/ 166116 w 3529108"/>
                  <a:gd name="connsiteY32" fmla="*/ 109252 h 523494"/>
                  <a:gd name="connsiteX33" fmla="*/ 168211 w 3529108"/>
                  <a:gd name="connsiteY33" fmla="*/ 109252 h 523494"/>
                  <a:gd name="connsiteX34" fmla="*/ 168211 w 3529108"/>
                  <a:gd name="connsiteY34" fmla="*/ 115253 h 523494"/>
                  <a:gd name="connsiteX35" fmla="*/ 182975 w 3529108"/>
                  <a:gd name="connsiteY35" fmla="*/ 115253 h 523494"/>
                  <a:gd name="connsiteX36" fmla="*/ 182975 w 3529108"/>
                  <a:gd name="connsiteY36" fmla="*/ 127445 h 523494"/>
                  <a:gd name="connsiteX37" fmla="*/ 185071 w 3529108"/>
                  <a:gd name="connsiteY37" fmla="*/ 127445 h 523494"/>
                  <a:gd name="connsiteX38" fmla="*/ 185071 w 3529108"/>
                  <a:gd name="connsiteY38" fmla="*/ 133446 h 523494"/>
                  <a:gd name="connsiteX39" fmla="*/ 191357 w 3529108"/>
                  <a:gd name="connsiteY39" fmla="*/ 133446 h 523494"/>
                  <a:gd name="connsiteX40" fmla="*/ 191357 w 3529108"/>
                  <a:gd name="connsiteY40" fmla="*/ 139542 h 523494"/>
                  <a:gd name="connsiteX41" fmla="*/ 195548 w 3529108"/>
                  <a:gd name="connsiteY41" fmla="*/ 139542 h 523494"/>
                  <a:gd name="connsiteX42" fmla="*/ 195548 w 3529108"/>
                  <a:gd name="connsiteY42" fmla="*/ 145638 h 523494"/>
                  <a:gd name="connsiteX43" fmla="*/ 212407 w 3529108"/>
                  <a:gd name="connsiteY43" fmla="*/ 145638 h 523494"/>
                  <a:gd name="connsiteX44" fmla="*/ 212407 w 3529108"/>
                  <a:gd name="connsiteY44" fmla="*/ 157734 h 523494"/>
                  <a:gd name="connsiteX45" fmla="*/ 216598 w 3529108"/>
                  <a:gd name="connsiteY45" fmla="*/ 157734 h 523494"/>
                  <a:gd name="connsiteX46" fmla="*/ 216598 w 3529108"/>
                  <a:gd name="connsiteY46" fmla="*/ 163830 h 523494"/>
                  <a:gd name="connsiteX47" fmla="*/ 239744 w 3529108"/>
                  <a:gd name="connsiteY47" fmla="*/ 163830 h 523494"/>
                  <a:gd name="connsiteX48" fmla="*/ 239744 w 3529108"/>
                  <a:gd name="connsiteY48" fmla="*/ 169926 h 523494"/>
                  <a:gd name="connsiteX49" fmla="*/ 243935 w 3529108"/>
                  <a:gd name="connsiteY49" fmla="*/ 169926 h 523494"/>
                  <a:gd name="connsiteX50" fmla="*/ 243935 w 3529108"/>
                  <a:gd name="connsiteY50" fmla="*/ 175927 h 523494"/>
                  <a:gd name="connsiteX51" fmla="*/ 250222 w 3529108"/>
                  <a:gd name="connsiteY51" fmla="*/ 175927 h 523494"/>
                  <a:gd name="connsiteX52" fmla="*/ 250222 w 3529108"/>
                  <a:gd name="connsiteY52" fmla="*/ 188119 h 523494"/>
                  <a:gd name="connsiteX53" fmla="*/ 269176 w 3529108"/>
                  <a:gd name="connsiteY53" fmla="*/ 188119 h 523494"/>
                  <a:gd name="connsiteX54" fmla="*/ 269176 w 3529108"/>
                  <a:gd name="connsiteY54" fmla="*/ 194120 h 523494"/>
                  <a:gd name="connsiteX55" fmla="*/ 277558 w 3529108"/>
                  <a:gd name="connsiteY55" fmla="*/ 194120 h 523494"/>
                  <a:gd name="connsiteX56" fmla="*/ 277558 w 3529108"/>
                  <a:gd name="connsiteY56" fmla="*/ 200216 h 523494"/>
                  <a:gd name="connsiteX57" fmla="*/ 290227 w 3529108"/>
                  <a:gd name="connsiteY57" fmla="*/ 200216 h 523494"/>
                  <a:gd name="connsiteX58" fmla="*/ 290227 w 3529108"/>
                  <a:gd name="connsiteY58" fmla="*/ 206312 h 523494"/>
                  <a:gd name="connsiteX59" fmla="*/ 307086 w 3529108"/>
                  <a:gd name="connsiteY59" fmla="*/ 206312 h 523494"/>
                  <a:gd name="connsiteX60" fmla="*/ 307086 w 3529108"/>
                  <a:gd name="connsiteY60" fmla="*/ 212313 h 523494"/>
                  <a:gd name="connsiteX61" fmla="*/ 334423 w 3529108"/>
                  <a:gd name="connsiteY61" fmla="*/ 212313 h 523494"/>
                  <a:gd name="connsiteX62" fmla="*/ 334423 w 3529108"/>
                  <a:gd name="connsiteY62" fmla="*/ 218409 h 523494"/>
                  <a:gd name="connsiteX63" fmla="*/ 336518 w 3529108"/>
                  <a:gd name="connsiteY63" fmla="*/ 218409 h 523494"/>
                  <a:gd name="connsiteX64" fmla="*/ 336518 w 3529108"/>
                  <a:gd name="connsiteY64" fmla="*/ 224505 h 523494"/>
                  <a:gd name="connsiteX65" fmla="*/ 346995 w 3529108"/>
                  <a:gd name="connsiteY65" fmla="*/ 224505 h 523494"/>
                  <a:gd name="connsiteX66" fmla="*/ 346995 w 3529108"/>
                  <a:gd name="connsiteY66" fmla="*/ 230505 h 523494"/>
                  <a:gd name="connsiteX67" fmla="*/ 353282 w 3529108"/>
                  <a:gd name="connsiteY67" fmla="*/ 230505 h 523494"/>
                  <a:gd name="connsiteX68" fmla="*/ 353282 w 3529108"/>
                  <a:gd name="connsiteY68" fmla="*/ 242697 h 523494"/>
                  <a:gd name="connsiteX69" fmla="*/ 361759 w 3529108"/>
                  <a:gd name="connsiteY69" fmla="*/ 242697 h 523494"/>
                  <a:gd name="connsiteX70" fmla="*/ 361759 w 3529108"/>
                  <a:gd name="connsiteY70" fmla="*/ 248698 h 523494"/>
                  <a:gd name="connsiteX71" fmla="*/ 368046 w 3529108"/>
                  <a:gd name="connsiteY71" fmla="*/ 248698 h 523494"/>
                  <a:gd name="connsiteX72" fmla="*/ 368046 w 3529108"/>
                  <a:gd name="connsiteY72" fmla="*/ 260890 h 523494"/>
                  <a:gd name="connsiteX73" fmla="*/ 370141 w 3529108"/>
                  <a:gd name="connsiteY73" fmla="*/ 260890 h 523494"/>
                  <a:gd name="connsiteX74" fmla="*/ 370141 w 3529108"/>
                  <a:gd name="connsiteY74" fmla="*/ 266986 h 523494"/>
                  <a:gd name="connsiteX75" fmla="*/ 382714 w 3529108"/>
                  <a:gd name="connsiteY75" fmla="*/ 266986 h 523494"/>
                  <a:gd name="connsiteX76" fmla="*/ 382714 w 3529108"/>
                  <a:gd name="connsiteY76" fmla="*/ 272987 h 523494"/>
                  <a:gd name="connsiteX77" fmla="*/ 405860 w 3529108"/>
                  <a:gd name="connsiteY77" fmla="*/ 272987 h 523494"/>
                  <a:gd name="connsiteX78" fmla="*/ 405860 w 3529108"/>
                  <a:gd name="connsiteY78" fmla="*/ 279083 h 523494"/>
                  <a:gd name="connsiteX79" fmla="*/ 412242 w 3529108"/>
                  <a:gd name="connsiteY79" fmla="*/ 279083 h 523494"/>
                  <a:gd name="connsiteX80" fmla="*/ 412242 w 3529108"/>
                  <a:gd name="connsiteY80" fmla="*/ 285179 h 523494"/>
                  <a:gd name="connsiteX81" fmla="*/ 420624 w 3529108"/>
                  <a:gd name="connsiteY81" fmla="*/ 285179 h 523494"/>
                  <a:gd name="connsiteX82" fmla="*/ 420624 w 3529108"/>
                  <a:gd name="connsiteY82" fmla="*/ 291180 h 523494"/>
                  <a:gd name="connsiteX83" fmla="*/ 429006 w 3529108"/>
                  <a:gd name="connsiteY83" fmla="*/ 291180 h 523494"/>
                  <a:gd name="connsiteX84" fmla="*/ 429006 w 3529108"/>
                  <a:gd name="connsiteY84" fmla="*/ 297276 h 523494"/>
                  <a:gd name="connsiteX85" fmla="*/ 433197 w 3529108"/>
                  <a:gd name="connsiteY85" fmla="*/ 297276 h 523494"/>
                  <a:gd name="connsiteX86" fmla="*/ 433197 w 3529108"/>
                  <a:gd name="connsiteY86" fmla="*/ 303372 h 523494"/>
                  <a:gd name="connsiteX87" fmla="*/ 506825 w 3529108"/>
                  <a:gd name="connsiteY87" fmla="*/ 303372 h 523494"/>
                  <a:gd name="connsiteX88" fmla="*/ 506825 w 3529108"/>
                  <a:gd name="connsiteY88" fmla="*/ 309372 h 523494"/>
                  <a:gd name="connsiteX89" fmla="*/ 527875 w 3529108"/>
                  <a:gd name="connsiteY89" fmla="*/ 309372 h 523494"/>
                  <a:gd name="connsiteX90" fmla="*/ 527875 w 3529108"/>
                  <a:gd name="connsiteY90" fmla="*/ 315468 h 523494"/>
                  <a:gd name="connsiteX91" fmla="*/ 534162 w 3529108"/>
                  <a:gd name="connsiteY91" fmla="*/ 315468 h 523494"/>
                  <a:gd name="connsiteX92" fmla="*/ 534162 w 3529108"/>
                  <a:gd name="connsiteY92" fmla="*/ 321564 h 523494"/>
                  <a:gd name="connsiteX93" fmla="*/ 576262 w 3529108"/>
                  <a:gd name="connsiteY93" fmla="*/ 321564 h 523494"/>
                  <a:gd name="connsiteX94" fmla="*/ 576262 w 3529108"/>
                  <a:gd name="connsiteY94" fmla="*/ 327565 h 523494"/>
                  <a:gd name="connsiteX95" fmla="*/ 590931 w 3529108"/>
                  <a:gd name="connsiteY95" fmla="*/ 327565 h 523494"/>
                  <a:gd name="connsiteX96" fmla="*/ 590931 w 3529108"/>
                  <a:gd name="connsiteY96" fmla="*/ 333661 h 523494"/>
                  <a:gd name="connsiteX97" fmla="*/ 620458 w 3529108"/>
                  <a:gd name="connsiteY97" fmla="*/ 333661 h 523494"/>
                  <a:gd name="connsiteX98" fmla="*/ 620458 w 3529108"/>
                  <a:gd name="connsiteY98" fmla="*/ 339757 h 523494"/>
                  <a:gd name="connsiteX99" fmla="*/ 622554 w 3529108"/>
                  <a:gd name="connsiteY99" fmla="*/ 339757 h 523494"/>
                  <a:gd name="connsiteX100" fmla="*/ 622554 w 3529108"/>
                  <a:gd name="connsiteY100" fmla="*/ 345758 h 523494"/>
                  <a:gd name="connsiteX101" fmla="*/ 645604 w 3529108"/>
                  <a:gd name="connsiteY101" fmla="*/ 345758 h 523494"/>
                  <a:gd name="connsiteX102" fmla="*/ 645604 w 3529108"/>
                  <a:gd name="connsiteY102" fmla="*/ 351854 h 523494"/>
                  <a:gd name="connsiteX103" fmla="*/ 658273 w 3529108"/>
                  <a:gd name="connsiteY103" fmla="*/ 351854 h 523494"/>
                  <a:gd name="connsiteX104" fmla="*/ 658273 w 3529108"/>
                  <a:gd name="connsiteY104" fmla="*/ 357950 h 523494"/>
                  <a:gd name="connsiteX105" fmla="*/ 693991 w 3529108"/>
                  <a:gd name="connsiteY105" fmla="*/ 357950 h 523494"/>
                  <a:gd name="connsiteX106" fmla="*/ 693991 w 3529108"/>
                  <a:gd name="connsiteY106" fmla="*/ 364046 h 523494"/>
                  <a:gd name="connsiteX107" fmla="*/ 809720 w 3529108"/>
                  <a:gd name="connsiteY107" fmla="*/ 364046 h 523494"/>
                  <a:gd name="connsiteX108" fmla="*/ 809720 w 3529108"/>
                  <a:gd name="connsiteY108" fmla="*/ 370047 h 523494"/>
                  <a:gd name="connsiteX109" fmla="*/ 847534 w 3529108"/>
                  <a:gd name="connsiteY109" fmla="*/ 370047 h 523494"/>
                  <a:gd name="connsiteX110" fmla="*/ 847534 w 3529108"/>
                  <a:gd name="connsiteY110" fmla="*/ 376238 h 523494"/>
                  <a:gd name="connsiteX111" fmla="*/ 900112 w 3529108"/>
                  <a:gd name="connsiteY111" fmla="*/ 376238 h 523494"/>
                  <a:gd name="connsiteX112" fmla="*/ 900112 w 3529108"/>
                  <a:gd name="connsiteY112" fmla="*/ 382334 h 523494"/>
                  <a:gd name="connsiteX113" fmla="*/ 919067 w 3529108"/>
                  <a:gd name="connsiteY113" fmla="*/ 382334 h 523494"/>
                  <a:gd name="connsiteX114" fmla="*/ 919067 w 3529108"/>
                  <a:gd name="connsiteY114" fmla="*/ 388430 h 523494"/>
                  <a:gd name="connsiteX115" fmla="*/ 929545 w 3529108"/>
                  <a:gd name="connsiteY115" fmla="*/ 388430 h 523494"/>
                  <a:gd name="connsiteX116" fmla="*/ 929545 w 3529108"/>
                  <a:gd name="connsiteY116" fmla="*/ 394621 h 523494"/>
                  <a:gd name="connsiteX117" fmla="*/ 963263 w 3529108"/>
                  <a:gd name="connsiteY117" fmla="*/ 394621 h 523494"/>
                  <a:gd name="connsiteX118" fmla="*/ 963263 w 3529108"/>
                  <a:gd name="connsiteY118" fmla="*/ 400717 h 523494"/>
                  <a:gd name="connsiteX119" fmla="*/ 969550 w 3529108"/>
                  <a:gd name="connsiteY119" fmla="*/ 400717 h 523494"/>
                  <a:gd name="connsiteX120" fmla="*/ 969550 w 3529108"/>
                  <a:gd name="connsiteY120" fmla="*/ 406813 h 523494"/>
                  <a:gd name="connsiteX121" fmla="*/ 984218 w 3529108"/>
                  <a:gd name="connsiteY121" fmla="*/ 406813 h 523494"/>
                  <a:gd name="connsiteX122" fmla="*/ 984218 w 3529108"/>
                  <a:gd name="connsiteY122" fmla="*/ 412909 h 523494"/>
                  <a:gd name="connsiteX123" fmla="*/ 996886 w 3529108"/>
                  <a:gd name="connsiteY123" fmla="*/ 412909 h 523494"/>
                  <a:gd name="connsiteX124" fmla="*/ 996886 w 3529108"/>
                  <a:gd name="connsiteY124" fmla="*/ 419100 h 523494"/>
                  <a:gd name="connsiteX125" fmla="*/ 1022128 w 3529108"/>
                  <a:gd name="connsiteY125" fmla="*/ 419100 h 523494"/>
                  <a:gd name="connsiteX126" fmla="*/ 1022128 w 3529108"/>
                  <a:gd name="connsiteY126" fmla="*/ 425196 h 523494"/>
                  <a:gd name="connsiteX127" fmla="*/ 1251394 w 3529108"/>
                  <a:gd name="connsiteY127" fmla="*/ 425196 h 523494"/>
                  <a:gd name="connsiteX128" fmla="*/ 1251394 w 3529108"/>
                  <a:gd name="connsiteY128" fmla="*/ 431388 h 523494"/>
                  <a:gd name="connsiteX129" fmla="*/ 1364932 w 3529108"/>
                  <a:gd name="connsiteY129" fmla="*/ 431388 h 523494"/>
                  <a:gd name="connsiteX130" fmla="*/ 1364932 w 3529108"/>
                  <a:gd name="connsiteY130" fmla="*/ 437579 h 523494"/>
                  <a:gd name="connsiteX131" fmla="*/ 1634109 w 3529108"/>
                  <a:gd name="connsiteY131" fmla="*/ 437579 h 523494"/>
                  <a:gd name="connsiteX132" fmla="*/ 1634109 w 3529108"/>
                  <a:gd name="connsiteY132" fmla="*/ 443865 h 523494"/>
                  <a:gd name="connsiteX133" fmla="*/ 1707737 w 3529108"/>
                  <a:gd name="connsiteY133" fmla="*/ 443865 h 523494"/>
                  <a:gd name="connsiteX134" fmla="*/ 1707737 w 3529108"/>
                  <a:gd name="connsiteY134" fmla="*/ 450152 h 523494"/>
                  <a:gd name="connsiteX135" fmla="*/ 1787652 w 3529108"/>
                  <a:gd name="connsiteY135" fmla="*/ 450152 h 523494"/>
                  <a:gd name="connsiteX136" fmla="*/ 1787652 w 3529108"/>
                  <a:gd name="connsiteY136" fmla="*/ 456438 h 523494"/>
                  <a:gd name="connsiteX137" fmla="*/ 1949577 w 3529108"/>
                  <a:gd name="connsiteY137" fmla="*/ 456438 h 523494"/>
                  <a:gd name="connsiteX138" fmla="*/ 1949577 w 3529108"/>
                  <a:gd name="connsiteY138" fmla="*/ 462915 h 523494"/>
                  <a:gd name="connsiteX139" fmla="*/ 1966436 w 3529108"/>
                  <a:gd name="connsiteY139" fmla="*/ 462915 h 523494"/>
                  <a:gd name="connsiteX140" fmla="*/ 1966436 w 3529108"/>
                  <a:gd name="connsiteY140" fmla="*/ 469297 h 523494"/>
                  <a:gd name="connsiteX141" fmla="*/ 2084260 w 3529108"/>
                  <a:gd name="connsiteY141" fmla="*/ 469297 h 523494"/>
                  <a:gd name="connsiteX142" fmla="*/ 2084260 w 3529108"/>
                  <a:gd name="connsiteY142" fmla="*/ 475774 h 523494"/>
                  <a:gd name="connsiteX143" fmla="*/ 2176748 w 3529108"/>
                  <a:gd name="connsiteY143" fmla="*/ 475774 h 523494"/>
                  <a:gd name="connsiteX144" fmla="*/ 2176748 w 3529108"/>
                  <a:gd name="connsiteY144" fmla="*/ 482156 h 523494"/>
                  <a:gd name="connsiteX145" fmla="*/ 2195703 w 3529108"/>
                  <a:gd name="connsiteY145" fmla="*/ 482156 h 523494"/>
                  <a:gd name="connsiteX146" fmla="*/ 2195703 w 3529108"/>
                  <a:gd name="connsiteY146" fmla="*/ 488633 h 523494"/>
                  <a:gd name="connsiteX147" fmla="*/ 3049524 w 3529108"/>
                  <a:gd name="connsiteY147" fmla="*/ 488633 h 523494"/>
                  <a:gd name="connsiteX148" fmla="*/ 3049524 w 3529108"/>
                  <a:gd name="connsiteY148" fmla="*/ 523494 h 523494"/>
                  <a:gd name="connsiteX149" fmla="*/ 3529108 w 3529108"/>
                  <a:gd name="connsiteY149" fmla="*/ 523494 h 523494"/>
                  <a:gd name="connsiteX0" fmla="*/ 0 w 3529108"/>
                  <a:gd name="connsiteY0" fmla="*/ 0 h 523494"/>
                  <a:gd name="connsiteX1" fmla="*/ 0 w 3529108"/>
                  <a:gd name="connsiteY1" fmla="*/ 6096 h 523494"/>
                  <a:gd name="connsiteX2" fmla="*/ 18955 w 3529108"/>
                  <a:gd name="connsiteY2" fmla="*/ 12192 h 523494"/>
                  <a:gd name="connsiteX3" fmla="*/ 18955 w 3529108"/>
                  <a:gd name="connsiteY3" fmla="*/ 18193 h 523494"/>
                  <a:gd name="connsiteX4" fmla="*/ 31528 w 3529108"/>
                  <a:gd name="connsiteY4" fmla="*/ 18193 h 523494"/>
                  <a:gd name="connsiteX5" fmla="*/ 31528 w 3529108"/>
                  <a:gd name="connsiteY5" fmla="*/ 24289 h 523494"/>
                  <a:gd name="connsiteX6" fmla="*/ 37814 w 3529108"/>
                  <a:gd name="connsiteY6" fmla="*/ 24289 h 523494"/>
                  <a:gd name="connsiteX7" fmla="*/ 37814 w 3529108"/>
                  <a:gd name="connsiteY7" fmla="*/ 36386 h 523494"/>
                  <a:gd name="connsiteX8" fmla="*/ 42005 w 3529108"/>
                  <a:gd name="connsiteY8" fmla="*/ 36386 h 523494"/>
                  <a:gd name="connsiteX9" fmla="*/ 42005 w 3529108"/>
                  <a:gd name="connsiteY9" fmla="*/ 42482 h 523494"/>
                  <a:gd name="connsiteX10" fmla="*/ 54673 w 3529108"/>
                  <a:gd name="connsiteY10" fmla="*/ 42482 h 523494"/>
                  <a:gd name="connsiteX11" fmla="*/ 54673 w 3529108"/>
                  <a:gd name="connsiteY11" fmla="*/ 48578 h 523494"/>
                  <a:gd name="connsiteX12" fmla="*/ 69342 w 3529108"/>
                  <a:gd name="connsiteY12" fmla="*/ 48578 h 523494"/>
                  <a:gd name="connsiteX13" fmla="*/ 69342 w 3529108"/>
                  <a:gd name="connsiteY13" fmla="*/ 54579 h 523494"/>
                  <a:gd name="connsiteX14" fmla="*/ 73628 w 3529108"/>
                  <a:gd name="connsiteY14" fmla="*/ 54579 h 523494"/>
                  <a:gd name="connsiteX15" fmla="*/ 73628 w 3529108"/>
                  <a:gd name="connsiteY15" fmla="*/ 60675 h 523494"/>
                  <a:gd name="connsiteX16" fmla="*/ 84105 w 3529108"/>
                  <a:gd name="connsiteY16" fmla="*/ 60675 h 523494"/>
                  <a:gd name="connsiteX17" fmla="*/ 84105 w 3529108"/>
                  <a:gd name="connsiteY17" fmla="*/ 66771 h 523494"/>
                  <a:gd name="connsiteX18" fmla="*/ 92488 w 3529108"/>
                  <a:gd name="connsiteY18" fmla="*/ 66771 h 523494"/>
                  <a:gd name="connsiteX19" fmla="*/ 92488 w 3529108"/>
                  <a:gd name="connsiteY19" fmla="*/ 72867 h 523494"/>
                  <a:gd name="connsiteX20" fmla="*/ 107251 w 3529108"/>
                  <a:gd name="connsiteY20" fmla="*/ 72867 h 523494"/>
                  <a:gd name="connsiteX21" fmla="*/ 107251 w 3529108"/>
                  <a:gd name="connsiteY21" fmla="*/ 78867 h 523494"/>
                  <a:gd name="connsiteX22" fmla="*/ 111442 w 3529108"/>
                  <a:gd name="connsiteY22" fmla="*/ 78867 h 523494"/>
                  <a:gd name="connsiteX23" fmla="*/ 111442 w 3529108"/>
                  <a:gd name="connsiteY23" fmla="*/ 84963 h 523494"/>
                  <a:gd name="connsiteX24" fmla="*/ 115633 w 3529108"/>
                  <a:gd name="connsiteY24" fmla="*/ 84963 h 523494"/>
                  <a:gd name="connsiteX25" fmla="*/ 115633 w 3529108"/>
                  <a:gd name="connsiteY25" fmla="*/ 91059 h 523494"/>
                  <a:gd name="connsiteX26" fmla="*/ 128302 w 3529108"/>
                  <a:gd name="connsiteY26" fmla="*/ 91059 h 523494"/>
                  <a:gd name="connsiteX27" fmla="*/ 128302 w 3529108"/>
                  <a:gd name="connsiteY27" fmla="*/ 97060 h 523494"/>
                  <a:gd name="connsiteX28" fmla="*/ 157734 w 3529108"/>
                  <a:gd name="connsiteY28" fmla="*/ 97060 h 523494"/>
                  <a:gd name="connsiteX29" fmla="*/ 157734 w 3529108"/>
                  <a:gd name="connsiteY29" fmla="*/ 103156 h 523494"/>
                  <a:gd name="connsiteX30" fmla="*/ 166116 w 3529108"/>
                  <a:gd name="connsiteY30" fmla="*/ 103156 h 523494"/>
                  <a:gd name="connsiteX31" fmla="*/ 166116 w 3529108"/>
                  <a:gd name="connsiteY31" fmla="*/ 109252 h 523494"/>
                  <a:gd name="connsiteX32" fmla="*/ 168211 w 3529108"/>
                  <a:gd name="connsiteY32" fmla="*/ 109252 h 523494"/>
                  <a:gd name="connsiteX33" fmla="*/ 168211 w 3529108"/>
                  <a:gd name="connsiteY33" fmla="*/ 115253 h 523494"/>
                  <a:gd name="connsiteX34" fmla="*/ 182975 w 3529108"/>
                  <a:gd name="connsiteY34" fmla="*/ 115253 h 523494"/>
                  <a:gd name="connsiteX35" fmla="*/ 182975 w 3529108"/>
                  <a:gd name="connsiteY35" fmla="*/ 127445 h 523494"/>
                  <a:gd name="connsiteX36" fmla="*/ 185071 w 3529108"/>
                  <a:gd name="connsiteY36" fmla="*/ 127445 h 523494"/>
                  <a:gd name="connsiteX37" fmla="*/ 185071 w 3529108"/>
                  <a:gd name="connsiteY37" fmla="*/ 133446 h 523494"/>
                  <a:gd name="connsiteX38" fmla="*/ 191357 w 3529108"/>
                  <a:gd name="connsiteY38" fmla="*/ 133446 h 523494"/>
                  <a:gd name="connsiteX39" fmla="*/ 191357 w 3529108"/>
                  <a:gd name="connsiteY39" fmla="*/ 139542 h 523494"/>
                  <a:gd name="connsiteX40" fmla="*/ 195548 w 3529108"/>
                  <a:gd name="connsiteY40" fmla="*/ 139542 h 523494"/>
                  <a:gd name="connsiteX41" fmla="*/ 195548 w 3529108"/>
                  <a:gd name="connsiteY41" fmla="*/ 145638 h 523494"/>
                  <a:gd name="connsiteX42" fmla="*/ 212407 w 3529108"/>
                  <a:gd name="connsiteY42" fmla="*/ 145638 h 523494"/>
                  <a:gd name="connsiteX43" fmla="*/ 212407 w 3529108"/>
                  <a:gd name="connsiteY43" fmla="*/ 157734 h 523494"/>
                  <a:gd name="connsiteX44" fmla="*/ 216598 w 3529108"/>
                  <a:gd name="connsiteY44" fmla="*/ 157734 h 523494"/>
                  <a:gd name="connsiteX45" fmla="*/ 216598 w 3529108"/>
                  <a:gd name="connsiteY45" fmla="*/ 163830 h 523494"/>
                  <a:gd name="connsiteX46" fmla="*/ 239744 w 3529108"/>
                  <a:gd name="connsiteY46" fmla="*/ 163830 h 523494"/>
                  <a:gd name="connsiteX47" fmla="*/ 239744 w 3529108"/>
                  <a:gd name="connsiteY47" fmla="*/ 169926 h 523494"/>
                  <a:gd name="connsiteX48" fmla="*/ 243935 w 3529108"/>
                  <a:gd name="connsiteY48" fmla="*/ 169926 h 523494"/>
                  <a:gd name="connsiteX49" fmla="*/ 243935 w 3529108"/>
                  <a:gd name="connsiteY49" fmla="*/ 175927 h 523494"/>
                  <a:gd name="connsiteX50" fmla="*/ 250222 w 3529108"/>
                  <a:gd name="connsiteY50" fmla="*/ 175927 h 523494"/>
                  <a:gd name="connsiteX51" fmla="*/ 250222 w 3529108"/>
                  <a:gd name="connsiteY51" fmla="*/ 188119 h 523494"/>
                  <a:gd name="connsiteX52" fmla="*/ 269176 w 3529108"/>
                  <a:gd name="connsiteY52" fmla="*/ 188119 h 523494"/>
                  <a:gd name="connsiteX53" fmla="*/ 269176 w 3529108"/>
                  <a:gd name="connsiteY53" fmla="*/ 194120 h 523494"/>
                  <a:gd name="connsiteX54" fmla="*/ 277558 w 3529108"/>
                  <a:gd name="connsiteY54" fmla="*/ 194120 h 523494"/>
                  <a:gd name="connsiteX55" fmla="*/ 277558 w 3529108"/>
                  <a:gd name="connsiteY55" fmla="*/ 200216 h 523494"/>
                  <a:gd name="connsiteX56" fmla="*/ 290227 w 3529108"/>
                  <a:gd name="connsiteY56" fmla="*/ 200216 h 523494"/>
                  <a:gd name="connsiteX57" fmla="*/ 290227 w 3529108"/>
                  <a:gd name="connsiteY57" fmla="*/ 206312 h 523494"/>
                  <a:gd name="connsiteX58" fmla="*/ 307086 w 3529108"/>
                  <a:gd name="connsiteY58" fmla="*/ 206312 h 523494"/>
                  <a:gd name="connsiteX59" fmla="*/ 307086 w 3529108"/>
                  <a:gd name="connsiteY59" fmla="*/ 212313 h 523494"/>
                  <a:gd name="connsiteX60" fmla="*/ 334423 w 3529108"/>
                  <a:gd name="connsiteY60" fmla="*/ 212313 h 523494"/>
                  <a:gd name="connsiteX61" fmla="*/ 334423 w 3529108"/>
                  <a:gd name="connsiteY61" fmla="*/ 218409 h 523494"/>
                  <a:gd name="connsiteX62" fmla="*/ 336518 w 3529108"/>
                  <a:gd name="connsiteY62" fmla="*/ 218409 h 523494"/>
                  <a:gd name="connsiteX63" fmla="*/ 336518 w 3529108"/>
                  <a:gd name="connsiteY63" fmla="*/ 224505 h 523494"/>
                  <a:gd name="connsiteX64" fmla="*/ 346995 w 3529108"/>
                  <a:gd name="connsiteY64" fmla="*/ 224505 h 523494"/>
                  <a:gd name="connsiteX65" fmla="*/ 346995 w 3529108"/>
                  <a:gd name="connsiteY65" fmla="*/ 230505 h 523494"/>
                  <a:gd name="connsiteX66" fmla="*/ 353282 w 3529108"/>
                  <a:gd name="connsiteY66" fmla="*/ 230505 h 523494"/>
                  <a:gd name="connsiteX67" fmla="*/ 353282 w 3529108"/>
                  <a:gd name="connsiteY67" fmla="*/ 242697 h 523494"/>
                  <a:gd name="connsiteX68" fmla="*/ 361759 w 3529108"/>
                  <a:gd name="connsiteY68" fmla="*/ 242697 h 523494"/>
                  <a:gd name="connsiteX69" fmla="*/ 361759 w 3529108"/>
                  <a:gd name="connsiteY69" fmla="*/ 248698 h 523494"/>
                  <a:gd name="connsiteX70" fmla="*/ 368046 w 3529108"/>
                  <a:gd name="connsiteY70" fmla="*/ 248698 h 523494"/>
                  <a:gd name="connsiteX71" fmla="*/ 368046 w 3529108"/>
                  <a:gd name="connsiteY71" fmla="*/ 260890 h 523494"/>
                  <a:gd name="connsiteX72" fmla="*/ 370141 w 3529108"/>
                  <a:gd name="connsiteY72" fmla="*/ 260890 h 523494"/>
                  <a:gd name="connsiteX73" fmla="*/ 370141 w 3529108"/>
                  <a:gd name="connsiteY73" fmla="*/ 266986 h 523494"/>
                  <a:gd name="connsiteX74" fmla="*/ 382714 w 3529108"/>
                  <a:gd name="connsiteY74" fmla="*/ 266986 h 523494"/>
                  <a:gd name="connsiteX75" fmla="*/ 382714 w 3529108"/>
                  <a:gd name="connsiteY75" fmla="*/ 272987 h 523494"/>
                  <a:gd name="connsiteX76" fmla="*/ 405860 w 3529108"/>
                  <a:gd name="connsiteY76" fmla="*/ 272987 h 523494"/>
                  <a:gd name="connsiteX77" fmla="*/ 405860 w 3529108"/>
                  <a:gd name="connsiteY77" fmla="*/ 279083 h 523494"/>
                  <a:gd name="connsiteX78" fmla="*/ 412242 w 3529108"/>
                  <a:gd name="connsiteY78" fmla="*/ 279083 h 523494"/>
                  <a:gd name="connsiteX79" fmla="*/ 412242 w 3529108"/>
                  <a:gd name="connsiteY79" fmla="*/ 285179 h 523494"/>
                  <a:gd name="connsiteX80" fmla="*/ 420624 w 3529108"/>
                  <a:gd name="connsiteY80" fmla="*/ 285179 h 523494"/>
                  <a:gd name="connsiteX81" fmla="*/ 420624 w 3529108"/>
                  <a:gd name="connsiteY81" fmla="*/ 291180 h 523494"/>
                  <a:gd name="connsiteX82" fmla="*/ 429006 w 3529108"/>
                  <a:gd name="connsiteY82" fmla="*/ 291180 h 523494"/>
                  <a:gd name="connsiteX83" fmla="*/ 429006 w 3529108"/>
                  <a:gd name="connsiteY83" fmla="*/ 297276 h 523494"/>
                  <a:gd name="connsiteX84" fmla="*/ 433197 w 3529108"/>
                  <a:gd name="connsiteY84" fmla="*/ 297276 h 523494"/>
                  <a:gd name="connsiteX85" fmla="*/ 433197 w 3529108"/>
                  <a:gd name="connsiteY85" fmla="*/ 303372 h 523494"/>
                  <a:gd name="connsiteX86" fmla="*/ 506825 w 3529108"/>
                  <a:gd name="connsiteY86" fmla="*/ 303372 h 523494"/>
                  <a:gd name="connsiteX87" fmla="*/ 506825 w 3529108"/>
                  <a:gd name="connsiteY87" fmla="*/ 309372 h 523494"/>
                  <a:gd name="connsiteX88" fmla="*/ 527875 w 3529108"/>
                  <a:gd name="connsiteY88" fmla="*/ 309372 h 523494"/>
                  <a:gd name="connsiteX89" fmla="*/ 527875 w 3529108"/>
                  <a:gd name="connsiteY89" fmla="*/ 315468 h 523494"/>
                  <a:gd name="connsiteX90" fmla="*/ 534162 w 3529108"/>
                  <a:gd name="connsiteY90" fmla="*/ 315468 h 523494"/>
                  <a:gd name="connsiteX91" fmla="*/ 534162 w 3529108"/>
                  <a:gd name="connsiteY91" fmla="*/ 321564 h 523494"/>
                  <a:gd name="connsiteX92" fmla="*/ 576262 w 3529108"/>
                  <a:gd name="connsiteY92" fmla="*/ 321564 h 523494"/>
                  <a:gd name="connsiteX93" fmla="*/ 576262 w 3529108"/>
                  <a:gd name="connsiteY93" fmla="*/ 327565 h 523494"/>
                  <a:gd name="connsiteX94" fmla="*/ 590931 w 3529108"/>
                  <a:gd name="connsiteY94" fmla="*/ 327565 h 523494"/>
                  <a:gd name="connsiteX95" fmla="*/ 590931 w 3529108"/>
                  <a:gd name="connsiteY95" fmla="*/ 333661 h 523494"/>
                  <a:gd name="connsiteX96" fmla="*/ 620458 w 3529108"/>
                  <a:gd name="connsiteY96" fmla="*/ 333661 h 523494"/>
                  <a:gd name="connsiteX97" fmla="*/ 620458 w 3529108"/>
                  <a:gd name="connsiteY97" fmla="*/ 339757 h 523494"/>
                  <a:gd name="connsiteX98" fmla="*/ 622554 w 3529108"/>
                  <a:gd name="connsiteY98" fmla="*/ 339757 h 523494"/>
                  <a:gd name="connsiteX99" fmla="*/ 622554 w 3529108"/>
                  <a:gd name="connsiteY99" fmla="*/ 345758 h 523494"/>
                  <a:gd name="connsiteX100" fmla="*/ 645604 w 3529108"/>
                  <a:gd name="connsiteY100" fmla="*/ 345758 h 523494"/>
                  <a:gd name="connsiteX101" fmla="*/ 645604 w 3529108"/>
                  <a:gd name="connsiteY101" fmla="*/ 351854 h 523494"/>
                  <a:gd name="connsiteX102" fmla="*/ 658273 w 3529108"/>
                  <a:gd name="connsiteY102" fmla="*/ 351854 h 523494"/>
                  <a:gd name="connsiteX103" fmla="*/ 658273 w 3529108"/>
                  <a:gd name="connsiteY103" fmla="*/ 357950 h 523494"/>
                  <a:gd name="connsiteX104" fmla="*/ 693991 w 3529108"/>
                  <a:gd name="connsiteY104" fmla="*/ 357950 h 523494"/>
                  <a:gd name="connsiteX105" fmla="*/ 693991 w 3529108"/>
                  <a:gd name="connsiteY105" fmla="*/ 364046 h 523494"/>
                  <a:gd name="connsiteX106" fmla="*/ 809720 w 3529108"/>
                  <a:gd name="connsiteY106" fmla="*/ 364046 h 523494"/>
                  <a:gd name="connsiteX107" fmla="*/ 809720 w 3529108"/>
                  <a:gd name="connsiteY107" fmla="*/ 370047 h 523494"/>
                  <a:gd name="connsiteX108" fmla="*/ 847534 w 3529108"/>
                  <a:gd name="connsiteY108" fmla="*/ 370047 h 523494"/>
                  <a:gd name="connsiteX109" fmla="*/ 847534 w 3529108"/>
                  <a:gd name="connsiteY109" fmla="*/ 376238 h 523494"/>
                  <a:gd name="connsiteX110" fmla="*/ 900112 w 3529108"/>
                  <a:gd name="connsiteY110" fmla="*/ 376238 h 523494"/>
                  <a:gd name="connsiteX111" fmla="*/ 900112 w 3529108"/>
                  <a:gd name="connsiteY111" fmla="*/ 382334 h 523494"/>
                  <a:gd name="connsiteX112" fmla="*/ 919067 w 3529108"/>
                  <a:gd name="connsiteY112" fmla="*/ 382334 h 523494"/>
                  <a:gd name="connsiteX113" fmla="*/ 919067 w 3529108"/>
                  <a:gd name="connsiteY113" fmla="*/ 388430 h 523494"/>
                  <a:gd name="connsiteX114" fmla="*/ 929545 w 3529108"/>
                  <a:gd name="connsiteY114" fmla="*/ 388430 h 523494"/>
                  <a:gd name="connsiteX115" fmla="*/ 929545 w 3529108"/>
                  <a:gd name="connsiteY115" fmla="*/ 394621 h 523494"/>
                  <a:gd name="connsiteX116" fmla="*/ 963263 w 3529108"/>
                  <a:gd name="connsiteY116" fmla="*/ 394621 h 523494"/>
                  <a:gd name="connsiteX117" fmla="*/ 963263 w 3529108"/>
                  <a:gd name="connsiteY117" fmla="*/ 400717 h 523494"/>
                  <a:gd name="connsiteX118" fmla="*/ 969550 w 3529108"/>
                  <a:gd name="connsiteY118" fmla="*/ 400717 h 523494"/>
                  <a:gd name="connsiteX119" fmla="*/ 969550 w 3529108"/>
                  <a:gd name="connsiteY119" fmla="*/ 406813 h 523494"/>
                  <a:gd name="connsiteX120" fmla="*/ 984218 w 3529108"/>
                  <a:gd name="connsiteY120" fmla="*/ 406813 h 523494"/>
                  <a:gd name="connsiteX121" fmla="*/ 984218 w 3529108"/>
                  <a:gd name="connsiteY121" fmla="*/ 412909 h 523494"/>
                  <a:gd name="connsiteX122" fmla="*/ 996886 w 3529108"/>
                  <a:gd name="connsiteY122" fmla="*/ 412909 h 523494"/>
                  <a:gd name="connsiteX123" fmla="*/ 996886 w 3529108"/>
                  <a:gd name="connsiteY123" fmla="*/ 419100 h 523494"/>
                  <a:gd name="connsiteX124" fmla="*/ 1022128 w 3529108"/>
                  <a:gd name="connsiteY124" fmla="*/ 419100 h 523494"/>
                  <a:gd name="connsiteX125" fmla="*/ 1022128 w 3529108"/>
                  <a:gd name="connsiteY125" fmla="*/ 425196 h 523494"/>
                  <a:gd name="connsiteX126" fmla="*/ 1251394 w 3529108"/>
                  <a:gd name="connsiteY126" fmla="*/ 425196 h 523494"/>
                  <a:gd name="connsiteX127" fmla="*/ 1251394 w 3529108"/>
                  <a:gd name="connsiteY127" fmla="*/ 431388 h 523494"/>
                  <a:gd name="connsiteX128" fmla="*/ 1364932 w 3529108"/>
                  <a:gd name="connsiteY128" fmla="*/ 431388 h 523494"/>
                  <a:gd name="connsiteX129" fmla="*/ 1364932 w 3529108"/>
                  <a:gd name="connsiteY129" fmla="*/ 437579 h 523494"/>
                  <a:gd name="connsiteX130" fmla="*/ 1634109 w 3529108"/>
                  <a:gd name="connsiteY130" fmla="*/ 437579 h 523494"/>
                  <a:gd name="connsiteX131" fmla="*/ 1634109 w 3529108"/>
                  <a:gd name="connsiteY131" fmla="*/ 443865 h 523494"/>
                  <a:gd name="connsiteX132" fmla="*/ 1707737 w 3529108"/>
                  <a:gd name="connsiteY132" fmla="*/ 443865 h 523494"/>
                  <a:gd name="connsiteX133" fmla="*/ 1707737 w 3529108"/>
                  <a:gd name="connsiteY133" fmla="*/ 450152 h 523494"/>
                  <a:gd name="connsiteX134" fmla="*/ 1787652 w 3529108"/>
                  <a:gd name="connsiteY134" fmla="*/ 450152 h 523494"/>
                  <a:gd name="connsiteX135" fmla="*/ 1787652 w 3529108"/>
                  <a:gd name="connsiteY135" fmla="*/ 456438 h 523494"/>
                  <a:gd name="connsiteX136" fmla="*/ 1949577 w 3529108"/>
                  <a:gd name="connsiteY136" fmla="*/ 456438 h 523494"/>
                  <a:gd name="connsiteX137" fmla="*/ 1949577 w 3529108"/>
                  <a:gd name="connsiteY137" fmla="*/ 462915 h 523494"/>
                  <a:gd name="connsiteX138" fmla="*/ 1966436 w 3529108"/>
                  <a:gd name="connsiteY138" fmla="*/ 462915 h 523494"/>
                  <a:gd name="connsiteX139" fmla="*/ 1966436 w 3529108"/>
                  <a:gd name="connsiteY139" fmla="*/ 469297 h 523494"/>
                  <a:gd name="connsiteX140" fmla="*/ 2084260 w 3529108"/>
                  <a:gd name="connsiteY140" fmla="*/ 469297 h 523494"/>
                  <a:gd name="connsiteX141" fmla="*/ 2084260 w 3529108"/>
                  <a:gd name="connsiteY141" fmla="*/ 475774 h 523494"/>
                  <a:gd name="connsiteX142" fmla="*/ 2176748 w 3529108"/>
                  <a:gd name="connsiteY142" fmla="*/ 475774 h 523494"/>
                  <a:gd name="connsiteX143" fmla="*/ 2176748 w 3529108"/>
                  <a:gd name="connsiteY143" fmla="*/ 482156 h 523494"/>
                  <a:gd name="connsiteX144" fmla="*/ 2195703 w 3529108"/>
                  <a:gd name="connsiteY144" fmla="*/ 482156 h 523494"/>
                  <a:gd name="connsiteX145" fmla="*/ 2195703 w 3529108"/>
                  <a:gd name="connsiteY145" fmla="*/ 488633 h 523494"/>
                  <a:gd name="connsiteX146" fmla="*/ 3049524 w 3529108"/>
                  <a:gd name="connsiteY146" fmla="*/ 488633 h 523494"/>
                  <a:gd name="connsiteX147" fmla="*/ 3049524 w 3529108"/>
                  <a:gd name="connsiteY147" fmla="*/ 523494 h 523494"/>
                  <a:gd name="connsiteX148" fmla="*/ 3529108 w 3529108"/>
                  <a:gd name="connsiteY148" fmla="*/ 523494 h 523494"/>
                  <a:gd name="connsiteX0" fmla="*/ 0 w 3529108"/>
                  <a:gd name="connsiteY0" fmla="*/ 0 h 523494"/>
                  <a:gd name="connsiteX1" fmla="*/ 18955 w 3529108"/>
                  <a:gd name="connsiteY1" fmla="*/ 12192 h 523494"/>
                  <a:gd name="connsiteX2" fmla="*/ 18955 w 3529108"/>
                  <a:gd name="connsiteY2" fmla="*/ 18193 h 523494"/>
                  <a:gd name="connsiteX3" fmla="*/ 31528 w 3529108"/>
                  <a:gd name="connsiteY3" fmla="*/ 18193 h 523494"/>
                  <a:gd name="connsiteX4" fmla="*/ 31528 w 3529108"/>
                  <a:gd name="connsiteY4" fmla="*/ 24289 h 523494"/>
                  <a:gd name="connsiteX5" fmla="*/ 37814 w 3529108"/>
                  <a:gd name="connsiteY5" fmla="*/ 24289 h 523494"/>
                  <a:gd name="connsiteX6" fmla="*/ 37814 w 3529108"/>
                  <a:gd name="connsiteY6" fmla="*/ 36386 h 523494"/>
                  <a:gd name="connsiteX7" fmla="*/ 42005 w 3529108"/>
                  <a:gd name="connsiteY7" fmla="*/ 36386 h 523494"/>
                  <a:gd name="connsiteX8" fmla="*/ 42005 w 3529108"/>
                  <a:gd name="connsiteY8" fmla="*/ 42482 h 523494"/>
                  <a:gd name="connsiteX9" fmla="*/ 54673 w 3529108"/>
                  <a:gd name="connsiteY9" fmla="*/ 42482 h 523494"/>
                  <a:gd name="connsiteX10" fmla="*/ 54673 w 3529108"/>
                  <a:gd name="connsiteY10" fmla="*/ 48578 h 523494"/>
                  <a:gd name="connsiteX11" fmla="*/ 69342 w 3529108"/>
                  <a:gd name="connsiteY11" fmla="*/ 48578 h 523494"/>
                  <a:gd name="connsiteX12" fmla="*/ 69342 w 3529108"/>
                  <a:gd name="connsiteY12" fmla="*/ 54579 h 523494"/>
                  <a:gd name="connsiteX13" fmla="*/ 73628 w 3529108"/>
                  <a:gd name="connsiteY13" fmla="*/ 54579 h 523494"/>
                  <a:gd name="connsiteX14" fmla="*/ 73628 w 3529108"/>
                  <a:gd name="connsiteY14" fmla="*/ 60675 h 523494"/>
                  <a:gd name="connsiteX15" fmla="*/ 84105 w 3529108"/>
                  <a:gd name="connsiteY15" fmla="*/ 60675 h 523494"/>
                  <a:gd name="connsiteX16" fmla="*/ 84105 w 3529108"/>
                  <a:gd name="connsiteY16" fmla="*/ 66771 h 523494"/>
                  <a:gd name="connsiteX17" fmla="*/ 92488 w 3529108"/>
                  <a:gd name="connsiteY17" fmla="*/ 66771 h 523494"/>
                  <a:gd name="connsiteX18" fmla="*/ 92488 w 3529108"/>
                  <a:gd name="connsiteY18" fmla="*/ 72867 h 523494"/>
                  <a:gd name="connsiteX19" fmla="*/ 107251 w 3529108"/>
                  <a:gd name="connsiteY19" fmla="*/ 72867 h 523494"/>
                  <a:gd name="connsiteX20" fmla="*/ 107251 w 3529108"/>
                  <a:gd name="connsiteY20" fmla="*/ 78867 h 523494"/>
                  <a:gd name="connsiteX21" fmla="*/ 111442 w 3529108"/>
                  <a:gd name="connsiteY21" fmla="*/ 78867 h 523494"/>
                  <a:gd name="connsiteX22" fmla="*/ 111442 w 3529108"/>
                  <a:gd name="connsiteY22" fmla="*/ 84963 h 523494"/>
                  <a:gd name="connsiteX23" fmla="*/ 115633 w 3529108"/>
                  <a:gd name="connsiteY23" fmla="*/ 84963 h 523494"/>
                  <a:gd name="connsiteX24" fmla="*/ 115633 w 3529108"/>
                  <a:gd name="connsiteY24" fmla="*/ 91059 h 523494"/>
                  <a:gd name="connsiteX25" fmla="*/ 128302 w 3529108"/>
                  <a:gd name="connsiteY25" fmla="*/ 91059 h 523494"/>
                  <a:gd name="connsiteX26" fmla="*/ 128302 w 3529108"/>
                  <a:gd name="connsiteY26" fmla="*/ 97060 h 523494"/>
                  <a:gd name="connsiteX27" fmla="*/ 157734 w 3529108"/>
                  <a:gd name="connsiteY27" fmla="*/ 97060 h 523494"/>
                  <a:gd name="connsiteX28" fmla="*/ 157734 w 3529108"/>
                  <a:gd name="connsiteY28" fmla="*/ 103156 h 523494"/>
                  <a:gd name="connsiteX29" fmla="*/ 166116 w 3529108"/>
                  <a:gd name="connsiteY29" fmla="*/ 103156 h 523494"/>
                  <a:gd name="connsiteX30" fmla="*/ 166116 w 3529108"/>
                  <a:gd name="connsiteY30" fmla="*/ 109252 h 523494"/>
                  <a:gd name="connsiteX31" fmla="*/ 168211 w 3529108"/>
                  <a:gd name="connsiteY31" fmla="*/ 109252 h 523494"/>
                  <a:gd name="connsiteX32" fmla="*/ 168211 w 3529108"/>
                  <a:gd name="connsiteY32" fmla="*/ 115253 h 523494"/>
                  <a:gd name="connsiteX33" fmla="*/ 182975 w 3529108"/>
                  <a:gd name="connsiteY33" fmla="*/ 115253 h 523494"/>
                  <a:gd name="connsiteX34" fmla="*/ 182975 w 3529108"/>
                  <a:gd name="connsiteY34" fmla="*/ 127445 h 523494"/>
                  <a:gd name="connsiteX35" fmla="*/ 185071 w 3529108"/>
                  <a:gd name="connsiteY35" fmla="*/ 127445 h 523494"/>
                  <a:gd name="connsiteX36" fmla="*/ 185071 w 3529108"/>
                  <a:gd name="connsiteY36" fmla="*/ 133446 h 523494"/>
                  <a:gd name="connsiteX37" fmla="*/ 191357 w 3529108"/>
                  <a:gd name="connsiteY37" fmla="*/ 133446 h 523494"/>
                  <a:gd name="connsiteX38" fmla="*/ 191357 w 3529108"/>
                  <a:gd name="connsiteY38" fmla="*/ 139542 h 523494"/>
                  <a:gd name="connsiteX39" fmla="*/ 195548 w 3529108"/>
                  <a:gd name="connsiteY39" fmla="*/ 139542 h 523494"/>
                  <a:gd name="connsiteX40" fmla="*/ 195548 w 3529108"/>
                  <a:gd name="connsiteY40" fmla="*/ 145638 h 523494"/>
                  <a:gd name="connsiteX41" fmla="*/ 212407 w 3529108"/>
                  <a:gd name="connsiteY41" fmla="*/ 145638 h 523494"/>
                  <a:gd name="connsiteX42" fmla="*/ 212407 w 3529108"/>
                  <a:gd name="connsiteY42" fmla="*/ 157734 h 523494"/>
                  <a:gd name="connsiteX43" fmla="*/ 216598 w 3529108"/>
                  <a:gd name="connsiteY43" fmla="*/ 157734 h 523494"/>
                  <a:gd name="connsiteX44" fmla="*/ 216598 w 3529108"/>
                  <a:gd name="connsiteY44" fmla="*/ 163830 h 523494"/>
                  <a:gd name="connsiteX45" fmla="*/ 239744 w 3529108"/>
                  <a:gd name="connsiteY45" fmla="*/ 163830 h 523494"/>
                  <a:gd name="connsiteX46" fmla="*/ 239744 w 3529108"/>
                  <a:gd name="connsiteY46" fmla="*/ 169926 h 523494"/>
                  <a:gd name="connsiteX47" fmla="*/ 243935 w 3529108"/>
                  <a:gd name="connsiteY47" fmla="*/ 169926 h 523494"/>
                  <a:gd name="connsiteX48" fmla="*/ 243935 w 3529108"/>
                  <a:gd name="connsiteY48" fmla="*/ 175927 h 523494"/>
                  <a:gd name="connsiteX49" fmla="*/ 250222 w 3529108"/>
                  <a:gd name="connsiteY49" fmla="*/ 175927 h 523494"/>
                  <a:gd name="connsiteX50" fmla="*/ 250222 w 3529108"/>
                  <a:gd name="connsiteY50" fmla="*/ 188119 h 523494"/>
                  <a:gd name="connsiteX51" fmla="*/ 269176 w 3529108"/>
                  <a:gd name="connsiteY51" fmla="*/ 188119 h 523494"/>
                  <a:gd name="connsiteX52" fmla="*/ 269176 w 3529108"/>
                  <a:gd name="connsiteY52" fmla="*/ 194120 h 523494"/>
                  <a:gd name="connsiteX53" fmla="*/ 277558 w 3529108"/>
                  <a:gd name="connsiteY53" fmla="*/ 194120 h 523494"/>
                  <a:gd name="connsiteX54" fmla="*/ 277558 w 3529108"/>
                  <a:gd name="connsiteY54" fmla="*/ 200216 h 523494"/>
                  <a:gd name="connsiteX55" fmla="*/ 290227 w 3529108"/>
                  <a:gd name="connsiteY55" fmla="*/ 200216 h 523494"/>
                  <a:gd name="connsiteX56" fmla="*/ 290227 w 3529108"/>
                  <a:gd name="connsiteY56" fmla="*/ 206312 h 523494"/>
                  <a:gd name="connsiteX57" fmla="*/ 307086 w 3529108"/>
                  <a:gd name="connsiteY57" fmla="*/ 206312 h 523494"/>
                  <a:gd name="connsiteX58" fmla="*/ 307086 w 3529108"/>
                  <a:gd name="connsiteY58" fmla="*/ 212313 h 523494"/>
                  <a:gd name="connsiteX59" fmla="*/ 334423 w 3529108"/>
                  <a:gd name="connsiteY59" fmla="*/ 212313 h 523494"/>
                  <a:gd name="connsiteX60" fmla="*/ 334423 w 3529108"/>
                  <a:gd name="connsiteY60" fmla="*/ 218409 h 523494"/>
                  <a:gd name="connsiteX61" fmla="*/ 336518 w 3529108"/>
                  <a:gd name="connsiteY61" fmla="*/ 218409 h 523494"/>
                  <a:gd name="connsiteX62" fmla="*/ 336518 w 3529108"/>
                  <a:gd name="connsiteY62" fmla="*/ 224505 h 523494"/>
                  <a:gd name="connsiteX63" fmla="*/ 346995 w 3529108"/>
                  <a:gd name="connsiteY63" fmla="*/ 224505 h 523494"/>
                  <a:gd name="connsiteX64" fmla="*/ 346995 w 3529108"/>
                  <a:gd name="connsiteY64" fmla="*/ 230505 h 523494"/>
                  <a:gd name="connsiteX65" fmla="*/ 353282 w 3529108"/>
                  <a:gd name="connsiteY65" fmla="*/ 230505 h 523494"/>
                  <a:gd name="connsiteX66" fmla="*/ 353282 w 3529108"/>
                  <a:gd name="connsiteY66" fmla="*/ 242697 h 523494"/>
                  <a:gd name="connsiteX67" fmla="*/ 361759 w 3529108"/>
                  <a:gd name="connsiteY67" fmla="*/ 242697 h 523494"/>
                  <a:gd name="connsiteX68" fmla="*/ 361759 w 3529108"/>
                  <a:gd name="connsiteY68" fmla="*/ 248698 h 523494"/>
                  <a:gd name="connsiteX69" fmla="*/ 368046 w 3529108"/>
                  <a:gd name="connsiteY69" fmla="*/ 248698 h 523494"/>
                  <a:gd name="connsiteX70" fmla="*/ 368046 w 3529108"/>
                  <a:gd name="connsiteY70" fmla="*/ 260890 h 523494"/>
                  <a:gd name="connsiteX71" fmla="*/ 370141 w 3529108"/>
                  <a:gd name="connsiteY71" fmla="*/ 260890 h 523494"/>
                  <a:gd name="connsiteX72" fmla="*/ 370141 w 3529108"/>
                  <a:gd name="connsiteY72" fmla="*/ 266986 h 523494"/>
                  <a:gd name="connsiteX73" fmla="*/ 382714 w 3529108"/>
                  <a:gd name="connsiteY73" fmla="*/ 266986 h 523494"/>
                  <a:gd name="connsiteX74" fmla="*/ 382714 w 3529108"/>
                  <a:gd name="connsiteY74" fmla="*/ 272987 h 523494"/>
                  <a:gd name="connsiteX75" fmla="*/ 405860 w 3529108"/>
                  <a:gd name="connsiteY75" fmla="*/ 272987 h 523494"/>
                  <a:gd name="connsiteX76" fmla="*/ 405860 w 3529108"/>
                  <a:gd name="connsiteY76" fmla="*/ 279083 h 523494"/>
                  <a:gd name="connsiteX77" fmla="*/ 412242 w 3529108"/>
                  <a:gd name="connsiteY77" fmla="*/ 279083 h 523494"/>
                  <a:gd name="connsiteX78" fmla="*/ 412242 w 3529108"/>
                  <a:gd name="connsiteY78" fmla="*/ 285179 h 523494"/>
                  <a:gd name="connsiteX79" fmla="*/ 420624 w 3529108"/>
                  <a:gd name="connsiteY79" fmla="*/ 285179 h 523494"/>
                  <a:gd name="connsiteX80" fmla="*/ 420624 w 3529108"/>
                  <a:gd name="connsiteY80" fmla="*/ 291180 h 523494"/>
                  <a:gd name="connsiteX81" fmla="*/ 429006 w 3529108"/>
                  <a:gd name="connsiteY81" fmla="*/ 291180 h 523494"/>
                  <a:gd name="connsiteX82" fmla="*/ 429006 w 3529108"/>
                  <a:gd name="connsiteY82" fmla="*/ 297276 h 523494"/>
                  <a:gd name="connsiteX83" fmla="*/ 433197 w 3529108"/>
                  <a:gd name="connsiteY83" fmla="*/ 297276 h 523494"/>
                  <a:gd name="connsiteX84" fmla="*/ 433197 w 3529108"/>
                  <a:gd name="connsiteY84" fmla="*/ 303372 h 523494"/>
                  <a:gd name="connsiteX85" fmla="*/ 506825 w 3529108"/>
                  <a:gd name="connsiteY85" fmla="*/ 303372 h 523494"/>
                  <a:gd name="connsiteX86" fmla="*/ 506825 w 3529108"/>
                  <a:gd name="connsiteY86" fmla="*/ 309372 h 523494"/>
                  <a:gd name="connsiteX87" fmla="*/ 527875 w 3529108"/>
                  <a:gd name="connsiteY87" fmla="*/ 309372 h 523494"/>
                  <a:gd name="connsiteX88" fmla="*/ 527875 w 3529108"/>
                  <a:gd name="connsiteY88" fmla="*/ 315468 h 523494"/>
                  <a:gd name="connsiteX89" fmla="*/ 534162 w 3529108"/>
                  <a:gd name="connsiteY89" fmla="*/ 315468 h 523494"/>
                  <a:gd name="connsiteX90" fmla="*/ 534162 w 3529108"/>
                  <a:gd name="connsiteY90" fmla="*/ 321564 h 523494"/>
                  <a:gd name="connsiteX91" fmla="*/ 576262 w 3529108"/>
                  <a:gd name="connsiteY91" fmla="*/ 321564 h 523494"/>
                  <a:gd name="connsiteX92" fmla="*/ 576262 w 3529108"/>
                  <a:gd name="connsiteY92" fmla="*/ 327565 h 523494"/>
                  <a:gd name="connsiteX93" fmla="*/ 590931 w 3529108"/>
                  <a:gd name="connsiteY93" fmla="*/ 327565 h 523494"/>
                  <a:gd name="connsiteX94" fmla="*/ 590931 w 3529108"/>
                  <a:gd name="connsiteY94" fmla="*/ 333661 h 523494"/>
                  <a:gd name="connsiteX95" fmla="*/ 620458 w 3529108"/>
                  <a:gd name="connsiteY95" fmla="*/ 333661 h 523494"/>
                  <a:gd name="connsiteX96" fmla="*/ 620458 w 3529108"/>
                  <a:gd name="connsiteY96" fmla="*/ 339757 h 523494"/>
                  <a:gd name="connsiteX97" fmla="*/ 622554 w 3529108"/>
                  <a:gd name="connsiteY97" fmla="*/ 339757 h 523494"/>
                  <a:gd name="connsiteX98" fmla="*/ 622554 w 3529108"/>
                  <a:gd name="connsiteY98" fmla="*/ 345758 h 523494"/>
                  <a:gd name="connsiteX99" fmla="*/ 645604 w 3529108"/>
                  <a:gd name="connsiteY99" fmla="*/ 345758 h 523494"/>
                  <a:gd name="connsiteX100" fmla="*/ 645604 w 3529108"/>
                  <a:gd name="connsiteY100" fmla="*/ 351854 h 523494"/>
                  <a:gd name="connsiteX101" fmla="*/ 658273 w 3529108"/>
                  <a:gd name="connsiteY101" fmla="*/ 351854 h 523494"/>
                  <a:gd name="connsiteX102" fmla="*/ 658273 w 3529108"/>
                  <a:gd name="connsiteY102" fmla="*/ 357950 h 523494"/>
                  <a:gd name="connsiteX103" fmla="*/ 693991 w 3529108"/>
                  <a:gd name="connsiteY103" fmla="*/ 357950 h 523494"/>
                  <a:gd name="connsiteX104" fmla="*/ 693991 w 3529108"/>
                  <a:gd name="connsiteY104" fmla="*/ 364046 h 523494"/>
                  <a:gd name="connsiteX105" fmla="*/ 809720 w 3529108"/>
                  <a:gd name="connsiteY105" fmla="*/ 364046 h 523494"/>
                  <a:gd name="connsiteX106" fmla="*/ 809720 w 3529108"/>
                  <a:gd name="connsiteY106" fmla="*/ 370047 h 523494"/>
                  <a:gd name="connsiteX107" fmla="*/ 847534 w 3529108"/>
                  <a:gd name="connsiteY107" fmla="*/ 370047 h 523494"/>
                  <a:gd name="connsiteX108" fmla="*/ 847534 w 3529108"/>
                  <a:gd name="connsiteY108" fmla="*/ 376238 h 523494"/>
                  <a:gd name="connsiteX109" fmla="*/ 900112 w 3529108"/>
                  <a:gd name="connsiteY109" fmla="*/ 376238 h 523494"/>
                  <a:gd name="connsiteX110" fmla="*/ 900112 w 3529108"/>
                  <a:gd name="connsiteY110" fmla="*/ 382334 h 523494"/>
                  <a:gd name="connsiteX111" fmla="*/ 919067 w 3529108"/>
                  <a:gd name="connsiteY111" fmla="*/ 382334 h 523494"/>
                  <a:gd name="connsiteX112" fmla="*/ 919067 w 3529108"/>
                  <a:gd name="connsiteY112" fmla="*/ 388430 h 523494"/>
                  <a:gd name="connsiteX113" fmla="*/ 929545 w 3529108"/>
                  <a:gd name="connsiteY113" fmla="*/ 388430 h 523494"/>
                  <a:gd name="connsiteX114" fmla="*/ 929545 w 3529108"/>
                  <a:gd name="connsiteY114" fmla="*/ 394621 h 523494"/>
                  <a:gd name="connsiteX115" fmla="*/ 963263 w 3529108"/>
                  <a:gd name="connsiteY115" fmla="*/ 394621 h 523494"/>
                  <a:gd name="connsiteX116" fmla="*/ 963263 w 3529108"/>
                  <a:gd name="connsiteY116" fmla="*/ 400717 h 523494"/>
                  <a:gd name="connsiteX117" fmla="*/ 969550 w 3529108"/>
                  <a:gd name="connsiteY117" fmla="*/ 400717 h 523494"/>
                  <a:gd name="connsiteX118" fmla="*/ 969550 w 3529108"/>
                  <a:gd name="connsiteY118" fmla="*/ 406813 h 523494"/>
                  <a:gd name="connsiteX119" fmla="*/ 984218 w 3529108"/>
                  <a:gd name="connsiteY119" fmla="*/ 406813 h 523494"/>
                  <a:gd name="connsiteX120" fmla="*/ 984218 w 3529108"/>
                  <a:gd name="connsiteY120" fmla="*/ 412909 h 523494"/>
                  <a:gd name="connsiteX121" fmla="*/ 996886 w 3529108"/>
                  <a:gd name="connsiteY121" fmla="*/ 412909 h 523494"/>
                  <a:gd name="connsiteX122" fmla="*/ 996886 w 3529108"/>
                  <a:gd name="connsiteY122" fmla="*/ 419100 h 523494"/>
                  <a:gd name="connsiteX123" fmla="*/ 1022128 w 3529108"/>
                  <a:gd name="connsiteY123" fmla="*/ 419100 h 523494"/>
                  <a:gd name="connsiteX124" fmla="*/ 1022128 w 3529108"/>
                  <a:gd name="connsiteY124" fmla="*/ 425196 h 523494"/>
                  <a:gd name="connsiteX125" fmla="*/ 1251394 w 3529108"/>
                  <a:gd name="connsiteY125" fmla="*/ 425196 h 523494"/>
                  <a:gd name="connsiteX126" fmla="*/ 1251394 w 3529108"/>
                  <a:gd name="connsiteY126" fmla="*/ 431388 h 523494"/>
                  <a:gd name="connsiteX127" fmla="*/ 1364932 w 3529108"/>
                  <a:gd name="connsiteY127" fmla="*/ 431388 h 523494"/>
                  <a:gd name="connsiteX128" fmla="*/ 1364932 w 3529108"/>
                  <a:gd name="connsiteY128" fmla="*/ 437579 h 523494"/>
                  <a:gd name="connsiteX129" fmla="*/ 1634109 w 3529108"/>
                  <a:gd name="connsiteY129" fmla="*/ 437579 h 523494"/>
                  <a:gd name="connsiteX130" fmla="*/ 1634109 w 3529108"/>
                  <a:gd name="connsiteY130" fmla="*/ 443865 h 523494"/>
                  <a:gd name="connsiteX131" fmla="*/ 1707737 w 3529108"/>
                  <a:gd name="connsiteY131" fmla="*/ 443865 h 523494"/>
                  <a:gd name="connsiteX132" fmla="*/ 1707737 w 3529108"/>
                  <a:gd name="connsiteY132" fmla="*/ 450152 h 523494"/>
                  <a:gd name="connsiteX133" fmla="*/ 1787652 w 3529108"/>
                  <a:gd name="connsiteY133" fmla="*/ 450152 h 523494"/>
                  <a:gd name="connsiteX134" fmla="*/ 1787652 w 3529108"/>
                  <a:gd name="connsiteY134" fmla="*/ 456438 h 523494"/>
                  <a:gd name="connsiteX135" fmla="*/ 1949577 w 3529108"/>
                  <a:gd name="connsiteY135" fmla="*/ 456438 h 523494"/>
                  <a:gd name="connsiteX136" fmla="*/ 1949577 w 3529108"/>
                  <a:gd name="connsiteY136" fmla="*/ 462915 h 523494"/>
                  <a:gd name="connsiteX137" fmla="*/ 1966436 w 3529108"/>
                  <a:gd name="connsiteY137" fmla="*/ 462915 h 523494"/>
                  <a:gd name="connsiteX138" fmla="*/ 1966436 w 3529108"/>
                  <a:gd name="connsiteY138" fmla="*/ 469297 h 523494"/>
                  <a:gd name="connsiteX139" fmla="*/ 2084260 w 3529108"/>
                  <a:gd name="connsiteY139" fmla="*/ 469297 h 523494"/>
                  <a:gd name="connsiteX140" fmla="*/ 2084260 w 3529108"/>
                  <a:gd name="connsiteY140" fmla="*/ 475774 h 523494"/>
                  <a:gd name="connsiteX141" fmla="*/ 2176748 w 3529108"/>
                  <a:gd name="connsiteY141" fmla="*/ 475774 h 523494"/>
                  <a:gd name="connsiteX142" fmla="*/ 2176748 w 3529108"/>
                  <a:gd name="connsiteY142" fmla="*/ 482156 h 523494"/>
                  <a:gd name="connsiteX143" fmla="*/ 2195703 w 3529108"/>
                  <a:gd name="connsiteY143" fmla="*/ 482156 h 523494"/>
                  <a:gd name="connsiteX144" fmla="*/ 2195703 w 3529108"/>
                  <a:gd name="connsiteY144" fmla="*/ 488633 h 523494"/>
                  <a:gd name="connsiteX145" fmla="*/ 3049524 w 3529108"/>
                  <a:gd name="connsiteY145" fmla="*/ 488633 h 523494"/>
                  <a:gd name="connsiteX146" fmla="*/ 3049524 w 3529108"/>
                  <a:gd name="connsiteY146" fmla="*/ 523494 h 523494"/>
                  <a:gd name="connsiteX147" fmla="*/ 3529108 w 3529108"/>
                  <a:gd name="connsiteY147" fmla="*/ 523494 h 523494"/>
                  <a:gd name="connsiteX0" fmla="*/ 0 w 3510153"/>
                  <a:gd name="connsiteY0" fmla="*/ 0 h 511302"/>
                  <a:gd name="connsiteX1" fmla="*/ 0 w 3510153"/>
                  <a:gd name="connsiteY1" fmla="*/ 6001 h 511302"/>
                  <a:gd name="connsiteX2" fmla="*/ 12573 w 3510153"/>
                  <a:gd name="connsiteY2" fmla="*/ 6001 h 511302"/>
                  <a:gd name="connsiteX3" fmla="*/ 12573 w 3510153"/>
                  <a:gd name="connsiteY3" fmla="*/ 12097 h 511302"/>
                  <a:gd name="connsiteX4" fmla="*/ 18859 w 3510153"/>
                  <a:gd name="connsiteY4" fmla="*/ 12097 h 511302"/>
                  <a:gd name="connsiteX5" fmla="*/ 18859 w 3510153"/>
                  <a:gd name="connsiteY5" fmla="*/ 24194 h 511302"/>
                  <a:gd name="connsiteX6" fmla="*/ 23050 w 3510153"/>
                  <a:gd name="connsiteY6" fmla="*/ 24194 h 511302"/>
                  <a:gd name="connsiteX7" fmla="*/ 23050 w 3510153"/>
                  <a:gd name="connsiteY7" fmla="*/ 30290 h 511302"/>
                  <a:gd name="connsiteX8" fmla="*/ 35718 w 3510153"/>
                  <a:gd name="connsiteY8" fmla="*/ 30290 h 511302"/>
                  <a:gd name="connsiteX9" fmla="*/ 35718 w 3510153"/>
                  <a:gd name="connsiteY9" fmla="*/ 36386 h 511302"/>
                  <a:gd name="connsiteX10" fmla="*/ 50387 w 3510153"/>
                  <a:gd name="connsiteY10" fmla="*/ 36386 h 511302"/>
                  <a:gd name="connsiteX11" fmla="*/ 50387 w 3510153"/>
                  <a:gd name="connsiteY11" fmla="*/ 42387 h 511302"/>
                  <a:gd name="connsiteX12" fmla="*/ 54673 w 3510153"/>
                  <a:gd name="connsiteY12" fmla="*/ 42387 h 511302"/>
                  <a:gd name="connsiteX13" fmla="*/ 54673 w 3510153"/>
                  <a:gd name="connsiteY13" fmla="*/ 48483 h 511302"/>
                  <a:gd name="connsiteX14" fmla="*/ 65150 w 3510153"/>
                  <a:gd name="connsiteY14" fmla="*/ 48483 h 511302"/>
                  <a:gd name="connsiteX15" fmla="*/ 65150 w 3510153"/>
                  <a:gd name="connsiteY15" fmla="*/ 54579 h 511302"/>
                  <a:gd name="connsiteX16" fmla="*/ 73533 w 3510153"/>
                  <a:gd name="connsiteY16" fmla="*/ 54579 h 511302"/>
                  <a:gd name="connsiteX17" fmla="*/ 73533 w 3510153"/>
                  <a:gd name="connsiteY17" fmla="*/ 60675 h 511302"/>
                  <a:gd name="connsiteX18" fmla="*/ 88296 w 3510153"/>
                  <a:gd name="connsiteY18" fmla="*/ 60675 h 511302"/>
                  <a:gd name="connsiteX19" fmla="*/ 88296 w 3510153"/>
                  <a:gd name="connsiteY19" fmla="*/ 66675 h 511302"/>
                  <a:gd name="connsiteX20" fmla="*/ 92487 w 3510153"/>
                  <a:gd name="connsiteY20" fmla="*/ 66675 h 511302"/>
                  <a:gd name="connsiteX21" fmla="*/ 92487 w 3510153"/>
                  <a:gd name="connsiteY21" fmla="*/ 72771 h 511302"/>
                  <a:gd name="connsiteX22" fmla="*/ 96678 w 3510153"/>
                  <a:gd name="connsiteY22" fmla="*/ 72771 h 511302"/>
                  <a:gd name="connsiteX23" fmla="*/ 96678 w 3510153"/>
                  <a:gd name="connsiteY23" fmla="*/ 78867 h 511302"/>
                  <a:gd name="connsiteX24" fmla="*/ 109347 w 3510153"/>
                  <a:gd name="connsiteY24" fmla="*/ 78867 h 511302"/>
                  <a:gd name="connsiteX25" fmla="*/ 109347 w 3510153"/>
                  <a:gd name="connsiteY25" fmla="*/ 84868 h 511302"/>
                  <a:gd name="connsiteX26" fmla="*/ 138779 w 3510153"/>
                  <a:gd name="connsiteY26" fmla="*/ 84868 h 511302"/>
                  <a:gd name="connsiteX27" fmla="*/ 138779 w 3510153"/>
                  <a:gd name="connsiteY27" fmla="*/ 90964 h 511302"/>
                  <a:gd name="connsiteX28" fmla="*/ 147161 w 3510153"/>
                  <a:gd name="connsiteY28" fmla="*/ 90964 h 511302"/>
                  <a:gd name="connsiteX29" fmla="*/ 147161 w 3510153"/>
                  <a:gd name="connsiteY29" fmla="*/ 97060 h 511302"/>
                  <a:gd name="connsiteX30" fmla="*/ 149256 w 3510153"/>
                  <a:gd name="connsiteY30" fmla="*/ 97060 h 511302"/>
                  <a:gd name="connsiteX31" fmla="*/ 149256 w 3510153"/>
                  <a:gd name="connsiteY31" fmla="*/ 103061 h 511302"/>
                  <a:gd name="connsiteX32" fmla="*/ 164020 w 3510153"/>
                  <a:gd name="connsiteY32" fmla="*/ 103061 h 511302"/>
                  <a:gd name="connsiteX33" fmla="*/ 164020 w 3510153"/>
                  <a:gd name="connsiteY33" fmla="*/ 115253 h 511302"/>
                  <a:gd name="connsiteX34" fmla="*/ 166116 w 3510153"/>
                  <a:gd name="connsiteY34" fmla="*/ 115253 h 511302"/>
                  <a:gd name="connsiteX35" fmla="*/ 166116 w 3510153"/>
                  <a:gd name="connsiteY35" fmla="*/ 121254 h 511302"/>
                  <a:gd name="connsiteX36" fmla="*/ 172402 w 3510153"/>
                  <a:gd name="connsiteY36" fmla="*/ 121254 h 511302"/>
                  <a:gd name="connsiteX37" fmla="*/ 172402 w 3510153"/>
                  <a:gd name="connsiteY37" fmla="*/ 127350 h 511302"/>
                  <a:gd name="connsiteX38" fmla="*/ 176593 w 3510153"/>
                  <a:gd name="connsiteY38" fmla="*/ 127350 h 511302"/>
                  <a:gd name="connsiteX39" fmla="*/ 176593 w 3510153"/>
                  <a:gd name="connsiteY39" fmla="*/ 133446 h 511302"/>
                  <a:gd name="connsiteX40" fmla="*/ 193452 w 3510153"/>
                  <a:gd name="connsiteY40" fmla="*/ 133446 h 511302"/>
                  <a:gd name="connsiteX41" fmla="*/ 193452 w 3510153"/>
                  <a:gd name="connsiteY41" fmla="*/ 145542 h 511302"/>
                  <a:gd name="connsiteX42" fmla="*/ 197643 w 3510153"/>
                  <a:gd name="connsiteY42" fmla="*/ 145542 h 511302"/>
                  <a:gd name="connsiteX43" fmla="*/ 197643 w 3510153"/>
                  <a:gd name="connsiteY43" fmla="*/ 151638 h 511302"/>
                  <a:gd name="connsiteX44" fmla="*/ 220789 w 3510153"/>
                  <a:gd name="connsiteY44" fmla="*/ 151638 h 511302"/>
                  <a:gd name="connsiteX45" fmla="*/ 220789 w 3510153"/>
                  <a:gd name="connsiteY45" fmla="*/ 157734 h 511302"/>
                  <a:gd name="connsiteX46" fmla="*/ 224980 w 3510153"/>
                  <a:gd name="connsiteY46" fmla="*/ 157734 h 511302"/>
                  <a:gd name="connsiteX47" fmla="*/ 224980 w 3510153"/>
                  <a:gd name="connsiteY47" fmla="*/ 163735 h 511302"/>
                  <a:gd name="connsiteX48" fmla="*/ 231267 w 3510153"/>
                  <a:gd name="connsiteY48" fmla="*/ 163735 h 511302"/>
                  <a:gd name="connsiteX49" fmla="*/ 231267 w 3510153"/>
                  <a:gd name="connsiteY49" fmla="*/ 175927 h 511302"/>
                  <a:gd name="connsiteX50" fmla="*/ 250221 w 3510153"/>
                  <a:gd name="connsiteY50" fmla="*/ 175927 h 511302"/>
                  <a:gd name="connsiteX51" fmla="*/ 250221 w 3510153"/>
                  <a:gd name="connsiteY51" fmla="*/ 181928 h 511302"/>
                  <a:gd name="connsiteX52" fmla="*/ 258603 w 3510153"/>
                  <a:gd name="connsiteY52" fmla="*/ 181928 h 511302"/>
                  <a:gd name="connsiteX53" fmla="*/ 258603 w 3510153"/>
                  <a:gd name="connsiteY53" fmla="*/ 188024 h 511302"/>
                  <a:gd name="connsiteX54" fmla="*/ 271272 w 3510153"/>
                  <a:gd name="connsiteY54" fmla="*/ 188024 h 511302"/>
                  <a:gd name="connsiteX55" fmla="*/ 271272 w 3510153"/>
                  <a:gd name="connsiteY55" fmla="*/ 194120 h 511302"/>
                  <a:gd name="connsiteX56" fmla="*/ 288131 w 3510153"/>
                  <a:gd name="connsiteY56" fmla="*/ 194120 h 511302"/>
                  <a:gd name="connsiteX57" fmla="*/ 288131 w 3510153"/>
                  <a:gd name="connsiteY57" fmla="*/ 200121 h 511302"/>
                  <a:gd name="connsiteX58" fmla="*/ 315468 w 3510153"/>
                  <a:gd name="connsiteY58" fmla="*/ 200121 h 511302"/>
                  <a:gd name="connsiteX59" fmla="*/ 315468 w 3510153"/>
                  <a:gd name="connsiteY59" fmla="*/ 206217 h 511302"/>
                  <a:gd name="connsiteX60" fmla="*/ 317563 w 3510153"/>
                  <a:gd name="connsiteY60" fmla="*/ 206217 h 511302"/>
                  <a:gd name="connsiteX61" fmla="*/ 317563 w 3510153"/>
                  <a:gd name="connsiteY61" fmla="*/ 212313 h 511302"/>
                  <a:gd name="connsiteX62" fmla="*/ 328040 w 3510153"/>
                  <a:gd name="connsiteY62" fmla="*/ 212313 h 511302"/>
                  <a:gd name="connsiteX63" fmla="*/ 328040 w 3510153"/>
                  <a:gd name="connsiteY63" fmla="*/ 218313 h 511302"/>
                  <a:gd name="connsiteX64" fmla="*/ 334327 w 3510153"/>
                  <a:gd name="connsiteY64" fmla="*/ 218313 h 511302"/>
                  <a:gd name="connsiteX65" fmla="*/ 334327 w 3510153"/>
                  <a:gd name="connsiteY65" fmla="*/ 230505 h 511302"/>
                  <a:gd name="connsiteX66" fmla="*/ 342804 w 3510153"/>
                  <a:gd name="connsiteY66" fmla="*/ 230505 h 511302"/>
                  <a:gd name="connsiteX67" fmla="*/ 342804 w 3510153"/>
                  <a:gd name="connsiteY67" fmla="*/ 236506 h 511302"/>
                  <a:gd name="connsiteX68" fmla="*/ 349091 w 3510153"/>
                  <a:gd name="connsiteY68" fmla="*/ 236506 h 511302"/>
                  <a:gd name="connsiteX69" fmla="*/ 349091 w 3510153"/>
                  <a:gd name="connsiteY69" fmla="*/ 248698 h 511302"/>
                  <a:gd name="connsiteX70" fmla="*/ 351186 w 3510153"/>
                  <a:gd name="connsiteY70" fmla="*/ 248698 h 511302"/>
                  <a:gd name="connsiteX71" fmla="*/ 351186 w 3510153"/>
                  <a:gd name="connsiteY71" fmla="*/ 254794 h 511302"/>
                  <a:gd name="connsiteX72" fmla="*/ 363759 w 3510153"/>
                  <a:gd name="connsiteY72" fmla="*/ 254794 h 511302"/>
                  <a:gd name="connsiteX73" fmla="*/ 363759 w 3510153"/>
                  <a:gd name="connsiteY73" fmla="*/ 260795 h 511302"/>
                  <a:gd name="connsiteX74" fmla="*/ 386905 w 3510153"/>
                  <a:gd name="connsiteY74" fmla="*/ 260795 h 511302"/>
                  <a:gd name="connsiteX75" fmla="*/ 386905 w 3510153"/>
                  <a:gd name="connsiteY75" fmla="*/ 266891 h 511302"/>
                  <a:gd name="connsiteX76" fmla="*/ 393287 w 3510153"/>
                  <a:gd name="connsiteY76" fmla="*/ 266891 h 511302"/>
                  <a:gd name="connsiteX77" fmla="*/ 393287 w 3510153"/>
                  <a:gd name="connsiteY77" fmla="*/ 272987 h 511302"/>
                  <a:gd name="connsiteX78" fmla="*/ 401669 w 3510153"/>
                  <a:gd name="connsiteY78" fmla="*/ 272987 h 511302"/>
                  <a:gd name="connsiteX79" fmla="*/ 401669 w 3510153"/>
                  <a:gd name="connsiteY79" fmla="*/ 278988 h 511302"/>
                  <a:gd name="connsiteX80" fmla="*/ 410051 w 3510153"/>
                  <a:gd name="connsiteY80" fmla="*/ 278988 h 511302"/>
                  <a:gd name="connsiteX81" fmla="*/ 410051 w 3510153"/>
                  <a:gd name="connsiteY81" fmla="*/ 285084 h 511302"/>
                  <a:gd name="connsiteX82" fmla="*/ 414242 w 3510153"/>
                  <a:gd name="connsiteY82" fmla="*/ 285084 h 511302"/>
                  <a:gd name="connsiteX83" fmla="*/ 414242 w 3510153"/>
                  <a:gd name="connsiteY83" fmla="*/ 291180 h 511302"/>
                  <a:gd name="connsiteX84" fmla="*/ 487870 w 3510153"/>
                  <a:gd name="connsiteY84" fmla="*/ 291180 h 511302"/>
                  <a:gd name="connsiteX85" fmla="*/ 487870 w 3510153"/>
                  <a:gd name="connsiteY85" fmla="*/ 297180 h 511302"/>
                  <a:gd name="connsiteX86" fmla="*/ 508920 w 3510153"/>
                  <a:gd name="connsiteY86" fmla="*/ 297180 h 511302"/>
                  <a:gd name="connsiteX87" fmla="*/ 508920 w 3510153"/>
                  <a:gd name="connsiteY87" fmla="*/ 303276 h 511302"/>
                  <a:gd name="connsiteX88" fmla="*/ 515207 w 3510153"/>
                  <a:gd name="connsiteY88" fmla="*/ 303276 h 511302"/>
                  <a:gd name="connsiteX89" fmla="*/ 515207 w 3510153"/>
                  <a:gd name="connsiteY89" fmla="*/ 309372 h 511302"/>
                  <a:gd name="connsiteX90" fmla="*/ 557307 w 3510153"/>
                  <a:gd name="connsiteY90" fmla="*/ 309372 h 511302"/>
                  <a:gd name="connsiteX91" fmla="*/ 557307 w 3510153"/>
                  <a:gd name="connsiteY91" fmla="*/ 315373 h 511302"/>
                  <a:gd name="connsiteX92" fmla="*/ 571976 w 3510153"/>
                  <a:gd name="connsiteY92" fmla="*/ 315373 h 511302"/>
                  <a:gd name="connsiteX93" fmla="*/ 571976 w 3510153"/>
                  <a:gd name="connsiteY93" fmla="*/ 321469 h 511302"/>
                  <a:gd name="connsiteX94" fmla="*/ 601503 w 3510153"/>
                  <a:gd name="connsiteY94" fmla="*/ 321469 h 511302"/>
                  <a:gd name="connsiteX95" fmla="*/ 601503 w 3510153"/>
                  <a:gd name="connsiteY95" fmla="*/ 327565 h 511302"/>
                  <a:gd name="connsiteX96" fmla="*/ 603599 w 3510153"/>
                  <a:gd name="connsiteY96" fmla="*/ 327565 h 511302"/>
                  <a:gd name="connsiteX97" fmla="*/ 603599 w 3510153"/>
                  <a:gd name="connsiteY97" fmla="*/ 333566 h 511302"/>
                  <a:gd name="connsiteX98" fmla="*/ 626649 w 3510153"/>
                  <a:gd name="connsiteY98" fmla="*/ 333566 h 511302"/>
                  <a:gd name="connsiteX99" fmla="*/ 626649 w 3510153"/>
                  <a:gd name="connsiteY99" fmla="*/ 339662 h 511302"/>
                  <a:gd name="connsiteX100" fmla="*/ 639318 w 3510153"/>
                  <a:gd name="connsiteY100" fmla="*/ 339662 h 511302"/>
                  <a:gd name="connsiteX101" fmla="*/ 639318 w 3510153"/>
                  <a:gd name="connsiteY101" fmla="*/ 345758 h 511302"/>
                  <a:gd name="connsiteX102" fmla="*/ 675036 w 3510153"/>
                  <a:gd name="connsiteY102" fmla="*/ 345758 h 511302"/>
                  <a:gd name="connsiteX103" fmla="*/ 675036 w 3510153"/>
                  <a:gd name="connsiteY103" fmla="*/ 351854 h 511302"/>
                  <a:gd name="connsiteX104" fmla="*/ 790765 w 3510153"/>
                  <a:gd name="connsiteY104" fmla="*/ 351854 h 511302"/>
                  <a:gd name="connsiteX105" fmla="*/ 790765 w 3510153"/>
                  <a:gd name="connsiteY105" fmla="*/ 357855 h 511302"/>
                  <a:gd name="connsiteX106" fmla="*/ 828579 w 3510153"/>
                  <a:gd name="connsiteY106" fmla="*/ 357855 h 511302"/>
                  <a:gd name="connsiteX107" fmla="*/ 828579 w 3510153"/>
                  <a:gd name="connsiteY107" fmla="*/ 364046 h 511302"/>
                  <a:gd name="connsiteX108" fmla="*/ 881157 w 3510153"/>
                  <a:gd name="connsiteY108" fmla="*/ 364046 h 511302"/>
                  <a:gd name="connsiteX109" fmla="*/ 881157 w 3510153"/>
                  <a:gd name="connsiteY109" fmla="*/ 370142 h 511302"/>
                  <a:gd name="connsiteX110" fmla="*/ 900112 w 3510153"/>
                  <a:gd name="connsiteY110" fmla="*/ 370142 h 511302"/>
                  <a:gd name="connsiteX111" fmla="*/ 900112 w 3510153"/>
                  <a:gd name="connsiteY111" fmla="*/ 376238 h 511302"/>
                  <a:gd name="connsiteX112" fmla="*/ 910590 w 3510153"/>
                  <a:gd name="connsiteY112" fmla="*/ 376238 h 511302"/>
                  <a:gd name="connsiteX113" fmla="*/ 910590 w 3510153"/>
                  <a:gd name="connsiteY113" fmla="*/ 382429 h 511302"/>
                  <a:gd name="connsiteX114" fmla="*/ 944308 w 3510153"/>
                  <a:gd name="connsiteY114" fmla="*/ 382429 h 511302"/>
                  <a:gd name="connsiteX115" fmla="*/ 944308 w 3510153"/>
                  <a:gd name="connsiteY115" fmla="*/ 388525 h 511302"/>
                  <a:gd name="connsiteX116" fmla="*/ 950595 w 3510153"/>
                  <a:gd name="connsiteY116" fmla="*/ 388525 h 511302"/>
                  <a:gd name="connsiteX117" fmla="*/ 950595 w 3510153"/>
                  <a:gd name="connsiteY117" fmla="*/ 394621 h 511302"/>
                  <a:gd name="connsiteX118" fmla="*/ 965263 w 3510153"/>
                  <a:gd name="connsiteY118" fmla="*/ 394621 h 511302"/>
                  <a:gd name="connsiteX119" fmla="*/ 965263 w 3510153"/>
                  <a:gd name="connsiteY119" fmla="*/ 400717 h 511302"/>
                  <a:gd name="connsiteX120" fmla="*/ 977931 w 3510153"/>
                  <a:gd name="connsiteY120" fmla="*/ 400717 h 511302"/>
                  <a:gd name="connsiteX121" fmla="*/ 977931 w 3510153"/>
                  <a:gd name="connsiteY121" fmla="*/ 406908 h 511302"/>
                  <a:gd name="connsiteX122" fmla="*/ 1003173 w 3510153"/>
                  <a:gd name="connsiteY122" fmla="*/ 406908 h 511302"/>
                  <a:gd name="connsiteX123" fmla="*/ 1003173 w 3510153"/>
                  <a:gd name="connsiteY123" fmla="*/ 413004 h 511302"/>
                  <a:gd name="connsiteX124" fmla="*/ 1232439 w 3510153"/>
                  <a:gd name="connsiteY124" fmla="*/ 413004 h 511302"/>
                  <a:gd name="connsiteX125" fmla="*/ 1232439 w 3510153"/>
                  <a:gd name="connsiteY125" fmla="*/ 419196 h 511302"/>
                  <a:gd name="connsiteX126" fmla="*/ 1345977 w 3510153"/>
                  <a:gd name="connsiteY126" fmla="*/ 419196 h 511302"/>
                  <a:gd name="connsiteX127" fmla="*/ 1345977 w 3510153"/>
                  <a:gd name="connsiteY127" fmla="*/ 425387 h 511302"/>
                  <a:gd name="connsiteX128" fmla="*/ 1615154 w 3510153"/>
                  <a:gd name="connsiteY128" fmla="*/ 425387 h 511302"/>
                  <a:gd name="connsiteX129" fmla="*/ 1615154 w 3510153"/>
                  <a:gd name="connsiteY129" fmla="*/ 431673 h 511302"/>
                  <a:gd name="connsiteX130" fmla="*/ 1688782 w 3510153"/>
                  <a:gd name="connsiteY130" fmla="*/ 431673 h 511302"/>
                  <a:gd name="connsiteX131" fmla="*/ 1688782 w 3510153"/>
                  <a:gd name="connsiteY131" fmla="*/ 437960 h 511302"/>
                  <a:gd name="connsiteX132" fmla="*/ 1768697 w 3510153"/>
                  <a:gd name="connsiteY132" fmla="*/ 437960 h 511302"/>
                  <a:gd name="connsiteX133" fmla="*/ 1768697 w 3510153"/>
                  <a:gd name="connsiteY133" fmla="*/ 444246 h 511302"/>
                  <a:gd name="connsiteX134" fmla="*/ 1930622 w 3510153"/>
                  <a:gd name="connsiteY134" fmla="*/ 444246 h 511302"/>
                  <a:gd name="connsiteX135" fmla="*/ 1930622 w 3510153"/>
                  <a:gd name="connsiteY135" fmla="*/ 450723 h 511302"/>
                  <a:gd name="connsiteX136" fmla="*/ 1947481 w 3510153"/>
                  <a:gd name="connsiteY136" fmla="*/ 450723 h 511302"/>
                  <a:gd name="connsiteX137" fmla="*/ 1947481 w 3510153"/>
                  <a:gd name="connsiteY137" fmla="*/ 457105 h 511302"/>
                  <a:gd name="connsiteX138" fmla="*/ 2065305 w 3510153"/>
                  <a:gd name="connsiteY138" fmla="*/ 457105 h 511302"/>
                  <a:gd name="connsiteX139" fmla="*/ 2065305 w 3510153"/>
                  <a:gd name="connsiteY139" fmla="*/ 463582 h 511302"/>
                  <a:gd name="connsiteX140" fmla="*/ 2157793 w 3510153"/>
                  <a:gd name="connsiteY140" fmla="*/ 463582 h 511302"/>
                  <a:gd name="connsiteX141" fmla="*/ 2157793 w 3510153"/>
                  <a:gd name="connsiteY141" fmla="*/ 469964 h 511302"/>
                  <a:gd name="connsiteX142" fmla="*/ 2176748 w 3510153"/>
                  <a:gd name="connsiteY142" fmla="*/ 469964 h 511302"/>
                  <a:gd name="connsiteX143" fmla="*/ 2176748 w 3510153"/>
                  <a:gd name="connsiteY143" fmla="*/ 476441 h 511302"/>
                  <a:gd name="connsiteX144" fmla="*/ 3030569 w 3510153"/>
                  <a:gd name="connsiteY144" fmla="*/ 476441 h 511302"/>
                  <a:gd name="connsiteX145" fmla="*/ 3030569 w 3510153"/>
                  <a:gd name="connsiteY145" fmla="*/ 511302 h 511302"/>
                  <a:gd name="connsiteX146" fmla="*/ 3510153 w 3510153"/>
                  <a:gd name="connsiteY146" fmla="*/ 511302 h 511302"/>
                  <a:gd name="connsiteX0" fmla="*/ 0 w 3510153"/>
                  <a:gd name="connsiteY0" fmla="*/ 0 h 511302"/>
                  <a:gd name="connsiteX1" fmla="*/ 12573 w 3510153"/>
                  <a:gd name="connsiteY1" fmla="*/ 6001 h 511302"/>
                  <a:gd name="connsiteX2" fmla="*/ 12573 w 3510153"/>
                  <a:gd name="connsiteY2" fmla="*/ 12097 h 511302"/>
                  <a:gd name="connsiteX3" fmla="*/ 18859 w 3510153"/>
                  <a:gd name="connsiteY3" fmla="*/ 12097 h 511302"/>
                  <a:gd name="connsiteX4" fmla="*/ 18859 w 3510153"/>
                  <a:gd name="connsiteY4" fmla="*/ 24194 h 511302"/>
                  <a:gd name="connsiteX5" fmla="*/ 23050 w 3510153"/>
                  <a:gd name="connsiteY5" fmla="*/ 24194 h 511302"/>
                  <a:gd name="connsiteX6" fmla="*/ 23050 w 3510153"/>
                  <a:gd name="connsiteY6" fmla="*/ 30290 h 511302"/>
                  <a:gd name="connsiteX7" fmla="*/ 35718 w 3510153"/>
                  <a:gd name="connsiteY7" fmla="*/ 30290 h 511302"/>
                  <a:gd name="connsiteX8" fmla="*/ 35718 w 3510153"/>
                  <a:gd name="connsiteY8" fmla="*/ 36386 h 511302"/>
                  <a:gd name="connsiteX9" fmla="*/ 50387 w 3510153"/>
                  <a:gd name="connsiteY9" fmla="*/ 36386 h 511302"/>
                  <a:gd name="connsiteX10" fmla="*/ 50387 w 3510153"/>
                  <a:gd name="connsiteY10" fmla="*/ 42387 h 511302"/>
                  <a:gd name="connsiteX11" fmla="*/ 54673 w 3510153"/>
                  <a:gd name="connsiteY11" fmla="*/ 42387 h 511302"/>
                  <a:gd name="connsiteX12" fmla="*/ 54673 w 3510153"/>
                  <a:gd name="connsiteY12" fmla="*/ 48483 h 511302"/>
                  <a:gd name="connsiteX13" fmla="*/ 65150 w 3510153"/>
                  <a:gd name="connsiteY13" fmla="*/ 48483 h 511302"/>
                  <a:gd name="connsiteX14" fmla="*/ 65150 w 3510153"/>
                  <a:gd name="connsiteY14" fmla="*/ 54579 h 511302"/>
                  <a:gd name="connsiteX15" fmla="*/ 73533 w 3510153"/>
                  <a:gd name="connsiteY15" fmla="*/ 54579 h 511302"/>
                  <a:gd name="connsiteX16" fmla="*/ 73533 w 3510153"/>
                  <a:gd name="connsiteY16" fmla="*/ 60675 h 511302"/>
                  <a:gd name="connsiteX17" fmla="*/ 88296 w 3510153"/>
                  <a:gd name="connsiteY17" fmla="*/ 60675 h 511302"/>
                  <a:gd name="connsiteX18" fmla="*/ 88296 w 3510153"/>
                  <a:gd name="connsiteY18" fmla="*/ 66675 h 511302"/>
                  <a:gd name="connsiteX19" fmla="*/ 92487 w 3510153"/>
                  <a:gd name="connsiteY19" fmla="*/ 66675 h 511302"/>
                  <a:gd name="connsiteX20" fmla="*/ 92487 w 3510153"/>
                  <a:gd name="connsiteY20" fmla="*/ 72771 h 511302"/>
                  <a:gd name="connsiteX21" fmla="*/ 96678 w 3510153"/>
                  <a:gd name="connsiteY21" fmla="*/ 72771 h 511302"/>
                  <a:gd name="connsiteX22" fmla="*/ 96678 w 3510153"/>
                  <a:gd name="connsiteY22" fmla="*/ 78867 h 511302"/>
                  <a:gd name="connsiteX23" fmla="*/ 109347 w 3510153"/>
                  <a:gd name="connsiteY23" fmla="*/ 78867 h 511302"/>
                  <a:gd name="connsiteX24" fmla="*/ 109347 w 3510153"/>
                  <a:gd name="connsiteY24" fmla="*/ 84868 h 511302"/>
                  <a:gd name="connsiteX25" fmla="*/ 138779 w 3510153"/>
                  <a:gd name="connsiteY25" fmla="*/ 84868 h 511302"/>
                  <a:gd name="connsiteX26" fmla="*/ 138779 w 3510153"/>
                  <a:gd name="connsiteY26" fmla="*/ 90964 h 511302"/>
                  <a:gd name="connsiteX27" fmla="*/ 147161 w 3510153"/>
                  <a:gd name="connsiteY27" fmla="*/ 90964 h 511302"/>
                  <a:gd name="connsiteX28" fmla="*/ 147161 w 3510153"/>
                  <a:gd name="connsiteY28" fmla="*/ 97060 h 511302"/>
                  <a:gd name="connsiteX29" fmla="*/ 149256 w 3510153"/>
                  <a:gd name="connsiteY29" fmla="*/ 97060 h 511302"/>
                  <a:gd name="connsiteX30" fmla="*/ 149256 w 3510153"/>
                  <a:gd name="connsiteY30" fmla="*/ 103061 h 511302"/>
                  <a:gd name="connsiteX31" fmla="*/ 164020 w 3510153"/>
                  <a:gd name="connsiteY31" fmla="*/ 103061 h 511302"/>
                  <a:gd name="connsiteX32" fmla="*/ 164020 w 3510153"/>
                  <a:gd name="connsiteY32" fmla="*/ 115253 h 511302"/>
                  <a:gd name="connsiteX33" fmla="*/ 166116 w 3510153"/>
                  <a:gd name="connsiteY33" fmla="*/ 115253 h 511302"/>
                  <a:gd name="connsiteX34" fmla="*/ 166116 w 3510153"/>
                  <a:gd name="connsiteY34" fmla="*/ 121254 h 511302"/>
                  <a:gd name="connsiteX35" fmla="*/ 172402 w 3510153"/>
                  <a:gd name="connsiteY35" fmla="*/ 121254 h 511302"/>
                  <a:gd name="connsiteX36" fmla="*/ 172402 w 3510153"/>
                  <a:gd name="connsiteY36" fmla="*/ 127350 h 511302"/>
                  <a:gd name="connsiteX37" fmla="*/ 176593 w 3510153"/>
                  <a:gd name="connsiteY37" fmla="*/ 127350 h 511302"/>
                  <a:gd name="connsiteX38" fmla="*/ 176593 w 3510153"/>
                  <a:gd name="connsiteY38" fmla="*/ 133446 h 511302"/>
                  <a:gd name="connsiteX39" fmla="*/ 193452 w 3510153"/>
                  <a:gd name="connsiteY39" fmla="*/ 133446 h 511302"/>
                  <a:gd name="connsiteX40" fmla="*/ 193452 w 3510153"/>
                  <a:gd name="connsiteY40" fmla="*/ 145542 h 511302"/>
                  <a:gd name="connsiteX41" fmla="*/ 197643 w 3510153"/>
                  <a:gd name="connsiteY41" fmla="*/ 145542 h 511302"/>
                  <a:gd name="connsiteX42" fmla="*/ 197643 w 3510153"/>
                  <a:gd name="connsiteY42" fmla="*/ 151638 h 511302"/>
                  <a:gd name="connsiteX43" fmla="*/ 220789 w 3510153"/>
                  <a:gd name="connsiteY43" fmla="*/ 151638 h 511302"/>
                  <a:gd name="connsiteX44" fmla="*/ 220789 w 3510153"/>
                  <a:gd name="connsiteY44" fmla="*/ 157734 h 511302"/>
                  <a:gd name="connsiteX45" fmla="*/ 224980 w 3510153"/>
                  <a:gd name="connsiteY45" fmla="*/ 157734 h 511302"/>
                  <a:gd name="connsiteX46" fmla="*/ 224980 w 3510153"/>
                  <a:gd name="connsiteY46" fmla="*/ 163735 h 511302"/>
                  <a:gd name="connsiteX47" fmla="*/ 231267 w 3510153"/>
                  <a:gd name="connsiteY47" fmla="*/ 163735 h 511302"/>
                  <a:gd name="connsiteX48" fmla="*/ 231267 w 3510153"/>
                  <a:gd name="connsiteY48" fmla="*/ 175927 h 511302"/>
                  <a:gd name="connsiteX49" fmla="*/ 250221 w 3510153"/>
                  <a:gd name="connsiteY49" fmla="*/ 175927 h 511302"/>
                  <a:gd name="connsiteX50" fmla="*/ 250221 w 3510153"/>
                  <a:gd name="connsiteY50" fmla="*/ 181928 h 511302"/>
                  <a:gd name="connsiteX51" fmla="*/ 258603 w 3510153"/>
                  <a:gd name="connsiteY51" fmla="*/ 181928 h 511302"/>
                  <a:gd name="connsiteX52" fmla="*/ 258603 w 3510153"/>
                  <a:gd name="connsiteY52" fmla="*/ 188024 h 511302"/>
                  <a:gd name="connsiteX53" fmla="*/ 271272 w 3510153"/>
                  <a:gd name="connsiteY53" fmla="*/ 188024 h 511302"/>
                  <a:gd name="connsiteX54" fmla="*/ 271272 w 3510153"/>
                  <a:gd name="connsiteY54" fmla="*/ 194120 h 511302"/>
                  <a:gd name="connsiteX55" fmla="*/ 288131 w 3510153"/>
                  <a:gd name="connsiteY55" fmla="*/ 194120 h 511302"/>
                  <a:gd name="connsiteX56" fmla="*/ 288131 w 3510153"/>
                  <a:gd name="connsiteY56" fmla="*/ 200121 h 511302"/>
                  <a:gd name="connsiteX57" fmla="*/ 315468 w 3510153"/>
                  <a:gd name="connsiteY57" fmla="*/ 200121 h 511302"/>
                  <a:gd name="connsiteX58" fmla="*/ 315468 w 3510153"/>
                  <a:gd name="connsiteY58" fmla="*/ 206217 h 511302"/>
                  <a:gd name="connsiteX59" fmla="*/ 317563 w 3510153"/>
                  <a:gd name="connsiteY59" fmla="*/ 206217 h 511302"/>
                  <a:gd name="connsiteX60" fmla="*/ 317563 w 3510153"/>
                  <a:gd name="connsiteY60" fmla="*/ 212313 h 511302"/>
                  <a:gd name="connsiteX61" fmla="*/ 328040 w 3510153"/>
                  <a:gd name="connsiteY61" fmla="*/ 212313 h 511302"/>
                  <a:gd name="connsiteX62" fmla="*/ 328040 w 3510153"/>
                  <a:gd name="connsiteY62" fmla="*/ 218313 h 511302"/>
                  <a:gd name="connsiteX63" fmla="*/ 334327 w 3510153"/>
                  <a:gd name="connsiteY63" fmla="*/ 218313 h 511302"/>
                  <a:gd name="connsiteX64" fmla="*/ 334327 w 3510153"/>
                  <a:gd name="connsiteY64" fmla="*/ 230505 h 511302"/>
                  <a:gd name="connsiteX65" fmla="*/ 342804 w 3510153"/>
                  <a:gd name="connsiteY65" fmla="*/ 230505 h 511302"/>
                  <a:gd name="connsiteX66" fmla="*/ 342804 w 3510153"/>
                  <a:gd name="connsiteY66" fmla="*/ 236506 h 511302"/>
                  <a:gd name="connsiteX67" fmla="*/ 349091 w 3510153"/>
                  <a:gd name="connsiteY67" fmla="*/ 236506 h 511302"/>
                  <a:gd name="connsiteX68" fmla="*/ 349091 w 3510153"/>
                  <a:gd name="connsiteY68" fmla="*/ 248698 h 511302"/>
                  <a:gd name="connsiteX69" fmla="*/ 351186 w 3510153"/>
                  <a:gd name="connsiteY69" fmla="*/ 248698 h 511302"/>
                  <a:gd name="connsiteX70" fmla="*/ 351186 w 3510153"/>
                  <a:gd name="connsiteY70" fmla="*/ 254794 h 511302"/>
                  <a:gd name="connsiteX71" fmla="*/ 363759 w 3510153"/>
                  <a:gd name="connsiteY71" fmla="*/ 254794 h 511302"/>
                  <a:gd name="connsiteX72" fmla="*/ 363759 w 3510153"/>
                  <a:gd name="connsiteY72" fmla="*/ 260795 h 511302"/>
                  <a:gd name="connsiteX73" fmla="*/ 386905 w 3510153"/>
                  <a:gd name="connsiteY73" fmla="*/ 260795 h 511302"/>
                  <a:gd name="connsiteX74" fmla="*/ 386905 w 3510153"/>
                  <a:gd name="connsiteY74" fmla="*/ 266891 h 511302"/>
                  <a:gd name="connsiteX75" fmla="*/ 393287 w 3510153"/>
                  <a:gd name="connsiteY75" fmla="*/ 266891 h 511302"/>
                  <a:gd name="connsiteX76" fmla="*/ 393287 w 3510153"/>
                  <a:gd name="connsiteY76" fmla="*/ 272987 h 511302"/>
                  <a:gd name="connsiteX77" fmla="*/ 401669 w 3510153"/>
                  <a:gd name="connsiteY77" fmla="*/ 272987 h 511302"/>
                  <a:gd name="connsiteX78" fmla="*/ 401669 w 3510153"/>
                  <a:gd name="connsiteY78" fmla="*/ 278988 h 511302"/>
                  <a:gd name="connsiteX79" fmla="*/ 410051 w 3510153"/>
                  <a:gd name="connsiteY79" fmla="*/ 278988 h 511302"/>
                  <a:gd name="connsiteX80" fmla="*/ 410051 w 3510153"/>
                  <a:gd name="connsiteY80" fmla="*/ 285084 h 511302"/>
                  <a:gd name="connsiteX81" fmla="*/ 414242 w 3510153"/>
                  <a:gd name="connsiteY81" fmla="*/ 285084 h 511302"/>
                  <a:gd name="connsiteX82" fmla="*/ 414242 w 3510153"/>
                  <a:gd name="connsiteY82" fmla="*/ 291180 h 511302"/>
                  <a:gd name="connsiteX83" fmla="*/ 487870 w 3510153"/>
                  <a:gd name="connsiteY83" fmla="*/ 291180 h 511302"/>
                  <a:gd name="connsiteX84" fmla="*/ 487870 w 3510153"/>
                  <a:gd name="connsiteY84" fmla="*/ 297180 h 511302"/>
                  <a:gd name="connsiteX85" fmla="*/ 508920 w 3510153"/>
                  <a:gd name="connsiteY85" fmla="*/ 297180 h 511302"/>
                  <a:gd name="connsiteX86" fmla="*/ 508920 w 3510153"/>
                  <a:gd name="connsiteY86" fmla="*/ 303276 h 511302"/>
                  <a:gd name="connsiteX87" fmla="*/ 515207 w 3510153"/>
                  <a:gd name="connsiteY87" fmla="*/ 303276 h 511302"/>
                  <a:gd name="connsiteX88" fmla="*/ 515207 w 3510153"/>
                  <a:gd name="connsiteY88" fmla="*/ 309372 h 511302"/>
                  <a:gd name="connsiteX89" fmla="*/ 557307 w 3510153"/>
                  <a:gd name="connsiteY89" fmla="*/ 309372 h 511302"/>
                  <a:gd name="connsiteX90" fmla="*/ 557307 w 3510153"/>
                  <a:gd name="connsiteY90" fmla="*/ 315373 h 511302"/>
                  <a:gd name="connsiteX91" fmla="*/ 571976 w 3510153"/>
                  <a:gd name="connsiteY91" fmla="*/ 315373 h 511302"/>
                  <a:gd name="connsiteX92" fmla="*/ 571976 w 3510153"/>
                  <a:gd name="connsiteY92" fmla="*/ 321469 h 511302"/>
                  <a:gd name="connsiteX93" fmla="*/ 601503 w 3510153"/>
                  <a:gd name="connsiteY93" fmla="*/ 321469 h 511302"/>
                  <a:gd name="connsiteX94" fmla="*/ 601503 w 3510153"/>
                  <a:gd name="connsiteY94" fmla="*/ 327565 h 511302"/>
                  <a:gd name="connsiteX95" fmla="*/ 603599 w 3510153"/>
                  <a:gd name="connsiteY95" fmla="*/ 327565 h 511302"/>
                  <a:gd name="connsiteX96" fmla="*/ 603599 w 3510153"/>
                  <a:gd name="connsiteY96" fmla="*/ 333566 h 511302"/>
                  <a:gd name="connsiteX97" fmla="*/ 626649 w 3510153"/>
                  <a:gd name="connsiteY97" fmla="*/ 333566 h 511302"/>
                  <a:gd name="connsiteX98" fmla="*/ 626649 w 3510153"/>
                  <a:gd name="connsiteY98" fmla="*/ 339662 h 511302"/>
                  <a:gd name="connsiteX99" fmla="*/ 639318 w 3510153"/>
                  <a:gd name="connsiteY99" fmla="*/ 339662 h 511302"/>
                  <a:gd name="connsiteX100" fmla="*/ 639318 w 3510153"/>
                  <a:gd name="connsiteY100" fmla="*/ 345758 h 511302"/>
                  <a:gd name="connsiteX101" fmla="*/ 675036 w 3510153"/>
                  <a:gd name="connsiteY101" fmla="*/ 345758 h 511302"/>
                  <a:gd name="connsiteX102" fmla="*/ 675036 w 3510153"/>
                  <a:gd name="connsiteY102" fmla="*/ 351854 h 511302"/>
                  <a:gd name="connsiteX103" fmla="*/ 790765 w 3510153"/>
                  <a:gd name="connsiteY103" fmla="*/ 351854 h 511302"/>
                  <a:gd name="connsiteX104" fmla="*/ 790765 w 3510153"/>
                  <a:gd name="connsiteY104" fmla="*/ 357855 h 511302"/>
                  <a:gd name="connsiteX105" fmla="*/ 828579 w 3510153"/>
                  <a:gd name="connsiteY105" fmla="*/ 357855 h 511302"/>
                  <a:gd name="connsiteX106" fmla="*/ 828579 w 3510153"/>
                  <a:gd name="connsiteY106" fmla="*/ 364046 h 511302"/>
                  <a:gd name="connsiteX107" fmla="*/ 881157 w 3510153"/>
                  <a:gd name="connsiteY107" fmla="*/ 364046 h 511302"/>
                  <a:gd name="connsiteX108" fmla="*/ 881157 w 3510153"/>
                  <a:gd name="connsiteY108" fmla="*/ 370142 h 511302"/>
                  <a:gd name="connsiteX109" fmla="*/ 900112 w 3510153"/>
                  <a:gd name="connsiteY109" fmla="*/ 370142 h 511302"/>
                  <a:gd name="connsiteX110" fmla="*/ 900112 w 3510153"/>
                  <a:gd name="connsiteY110" fmla="*/ 376238 h 511302"/>
                  <a:gd name="connsiteX111" fmla="*/ 910590 w 3510153"/>
                  <a:gd name="connsiteY111" fmla="*/ 376238 h 511302"/>
                  <a:gd name="connsiteX112" fmla="*/ 910590 w 3510153"/>
                  <a:gd name="connsiteY112" fmla="*/ 382429 h 511302"/>
                  <a:gd name="connsiteX113" fmla="*/ 944308 w 3510153"/>
                  <a:gd name="connsiteY113" fmla="*/ 382429 h 511302"/>
                  <a:gd name="connsiteX114" fmla="*/ 944308 w 3510153"/>
                  <a:gd name="connsiteY114" fmla="*/ 388525 h 511302"/>
                  <a:gd name="connsiteX115" fmla="*/ 950595 w 3510153"/>
                  <a:gd name="connsiteY115" fmla="*/ 388525 h 511302"/>
                  <a:gd name="connsiteX116" fmla="*/ 950595 w 3510153"/>
                  <a:gd name="connsiteY116" fmla="*/ 394621 h 511302"/>
                  <a:gd name="connsiteX117" fmla="*/ 965263 w 3510153"/>
                  <a:gd name="connsiteY117" fmla="*/ 394621 h 511302"/>
                  <a:gd name="connsiteX118" fmla="*/ 965263 w 3510153"/>
                  <a:gd name="connsiteY118" fmla="*/ 400717 h 511302"/>
                  <a:gd name="connsiteX119" fmla="*/ 977931 w 3510153"/>
                  <a:gd name="connsiteY119" fmla="*/ 400717 h 511302"/>
                  <a:gd name="connsiteX120" fmla="*/ 977931 w 3510153"/>
                  <a:gd name="connsiteY120" fmla="*/ 406908 h 511302"/>
                  <a:gd name="connsiteX121" fmla="*/ 1003173 w 3510153"/>
                  <a:gd name="connsiteY121" fmla="*/ 406908 h 511302"/>
                  <a:gd name="connsiteX122" fmla="*/ 1003173 w 3510153"/>
                  <a:gd name="connsiteY122" fmla="*/ 413004 h 511302"/>
                  <a:gd name="connsiteX123" fmla="*/ 1232439 w 3510153"/>
                  <a:gd name="connsiteY123" fmla="*/ 413004 h 511302"/>
                  <a:gd name="connsiteX124" fmla="*/ 1232439 w 3510153"/>
                  <a:gd name="connsiteY124" fmla="*/ 419196 h 511302"/>
                  <a:gd name="connsiteX125" fmla="*/ 1345977 w 3510153"/>
                  <a:gd name="connsiteY125" fmla="*/ 419196 h 511302"/>
                  <a:gd name="connsiteX126" fmla="*/ 1345977 w 3510153"/>
                  <a:gd name="connsiteY126" fmla="*/ 425387 h 511302"/>
                  <a:gd name="connsiteX127" fmla="*/ 1615154 w 3510153"/>
                  <a:gd name="connsiteY127" fmla="*/ 425387 h 511302"/>
                  <a:gd name="connsiteX128" fmla="*/ 1615154 w 3510153"/>
                  <a:gd name="connsiteY128" fmla="*/ 431673 h 511302"/>
                  <a:gd name="connsiteX129" fmla="*/ 1688782 w 3510153"/>
                  <a:gd name="connsiteY129" fmla="*/ 431673 h 511302"/>
                  <a:gd name="connsiteX130" fmla="*/ 1688782 w 3510153"/>
                  <a:gd name="connsiteY130" fmla="*/ 437960 h 511302"/>
                  <a:gd name="connsiteX131" fmla="*/ 1768697 w 3510153"/>
                  <a:gd name="connsiteY131" fmla="*/ 437960 h 511302"/>
                  <a:gd name="connsiteX132" fmla="*/ 1768697 w 3510153"/>
                  <a:gd name="connsiteY132" fmla="*/ 444246 h 511302"/>
                  <a:gd name="connsiteX133" fmla="*/ 1930622 w 3510153"/>
                  <a:gd name="connsiteY133" fmla="*/ 444246 h 511302"/>
                  <a:gd name="connsiteX134" fmla="*/ 1930622 w 3510153"/>
                  <a:gd name="connsiteY134" fmla="*/ 450723 h 511302"/>
                  <a:gd name="connsiteX135" fmla="*/ 1947481 w 3510153"/>
                  <a:gd name="connsiteY135" fmla="*/ 450723 h 511302"/>
                  <a:gd name="connsiteX136" fmla="*/ 1947481 w 3510153"/>
                  <a:gd name="connsiteY136" fmla="*/ 457105 h 511302"/>
                  <a:gd name="connsiteX137" fmla="*/ 2065305 w 3510153"/>
                  <a:gd name="connsiteY137" fmla="*/ 457105 h 511302"/>
                  <a:gd name="connsiteX138" fmla="*/ 2065305 w 3510153"/>
                  <a:gd name="connsiteY138" fmla="*/ 463582 h 511302"/>
                  <a:gd name="connsiteX139" fmla="*/ 2157793 w 3510153"/>
                  <a:gd name="connsiteY139" fmla="*/ 463582 h 511302"/>
                  <a:gd name="connsiteX140" fmla="*/ 2157793 w 3510153"/>
                  <a:gd name="connsiteY140" fmla="*/ 469964 h 511302"/>
                  <a:gd name="connsiteX141" fmla="*/ 2176748 w 3510153"/>
                  <a:gd name="connsiteY141" fmla="*/ 469964 h 511302"/>
                  <a:gd name="connsiteX142" fmla="*/ 2176748 w 3510153"/>
                  <a:gd name="connsiteY142" fmla="*/ 476441 h 511302"/>
                  <a:gd name="connsiteX143" fmla="*/ 3030569 w 3510153"/>
                  <a:gd name="connsiteY143" fmla="*/ 476441 h 511302"/>
                  <a:gd name="connsiteX144" fmla="*/ 3030569 w 3510153"/>
                  <a:gd name="connsiteY144" fmla="*/ 511302 h 511302"/>
                  <a:gd name="connsiteX145" fmla="*/ 3510153 w 3510153"/>
                  <a:gd name="connsiteY145" fmla="*/ 511302 h 511302"/>
                  <a:gd name="connsiteX0" fmla="*/ 0 w 3497580"/>
                  <a:gd name="connsiteY0" fmla="*/ 0 h 505301"/>
                  <a:gd name="connsiteX1" fmla="*/ 0 w 3497580"/>
                  <a:gd name="connsiteY1" fmla="*/ 6096 h 505301"/>
                  <a:gd name="connsiteX2" fmla="*/ 6286 w 3497580"/>
                  <a:gd name="connsiteY2" fmla="*/ 6096 h 505301"/>
                  <a:gd name="connsiteX3" fmla="*/ 6286 w 3497580"/>
                  <a:gd name="connsiteY3" fmla="*/ 18193 h 505301"/>
                  <a:gd name="connsiteX4" fmla="*/ 10477 w 3497580"/>
                  <a:gd name="connsiteY4" fmla="*/ 18193 h 505301"/>
                  <a:gd name="connsiteX5" fmla="*/ 10477 w 3497580"/>
                  <a:gd name="connsiteY5" fmla="*/ 24289 h 505301"/>
                  <a:gd name="connsiteX6" fmla="*/ 23145 w 3497580"/>
                  <a:gd name="connsiteY6" fmla="*/ 24289 h 505301"/>
                  <a:gd name="connsiteX7" fmla="*/ 23145 w 3497580"/>
                  <a:gd name="connsiteY7" fmla="*/ 30385 h 505301"/>
                  <a:gd name="connsiteX8" fmla="*/ 37814 w 3497580"/>
                  <a:gd name="connsiteY8" fmla="*/ 30385 h 505301"/>
                  <a:gd name="connsiteX9" fmla="*/ 37814 w 3497580"/>
                  <a:gd name="connsiteY9" fmla="*/ 36386 h 505301"/>
                  <a:gd name="connsiteX10" fmla="*/ 42100 w 3497580"/>
                  <a:gd name="connsiteY10" fmla="*/ 36386 h 505301"/>
                  <a:gd name="connsiteX11" fmla="*/ 42100 w 3497580"/>
                  <a:gd name="connsiteY11" fmla="*/ 42482 h 505301"/>
                  <a:gd name="connsiteX12" fmla="*/ 52577 w 3497580"/>
                  <a:gd name="connsiteY12" fmla="*/ 42482 h 505301"/>
                  <a:gd name="connsiteX13" fmla="*/ 52577 w 3497580"/>
                  <a:gd name="connsiteY13" fmla="*/ 48578 h 505301"/>
                  <a:gd name="connsiteX14" fmla="*/ 60960 w 3497580"/>
                  <a:gd name="connsiteY14" fmla="*/ 48578 h 505301"/>
                  <a:gd name="connsiteX15" fmla="*/ 60960 w 3497580"/>
                  <a:gd name="connsiteY15" fmla="*/ 54674 h 505301"/>
                  <a:gd name="connsiteX16" fmla="*/ 75723 w 3497580"/>
                  <a:gd name="connsiteY16" fmla="*/ 54674 h 505301"/>
                  <a:gd name="connsiteX17" fmla="*/ 75723 w 3497580"/>
                  <a:gd name="connsiteY17" fmla="*/ 60674 h 505301"/>
                  <a:gd name="connsiteX18" fmla="*/ 79914 w 3497580"/>
                  <a:gd name="connsiteY18" fmla="*/ 60674 h 505301"/>
                  <a:gd name="connsiteX19" fmla="*/ 79914 w 3497580"/>
                  <a:gd name="connsiteY19" fmla="*/ 66770 h 505301"/>
                  <a:gd name="connsiteX20" fmla="*/ 84105 w 3497580"/>
                  <a:gd name="connsiteY20" fmla="*/ 66770 h 505301"/>
                  <a:gd name="connsiteX21" fmla="*/ 84105 w 3497580"/>
                  <a:gd name="connsiteY21" fmla="*/ 72866 h 505301"/>
                  <a:gd name="connsiteX22" fmla="*/ 96774 w 3497580"/>
                  <a:gd name="connsiteY22" fmla="*/ 72866 h 505301"/>
                  <a:gd name="connsiteX23" fmla="*/ 96774 w 3497580"/>
                  <a:gd name="connsiteY23" fmla="*/ 78867 h 505301"/>
                  <a:gd name="connsiteX24" fmla="*/ 126206 w 3497580"/>
                  <a:gd name="connsiteY24" fmla="*/ 78867 h 505301"/>
                  <a:gd name="connsiteX25" fmla="*/ 126206 w 3497580"/>
                  <a:gd name="connsiteY25" fmla="*/ 84963 h 505301"/>
                  <a:gd name="connsiteX26" fmla="*/ 134588 w 3497580"/>
                  <a:gd name="connsiteY26" fmla="*/ 84963 h 505301"/>
                  <a:gd name="connsiteX27" fmla="*/ 134588 w 3497580"/>
                  <a:gd name="connsiteY27" fmla="*/ 91059 h 505301"/>
                  <a:gd name="connsiteX28" fmla="*/ 136683 w 3497580"/>
                  <a:gd name="connsiteY28" fmla="*/ 91059 h 505301"/>
                  <a:gd name="connsiteX29" fmla="*/ 136683 w 3497580"/>
                  <a:gd name="connsiteY29" fmla="*/ 97060 h 505301"/>
                  <a:gd name="connsiteX30" fmla="*/ 151447 w 3497580"/>
                  <a:gd name="connsiteY30" fmla="*/ 97060 h 505301"/>
                  <a:gd name="connsiteX31" fmla="*/ 151447 w 3497580"/>
                  <a:gd name="connsiteY31" fmla="*/ 109252 h 505301"/>
                  <a:gd name="connsiteX32" fmla="*/ 153543 w 3497580"/>
                  <a:gd name="connsiteY32" fmla="*/ 109252 h 505301"/>
                  <a:gd name="connsiteX33" fmla="*/ 153543 w 3497580"/>
                  <a:gd name="connsiteY33" fmla="*/ 115253 h 505301"/>
                  <a:gd name="connsiteX34" fmla="*/ 159829 w 3497580"/>
                  <a:gd name="connsiteY34" fmla="*/ 115253 h 505301"/>
                  <a:gd name="connsiteX35" fmla="*/ 159829 w 3497580"/>
                  <a:gd name="connsiteY35" fmla="*/ 121349 h 505301"/>
                  <a:gd name="connsiteX36" fmla="*/ 164020 w 3497580"/>
                  <a:gd name="connsiteY36" fmla="*/ 121349 h 505301"/>
                  <a:gd name="connsiteX37" fmla="*/ 164020 w 3497580"/>
                  <a:gd name="connsiteY37" fmla="*/ 127445 h 505301"/>
                  <a:gd name="connsiteX38" fmla="*/ 180879 w 3497580"/>
                  <a:gd name="connsiteY38" fmla="*/ 127445 h 505301"/>
                  <a:gd name="connsiteX39" fmla="*/ 180879 w 3497580"/>
                  <a:gd name="connsiteY39" fmla="*/ 139541 h 505301"/>
                  <a:gd name="connsiteX40" fmla="*/ 185070 w 3497580"/>
                  <a:gd name="connsiteY40" fmla="*/ 139541 h 505301"/>
                  <a:gd name="connsiteX41" fmla="*/ 185070 w 3497580"/>
                  <a:gd name="connsiteY41" fmla="*/ 145637 h 505301"/>
                  <a:gd name="connsiteX42" fmla="*/ 208216 w 3497580"/>
                  <a:gd name="connsiteY42" fmla="*/ 145637 h 505301"/>
                  <a:gd name="connsiteX43" fmla="*/ 208216 w 3497580"/>
                  <a:gd name="connsiteY43" fmla="*/ 151733 h 505301"/>
                  <a:gd name="connsiteX44" fmla="*/ 212407 w 3497580"/>
                  <a:gd name="connsiteY44" fmla="*/ 151733 h 505301"/>
                  <a:gd name="connsiteX45" fmla="*/ 212407 w 3497580"/>
                  <a:gd name="connsiteY45" fmla="*/ 157734 h 505301"/>
                  <a:gd name="connsiteX46" fmla="*/ 218694 w 3497580"/>
                  <a:gd name="connsiteY46" fmla="*/ 157734 h 505301"/>
                  <a:gd name="connsiteX47" fmla="*/ 218694 w 3497580"/>
                  <a:gd name="connsiteY47" fmla="*/ 169926 h 505301"/>
                  <a:gd name="connsiteX48" fmla="*/ 237648 w 3497580"/>
                  <a:gd name="connsiteY48" fmla="*/ 169926 h 505301"/>
                  <a:gd name="connsiteX49" fmla="*/ 237648 w 3497580"/>
                  <a:gd name="connsiteY49" fmla="*/ 175927 h 505301"/>
                  <a:gd name="connsiteX50" fmla="*/ 246030 w 3497580"/>
                  <a:gd name="connsiteY50" fmla="*/ 175927 h 505301"/>
                  <a:gd name="connsiteX51" fmla="*/ 246030 w 3497580"/>
                  <a:gd name="connsiteY51" fmla="*/ 182023 h 505301"/>
                  <a:gd name="connsiteX52" fmla="*/ 258699 w 3497580"/>
                  <a:gd name="connsiteY52" fmla="*/ 182023 h 505301"/>
                  <a:gd name="connsiteX53" fmla="*/ 258699 w 3497580"/>
                  <a:gd name="connsiteY53" fmla="*/ 188119 h 505301"/>
                  <a:gd name="connsiteX54" fmla="*/ 275558 w 3497580"/>
                  <a:gd name="connsiteY54" fmla="*/ 188119 h 505301"/>
                  <a:gd name="connsiteX55" fmla="*/ 275558 w 3497580"/>
                  <a:gd name="connsiteY55" fmla="*/ 194120 h 505301"/>
                  <a:gd name="connsiteX56" fmla="*/ 302895 w 3497580"/>
                  <a:gd name="connsiteY56" fmla="*/ 194120 h 505301"/>
                  <a:gd name="connsiteX57" fmla="*/ 302895 w 3497580"/>
                  <a:gd name="connsiteY57" fmla="*/ 200216 h 505301"/>
                  <a:gd name="connsiteX58" fmla="*/ 304990 w 3497580"/>
                  <a:gd name="connsiteY58" fmla="*/ 200216 h 505301"/>
                  <a:gd name="connsiteX59" fmla="*/ 304990 w 3497580"/>
                  <a:gd name="connsiteY59" fmla="*/ 206312 h 505301"/>
                  <a:gd name="connsiteX60" fmla="*/ 315467 w 3497580"/>
                  <a:gd name="connsiteY60" fmla="*/ 206312 h 505301"/>
                  <a:gd name="connsiteX61" fmla="*/ 315467 w 3497580"/>
                  <a:gd name="connsiteY61" fmla="*/ 212312 h 505301"/>
                  <a:gd name="connsiteX62" fmla="*/ 321754 w 3497580"/>
                  <a:gd name="connsiteY62" fmla="*/ 212312 h 505301"/>
                  <a:gd name="connsiteX63" fmla="*/ 321754 w 3497580"/>
                  <a:gd name="connsiteY63" fmla="*/ 224504 h 505301"/>
                  <a:gd name="connsiteX64" fmla="*/ 330231 w 3497580"/>
                  <a:gd name="connsiteY64" fmla="*/ 224504 h 505301"/>
                  <a:gd name="connsiteX65" fmla="*/ 330231 w 3497580"/>
                  <a:gd name="connsiteY65" fmla="*/ 230505 h 505301"/>
                  <a:gd name="connsiteX66" fmla="*/ 336518 w 3497580"/>
                  <a:gd name="connsiteY66" fmla="*/ 230505 h 505301"/>
                  <a:gd name="connsiteX67" fmla="*/ 336518 w 3497580"/>
                  <a:gd name="connsiteY67" fmla="*/ 242697 h 505301"/>
                  <a:gd name="connsiteX68" fmla="*/ 338613 w 3497580"/>
                  <a:gd name="connsiteY68" fmla="*/ 242697 h 505301"/>
                  <a:gd name="connsiteX69" fmla="*/ 338613 w 3497580"/>
                  <a:gd name="connsiteY69" fmla="*/ 248793 h 505301"/>
                  <a:gd name="connsiteX70" fmla="*/ 351186 w 3497580"/>
                  <a:gd name="connsiteY70" fmla="*/ 248793 h 505301"/>
                  <a:gd name="connsiteX71" fmla="*/ 351186 w 3497580"/>
                  <a:gd name="connsiteY71" fmla="*/ 254794 h 505301"/>
                  <a:gd name="connsiteX72" fmla="*/ 374332 w 3497580"/>
                  <a:gd name="connsiteY72" fmla="*/ 254794 h 505301"/>
                  <a:gd name="connsiteX73" fmla="*/ 374332 w 3497580"/>
                  <a:gd name="connsiteY73" fmla="*/ 260890 h 505301"/>
                  <a:gd name="connsiteX74" fmla="*/ 380714 w 3497580"/>
                  <a:gd name="connsiteY74" fmla="*/ 260890 h 505301"/>
                  <a:gd name="connsiteX75" fmla="*/ 380714 w 3497580"/>
                  <a:gd name="connsiteY75" fmla="*/ 266986 h 505301"/>
                  <a:gd name="connsiteX76" fmla="*/ 389096 w 3497580"/>
                  <a:gd name="connsiteY76" fmla="*/ 266986 h 505301"/>
                  <a:gd name="connsiteX77" fmla="*/ 389096 w 3497580"/>
                  <a:gd name="connsiteY77" fmla="*/ 272987 h 505301"/>
                  <a:gd name="connsiteX78" fmla="*/ 397478 w 3497580"/>
                  <a:gd name="connsiteY78" fmla="*/ 272987 h 505301"/>
                  <a:gd name="connsiteX79" fmla="*/ 397478 w 3497580"/>
                  <a:gd name="connsiteY79" fmla="*/ 279083 h 505301"/>
                  <a:gd name="connsiteX80" fmla="*/ 401669 w 3497580"/>
                  <a:gd name="connsiteY80" fmla="*/ 279083 h 505301"/>
                  <a:gd name="connsiteX81" fmla="*/ 401669 w 3497580"/>
                  <a:gd name="connsiteY81" fmla="*/ 285179 h 505301"/>
                  <a:gd name="connsiteX82" fmla="*/ 475297 w 3497580"/>
                  <a:gd name="connsiteY82" fmla="*/ 285179 h 505301"/>
                  <a:gd name="connsiteX83" fmla="*/ 475297 w 3497580"/>
                  <a:gd name="connsiteY83" fmla="*/ 291179 h 505301"/>
                  <a:gd name="connsiteX84" fmla="*/ 496347 w 3497580"/>
                  <a:gd name="connsiteY84" fmla="*/ 291179 h 505301"/>
                  <a:gd name="connsiteX85" fmla="*/ 496347 w 3497580"/>
                  <a:gd name="connsiteY85" fmla="*/ 297275 h 505301"/>
                  <a:gd name="connsiteX86" fmla="*/ 502634 w 3497580"/>
                  <a:gd name="connsiteY86" fmla="*/ 297275 h 505301"/>
                  <a:gd name="connsiteX87" fmla="*/ 502634 w 3497580"/>
                  <a:gd name="connsiteY87" fmla="*/ 303371 h 505301"/>
                  <a:gd name="connsiteX88" fmla="*/ 544734 w 3497580"/>
                  <a:gd name="connsiteY88" fmla="*/ 303371 h 505301"/>
                  <a:gd name="connsiteX89" fmla="*/ 544734 w 3497580"/>
                  <a:gd name="connsiteY89" fmla="*/ 309372 h 505301"/>
                  <a:gd name="connsiteX90" fmla="*/ 559403 w 3497580"/>
                  <a:gd name="connsiteY90" fmla="*/ 309372 h 505301"/>
                  <a:gd name="connsiteX91" fmla="*/ 559403 w 3497580"/>
                  <a:gd name="connsiteY91" fmla="*/ 315468 h 505301"/>
                  <a:gd name="connsiteX92" fmla="*/ 588930 w 3497580"/>
                  <a:gd name="connsiteY92" fmla="*/ 315468 h 505301"/>
                  <a:gd name="connsiteX93" fmla="*/ 588930 w 3497580"/>
                  <a:gd name="connsiteY93" fmla="*/ 321564 h 505301"/>
                  <a:gd name="connsiteX94" fmla="*/ 591026 w 3497580"/>
                  <a:gd name="connsiteY94" fmla="*/ 321564 h 505301"/>
                  <a:gd name="connsiteX95" fmla="*/ 591026 w 3497580"/>
                  <a:gd name="connsiteY95" fmla="*/ 327565 h 505301"/>
                  <a:gd name="connsiteX96" fmla="*/ 614076 w 3497580"/>
                  <a:gd name="connsiteY96" fmla="*/ 327565 h 505301"/>
                  <a:gd name="connsiteX97" fmla="*/ 614076 w 3497580"/>
                  <a:gd name="connsiteY97" fmla="*/ 333661 h 505301"/>
                  <a:gd name="connsiteX98" fmla="*/ 626745 w 3497580"/>
                  <a:gd name="connsiteY98" fmla="*/ 333661 h 505301"/>
                  <a:gd name="connsiteX99" fmla="*/ 626745 w 3497580"/>
                  <a:gd name="connsiteY99" fmla="*/ 339757 h 505301"/>
                  <a:gd name="connsiteX100" fmla="*/ 662463 w 3497580"/>
                  <a:gd name="connsiteY100" fmla="*/ 339757 h 505301"/>
                  <a:gd name="connsiteX101" fmla="*/ 662463 w 3497580"/>
                  <a:gd name="connsiteY101" fmla="*/ 345853 h 505301"/>
                  <a:gd name="connsiteX102" fmla="*/ 778192 w 3497580"/>
                  <a:gd name="connsiteY102" fmla="*/ 345853 h 505301"/>
                  <a:gd name="connsiteX103" fmla="*/ 778192 w 3497580"/>
                  <a:gd name="connsiteY103" fmla="*/ 351854 h 505301"/>
                  <a:gd name="connsiteX104" fmla="*/ 816006 w 3497580"/>
                  <a:gd name="connsiteY104" fmla="*/ 351854 h 505301"/>
                  <a:gd name="connsiteX105" fmla="*/ 816006 w 3497580"/>
                  <a:gd name="connsiteY105" fmla="*/ 358045 h 505301"/>
                  <a:gd name="connsiteX106" fmla="*/ 868584 w 3497580"/>
                  <a:gd name="connsiteY106" fmla="*/ 358045 h 505301"/>
                  <a:gd name="connsiteX107" fmla="*/ 868584 w 3497580"/>
                  <a:gd name="connsiteY107" fmla="*/ 364141 h 505301"/>
                  <a:gd name="connsiteX108" fmla="*/ 887539 w 3497580"/>
                  <a:gd name="connsiteY108" fmla="*/ 364141 h 505301"/>
                  <a:gd name="connsiteX109" fmla="*/ 887539 w 3497580"/>
                  <a:gd name="connsiteY109" fmla="*/ 370237 h 505301"/>
                  <a:gd name="connsiteX110" fmla="*/ 898017 w 3497580"/>
                  <a:gd name="connsiteY110" fmla="*/ 370237 h 505301"/>
                  <a:gd name="connsiteX111" fmla="*/ 898017 w 3497580"/>
                  <a:gd name="connsiteY111" fmla="*/ 376428 h 505301"/>
                  <a:gd name="connsiteX112" fmla="*/ 931735 w 3497580"/>
                  <a:gd name="connsiteY112" fmla="*/ 376428 h 505301"/>
                  <a:gd name="connsiteX113" fmla="*/ 931735 w 3497580"/>
                  <a:gd name="connsiteY113" fmla="*/ 382524 h 505301"/>
                  <a:gd name="connsiteX114" fmla="*/ 938022 w 3497580"/>
                  <a:gd name="connsiteY114" fmla="*/ 382524 h 505301"/>
                  <a:gd name="connsiteX115" fmla="*/ 938022 w 3497580"/>
                  <a:gd name="connsiteY115" fmla="*/ 388620 h 505301"/>
                  <a:gd name="connsiteX116" fmla="*/ 952690 w 3497580"/>
                  <a:gd name="connsiteY116" fmla="*/ 388620 h 505301"/>
                  <a:gd name="connsiteX117" fmla="*/ 952690 w 3497580"/>
                  <a:gd name="connsiteY117" fmla="*/ 394716 h 505301"/>
                  <a:gd name="connsiteX118" fmla="*/ 965358 w 3497580"/>
                  <a:gd name="connsiteY118" fmla="*/ 394716 h 505301"/>
                  <a:gd name="connsiteX119" fmla="*/ 965358 w 3497580"/>
                  <a:gd name="connsiteY119" fmla="*/ 400907 h 505301"/>
                  <a:gd name="connsiteX120" fmla="*/ 990600 w 3497580"/>
                  <a:gd name="connsiteY120" fmla="*/ 400907 h 505301"/>
                  <a:gd name="connsiteX121" fmla="*/ 990600 w 3497580"/>
                  <a:gd name="connsiteY121" fmla="*/ 407003 h 505301"/>
                  <a:gd name="connsiteX122" fmla="*/ 1219866 w 3497580"/>
                  <a:gd name="connsiteY122" fmla="*/ 407003 h 505301"/>
                  <a:gd name="connsiteX123" fmla="*/ 1219866 w 3497580"/>
                  <a:gd name="connsiteY123" fmla="*/ 413195 h 505301"/>
                  <a:gd name="connsiteX124" fmla="*/ 1333404 w 3497580"/>
                  <a:gd name="connsiteY124" fmla="*/ 413195 h 505301"/>
                  <a:gd name="connsiteX125" fmla="*/ 1333404 w 3497580"/>
                  <a:gd name="connsiteY125" fmla="*/ 419386 h 505301"/>
                  <a:gd name="connsiteX126" fmla="*/ 1602581 w 3497580"/>
                  <a:gd name="connsiteY126" fmla="*/ 419386 h 505301"/>
                  <a:gd name="connsiteX127" fmla="*/ 1602581 w 3497580"/>
                  <a:gd name="connsiteY127" fmla="*/ 425672 h 505301"/>
                  <a:gd name="connsiteX128" fmla="*/ 1676209 w 3497580"/>
                  <a:gd name="connsiteY128" fmla="*/ 425672 h 505301"/>
                  <a:gd name="connsiteX129" fmla="*/ 1676209 w 3497580"/>
                  <a:gd name="connsiteY129" fmla="*/ 431959 h 505301"/>
                  <a:gd name="connsiteX130" fmla="*/ 1756124 w 3497580"/>
                  <a:gd name="connsiteY130" fmla="*/ 431959 h 505301"/>
                  <a:gd name="connsiteX131" fmla="*/ 1756124 w 3497580"/>
                  <a:gd name="connsiteY131" fmla="*/ 438245 h 505301"/>
                  <a:gd name="connsiteX132" fmla="*/ 1918049 w 3497580"/>
                  <a:gd name="connsiteY132" fmla="*/ 438245 h 505301"/>
                  <a:gd name="connsiteX133" fmla="*/ 1918049 w 3497580"/>
                  <a:gd name="connsiteY133" fmla="*/ 444722 h 505301"/>
                  <a:gd name="connsiteX134" fmla="*/ 1934908 w 3497580"/>
                  <a:gd name="connsiteY134" fmla="*/ 444722 h 505301"/>
                  <a:gd name="connsiteX135" fmla="*/ 1934908 w 3497580"/>
                  <a:gd name="connsiteY135" fmla="*/ 451104 h 505301"/>
                  <a:gd name="connsiteX136" fmla="*/ 2052732 w 3497580"/>
                  <a:gd name="connsiteY136" fmla="*/ 451104 h 505301"/>
                  <a:gd name="connsiteX137" fmla="*/ 2052732 w 3497580"/>
                  <a:gd name="connsiteY137" fmla="*/ 457581 h 505301"/>
                  <a:gd name="connsiteX138" fmla="*/ 2145220 w 3497580"/>
                  <a:gd name="connsiteY138" fmla="*/ 457581 h 505301"/>
                  <a:gd name="connsiteX139" fmla="*/ 2145220 w 3497580"/>
                  <a:gd name="connsiteY139" fmla="*/ 463963 h 505301"/>
                  <a:gd name="connsiteX140" fmla="*/ 2164175 w 3497580"/>
                  <a:gd name="connsiteY140" fmla="*/ 463963 h 505301"/>
                  <a:gd name="connsiteX141" fmla="*/ 2164175 w 3497580"/>
                  <a:gd name="connsiteY141" fmla="*/ 470440 h 505301"/>
                  <a:gd name="connsiteX142" fmla="*/ 3017996 w 3497580"/>
                  <a:gd name="connsiteY142" fmla="*/ 470440 h 505301"/>
                  <a:gd name="connsiteX143" fmla="*/ 3017996 w 3497580"/>
                  <a:gd name="connsiteY143" fmla="*/ 505301 h 505301"/>
                  <a:gd name="connsiteX144" fmla="*/ 3497580 w 3497580"/>
                  <a:gd name="connsiteY144" fmla="*/ 505301 h 505301"/>
                  <a:gd name="connsiteX0" fmla="*/ 0 w 3497580"/>
                  <a:gd name="connsiteY0" fmla="*/ 0 h 505301"/>
                  <a:gd name="connsiteX1" fmla="*/ 6286 w 3497580"/>
                  <a:gd name="connsiteY1" fmla="*/ 6096 h 505301"/>
                  <a:gd name="connsiteX2" fmla="*/ 6286 w 3497580"/>
                  <a:gd name="connsiteY2" fmla="*/ 18193 h 505301"/>
                  <a:gd name="connsiteX3" fmla="*/ 10477 w 3497580"/>
                  <a:gd name="connsiteY3" fmla="*/ 18193 h 505301"/>
                  <a:gd name="connsiteX4" fmla="*/ 10477 w 3497580"/>
                  <a:gd name="connsiteY4" fmla="*/ 24289 h 505301"/>
                  <a:gd name="connsiteX5" fmla="*/ 23145 w 3497580"/>
                  <a:gd name="connsiteY5" fmla="*/ 24289 h 505301"/>
                  <a:gd name="connsiteX6" fmla="*/ 23145 w 3497580"/>
                  <a:gd name="connsiteY6" fmla="*/ 30385 h 505301"/>
                  <a:gd name="connsiteX7" fmla="*/ 37814 w 3497580"/>
                  <a:gd name="connsiteY7" fmla="*/ 30385 h 505301"/>
                  <a:gd name="connsiteX8" fmla="*/ 37814 w 3497580"/>
                  <a:gd name="connsiteY8" fmla="*/ 36386 h 505301"/>
                  <a:gd name="connsiteX9" fmla="*/ 42100 w 3497580"/>
                  <a:gd name="connsiteY9" fmla="*/ 36386 h 505301"/>
                  <a:gd name="connsiteX10" fmla="*/ 42100 w 3497580"/>
                  <a:gd name="connsiteY10" fmla="*/ 42482 h 505301"/>
                  <a:gd name="connsiteX11" fmla="*/ 52577 w 3497580"/>
                  <a:gd name="connsiteY11" fmla="*/ 42482 h 505301"/>
                  <a:gd name="connsiteX12" fmla="*/ 52577 w 3497580"/>
                  <a:gd name="connsiteY12" fmla="*/ 48578 h 505301"/>
                  <a:gd name="connsiteX13" fmla="*/ 60960 w 3497580"/>
                  <a:gd name="connsiteY13" fmla="*/ 48578 h 505301"/>
                  <a:gd name="connsiteX14" fmla="*/ 60960 w 3497580"/>
                  <a:gd name="connsiteY14" fmla="*/ 54674 h 505301"/>
                  <a:gd name="connsiteX15" fmla="*/ 75723 w 3497580"/>
                  <a:gd name="connsiteY15" fmla="*/ 54674 h 505301"/>
                  <a:gd name="connsiteX16" fmla="*/ 75723 w 3497580"/>
                  <a:gd name="connsiteY16" fmla="*/ 60674 h 505301"/>
                  <a:gd name="connsiteX17" fmla="*/ 79914 w 3497580"/>
                  <a:gd name="connsiteY17" fmla="*/ 60674 h 505301"/>
                  <a:gd name="connsiteX18" fmla="*/ 79914 w 3497580"/>
                  <a:gd name="connsiteY18" fmla="*/ 66770 h 505301"/>
                  <a:gd name="connsiteX19" fmla="*/ 84105 w 3497580"/>
                  <a:gd name="connsiteY19" fmla="*/ 66770 h 505301"/>
                  <a:gd name="connsiteX20" fmla="*/ 84105 w 3497580"/>
                  <a:gd name="connsiteY20" fmla="*/ 72866 h 505301"/>
                  <a:gd name="connsiteX21" fmla="*/ 96774 w 3497580"/>
                  <a:gd name="connsiteY21" fmla="*/ 72866 h 505301"/>
                  <a:gd name="connsiteX22" fmla="*/ 96774 w 3497580"/>
                  <a:gd name="connsiteY22" fmla="*/ 78867 h 505301"/>
                  <a:gd name="connsiteX23" fmla="*/ 126206 w 3497580"/>
                  <a:gd name="connsiteY23" fmla="*/ 78867 h 505301"/>
                  <a:gd name="connsiteX24" fmla="*/ 126206 w 3497580"/>
                  <a:gd name="connsiteY24" fmla="*/ 84963 h 505301"/>
                  <a:gd name="connsiteX25" fmla="*/ 134588 w 3497580"/>
                  <a:gd name="connsiteY25" fmla="*/ 84963 h 505301"/>
                  <a:gd name="connsiteX26" fmla="*/ 134588 w 3497580"/>
                  <a:gd name="connsiteY26" fmla="*/ 91059 h 505301"/>
                  <a:gd name="connsiteX27" fmla="*/ 136683 w 3497580"/>
                  <a:gd name="connsiteY27" fmla="*/ 91059 h 505301"/>
                  <a:gd name="connsiteX28" fmla="*/ 136683 w 3497580"/>
                  <a:gd name="connsiteY28" fmla="*/ 97060 h 505301"/>
                  <a:gd name="connsiteX29" fmla="*/ 151447 w 3497580"/>
                  <a:gd name="connsiteY29" fmla="*/ 97060 h 505301"/>
                  <a:gd name="connsiteX30" fmla="*/ 151447 w 3497580"/>
                  <a:gd name="connsiteY30" fmla="*/ 109252 h 505301"/>
                  <a:gd name="connsiteX31" fmla="*/ 153543 w 3497580"/>
                  <a:gd name="connsiteY31" fmla="*/ 109252 h 505301"/>
                  <a:gd name="connsiteX32" fmla="*/ 153543 w 3497580"/>
                  <a:gd name="connsiteY32" fmla="*/ 115253 h 505301"/>
                  <a:gd name="connsiteX33" fmla="*/ 159829 w 3497580"/>
                  <a:gd name="connsiteY33" fmla="*/ 115253 h 505301"/>
                  <a:gd name="connsiteX34" fmla="*/ 159829 w 3497580"/>
                  <a:gd name="connsiteY34" fmla="*/ 121349 h 505301"/>
                  <a:gd name="connsiteX35" fmla="*/ 164020 w 3497580"/>
                  <a:gd name="connsiteY35" fmla="*/ 121349 h 505301"/>
                  <a:gd name="connsiteX36" fmla="*/ 164020 w 3497580"/>
                  <a:gd name="connsiteY36" fmla="*/ 127445 h 505301"/>
                  <a:gd name="connsiteX37" fmla="*/ 180879 w 3497580"/>
                  <a:gd name="connsiteY37" fmla="*/ 127445 h 505301"/>
                  <a:gd name="connsiteX38" fmla="*/ 180879 w 3497580"/>
                  <a:gd name="connsiteY38" fmla="*/ 139541 h 505301"/>
                  <a:gd name="connsiteX39" fmla="*/ 185070 w 3497580"/>
                  <a:gd name="connsiteY39" fmla="*/ 139541 h 505301"/>
                  <a:gd name="connsiteX40" fmla="*/ 185070 w 3497580"/>
                  <a:gd name="connsiteY40" fmla="*/ 145637 h 505301"/>
                  <a:gd name="connsiteX41" fmla="*/ 208216 w 3497580"/>
                  <a:gd name="connsiteY41" fmla="*/ 145637 h 505301"/>
                  <a:gd name="connsiteX42" fmla="*/ 208216 w 3497580"/>
                  <a:gd name="connsiteY42" fmla="*/ 151733 h 505301"/>
                  <a:gd name="connsiteX43" fmla="*/ 212407 w 3497580"/>
                  <a:gd name="connsiteY43" fmla="*/ 151733 h 505301"/>
                  <a:gd name="connsiteX44" fmla="*/ 212407 w 3497580"/>
                  <a:gd name="connsiteY44" fmla="*/ 157734 h 505301"/>
                  <a:gd name="connsiteX45" fmla="*/ 218694 w 3497580"/>
                  <a:gd name="connsiteY45" fmla="*/ 157734 h 505301"/>
                  <a:gd name="connsiteX46" fmla="*/ 218694 w 3497580"/>
                  <a:gd name="connsiteY46" fmla="*/ 169926 h 505301"/>
                  <a:gd name="connsiteX47" fmla="*/ 237648 w 3497580"/>
                  <a:gd name="connsiteY47" fmla="*/ 169926 h 505301"/>
                  <a:gd name="connsiteX48" fmla="*/ 237648 w 3497580"/>
                  <a:gd name="connsiteY48" fmla="*/ 175927 h 505301"/>
                  <a:gd name="connsiteX49" fmla="*/ 246030 w 3497580"/>
                  <a:gd name="connsiteY49" fmla="*/ 175927 h 505301"/>
                  <a:gd name="connsiteX50" fmla="*/ 246030 w 3497580"/>
                  <a:gd name="connsiteY50" fmla="*/ 182023 h 505301"/>
                  <a:gd name="connsiteX51" fmla="*/ 258699 w 3497580"/>
                  <a:gd name="connsiteY51" fmla="*/ 182023 h 505301"/>
                  <a:gd name="connsiteX52" fmla="*/ 258699 w 3497580"/>
                  <a:gd name="connsiteY52" fmla="*/ 188119 h 505301"/>
                  <a:gd name="connsiteX53" fmla="*/ 275558 w 3497580"/>
                  <a:gd name="connsiteY53" fmla="*/ 188119 h 505301"/>
                  <a:gd name="connsiteX54" fmla="*/ 275558 w 3497580"/>
                  <a:gd name="connsiteY54" fmla="*/ 194120 h 505301"/>
                  <a:gd name="connsiteX55" fmla="*/ 302895 w 3497580"/>
                  <a:gd name="connsiteY55" fmla="*/ 194120 h 505301"/>
                  <a:gd name="connsiteX56" fmla="*/ 302895 w 3497580"/>
                  <a:gd name="connsiteY56" fmla="*/ 200216 h 505301"/>
                  <a:gd name="connsiteX57" fmla="*/ 304990 w 3497580"/>
                  <a:gd name="connsiteY57" fmla="*/ 200216 h 505301"/>
                  <a:gd name="connsiteX58" fmla="*/ 304990 w 3497580"/>
                  <a:gd name="connsiteY58" fmla="*/ 206312 h 505301"/>
                  <a:gd name="connsiteX59" fmla="*/ 315467 w 3497580"/>
                  <a:gd name="connsiteY59" fmla="*/ 206312 h 505301"/>
                  <a:gd name="connsiteX60" fmla="*/ 315467 w 3497580"/>
                  <a:gd name="connsiteY60" fmla="*/ 212312 h 505301"/>
                  <a:gd name="connsiteX61" fmla="*/ 321754 w 3497580"/>
                  <a:gd name="connsiteY61" fmla="*/ 212312 h 505301"/>
                  <a:gd name="connsiteX62" fmla="*/ 321754 w 3497580"/>
                  <a:gd name="connsiteY62" fmla="*/ 224504 h 505301"/>
                  <a:gd name="connsiteX63" fmla="*/ 330231 w 3497580"/>
                  <a:gd name="connsiteY63" fmla="*/ 224504 h 505301"/>
                  <a:gd name="connsiteX64" fmla="*/ 330231 w 3497580"/>
                  <a:gd name="connsiteY64" fmla="*/ 230505 h 505301"/>
                  <a:gd name="connsiteX65" fmla="*/ 336518 w 3497580"/>
                  <a:gd name="connsiteY65" fmla="*/ 230505 h 505301"/>
                  <a:gd name="connsiteX66" fmla="*/ 336518 w 3497580"/>
                  <a:gd name="connsiteY66" fmla="*/ 242697 h 505301"/>
                  <a:gd name="connsiteX67" fmla="*/ 338613 w 3497580"/>
                  <a:gd name="connsiteY67" fmla="*/ 242697 h 505301"/>
                  <a:gd name="connsiteX68" fmla="*/ 338613 w 3497580"/>
                  <a:gd name="connsiteY68" fmla="*/ 248793 h 505301"/>
                  <a:gd name="connsiteX69" fmla="*/ 351186 w 3497580"/>
                  <a:gd name="connsiteY69" fmla="*/ 248793 h 505301"/>
                  <a:gd name="connsiteX70" fmla="*/ 351186 w 3497580"/>
                  <a:gd name="connsiteY70" fmla="*/ 254794 h 505301"/>
                  <a:gd name="connsiteX71" fmla="*/ 374332 w 3497580"/>
                  <a:gd name="connsiteY71" fmla="*/ 254794 h 505301"/>
                  <a:gd name="connsiteX72" fmla="*/ 374332 w 3497580"/>
                  <a:gd name="connsiteY72" fmla="*/ 260890 h 505301"/>
                  <a:gd name="connsiteX73" fmla="*/ 380714 w 3497580"/>
                  <a:gd name="connsiteY73" fmla="*/ 260890 h 505301"/>
                  <a:gd name="connsiteX74" fmla="*/ 380714 w 3497580"/>
                  <a:gd name="connsiteY74" fmla="*/ 266986 h 505301"/>
                  <a:gd name="connsiteX75" fmla="*/ 389096 w 3497580"/>
                  <a:gd name="connsiteY75" fmla="*/ 266986 h 505301"/>
                  <a:gd name="connsiteX76" fmla="*/ 389096 w 3497580"/>
                  <a:gd name="connsiteY76" fmla="*/ 272987 h 505301"/>
                  <a:gd name="connsiteX77" fmla="*/ 397478 w 3497580"/>
                  <a:gd name="connsiteY77" fmla="*/ 272987 h 505301"/>
                  <a:gd name="connsiteX78" fmla="*/ 397478 w 3497580"/>
                  <a:gd name="connsiteY78" fmla="*/ 279083 h 505301"/>
                  <a:gd name="connsiteX79" fmla="*/ 401669 w 3497580"/>
                  <a:gd name="connsiteY79" fmla="*/ 279083 h 505301"/>
                  <a:gd name="connsiteX80" fmla="*/ 401669 w 3497580"/>
                  <a:gd name="connsiteY80" fmla="*/ 285179 h 505301"/>
                  <a:gd name="connsiteX81" fmla="*/ 475297 w 3497580"/>
                  <a:gd name="connsiteY81" fmla="*/ 285179 h 505301"/>
                  <a:gd name="connsiteX82" fmla="*/ 475297 w 3497580"/>
                  <a:gd name="connsiteY82" fmla="*/ 291179 h 505301"/>
                  <a:gd name="connsiteX83" fmla="*/ 496347 w 3497580"/>
                  <a:gd name="connsiteY83" fmla="*/ 291179 h 505301"/>
                  <a:gd name="connsiteX84" fmla="*/ 496347 w 3497580"/>
                  <a:gd name="connsiteY84" fmla="*/ 297275 h 505301"/>
                  <a:gd name="connsiteX85" fmla="*/ 502634 w 3497580"/>
                  <a:gd name="connsiteY85" fmla="*/ 297275 h 505301"/>
                  <a:gd name="connsiteX86" fmla="*/ 502634 w 3497580"/>
                  <a:gd name="connsiteY86" fmla="*/ 303371 h 505301"/>
                  <a:gd name="connsiteX87" fmla="*/ 544734 w 3497580"/>
                  <a:gd name="connsiteY87" fmla="*/ 303371 h 505301"/>
                  <a:gd name="connsiteX88" fmla="*/ 544734 w 3497580"/>
                  <a:gd name="connsiteY88" fmla="*/ 309372 h 505301"/>
                  <a:gd name="connsiteX89" fmla="*/ 559403 w 3497580"/>
                  <a:gd name="connsiteY89" fmla="*/ 309372 h 505301"/>
                  <a:gd name="connsiteX90" fmla="*/ 559403 w 3497580"/>
                  <a:gd name="connsiteY90" fmla="*/ 315468 h 505301"/>
                  <a:gd name="connsiteX91" fmla="*/ 588930 w 3497580"/>
                  <a:gd name="connsiteY91" fmla="*/ 315468 h 505301"/>
                  <a:gd name="connsiteX92" fmla="*/ 588930 w 3497580"/>
                  <a:gd name="connsiteY92" fmla="*/ 321564 h 505301"/>
                  <a:gd name="connsiteX93" fmla="*/ 591026 w 3497580"/>
                  <a:gd name="connsiteY93" fmla="*/ 321564 h 505301"/>
                  <a:gd name="connsiteX94" fmla="*/ 591026 w 3497580"/>
                  <a:gd name="connsiteY94" fmla="*/ 327565 h 505301"/>
                  <a:gd name="connsiteX95" fmla="*/ 614076 w 3497580"/>
                  <a:gd name="connsiteY95" fmla="*/ 327565 h 505301"/>
                  <a:gd name="connsiteX96" fmla="*/ 614076 w 3497580"/>
                  <a:gd name="connsiteY96" fmla="*/ 333661 h 505301"/>
                  <a:gd name="connsiteX97" fmla="*/ 626745 w 3497580"/>
                  <a:gd name="connsiteY97" fmla="*/ 333661 h 505301"/>
                  <a:gd name="connsiteX98" fmla="*/ 626745 w 3497580"/>
                  <a:gd name="connsiteY98" fmla="*/ 339757 h 505301"/>
                  <a:gd name="connsiteX99" fmla="*/ 662463 w 3497580"/>
                  <a:gd name="connsiteY99" fmla="*/ 339757 h 505301"/>
                  <a:gd name="connsiteX100" fmla="*/ 662463 w 3497580"/>
                  <a:gd name="connsiteY100" fmla="*/ 345853 h 505301"/>
                  <a:gd name="connsiteX101" fmla="*/ 778192 w 3497580"/>
                  <a:gd name="connsiteY101" fmla="*/ 345853 h 505301"/>
                  <a:gd name="connsiteX102" fmla="*/ 778192 w 3497580"/>
                  <a:gd name="connsiteY102" fmla="*/ 351854 h 505301"/>
                  <a:gd name="connsiteX103" fmla="*/ 816006 w 3497580"/>
                  <a:gd name="connsiteY103" fmla="*/ 351854 h 505301"/>
                  <a:gd name="connsiteX104" fmla="*/ 816006 w 3497580"/>
                  <a:gd name="connsiteY104" fmla="*/ 358045 h 505301"/>
                  <a:gd name="connsiteX105" fmla="*/ 868584 w 3497580"/>
                  <a:gd name="connsiteY105" fmla="*/ 358045 h 505301"/>
                  <a:gd name="connsiteX106" fmla="*/ 868584 w 3497580"/>
                  <a:gd name="connsiteY106" fmla="*/ 364141 h 505301"/>
                  <a:gd name="connsiteX107" fmla="*/ 887539 w 3497580"/>
                  <a:gd name="connsiteY107" fmla="*/ 364141 h 505301"/>
                  <a:gd name="connsiteX108" fmla="*/ 887539 w 3497580"/>
                  <a:gd name="connsiteY108" fmla="*/ 370237 h 505301"/>
                  <a:gd name="connsiteX109" fmla="*/ 898017 w 3497580"/>
                  <a:gd name="connsiteY109" fmla="*/ 370237 h 505301"/>
                  <a:gd name="connsiteX110" fmla="*/ 898017 w 3497580"/>
                  <a:gd name="connsiteY110" fmla="*/ 376428 h 505301"/>
                  <a:gd name="connsiteX111" fmla="*/ 931735 w 3497580"/>
                  <a:gd name="connsiteY111" fmla="*/ 376428 h 505301"/>
                  <a:gd name="connsiteX112" fmla="*/ 931735 w 3497580"/>
                  <a:gd name="connsiteY112" fmla="*/ 382524 h 505301"/>
                  <a:gd name="connsiteX113" fmla="*/ 938022 w 3497580"/>
                  <a:gd name="connsiteY113" fmla="*/ 382524 h 505301"/>
                  <a:gd name="connsiteX114" fmla="*/ 938022 w 3497580"/>
                  <a:gd name="connsiteY114" fmla="*/ 388620 h 505301"/>
                  <a:gd name="connsiteX115" fmla="*/ 952690 w 3497580"/>
                  <a:gd name="connsiteY115" fmla="*/ 388620 h 505301"/>
                  <a:gd name="connsiteX116" fmla="*/ 952690 w 3497580"/>
                  <a:gd name="connsiteY116" fmla="*/ 394716 h 505301"/>
                  <a:gd name="connsiteX117" fmla="*/ 965358 w 3497580"/>
                  <a:gd name="connsiteY117" fmla="*/ 394716 h 505301"/>
                  <a:gd name="connsiteX118" fmla="*/ 965358 w 3497580"/>
                  <a:gd name="connsiteY118" fmla="*/ 400907 h 505301"/>
                  <a:gd name="connsiteX119" fmla="*/ 990600 w 3497580"/>
                  <a:gd name="connsiteY119" fmla="*/ 400907 h 505301"/>
                  <a:gd name="connsiteX120" fmla="*/ 990600 w 3497580"/>
                  <a:gd name="connsiteY120" fmla="*/ 407003 h 505301"/>
                  <a:gd name="connsiteX121" fmla="*/ 1219866 w 3497580"/>
                  <a:gd name="connsiteY121" fmla="*/ 407003 h 505301"/>
                  <a:gd name="connsiteX122" fmla="*/ 1219866 w 3497580"/>
                  <a:gd name="connsiteY122" fmla="*/ 413195 h 505301"/>
                  <a:gd name="connsiteX123" fmla="*/ 1333404 w 3497580"/>
                  <a:gd name="connsiteY123" fmla="*/ 413195 h 505301"/>
                  <a:gd name="connsiteX124" fmla="*/ 1333404 w 3497580"/>
                  <a:gd name="connsiteY124" fmla="*/ 419386 h 505301"/>
                  <a:gd name="connsiteX125" fmla="*/ 1602581 w 3497580"/>
                  <a:gd name="connsiteY125" fmla="*/ 419386 h 505301"/>
                  <a:gd name="connsiteX126" fmla="*/ 1602581 w 3497580"/>
                  <a:gd name="connsiteY126" fmla="*/ 425672 h 505301"/>
                  <a:gd name="connsiteX127" fmla="*/ 1676209 w 3497580"/>
                  <a:gd name="connsiteY127" fmla="*/ 425672 h 505301"/>
                  <a:gd name="connsiteX128" fmla="*/ 1676209 w 3497580"/>
                  <a:gd name="connsiteY128" fmla="*/ 431959 h 505301"/>
                  <a:gd name="connsiteX129" fmla="*/ 1756124 w 3497580"/>
                  <a:gd name="connsiteY129" fmla="*/ 431959 h 505301"/>
                  <a:gd name="connsiteX130" fmla="*/ 1756124 w 3497580"/>
                  <a:gd name="connsiteY130" fmla="*/ 438245 h 505301"/>
                  <a:gd name="connsiteX131" fmla="*/ 1918049 w 3497580"/>
                  <a:gd name="connsiteY131" fmla="*/ 438245 h 505301"/>
                  <a:gd name="connsiteX132" fmla="*/ 1918049 w 3497580"/>
                  <a:gd name="connsiteY132" fmla="*/ 444722 h 505301"/>
                  <a:gd name="connsiteX133" fmla="*/ 1934908 w 3497580"/>
                  <a:gd name="connsiteY133" fmla="*/ 444722 h 505301"/>
                  <a:gd name="connsiteX134" fmla="*/ 1934908 w 3497580"/>
                  <a:gd name="connsiteY134" fmla="*/ 451104 h 505301"/>
                  <a:gd name="connsiteX135" fmla="*/ 2052732 w 3497580"/>
                  <a:gd name="connsiteY135" fmla="*/ 451104 h 505301"/>
                  <a:gd name="connsiteX136" fmla="*/ 2052732 w 3497580"/>
                  <a:gd name="connsiteY136" fmla="*/ 457581 h 505301"/>
                  <a:gd name="connsiteX137" fmla="*/ 2145220 w 3497580"/>
                  <a:gd name="connsiteY137" fmla="*/ 457581 h 505301"/>
                  <a:gd name="connsiteX138" fmla="*/ 2145220 w 3497580"/>
                  <a:gd name="connsiteY138" fmla="*/ 463963 h 505301"/>
                  <a:gd name="connsiteX139" fmla="*/ 2164175 w 3497580"/>
                  <a:gd name="connsiteY139" fmla="*/ 463963 h 505301"/>
                  <a:gd name="connsiteX140" fmla="*/ 2164175 w 3497580"/>
                  <a:gd name="connsiteY140" fmla="*/ 470440 h 505301"/>
                  <a:gd name="connsiteX141" fmla="*/ 3017996 w 3497580"/>
                  <a:gd name="connsiteY141" fmla="*/ 470440 h 505301"/>
                  <a:gd name="connsiteX142" fmla="*/ 3017996 w 3497580"/>
                  <a:gd name="connsiteY142" fmla="*/ 505301 h 505301"/>
                  <a:gd name="connsiteX143" fmla="*/ 3497580 w 3497580"/>
                  <a:gd name="connsiteY143" fmla="*/ 505301 h 505301"/>
                  <a:gd name="connsiteX0" fmla="*/ 0 w 3497580"/>
                  <a:gd name="connsiteY0" fmla="*/ 0 h 505301"/>
                  <a:gd name="connsiteX1" fmla="*/ 6286 w 3497580"/>
                  <a:gd name="connsiteY1" fmla="*/ 18193 h 505301"/>
                  <a:gd name="connsiteX2" fmla="*/ 10477 w 3497580"/>
                  <a:gd name="connsiteY2" fmla="*/ 18193 h 505301"/>
                  <a:gd name="connsiteX3" fmla="*/ 10477 w 3497580"/>
                  <a:gd name="connsiteY3" fmla="*/ 24289 h 505301"/>
                  <a:gd name="connsiteX4" fmla="*/ 23145 w 3497580"/>
                  <a:gd name="connsiteY4" fmla="*/ 24289 h 505301"/>
                  <a:gd name="connsiteX5" fmla="*/ 23145 w 3497580"/>
                  <a:gd name="connsiteY5" fmla="*/ 30385 h 505301"/>
                  <a:gd name="connsiteX6" fmla="*/ 37814 w 3497580"/>
                  <a:gd name="connsiteY6" fmla="*/ 30385 h 505301"/>
                  <a:gd name="connsiteX7" fmla="*/ 37814 w 3497580"/>
                  <a:gd name="connsiteY7" fmla="*/ 36386 h 505301"/>
                  <a:gd name="connsiteX8" fmla="*/ 42100 w 3497580"/>
                  <a:gd name="connsiteY8" fmla="*/ 36386 h 505301"/>
                  <a:gd name="connsiteX9" fmla="*/ 42100 w 3497580"/>
                  <a:gd name="connsiteY9" fmla="*/ 42482 h 505301"/>
                  <a:gd name="connsiteX10" fmla="*/ 52577 w 3497580"/>
                  <a:gd name="connsiteY10" fmla="*/ 42482 h 505301"/>
                  <a:gd name="connsiteX11" fmla="*/ 52577 w 3497580"/>
                  <a:gd name="connsiteY11" fmla="*/ 48578 h 505301"/>
                  <a:gd name="connsiteX12" fmla="*/ 60960 w 3497580"/>
                  <a:gd name="connsiteY12" fmla="*/ 48578 h 505301"/>
                  <a:gd name="connsiteX13" fmla="*/ 60960 w 3497580"/>
                  <a:gd name="connsiteY13" fmla="*/ 54674 h 505301"/>
                  <a:gd name="connsiteX14" fmla="*/ 75723 w 3497580"/>
                  <a:gd name="connsiteY14" fmla="*/ 54674 h 505301"/>
                  <a:gd name="connsiteX15" fmla="*/ 75723 w 3497580"/>
                  <a:gd name="connsiteY15" fmla="*/ 60674 h 505301"/>
                  <a:gd name="connsiteX16" fmla="*/ 79914 w 3497580"/>
                  <a:gd name="connsiteY16" fmla="*/ 60674 h 505301"/>
                  <a:gd name="connsiteX17" fmla="*/ 79914 w 3497580"/>
                  <a:gd name="connsiteY17" fmla="*/ 66770 h 505301"/>
                  <a:gd name="connsiteX18" fmla="*/ 84105 w 3497580"/>
                  <a:gd name="connsiteY18" fmla="*/ 66770 h 505301"/>
                  <a:gd name="connsiteX19" fmla="*/ 84105 w 3497580"/>
                  <a:gd name="connsiteY19" fmla="*/ 72866 h 505301"/>
                  <a:gd name="connsiteX20" fmla="*/ 96774 w 3497580"/>
                  <a:gd name="connsiteY20" fmla="*/ 72866 h 505301"/>
                  <a:gd name="connsiteX21" fmla="*/ 96774 w 3497580"/>
                  <a:gd name="connsiteY21" fmla="*/ 78867 h 505301"/>
                  <a:gd name="connsiteX22" fmla="*/ 126206 w 3497580"/>
                  <a:gd name="connsiteY22" fmla="*/ 78867 h 505301"/>
                  <a:gd name="connsiteX23" fmla="*/ 126206 w 3497580"/>
                  <a:gd name="connsiteY23" fmla="*/ 84963 h 505301"/>
                  <a:gd name="connsiteX24" fmla="*/ 134588 w 3497580"/>
                  <a:gd name="connsiteY24" fmla="*/ 84963 h 505301"/>
                  <a:gd name="connsiteX25" fmla="*/ 134588 w 3497580"/>
                  <a:gd name="connsiteY25" fmla="*/ 91059 h 505301"/>
                  <a:gd name="connsiteX26" fmla="*/ 136683 w 3497580"/>
                  <a:gd name="connsiteY26" fmla="*/ 91059 h 505301"/>
                  <a:gd name="connsiteX27" fmla="*/ 136683 w 3497580"/>
                  <a:gd name="connsiteY27" fmla="*/ 97060 h 505301"/>
                  <a:gd name="connsiteX28" fmla="*/ 151447 w 3497580"/>
                  <a:gd name="connsiteY28" fmla="*/ 97060 h 505301"/>
                  <a:gd name="connsiteX29" fmla="*/ 151447 w 3497580"/>
                  <a:gd name="connsiteY29" fmla="*/ 109252 h 505301"/>
                  <a:gd name="connsiteX30" fmla="*/ 153543 w 3497580"/>
                  <a:gd name="connsiteY30" fmla="*/ 109252 h 505301"/>
                  <a:gd name="connsiteX31" fmla="*/ 153543 w 3497580"/>
                  <a:gd name="connsiteY31" fmla="*/ 115253 h 505301"/>
                  <a:gd name="connsiteX32" fmla="*/ 159829 w 3497580"/>
                  <a:gd name="connsiteY32" fmla="*/ 115253 h 505301"/>
                  <a:gd name="connsiteX33" fmla="*/ 159829 w 3497580"/>
                  <a:gd name="connsiteY33" fmla="*/ 121349 h 505301"/>
                  <a:gd name="connsiteX34" fmla="*/ 164020 w 3497580"/>
                  <a:gd name="connsiteY34" fmla="*/ 121349 h 505301"/>
                  <a:gd name="connsiteX35" fmla="*/ 164020 w 3497580"/>
                  <a:gd name="connsiteY35" fmla="*/ 127445 h 505301"/>
                  <a:gd name="connsiteX36" fmla="*/ 180879 w 3497580"/>
                  <a:gd name="connsiteY36" fmla="*/ 127445 h 505301"/>
                  <a:gd name="connsiteX37" fmla="*/ 180879 w 3497580"/>
                  <a:gd name="connsiteY37" fmla="*/ 139541 h 505301"/>
                  <a:gd name="connsiteX38" fmla="*/ 185070 w 3497580"/>
                  <a:gd name="connsiteY38" fmla="*/ 139541 h 505301"/>
                  <a:gd name="connsiteX39" fmla="*/ 185070 w 3497580"/>
                  <a:gd name="connsiteY39" fmla="*/ 145637 h 505301"/>
                  <a:gd name="connsiteX40" fmla="*/ 208216 w 3497580"/>
                  <a:gd name="connsiteY40" fmla="*/ 145637 h 505301"/>
                  <a:gd name="connsiteX41" fmla="*/ 208216 w 3497580"/>
                  <a:gd name="connsiteY41" fmla="*/ 151733 h 505301"/>
                  <a:gd name="connsiteX42" fmla="*/ 212407 w 3497580"/>
                  <a:gd name="connsiteY42" fmla="*/ 151733 h 505301"/>
                  <a:gd name="connsiteX43" fmla="*/ 212407 w 3497580"/>
                  <a:gd name="connsiteY43" fmla="*/ 157734 h 505301"/>
                  <a:gd name="connsiteX44" fmla="*/ 218694 w 3497580"/>
                  <a:gd name="connsiteY44" fmla="*/ 157734 h 505301"/>
                  <a:gd name="connsiteX45" fmla="*/ 218694 w 3497580"/>
                  <a:gd name="connsiteY45" fmla="*/ 169926 h 505301"/>
                  <a:gd name="connsiteX46" fmla="*/ 237648 w 3497580"/>
                  <a:gd name="connsiteY46" fmla="*/ 169926 h 505301"/>
                  <a:gd name="connsiteX47" fmla="*/ 237648 w 3497580"/>
                  <a:gd name="connsiteY47" fmla="*/ 175927 h 505301"/>
                  <a:gd name="connsiteX48" fmla="*/ 246030 w 3497580"/>
                  <a:gd name="connsiteY48" fmla="*/ 175927 h 505301"/>
                  <a:gd name="connsiteX49" fmla="*/ 246030 w 3497580"/>
                  <a:gd name="connsiteY49" fmla="*/ 182023 h 505301"/>
                  <a:gd name="connsiteX50" fmla="*/ 258699 w 3497580"/>
                  <a:gd name="connsiteY50" fmla="*/ 182023 h 505301"/>
                  <a:gd name="connsiteX51" fmla="*/ 258699 w 3497580"/>
                  <a:gd name="connsiteY51" fmla="*/ 188119 h 505301"/>
                  <a:gd name="connsiteX52" fmla="*/ 275558 w 3497580"/>
                  <a:gd name="connsiteY52" fmla="*/ 188119 h 505301"/>
                  <a:gd name="connsiteX53" fmla="*/ 275558 w 3497580"/>
                  <a:gd name="connsiteY53" fmla="*/ 194120 h 505301"/>
                  <a:gd name="connsiteX54" fmla="*/ 302895 w 3497580"/>
                  <a:gd name="connsiteY54" fmla="*/ 194120 h 505301"/>
                  <a:gd name="connsiteX55" fmla="*/ 302895 w 3497580"/>
                  <a:gd name="connsiteY55" fmla="*/ 200216 h 505301"/>
                  <a:gd name="connsiteX56" fmla="*/ 304990 w 3497580"/>
                  <a:gd name="connsiteY56" fmla="*/ 200216 h 505301"/>
                  <a:gd name="connsiteX57" fmla="*/ 304990 w 3497580"/>
                  <a:gd name="connsiteY57" fmla="*/ 206312 h 505301"/>
                  <a:gd name="connsiteX58" fmla="*/ 315467 w 3497580"/>
                  <a:gd name="connsiteY58" fmla="*/ 206312 h 505301"/>
                  <a:gd name="connsiteX59" fmla="*/ 315467 w 3497580"/>
                  <a:gd name="connsiteY59" fmla="*/ 212312 h 505301"/>
                  <a:gd name="connsiteX60" fmla="*/ 321754 w 3497580"/>
                  <a:gd name="connsiteY60" fmla="*/ 212312 h 505301"/>
                  <a:gd name="connsiteX61" fmla="*/ 321754 w 3497580"/>
                  <a:gd name="connsiteY61" fmla="*/ 224504 h 505301"/>
                  <a:gd name="connsiteX62" fmla="*/ 330231 w 3497580"/>
                  <a:gd name="connsiteY62" fmla="*/ 224504 h 505301"/>
                  <a:gd name="connsiteX63" fmla="*/ 330231 w 3497580"/>
                  <a:gd name="connsiteY63" fmla="*/ 230505 h 505301"/>
                  <a:gd name="connsiteX64" fmla="*/ 336518 w 3497580"/>
                  <a:gd name="connsiteY64" fmla="*/ 230505 h 505301"/>
                  <a:gd name="connsiteX65" fmla="*/ 336518 w 3497580"/>
                  <a:gd name="connsiteY65" fmla="*/ 242697 h 505301"/>
                  <a:gd name="connsiteX66" fmla="*/ 338613 w 3497580"/>
                  <a:gd name="connsiteY66" fmla="*/ 242697 h 505301"/>
                  <a:gd name="connsiteX67" fmla="*/ 338613 w 3497580"/>
                  <a:gd name="connsiteY67" fmla="*/ 248793 h 505301"/>
                  <a:gd name="connsiteX68" fmla="*/ 351186 w 3497580"/>
                  <a:gd name="connsiteY68" fmla="*/ 248793 h 505301"/>
                  <a:gd name="connsiteX69" fmla="*/ 351186 w 3497580"/>
                  <a:gd name="connsiteY69" fmla="*/ 254794 h 505301"/>
                  <a:gd name="connsiteX70" fmla="*/ 374332 w 3497580"/>
                  <a:gd name="connsiteY70" fmla="*/ 254794 h 505301"/>
                  <a:gd name="connsiteX71" fmla="*/ 374332 w 3497580"/>
                  <a:gd name="connsiteY71" fmla="*/ 260890 h 505301"/>
                  <a:gd name="connsiteX72" fmla="*/ 380714 w 3497580"/>
                  <a:gd name="connsiteY72" fmla="*/ 260890 h 505301"/>
                  <a:gd name="connsiteX73" fmla="*/ 380714 w 3497580"/>
                  <a:gd name="connsiteY73" fmla="*/ 266986 h 505301"/>
                  <a:gd name="connsiteX74" fmla="*/ 389096 w 3497580"/>
                  <a:gd name="connsiteY74" fmla="*/ 266986 h 505301"/>
                  <a:gd name="connsiteX75" fmla="*/ 389096 w 3497580"/>
                  <a:gd name="connsiteY75" fmla="*/ 272987 h 505301"/>
                  <a:gd name="connsiteX76" fmla="*/ 397478 w 3497580"/>
                  <a:gd name="connsiteY76" fmla="*/ 272987 h 505301"/>
                  <a:gd name="connsiteX77" fmla="*/ 397478 w 3497580"/>
                  <a:gd name="connsiteY77" fmla="*/ 279083 h 505301"/>
                  <a:gd name="connsiteX78" fmla="*/ 401669 w 3497580"/>
                  <a:gd name="connsiteY78" fmla="*/ 279083 h 505301"/>
                  <a:gd name="connsiteX79" fmla="*/ 401669 w 3497580"/>
                  <a:gd name="connsiteY79" fmla="*/ 285179 h 505301"/>
                  <a:gd name="connsiteX80" fmla="*/ 475297 w 3497580"/>
                  <a:gd name="connsiteY80" fmla="*/ 285179 h 505301"/>
                  <a:gd name="connsiteX81" fmla="*/ 475297 w 3497580"/>
                  <a:gd name="connsiteY81" fmla="*/ 291179 h 505301"/>
                  <a:gd name="connsiteX82" fmla="*/ 496347 w 3497580"/>
                  <a:gd name="connsiteY82" fmla="*/ 291179 h 505301"/>
                  <a:gd name="connsiteX83" fmla="*/ 496347 w 3497580"/>
                  <a:gd name="connsiteY83" fmla="*/ 297275 h 505301"/>
                  <a:gd name="connsiteX84" fmla="*/ 502634 w 3497580"/>
                  <a:gd name="connsiteY84" fmla="*/ 297275 h 505301"/>
                  <a:gd name="connsiteX85" fmla="*/ 502634 w 3497580"/>
                  <a:gd name="connsiteY85" fmla="*/ 303371 h 505301"/>
                  <a:gd name="connsiteX86" fmla="*/ 544734 w 3497580"/>
                  <a:gd name="connsiteY86" fmla="*/ 303371 h 505301"/>
                  <a:gd name="connsiteX87" fmla="*/ 544734 w 3497580"/>
                  <a:gd name="connsiteY87" fmla="*/ 309372 h 505301"/>
                  <a:gd name="connsiteX88" fmla="*/ 559403 w 3497580"/>
                  <a:gd name="connsiteY88" fmla="*/ 309372 h 505301"/>
                  <a:gd name="connsiteX89" fmla="*/ 559403 w 3497580"/>
                  <a:gd name="connsiteY89" fmla="*/ 315468 h 505301"/>
                  <a:gd name="connsiteX90" fmla="*/ 588930 w 3497580"/>
                  <a:gd name="connsiteY90" fmla="*/ 315468 h 505301"/>
                  <a:gd name="connsiteX91" fmla="*/ 588930 w 3497580"/>
                  <a:gd name="connsiteY91" fmla="*/ 321564 h 505301"/>
                  <a:gd name="connsiteX92" fmla="*/ 591026 w 3497580"/>
                  <a:gd name="connsiteY92" fmla="*/ 321564 h 505301"/>
                  <a:gd name="connsiteX93" fmla="*/ 591026 w 3497580"/>
                  <a:gd name="connsiteY93" fmla="*/ 327565 h 505301"/>
                  <a:gd name="connsiteX94" fmla="*/ 614076 w 3497580"/>
                  <a:gd name="connsiteY94" fmla="*/ 327565 h 505301"/>
                  <a:gd name="connsiteX95" fmla="*/ 614076 w 3497580"/>
                  <a:gd name="connsiteY95" fmla="*/ 333661 h 505301"/>
                  <a:gd name="connsiteX96" fmla="*/ 626745 w 3497580"/>
                  <a:gd name="connsiteY96" fmla="*/ 333661 h 505301"/>
                  <a:gd name="connsiteX97" fmla="*/ 626745 w 3497580"/>
                  <a:gd name="connsiteY97" fmla="*/ 339757 h 505301"/>
                  <a:gd name="connsiteX98" fmla="*/ 662463 w 3497580"/>
                  <a:gd name="connsiteY98" fmla="*/ 339757 h 505301"/>
                  <a:gd name="connsiteX99" fmla="*/ 662463 w 3497580"/>
                  <a:gd name="connsiteY99" fmla="*/ 345853 h 505301"/>
                  <a:gd name="connsiteX100" fmla="*/ 778192 w 3497580"/>
                  <a:gd name="connsiteY100" fmla="*/ 345853 h 505301"/>
                  <a:gd name="connsiteX101" fmla="*/ 778192 w 3497580"/>
                  <a:gd name="connsiteY101" fmla="*/ 351854 h 505301"/>
                  <a:gd name="connsiteX102" fmla="*/ 816006 w 3497580"/>
                  <a:gd name="connsiteY102" fmla="*/ 351854 h 505301"/>
                  <a:gd name="connsiteX103" fmla="*/ 816006 w 3497580"/>
                  <a:gd name="connsiteY103" fmla="*/ 358045 h 505301"/>
                  <a:gd name="connsiteX104" fmla="*/ 868584 w 3497580"/>
                  <a:gd name="connsiteY104" fmla="*/ 358045 h 505301"/>
                  <a:gd name="connsiteX105" fmla="*/ 868584 w 3497580"/>
                  <a:gd name="connsiteY105" fmla="*/ 364141 h 505301"/>
                  <a:gd name="connsiteX106" fmla="*/ 887539 w 3497580"/>
                  <a:gd name="connsiteY106" fmla="*/ 364141 h 505301"/>
                  <a:gd name="connsiteX107" fmla="*/ 887539 w 3497580"/>
                  <a:gd name="connsiteY107" fmla="*/ 370237 h 505301"/>
                  <a:gd name="connsiteX108" fmla="*/ 898017 w 3497580"/>
                  <a:gd name="connsiteY108" fmla="*/ 370237 h 505301"/>
                  <a:gd name="connsiteX109" fmla="*/ 898017 w 3497580"/>
                  <a:gd name="connsiteY109" fmla="*/ 376428 h 505301"/>
                  <a:gd name="connsiteX110" fmla="*/ 931735 w 3497580"/>
                  <a:gd name="connsiteY110" fmla="*/ 376428 h 505301"/>
                  <a:gd name="connsiteX111" fmla="*/ 931735 w 3497580"/>
                  <a:gd name="connsiteY111" fmla="*/ 382524 h 505301"/>
                  <a:gd name="connsiteX112" fmla="*/ 938022 w 3497580"/>
                  <a:gd name="connsiteY112" fmla="*/ 382524 h 505301"/>
                  <a:gd name="connsiteX113" fmla="*/ 938022 w 3497580"/>
                  <a:gd name="connsiteY113" fmla="*/ 388620 h 505301"/>
                  <a:gd name="connsiteX114" fmla="*/ 952690 w 3497580"/>
                  <a:gd name="connsiteY114" fmla="*/ 388620 h 505301"/>
                  <a:gd name="connsiteX115" fmla="*/ 952690 w 3497580"/>
                  <a:gd name="connsiteY115" fmla="*/ 394716 h 505301"/>
                  <a:gd name="connsiteX116" fmla="*/ 965358 w 3497580"/>
                  <a:gd name="connsiteY116" fmla="*/ 394716 h 505301"/>
                  <a:gd name="connsiteX117" fmla="*/ 965358 w 3497580"/>
                  <a:gd name="connsiteY117" fmla="*/ 400907 h 505301"/>
                  <a:gd name="connsiteX118" fmla="*/ 990600 w 3497580"/>
                  <a:gd name="connsiteY118" fmla="*/ 400907 h 505301"/>
                  <a:gd name="connsiteX119" fmla="*/ 990600 w 3497580"/>
                  <a:gd name="connsiteY119" fmla="*/ 407003 h 505301"/>
                  <a:gd name="connsiteX120" fmla="*/ 1219866 w 3497580"/>
                  <a:gd name="connsiteY120" fmla="*/ 407003 h 505301"/>
                  <a:gd name="connsiteX121" fmla="*/ 1219866 w 3497580"/>
                  <a:gd name="connsiteY121" fmla="*/ 413195 h 505301"/>
                  <a:gd name="connsiteX122" fmla="*/ 1333404 w 3497580"/>
                  <a:gd name="connsiteY122" fmla="*/ 413195 h 505301"/>
                  <a:gd name="connsiteX123" fmla="*/ 1333404 w 3497580"/>
                  <a:gd name="connsiteY123" fmla="*/ 419386 h 505301"/>
                  <a:gd name="connsiteX124" fmla="*/ 1602581 w 3497580"/>
                  <a:gd name="connsiteY124" fmla="*/ 419386 h 505301"/>
                  <a:gd name="connsiteX125" fmla="*/ 1602581 w 3497580"/>
                  <a:gd name="connsiteY125" fmla="*/ 425672 h 505301"/>
                  <a:gd name="connsiteX126" fmla="*/ 1676209 w 3497580"/>
                  <a:gd name="connsiteY126" fmla="*/ 425672 h 505301"/>
                  <a:gd name="connsiteX127" fmla="*/ 1676209 w 3497580"/>
                  <a:gd name="connsiteY127" fmla="*/ 431959 h 505301"/>
                  <a:gd name="connsiteX128" fmla="*/ 1756124 w 3497580"/>
                  <a:gd name="connsiteY128" fmla="*/ 431959 h 505301"/>
                  <a:gd name="connsiteX129" fmla="*/ 1756124 w 3497580"/>
                  <a:gd name="connsiteY129" fmla="*/ 438245 h 505301"/>
                  <a:gd name="connsiteX130" fmla="*/ 1918049 w 3497580"/>
                  <a:gd name="connsiteY130" fmla="*/ 438245 h 505301"/>
                  <a:gd name="connsiteX131" fmla="*/ 1918049 w 3497580"/>
                  <a:gd name="connsiteY131" fmla="*/ 444722 h 505301"/>
                  <a:gd name="connsiteX132" fmla="*/ 1934908 w 3497580"/>
                  <a:gd name="connsiteY132" fmla="*/ 444722 h 505301"/>
                  <a:gd name="connsiteX133" fmla="*/ 1934908 w 3497580"/>
                  <a:gd name="connsiteY133" fmla="*/ 451104 h 505301"/>
                  <a:gd name="connsiteX134" fmla="*/ 2052732 w 3497580"/>
                  <a:gd name="connsiteY134" fmla="*/ 451104 h 505301"/>
                  <a:gd name="connsiteX135" fmla="*/ 2052732 w 3497580"/>
                  <a:gd name="connsiteY135" fmla="*/ 457581 h 505301"/>
                  <a:gd name="connsiteX136" fmla="*/ 2145220 w 3497580"/>
                  <a:gd name="connsiteY136" fmla="*/ 457581 h 505301"/>
                  <a:gd name="connsiteX137" fmla="*/ 2145220 w 3497580"/>
                  <a:gd name="connsiteY137" fmla="*/ 463963 h 505301"/>
                  <a:gd name="connsiteX138" fmla="*/ 2164175 w 3497580"/>
                  <a:gd name="connsiteY138" fmla="*/ 463963 h 505301"/>
                  <a:gd name="connsiteX139" fmla="*/ 2164175 w 3497580"/>
                  <a:gd name="connsiteY139" fmla="*/ 470440 h 505301"/>
                  <a:gd name="connsiteX140" fmla="*/ 3017996 w 3497580"/>
                  <a:gd name="connsiteY140" fmla="*/ 470440 h 505301"/>
                  <a:gd name="connsiteX141" fmla="*/ 3017996 w 3497580"/>
                  <a:gd name="connsiteY141" fmla="*/ 505301 h 505301"/>
                  <a:gd name="connsiteX142" fmla="*/ 3497580 w 3497580"/>
                  <a:gd name="connsiteY142" fmla="*/ 505301 h 505301"/>
                  <a:gd name="connsiteX0" fmla="*/ 0 w 3491294"/>
                  <a:gd name="connsiteY0" fmla="*/ 0 h 487108"/>
                  <a:gd name="connsiteX1" fmla="*/ 4191 w 3491294"/>
                  <a:gd name="connsiteY1" fmla="*/ 0 h 487108"/>
                  <a:gd name="connsiteX2" fmla="*/ 4191 w 3491294"/>
                  <a:gd name="connsiteY2" fmla="*/ 6096 h 487108"/>
                  <a:gd name="connsiteX3" fmla="*/ 16859 w 3491294"/>
                  <a:gd name="connsiteY3" fmla="*/ 6096 h 487108"/>
                  <a:gd name="connsiteX4" fmla="*/ 16859 w 3491294"/>
                  <a:gd name="connsiteY4" fmla="*/ 12192 h 487108"/>
                  <a:gd name="connsiteX5" fmla="*/ 31528 w 3491294"/>
                  <a:gd name="connsiteY5" fmla="*/ 12192 h 487108"/>
                  <a:gd name="connsiteX6" fmla="*/ 31528 w 3491294"/>
                  <a:gd name="connsiteY6" fmla="*/ 18193 h 487108"/>
                  <a:gd name="connsiteX7" fmla="*/ 35814 w 3491294"/>
                  <a:gd name="connsiteY7" fmla="*/ 18193 h 487108"/>
                  <a:gd name="connsiteX8" fmla="*/ 35814 w 3491294"/>
                  <a:gd name="connsiteY8" fmla="*/ 24289 h 487108"/>
                  <a:gd name="connsiteX9" fmla="*/ 46291 w 3491294"/>
                  <a:gd name="connsiteY9" fmla="*/ 24289 h 487108"/>
                  <a:gd name="connsiteX10" fmla="*/ 46291 w 3491294"/>
                  <a:gd name="connsiteY10" fmla="*/ 30385 h 487108"/>
                  <a:gd name="connsiteX11" fmla="*/ 54674 w 3491294"/>
                  <a:gd name="connsiteY11" fmla="*/ 30385 h 487108"/>
                  <a:gd name="connsiteX12" fmla="*/ 54674 w 3491294"/>
                  <a:gd name="connsiteY12" fmla="*/ 36481 h 487108"/>
                  <a:gd name="connsiteX13" fmla="*/ 69437 w 3491294"/>
                  <a:gd name="connsiteY13" fmla="*/ 36481 h 487108"/>
                  <a:gd name="connsiteX14" fmla="*/ 69437 w 3491294"/>
                  <a:gd name="connsiteY14" fmla="*/ 42481 h 487108"/>
                  <a:gd name="connsiteX15" fmla="*/ 73628 w 3491294"/>
                  <a:gd name="connsiteY15" fmla="*/ 42481 h 487108"/>
                  <a:gd name="connsiteX16" fmla="*/ 73628 w 3491294"/>
                  <a:gd name="connsiteY16" fmla="*/ 48577 h 487108"/>
                  <a:gd name="connsiteX17" fmla="*/ 77819 w 3491294"/>
                  <a:gd name="connsiteY17" fmla="*/ 48577 h 487108"/>
                  <a:gd name="connsiteX18" fmla="*/ 77819 w 3491294"/>
                  <a:gd name="connsiteY18" fmla="*/ 54673 h 487108"/>
                  <a:gd name="connsiteX19" fmla="*/ 90488 w 3491294"/>
                  <a:gd name="connsiteY19" fmla="*/ 54673 h 487108"/>
                  <a:gd name="connsiteX20" fmla="*/ 90488 w 3491294"/>
                  <a:gd name="connsiteY20" fmla="*/ 60674 h 487108"/>
                  <a:gd name="connsiteX21" fmla="*/ 119920 w 3491294"/>
                  <a:gd name="connsiteY21" fmla="*/ 60674 h 487108"/>
                  <a:gd name="connsiteX22" fmla="*/ 119920 w 3491294"/>
                  <a:gd name="connsiteY22" fmla="*/ 66770 h 487108"/>
                  <a:gd name="connsiteX23" fmla="*/ 128302 w 3491294"/>
                  <a:gd name="connsiteY23" fmla="*/ 66770 h 487108"/>
                  <a:gd name="connsiteX24" fmla="*/ 128302 w 3491294"/>
                  <a:gd name="connsiteY24" fmla="*/ 72866 h 487108"/>
                  <a:gd name="connsiteX25" fmla="*/ 130397 w 3491294"/>
                  <a:gd name="connsiteY25" fmla="*/ 72866 h 487108"/>
                  <a:gd name="connsiteX26" fmla="*/ 130397 w 3491294"/>
                  <a:gd name="connsiteY26" fmla="*/ 78867 h 487108"/>
                  <a:gd name="connsiteX27" fmla="*/ 145161 w 3491294"/>
                  <a:gd name="connsiteY27" fmla="*/ 78867 h 487108"/>
                  <a:gd name="connsiteX28" fmla="*/ 145161 w 3491294"/>
                  <a:gd name="connsiteY28" fmla="*/ 91059 h 487108"/>
                  <a:gd name="connsiteX29" fmla="*/ 147257 w 3491294"/>
                  <a:gd name="connsiteY29" fmla="*/ 91059 h 487108"/>
                  <a:gd name="connsiteX30" fmla="*/ 147257 w 3491294"/>
                  <a:gd name="connsiteY30" fmla="*/ 97060 h 487108"/>
                  <a:gd name="connsiteX31" fmla="*/ 153543 w 3491294"/>
                  <a:gd name="connsiteY31" fmla="*/ 97060 h 487108"/>
                  <a:gd name="connsiteX32" fmla="*/ 153543 w 3491294"/>
                  <a:gd name="connsiteY32" fmla="*/ 103156 h 487108"/>
                  <a:gd name="connsiteX33" fmla="*/ 157734 w 3491294"/>
                  <a:gd name="connsiteY33" fmla="*/ 103156 h 487108"/>
                  <a:gd name="connsiteX34" fmla="*/ 157734 w 3491294"/>
                  <a:gd name="connsiteY34" fmla="*/ 109252 h 487108"/>
                  <a:gd name="connsiteX35" fmla="*/ 174593 w 3491294"/>
                  <a:gd name="connsiteY35" fmla="*/ 109252 h 487108"/>
                  <a:gd name="connsiteX36" fmla="*/ 174593 w 3491294"/>
                  <a:gd name="connsiteY36" fmla="*/ 121348 h 487108"/>
                  <a:gd name="connsiteX37" fmla="*/ 178784 w 3491294"/>
                  <a:gd name="connsiteY37" fmla="*/ 121348 h 487108"/>
                  <a:gd name="connsiteX38" fmla="*/ 178784 w 3491294"/>
                  <a:gd name="connsiteY38" fmla="*/ 127444 h 487108"/>
                  <a:gd name="connsiteX39" fmla="*/ 201930 w 3491294"/>
                  <a:gd name="connsiteY39" fmla="*/ 127444 h 487108"/>
                  <a:gd name="connsiteX40" fmla="*/ 201930 w 3491294"/>
                  <a:gd name="connsiteY40" fmla="*/ 133540 h 487108"/>
                  <a:gd name="connsiteX41" fmla="*/ 206121 w 3491294"/>
                  <a:gd name="connsiteY41" fmla="*/ 133540 h 487108"/>
                  <a:gd name="connsiteX42" fmla="*/ 206121 w 3491294"/>
                  <a:gd name="connsiteY42" fmla="*/ 139541 h 487108"/>
                  <a:gd name="connsiteX43" fmla="*/ 212408 w 3491294"/>
                  <a:gd name="connsiteY43" fmla="*/ 139541 h 487108"/>
                  <a:gd name="connsiteX44" fmla="*/ 212408 w 3491294"/>
                  <a:gd name="connsiteY44" fmla="*/ 151733 h 487108"/>
                  <a:gd name="connsiteX45" fmla="*/ 231362 w 3491294"/>
                  <a:gd name="connsiteY45" fmla="*/ 151733 h 487108"/>
                  <a:gd name="connsiteX46" fmla="*/ 231362 w 3491294"/>
                  <a:gd name="connsiteY46" fmla="*/ 157734 h 487108"/>
                  <a:gd name="connsiteX47" fmla="*/ 239744 w 3491294"/>
                  <a:gd name="connsiteY47" fmla="*/ 157734 h 487108"/>
                  <a:gd name="connsiteX48" fmla="*/ 239744 w 3491294"/>
                  <a:gd name="connsiteY48" fmla="*/ 163830 h 487108"/>
                  <a:gd name="connsiteX49" fmla="*/ 252413 w 3491294"/>
                  <a:gd name="connsiteY49" fmla="*/ 163830 h 487108"/>
                  <a:gd name="connsiteX50" fmla="*/ 252413 w 3491294"/>
                  <a:gd name="connsiteY50" fmla="*/ 169926 h 487108"/>
                  <a:gd name="connsiteX51" fmla="*/ 269272 w 3491294"/>
                  <a:gd name="connsiteY51" fmla="*/ 169926 h 487108"/>
                  <a:gd name="connsiteX52" fmla="*/ 269272 w 3491294"/>
                  <a:gd name="connsiteY52" fmla="*/ 175927 h 487108"/>
                  <a:gd name="connsiteX53" fmla="*/ 296609 w 3491294"/>
                  <a:gd name="connsiteY53" fmla="*/ 175927 h 487108"/>
                  <a:gd name="connsiteX54" fmla="*/ 296609 w 3491294"/>
                  <a:gd name="connsiteY54" fmla="*/ 182023 h 487108"/>
                  <a:gd name="connsiteX55" fmla="*/ 298704 w 3491294"/>
                  <a:gd name="connsiteY55" fmla="*/ 182023 h 487108"/>
                  <a:gd name="connsiteX56" fmla="*/ 298704 w 3491294"/>
                  <a:gd name="connsiteY56" fmla="*/ 188119 h 487108"/>
                  <a:gd name="connsiteX57" fmla="*/ 309181 w 3491294"/>
                  <a:gd name="connsiteY57" fmla="*/ 188119 h 487108"/>
                  <a:gd name="connsiteX58" fmla="*/ 309181 w 3491294"/>
                  <a:gd name="connsiteY58" fmla="*/ 194119 h 487108"/>
                  <a:gd name="connsiteX59" fmla="*/ 315468 w 3491294"/>
                  <a:gd name="connsiteY59" fmla="*/ 194119 h 487108"/>
                  <a:gd name="connsiteX60" fmla="*/ 315468 w 3491294"/>
                  <a:gd name="connsiteY60" fmla="*/ 206311 h 487108"/>
                  <a:gd name="connsiteX61" fmla="*/ 323945 w 3491294"/>
                  <a:gd name="connsiteY61" fmla="*/ 206311 h 487108"/>
                  <a:gd name="connsiteX62" fmla="*/ 323945 w 3491294"/>
                  <a:gd name="connsiteY62" fmla="*/ 212312 h 487108"/>
                  <a:gd name="connsiteX63" fmla="*/ 330232 w 3491294"/>
                  <a:gd name="connsiteY63" fmla="*/ 212312 h 487108"/>
                  <a:gd name="connsiteX64" fmla="*/ 330232 w 3491294"/>
                  <a:gd name="connsiteY64" fmla="*/ 224504 h 487108"/>
                  <a:gd name="connsiteX65" fmla="*/ 332327 w 3491294"/>
                  <a:gd name="connsiteY65" fmla="*/ 224504 h 487108"/>
                  <a:gd name="connsiteX66" fmla="*/ 332327 w 3491294"/>
                  <a:gd name="connsiteY66" fmla="*/ 230600 h 487108"/>
                  <a:gd name="connsiteX67" fmla="*/ 344900 w 3491294"/>
                  <a:gd name="connsiteY67" fmla="*/ 230600 h 487108"/>
                  <a:gd name="connsiteX68" fmla="*/ 344900 w 3491294"/>
                  <a:gd name="connsiteY68" fmla="*/ 236601 h 487108"/>
                  <a:gd name="connsiteX69" fmla="*/ 368046 w 3491294"/>
                  <a:gd name="connsiteY69" fmla="*/ 236601 h 487108"/>
                  <a:gd name="connsiteX70" fmla="*/ 368046 w 3491294"/>
                  <a:gd name="connsiteY70" fmla="*/ 242697 h 487108"/>
                  <a:gd name="connsiteX71" fmla="*/ 374428 w 3491294"/>
                  <a:gd name="connsiteY71" fmla="*/ 242697 h 487108"/>
                  <a:gd name="connsiteX72" fmla="*/ 374428 w 3491294"/>
                  <a:gd name="connsiteY72" fmla="*/ 248793 h 487108"/>
                  <a:gd name="connsiteX73" fmla="*/ 382810 w 3491294"/>
                  <a:gd name="connsiteY73" fmla="*/ 248793 h 487108"/>
                  <a:gd name="connsiteX74" fmla="*/ 382810 w 3491294"/>
                  <a:gd name="connsiteY74" fmla="*/ 254794 h 487108"/>
                  <a:gd name="connsiteX75" fmla="*/ 391192 w 3491294"/>
                  <a:gd name="connsiteY75" fmla="*/ 254794 h 487108"/>
                  <a:gd name="connsiteX76" fmla="*/ 391192 w 3491294"/>
                  <a:gd name="connsiteY76" fmla="*/ 260890 h 487108"/>
                  <a:gd name="connsiteX77" fmla="*/ 395383 w 3491294"/>
                  <a:gd name="connsiteY77" fmla="*/ 260890 h 487108"/>
                  <a:gd name="connsiteX78" fmla="*/ 395383 w 3491294"/>
                  <a:gd name="connsiteY78" fmla="*/ 266986 h 487108"/>
                  <a:gd name="connsiteX79" fmla="*/ 469011 w 3491294"/>
                  <a:gd name="connsiteY79" fmla="*/ 266986 h 487108"/>
                  <a:gd name="connsiteX80" fmla="*/ 469011 w 3491294"/>
                  <a:gd name="connsiteY80" fmla="*/ 272986 h 487108"/>
                  <a:gd name="connsiteX81" fmla="*/ 490061 w 3491294"/>
                  <a:gd name="connsiteY81" fmla="*/ 272986 h 487108"/>
                  <a:gd name="connsiteX82" fmla="*/ 490061 w 3491294"/>
                  <a:gd name="connsiteY82" fmla="*/ 279082 h 487108"/>
                  <a:gd name="connsiteX83" fmla="*/ 496348 w 3491294"/>
                  <a:gd name="connsiteY83" fmla="*/ 279082 h 487108"/>
                  <a:gd name="connsiteX84" fmla="*/ 496348 w 3491294"/>
                  <a:gd name="connsiteY84" fmla="*/ 285178 h 487108"/>
                  <a:gd name="connsiteX85" fmla="*/ 538448 w 3491294"/>
                  <a:gd name="connsiteY85" fmla="*/ 285178 h 487108"/>
                  <a:gd name="connsiteX86" fmla="*/ 538448 w 3491294"/>
                  <a:gd name="connsiteY86" fmla="*/ 291179 h 487108"/>
                  <a:gd name="connsiteX87" fmla="*/ 553117 w 3491294"/>
                  <a:gd name="connsiteY87" fmla="*/ 291179 h 487108"/>
                  <a:gd name="connsiteX88" fmla="*/ 553117 w 3491294"/>
                  <a:gd name="connsiteY88" fmla="*/ 297275 h 487108"/>
                  <a:gd name="connsiteX89" fmla="*/ 582644 w 3491294"/>
                  <a:gd name="connsiteY89" fmla="*/ 297275 h 487108"/>
                  <a:gd name="connsiteX90" fmla="*/ 582644 w 3491294"/>
                  <a:gd name="connsiteY90" fmla="*/ 303371 h 487108"/>
                  <a:gd name="connsiteX91" fmla="*/ 584740 w 3491294"/>
                  <a:gd name="connsiteY91" fmla="*/ 303371 h 487108"/>
                  <a:gd name="connsiteX92" fmla="*/ 584740 w 3491294"/>
                  <a:gd name="connsiteY92" fmla="*/ 309372 h 487108"/>
                  <a:gd name="connsiteX93" fmla="*/ 607790 w 3491294"/>
                  <a:gd name="connsiteY93" fmla="*/ 309372 h 487108"/>
                  <a:gd name="connsiteX94" fmla="*/ 607790 w 3491294"/>
                  <a:gd name="connsiteY94" fmla="*/ 315468 h 487108"/>
                  <a:gd name="connsiteX95" fmla="*/ 620459 w 3491294"/>
                  <a:gd name="connsiteY95" fmla="*/ 315468 h 487108"/>
                  <a:gd name="connsiteX96" fmla="*/ 620459 w 3491294"/>
                  <a:gd name="connsiteY96" fmla="*/ 321564 h 487108"/>
                  <a:gd name="connsiteX97" fmla="*/ 656177 w 3491294"/>
                  <a:gd name="connsiteY97" fmla="*/ 321564 h 487108"/>
                  <a:gd name="connsiteX98" fmla="*/ 656177 w 3491294"/>
                  <a:gd name="connsiteY98" fmla="*/ 327660 h 487108"/>
                  <a:gd name="connsiteX99" fmla="*/ 771906 w 3491294"/>
                  <a:gd name="connsiteY99" fmla="*/ 327660 h 487108"/>
                  <a:gd name="connsiteX100" fmla="*/ 771906 w 3491294"/>
                  <a:gd name="connsiteY100" fmla="*/ 333661 h 487108"/>
                  <a:gd name="connsiteX101" fmla="*/ 809720 w 3491294"/>
                  <a:gd name="connsiteY101" fmla="*/ 333661 h 487108"/>
                  <a:gd name="connsiteX102" fmla="*/ 809720 w 3491294"/>
                  <a:gd name="connsiteY102" fmla="*/ 339852 h 487108"/>
                  <a:gd name="connsiteX103" fmla="*/ 862298 w 3491294"/>
                  <a:gd name="connsiteY103" fmla="*/ 339852 h 487108"/>
                  <a:gd name="connsiteX104" fmla="*/ 862298 w 3491294"/>
                  <a:gd name="connsiteY104" fmla="*/ 345948 h 487108"/>
                  <a:gd name="connsiteX105" fmla="*/ 881253 w 3491294"/>
                  <a:gd name="connsiteY105" fmla="*/ 345948 h 487108"/>
                  <a:gd name="connsiteX106" fmla="*/ 881253 w 3491294"/>
                  <a:gd name="connsiteY106" fmla="*/ 352044 h 487108"/>
                  <a:gd name="connsiteX107" fmla="*/ 891731 w 3491294"/>
                  <a:gd name="connsiteY107" fmla="*/ 352044 h 487108"/>
                  <a:gd name="connsiteX108" fmla="*/ 891731 w 3491294"/>
                  <a:gd name="connsiteY108" fmla="*/ 358235 h 487108"/>
                  <a:gd name="connsiteX109" fmla="*/ 925449 w 3491294"/>
                  <a:gd name="connsiteY109" fmla="*/ 358235 h 487108"/>
                  <a:gd name="connsiteX110" fmla="*/ 925449 w 3491294"/>
                  <a:gd name="connsiteY110" fmla="*/ 364331 h 487108"/>
                  <a:gd name="connsiteX111" fmla="*/ 931736 w 3491294"/>
                  <a:gd name="connsiteY111" fmla="*/ 364331 h 487108"/>
                  <a:gd name="connsiteX112" fmla="*/ 931736 w 3491294"/>
                  <a:gd name="connsiteY112" fmla="*/ 370427 h 487108"/>
                  <a:gd name="connsiteX113" fmla="*/ 946404 w 3491294"/>
                  <a:gd name="connsiteY113" fmla="*/ 370427 h 487108"/>
                  <a:gd name="connsiteX114" fmla="*/ 946404 w 3491294"/>
                  <a:gd name="connsiteY114" fmla="*/ 376523 h 487108"/>
                  <a:gd name="connsiteX115" fmla="*/ 959072 w 3491294"/>
                  <a:gd name="connsiteY115" fmla="*/ 376523 h 487108"/>
                  <a:gd name="connsiteX116" fmla="*/ 959072 w 3491294"/>
                  <a:gd name="connsiteY116" fmla="*/ 382714 h 487108"/>
                  <a:gd name="connsiteX117" fmla="*/ 984314 w 3491294"/>
                  <a:gd name="connsiteY117" fmla="*/ 382714 h 487108"/>
                  <a:gd name="connsiteX118" fmla="*/ 984314 w 3491294"/>
                  <a:gd name="connsiteY118" fmla="*/ 388810 h 487108"/>
                  <a:gd name="connsiteX119" fmla="*/ 1213580 w 3491294"/>
                  <a:gd name="connsiteY119" fmla="*/ 388810 h 487108"/>
                  <a:gd name="connsiteX120" fmla="*/ 1213580 w 3491294"/>
                  <a:gd name="connsiteY120" fmla="*/ 395002 h 487108"/>
                  <a:gd name="connsiteX121" fmla="*/ 1327118 w 3491294"/>
                  <a:gd name="connsiteY121" fmla="*/ 395002 h 487108"/>
                  <a:gd name="connsiteX122" fmla="*/ 1327118 w 3491294"/>
                  <a:gd name="connsiteY122" fmla="*/ 401193 h 487108"/>
                  <a:gd name="connsiteX123" fmla="*/ 1596295 w 3491294"/>
                  <a:gd name="connsiteY123" fmla="*/ 401193 h 487108"/>
                  <a:gd name="connsiteX124" fmla="*/ 1596295 w 3491294"/>
                  <a:gd name="connsiteY124" fmla="*/ 407479 h 487108"/>
                  <a:gd name="connsiteX125" fmla="*/ 1669923 w 3491294"/>
                  <a:gd name="connsiteY125" fmla="*/ 407479 h 487108"/>
                  <a:gd name="connsiteX126" fmla="*/ 1669923 w 3491294"/>
                  <a:gd name="connsiteY126" fmla="*/ 413766 h 487108"/>
                  <a:gd name="connsiteX127" fmla="*/ 1749838 w 3491294"/>
                  <a:gd name="connsiteY127" fmla="*/ 413766 h 487108"/>
                  <a:gd name="connsiteX128" fmla="*/ 1749838 w 3491294"/>
                  <a:gd name="connsiteY128" fmla="*/ 420052 h 487108"/>
                  <a:gd name="connsiteX129" fmla="*/ 1911763 w 3491294"/>
                  <a:gd name="connsiteY129" fmla="*/ 420052 h 487108"/>
                  <a:gd name="connsiteX130" fmla="*/ 1911763 w 3491294"/>
                  <a:gd name="connsiteY130" fmla="*/ 426529 h 487108"/>
                  <a:gd name="connsiteX131" fmla="*/ 1928622 w 3491294"/>
                  <a:gd name="connsiteY131" fmla="*/ 426529 h 487108"/>
                  <a:gd name="connsiteX132" fmla="*/ 1928622 w 3491294"/>
                  <a:gd name="connsiteY132" fmla="*/ 432911 h 487108"/>
                  <a:gd name="connsiteX133" fmla="*/ 2046446 w 3491294"/>
                  <a:gd name="connsiteY133" fmla="*/ 432911 h 487108"/>
                  <a:gd name="connsiteX134" fmla="*/ 2046446 w 3491294"/>
                  <a:gd name="connsiteY134" fmla="*/ 439388 h 487108"/>
                  <a:gd name="connsiteX135" fmla="*/ 2138934 w 3491294"/>
                  <a:gd name="connsiteY135" fmla="*/ 439388 h 487108"/>
                  <a:gd name="connsiteX136" fmla="*/ 2138934 w 3491294"/>
                  <a:gd name="connsiteY136" fmla="*/ 445770 h 487108"/>
                  <a:gd name="connsiteX137" fmla="*/ 2157889 w 3491294"/>
                  <a:gd name="connsiteY137" fmla="*/ 445770 h 487108"/>
                  <a:gd name="connsiteX138" fmla="*/ 2157889 w 3491294"/>
                  <a:gd name="connsiteY138" fmla="*/ 452247 h 487108"/>
                  <a:gd name="connsiteX139" fmla="*/ 3011710 w 3491294"/>
                  <a:gd name="connsiteY139" fmla="*/ 452247 h 487108"/>
                  <a:gd name="connsiteX140" fmla="*/ 3011710 w 3491294"/>
                  <a:gd name="connsiteY140" fmla="*/ 487108 h 487108"/>
                  <a:gd name="connsiteX141" fmla="*/ 3491294 w 3491294"/>
                  <a:gd name="connsiteY141" fmla="*/ 487108 h 487108"/>
                  <a:gd name="connsiteX0" fmla="*/ 0 w 3491294"/>
                  <a:gd name="connsiteY0" fmla="*/ 0 h 487108"/>
                  <a:gd name="connsiteX1" fmla="*/ 4191 w 3491294"/>
                  <a:gd name="connsiteY1" fmla="*/ 0 h 487108"/>
                  <a:gd name="connsiteX2" fmla="*/ 16859 w 3491294"/>
                  <a:gd name="connsiteY2" fmla="*/ 6096 h 487108"/>
                  <a:gd name="connsiteX3" fmla="*/ 16859 w 3491294"/>
                  <a:gd name="connsiteY3" fmla="*/ 12192 h 487108"/>
                  <a:gd name="connsiteX4" fmla="*/ 31528 w 3491294"/>
                  <a:gd name="connsiteY4" fmla="*/ 12192 h 487108"/>
                  <a:gd name="connsiteX5" fmla="*/ 31528 w 3491294"/>
                  <a:gd name="connsiteY5" fmla="*/ 18193 h 487108"/>
                  <a:gd name="connsiteX6" fmla="*/ 35814 w 3491294"/>
                  <a:gd name="connsiteY6" fmla="*/ 18193 h 487108"/>
                  <a:gd name="connsiteX7" fmla="*/ 35814 w 3491294"/>
                  <a:gd name="connsiteY7" fmla="*/ 24289 h 487108"/>
                  <a:gd name="connsiteX8" fmla="*/ 46291 w 3491294"/>
                  <a:gd name="connsiteY8" fmla="*/ 24289 h 487108"/>
                  <a:gd name="connsiteX9" fmla="*/ 46291 w 3491294"/>
                  <a:gd name="connsiteY9" fmla="*/ 30385 h 487108"/>
                  <a:gd name="connsiteX10" fmla="*/ 54674 w 3491294"/>
                  <a:gd name="connsiteY10" fmla="*/ 30385 h 487108"/>
                  <a:gd name="connsiteX11" fmla="*/ 54674 w 3491294"/>
                  <a:gd name="connsiteY11" fmla="*/ 36481 h 487108"/>
                  <a:gd name="connsiteX12" fmla="*/ 69437 w 3491294"/>
                  <a:gd name="connsiteY12" fmla="*/ 36481 h 487108"/>
                  <a:gd name="connsiteX13" fmla="*/ 69437 w 3491294"/>
                  <a:gd name="connsiteY13" fmla="*/ 42481 h 487108"/>
                  <a:gd name="connsiteX14" fmla="*/ 73628 w 3491294"/>
                  <a:gd name="connsiteY14" fmla="*/ 42481 h 487108"/>
                  <a:gd name="connsiteX15" fmla="*/ 73628 w 3491294"/>
                  <a:gd name="connsiteY15" fmla="*/ 48577 h 487108"/>
                  <a:gd name="connsiteX16" fmla="*/ 77819 w 3491294"/>
                  <a:gd name="connsiteY16" fmla="*/ 48577 h 487108"/>
                  <a:gd name="connsiteX17" fmla="*/ 77819 w 3491294"/>
                  <a:gd name="connsiteY17" fmla="*/ 54673 h 487108"/>
                  <a:gd name="connsiteX18" fmla="*/ 90488 w 3491294"/>
                  <a:gd name="connsiteY18" fmla="*/ 54673 h 487108"/>
                  <a:gd name="connsiteX19" fmla="*/ 90488 w 3491294"/>
                  <a:gd name="connsiteY19" fmla="*/ 60674 h 487108"/>
                  <a:gd name="connsiteX20" fmla="*/ 119920 w 3491294"/>
                  <a:gd name="connsiteY20" fmla="*/ 60674 h 487108"/>
                  <a:gd name="connsiteX21" fmla="*/ 119920 w 3491294"/>
                  <a:gd name="connsiteY21" fmla="*/ 66770 h 487108"/>
                  <a:gd name="connsiteX22" fmla="*/ 128302 w 3491294"/>
                  <a:gd name="connsiteY22" fmla="*/ 66770 h 487108"/>
                  <a:gd name="connsiteX23" fmla="*/ 128302 w 3491294"/>
                  <a:gd name="connsiteY23" fmla="*/ 72866 h 487108"/>
                  <a:gd name="connsiteX24" fmla="*/ 130397 w 3491294"/>
                  <a:gd name="connsiteY24" fmla="*/ 72866 h 487108"/>
                  <a:gd name="connsiteX25" fmla="*/ 130397 w 3491294"/>
                  <a:gd name="connsiteY25" fmla="*/ 78867 h 487108"/>
                  <a:gd name="connsiteX26" fmla="*/ 145161 w 3491294"/>
                  <a:gd name="connsiteY26" fmla="*/ 78867 h 487108"/>
                  <a:gd name="connsiteX27" fmla="*/ 145161 w 3491294"/>
                  <a:gd name="connsiteY27" fmla="*/ 91059 h 487108"/>
                  <a:gd name="connsiteX28" fmla="*/ 147257 w 3491294"/>
                  <a:gd name="connsiteY28" fmla="*/ 91059 h 487108"/>
                  <a:gd name="connsiteX29" fmla="*/ 147257 w 3491294"/>
                  <a:gd name="connsiteY29" fmla="*/ 97060 h 487108"/>
                  <a:gd name="connsiteX30" fmla="*/ 153543 w 3491294"/>
                  <a:gd name="connsiteY30" fmla="*/ 97060 h 487108"/>
                  <a:gd name="connsiteX31" fmla="*/ 153543 w 3491294"/>
                  <a:gd name="connsiteY31" fmla="*/ 103156 h 487108"/>
                  <a:gd name="connsiteX32" fmla="*/ 157734 w 3491294"/>
                  <a:gd name="connsiteY32" fmla="*/ 103156 h 487108"/>
                  <a:gd name="connsiteX33" fmla="*/ 157734 w 3491294"/>
                  <a:gd name="connsiteY33" fmla="*/ 109252 h 487108"/>
                  <a:gd name="connsiteX34" fmla="*/ 174593 w 3491294"/>
                  <a:gd name="connsiteY34" fmla="*/ 109252 h 487108"/>
                  <a:gd name="connsiteX35" fmla="*/ 174593 w 3491294"/>
                  <a:gd name="connsiteY35" fmla="*/ 121348 h 487108"/>
                  <a:gd name="connsiteX36" fmla="*/ 178784 w 3491294"/>
                  <a:gd name="connsiteY36" fmla="*/ 121348 h 487108"/>
                  <a:gd name="connsiteX37" fmla="*/ 178784 w 3491294"/>
                  <a:gd name="connsiteY37" fmla="*/ 127444 h 487108"/>
                  <a:gd name="connsiteX38" fmla="*/ 201930 w 3491294"/>
                  <a:gd name="connsiteY38" fmla="*/ 127444 h 487108"/>
                  <a:gd name="connsiteX39" fmla="*/ 201930 w 3491294"/>
                  <a:gd name="connsiteY39" fmla="*/ 133540 h 487108"/>
                  <a:gd name="connsiteX40" fmla="*/ 206121 w 3491294"/>
                  <a:gd name="connsiteY40" fmla="*/ 133540 h 487108"/>
                  <a:gd name="connsiteX41" fmla="*/ 206121 w 3491294"/>
                  <a:gd name="connsiteY41" fmla="*/ 139541 h 487108"/>
                  <a:gd name="connsiteX42" fmla="*/ 212408 w 3491294"/>
                  <a:gd name="connsiteY42" fmla="*/ 139541 h 487108"/>
                  <a:gd name="connsiteX43" fmla="*/ 212408 w 3491294"/>
                  <a:gd name="connsiteY43" fmla="*/ 151733 h 487108"/>
                  <a:gd name="connsiteX44" fmla="*/ 231362 w 3491294"/>
                  <a:gd name="connsiteY44" fmla="*/ 151733 h 487108"/>
                  <a:gd name="connsiteX45" fmla="*/ 231362 w 3491294"/>
                  <a:gd name="connsiteY45" fmla="*/ 157734 h 487108"/>
                  <a:gd name="connsiteX46" fmla="*/ 239744 w 3491294"/>
                  <a:gd name="connsiteY46" fmla="*/ 157734 h 487108"/>
                  <a:gd name="connsiteX47" fmla="*/ 239744 w 3491294"/>
                  <a:gd name="connsiteY47" fmla="*/ 163830 h 487108"/>
                  <a:gd name="connsiteX48" fmla="*/ 252413 w 3491294"/>
                  <a:gd name="connsiteY48" fmla="*/ 163830 h 487108"/>
                  <a:gd name="connsiteX49" fmla="*/ 252413 w 3491294"/>
                  <a:gd name="connsiteY49" fmla="*/ 169926 h 487108"/>
                  <a:gd name="connsiteX50" fmla="*/ 269272 w 3491294"/>
                  <a:gd name="connsiteY50" fmla="*/ 169926 h 487108"/>
                  <a:gd name="connsiteX51" fmla="*/ 269272 w 3491294"/>
                  <a:gd name="connsiteY51" fmla="*/ 175927 h 487108"/>
                  <a:gd name="connsiteX52" fmla="*/ 296609 w 3491294"/>
                  <a:gd name="connsiteY52" fmla="*/ 175927 h 487108"/>
                  <a:gd name="connsiteX53" fmla="*/ 296609 w 3491294"/>
                  <a:gd name="connsiteY53" fmla="*/ 182023 h 487108"/>
                  <a:gd name="connsiteX54" fmla="*/ 298704 w 3491294"/>
                  <a:gd name="connsiteY54" fmla="*/ 182023 h 487108"/>
                  <a:gd name="connsiteX55" fmla="*/ 298704 w 3491294"/>
                  <a:gd name="connsiteY55" fmla="*/ 188119 h 487108"/>
                  <a:gd name="connsiteX56" fmla="*/ 309181 w 3491294"/>
                  <a:gd name="connsiteY56" fmla="*/ 188119 h 487108"/>
                  <a:gd name="connsiteX57" fmla="*/ 309181 w 3491294"/>
                  <a:gd name="connsiteY57" fmla="*/ 194119 h 487108"/>
                  <a:gd name="connsiteX58" fmla="*/ 315468 w 3491294"/>
                  <a:gd name="connsiteY58" fmla="*/ 194119 h 487108"/>
                  <a:gd name="connsiteX59" fmla="*/ 315468 w 3491294"/>
                  <a:gd name="connsiteY59" fmla="*/ 206311 h 487108"/>
                  <a:gd name="connsiteX60" fmla="*/ 323945 w 3491294"/>
                  <a:gd name="connsiteY60" fmla="*/ 206311 h 487108"/>
                  <a:gd name="connsiteX61" fmla="*/ 323945 w 3491294"/>
                  <a:gd name="connsiteY61" fmla="*/ 212312 h 487108"/>
                  <a:gd name="connsiteX62" fmla="*/ 330232 w 3491294"/>
                  <a:gd name="connsiteY62" fmla="*/ 212312 h 487108"/>
                  <a:gd name="connsiteX63" fmla="*/ 330232 w 3491294"/>
                  <a:gd name="connsiteY63" fmla="*/ 224504 h 487108"/>
                  <a:gd name="connsiteX64" fmla="*/ 332327 w 3491294"/>
                  <a:gd name="connsiteY64" fmla="*/ 224504 h 487108"/>
                  <a:gd name="connsiteX65" fmla="*/ 332327 w 3491294"/>
                  <a:gd name="connsiteY65" fmla="*/ 230600 h 487108"/>
                  <a:gd name="connsiteX66" fmla="*/ 344900 w 3491294"/>
                  <a:gd name="connsiteY66" fmla="*/ 230600 h 487108"/>
                  <a:gd name="connsiteX67" fmla="*/ 344900 w 3491294"/>
                  <a:gd name="connsiteY67" fmla="*/ 236601 h 487108"/>
                  <a:gd name="connsiteX68" fmla="*/ 368046 w 3491294"/>
                  <a:gd name="connsiteY68" fmla="*/ 236601 h 487108"/>
                  <a:gd name="connsiteX69" fmla="*/ 368046 w 3491294"/>
                  <a:gd name="connsiteY69" fmla="*/ 242697 h 487108"/>
                  <a:gd name="connsiteX70" fmla="*/ 374428 w 3491294"/>
                  <a:gd name="connsiteY70" fmla="*/ 242697 h 487108"/>
                  <a:gd name="connsiteX71" fmla="*/ 374428 w 3491294"/>
                  <a:gd name="connsiteY71" fmla="*/ 248793 h 487108"/>
                  <a:gd name="connsiteX72" fmla="*/ 382810 w 3491294"/>
                  <a:gd name="connsiteY72" fmla="*/ 248793 h 487108"/>
                  <a:gd name="connsiteX73" fmla="*/ 382810 w 3491294"/>
                  <a:gd name="connsiteY73" fmla="*/ 254794 h 487108"/>
                  <a:gd name="connsiteX74" fmla="*/ 391192 w 3491294"/>
                  <a:gd name="connsiteY74" fmla="*/ 254794 h 487108"/>
                  <a:gd name="connsiteX75" fmla="*/ 391192 w 3491294"/>
                  <a:gd name="connsiteY75" fmla="*/ 260890 h 487108"/>
                  <a:gd name="connsiteX76" fmla="*/ 395383 w 3491294"/>
                  <a:gd name="connsiteY76" fmla="*/ 260890 h 487108"/>
                  <a:gd name="connsiteX77" fmla="*/ 395383 w 3491294"/>
                  <a:gd name="connsiteY77" fmla="*/ 266986 h 487108"/>
                  <a:gd name="connsiteX78" fmla="*/ 469011 w 3491294"/>
                  <a:gd name="connsiteY78" fmla="*/ 266986 h 487108"/>
                  <a:gd name="connsiteX79" fmla="*/ 469011 w 3491294"/>
                  <a:gd name="connsiteY79" fmla="*/ 272986 h 487108"/>
                  <a:gd name="connsiteX80" fmla="*/ 490061 w 3491294"/>
                  <a:gd name="connsiteY80" fmla="*/ 272986 h 487108"/>
                  <a:gd name="connsiteX81" fmla="*/ 490061 w 3491294"/>
                  <a:gd name="connsiteY81" fmla="*/ 279082 h 487108"/>
                  <a:gd name="connsiteX82" fmla="*/ 496348 w 3491294"/>
                  <a:gd name="connsiteY82" fmla="*/ 279082 h 487108"/>
                  <a:gd name="connsiteX83" fmla="*/ 496348 w 3491294"/>
                  <a:gd name="connsiteY83" fmla="*/ 285178 h 487108"/>
                  <a:gd name="connsiteX84" fmla="*/ 538448 w 3491294"/>
                  <a:gd name="connsiteY84" fmla="*/ 285178 h 487108"/>
                  <a:gd name="connsiteX85" fmla="*/ 538448 w 3491294"/>
                  <a:gd name="connsiteY85" fmla="*/ 291179 h 487108"/>
                  <a:gd name="connsiteX86" fmla="*/ 553117 w 3491294"/>
                  <a:gd name="connsiteY86" fmla="*/ 291179 h 487108"/>
                  <a:gd name="connsiteX87" fmla="*/ 553117 w 3491294"/>
                  <a:gd name="connsiteY87" fmla="*/ 297275 h 487108"/>
                  <a:gd name="connsiteX88" fmla="*/ 582644 w 3491294"/>
                  <a:gd name="connsiteY88" fmla="*/ 297275 h 487108"/>
                  <a:gd name="connsiteX89" fmla="*/ 582644 w 3491294"/>
                  <a:gd name="connsiteY89" fmla="*/ 303371 h 487108"/>
                  <a:gd name="connsiteX90" fmla="*/ 584740 w 3491294"/>
                  <a:gd name="connsiteY90" fmla="*/ 303371 h 487108"/>
                  <a:gd name="connsiteX91" fmla="*/ 584740 w 3491294"/>
                  <a:gd name="connsiteY91" fmla="*/ 309372 h 487108"/>
                  <a:gd name="connsiteX92" fmla="*/ 607790 w 3491294"/>
                  <a:gd name="connsiteY92" fmla="*/ 309372 h 487108"/>
                  <a:gd name="connsiteX93" fmla="*/ 607790 w 3491294"/>
                  <a:gd name="connsiteY93" fmla="*/ 315468 h 487108"/>
                  <a:gd name="connsiteX94" fmla="*/ 620459 w 3491294"/>
                  <a:gd name="connsiteY94" fmla="*/ 315468 h 487108"/>
                  <a:gd name="connsiteX95" fmla="*/ 620459 w 3491294"/>
                  <a:gd name="connsiteY95" fmla="*/ 321564 h 487108"/>
                  <a:gd name="connsiteX96" fmla="*/ 656177 w 3491294"/>
                  <a:gd name="connsiteY96" fmla="*/ 321564 h 487108"/>
                  <a:gd name="connsiteX97" fmla="*/ 656177 w 3491294"/>
                  <a:gd name="connsiteY97" fmla="*/ 327660 h 487108"/>
                  <a:gd name="connsiteX98" fmla="*/ 771906 w 3491294"/>
                  <a:gd name="connsiteY98" fmla="*/ 327660 h 487108"/>
                  <a:gd name="connsiteX99" fmla="*/ 771906 w 3491294"/>
                  <a:gd name="connsiteY99" fmla="*/ 333661 h 487108"/>
                  <a:gd name="connsiteX100" fmla="*/ 809720 w 3491294"/>
                  <a:gd name="connsiteY100" fmla="*/ 333661 h 487108"/>
                  <a:gd name="connsiteX101" fmla="*/ 809720 w 3491294"/>
                  <a:gd name="connsiteY101" fmla="*/ 339852 h 487108"/>
                  <a:gd name="connsiteX102" fmla="*/ 862298 w 3491294"/>
                  <a:gd name="connsiteY102" fmla="*/ 339852 h 487108"/>
                  <a:gd name="connsiteX103" fmla="*/ 862298 w 3491294"/>
                  <a:gd name="connsiteY103" fmla="*/ 345948 h 487108"/>
                  <a:gd name="connsiteX104" fmla="*/ 881253 w 3491294"/>
                  <a:gd name="connsiteY104" fmla="*/ 345948 h 487108"/>
                  <a:gd name="connsiteX105" fmla="*/ 881253 w 3491294"/>
                  <a:gd name="connsiteY105" fmla="*/ 352044 h 487108"/>
                  <a:gd name="connsiteX106" fmla="*/ 891731 w 3491294"/>
                  <a:gd name="connsiteY106" fmla="*/ 352044 h 487108"/>
                  <a:gd name="connsiteX107" fmla="*/ 891731 w 3491294"/>
                  <a:gd name="connsiteY107" fmla="*/ 358235 h 487108"/>
                  <a:gd name="connsiteX108" fmla="*/ 925449 w 3491294"/>
                  <a:gd name="connsiteY108" fmla="*/ 358235 h 487108"/>
                  <a:gd name="connsiteX109" fmla="*/ 925449 w 3491294"/>
                  <a:gd name="connsiteY109" fmla="*/ 364331 h 487108"/>
                  <a:gd name="connsiteX110" fmla="*/ 931736 w 3491294"/>
                  <a:gd name="connsiteY110" fmla="*/ 364331 h 487108"/>
                  <a:gd name="connsiteX111" fmla="*/ 931736 w 3491294"/>
                  <a:gd name="connsiteY111" fmla="*/ 370427 h 487108"/>
                  <a:gd name="connsiteX112" fmla="*/ 946404 w 3491294"/>
                  <a:gd name="connsiteY112" fmla="*/ 370427 h 487108"/>
                  <a:gd name="connsiteX113" fmla="*/ 946404 w 3491294"/>
                  <a:gd name="connsiteY113" fmla="*/ 376523 h 487108"/>
                  <a:gd name="connsiteX114" fmla="*/ 959072 w 3491294"/>
                  <a:gd name="connsiteY114" fmla="*/ 376523 h 487108"/>
                  <a:gd name="connsiteX115" fmla="*/ 959072 w 3491294"/>
                  <a:gd name="connsiteY115" fmla="*/ 382714 h 487108"/>
                  <a:gd name="connsiteX116" fmla="*/ 984314 w 3491294"/>
                  <a:gd name="connsiteY116" fmla="*/ 382714 h 487108"/>
                  <a:gd name="connsiteX117" fmla="*/ 984314 w 3491294"/>
                  <a:gd name="connsiteY117" fmla="*/ 388810 h 487108"/>
                  <a:gd name="connsiteX118" fmla="*/ 1213580 w 3491294"/>
                  <a:gd name="connsiteY118" fmla="*/ 388810 h 487108"/>
                  <a:gd name="connsiteX119" fmla="*/ 1213580 w 3491294"/>
                  <a:gd name="connsiteY119" fmla="*/ 395002 h 487108"/>
                  <a:gd name="connsiteX120" fmla="*/ 1327118 w 3491294"/>
                  <a:gd name="connsiteY120" fmla="*/ 395002 h 487108"/>
                  <a:gd name="connsiteX121" fmla="*/ 1327118 w 3491294"/>
                  <a:gd name="connsiteY121" fmla="*/ 401193 h 487108"/>
                  <a:gd name="connsiteX122" fmla="*/ 1596295 w 3491294"/>
                  <a:gd name="connsiteY122" fmla="*/ 401193 h 487108"/>
                  <a:gd name="connsiteX123" fmla="*/ 1596295 w 3491294"/>
                  <a:gd name="connsiteY123" fmla="*/ 407479 h 487108"/>
                  <a:gd name="connsiteX124" fmla="*/ 1669923 w 3491294"/>
                  <a:gd name="connsiteY124" fmla="*/ 407479 h 487108"/>
                  <a:gd name="connsiteX125" fmla="*/ 1669923 w 3491294"/>
                  <a:gd name="connsiteY125" fmla="*/ 413766 h 487108"/>
                  <a:gd name="connsiteX126" fmla="*/ 1749838 w 3491294"/>
                  <a:gd name="connsiteY126" fmla="*/ 413766 h 487108"/>
                  <a:gd name="connsiteX127" fmla="*/ 1749838 w 3491294"/>
                  <a:gd name="connsiteY127" fmla="*/ 420052 h 487108"/>
                  <a:gd name="connsiteX128" fmla="*/ 1911763 w 3491294"/>
                  <a:gd name="connsiteY128" fmla="*/ 420052 h 487108"/>
                  <a:gd name="connsiteX129" fmla="*/ 1911763 w 3491294"/>
                  <a:gd name="connsiteY129" fmla="*/ 426529 h 487108"/>
                  <a:gd name="connsiteX130" fmla="*/ 1928622 w 3491294"/>
                  <a:gd name="connsiteY130" fmla="*/ 426529 h 487108"/>
                  <a:gd name="connsiteX131" fmla="*/ 1928622 w 3491294"/>
                  <a:gd name="connsiteY131" fmla="*/ 432911 h 487108"/>
                  <a:gd name="connsiteX132" fmla="*/ 2046446 w 3491294"/>
                  <a:gd name="connsiteY132" fmla="*/ 432911 h 487108"/>
                  <a:gd name="connsiteX133" fmla="*/ 2046446 w 3491294"/>
                  <a:gd name="connsiteY133" fmla="*/ 439388 h 487108"/>
                  <a:gd name="connsiteX134" fmla="*/ 2138934 w 3491294"/>
                  <a:gd name="connsiteY134" fmla="*/ 439388 h 487108"/>
                  <a:gd name="connsiteX135" fmla="*/ 2138934 w 3491294"/>
                  <a:gd name="connsiteY135" fmla="*/ 445770 h 487108"/>
                  <a:gd name="connsiteX136" fmla="*/ 2157889 w 3491294"/>
                  <a:gd name="connsiteY136" fmla="*/ 445770 h 487108"/>
                  <a:gd name="connsiteX137" fmla="*/ 2157889 w 3491294"/>
                  <a:gd name="connsiteY137" fmla="*/ 452247 h 487108"/>
                  <a:gd name="connsiteX138" fmla="*/ 3011710 w 3491294"/>
                  <a:gd name="connsiteY138" fmla="*/ 452247 h 487108"/>
                  <a:gd name="connsiteX139" fmla="*/ 3011710 w 3491294"/>
                  <a:gd name="connsiteY139" fmla="*/ 487108 h 487108"/>
                  <a:gd name="connsiteX140" fmla="*/ 3491294 w 3491294"/>
                  <a:gd name="connsiteY140" fmla="*/ 487108 h 487108"/>
                  <a:gd name="connsiteX0" fmla="*/ 0 w 3491294"/>
                  <a:gd name="connsiteY0" fmla="*/ 0 h 487108"/>
                  <a:gd name="connsiteX1" fmla="*/ 16859 w 3491294"/>
                  <a:gd name="connsiteY1" fmla="*/ 6096 h 487108"/>
                  <a:gd name="connsiteX2" fmla="*/ 16859 w 3491294"/>
                  <a:gd name="connsiteY2" fmla="*/ 12192 h 487108"/>
                  <a:gd name="connsiteX3" fmla="*/ 31528 w 3491294"/>
                  <a:gd name="connsiteY3" fmla="*/ 12192 h 487108"/>
                  <a:gd name="connsiteX4" fmla="*/ 31528 w 3491294"/>
                  <a:gd name="connsiteY4" fmla="*/ 18193 h 487108"/>
                  <a:gd name="connsiteX5" fmla="*/ 35814 w 3491294"/>
                  <a:gd name="connsiteY5" fmla="*/ 18193 h 487108"/>
                  <a:gd name="connsiteX6" fmla="*/ 35814 w 3491294"/>
                  <a:gd name="connsiteY6" fmla="*/ 24289 h 487108"/>
                  <a:gd name="connsiteX7" fmla="*/ 46291 w 3491294"/>
                  <a:gd name="connsiteY7" fmla="*/ 24289 h 487108"/>
                  <a:gd name="connsiteX8" fmla="*/ 46291 w 3491294"/>
                  <a:gd name="connsiteY8" fmla="*/ 30385 h 487108"/>
                  <a:gd name="connsiteX9" fmla="*/ 54674 w 3491294"/>
                  <a:gd name="connsiteY9" fmla="*/ 30385 h 487108"/>
                  <a:gd name="connsiteX10" fmla="*/ 54674 w 3491294"/>
                  <a:gd name="connsiteY10" fmla="*/ 36481 h 487108"/>
                  <a:gd name="connsiteX11" fmla="*/ 69437 w 3491294"/>
                  <a:gd name="connsiteY11" fmla="*/ 36481 h 487108"/>
                  <a:gd name="connsiteX12" fmla="*/ 69437 w 3491294"/>
                  <a:gd name="connsiteY12" fmla="*/ 42481 h 487108"/>
                  <a:gd name="connsiteX13" fmla="*/ 73628 w 3491294"/>
                  <a:gd name="connsiteY13" fmla="*/ 42481 h 487108"/>
                  <a:gd name="connsiteX14" fmla="*/ 73628 w 3491294"/>
                  <a:gd name="connsiteY14" fmla="*/ 48577 h 487108"/>
                  <a:gd name="connsiteX15" fmla="*/ 77819 w 3491294"/>
                  <a:gd name="connsiteY15" fmla="*/ 48577 h 487108"/>
                  <a:gd name="connsiteX16" fmla="*/ 77819 w 3491294"/>
                  <a:gd name="connsiteY16" fmla="*/ 54673 h 487108"/>
                  <a:gd name="connsiteX17" fmla="*/ 90488 w 3491294"/>
                  <a:gd name="connsiteY17" fmla="*/ 54673 h 487108"/>
                  <a:gd name="connsiteX18" fmla="*/ 90488 w 3491294"/>
                  <a:gd name="connsiteY18" fmla="*/ 60674 h 487108"/>
                  <a:gd name="connsiteX19" fmla="*/ 119920 w 3491294"/>
                  <a:gd name="connsiteY19" fmla="*/ 60674 h 487108"/>
                  <a:gd name="connsiteX20" fmla="*/ 119920 w 3491294"/>
                  <a:gd name="connsiteY20" fmla="*/ 66770 h 487108"/>
                  <a:gd name="connsiteX21" fmla="*/ 128302 w 3491294"/>
                  <a:gd name="connsiteY21" fmla="*/ 66770 h 487108"/>
                  <a:gd name="connsiteX22" fmla="*/ 128302 w 3491294"/>
                  <a:gd name="connsiteY22" fmla="*/ 72866 h 487108"/>
                  <a:gd name="connsiteX23" fmla="*/ 130397 w 3491294"/>
                  <a:gd name="connsiteY23" fmla="*/ 72866 h 487108"/>
                  <a:gd name="connsiteX24" fmla="*/ 130397 w 3491294"/>
                  <a:gd name="connsiteY24" fmla="*/ 78867 h 487108"/>
                  <a:gd name="connsiteX25" fmla="*/ 145161 w 3491294"/>
                  <a:gd name="connsiteY25" fmla="*/ 78867 h 487108"/>
                  <a:gd name="connsiteX26" fmla="*/ 145161 w 3491294"/>
                  <a:gd name="connsiteY26" fmla="*/ 91059 h 487108"/>
                  <a:gd name="connsiteX27" fmla="*/ 147257 w 3491294"/>
                  <a:gd name="connsiteY27" fmla="*/ 91059 h 487108"/>
                  <a:gd name="connsiteX28" fmla="*/ 147257 w 3491294"/>
                  <a:gd name="connsiteY28" fmla="*/ 97060 h 487108"/>
                  <a:gd name="connsiteX29" fmla="*/ 153543 w 3491294"/>
                  <a:gd name="connsiteY29" fmla="*/ 97060 h 487108"/>
                  <a:gd name="connsiteX30" fmla="*/ 153543 w 3491294"/>
                  <a:gd name="connsiteY30" fmla="*/ 103156 h 487108"/>
                  <a:gd name="connsiteX31" fmla="*/ 157734 w 3491294"/>
                  <a:gd name="connsiteY31" fmla="*/ 103156 h 487108"/>
                  <a:gd name="connsiteX32" fmla="*/ 157734 w 3491294"/>
                  <a:gd name="connsiteY32" fmla="*/ 109252 h 487108"/>
                  <a:gd name="connsiteX33" fmla="*/ 174593 w 3491294"/>
                  <a:gd name="connsiteY33" fmla="*/ 109252 h 487108"/>
                  <a:gd name="connsiteX34" fmla="*/ 174593 w 3491294"/>
                  <a:gd name="connsiteY34" fmla="*/ 121348 h 487108"/>
                  <a:gd name="connsiteX35" fmla="*/ 178784 w 3491294"/>
                  <a:gd name="connsiteY35" fmla="*/ 121348 h 487108"/>
                  <a:gd name="connsiteX36" fmla="*/ 178784 w 3491294"/>
                  <a:gd name="connsiteY36" fmla="*/ 127444 h 487108"/>
                  <a:gd name="connsiteX37" fmla="*/ 201930 w 3491294"/>
                  <a:gd name="connsiteY37" fmla="*/ 127444 h 487108"/>
                  <a:gd name="connsiteX38" fmla="*/ 201930 w 3491294"/>
                  <a:gd name="connsiteY38" fmla="*/ 133540 h 487108"/>
                  <a:gd name="connsiteX39" fmla="*/ 206121 w 3491294"/>
                  <a:gd name="connsiteY39" fmla="*/ 133540 h 487108"/>
                  <a:gd name="connsiteX40" fmla="*/ 206121 w 3491294"/>
                  <a:gd name="connsiteY40" fmla="*/ 139541 h 487108"/>
                  <a:gd name="connsiteX41" fmla="*/ 212408 w 3491294"/>
                  <a:gd name="connsiteY41" fmla="*/ 139541 h 487108"/>
                  <a:gd name="connsiteX42" fmla="*/ 212408 w 3491294"/>
                  <a:gd name="connsiteY42" fmla="*/ 151733 h 487108"/>
                  <a:gd name="connsiteX43" fmla="*/ 231362 w 3491294"/>
                  <a:gd name="connsiteY43" fmla="*/ 151733 h 487108"/>
                  <a:gd name="connsiteX44" fmla="*/ 231362 w 3491294"/>
                  <a:gd name="connsiteY44" fmla="*/ 157734 h 487108"/>
                  <a:gd name="connsiteX45" fmla="*/ 239744 w 3491294"/>
                  <a:gd name="connsiteY45" fmla="*/ 157734 h 487108"/>
                  <a:gd name="connsiteX46" fmla="*/ 239744 w 3491294"/>
                  <a:gd name="connsiteY46" fmla="*/ 163830 h 487108"/>
                  <a:gd name="connsiteX47" fmla="*/ 252413 w 3491294"/>
                  <a:gd name="connsiteY47" fmla="*/ 163830 h 487108"/>
                  <a:gd name="connsiteX48" fmla="*/ 252413 w 3491294"/>
                  <a:gd name="connsiteY48" fmla="*/ 169926 h 487108"/>
                  <a:gd name="connsiteX49" fmla="*/ 269272 w 3491294"/>
                  <a:gd name="connsiteY49" fmla="*/ 169926 h 487108"/>
                  <a:gd name="connsiteX50" fmla="*/ 269272 w 3491294"/>
                  <a:gd name="connsiteY50" fmla="*/ 175927 h 487108"/>
                  <a:gd name="connsiteX51" fmla="*/ 296609 w 3491294"/>
                  <a:gd name="connsiteY51" fmla="*/ 175927 h 487108"/>
                  <a:gd name="connsiteX52" fmla="*/ 296609 w 3491294"/>
                  <a:gd name="connsiteY52" fmla="*/ 182023 h 487108"/>
                  <a:gd name="connsiteX53" fmla="*/ 298704 w 3491294"/>
                  <a:gd name="connsiteY53" fmla="*/ 182023 h 487108"/>
                  <a:gd name="connsiteX54" fmla="*/ 298704 w 3491294"/>
                  <a:gd name="connsiteY54" fmla="*/ 188119 h 487108"/>
                  <a:gd name="connsiteX55" fmla="*/ 309181 w 3491294"/>
                  <a:gd name="connsiteY55" fmla="*/ 188119 h 487108"/>
                  <a:gd name="connsiteX56" fmla="*/ 309181 w 3491294"/>
                  <a:gd name="connsiteY56" fmla="*/ 194119 h 487108"/>
                  <a:gd name="connsiteX57" fmla="*/ 315468 w 3491294"/>
                  <a:gd name="connsiteY57" fmla="*/ 194119 h 487108"/>
                  <a:gd name="connsiteX58" fmla="*/ 315468 w 3491294"/>
                  <a:gd name="connsiteY58" fmla="*/ 206311 h 487108"/>
                  <a:gd name="connsiteX59" fmla="*/ 323945 w 3491294"/>
                  <a:gd name="connsiteY59" fmla="*/ 206311 h 487108"/>
                  <a:gd name="connsiteX60" fmla="*/ 323945 w 3491294"/>
                  <a:gd name="connsiteY60" fmla="*/ 212312 h 487108"/>
                  <a:gd name="connsiteX61" fmla="*/ 330232 w 3491294"/>
                  <a:gd name="connsiteY61" fmla="*/ 212312 h 487108"/>
                  <a:gd name="connsiteX62" fmla="*/ 330232 w 3491294"/>
                  <a:gd name="connsiteY62" fmla="*/ 224504 h 487108"/>
                  <a:gd name="connsiteX63" fmla="*/ 332327 w 3491294"/>
                  <a:gd name="connsiteY63" fmla="*/ 224504 h 487108"/>
                  <a:gd name="connsiteX64" fmla="*/ 332327 w 3491294"/>
                  <a:gd name="connsiteY64" fmla="*/ 230600 h 487108"/>
                  <a:gd name="connsiteX65" fmla="*/ 344900 w 3491294"/>
                  <a:gd name="connsiteY65" fmla="*/ 230600 h 487108"/>
                  <a:gd name="connsiteX66" fmla="*/ 344900 w 3491294"/>
                  <a:gd name="connsiteY66" fmla="*/ 236601 h 487108"/>
                  <a:gd name="connsiteX67" fmla="*/ 368046 w 3491294"/>
                  <a:gd name="connsiteY67" fmla="*/ 236601 h 487108"/>
                  <a:gd name="connsiteX68" fmla="*/ 368046 w 3491294"/>
                  <a:gd name="connsiteY68" fmla="*/ 242697 h 487108"/>
                  <a:gd name="connsiteX69" fmla="*/ 374428 w 3491294"/>
                  <a:gd name="connsiteY69" fmla="*/ 242697 h 487108"/>
                  <a:gd name="connsiteX70" fmla="*/ 374428 w 3491294"/>
                  <a:gd name="connsiteY70" fmla="*/ 248793 h 487108"/>
                  <a:gd name="connsiteX71" fmla="*/ 382810 w 3491294"/>
                  <a:gd name="connsiteY71" fmla="*/ 248793 h 487108"/>
                  <a:gd name="connsiteX72" fmla="*/ 382810 w 3491294"/>
                  <a:gd name="connsiteY72" fmla="*/ 254794 h 487108"/>
                  <a:gd name="connsiteX73" fmla="*/ 391192 w 3491294"/>
                  <a:gd name="connsiteY73" fmla="*/ 254794 h 487108"/>
                  <a:gd name="connsiteX74" fmla="*/ 391192 w 3491294"/>
                  <a:gd name="connsiteY74" fmla="*/ 260890 h 487108"/>
                  <a:gd name="connsiteX75" fmla="*/ 395383 w 3491294"/>
                  <a:gd name="connsiteY75" fmla="*/ 260890 h 487108"/>
                  <a:gd name="connsiteX76" fmla="*/ 395383 w 3491294"/>
                  <a:gd name="connsiteY76" fmla="*/ 266986 h 487108"/>
                  <a:gd name="connsiteX77" fmla="*/ 469011 w 3491294"/>
                  <a:gd name="connsiteY77" fmla="*/ 266986 h 487108"/>
                  <a:gd name="connsiteX78" fmla="*/ 469011 w 3491294"/>
                  <a:gd name="connsiteY78" fmla="*/ 272986 h 487108"/>
                  <a:gd name="connsiteX79" fmla="*/ 490061 w 3491294"/>
                  <a:gd name="connsiteY79" fmla="*/ 272986 h 487108"/>
                  <a:gd name="connsiteX80" fmla="*/ 490061 w 3491294"/>
                  <a:gd name="connsiteY80" fmla="*/ 279082 h 487108"/>
                  <a:gd name="connsiteX81" fmla="*/ 496348 w 3491294"/>
                  <a:gd name="connsiteY81" fmla="*/ 279082 h 487108"/>
                  <a:gd name="connsiteX82" fmla="*/ 496348 w 3491294"/>
                  <a:gd name="connsiteY82" fmla="*/ 285178 h 487108"/>
                  <a:gd name="connsiteX83" fmla="*/ 538448 w 3491294"/>
                  <a:gd name="connsiteY83" fmla="*/ 285178 h 487108"/>
                  <a:gd name="connsiteX84" fmla="*/ 538448 w 3491294"/>
                  <a:gd name="connsiteY84" fmla="*/ 291179 h 487108"/>
                  <a:gd name="connsiteX85" fmla="*/ 553117 w 3491294"/>
                  <a:gd name="connsiteY85" fmla="*/ 291179 h 487108"/>
                  <a:gd name="connsiteX86" fmla="*/ 553117 w 3491294"/>
                  <a:gd name="connsiteY86" fmla="*/ 297275 h 487108"/>
                  <a:gd name="connsiteX87" fmla="*/ 582644 w 3491294"/>
                  <a:gd name="connsiteY87" fmla="*/ 297275 h 487108"/>
                  <a:gd name="connsiteX88" fmla="*/ 582644 w 3491294"/>
                  <a:gd name="connsiteY88" fmla="*/ 303371 h 487108"/>
                  <a:gd name="connsiteX89" fmla="*/ 584740 w 3491294"/>
                  <a:gd name="connsiteY89" fmla="*/ 303371 h 487108"/>
                  <a:gd name="connsiteX90" fmla="*/ 584740 w 3491294"/>
                  <a:gd name="connsiteY90" fmla="*/ 309372 h 487108"/>
                  <a:gd name="connsiteX91" fmla="*/ 607790 w 3491294"/>
                  <a:gd name="connsiteY91" fmla="*/ 309372 h 487108"/>
                  <a:gd name="connsiteX92" fmla="*/ 607790 w 3491294"/>
                  <a:gd name="connsiteY92" fmla="*/ 315468 h 487108"/>
                  <a:gd name="connsiteX93" fmla="*/ 620459 w 3491294"/>
                  <a:gd name="connsiteY93" fmla="*/ 315468 h 487108"/>
                  <a:gd name="connsiteX94" fmla="*/ 620459 w 3491294"/>
                  <a:gd name="connsiteY94" fmla="*/ 321564 h 487108"/>
                  <a:gd name="connsiteX95" fmla="*/ 656177 w 3491294"/>
                  <a:gd name="connsiteY95" fmla="*/ 321564 h 487108"/>
                  <a:gd name="connsiteX96" fmla="*/ 656177 w 3491294"/>
                  <a:gd name="connsiteY96" fmla="*/ 327660 h 487108"/>
                  <a:gd name="connsiteX97" fmla="*/ 771906 w 3491294"/>
                  <a:gd name="connsiteY97" fmla="*/ 327660 h 487108"/>
                  <a:gd name="connsiteX98" fmla="*/ 771906 w 3491294"/>
                  <a:gd name="connsiteY98" fmla="*/ 333661 h 487108"/>
                  <a:gd name="connsiteX99" fmla="*/ 809720 w 3491294"/>
                  <a:gd name="connsiteY99" fmla="*/ 333661 h 487108"/>
                  <a:gd name="connsiteX100" fmla="*/ 809720 w 3491294"/>
                  <a:gd name="connsiteY100" fmla="*/ 339852 h 487108"/>
                  <a:gd name="connsiteX101" fmla="*/ 862298 w 3491294"/>
                  <a:gd name="connsiteY101" fmla="*/ 339852 h 487108"/>
                  <a:gd name="connsiteX102" fmla="*/ 862298 w 3491294"/>
                  <a:gd name="connsiteY102" fmla="*/ 345948 h 487108"/>
                  <a:gd name="connsiteX103" fmla="*/ 881253 w 3491294"/>
                  <a:gd name="connsiteY103" fmla="*/ 345948 h 487108"/>
                  <a:gd name="connsiteX104" fmla="*/ 881253 w 3491294"/>
                  <a:gd name="connsiteY104" fmla="*/ 352044 h 487108"/>
                  <a:gd name="connsiteX105" fmla="*/ 891731 w 3491294"/>
                  <a:gd name="connsiteY105" fmla="*/ 352044 h 487108"/>
                  <a:gd name="connsiteX106" fmla="*/ 891731 w 3491294"/>
                  <a:gd name="connsiteY106" fmla="*/ 358235 h 487108"/>
                  <a:gd name="connsiteX107" fmla="*/ 925449 w 3491294"/>
                  <a:gd name="connsiteY107" fmla="*/ 358235 h 487108"/>
                  <a:gd name="connsiteX108" fmla="*/ 925449 w 3491294"/>
                  <a:gd name="connsiteY108" fmla="*/ 364331 h 487108"/>
                  <a:gd name="connsiteX109" fmla="*/ 931736 w 3491294"/>
                  <a:gd name="connsiteY109" fmla="*/ 364331 h 487108"/>
                  <a:gd name="connsiteX110" fmla="*/ 931736 w 3491294"/>
                  <a:gd name="connsiteY110" fmla="*/ 370427 h 487108"/>
                  <a:gd name="connsiteX111" fmla="*/ 946404 w 3491294"/>
                  <a:gd name="connsiteY111" fmla="*/ 370427 h 487108"/>
                  <a:gd name="connsiteX112" fmla="*/ 946404 w 3491294"/>
                  <a:gd name="connsiteY112" fmla="*/ 376523 h 487108"/>
                  <a:gd name="connsiteX113" fmla="*/ 959072 w 3491294"/>
                  <a:gd name="connsiteY113" fmla="*/ 376523 h 487108"/>
                  <a:gd name="connsiteX114" fmla="*/ 959072 w 3491294"/>
                  <a:gd name="connsiteY114" fmla="*/ 382714 h 487108"/>
                  <a:gd name="connsiteX115" fmla="*/ 984314 w 3491294"/>
                  <a:gd name="connsiteY115" fmla="*/ 382714 h 487108"/>
                  <a:gd name="connsiteX116" fmla="*/ 984314 w 3491294"/>
                  <a:gd name="connsiteY116" fmla="*/ 388810 h 487108"/>
                  <a:gd name="connsiteX117" fmla="*/ 1213580 w 3491294"/>
                  <a:gd name="connsiteY117" fmla="*/ 388810 h 487108"/>
                  <a:gd name="connsiteX118" fmla="*/ 1213580 w 3491294"/>
                  <a:gd name="connsiteY118" fmla="*/ 395002 h 487108"/>
                  <a:gd name="connsiteX119" fmla="*/ 1327118 w 3491294"/>
                  <a:gd name="connsiteY119" fmla="*/ 395002 h 487108"/>
                  <a:gd name="connsiteX120" fmla="*/ 1327118 w 3491294"/>
                  <a:gd name="connsiteY120" fmla="*/ 401193 h 487108"/>
                  <a:gd name="connsiteX121" fmla="*/ 1596295 w 3491294"/>
                  <a:gd name="connsiteY121" fmla="*/ 401193 h 487108"/>
                  <a:gd name="connsiteX122" fmla="*/ 1596295 w 3491294"/>
                  <a:gd name="connsiteY122" fmla="*/ 407479 h 487108"/>
                  <a:gd name="connsiteX123" fmla="*/ 1669923 w 3491294"/>
                  <a:gd name="connsiteY123" fmla="*/ 407479 h 487108"/>
                  <a:gd name="connsiteX124" fmla="*/ 1669923 w 3491294"/>
                  <a:gd name="connsiteY124" fmla="*/ 413766 h 487108"/>
                  <a:gd name="connsiteX125" fmla="*/ 1749838 w 3491294"/>
                  <a:gd name="connsiteY125" fmla="*/ 413766 h 487108"/>
                  <a:gd name="connsiteX126" fmla="*/ 1749838 w 3491294"/>
                  <a:gd name="connsiteY126" fmla="*/ 420052 h 487108"/>
                  <a:gd name="connsiteX127" fmla="*/ 1911763 w 3491294"/>
                  <a:gd name="connsiteY127" fmla="*/ 420052 h 487108"/>
                  <a:gd name="connsiteX128" fmla="*/ 1911763 w 3491294"/>
                  <a:gd name="connsiteY128" fmla="*/ 426529 h 487108"/>
                  <a:gd name="connsiteX129" fmla="*/ 1928622 w 3491294"/>
                  <a:gd name="connsiteY129" fmla="*/ 426529 h 487108"/>
                  <a:gd name="connsiteX130" fmla="*/ 1928622 w 3491294"/>
                  <a:gd name="connsiteY130" fmla="*/ 432911 h 487108"/>
                  <a:gd name="connsiteX131" fmla="*/ 2046446 w 3491294"/>
                  <a:gd name="connsiteY131" fmla="*/ 432911 h 487108"/>
                  <a:gd name="connsiteX132" fmla="*/ 2046446 w 3491294"/>
                  <a:gd name="connsiteY132" fmla="*/ 439388 h 487108"/>
                  <a:gd name="connsiteX133" fmla="*/ 2138934 w 3491294"/>
                  <a:gd name="connsiteY133" fmla="*/ 439388 h 487108"/>
                  <a:gd name="connsiteX134" fmla="*/ 2138934 w 3491294"/>
                  <a:gd name="connsiteY134" fmla="*/ 445770 h 487108"/>
                  <a:gd name="connsiteX135" fmla="*/ 2157889 w 3491294"/>
                  <a:gd name="connsiteY135" fmla="*/ 445770 h 487108"/>
                  <a:gd name="connsiteX136" fmla="*/ 2157889 w 3491294"/>
                  <a:gd name="connsiteY136" fmla="*/ 452247 h 487108"/>
                  <a:gd name="connsiteX137" fmla="*/ 3011710 w 3491294"/>
                  <a:gd name="connsiteY137" fmla="*/ 452247 h 487108"/>
                  <a:gd name="connsiteX138" fmla="*/ 3011710 w 3491294"/>
                  <a:gd name="connsiteY138" fmla="*/ 487108 h 487108"/>
                  <a:gd name="connsiteX139" fmla="*/ 3491294 w 3491294"/>
                  <a:gd name="connsiteY139" fmla="*/ 487108 h 487108"/>
                  <a:gd name="connsiteX0" fmla="*/ 0 w 3474435"/>
                  <a:gd name="connsiteY0" fmla="*/ 0 h 481012"/>
                  <a:gd name="connsiteX1" fmla="*/ 0 w 3474435"/>
                  <a:gd name="connsiteY1" fmla="*/ 6096 h 481012"/>
                  <a:gd name="connsiteX2" fmla="*/ 14669 w 3474435"/>
                  <a:gd name="connsiteY2" fmla="*/ 6096 h 481012"/>
                  <a:gd name="connsiteX3" fmla="*/ 14669 w 3474435"/>
                  <a:gd name="connsiteY3" fmla="*/ 12097 h 481012"/>
                  <a:gd name="connsiteX4" fmla="*/ 18955 w 3474435"/>
                  <a:gd name="connsiteY4" fmla="*/ 12097 h 481012"/>
                  <a:gd name="connsiteX5" fmla="*/ 18955 w 3474435"/>
                  <a:gd name="connsiteY5" fmla="*/ 18193 h 481012"/>
                  <a:gd name="connsiteX6" fmla="*/ 29432 w 3474435"/>
                  <a:gd name="connsiteY6" fmla="*/ 18193 h 481012"/>
                  <a:gd name="connsiteX7" fmla="*/ 29432 w 3474435"/>
                  <a:gd name="connsiteY7" fmla="*/ 24289 h 481012"/>
                  <a:gd name="connsiteX8" fmla="*/ 37815 w 3474435"/>
                  <a:gd name="connsiteY8" fmla="*/ 24289 h 481012"/>
                  <a:gd name="connsiteX9" fmla="*/ 37815 w 3474435"/>
                  <a:gd name="connsiteY9" fmla="*/ 30385 h 481012"/>
                  <a:gd name="connsiteX10" fmla="*/ 52578 w 3474435"/>
                  <a:gd name="connsiteY10" fmla="*/ 30385 h 481012"/>
                  <a:gd name="connsiteX11" fmla="*/ 52578 w 3474435"/>
                  <a:gd name="connsiteY11" fmla="*/ 36385 h 481012"/>
                  <a:gd name="connsiteX12" fmla="*/ 56769 w 3474435"/>
                  <a:gd name="connsiteY12" fmla="*/ 36385 h 481012"/>
                  <a:gd name="connsiteX13" fmla="*/ 56769 w 3474435"/>
                  <a:gd name="connsiteY13" fmla="*/ 42481 h 481012"/>
                  <a:gd name="connsiteX14" fmla="*/ 60960 w 3474435"/>
                  <a:gd name="connsiteY14" fmla="*/ 42481 h 481012"/>
                  <a:gd name="connsiteX15" fmla="*/ 60960 w 3474435"/>
                  <a:gd name="connsiteY15" fmla="*/ 48577 h 481012"/>
                  <a:gd name="connsiteX16" fmla="*/ 73629 w 3474435"/>
                  <a:gd name="connsiteY16" fmla="*/ 48577 h 481012"/>
                  <a:gd name="connsiteX17" fmla="*/ 73629 w 3474435"/>
                  <a:gd name="connsiteY17" fmla="*/ 54578 h 481012"/>
                  <a:gd name="connsiteX18" fmla="*/ 103061 w 3474435"/>
                  <a:gd name="connsiteY18" fmla="*/ 54578 h 481012"/>
                  <a:gd name="connsiteX19" fmla="*/ 103061 w 3474435"/>
                  <a:gd name="connsiteY19" fmla="*/ 60674 h 481012"/>
                  <a:gd name="connsiteX20" fmla="*/ 111443 w 3474435"/>
                  <a:gd name="connsiteY20" fmla="*/ 60674 h 481012"/>
                  <a:gd name="connsiteX21" fmla="*/ 111443 w 3474435"/>
                  <a:gd name="connsiteY21" fmla="*/ 66770 h 481012"/>
                  <a:gd name="connsiteX22" fmla="*/ 113538 w 3474435"/>
                  <a:gd name="connsiteY22" fmla="*/ 66770 h 481012"/>
                  <a:gd name="connsiteX23" fmla="*/ 113538 w 3474435"/>
                  <a:gd name="connsiteY23" fmla="*/ 72771 h 481012"/>
                  <a:gd name="connsiteX24" fmla="*/ 128302 w 3474435"/>
                  <a:gd name="connsiteY24" fmla="*/ 72771 h 481012"/>
                  <a:gd name="connsiteX25" fmla="*/ 128302 w 3474435"/>
                  <a:gd name="connsiteY25" fmla="*/ 84963 h 481012"/>
                  <a:gd name="connsiteX26" fmla="*/ 130398 w 3474435"/>
                  <a:gd name="connsiteY26" fmla="*/ 84963 h 481012"/>
                  <a:gd name="connsiteX27" fmla="*/ 130398 w 3474435"/>
                  <a:gd name="connsiteY27" fmla="*/ 90964 h 481012"/>
                  <a:gd name="connsiteX28" fmla="*/ 136684 w 3474435"/>
                  <a:gd name="connsiteY28" fmla="*/ 90964 h 481012"/>
                  <a:gd name="connsiteX29" fmla="*/ 136684 w 3474435"/>
                  <a:gd name="connsiteY29" fmla="*/ 97060 h 481012"/>
                  <a:gd name="connsiteX30" fmla="*/ 140875 w 3474435"/>
                  <a:gd name="connsiteY30" fmla="*/ 97060 h 481012"/>
                  <a:gd name="connsiteX31" fmla="*/ 140875 w 3474435"/>
                  <a:gd name="connsiteY31" fmla="*/ 103156 h 481012"/>
                  <a:gd name="connsiteX32" fmla="*/ 157734 w 3474435"/>
                  <a:gd name="connsiteY32" fmla="*/ 103156 h 481012"/>
                  <a:gd name="connsiteX33" fmla="*/ 157734 w 3474435"/>
                  <a:gd name="connsiteY33" fmla="*/ 115252 h 481012"/>
                  <a:gd name="connsiteX34" fmla="*/ 161925 w 3474435"/>
                  <a:gd name="connsiteY34" fmla="*/ 115252 h 481012"/>
                  <a:gd name="connsiteX35" fmla="*/ 161925 w 3474435"/>
                  <a:gd name="connsiteY35" fmla="*/ 121348 h 481012"/>
                  <a:gd name="connsiteX36" fmla="*/ 185071 w 3474435"/>
                  <a:gd name="connsiteY36" fmla="*/ 121348 h 481012"/>
                  <a:gd name="connsiteX37" fmla="*/ 185071 w 3474435"/>
                  <a:gd name="connsiteY37" fmla="*/ 127444 h 481012"/>
                  <a:gd name="connsiteX38" fmla="*/ 189262 w 3474435"/>
                  <a:gd name="connsiteY38" fmla="*/ 127444 h 481012"/>
                  <a:gd name="connsiteX39" fmla="*/ 189262 w 3474435"/>
                  <a:gd name="connsiteY39" fmla="*/ 133445 h 481012"/>
                  <a:gd name="connsiteX40" fmla="*/ 195549 w 3474435"/>
                  <a:gd name="connsiteY40" fmla="*/ 133445 h 481012"/>
                  <a:gd name="connsiteX41" fmla="*/ 195549 w 3474435"/>
                  <a:gd name="connsiteY41" fmla="*/ 145637 h 481012"/>
                  <a:gd name="connsiteX42" fmla="*/ 214503 w 3474435"/>
                  <a:gd name="connsiteY42" fmla="*/ 145637 h 481012"/>
                  <a:gd name="connsiteX43" fmla="*/ 214503 w 3474435"/>
                  <a:gd name="connsiteY43" fmla="*/ 151638 h 481012"/>
                  <a:gd name="connsiteX44" fmla="*/ 222885 w 3474435"/>
                  <a:gd name="connsiteY44" fmla="*/ 151638 h 481012"/>
                  <a:gd name="connsiteX45" fmla="*/ 222885 w 3474435"/>
                  <a:gd name="connsiteY45" fmla="*/ 157734 h 481012"/>
                  <a:gd name="connsiteX46" fmla="*/ 235554 w 3474435"/>
                  <a:gd name="connsiteY46" fmla="*/ 157734 h 481012"/>
                  <a:gd name="connsiteX47" fmla="*/ 235554 w 3474435"/>
                  <a:gd name="connsiteY47" fmla="*/ 163830 h 481012"/>
                  <a:gd name="connsiteX48" fmla="*/ 252413 w 3474435"/>
                  <a:gd name="connsiteY48" fmla="*/ 163830 h 481012"/>
                  <a:gd name="connsiteX49" fmla="*/ 252413 w 3474435"/>
                  <a:gd name="connsiteY49" fmla="*/ 169831 h 481012"/>
                  <a:gd name="connsiteX50" fmla="*/ 279750 w 3474435"/>
                  <a:gd name="connsiteY50" fmla="*/ 169831 h 481012"/>
                  <a:gd name="connsiteX51" fmla="*/ 279750 w 3474435"/>
                  <a:gd name="connsiteY51" fmla="*/ 175927 h 481012"/>
                  <a:gd name="connsiteX52" fmla="*/ 281845 w 3474435"/>
                  <a:gd name="connsiteY52" fmla="*/ 175927 h 481012"/>
                  <a:gd name="connsiteX53" fmla="*/ 281845 w 3474435"/>
                  <a:gd name="connsiteY53" fmla="*/ 182023 h 481012"/>
                  <a:gd name="connsiteX54" fmla="*/ 292322 w 3474435"/>
                  <a:gd name="connsiteY54" fmla="*/ 182023 h 481012"/>
                  <a:gd name="connsiteX55" fmla="*/ 292322 w 3474435"/>
                  <a:gd name="connsiteY55" fmla="*/ 188023 h 481012"/>
                  <a:gd name="connsiteX56" fmla="*/ 298609 w 3474435"/>
                  <a:gd name="connsiteY56" fmla="*/ 188023 h 481012"/>
                  <a:gd name="connsiteX57" fmla="*/ 298609 w 3474435"/>
                  <a:gd name="connsiteY57" fmla="*/ 200215 h 481012"/>
                  <a:gd name="connsiteX58" fmla="*/ 307086 w 3474435"/>
                  <a:gd name="connsiteY58" fmla="*/ 200215 h 481012"/>
                  <a:gd name="connsiteX59" fmla="*/ 307086 w 3474435"/>
                  <a:gd name="connsiteY59" fmla="*/ 206216 h 481012"/>
                  <a:gd name="connsiteX60" fmla="*/ 313373 w 3474435"/>
                  <a:gd name="connsiteY60" fmla="*/ 206216 h 481012"/>
                  <a:gd name="connsiteX61" fmla="*/ 313373 w 3474435"/>
                  <a:gd name="connsiteY61" fmla="*/ 218408 h 481012"/>
                  <a:gd name="connsiteX62" fmla="*/ 315468 w 3474435"/>
                  <a:gd name="connsiteY62" fmla="*/ 218408 h 481012"/>
                  <a:gd name="connsiteX63" fmla="*/ 315468 w 3474435"/>
                  <a:gd name="connsiteY63" fmla="*/ 224504 h 481012"/>
                  <a:gd name="connsiteX64" fmla="*/ 328041 w 3474435"/>
                  <a:gd name="connsiteY64" fmla="*/ 224504 h 481012"/>
                  <a:gd name="connsiteX65" fmla="*/ 328041 w 3474435"/>
                  <a:gd name="connsiteY65" fmla="*/ 230505 h 481012"/>
                  <a:gd name="connsiteX66" fmla="*/ 351187 w 3474435"/>
                  <a:gd name="connsiteY66" fmla="*/ 230505 h 481012"/>
                  <a:gd name="connsiteX67" fmla="*/ 351187 w 3474435"/>
                  <a:gd name="connsiteY67" fmla="*/ 236601 h 481012"/>
                  <a:gd name="connsiteX68" fmla="*/ 357569 w 3474435"/>
                  <a:gd name="connsiteY68" fmla="*/ 236601 h 481012"/>
                  <a:gd name="connsiteX69" fmla="*/ 357569 w 3474435"/>
                  <a:gd name="connsiteY69" fmla="*/ 242697 h 481012"/>
                  <a:gd name="connsiteX70" fmla="*/ 365951 w 3474435"/>
                  <a:gd name="connsiteY70" fmla="*/ 242697 h 481012"/>
                  <a:gd name="connsiteX71" fmla="*/ 365951 w 3474435"/>
                  <a:gd name="connsiteY71" fmla="*/ 248698 h 481012"/>
                  <a:gd name="connsiteX72" fmla="*/ 374333 w 3474435"/>
                  <a:gd name="connsiteY72" fmla="*/ 248698 h 481012"/>
                  <a:gd name="connsiteX73" fmla="*/ 374333 w 3474435"/>
                  <a:gd name="connsiteY73" fmla="*/ 254794 h 481012"/>
                  <a:gd name="connsiteX74" fmla="*/ 378524 w 3474435"/>
                  <a:gd name="connsiteY74" fmla="*/ 254794 h 481012"/>
                  <a:gd name="connsiteX75" fmla="*/ 378524 w 3474435"/>
                  <a:gd name="connsiteY75" fmla="*/ 260890 h 481012"/>
                  <a:gd name="connsiteX76" fmla="*/ 452152 w 3474435"/>
                  <a:gd name="connsiteY76" fmla="*/ 260890 h 481012"/>
                  <a:gd name="connsiteX77" fmla="*/ 452152 w 3474435"/>
                  <a:gd name="connsiteY77" fmla="*/ 266890 h 481012"/>
                  <a:gd name="connsiteX78" fmla="*/ 473202 w 3474435"/>
                  <a:gd name="connsiteY78" fmla="*/ 266890 h 481012"/>
                  <a:gd name="connsiteX79" fmla="*/ 473202 w 3474435"/>
                  <a:gd name="connsiteY79" fmla="*/ 272986 h 481012"/>
                  <a:gd name="connsiteX80" fmla="*/ 479489 w 3474435"/>
                  <a:gd name="connsiteY80" fmla="*/ 272986 h 481012"/>
                  <a:gd name="connsiteX81" fmla="*/ 479489 w 3474435"/>
                  <a:gd name="connsiteY81" fmla="*/ 279082 h 481012"/>
                  <a:gd name="connsiteX82" fmla="*/ 521589 w 3474435"/>
                  <a:gd name="connsiteY82" fmla="*/ 279082 h 481012"/>
                  <a:gd name="connsiteX83" fmla="*/ 521589 w 3474435"/>
                  <a:gd name="connsiteY83" fmla="*/ 285083 h 481012"/>
                  <a:gd name="connsiteX84" fmla="*/ 536258 w 3474435"/>
                  <a:gd name="connsiteY84" fmla="*/ 285083 h 481012"/>
                  <a:gd name="connsiteX85" fmla="*/ 536258 w 3474435"/>
                  <a:gd name="connsiteY85" fmla="*/ 291179 h 481012"/>
                  <a:gd name="connsiteX86" fmla="*/ 565785 w 3474435"/>
                  <a:gd name="connsiteY86" fmla="*/ 291179 h 481012"/>
                  <a:gd name="connsiteX87" fmla="*/ 565785 w 3474435"/>
                  <a:gd name="connsiteY87" fmla="*/ 297275 h 481012"/>
                  <a:gd name="connsiteX88" fmla="*/ 567881 w 3474435"/>
                  <a:gd name="connsiteY88" fmla="*/ 297275 h 481012"/>
                  <a:gd name="connsiteX89" fmla="*/ 567881 w 3474435"/>
                  <a:gd name="connsiteY89" fmla="*/ 303276 h 481012"/>
                  <a:gd name="connsiteX90" fmla="*/ 590931 w 3474435"/>
                  <a:gd name="connsiteY90" fmla="*/ 303276 h 481012"/>
                  <a:gd name="connsiteX91" fmla="*/ 590931 w 3474435"/>
                  <a:gd name="connsiteY91" fmla="*/ 309372 h 481012"/>
                  <a:gd name="connsiteX92" fmla="*/ 603600 w 3474435"/>
                  <a:gd name="connsiteY92" fmla="*/ 309372 h 481012"/>
                  <a:gd name="connsiteX93" fmla="*/ 603600 w 3474435"/>
                  <a:gd name="connsiteY93" fmla="*/ 315468 h 481012"/>
                  <a:gd name="connsiteX94" fmla="*/ 639318 w 3474435"/>
                  <a:gd name="connsiteY94" fmla="*/ 315468 h 481012"/>
                  <a:gd name="connsiteX95" fmla="*/ 639318 w 3474435"/>
                  <a:gd name="connsiteY95" fmla="*/ 321564 h 481012"/>
                  <a:gd name="connsiteX96" fmla="*/ 755047 w 3474435"/>
                  <a:gd name="connsiteY96" fmla="*/ 321564 h 481012"/>
                  <a:gd name="connsiteX97" fmla="*/ 755047 w 3474435"/>
                  <a:gd name="connsiteY97" fmla="*/ 327565 h 481012"/>
                  <a:gd name="connsiteX98" fmla="*/ 792861 w 3474435"/>
                  <a:gd name="connsiteY98" fmla="*/ 327565 h 481012"/>
                  <a:gd name="connsiteX99" fmla="*/ 792861 w 3474435"/>
                  <a:gd name="connsiteY99" fmla="*/ 333756 h 481012"/>
                  <a:gd name="connsiteX100" fmla="*/ 845439 w 3474435"/>
                  <a:gd name="connsiteY100" fmla="*/ 333756 h 481012"/>
                  <a:gd name="connsiteX101" fmla="*/ 845439 w 3474435"/>
                  <a:gd name="connsiteY101" fmla="*/ 339852 h 481012"/>
                  <a:gd name="connsiteX102" fmla="*/ 864394 w 3474435"/>
                  <a:gd name="connsiteY102" fmla="*/ 339852 h 481012"/>
                  <a:gd name="connsiteX103" fmla="*/ 864394 w 3474435"/>
                  <a:gd name="connsiteY103" fmla="*/ 345948 h 481012"/>
                  <a:gd name="connsiteX104" fmla="*/ 874872 w 3474435"/>
                  <a:gd name="connsiteY104" fmla="*/ 345948 h 481012"/>
                  <a:gd name="connsiteX105" fmla="*/ 874872 w 3474435"/>
                  <a:gd name="connsiteY105" fmla="*/ 352139 h 481012"/>
                  <a:gd name="connsiteX106" fmla="*/ 908590 w 3474435"/>
                  <a:gd name="connsiteY106" fmla="*/ 352139 h 481012"/>
                  <a:gd name="connsiteX107" fmla="*/ 908590 w 3474435"/>
                  <a:gd name="connsiteY107" fmla="*/ 358235 h 481012"/>
                  <a:gd name="connsiteX108" fmla="*/ 914877 w 3474435"/>
                  <a:gd name="connsiteY108" fmla="*/ 358235 h 481012"/>
                  <a:gd name="connsiteX109" fmla="*/ 914877 w 3474435"/>
                  <a:gd name="connsiteY109" fmla="*/ 364331 h 481012"/>
                  <a:gd name="connsiteX110" fmla="*/ 929545 w 3474435"/>
                  <a:gd name="connsiteY110" fmla="*/ 364331 h 481012"/>
                  <a:gd name="connsiteX111" fmla="*/ 929545 w 3474435"/>
                  <a:gd name="connsiteY111" fmla="*/ 370427 h 481012"/>
                  <a:gd name="connsiteX112" fmla="*/ 942213 w 3474435"/>
                  <a:gd name="connsiteY112" fmla="*/ 370427 h 481012"/>
                  <a:gd name="connsiteX113" fmla="*/ 942213 w 3474435"/>
                  <a:gd name="connsiteY113" fmla="*/ 376618 h 481012"/>
                  <a:gd name="connsiteX114" fmla="*/ 967455 w 3474435"/>
                  <a:gd name="connsiteY114" fmla="*/ 376618 h 481012"/>
                  <a:gd name="connsiteX115" fmla="*/ 967455 w 3474435"/>
                  <a:gd name="connsiteY115" fmla="*/ 382714 h 481012"/>
                  <a:gd name="connsiteX116" fmla="*/ 1196721 w 3474435"/>
                  <a:gd name="connsiteY116" fmla="*/ 382714 h 481012"/>
                  <a:gd name="connsiteX117" fmla="*/ 1196721 w 3474435"/>
                  <a:gd name="connsiteY117" fmla="*/ 388906 h 481012"/>
                  <a:gd name="connsiteX118" fmla="*/ 1310259 w 3474435"/>
                  <a:gd name="connsiteY118" fmla="*/ 388906 h 481012"/>
                  <a:gd name="connsiteX119" fmla="*/ 1310259 w 3474435"/>
                  <a:gd name="connsiteY119" fmla="*/ 395097 h 481012"/>
                  <a:gd name="connsiteX120" fmla="*/ 1579436 w 3474435"/>
                  <a:gd name="connsiteY120" fmla="*/ 395097 h 481012"/>
                  <a:gd name="connsiteX121" fmla="*/ 1579436 w 3474435"/>
                  <a:gd name="connsiteY121" fmla="*/ 401383 h 481012"/>
                  <a:gd name="connsiteX122" fmla="*/ 1653064 w 3474435"/>
                  <a:gd name="connsiteY122" fmla="*/ 401383 h 481012"/>
                  <a:gd name="connsiteX123" fmla="*/ 1653064 w 3474435"/>
                  <a:gd name="connsiteY123" fmla="*/ 407670 h 481012"/>
                  <a:gd name="connsiteX124" fmla="*/ 1732979 w 3474435"/>
                  <a:gd name="connsiteY124" fmla="*/ 407670 h 481012"/>
                  <a:gd name="connsiteX125" fmla="*/ 1732979 w 3474435"/>
                  <a:gd name="connsiteY125" fmla="*/ 413956 h 481012"/>
                  <a:gd name="connsiteX126" fmla="*/ 1894904 w 3474435"/>
                  <a:gd name="connsiteY126" fmla="*/ 413956 h 481012"/>
                  <a:gd name="connsiteX127" fmla="*/ 1894904 w 3474435"/>
                  <a:gd name="connsiteY127" fmla="*/ 420433 h 481012"/>
                  <a:gd name="connsiteX128" fmla="*/ 1911763 w 3474435"/>
                  <a:gd name="connsiteY128" fmla="*/ 420433 h 481012"/>
                  <a:gd name="connsiteX129" fmla="*/ 1911763 w 3474435"/>
                  <a:gd name="connsiteY129" fmla="*/ 426815 h 481012"/>
                  <a:gd name="connsiteX130" fmla="*/ 2029587 w 3474435"/>
                  <a:gd name="connsiteY130" fmla="*/ 426815 h 481012"/>
                  <a:gd name="connsiteX131" fmla="*/ 2029587 w 3474435"/>
                  <a:gd name="connsiteY131" fmla="*/ 433292 h 481012"/>
                  <a:gd name="connsiteX132" fmla="*/ 2122075 w 3474435"/>
                  <a:gd name="connsiteY132" fmla="*/ 433292 h 481012"/>
                  <a:gd name="connsiteX133" fmla="*/ 2122075 w 3474435"/>
                  <a:gd name="connsiteY133" fmla="*/ 439674 h 481012"/>
                  <a:gd name="connsiteX134" fmla="*/ 2141030 w 3474435"/>
                  <a:gd name="connsiteY134" fmla="*/ 439674 h 481012"/>
                  <a:gd name="connsiteX135" fmla="*/ 2141030 w 3474435"/>
                  <a:gd name="connsiteY135" fmla="*/ 446151 h 481012"/>
                  <a:gd name="connsiteX136" fmla="*/ 2994851 w 3474435"/>
                  <a:gd name="connsiteY136" fmla="*/ 446151 h 481012"/>
                  <a:gd name="connsiteX137" fmla="*/ 2994851 w 3474435"/>
                  <a:gd name="connsiteY137" fmla="*/ 481012 h 481012"/>
                  <a:gd name="connsiteX138" fmla="*/ 3474435 w 3474435"/>
                  <a:gd name="connsiteY138" fmla="*/ 481012 h 481012"/>
                  <a:gd name="connsiteX0" fmla="*/ 0 w 3474435"/>
                  <a:gd name="connsiteY0" fmla="*/ 0 h 474916"/>
                  <a:gd name="connsiteX1" fmla="*/ 14669 w 3474435"/>
                  <a:gd name="connsiteY1" fmla="*/ 0 h 474916"/>
                  <a:gd name="connsiteX2" fmla="*/ 14669 w 3474435"/>
                  <a:gd name="connsiteY2" fmla="*/ 6001 h 474916"/>
                  <a:gd name="connsiteX3" fmla="*/ 18955 w 3474435"/>
                  <a:gd name="connsiteY3" fmla="*/ 6001 h 474916"/>
                  <a:gd name="connsiteX4" fmla="*/ 18955 w 3474435"/>
                  <a:gd name="connsiteY4" fmla="*/ 12097 h 474916"/>
                  <a:gd name="connsiteX5" fmla="*/ 29432 w 3474435"/>
                  <a:gd name="connsiteY5" fmla="*/ 12097 h 474916"/>
                  <a:gd name="connsiteX6" fmla="*/ 29432 w 3474435"/>
                  <a:gd name="connsiteY6" fmla="*/ 18193 h 474916"/>
                  <a:gd name="connsiteX7" fmla="*/ 37815 w 3474435"/>
                  <a:gd name="connsiteY7" fmla="*/ 18193 h 474916"/>
                  <a:gd name="connsiteX8" fmla="*/ 37815 w 3474435"/>
                  <a:gd name="connsiteY8" fmla="*/ 24289 h 474916"/>
                  <a:gd name="connsiteX9" fmla="*/ 52578 w 3474435"/>
                  <a:gd name="connsiteY9" fmla="*/ 24289 h 474916"/>
                  <a:gd name="connsiteX10" fmla="*/ 52578 w 3474435"/>
                  <a:gd name="connsiteY10" fmla="*/ 30289 h 474916"/>
                  <a:gd name="connsiteX11" fmla="*/ 56769 w 3474435"/>
                  <a:gd name="connsiteY11" fmla="*/ 30289 h 474916"/>
                  <a:gd name="connsiteX12" fmla="*/ 56769 w 3474435"/>
                  <a:gd name="connsiteY12" fmla="*/ 36385 h 474916"/>
                  <a:gd name="connsiteX13" fmla="*/ 60960 w 3474435"/>
                  <a:gd name="connsiteY13" fmla="*/ 36385 h 474916"/>
                  <a:gd name="connsiteX14" fmla="*/ 60960 w 3474435"/>
                  <a:gd name="connsiteY14" fmla="*/ 42481 h 474916"/>
                  <a:gd name="connsiteX15" fmla="*/ 73629 w 3474435"/>
                  <a:gd name="connsiteY15" fmla="*/ 42481 h 474916"/>
                  <a:gd name="connsiteX16" fmla="*/ 73629 w 3474435"/>
                  <a:gd name="connsiteY16" fmla="*/ 48482 h 474916"/>
                  <a:gd name="connsiteX17" fmla="*/ 103061 w 3474435"/>
                  <a:gd name="connsiteY17" fmla="*/ 48482 h 474916"/>
                  <a:gd name="connsiteX18" fmla="*/ 103061 w 3474435"/>
                  <a:gd name="connsiteY18" fmla="*/ 54578 h 474916"/>
                  <a:gd name="connsiteX19" fmla="*/ 111443 w 3474435"/>
                  <a:gd name="connsiteY19" fmla="*/ 54578 h 474916"/>
                  <a:gd name="connsiteX20" fmla="*/ 111443 w 3474435"/>
                  <a:gd name="connsiteY20" fmla="*/ 60674 h 474916"/>
                  <a:gd name="connsiteX21" fmla="*/ 113538 w 3474435"/>
                  <a:gd name="connsiteY21" fmla="*/ 60674 h 474916"/>
                  <a:gd name="connsiteX22" fmla="*/ 113538 w 3474435"/>
                  <a:gd name="connsiteY22" fmla="*/ 66675 h 474916"/>
                  <a:gd name="connsiteX23" fmla="*/ 128302 w 3474435"/>
                  <a:gd name="connsiteY23" fmla="*/ 66675 h 474916"/>
                  <a:gd name="connsiteX24" fmla="*/ 128302 w 3474435"/>
                  <a:gd name="connsiteY24" fmla="*/ 78867 h 474916"/>
                  <a:gd name="connsiteX25" fmla="*/ 130398 w 3474435"/>
                  <a:gd name="connsiteY25" fmla="*/ 78867 h 474916"/>
                  <a:gd name="connsiteX26" fmla="*/ 130398 w 3474435"/>
                  <a:gd name="connsiteY26" fmla="*/ 84868 h 474916"/>
                  <a:gd name="connsiteX27" fmla="*/ 136684 w 3474435"/>
                  <a:gd name="connsiteY27" fmla="*/ 84868 h 474916"/>
                  <a:gd name="connsiteX28" fmla="*/ 136684 w 3474435"/>
                  <a:gd name="connsiteY28" fmla="*/ 90964 h 474916"/>
                  <a:gd name="connsiteX29" fmla="*/ 140875 w 3474435"/>
                  <a:gd name="connsiteY29" fmla="*/ 90964 h 474916"/>
                  <a:gd name="connsiteX30" fmla="*/ 140875 w 3474435"/>
                  <a:gd name="connsiteY30" fmla="*/ 97060 h 474916"/>
                  <a:gd name="connsiteX31" fmla="*/ 157734 w 3474435"/>
                  <a:gd name="connsiteY31" fmla="*/ 97060 h 474916"/>
                  <a:gd name="connsiteX32" fmla="*/ 157734 w 3474435"/>
                  <a:gd name="connsiteY32" fmla="*/ 109156 h 474916"/>
                  <a:gd name="connsiteX33" fmla="*/ 161925 w 3474435"/>
                  <a:gd name="connsiteY33" fmla="*/ 109156 h 474916"/>
                  <a:gd name="connsiteX34" fmla="*/ 161925 w 3474435"/>
                  <a:gd name="connsiteY34" fmla="*/ 115252 h 474916"/>
                  <a:gd name="connsiteX35" fmla="*/ 185071 w 3474435"/>
                  <a:gd name="connsiteY35" fmla="*/ 115252 h 474916"/>
                  <a:gd name="connsiteX36" fmla="*/ 185071 w 3474435"/>
                  <a:gd name="connsiteY36" fmla="*/ 121348 h 474916"/>
                  <a:gd name="connsiteX37" fmla="*/ 189262 w 3474435"/>
                  <a:gd name="connsiteY37" fmla="*/ 121348 h 474916"/>
                  <a:gd name="connsiteX38" fmla="*/ 189262 w 3474435"/>
                  <a:gd name="connsiteY38" fmla="*/ 127349 h 474916"/>
                  <a:gd name="connsiteX39" fmla="*/ 195549 w 3474435"/>
                  <a:gd name="connsiteY39" fmla="*/ 127349 h 474916"/>
                  <a:gd name="connsiteX40" fmla="*/ 195549 w 3474435"/>
                  <a:gd name="connsiteY40" fmla="*/ 139541 h 474916"/>
                  <a:gd name="connsiteX41" fmla="*/ 214503 w 3474435"/>
                  <a:gd name="connsiteY41" fmla="*/ 139541 h 474916"/>
                  <a:gd name="connsiteX42" fmla="*/ 214503 w 3474435"/>
                  <a:gd name="connsiteY42" fmla="*/ 145542 h 474916"/>
                  <a:gd name="connsiteX43" fmla="*/ 222885 w 3474435"/>
                  <a:gd name="connsiteY43" fmla="*/ 145542 h 474916"/>
                  <a:gd name="connsiteX44" fmla="*/ 222885 w 3474435"/>
                  <a:gd name="connsiteY44" fmla="*/ 151638 h 474916"/>
                  <a:gd name="connsiteX45" fmla="*/ 235554 w 3474435"/>
                  <a:gd name="connsiteY45" fmla="*/ 151638 h 474916"/>
                  <a:gd name="connsiteX46" fmla="*/ 235554 w 3474435"/>
                  <a:gd name="connsiteY46" fmla="*/ 157734 h 474916"/>
                  <a:gd name="connsiteX47" fmla="*/ 252413 w 3474435"/>
                  <a:gd name="connsiteY47" fmla="*/ 157734 h 474916"/>
                  <a:gd name="connsiteX48" fmla="*/ 252413 w 3474435"/>
                  <a:gd name="connsiteY48" fmla="*/ 163735 h 474916"/>
                  <a:gd name="connsiteX49" fmla="*/ 279750 w 3474435"/>
                  <a:gd name="connsiteY49" fmla="*/ 163735 h 474916"/>
                  <a:gd name="connsiteX50" fmla="*/ 279750 w 3474435"/>
                  <a:gd name="connsiteY50" fmla="*/ 169831 h 474916"/>
                  <a:gd name="connsiteX51" fmla="*/ 281845 w 3474435"/>
                  <a:gd name="connsiteY51" fmla="*/ 169831 h 474916"/>
                  <a:gd name="connsiteX52" fmla="*/ 281845 w 3474435"/>
                  <a:gd name="connsiteY52" fmla="*/ 175927 h 474916"/>
                  <a:gd name="connsiteX53" fmla="*/ 292322 w 3474435"/>
                  <a:gd name="connsiteY53" fmla="*/ 175927 h 474916"/>
                  <a:gd name="connsiteX54" fmla="*/ 292322 w 3474435"/>
                  <a:gd name="connsiteY54" fmla="*/ 181927 h 474916"/>
                  <a:gd name="connsiteX55" fmla="*/ 298609 w 3474435"/>
                  <a:gd name="connsiteY55" fmla="*/ 181927 h 474916"/>
                  <a:gd name="connsiteX56" fmla="*/ 298609 w 3474435"/>
                  <a:gd name="connsiteY56" fmla="*/ 194119 h 474916"/>
                  <a:gd name="connsiteX57" fmla="*/ 307086 w 3474435"/>
                  <a:gd name="connsiteY57" fmla="*/ 194119 h 474916"/>
                  <a:gd name="connsiteX58" fmla="*/ 307086 w 3474435"/>
                  <a:gd name="connsiteY58" fmla="*/ 200120 h 474916"/>
                  <a:gd name="connsiteX59" fmla="*/ 313373 w 3474435"/>
                  <a:gd name="connsiteY59" fmla="*/ 200120 h 474916"/>
                  <a:gd name="connsiteX60" fmla="*/ 313373 w 3474435"/>
                  <a:gd name="connsiteY60" fmla="*/ 212312 h 474916"/>
                  <a:gd name="connsiteX61" fmla="*/ 315468 w 3474435"/>
                  <a:gd name="connsiteY61" fmla="*/ 212312 h 474916"/>
                  <a:gd name="connsiteX62" fmla="*/ 315468 w 3474435"/>
                  <a:gd name="connsiteY62" fmla="*/ 218408 h 474916"/>
                  <a:gd name="connsiteX63" fmla="*/ 328041 w 3474435"/>
                  <a:gd name="connsiteY63" fmla="*/ 218408 h 474916"/>
                  <a:gd name="connsiteX64" fmla="*/ 328041 w 3474435"/>
                  <a:gd name="connsiteY64" fmla="*/ 224409 h 474916"/>
                  <a:gd name="connsiteX65" fmla="*/ 351187 w 3474435"/>
                  <a:gd name="connsiteY65" fmla="*/ 224409 h 474916"/>
                  <a:gd name="connsiteX66" fmla="*/ 351187 w 3474435"/>
                  <a:gd name="connsiteY66" fmla="*/ 230505 h 474916"/>
                  <a:gd name="connsiteX67" fmla="*/ 357569 w 3474435"/>
                  <a:gd name="connsiteY67" fmla="*/ 230505 h 474916"/>
                  <a:gd name="connsiteX68" fmla="*/ 357569 w 3474435"/>
                  <a:gd name="connsiteY68" fmla="*/ 236601 h 474916"/>
                  <a:gd name="connsiteX69" fmla="*/ 365951 w 3474435"/>
                  <a:gd name="connsiteY69" fmla="*/ 236601 h 474916"/>
                  <a:gd name="connsiteX70" fmla="*/ 365951 w 3474435"/>
                  <a:gd name="connsiteY70" fmla="*/ 242602 h 474916"/>
                  <a:gd name="connsiteX71" fmla="*/ 374333 w 3474435"/>
                  <a:gd name="connsiteY71" fmla="*/ 242602 h 474916"/>
                  <a:gd name="connsiteX72" fmla="*/ 374333 w 3474435"/>
                  <a:gd name="connsiteY72" fmla="*/ 248698 h 474916"/>
                  <a:gd name="connsiteX73" fmla="*/ 378524 w 3474435"/>
                  <a:gd name="connsiteY73" fmla="*/ 248698 h 474916"/>
                  <a:gd name="connsiteX74" fmla="*/ 378524 w 3474435"/>
                  <a:gd name="connsiteY74" fmla="*/ 254794 h 474916"/>
                  <a:gd name="connsiteX75" fmla="*/ 452152 w 3474435"/>
                  <a:gd name="connsiteY75" fmla="*/ 254794 h 474916"/>
                  <a:gd name="connsiteX76" fmla="*/ 452152 w 3474435"/>
                  <a:gd name="connsiteY76" fmla="*/ 260794 h 474916"/>
                  <a:gd name="connsiteX77" fmla="*/ 473202 w 3474435"/>
                  <a:gd name="connsiteY77" fmla="*/ 260794 h 474916"/>
                  <a:gd name="connsiteX78" fmla="*/ 473202 w 3474435"/>
                  <a:gd name="connsiteY78" fmla="*/ 266890 h 474916"/>
                  <a:gd name="connsiteX79" fmla="*/ 479489 w 3474435"/>
                  <a:gd name="connsiteY79" fmla="*/ 266890 h 474916"/>
                  <a:gd name="connsiteX80" fmla="*/ 479489 w 3474435"/>
                  <a:gd name="connsiteY80" fmla="*/ 272986 h 474916"/>
                  <a:gd name="connsiteX81" fmla="*/ 521589 w 3474435"/>
                  <a:gd name="connsiteY81" fmla="*/ 272986 h 474916"/>
                  <a:gd name="connsiteX82" fmla="*/ 521589 w 3474435"/>
                  <a:gd name="connsiteY82" fmla="*/ 278987 h 474916"/>
                  <a:gd name="connsiteX83" fmla="*/ 536258 w 3474435"/>
                  <a:gd name="connsiteY83" fmla="*/ 278987 h 474916"/>
                  <a:gd name="connsiteX84" fmla="*/ 536258 w 3474435"/>
                  <a:gd name="connsiteY84" fmla="*/ 285083 h 474916"/>
                  <a:gd name="connsiteX85" fmla="*/ 565785 w 3474435"/>
                  <a:gd name="connsiteY85" fmla="*/ 285083 h 474916"/>
                  <a:gd name="connsiteX86" fmla="*/ 565785 w 3474435"/>
                  <a:gd name="connsiteY86" fmla="*/ 291179 h 474916"/>
                  <a:gd name="connsiteX87" fmla="*/ 567881 w 3474435"/>
                  <a:gd name="connsiteY87" fmla="*/ 291179 h 474916"/>
                  <a:gd name="connsiteX88" fmla="*/ 567881 w 3474435"/>
                  <a:gd name="connsiteY88" fmla="*/ 297180 h 474916"/>
                  <a:gd name="connsiteX89" fmla="*/ 590931 w 3474435"/>
                  <a:gd name="connsiteY89" fmla="*/ 297180 h 474916"/>
                  <a:gd name="connsiteX90" fmla="*/ 590931 w 3474435"/>
                  <a:gd name="connsiteY90" fmla="*/ 303276 h 474916"/>
                  <a:gd name="connsiteX91" fmla="*/ 603600 w 3474435"/>
                  <a:gd name="connsiteY91" fmla="*/ 303276 h 474916"/>
                  <a:gd name="connsiteX92" fmla="*/ 603600 w 3474435"/>
                  <a:gd name="connsiteY92" fmla="*/ 309372 h 474916"/>
                  <a:gd name="connsiteX93" fmla="*/ 639318 w 3474435"/>
                  <a:gd name="connsiteY93" fmla="*/ 309372 h 474916"/>
                  <a:gd name="connsiteX94" fmla="*/ 639318 w 3474435"/>
                  <a:gd name="connsiteY94" fmla="*/ 315468 h 474916"/>
                  <a:gd name="connsiteX95" fmla="*/ 755047 w 3474435"/>
                  <a:gd name="connsiteY95" fmla="*/ 315468 h 474916"/>
                  <a:gd name="connsiteX96" fmla="*/ 755047 w 3474435"/>
                  <a:gd name="connsiteY96" fmla="*/ 321469 h 474916"/>
                  <a:gd name="connsiteX97" fmla="*/ 792861 w 3474435"/>
                  <a:gd name="connsiteY97" fmla="*/ 321469 h 474916"/>
                  <a:gd name="connsiteX98" fmla="*/ 792861 w 3474435"/>
                  <a:gd name="connsiteY98" fmla="*/ 327660 h 474916"/>
                  <a:gd name="connsiteX99" fmla="*/ 845439 w 3474435"/>
                  <a:gd name="connsiteY99" fmla="*/ 327660 h 474916"/>
                  <a:gd name="connsiteX100" fmla="*/ 845439 w 3474435"/>
                  <a:gd name="connsiteY100" fmla="*/ 333756 h 474916"/>
                  <a:gd name="connsiteX101" fmla="*/ 864394 w 3474435"/>
                  <a:gd name="connsiteY101" fmla="*/ 333756 h 474916"/>
                  <a:gd name="connsiteX102" fmla="*/ 864394 w 3474435"/>
                  <a:gd name="connsiteY102" fmla="*/ 339852 h 474916"/>
                  <a:gd name="connsiteX103" fmla="*/ 874872 w 3474435"/>
                  <a:gd name="connsiteY103" fmla="*/ 339852 h 474916"/>
                  <a:gd name="connsiteX104" fmla="*/ 874872 w 3474435"/>
                  <a:gd name="connsiteY104" fmla="*/ 346043 h 474916"/>
                  <a:gd name="connsiteX105" fmla="*/ 908590 w 3474435"/>
                  <a:gd name="connsiteY105" fmla="*/ 346043 h 474916"/>
                  <a:gd name="connsiteX106" fmla="*/ 908590 w 3474435"/>
                  <a:gd name="connsiteY106" fmla="*/ 352139 h 474916"/>
                  <a:gd name="connsiteX107" fmla="*/ 914877 w 3474435"/>
                  <a:gd name="connsiteY107" fmla="*/ 352139 h 474916"/>
                  <a:gd name="connsiteX108" fmla="*/ 914877 w 3474435"/>
                  <a:gd name="connsiteY108" fmla="*/ 358235 h 474916"/>
                  <a:gd name="connsiteX109" fmla="*/ 929545 w 3474435"/>
                  <a:gd name="connsiteY109" fmla="*/ 358235 h 474916"/>
                  <a:gd name="connsiteX110" fmla="*/ 929545 w 3474435"/>
                  <a:gd name="connsiteY110" fmla="*/ 364331 h 474916"/>
                  <a:gd name="connsiteX111" fmla="*/ 942213 w 3474435"/>
                  <a:gd name="connsiteY111" fmla="*/ 364331 h 474916"/>
                  <a:gd name="connsiteX112" fmla="*/ 942213 w 3474435"/>
                  <a:gd name="connsiteY112" fmla="*/ 370522 h 474916"/>
                  <a:gd name="connsiteX113" fmla="*/ 967455 w 3474435"/>
                  <a:gd name="connsiteY113" fmla="*/ 370522 h 474916"/>
                  <a:gd name="connsiteX114" fmla="*/ 967455 w 3474435"/>
                  <a:gd name="connsiteY114" fmla="*/ 376618 h 474916"/>
                  <a:gd name="connsiteX115" fmla="*/ 1196721 w 3474435"/>
                  <a:gd name="connsiteY115" fmla="*/ 376618 h 474916"/>
                  <a:gd name="connsiteX116" fmla="*/ 1196721 w 3474435"/>
                  <a:gd name="connsiteY116" fmla="*/ 382810 h 474916"/>
                  <a:gd name="connsiteX117" fmla="*/ 1310259 w 3474435"/>
                  <a:gd name="connsiteY117" fmla="*/ 382810 h 474916"/>
                  <a:gd name="connsiteX118" fmla="*/ 1310259 w 3474435"/>
                  <a:gd name="connsiteY118" fmla="*/ 389001 h 474916"/>
                  <a:gd name="connsiteX119" fmla="*/ 1579436 w 3474435"/>
                  <a:gd name="connsiteY119" fmla="*/ 389001 h 474916"/>
                  <a:gd name="connsiteX120" fmla="*/ 1579436 w 3474435"/>
                  <a:gd name="connsiteY120" fmla="*/ 395287 h 474916"/>
                  <a:gd name="connsiteX121" fmla="*/ 1653064 w 3474435"/>
                  <a:gd name="connsiteY121" fmla="*/ 395287 h 474916"/>
                  <a:gd name="connsiteX122" fmla="*/ 1653064 w 3474435"/>
                  <a:gd name="connsiteY122" fmla="*/ 401574 h 474916"/>
                  <a:gd name="connsiteX123" fmla="*/ 1732979 w 3474435"/>
                  <a:gd name="connsiteY123" fmla="*/ 401574 h 474916"/>
                  <a:gd name="connsiteX124" fmla="*/ 1732979 w 3474435"/>
                  <a:gd name="connsiteY124" fmla="*/ 407860 h 474916"/>
                  <a:gd name="connsiteX125" fmla="*/ 1894904 w 3474435"/>
                  <a:gd name="connsiteY125" fmla="*/ 407860 h 474916"/>
                  <a:gd name="connsiteX126" fmla="*/ 1894904 w 3474435"/>
                  <a:gd name="connsiteY126" fmla="*/ 414337 h 474916"/>
                  <a:gd name="connsiteX127" fmla="*/ 1911763 w 3474435"/>
                  <a:gd name="connsiteY127" fmla="*/ 414337 h 474916"/>
                  <a:gd name="connsiteX128" fmla="*/ 1911763 w 3474435"/>
                  <a:gd name="connsiteY128" fmla="*/ 420719 h 474916"/>
                  <a:gd name="connsiteX129" fmla="*/ 2029587 w 3474435"/>
                  <a:gd name="connsiteY129" fmla="*/ 420719 h 474916"/>
                  <a:gd name="connsiteX130" fmla="*/ 2029587 w 3474435"/>
                  <a:gd name="connsiteY130" fmla="*/ 427196 h 474916"/>
                  <a:gd name="connsiteX131" fmla="*/ 2122075 w 3474435"/>
                  <a:gd name="connsiteY131" fmla="*/ 427196 h 474916"/>
                  <a:gd name="connsiteX132" fmla="*/ 2122075 w 3474435"/>
                  <a:gd name="connsiteY132" fmla="*/ 433578 h 474916"/>
                  <a:gd name="connsiteX133" fmla="*/ 2141030 w 3474435"/>
                  <a:gd name="connsiteY133" fmla="*/ 433578 h 474916"/>
                  <a:gd name="connsiteX134" fmla="*/ 2141030 w 3474435"/>
                  <a:gd name="connsiteY134" fmla="*/ 440055 h 474916"/>
                  <a:gd name="connsiteX135" fmla="*/ 2994851 w 3474435"/>
                  <a:gd name="connsiteY135" fmla="*/ 440055 h 474916"/>
                  <a:gd name="connsiteX136" fmla="*/ 2994851 w 3474435"/>
                  <a:gd name="connsiteY136" fmla="*/ 474916 h 474916"/>
                  <a:gd name="connsiteX137" fmla="*/ 3474435 w 3474435"/>
                  <a:gd name="connsiteY137" fmla="*/ 474916 h 474916"/>
                  <a:gd name="connsiteX0" fmla="*/ 0 w 3474435"/>
                  <a:gd name="connsiteY0" fmla="*/ 0 h 474916"/>
                  <a:gd name="connsiteX1" fmla="*/ 14669 w 3474435"/>
                  <a:gd name="connsiteY1" fmla="*/ 6001 h 474916"/>
                  <a:gd name="connsiteX2" fmla="*/ 18955 w 3474435"/>
                  <a:gd name="connsiteY2" fmla="*/ 6001 h 474916"/>
                  <a:gd name="connsiteX3" fmla="*/ 18955 w 3474435"/>
                  <a:gd name="connsiteY3" fmla="*/ 12097 h 474916"/>
                  <a:gd name="connsiteX4" fmla="*/ 29432 w 3474435"/>
                  <a:gd name="connsiteY4" fmla="*/ 12097 h 474916"/>
                  <a:gd name="connsiteX5" fmla="*/ 29432 w 3474435"/>
                  <a:gd name="connsiteY5" fmla="*/ 18193 h 474916"/>
                  <a:gd name="connsiteX6" fmla="*/ 37815 w 3474435"/>
                  <a:gd name="connsiteY6" fmla="*/ 18193 h 474916"/>
                  <a:gd name="connsiteX7" fmla="*/ 37815 w 3474435"/>
                  <a:gd name="connsiteY7" fmla="*/ 24289 h 474916"/>
                  <a:gd name="connsiteX8" fmla="*/ 52578 w 3474435"/>
                  <a:gd name="connsiteY8" fmla="*/ 24289 h 474916"/>
                  <a:gd name="connsiteX9" fmla="*/ 52578 w 3474435"/>
                  <a:gd name="connsiteY9" fmla="*/ 30289 h 474916"/>
                  <a:gd name="connsiteX10" fmla="*/ 56769 w 3474435"/>
                  <a:gd name="connsiteY10" fmla="*/ 30289 h 474916"/>
                  <a:gd name="connsiteX11" fmla="*/ 56769 w 3474435"/>
                  <a:gd name="connsiteY11" fmla="*/ 36385 h 474916"/>
                  <a:gd name="connsiteX12" fmla="*/ 60960 w 3474435"/>
                  <a:gd name="connsiteY12" fmla="*/ 36385 h 474916"/>
                  <a:gd name="connsiteX13" fmla="*/ 60960 w 3474435"/>
                  <a:gd name="connsiteY13" fmla="*/ 42481 h 474916"/>
                  <a:gd name="connsiteX14" fmla="*/ 73629 w 3474435"/>
                  <a:gd name="connsiteY14" fmla="*/ 42481 h 474916"/>
                  <a:gd name="connsiteX15" fmla="*/ 73629 w 3474435"/>
                  <a:gd name="connsiteY15" fmla="*/ 48482 h 474916"/>
                  <a:gd name="connsiteX16" fmla="*/ 103061 w 3474435"/>
                  <a:gd name="connsiteY16" fmla="*/ 48482 h 474916"/>
                  <a:gd name="connsiteX17" fmla="*/ 103061 w 3474435"/>
                  <a:gd name="connsiteY17" fmla="*/ 54578 h 474916"/>
                  <a:gd name="connsiteX18" fmla="*/ 111443 w 3474435"/>
                  <a:gd name="connsiteY18" fmla="*/ 54578 h 474916"/>
                  <a:gd name="connsiteX19" fmla="*/ 111443 w 3474435"/>
                  <a:gd name="connsiteY19" fmla="*/ 60674 h 474916"/>
                  <a:gd name="connsiteX20" fmla="*/ 113538 w 3474435"/>
                  <a:gd name="connsiteY20" fmla="*/ 60674 h 474916"/>
                  <a:gd name="connsiteX21" fmla="*/ 113538 w 3474435"/>
                  <a:gd name="connsiteY21" fmla="*/ 66675 h 474916"/>
                  <a:gd name="connsiteX22" fmla="*/ 128302 w 3474435"/>
                  <a:gd name="connsiteY22" fmla="*/ 66675 h 474916"/>
                  <a:gd name="connsiteX23" fmla="*/ 128302 w 3474435"/>
                  <a:gd name="connsiteY23" fmla="*/ 78867 h 474916"/>
                  <a:gd name="connsiteX24" fmla="*/ 130398 w 3474435"/>
                  <a:gd name="connsiteY24" fmla="*/ 78867 h 474916"/>
                  <a:gd name="connsiteX25" fmla="*/ 130398 w 3474435"/>
                  <a:gd name="connsiteY25" fmla="*/ 84868 h 474916"/>
                  <a:gd name="connsiteX26" fmla="*/ 136684 w 3474435"/>
                  <a:gd name="connsiteY26" fmla="*/ 84868 h 474916"/>
                  <a:gd name="connsiteX27" fmla="*/ 136684 w 3474435"/>
                  <a:gd name="connsiteY27" fmla="*/ 90964 h 474916"/>
                  <a:gd name="connsiteX28" fmla="*/ 140875 w 3474435"/>
                  <a:gd name="connsiteY28" fmla="*/ 90964 h 474916"/>
                  <a:gd name="connsiteX29" fmla="*/ 140875 w 3474435"/>
                  <a:gd name="connsiteY29" fmla="*/ 97060 h 474916"/>
                  <a:gd name="connsiteX30" fmla="*/ 157734 w 3474435"/>
                  <a:gd name="connsiteY30" fmla="*/ 97060 h 474916"/>
                  <a:gd name="connsiteX31" fmla="*/ 157734 w 3474435"/>
                  <a:gd name="connsiteY31" fmla="*/ 109156 h 474916"/>
                  <a:gd name="connsiteX32" fmla="*/ 161925 w 3474435"/>
                  <a:gd name="connsiteY32" fmla="*/ 109156 h 474916"/>
                  <a:gd name="connsiteX33" fmla="*/ 161925 w 3474435"/>
                  <a:gd name="connsiteY33" fmla="*/ 115252 h 474916"/>
                  <a:gd name="connsiteX34" fmla="*/ 185071 w 3474435"/>
                  <a:gd name="connsiteY34" fmla="*/ 115252 h 474916"/>
                  <a:gd name="connsiteX35" fmla="*/ 185071 w 3474435"/>
                  <a:gd name="connsiteY35" fmla="*/ 121348 h 474916"/>
                  <a:gd name="connsiteX36" fmla="*/ 189262 w 3474435"/>
                  <a:gd name="connsiteY36" fmla="*/ 121348 h 474916"/>
                  <a:gd name="connsiteX37" fmla="*/ 189262 w 3474435"/>
                  <a:gd name="connsiteY37" fmla="*/ 127349 h 474916"/>
                  <a:gd name="connsiteX38" fmla="*/ 195549 w 3474435"/>
                  <a:gd name="connsiteY38" fmla="*/ 127349 h 474916"/>
                  <a:gd name="connsiteX39" fmla="*/ 195549 w 3474435"/>
                  <a:gd name="connsiteY39" fmla="*/ 139541 h 474916"/>
                  <a:gd name="connsiteX40" fmla="*/ 214503 w 3474435"/>
                  <a:gd name="connsiteY40" fmla="*/ 139541 h 474916"/>
                  <a:gd name="connsiteX41" fmla="*/ 214503 w 3474435"/>
                  <a:gd name="connsiteY41" fmla="*/ 145542 h 474916"/>
                  <a:gd name="connsiteX42" fmla="*/ 222885 w 3474435"/>
                  <a:gd name="connsiteY42" fmla="*/ 145542 h 474916"/>
                  <a:gd name="connsiteX43" fmla="*/ 222885 w 3474435"/>
                  <a:gd name="connsiteY43" fmla="*/ 151638 h 474916"/>
                  <a:gd name="connsiteX44" fmla="*/ 235554 w 3474435"/>
                  <a:gd name="connsiteY44" fmla="*/ 151638 h 474916"/>
                  <a:gd name="connsiteX45" fmla="*/ 235554 w 3474435"/>
                  <a:gd name="connsiteY45" fmla="*/ 157734 h 474916"/>
                  <a:gd name="connsiteX46" fmla="*/ 252413 w 3474435"/>
                  <a:gd name="connsiteY46" fmla="*/ 157734 h 474916"/>
                  <a:gd name="connsiteX47" fmla="*/ 252413 w 3474435"/>
                  <a:gd name="connsiteY47" fmla="*/ 163735 h 474916"/>
                  <a:gd name="connsiteX48" fmla="*/ 279750 w 3474435"/>
                  <a:gd name="connsiteY48" fmla="*/ 163735 h 474916"/>
                  <a:gd name="connsiteX49" fmla="*/ 279750 w 3474435"/>
                  <a:gd name="connsiteY49" fmla="*/ 169831 h 474916"/>
                  <a:gd name="connsiteX50" fmla="*/ 281845 w 3474435"/>
                  <a:gd name="connsiteY50" fmla="*/ 169831 h 474916"/>
                  <a:gd name="connsiteX51" fmla="*/ 281845 w 3474435"/>
                  <a:gd name="connsiteY51" fmla="*/ 175927 h 474916"/>
                  <a:gd name="connsiteX52" fmla="*/ 292322 w 3474435"/>
                  <a:gd name="connsiteY52" fmla="*/ 175927 h 474916"/>
                  <a:gd name="connsiteX53" fmla="*/ 292322 w 3474435"/>
                  <a:gd name="connsiteY53" fmla="*/ 181927 h 474916"/>
                  <a:gd name="connsiteX54" fmla="*/ 298609 w 3474435"/>
                  <a:gd name="connsiteY54" fmla="*/ 181927 h 474916"/>
                  <a:gd name="connsiteX55" fmla="*/ 298609 w 3474435"/>
                  <a:gd name="connsiteY55" fmla="*/ 194119 h 474916"/>
                  <a:gd name="connsiteX56" fmla="*/ 307086 w 3474435"/>
                  <a:gd name="connsiteY56" fmla="*/ 194119 h 474916"/>
                  <a:gd name="connsiteX57" fmla="*/ 307086 w 3474435"/>
                  <a:gd name="connsiteY57" fmla="*/ 200120 h 474916"/>
                  <a:gd name="connsiteX58" fmla="*/ 313373 w 3474435"/>
                  <a:gd name="connsiteY58" fmla="*/ 200120 h 474916"/>
                  <a:gd name="connsiteX59" fmla="*/ 313373 w 3474435"/>
                  <a:gd name="connsiteY59" fmla="*/ 212312 h 474916"/>
                  <a:gd name="connsiteX60" fmla="*/ 315468 w 3474435"/>
                  <a:gd name="connsiteY60" fmla="*/ 212312 h 474916"/>
                  <a:gd name="connsiteX61" fmla="*/ 315468 w 3474435"/>
                  <a:gd name="connsiteY61" fmla="*/ 218408 h 474916"/>
                  <a:gd name="connsiteX62" fmla="*/ 328041 w 3474435"/>
                  <a:gd name="connsiteY62" fmla="*/ 218408 h 474916"/>
                  <a:gd name="connsiteX63" fmla="*/ 328041 w 3474435"/>
                  <a:gd name="connsiteY63" fmla="*/ 224409 h 474916"/>
                  <a:gd name="connsiteX64" fmla="*/ 351187 w 3474435"/>
                  <a:gd name="connsiteY64" fmla="*/ 224409 h 474916"/>
                  <a:gd name="connsiteX65" fmla="*/ 351187 w 3474435"/>
                  <a:gd name="connsiteY65" fmla="*/ 230505 h 474916"/>
                  <a:gd name="connsiteX66" fmla="*/ 357569 w 3474435"/>
                  <a:gd name="connsiteY66" fmla="*/ 230505 h 474916"/>
                  <a:gd name="connsiteX67" fmla="*/ 357569 w 3474435"/>
                  <a:gd name="connsiteY67" fmla="*/ 236601 h 474916"/>
                  <a:gd name="connsiteX68" fmla="*/ 365951 w 3474435"/>
                  <a:gd name="connsiteY68" fmla="*/ 236601 h 474916"/>
                  <a:gd name="connsiteX69" fmla="*/ 365951 w 3474435"/>
                  <a:gd name="connsiteY69" fmla="*/ 242602 h 474916"/>
                  <a:gd name="connsiteX70" fmla="*/ 374333 w 3474435"/>
                  <a:gd name="connsiteY70" fmla="*/ 242602 h 474916"/>
                  <a:gd name="connsiteX71" fmla="*/ 374333 w 3474435"/>
                  <a:gd name="connsiteY71" fmla="*/ 248698 h 474916"/>
                  <a:gd name="connsiteX72" fmla="*/ 378524 w 3474435"/>
                  <a:gd name="connsiteY72" fmla="*/ 248698 h 474916"/>
                  <a:gd name="connsiteX73" fmla="*/ 378524 w 3474435"/>
                  <a:gd name="connsiteY73" fmla="*/ 254794 h 474916"/>
                  <a:gd name="connsiteX74" fmla="*/ 452152 w 3474435"/>
                  <a:gd name="connsiteY74" fmla="*/ 254794 h 474916"/>
                  <a:gd name="connsiteX75" fmla="*/ 452152 w 3474435"/>
                  <a:gd name="connsiteY75" fmla="*/ 260794 h 474916"/>
                  <a:gd name="connsiteX76" fmla="*/ 473202 w 3474435"/>
                  <a:gd name="connsiteY76" fmla="*/ 260794 h 474916"/>
                  <a:gd name="connsiteX77" fmla="*/ 473202 w 3474435"/>
                  <a:gd name="connsiteY77" fmla="*/ 266890 h 474916"/>
                  <a:gd name="connsiteX78" fmla="*/ 479489 w 3474435"/>
                  <a:gd name="connsiteY78" fmla="*/ 266890 h 474916"/>
                  <a:gd name="connsiteX79" fmla="*/ 479489 w 3474435"/>
                  <a:gd name="connsiteY79" fmla="*/ 272986 h 474916"/>
                  <a:gd name="connsiteX80" fmla="*/ 521589 w 3474435"/>
                  <a:gd name="connsiteY80" fmla="*/ 272986 h 474916"/>
                  <a:gd name="connsiteX81" fmla="*/ 521589 w 3474435"/>
                  <a:gd name="connsiteY81" fmla="*/ 278987 h 474916"/>
                  <a:gd name="connsiteX82" fmla="*/ 536258 w 3474435"/>
                  <a:gd name="connsiteY82" fmla="*/ 278987 h 474916"/>
                  <a:gd name="connsiteX83" fmla="*/ 536258 w 3474435"/>
                  <a:gd name="connsiteY83" fmla="*/ 285083 h 474916"/>
                  <a:gd name="connsiteX84" fmla="*/ 565785 w 3474435"/>
                  <a:gd name="connsiteY84" fmla="*/ 285083 h 474916"/>
                  <a:gd name="connsiteX85" fmla="*/ 565785 w 3474435"/>
                  <a:gd name="connsiteY85" fmla="*/ 291179 h 474916"/>
                  <a:gd name="connsiteX86" fmla="*/ 567881 w 3474435"/>
                  <a:gd name="connsiteY86" fmla="*/ 291179 h 474916"/>
                  <a:gd name="connsiteX87" fmla="*/ 567881 w 3474435"/>
                  <a:gd name="connsiteY87" fmla="*/ 297180 h 474916"/>
                  <a:gd name="connsiteX88" fmla="*/ 590931 w 3474435"/>
                  <a:gd name="connsiteY88" fmla="*/ 297180 h 474916"/>
                  <a:gd name="connsiteX89" fmla="*/ 590931 w 3474435"/>
                  <a:gd name="connsiteY89" fmla="*/ 303276 h 474916"/>
                  <a:gd name="connsiteX90" fmla="*/ 603600 w 3474435"/>
                  <a:gd name="connsiteY90" fmla="*/ 303276 h 474916"/>
                  <a:gd name="connsiteX91" fmla="*/ 603600 w 3474435"/>
                  <a:gd name="connsiteY91" fmla="*/ 309372 h 474916"/>
                  <a:gd name="connsiteX92" fmla="*/ 639318 w 3474435"/>
                  <a:gd name="connsiteY92" fmla="*/ 309372 h 474916"/>
                  <a:gd name="connsiteX93" fmla="*/ 639318 w 3474435"/>
                  <a:gd name="connsiteY93" fmla="*/ 315468 h 474916"/>
                  <a:gd name="connsiteX94" fmla="*/ 755047 w 3474435"/>
                  <a:gd name="connsiteY94" fmla="*/ 315468 h 474916"/>
                  <a:gd name="connsiteX95" fmla="*/ 755047 w 3474435"/>
                  <a:gd name="connsiteY95" fmla="*/ 321469 h 474916"/>
                  <a:gd name="connsiteX96" fmla="*/ 792861 w 3474435"/>
                  <a:gd name="connsiteY96" fmla="*/ 321469 h 474916"/>
                  <a:gd name="connsiteX97" fmla="*/ 792861 w 3474435"/>
                  <a:gd name="connsiteY97" fmla="*/ 327660 h 474916"/>
                  <a:gd name="connsiteX98" fmla="*/ 845439 w 3474435"/>
                  <a:gd name="connsiteY98" fmla="*/ 327660 h 474916"/>
                  <a:gd name="connsiteX99" fmla="*/ 845439 w 3474435"/>
                  <a:gd name="connsiteY99" fmla="*/ 333756 h 474916"/>
                  <a:gd name="connsiteX100" fmla="*/ 864394 w 3474435"/>
                  <a:gd name="connsiteY100" fmla="*/ 333756 h 474916"/>
                  <a:gd name="connsiteX101" fmla="*/ 864394 w 3474435"/>
                  <a:gd name="connsiteY101" fmla="*/ 339852 h 474916"/>
                  <a:gd name="connsiteX102" fmla="*/ 874872 w 3474435"/>
                  <a:gd name="connsiteY102" fmla="*/ 339852 h 474916"/>
                  <a:gd name="connsiteX103" fmla="*/ 874872 w 3474435"/>
                  <a:gd name="connsiteY103" fmla="*/ 346043 h 474916"/>
                  <a:gd name="connsiteX104" fmla="*/ 908590 w 3474435"/>
                  <a:gd name="connsiteY104" fmla="*/ 346043 h 474916"/>
                  <a:gd name="connsiteX105" fmla="*/ 908590 w 3474435"/>
                  <a:gd name="connsiteY105" fmla="*/ 352139 h 474916"/>
                  <a:gd name="connsiteX106" fmla="*/ 914877 w 3474435"/>
                  <a:gd name="connsiteY106" fmla="*/ 352139 h 474916"/>
                  <a:gd name="connsiteX107" fmla="*/ 914877 w 3474435"/>
                  <a:gd name="connsiteY107" fmla="*/ 358235 h 474916"/>
                  <a:gd name="connsiteX108" fmla="*/ 929545 w 3474435"/>
                  <a:gd name="connsiteY108" fmla="*/ 358235 h 474916"/>
                  <a:gd name="connsiteX109" fmla="*/ 929545 w 3474435"/>
                  <a:gd name="connsiteY109" fmla="*/ 364331 h 474916"/>
                  <a:gd name="connsiteX110" fmla="*/ 942213 w 3474435"/>
                  <a:gd name="connsiteY110" fmla="*/ 364331 h 474916"/>
                  <a:gd name="connsiteX111" fmla="*/ 942213 w 3474435"/>
                  <a:gd name="connsiteY111" fmla="*/ 370522 h 474916"/>
                  <a:gd name="connsiteX112" fmla="*/ 967455 w 3474435"/>
                  <a:gd name="connsiteY112" fmla="*/ 370522 h 474916"/>
                  <a:gd name="connsiteX113" fmla="*/ 967455 w 3474435"/>
                  <a:gd name="connsiteY113" fmla="*/ 376618 h 474916"/>
                  <a:gd name="connsiteX114" fmla="*/ 1196721 w 3474435"/>
                  <a:gd name="connsiteY114" fmla="*/ 376618 h 474916"/>
                  <a:gd name="connsiteX115" fmla="*/ 1196721 w 3474435"/>
                  <a:gd name="connsiteY115" fmla="*/ 382810 h 474916"/>
                  <a:gd name="connsiteX116" fmla="*/ 1310259 w 3474435"/>
                  <a:gd name="connsiteY116" fmla="*/ 382810 h 474916"/>
                  <a:gd name="connsiteX117" fmla="*/ 1310259 w 3474435"/>
                  <a:gd name="connsiteY117" fmla="*/ 389001 h 474916"/>
                  <a:gd name="connsiteX118" fmla="*/ 1579436 w 3474435"/>
                  <a:gd name="connsiteY118" fmla="*/ 389001 h 474916"/>
                  <a:gd name="connsiteX119" fmla="*/ 1579436 w 3474435"/>
                  <a:gd name="connsiteY119" fmla="*/ 395287 h 474916"/>
                  <a:gd name="connsiteX120" fmla="*/ 1653064 w 3474435"/>
                  <a:gd name="connsiteY120" fmla="*/ 395287 h 474916"/>
                  <a:gd name="connsiteX121" fmla="*/ 1653064 w 3474435"/>
                  <a:gd name="connsiteY121" fmla="*/ 401574 h 474916"/>
                  <a:gd name="connsiteX122" fmla="*/ 1732979 w 3474435"/>
                  <a:gd name="connsiteY122" fmla="*/ 401574 h 474916"/>
                  <a:gd name="connsiteX123" fmla="*/ 1732979 w 3474435"/>
                  <a:gd name="connsiteY123" fmla="*/ 407860 h 474916"/>
                  <a:gd name="connsiteX124" fmla="*/ 1894904 w 3474435"/>
                  <a:gd name="connsiteY124" fmla="*/ 407860 h 474916"/>
                  <a:gd name="connsiteX125" fmla="*/ 1894904 w 3474435"/>
                  <a:gd name="connsiteY125" fmla="*/ 414337 h 474916"/>
                  <a:gd name="connsiteX126" fmla="*/ 1911763 w 3474435"/>
                  <a:gd name="connsiteY126" fmla="*/ 414337 h 474916"/>
                  <a:gd name="connsiteX127" fmla="*/ 1911763 w 3474435"/>
                  <a:gd name="connsiteY127" fmla="*/ 420719 h 474916"/>
                  <a:gd name="connsiteX128" fmla="*/ 2029587 w 3474435"/>
                  <a:gd name="connsiteY128" fmla="*/ 420719 h 474916"/>
                  <a:gd name="connsiteX129" fmla="*/ 2029587 w 3474435"/>
                  <a:gd name="connsiteY129" fmla="*/ 427196 h 474916"/>
                  <a:gd name="connsiteX130" fmla="*/ 2122075 w 3474435"/>
                  <a:gd name="connsiteY130" fmla="*/ 427196 h 474916"/>
                  <a:gd name="connsiteX131" fmla="*/ 2122075 w 3474435"/>
                  <a:gd name="connsiteY131" fmla="*/ 433578 h 474916"/>
                  <a:gd name="connsiteX132" fmla="*/ 2141030 w 3474435"/>
                  <a:gd name="connsiteY132" fmla="*/ 433578 h 474916"/>
                  <a:gd name="connsiteX133" fmla="*/ 2141030 w 3474435"/>
                  <a:gd name="connsiteY133" fmla="*/ 440055 h 474916"/>
                  <a:gd name="connsiteX134" fmla="*/ 2994851 w 3474435"/>
                  <a:gd name="connsiteY134" fmla="*/ 440055 h 474916"/>
                  <a:gd name="connsiteX135" fmla="*/ 2994851 w 3474435"/>
                  <a:gd name="connsiteY135" fmla="*/ 474916 h 474916"/>
                  <a:gd name="connsiteX136" fmla="*/ 3474435 w 3474435"/>
                  <a:gd name="connsiteY136" fmla="*/ 474916 h 474916"/>
                  <a:gd name="connsiteX0" fmla="*/ 0 w 3459766"/>
                  <a:gd name="connsiteY0" fmla="*/ 0 h 468915"/>
                  <a:gd name="connsiteX1" fmla="*/ 4286 w 3459766"/>
                  <a:gd name="connsiteY1" fmla="*/ 0 h 468915"/>
                  <a:gd name="connsiteX2" fmla="*/ 4286 w 3459766"/>
                  <a:gd name="connsiteY2" fmla="*/ 6096 h 468915"/>
                  <a:gd name="connsiteX3" fmla="*/ 14763 w 3459766"/>
                  <a:gd name="connsiteY3" fmla="*/ 6096 h 468915"/>
                  <a:gd name="connsiteX4" fmla="*/ 14763 w 3459766"/>
                  <a:gd name="connsiteY4" fmla="*/ 12192 h 468915"/>
                  <a:gd name="connsiteX5" fmla="*/ 23146 w 3459766"/>
                  <a:gd name="connsiteY5" fmla="*/ 12192 h 468915"/>
                  <a:gd name="connsiteX6" fmla="*/ 23146 w 3459766"/>
                  <a:gd name="connsiteY6" fmla="*/ 18288 h 468915"/>
                  <a:gd name="connsiteX7" fmla="*/ 37909 w 3459766"/>
                  <a:gd name="connsiteY7" fmla="*/ 18288 h 468915"/>
                  <a:gd name="connsiteX8" fmla="*/ 37909 w 3459766"/>
                  <a:gd name="connsiteY8" fmla="*/ 24288 h 468915"/>
                  <a:gd name="connsiteX9" fmla="*/ 42100 w 3459766"/>
                  <a:gd name="connsiteY9" fmla="*/ 24288 h 468915"/>
                  <a:gd name="connsiteX10" fmla="*/ 42100 w 3459766"/>
                  <a:gd name="connsiteY10" fmla="*/ 30384 h 468915"/>
                  <a:gd name="connsiteX11" fmla="*/ 46291 w 3459766"/>
                  <a:gd name="connsiteY11" fmla="*/ 30384 h 468915"/>
                  <a:gd name="connsiteX12" fmla="*/ 46291 w 3459766"/>
                  <a:gd name="connsiteY12" fmla="*/ 36480 h 468915"/>
                  <a:gd name="connsiteX13" fmla="*/ 58960 w 3459766"/>
                  <a:gd name="connsiteY13" fmla="*/ 36480 h 468915"/>
                  <a:gd name="connsiteX14" fmla="*/ 58960 w 3459766"/>
                  <a:gd name="connsiteY14" fmla="*/ 42481 h 468915"/>
                  <a:gd name="connsiteX15" fmla="*/ 88392 w 3459766"/>
                  <a:gd name="connsiteY15" fmla="*/ 42481 h 468915"/>
                  <a:gd name="connsiteX16" fmla="*/ 88392 w 3459766"/>
                  <a:gd name="connsiteY16" fmla="*/ 48577 h 468915"/>
                  <a:gd name="connsiteX17" fmla="*/ 96774 w 3459766"/>
                  <a:gd name="connsiteY17" fmla="*/ 48577 h 468915"/>
                  <a:gd name="connsiteX18" fmla="*/ 96774 w 3459766"/>
                  <a:gd name="connsiteY18" fmla="*/ 54673 h 468915"/>
                  <a:gd name="connsiteX19" fmla="*/ 98869 w 3459766"/>
                  <a:gd name="connsiteY19" fmla="*/ 54673 h 468915"/>
                  <a:gd name="connsiteX20" fmla="*/ 98869 w 3459766"/>
                  <a:gd name="connsiteY20" fmla="*/ 60674 h 468915"/>
                  <a:gd name="connsiteX21" fmla="*/ 113633 w 3459766"/>
                  <a:gd name="connsiteY21" fmla="*/ 60674 h 468915"/>
                  <a:gd name="connsiteX22" fmla="*/ 113633 w 3459766"/>
                  <a:gd name="connsiteY22" fmla="*/ 72866 h 468915"/>
                  <a:gd name="connsiteX23" fmla="*/ 115729 w 3459766"/>
                  <a:gd name="connsiteY23" fmla="*/ 72866 h 468915"/>
                  <a:gd name="connsiteX24" fmla="*/ 115729 w 3459766"/>
                  <a:gd name="connsiteY24" fmla="*/ 78867 h 468915"/>
                  <a:gd name="connsiteX25" fmla="*/ 122015 w 3459766"/>
                  <a:gd name="connsiteY25" fmla="*/ 78867 h 468915"/>
                  <a:gd name="connsiteX26" fmla="*/ 122015 w 3459766"/>
                  <a:gd name="connsiteY26" fmla="*/ 84963 h 468915"/>
                  <a:gd name="connsiteX27" fmla="*/ 126206 w 3459766"/>
                  <a:gd name="connsiteY27" fmla="*/ 84963 h 468915"/>
                  <a:gd name="connsiteX28" fmla="*/ 126206 w 3459766"/>
                  <a:gd name="connsiteY28" fmla="*/ 91059 h 468915"/>
                  <a:gd name="connsiteX29" fmla="*/ 143065 w 3459766"/>
                  <a:gd name="connsiteY29" fmla="*/ 91059 h 468915"/>
                  <a:gd name="connsiteX30" fmla="*/ 143065 w 3459766"/>
                  <a:gd name="connsiteY30" fmla="*/ 103155 h 468915"/>
                  <a:gd name="connsiteX31" fmla="*/ 147256 w 3459766"/>
                  <a:gd name="connsiteY31" fmla="*/ 103155 h 468915"/>
                  <a:gd name="connsiteX32" fmla="*/ 147256 w 3459766"/>
                  <a:gd name="connsiteY32" fmla="*/ 109251 h 468915"/>
                  <a:gd name="connsiteX33" fmla="*/ 170402 w 3459766"/>
                  <a:gd name="connsiteY33" fmla="*/ 109251 h 468915"/>
                  <a:gd name="connsiteX34" fmla="*/ 170402 w 3459766"/>
                  <a:gd name="connsiteY34" fmla="*/ 115347 h 468915"/>
                  <a:gd name="connsiteX35" fmla="*/ 174593 w 3459766"/>
                  <a:gd name="connsiteY35" fmla="*/ 115347 h 468915"/>
                  <a:gd name="connsiteX36" fmla="*/ 174593 w 3459766"/>
                  <a:gd name="connsiteY36" fmla="*/ 121348 h 468915"/>
                  <a:gd name="connsiteX37" fmla="*/ 180880 w 3459766"/>
                  <a:gd name="connsiteY37" fmla="*/ 121348 h 468915"/>
                  <a:gd name="connsiteX38" fmla="*/ 180880 w 3459766"/>
                  <a:gd name="connsiteY38" fmla="*/ 133540 h 468915"/>
                  <a:gd name="connsiteX39" fmla="*/ 199834 w 3459766"/>
                  <a:gd name="connsiteY39" fmla="*/ 133540 h 468915"/>
                  <a:gd name="connsiteX40" fmla="*/ 199834 w 3459766"/>
                  <a:gd name="connsiteY40" fmla="*/ 139541 h 468915"/>
                  <a:gd name="connsiteX41" fmla="*/ 208216 w 3459766"/>
                  <a:gd name="connsiteY41" fmla="*/ 139541 h 468915"/>
                  <a:gd name="connsiteX42" fmla="*/ 208216 w 3459766"/>
                  <a:gd name="connsiteY42" fmla="*/ 145637 h 468915"/>
                  <a:gd name="connsiteX43" fmla="*/ 220885 w 3459766"/>
                  <a:gd name="connsiteY43" fmla="*/ 145637 h 468915"/>
                  <a:gd name="connsiteX44" fmla="*/ 220885 w 3459766"/>
                  <a:gd name="connsiteY44" fmla="*/ 151733 h 468915"/>
                  <a:gd name="connsiteX45" fmla="*/ 237744 w 3459766"/>
                  <a:gd name="connsiteY45" fmla="*/ 151733 h 468915"/>
                  <a:gd name="connsiteX46" fmla="*/ 237744 w 3459766"/>
                  <a:gd name="connsiteY46" fmla="*/ 157734 h 468915"/>
                  <a:gd name="connsiteX47" fmla="*/ 265081 w 3459766"/>
                  <a:gd name="connsiteY47" fmla="*/ 157734 h 468915"/>
                  <a:gd name="connsiteX48" fmla="*/ 265081 w 3459766"/>
                  <a:gd name="connsiteY48" fmla="*/ 163830 h 468915"/>
                  <a:gd name="connsiteX49" fmla="*/ 267176 w 3459766"/>
                  <a:gd name="connsiteY49" fmla="*/ 163830 h 468915"/>
                  <a:gd name="connsiteX50" fmla="*/ 267176 w 3459766"/>
                  <a:gd name="connsiteY50" fmla="*/ 169926 h 468915"/>
                  <a:gd name="connsiteX51" fmla="*/ 277653 w 3459766"/>
                  <a:gd name="connsiteY51" fmla="*/ 169926 h 468915"/>
                  <a:gd name="connsiteX52" fmla="*/ 277653 w 3459766"/>
                  <a:gd name="connsiteY52" fmla="*/ 175926 h 468915"/>
                  <a:gd name="connsiteX53" fmla="*/ 283940 w 3459766"/>
                  <a:gd name="connsiteY53" fmla="*/ 175926 h 468915"/>
                  <a:gd name="connsiteX54" fmla="*/ 283940 w 3459766"/>
                  <a:gd name="connsiteY54" fmla="*/ 188118 h 468915"/>
                  <a:gd name="connsiteX55" fmla="*/ 292417 w 3459766"/>
                  <a:gd name="connsiteY55" fmla="*/ 188118 h 468915"/>
                  <a:gd name="connsiteX56" fmla="*/ 292417 w 3459766"/>
                  <a:gd name="connsiteY56" fmla="*/ 194119 h 468915"/>
                  <a:gd name="connsiteX57" fmla="*/ 298704 w 3459766"/>
                  <a:gd name="connsiteY57" fmla="*/ 194119 h 468915"/>
                  <a:gd name="connsiteX58" fmla="*/ 298704 w 3459766"/>
                  <a:gd name="connsiteY58" fmla="*/ 206311 h 468915"/>
                  <a:gd name="connsiteX59" fmla="*/ 300799 w 3459766"/>
                  <a:gd name="connsiteY59" fmla="*/ 206311 h 468915"/>
                  <a:gd name="connsiteX60" fmla="*/ 300799 w 3459766"/>
                  <a:gd name="connsiteY60" fmla="*/ 212407 h 468915"/>
                  <a:gd name="connsiteX61" fmla="*/ 313372 w 3459766"/>
                  <a:gd name="connsiteY61" fmla="*/ 212407 h 468915"/>
                  <a:gd name="connsiteX62" fmla="*/ 313372 w 3459766"/>
                  <a:gd name="connsiteY62" fmla="*/ 218408 h 468915"/>
                  <a:gd name="connsiteX63" fmla="*/ 336518 w 3459766"/>
                  <a:gd name="connsiteY63" fmla="*/ 218408 h 468915"/>
                  <a:gd name="connsiteX64" fmla="*/ 336518 w 3459766"/>
                  <a:gd name="connsiteY64" fmla="*/ 224504 h 468915"/>
                  <a:gd name="connsiteX65" fmla="*/ 342900 w 3459766"/>
                  <a:gd name="connsiteY65" fmla="*/ 224504 h 468915"/>
                  <a:gd name="connsiteX66" fmla="*/ 342900 w 3459766"/>
                  <a:gd name="connsiteY66" fmla="*/ 230600 h 468915"/>
                  <a:gd name="connsiteX67" fmla="*/ 351282 w 3459766"/>
                  <a:gd name="connsiteY67" fmla="*/ 230600 h 468915"/>
                  <a:gd name="connsiteX68" fmla="*/ 351282 w 3459766"/>
                  <a:gd name="connsiteY68" fmla="*/ 236601 h 468915"/>
                  <a:gd name="connsiteX69" fmla="*/ 359664 w 3459766"/>
                  <a:gd name="connsiteY69" fmla="*/ 236601 h 468915"/>
                  <a:gd name="connsiteX70" fmla="*/ 359664 w 3459766"/>
                  <a:gd name="connsiteY70" fmla="*/ 242697 h 468915"/>
                  <a:gd name="connsiteX71" fmla="*/ 363855 w 3459766"/>
                  <a:gd name="connsiteY71" fmla="*/ 242697 h 468915"/>
                  <a:gd name="connsiteX72" fmla="*/ 363855 w 3459766"/>
                  <a:gd name="connsiteY72" fmla="*/ 248793 h 468915"/>
                  <a:gd name="connsiteX73" fmla="*/ 437483 w 3459766"/>
                  <a:gd name="connsiteY73" fmla="*/ 248793 h 468915"/>
                  <a:gd name="connsiteX74" fmla="*/ 437483 w 3459766"/>
                  <a:gd name="connsiteY74" fmla="*/ 254793 h 468915"/>
                  <a:gd name="connsiteX75" fmla="*/ 458533 w 3459766"/>
                  <a:gd name="connsiteY75" fmla="*/ 254793 h 468915"/>
                  <a:gd name="connsiteX76" fmla="*/ 458533 w 3459766"/>
                  <a:gd name="connsiteY76" fmla="*/ 260889 h 468915"/>
                  <a:gd name="connsiteX77" fmla="*/ 464820 w 3459766"/>
                  <a:gd name="connsiteY77" fmla="*/ 260889 h 468915"/>
                  <a:gd name="connsiteX78" fmla="*/ 464820 w 3459766"/>
                  <a:gd name="connsiteY78" fmla="*/ 266985 h 468915"/>
                  <a:gd name="connsiteX79" fmla="*/ 506920 w 3459766"/>
                  <a:gd name="connsiteY79" fmla="*/ 266985 h 468915"/>
                  <a:gd name="connsiteX80" fmla="*/ 506920 w 3459766"/>
                  <a:gd name="connsiteY80" fmla="*/ 272986 h 468915"/>
                  <a:gd name="connsiteX81" fmla="*/ 521589 w 3459766"/>
                  <a:gd name="connsiteY81" fmla="*/ 272986 h 468915"/>
                  <a:gd name="connsiteX82" fmla="*/ 521589 w 3459766"/>
                  <a:gd name="connsiteY82" fmla="*/ 279082 h 468915"/>
                  <a:gd name="connsiteX83" fmla="*/ 551116 w 3459766"/>
                  <a:gd name="connsiteY83" fmla="*/ 279082 h 468915"/>
                  <a:gd name="connsiteX84" fmla="*/ 551116 w 3459766"/>
                  <a:gd name="connsiteY84" fmla="*/ 285178 h 468915"/>
                  <a:gd name="connsiteX85" fmla="*/ 553212 w 3459766"/>
                  <a:gd name="connsiteY85" fmla="*/ 285178 h 468915"/>
                  <a:gd name="connsiteX86" fmla="*/ 553212 w 3459766"/>
                  <a:gd name="connsiteY86" fmla="*/ 291179 h 468915"/>
                  <a:gd name="connsiteX87" fmla="*/ 576262 w 3459766"/>
                  <a:gd name="connsiteY87" fmla="*/ 291179 h 468915"/>
                  <a:gd name="connsiteX88" fmla="*/ 576262 w 3459766"/>
                  <a:gd name="connsiteY88" fmla="*/ 297275 h 468915"/>
                  <a:gd name="connsiteX89" fmla="*/ 588931 w 3459766"/>
                  <a:gd name="connsiteY89" fmla="*/ 297275 h 468915"/>
                  <a:gd name="connsiteX90" fmla="*/ 588931 w 3459766"/>
                  <a:gd name="connsiteY90" fmla="*/ 303371 h 468915"/>
                  <a:gd name="connsiteX91" fmla="*/ 624649 w 3459766"/>
                  <a:gd name="connsiteY91" fmla="*/ 303371 h 468915"/>
                  <a:gd name="connsiteX92" fmla="*/ 624649 w 3459766"/>
                  <a:gd name="connsiteY92" fmla="*/ 309467 h 468915"/>
                  <a:gd name="connsiteX93" fmla="*/ 740378 w 3459766"/>
                  <a:gd name="connsiteY93" fmla="*/ 309467 h 468915"/>
                  <a:gd name="connsiteX94" fmla="*/ 740378 w 3459766"/>
                  <a:gd name="connsiteY94" fmla="*/ 315468 h 468915"/>
                  <a:gd name="connsiteX95" fmla="*/ 778192 w 3459766"/>
                  <a:gd name="connsiteY95" fmla="*/ 315468 h 468915"/>
                  <a:gd name="connsiteX96" fmla="*/ 778192 w 3459766"/>
                  <a:gd name="connsiteY96" fmla="*/ 321659 h 468915"/>
                  <a:gd name="connsiteX97" fmla="*/ 830770 w 3459766"/>
                  <a:gd name="connsiteY97" fmla="*/ 321659 h 468915"/>
                  <a:gd name="connsiteX98" fmla="*/ 830770 w 3459766"/>
                  <a:gd name="connsiteY98" fmla="*/ 327755 h 468915"/>
                  <a:gd name="connsiteX99" fmla="*/ 849725 w 3459766"/>
                  <a:gd name="connsiteY99" fmla="*/ 327755 h 468915"/>
                  <a:gd name="connsiteX100" fmla="*/ 849725 w 3459766"/>
                  <a:gd name="connsiteY100" fmla="*/ 333851 h 468915"/>
                  <a:gd name="connsiteX101" fmla="*/ 860203 w 3459766"/>
                  <a:gd name="connsiteY101" fmla="*/ 333851 h 468915"/>
                  <a:gd name="connsiteX102" fmla="*/ 860203 w 3459766"/>
                  <a:gd name="connsiteY102" fmla="*/ 340042 h 468915"/>
                  <a:gd name="connsiteX103" fmla="*/ 893921 w 3459766"/>
                  <a:gd name="connsiteY103" fmla="*/ 340042 h 468915"/>
                  <a:gd name="connsiteX104" fmla="*/ 893921 w 3459766"/>
                  <a:gd name="connsiteY104" fmla="*/ 346138 h 468915"/>
                  <a:gd name="connsiteX105" fmla="*/ 900208 w 3459766"/>
                  <a:gd name="connsiteY105" fmla="*/ 346138 h 468915"/>
                  <a:gd name="connsiteX106" fmla="*/ 900208 w 3459766"/>
                  <a:gd name="connsiteY106" fmla="*/ 352234 h 468915"/>
                  <a:gd name="connsiteX107" fmla="*/ 914876 w 3459766"/>
                  <a:gd name="connsiteY107" fmla="*/ 352234 h 468915"/>
                  <a:gd name="connsiteX108" fmla="*/ 914876 w 3459766"/>
                  <a:gd name="connsiteY108" fmla="*/ 358330 h 468915"/>
                  <a:gd name="connsiteX109" fmla="*/ 927544 w 3459766"/>
                  <a:gd name="connsiteY109" fmla="*/ 358330 h 468915"/>
                  <a:gd name="connsiteX110" fmla="*/ 927544 w 3459766"/>
                  <a:gd name="connsiteY110" fmla="*/ 364521 h 468915"/>
                  <a:gd name="connsiteX111" fmla="*/ 952786 w 3459766"/>
                  <a:gd name="connsiteY111" fmla="*/ 364521 h 468915"/>
                  <a:gd name="connsiteX112" fmla="*/ 952786 w 3459766"/>
                  <a:gd name="connsiteY112" fmla="*/ 370617 h 468915"/>
                  <a:gd name="connsiteX113" fmla="*/ 1182052 w 3459766"/>
                  <a:gd name="connsiteY113" fmla="*/ 370617 h 468915"/>
                  <a:gd name="connsiteX114" fmla="*/ 1182052 w 3459766"/>
                  <a:gd name="connsiteY114" fmla="*/ 376809 h 468915"/>
                  <a:gd name="connsiteX115" fmla="*/ 1295590 w 3459766"/>
                  <a:gd name="connsiteY115" fmla="*/ 376809 h 468915"/>
                  <a:gd name="connsiteX116" fmla="*/ 1295590 w 3459766"/>
                  <a:gd name="connsiteY116" fmla="*/ 383000 h 468915"/>
                  <a:gd name="connsiteX117" fmla="*/ 1564767 w 3459766"/>
                  <a:gd name="connsiteY117" fmla="*/ 383000 h 468915"/>
                  <a:gd name="connsiteX118" fmla="*/ 1564767 w 3459766"/>
                  <a:gd name="connsiteY118" fmla="*/ 389286 h 468915"/>
                  <a:gd name="connsiteX119" fmla="*/ 1638395 w 3459766"/>
                  <a:gd name="connsiteY119" fmla="*/ 389286 h 468915"/>
                  <a:gd name="connsiteX120" fmla="*/ 1638395 w 3459766"/>
                  <a:gd name="connsiteY120" fmla="*/ 395573 h 468915"/>
                  <a:gd name="connsiteX121" fmla="*/ 1718310 w 3459766"/>
                  <a:gd name="connsiteY121" fmla="*/ 395573 h 468915"/>
                  <a:gd name="connsiteX122" fmla="*/ 1718310 w 3459766"/>
                  <a:gd name="connsiteY122" fmla="*/ 401859 h 468915"/>
                  <a:gd name="connsiteX123" fmla="*/ 1880235 w 3459766"/>
                  <a:gd name="connsiteY123" fmla="*/ 401859 h 468915"/>
                  <a:gd name="connsiteX124" fmla="*/ 1880235 w 3459766"/>
                  <a:gd name="connsiteY124" fmla="*/ 408336 h 468915"/>
                  <a:gd name="connsiteX125" fmla="*/ 1897094 w 3459766"/>
                  <a:gd name="connsiteY125" fmla="*/ 408336 h 468915"/>
                  <a:gd name="connsiteX126" fmla="*/ 1897094 w 3459766"/>
                  <a:gd name="connsiteY126" fmla="*/ 414718 h 468915"/>
                  <a:gd name="connsiteX127" fmla="*/ 2014918 w 3459766"/>
                  <a:gd name="connsiteY127" fmla="*/ 414718 h 468915"/>
                  <a:gd name="connsiteX128" fmla="*/ 2014918 w 3459766"/>
                  <a:gd name="connsiteY128" fmla="*/ 421195 h 468915"/>
                  <a:gd name="connsiteX129" fmla="*/ 2107406 w 3459766"/>
                  <a:gd name="connsiteY129" fmla="*/ 421195 h 468915"/>
                  <a:gd name="connsiteX130" fmla="*/ 2107406 w 3459766"/>
                  <a:gd name="connsiteY130" fmla="*/ 427577 h 468915"/>
                  <a:gd name="connsiteX131" fmla="*/ 2126361 w 3459766"/>
                  <a:gd name="connsiteY131" fmla="*/ 427577 h 468915"/>
                  <a:gd name="connsiteX132" fmla="*/ 2126361 w 3459766"/>
                  <a:gd name="connsiteY132" fmla="*/ 434054 h 468915"/>
                  <a:gd name="connsiteX133" fmla="*/ 2980182 w 3459766"/>
                  <a:gd name="connsiteY133" fmla="*/ 434054 h 468915"/>
                  <a:gd name="connsiteX134" fmla="*/ 2980182 w 3459766"/>
                  <a:gd name="connsiteY134" fmla="*/ 468915 h 468915"/>
                  <a:gd name="connsiteX135" fmla="*/ 3459766 w 3459766"/>
                  <a:gd name="connsiteY135" fmla="*/ 468915 h 468915"/>
                  <a:gd name="connsiteX0" fmla="*/ 0 w 3455480"/>
                  <a:gd name="connsiteY0" fmla="*/ 0 h 468915"/>
                  <a:gd name="connsiteX1" fmla="*/ 0 w 3455480"/>
                  <a:gd name="connsiteY1" fmla="*/ 6096 h 468915"/>
                  <a:gd name="connsiteX2" fmla="*/ 10477 w 3455480"/>
                  <a:gd name="connsiteY2" fmla="*/ 6096 h 468915"/>
                  <a:gd name="connsiteX3" fmla="*/ 10477 w 3455480"/>
                  <a:gd name="connsiteY3" fmla="*/ 12192 h 468915"/>
                  <a:gd name="connsiteX4" fmla="*/ 18860 w 3455480"/>
                  <a:gd name="connsiteY4" fmla="*/ 12192 h 468915"/>
                  <a:gd name="connsiteX5" fmla="*/ 18860 w 3455480"/>
                  <a:gd name="connsiteY5" fmla="*/ 18288 h 468915"/>
                  <a:gd name="connsiteX6" fmla="*/ 33623 w 3455480"/>
                  <a:gd name="connsiteY6" fmla="*/ 18288 h 468915"/>
                  <a:gd name="connsiteX7" fmla="*/ 33623 w 3455480"/>
                  <a:gd name="connsiteY7" fmla="*/ 24288 h 468915"/>
                  <a:gd name="connsiteX8" fmla="*/ 37814 w 3455480"/>
                  <a:gd name="connsiteY8" fmla="*/ 24288 h 468915"/>
                  <a:gd name="connsiteX9" fmla="*/ 37814 w 3455480"/>
                  <a:gd name="connsiteY9" fmla="*/ 30384 h 468915"/>
                  <a:gd name="connsiteX10" fmla="*/ 42005 w 3455480"/>
                  <a:gd name="connsiteY10" fmla="*/ 30384 h 468915"/>
                  <a:gd name="connsiteX11" fmla="*/ 42005 w 3455480"/>
                  <a:gd name="connsiteY11" fmla="*/ 36480 h 468915"/>
                  <a:gd name="connsiteX12" fmla="*/ 54674 w 3455480"/>
                  <a:gd name="connsiteY12" fmla="*/ 36480 h 468915"/>
                  <a:gd name="connsiteX13" fmla="*/ 54674 w 3455480"/>
                  <a:gd name="connsiteY13" fmla="*/ 42481 h 468915"/>
                  <a:gd name="connsiteX14" fmla="*/ 84106 w 3455480"/>
                  <a:gd name="connsiteY14" fmla="*/ 42481 h 468915"/>
                  <a:gd name="connsiteX15" fmla="*/ 84106 w 3455480"/>
                  <a:gd name="connsiteY15" fmla="*/ 48577 h 468915"/>
                  <a:gd name="connsiteX16" fmla="*/ 92488 w 3455480"/>
                  <a:gd name="connsiteY16" fmla="*/ 48577 h 468915"/>
                  <a:gd name="connsiteX17" fmla="*/ 92488 w 3455480"/>
                  <a:gd name="connsiteY17" fmla="*/ 54673 h 468915"/>
                  <a:gd name="connsiteX18" fmla="*/ 94583 w 3455480"/>
                  <a:gd name="connsiteY18" fmla="*/ 54673 h 468915"/>
                  <a:gd name="connsiteX19" fmla="*/ 94583 w 3455480"/>
                  <a:gd name="connsiteY19" fmla="*/ 60674 h 468915"/>
                  <a:gd name="connsiteX20" fmla="*/ 109347 w 3455480"/>
                  <a:gd name="connsiteY20" fmla="*/ 60674 h 468915"/>
                  <a:gd name="connsiteX21" fmla="*/ 109347 w 3455480"/>
                  <a:gd name="connsiteY21" fmla="*/ 72866 h 468915"/>
                  <a:gd name="connsiteX22" fmla="*/ 111443 w 3455480"/>
                  <a:gd name="connsiteY22" fmla="*/ 72866 h 468915"/>
                  <a:gd name="connsiteX23" fmla="*/ 111443 w 3455480"/>
                  <a:gd name="connsiteY23" fmla="*/ 78867 h 468915"/>
                  <a:gd name="connsiteX24" fmla="*/ 117729 w 3455480"/>
                  <a:gd name="connsiteY24" fmla="*/ 78867 h 468915"/>
                  <a:gd name="connsiteX25" fmla="*/ 117729 w 3455480"/>
                  <a:gd name="connsiteY25" fmla="*/ 84963 h 468915"/>
                  <a:gd name="connsiteX26" fmla="*/ 121920 w 3455480"/>
                  <a:gd name="connsiteY26" fmla="*/ 84963 h 468915"/>
                  <a:gd name="connsiteX27" fmla="*/ 121920 w 3455480"/>
                  <a:gd name="connsiteY27" fmla="*/ 91059 h 468915"/>
                  <a:gd name="connsiteX28" fmla="*/ 138779 w 3455480"/>
                  <a:gd name="connsiteY28" fmla="*/ 91059 h 468915"/>
                  <a:gd name="connsiteX29" fmla="*/ 138779 w 3455480"/>
                  <a:gd name="connsiteY29" fmla="*/ 103155 h 468915"/>
                  <a:gd name="connsiteX30" fmla="*/ 142970 w 3455480"/>
                  <a:gd name="connsiteY30" fmla="*/ 103155 h 468915"/>
                  <a:gd name="connsiteX31" fmla="*/ 142970 w 3455480"/>
                  <a:gd name="connsiteY31" fmla="*/ 109251 h 468915"/>
                  <a:gd name="connsiteX32" fmla="*/ 166116 w 3455480"/>
                  <a:gd name="connsiteY32" fmla="*/ 109251 h 468915"/>
                  <a:gd name="connsiteX33" fmla="*/ 166116 w 3455480"/>
                  <a:gd name="connsiteY33" fmla="*/ 115347 h 468915"/>
                  <a:gd name="connsiteX34" fmla="*/ 170307 w 3455480"/>
                  <a:gd name="connsiteY34" fmla="*/ 115347 h 468915"/>
                  <a:gd name="connsiteX35" fmla="*/ 170307 w 3455480"/>
                  <a:gd name="connsiteY35" fmla="*/ 121348 h 468915"/>
                  <a:gd name="connsiteX36" fmla="*/ 176594 w 3455480"/>
                  <a:gd name="connsiteY36" fmla="*/ 121348 h 468915"/>
                  <a:gd name="connsiteX37" fmla="*/ 176594 w 3455480"/>
                  <a:gd name="connsiteY37" fmla="*/ 133540 h 468915"/>
                  <a:gd name="connsiteX38" fmla="*/ 195548 w 3455480"/>
                  <a:gd name="connsiteY38" fmla="*/ 133540 h 468915"/>
                  <a:gd name="connsiteX39" fmla="*/ 195548 w 3455480"/>
                  <a:gd name="connsiteY39" fmla="*/ 139541 h 468915"/>
                  <a:gd name="connsiteX40" fmla="*/ 203930 w 3455480"/>
                  <a:gd name="connsiteY40" fmla="*/ 139541 h 468915"/>
                  <a:gd name="connsiteX41" fmla="*/ 203930 w 3455480"/>
                  <a:gd name="connsiteY41" fmla="*/ 145637 h 468915"/>
                  <a:gd name="connsiteX42" fmla="*/ 216599 w 3455480"/>
                  <a:gd name="connsiteY42" fmla="*/ 145637 h 468915"/>
                  <a:gd name="connsiteX43" fmla="*/ 216599 w 3455480"/>
                  <a:gd name="connsiteY43" fmla="*/ 151733 h 468915"/>
                  <a:gd name="connsiteX44" fmla="*/ 233458 w 3455480"/>
                  <a:gd name="connsiteY44" fmla="*/ 151733 h 468915"/>
                  <a:gd name="connsiteX45" fmla="*/ 233458 w 3455480"/>
                  <a:gd name="connsiteY45" fmla="*/ 157734 h 468915"/>
                  <a:gd name="connsiteX46" fmla="*/ 260795 w 3455480"/>
                  <a:gd name="connsiteY46" fmla="*/ 157734 h 468915"/>
                  <a:gd name="connsiteX47" fmla="*/ 260795 w 3455480"/>
                  <a:gd name="connsiteY47" fmla="*/ 163830 h 468915"/>
                  <a:gd name="connsiteX48" fmla="*/ 262890 w 3455480"/>
                  <a:gd name="connsiteY48" fmla="*/ 163830 h 468915"/>
                  <a:gd name="connsiteX49" fmla="*/ 262890 w 3455480"/>
                  <a:gd name="connsiteY49" fmla="*/ 169926 h 468915"/>
                  <a:gd name="connsiteX50" fmla="*/ 273367 w 3455480"/>
                  <a:gd name="connsiteY50" fmla="*/ 169926 h 468915"/>
                  <a:gd name="connsiteX51" fmla="*/ 273367 w 3455480"/>
                  <a:gd name="connsiteY51" fmla="*/ 175926 h 468915"/>
                  <a:gd name="connsiteX52" fmla="*/ 279654 w 3455480"/>
                  <a:gd name="connsiteY52" fmla="*/ 175926 h 468915"/>
                  <a:gd name="connsiteX53" fmla="*/ 279654 w 3455480"/>
                  <a:gd name="connsiteY53" fmla="*/ 188118 h 468915"/>
                  <a:gd name="connsiteX54" fmla="*/ 288131 w 3455480"/>
                  <a:gd name="connsiteY54" fmla="*/ 188118 h 468915"/>
                  <a:gd name="connsiteX55" fmla="*/ 288131 w 3455480"/>
                  <a:gd name="connsiteY55" fmla="*/ 194119 h 468915"/>
                  <a:gd name="connsiteX56" fmla="*/ 294418 w 3455480"/>
                  <a:gd name="connsiteY56" fmla="*/ 194119 h 468915"/>
                  <a:gd name="connsiteX57" fmla="*/ 294418 w 3455480"/>
                  <a:gd name="connsiteY57" fmla="*/ 206311 h 468915"/>
                  <a:gd name="connsiteX58" fmla="*/ 296513 w 3455480"/>
                  <a:gd name="connsiteY58" fmla="*/ 206311 h 468915"/>
                  <a:gd name="connsiteX59" fmla="*/ 296513 w 3455480"/>
                  <a:gd name="connsiteY59" fmla="*/ 212407 h 468915"/>
                  <a:gd name="connsiteX60" fmla="*/ 309086 w 3455480"/>
                  <a:gd name="connsiteY60" fmla="*/ 212407 h 468915"/>
                  <a:gd name="connsiteX61" fmla="*/ 309086 w 3455480"/>
                  <a:gd name="connsiteY61" fmla="*/ 218408 h 468915"/>
                  <a:gd name="connsiteX62" fmla="*/ 332232 w 3455480"/>
                  <a:gd name="connsiteY62" fmla="*/ 218408 h 468915"/>
                  <a:gd name="connsiteX63" fmla="*/ 332232 w 3455480"/>
                  <a:gd name="connsiteY63" fmla="*/ 224504 h 468915"/>
                  <a:gd name="connsiteX64" fmla="*/ 338614 w 3455480"/>
                  <a:gd name="connsiteY64" fmla="*/ 224504 h 468915"/>
                  <a:gd name="connsiteX65" fmla="*/ 338614 w 3455480"/>
                  <a:gd name="connsiteY65" fmla="*/ 230600 h 468915"/>
                  <a:gd name="connsiteX66" fmla="*/ 346996 w 3455480"/>
                  <a:gd name="connsiteY66" fmla="*/ 230600 h 468915"/>
                  <a:gd name="connsiteX67" fmla="*/ 346996 w 3455480"/>
                  <a:gd name="connsiteY67" fmla="*/ 236601 h 468915"/>
                  <a:gd name="connsiteX68" fmla="*/ 355378 w 3455480"/>
                  <a:gd name="connsiteY68" fmla="*/ 236601 h 468915"/>
                  <a:gd name="connsiteX69" fmla="*/ 355378 w 3455480"/>
                  <a:gd name="connsiteY69" fmla="*/ 242697 h 468915"/>
                  <a:gd name="connsiteX70" fmla="*/ 359569 w 3455480"/>
                  <a:gd name="connsiteY70" fmla="*/ 242697 h 468915"/>
                  <a:gd name="connsiteX71" fmla="*/ 359569 w 3455480"/>
                  <a:gd name="connsiteY71" fmla="*/ 248793 h 468915"/>
                  <a:gd name="connsiteX72" fmla="*/ 433197 w 3455480"/>
                  <a:gd name="connsiteY72" fmla="*/ 248793 h 468915"/>
                  <a:gd name="connsiteX73" fmla="*/ 433197 w 3455480"/>
                  <a:gd name="connsiteY73" fmla="*/ 254793 h 468915"/>
                  <a:gd name="connsiteX74" fmla="*/ 454247 w 3455480"/>
                  <a:gd name="connsiteY74" fmla="*/ 254793 h 468915"/>
                  <a:gd name="connsiteX75" fmla="*/ 454247 w 3455480"/>
                  <a:gd name="connsiteY75" fmla="*/ 260889 h 468915"/>
                  <a:gd name="connsiteX76" fmla="*/ 460534 w 3455480"/>
                  <a:gd name="connsiteY76" fmla="*/ 260889 h 468915"/>
                  <a:gd name="connsiteX77" fmla="*/ 460534 w 3455480"/>
                  <a:gd name="connsiteY77" fmla="*/ 266985 h 468915"/>
                  <a:gd name="connsiteX78" fmla="*/ 502634 w 3455480"/>
                  <a:gd name="connsiteY78" fmla="*/ 266985 h 468915"/>
                  <a:gd name="connsiteX79" fmla="*/ 502634 w 3455480"/>
                  <a:gd name="connsiteY79" fmla="*/ 272986 h 468915"/>
                  <a:gd name="connsiteX80" fmla="*/ 517303 w 3455480"/>
                  <a:gd name="connsiteY80" fmla="*/ 272986 h 468915"/>
                  <a:gd name="connsiteX81" fmla="*/ 517303 w 3455480"/>
                  <a:gd name="connsiteY81" fmla="*/ 279082 h 468915"/>
                  <a:gd name="connsiteX82" fmla="*/ 546830 w 3455480"/>
                  <a:gd name="connsiteY82" fmla="*/ 279082 h 468915"/>
                  <a:gd name="connsiteX83" fmla="*/ 546830 w 3455480"/>
                  <a:gd name="connsiteY83" fmla="*/ 285178 h 468915"/>
                  <a:gd name="connsiteX84" fmla="*/ 548926 w 3455480"/>
                  <a:gd name="connsiteY84" fmla="*/ 285178 h 468915"/>
                  <a:gd name="connsiteX85" fmla="*/ 548926 w 3455480"/>
                  <a:gd name="connsiteY85" fmla="*/ 291179 h 468915"/>
                  <a:gd name="connsiteX86" fmla="*/ 571976 w 3455480"/>
                  <a:gd name="connsiteY86" fmla="*/ 291179 h 468915"/>
                  <a:gd name="connsiteX87" fmla="*/ 571976 w 3455480"/>
                  <a:gd name="connsiteY87" fmla="*/ 297275 h 468915"/>
                  <a:gd name="connsiteX88" fmla="*/ 584645 w 3455480"/>
                  <a:gd name="connsiteY88" fmla="*/ 297275 h 468915"/>
                  <a:gd name="connsiteX89" fmla="*/ 584645 w 3455480"/>
                  <a:gd name="connsiteY89" fmla="*/ 303371 h 468915"/>
                  <a:gd name="connsiteX90" fmla="*/ 620363 w 3455480"/>
                  <a:gd name="connsiteY90" fmla="*/ 303371 h 468915"/>
                  <a:gd name="connsiteX91" fmla="*/ 620363 w 3455480"/>
                  <a:gd name="connsiteY91" fmla="*/ 309467 h 468915"/>
                  <a:gd name="connsiteX92" fmla="*/ 736092 w 3455480"/>
                  <a:gd name="connsiteY92" fmla="*/ 309467 h 468915"/>
                  <a:gd name="connsiteX93" fmla="*/ 736092 w 3455480"/>
                  <a:gd name="connsiteY93" fmla="*/ 315468 h 468915"/>
                  <a:gd name="connsiteX94" fmla="*/ 773906 w 3455480"/>
                  <a:gd name="connsiteY94" fmla="*/ 315468 h 468915"/>
                  <a:gd name="connsiteX95" fmla="*/ 773906 w 3455480"/>
                  <a:gd name="connsiteY95" fmla="*/ 321659 h 468915"/>
                  <a:gd name="connsiteX96" fmla="*/ 826484 w 3455480"/>
                  <a:gd name="connsiteY96" fmla="*/ 321659 h 468915"/>
                  <a:gd name="connsiteX97" fmla="*/ 826484 w 3455480"/>
                  <a:gd name="connsiteY97" fmla="*/ 327755 h 468915"/>
                  <a:gd name="connsiteX98" fmla="*/ 845439 w 3455480"/>
                  <a:gd name="connsiteY98" fmla="*/ 327755 h 468915"/>
                  <a:gd name="connsiteX99" fmla="*/ 845439 w 3455480"/>
                  <a:gd name="connsiteY99" fmla="*/ 333851 h 468915"/>
                  <a:gd name="connsiteX100" fmla="*/ 855917 w 3455480"/>
                  <a:gd name="connsiteY100" fmla="*/ 333851 h 468915"/>
                  <a:gd name="connsiteX101" fmla="*/ 855917 w 3455480"/>
                  <a:gd name="connsiteY101" fmla="*/ 340042 h 468915"/>
                  <a:gd name="connsiteX102" fmla="*/ 889635 w 3455480"/>
                  <a:gd name="connsiteY102" fmla="*/ 340042 h 468915"/>
                  <a:gd name="connsiteX103" fmla="*/ 889635 w 3455480"/>
                  <a:gd name="connsiteY103" fmla="*/ 346138 h 468915"/>
                  <a:gd name="connsiteX104" fmla="*/ 895922 w 3455480"/>
                  <a:gd name="connsiteY104" fmla="*/ 346138 h 468915"/>
                  <a:gd name="connsiteX105" fmla="*/ 895922 w 3455480"/>
                  <a:gd name="connsiteY105" fmla="*/ 352234 h 468915"/>
                  <a:gd name="connsiteX106" fmla="*/ 910590 w 3455480"/>
                  <a:gd name="connsiteY106" fmla="*/ 352234 h 468915"/>
                  <a:gd name="connsiteX107" fmla="*/ 910590 w 3455480"/>
                  <a:gd name="connsiteY107" fmla="*/ 358330 h 468915"/>
                  <a:gd name="connsiteX108" fmla="*/ 923258 w 3455480"/>
                  <a:gd name="connsiteY108" fmla="*/ 358330 h 468915"/>
                  <a:gd name="connsiteX109" fmla="*/ 923258 w 3455480"/>
                  <a:gd name="connsiteY109" fmla="*/ 364521 h 468915"/>
                  <a:gd name="connsiteX110" fmla="*/ 948500 w 3455480"/>
                  <a:gd name="connsiteY110" fmla="*/ 364521 h 468915"/>
                  <a:gd name="connsiteX111" fmla="*/ 948500 w 3455480"/>
                  <a:gd name="connsiteY111" fmla="*/ 370617 h 468915"/>
                  <a:gd name="connsiteX112" fmla="*/ 1177766 w 3455480"/>
                  <a:gd name="connsiteY112" fmla="*/ 370617 h 468915"/>
                  <a:gd name="connsiteX113" fmla="*/ 1177766 w 3455480"/>
                  <a:gd name="connsiteY113" fmla="*/ 376809 h 468915"/>
                  <a:gd name="connsiteX114" fmla="*/ 1291304 w 3455480"/>
                  <a:gd name="connsiteY114" fmla="*/ 376809 h 468915"/>
                  <a:gd name="connsiteX115" fmla="*/ 1291304 w 3455480"/>
                  <a:gd name="connsiteY115" fmla="*/ 383000 h 468915"/>
                  <a:gd name="connsiteX116" fmla="*/ 1560481 w 3455480"/>
                  <a:gd name="connsiteY116" fmla="*/ 383000 h 468915"/>
                  <a:gd name="connsiteX117" fmla="*/ 1560481 w 3455480"/>
                  <a:gd name="connsiteY117" fmla="*/ 389286 h 468915"/>
                  <a:gd name="connsiteX118" fmla="*/ 1634109 w 3455480"/>
                  <a:gd name="connsiteY118" fmla="*/ 389286 h 468915"/>
                  <a:gd name="connsiteX119" fmla="*/ 1634109 w 3455480"/>
                  <a:gd name="connsiteY119" fmla="*/ 395573 h 468915"/>
                  <a:gd name="connsiteX120" fmla="*/ 1714024 w 3455480"/>
                  <a:gd name="connsiteY120" fmla="*/ 395573 h 468915"/>
                  <a:gd name="connsiteX121" fmla="*/ 1714024 w 3455480"/>
                  <a:gd name="connsiteY121" fmla="*/ 401859 h 468915"/>
                  <a:gd name="connsiteX122" fmla="*/ 1875949 w 3455480"/>
                  <a:gd name="connsiteY122" fmla="*/ 401859 h 468915"/>
                  <a:gd name="connsiteX123" fmla="*/ 1875949 w 3455480"/>
                  <a:gd name="connsiteY123" fmla="*/ 408336 h 468915"/>
                  <a:gd name="connsiteX124" fmla="*/ 1892808 w 3455480"/>
                  <a:gd name="connsiteY124" fmla="*/ 408336 h 468915"/>
                  <a:gd name="connsiteX125" fmla="*/ 1892808 w 3455480"/>
                  <a:gd name="connsiteY125" fmla="*/ 414718 h 468915"/>
                  <a:gd name="connsiteX126" fmla="*/ 2010632 w 3455480"/>
                  <a:gd name="connsiteY126" fmla="*/ 414718 h 468915"/>
                  <a:gd name="connsiteX127" fmla="*/ 2010632 w 3455480"/>
                  <a:gd name="connsiteY127" fmla="*/ 421195 h 468915"/>
                  <a:gd name="connsiteX128" fmla="*/ 2103120 w 3455480"/>
                  <a:gd name="connsiteY128" fmla="*/ 421195 h 468915"/>
                  <a:gd name="connsiteX129" fmla="*/ 2103120 w 3455480"/>
                  <a:gd name="connsiteY129" fmla="*/ 427577 h 468915"/>
                  <a:gd name="connsiteX130" fmla="*/ 2122075 w 3455480"/>
                  <a:gd name="connsiteY130" fmla="*/ 427577 h 468915"/>
                  <a:gd name="connsiteX131" fmla="*/ 2122075 w 3455480"/>
                  <a:gd name="connsiteY131" fmla="*/ 434054 h 468915"/>
                  <a:gd name="connsiteX132" fmla="*/ 2975896 w 3455480"/>
                  <a:gd name="connsiteY132" fmla="*/ 434054 h 468915"/>
                  <a:gd name="connsiteX133" fmla="*/ 2975896 w 3455480"/>
                  <a:gd name="connsiteY133" fmla="*/ 468915 h 468915"/>
                  <a:gd name="connsiteX134" fmla="*/ 3455480 w 3455480"/>
                  <a:gd name="connsiteY134" fmla="*/ 468915 h 468915"/>
                  <a:gd name="connsiteX0" fmla="*/ 0 w 3455480"/>
                  <a:gd name="connsiteY0" fmla="*/ 0 h 468915"/>
                  <a:gd name="connsiteX1" fmla="*/ 0 w 3455480"/>
                  <a:gd name="connsiteY1" fmla="*/ 6096 h 468915"/>
                  <a:gd name="connsiteX2" fmla="*/ 10477 w 3455480"/>
                  <a:gd name="connsiteY2" fmla="*/ 12192 h 468915"/>
                  <a:gd name="connsiteX3" fmla="*/ 18860 w 3455480"/>
                  <a:gd name="connsiteY3" fmla="*/ 12192 h 468915"/>
                  <a:gd name="connsiteX4" fmla="*/ 18860 w 3455480"/>
                  <a:gd name="connsiteY4" fmla="*/ 18288 h 468915"/>
                  <a:gd name="connsiteX5" fmla="*/ 33623 w 3455480"/>
                  <a:gd name="connsiteY5" fmla="*/ 18288 h 468915"/>
                  <a:gd name="connsiteX6" fmla="*/ 33623 w 3455480"/>
                  <a:gd name="connsiteY6" fmla="*/ 24288 h 468915"/>
                  <a:gd name="connsiteX7" fmla="*/ 37814 w 3455480"/>
                  <a:gd name="connsiteY7" fmla="*/ 24288 h 468915"/>
                  <a:gd name="connsiteX8" fmla="*/ 37814 w 3455480"/>
                  <a:gd name="connsiteY8" fmla="*/ 30384 h 468915"/>
                  <a:gd name="connsiteX9" fmla="*/ 42005 w 3455480"/>
                  <a:gd name="connsiteY9" fmla="*/ 30384 h 468915"/>
                  <a:gd name="connsiteX10" fmla="*/ 42005 w 3455480"/>
                  <a:gd name="connsiteY10" fmla="*/ 36480 h 468915"/>
                  <a:gd name="connsiteX11" fmla="*/ 54674 w 3455480"/>
                  <a:gd name="connsiteY11" fmla="*/ 36480 h 468915"/>
                  <a:gd name="connsiteX12" fmla="*/ 54674 w 3455480"/>
                  <a:gd name="connsiteY12" fmla="*/ 42481 h 468915"/>
                  <a:gd name="connsiteX13" fmla="*/ 84106 w 3455480"/>
                  <a:gd name="connsiteY13" fmla="*/ 42481 h 468915"/>
                  <a:gd name="connsiteX14" fmla="*/ 84106 w 3455480"/>
                  <a:gd name="connsiteY14" fmla="*/ 48577 h 468915"/>
                  <a:gd name="connsiteX15" fmla="*/ 92488 w 3455480"/>
                  <a:gd name="connsiteY15" fmla="*/ 48577 h 468915"/>
                  <a:gd name="connsiteX16" fmla="*/ 92488 w 3455480"/>
                  <a:gd name="connsiteY16" fmla="*/ 54673 h 468915"/>
                  <a:gd name="connsiteX17" fmla="*/ 94583 w 3455480"/>
                  <a:gd name="connsiteY17" fmla="*/ 54673 h 468915"/>
                  <a:gd name="connsiteX18" fmla="*/ 94583 w 3455480"/>
                  <a:gd name="connsiteY18" fmla="*/ 60674 h 468915"/>
                  <a:gd name="connsiteX19" fmla="*/ 109347 w 3455480"/>
                  <a:gd name="connsiteY19" fmla="*/ 60674 h 468915"/>
                  <a:gd name="connsiteX20" fmla="*/ 109347 w 3455480"/>
                  <a:gd name="connsiteY20" fmla="*/ 72866 h 468915"/>
                  <a:gd name="connsiteX21" fmla="*/ 111443 w 3455480"/>
                  <a:gd name="connsiteY21" fmla="*/ 72866 h 468915"/>
                  <a:gd name="connsiteX22" fmla="*/ 111443 w 3455480"/>
                  <a:gd name="connsiteY22" fmla="*/ 78867 h 468915"/>
                  <a:gd name="connsiteX23" fmla="*/ 117729 w 3455480"/>
                  <a:gd name="connsiteY23" fmla="*/ 78867 h 468915"/>
                  <a:gd name="connsiteX24" fmla="*/ 117729 w 3455480"/>
                  <a:gd name="connsiteY24" fmla="*/ 84963 h 468915"/>
                  <a:gd name="connsiteX25" fmla="*/ 121920 w 3455480"/>
                  <a:gd name="connsiteY25" fmla="*/ 84963 h 468915"/>
                  <a:gd name="connsiteX26" fmla="*/ 121920 w 3455480"/>
                  <a:gd name="connsiteY26" fmla="*/ 91059 h 468915"/>
                  <a:gd name="connsiteX27" fmla="*/ 138779 w 3455480"/>
                  <a:gd name="connsiteY27" fmla="*/ 91059 h 468915"/>
                  <a:gd name="connsiteX28" fmla="*/ 138779 w 3455480"/>
                  <a:gd name="connsiteY28" fmla="*/ 103155 h 468915"/>
                  <a:gd name="connsiteX29" fmla="*/ 142970 w 3455480"/>
                  <a:gd name="connsiteY29" fmla="*/ 103155 h 468915"/>
                  <a:gd name="connsiteX30" fmla="*/ 142970 w 3455480"/>
                  <a:gd name="connsiteY30" fmla="*/ 109251 h 468915"/>
                  <a:gd name="connsiteX31" fmla="*/ 166116 w 3455480"/>
                  <a:gd name="connsiteY31" fmla="*/ 109251 h 468915"/>
                  <a:gd name="connsiteX32" fmla="*/ 166116 w 3455480"/>
                  <a:gd name="connsiteY32" fmla="*/ 115347 h 468915"/>
                  <a:gd name="connsiteX33" fmla="*/ 170307 w 3455480"/>
                  <a:gd name="connsiteY33" fmla="*/ 115347 h 468915"/>
                  <a:gd name="connsiteX34" fmla="*/ 170307 w 3455480"/>
                  <a:gd name="connsiteY34" fmla="*/ 121348 h 468915"/>
                  <a:gd name="connsiteX35" fmla="*/ 176594 w 3455480"/>
                  <a:gd name="connsiteY35" fmla="*/ 121348 h 468915"/>
                  <a:gd name="connsiteX36" fmla="*/ 176594 w 3455480"/>
                  <a:gd name="connsiteY36" fmla="*/ 133540 h 468915"/>
                  <a:gd name="connsiteX37" fmla="*/ 195548 w 3455480"/>
                  <a:gd name="connsiteY37" fmla="*/ 133540 h 468915"/>
                  <a:gd name="connsiteX38" fmla="*/ 195548 w 3455480"/>
                  <a:gd name="connsiteY38" fmla="*/ 139541 h 468915"/>
                  <a:gd name="connsiteX39" fmla="*/ 203930 w 3455480"/>
                  <a:gd name="connsiteY39" fmla="*/ 139541 h 468915"/>
                  <a:gd name="connsiteX40" fmla="*/ 203930 w 3455480"/>
                  <a:gd name="connsiteY40" fmla="*/ 145637 h 468915"/>
                  <a:gd name="connsiteX41" fmla="*/ 216599 w 3455480"/>
                  <a:gd name="connsiteY41" fmla="*/ 145637 h 468915"/>
                  <a:gd name="connsiteX42" fmla="*/ 216599 w 3455480"/>
                  <a:gd name="connsiteY42" fmla="*/ 151733 h 468915"/>
                  <a:gd name="connsiteX43" fmla="*/ 233458 w 3455480"/>
                  <a:gd name="connsiteY43" fmla="*/ 151733 h 468915"/>
                  <a:gd name="connsiteX44" fmla="*/ 233458 w 3455480"/>
                  <a:gd name="connsiteY44" fmla="*/ 157734 h 468915"/>
                  <a:gd name="connsiteX45" fmla="*/ 260795 w 3455480"/>
                  <a:gd name="connsiteY45" fmla="*/ 157734 h 468915"/>
                  <a:gd name="connsiteX46" fmla="*/ 260795 w 3455480"/>
                  <a:gd name="connsiteY46" fmla="*/ 163830 h 468915"/>
                  <a:gd name="connsiteX47" fmla="*/ 262890 w 3455480"/>
                  <a:gd name="connsiteY47" fmla="*/ 163830 h 468915"/>
                  <a:gd name="connsiteX48" fmla="*/ 262890 w 3455480"/>
                  <a:gd name="connsiteY48" fmla="*/ 169926 h 468915"/>
                  <a:gd name="connsiteX49" fmla="*/ 273367 w 3455480"/>
                  <a:gd name="connsiteY49" fmla="*/ 169926 h 468915"/>
                  <a:gd name="connsiteX50" fmla="*/ 273367 w 3455480"/>
                  <a:gd name="connsiteY50" fmla="*/ 175926 h 468915"/>
                  <a:gd name="connsiteX51" fmla="*/ 279654 w 3455480"/>
                  <a:gd name="connsiteY51" fmla="*/ 175926 h 468915"/>
                  <a:gd name="connsiteX52" fmla="*/ 279654 w 3455480"/>
                  <a:gd name="connsiteY52" fmla="*/ 188118 h 468915"/>
                  <a:gd name="connsiteX53" fmla="*/ 288131 w 3455480"/>
                  <a:gd name="connsiteY53" fmla="*/ 188118 h 468915"/>
                  <a:gd name="connsiteX54" fmla="*/ 288131 w 3455480"/>
                  <a:gd name="connsiteY54" fmla="*/ 194119 h 468915"/>
                  <a:gd name="connsiteX55" fmla="*/ 294418 w 3455480"/>
                  <a:gd name="connsiteY55" fmla="*/ 194119 h 468915"/>
                  <a:gd name="connsiteX56" fmla="*/ 294418 w 3455480"/>
                  <a:gd name="connsiteY56" fmla="*/ 206311 h 468915"/>
                  <a:gd name="connsiteX57" fmla="*/ 296513 w 3455480"/>
                  <a:gd name="connsiteY57" fmla="*/ 206311 h 468915"/>
                  <a:gd name="connsiteX58" fmla="*/ 296513 w 3455480"/>
                  <a:gd name="connsiteY58" fmla="*/ 212407 h 468915"/>
                  <a:gd name="connsiteX59" fmla="*/ 309086 w 3455480"/>
                  <a:gd name="connsiteY59" fmla="*/ 212407 h 468915"/>
                  <a:gd name="connsiteX60" fmla="*/ 309086 w 3455480"/>
                  <a:gd name="connsiteY60" fmla="*/ 218408 h 468915"/>
                  <a:gd name="connsiteX61" fmla="*/ 332232 w 3455480"/>
                  <a:gd name="connsiteY61" fmla="*/ 218408 h 468915"/>
                  <a:gd name="connsiteX62" fmla="*/ 332232 w 3455480"/>
                  <a:gd name="connsiteY62" fmla="*/ 224504 h 468915"/>
                  <a:gd name="connsiteX63" fmla="*/ 338614 w 3455480"/>
                  <a:gd name="connsiteY63" fmla="*/ 224504 h 468915"/>
                  <a:gd name="connsiteX64" fmla="*/ 338614 w 3455480"/>
                  <a:gd name="connsiteY64" fmla="*/ 230600 h 468915"/>
                  <a:gd name="connsiteX65" fmla="*/ 346996 w 3455480"/>
                  <a:gd name="connsiteY65" fmla="*/ 230600 h 468915"/>
                  <a:gd name="connsiteX66" fmla="*/ 346996 w 3455480"/>
                  <a:gd name="connsiteY66" fmla="*/ 236601 h 468915"/>
                  <a:gd name="connsiteX67" fmla="*/ 355378 w 3455480"/>
                  <a:gd name="connsiteY67" fmla="*/ 236601 h 468915"/>
                  <a:gd name="connsiteX68" fmla="*/ 355378 w 3455480"/>
                  <a:gd name="connsiteY68" fmla="*/ 242697 h 468915"/>
                  <a:gd name="connsiteX69" fmla="*/ 359569 w 3455480"/>
                  <a:gd name="connsiteY69" fmla="*/ 242697 h 468915"/>
                  <a:gd name="connsiteX70" fmla="*/ 359569 w 3455480"/>
                  <a:gd name="connsiteY70" fmla="*/ 248793 h 468915"/>
                  <a:gd name="connsiteX71" fmla="*/ 433197 w 3455480"/>
                  <a:gd name="connsiteY71" fmla="*/ 248793 h 468915"/>
                  <a:gd name="connsiteX72" fmla="*/ 433197 w 3455480"/>
                  <a:gd name="connsiteY72" fmla="*/ 254793 h 468915"/>
                  <a:gd name="connsiteX73" fmla="*/ 454247 w 3455480"/>
                  <a:gd name="connsiteY73" fmla="*/ 254793 h 468915"/>
                  <a:gd name="connsiteX74" fmla="*/ 454247 w 3455480"/>
                  <a:gd name="connsiteY74" fmla="*/ 260889 h 468915"/>
                  <a:gd name="connsiteX75" fmla="*/ 460534 w 3455480"/>
                  <a:gd name="connsiteY75" fmla="*/ 260889 h 468915"/>
                  <a:gd name="connsiteX76" fmla="*/ 460534 w 3455480"/>
                  <a:gd name="connsiteY76" fmla="*/ 266985 h 468915"/>
                  <a:gd name="connsiteX77" fmla="*/ 502634 w 3455480"/>
                  <a:gd name="connsiteY77" fmla="*/ 266985 h 468915"/>
                  <a:gd name="connsiteX78" fmla="*/ 502634 w 3455480"/>
                  <a:gd name="connsiteY78" fmla="*/ 272986 h 468915"/>
                  <a:gd name="connsiteX79" fmla="*/ 517303 w 3455480"/>
                  <a:gd name="connsiteY79" fmla="*/ 272986 h 468915"/>
                  <a:gd name="connsiteX80" fmla="*/ 517303 w 3455480"/>
                  <a:gd name="connsiteY80" fmla="*/ 279082 h 468915"/>
                  <a:gd name="connsiteX81" fmla="*/ 546830 w 3455480"/>
                  <a:gd name="connsiteY81" fmla="*/ 279082 h 468915"/>
                  <a:gd name="connsiteX82" fmla="*/ 546830 w 3455480"/>
                  <a:gd name="connsiteY82" fmla="*/ 285178 h 468915"/>
                  <a:gd name="connsiteX83" fmla="*/ 548926 w 3455480"/>
                  <a:gd name="connsiteY83" fmla="*/ 285178 h 468915"/>
                  <a:gd name="connsiteX84" fmla="*/ 548926 w 3455480"/>
                  <a:gd name="connsiteY84" fmla="*/ 291179 h 468915"/>
                  <a:gd name="connsiteX85" fmla="*/ 571976 w 3455480"/>
                  <a:gd name="connsiteY85" fmla="*/ 291179 h 468915"/>
                  <a:gd name="connsiteX86" fmla="*/ 571976 w 3455480"/>
                  <a:gd name="connsiteY86" fmla="*/ 297275 h 468915"/>
                  <a:gd name="connsiteX87" fmla="*/ 584645 w 3455480"/>
                  <a:gd name="connsiteY87" fmla="*/ 297275 h 468915"/>
                  <a:gd name="connsiteX88" fmla="*/ 584645 w 3455480"/>
                  <a:gd name="connsiteY88" fmla="*/ 303371 h 468915"/>
                  <a:gd name="connsiteX89" fmla="*/ 620363 w 3455480"/>
                  <a:gd name="connsiteY89" fmla="*/ 303371 h 468915"/>
                  <a:gd name="connsiteX90" fmla="*/ 620363 w 3455480"/>
                  <a:gd name="connsiteY90" fmla="*/ 309467 h 468915"/>
                  <a:gd name="connsiteX91" fmla="*/ 736092 w 3455480"/>
                  <a:gd name="connsiteY91" fmla="*/ 309467 h 468915"/>
                  <a:gd name="connsiteX92" fmla="*/ 736092 w 3455480"/>
                  <a:gd name="connsiteY92" fmla="*/ 315468 h 468915"/>
                  <a:gd name="connsiteX93" fmla="*/ 773906 w 3455480"/>
                  <a:gd name="connsiteY93" fmla="*/ 315468 h 468915"/>
                  <a:gd name="connsiteX94" fmla="*/ 773906 w 3455480"/>
                  <a:gd name="connsiteY94" fmla="*/ 321659 h 468915"/>
                  <a:gd name="connsiteX95" fmla="*/ 826484 w 3455480"/>
                  <a:gd name="connsiteY95" fmla="*/ 321659 h 468915"/>
                  <a:gd name="connsiteX96" fmla="*/ 826484 w 3455480"/>
                  <a:gd name="connsiteY96" fmla="*/ 327755 h 468915"/>
                  <a:gd name="connsiteX97" fmla="*/ 845439 w 3455480"/>
                  <a:gd name="connsiteY97" fmla="*/ 327755 h 468915"/>
                  <a:gd name="connsiteX98" fmla="*/ 845439 w 3455480"/>
                  <a:gd name="connsiteY98" fmla="*/ 333851 h 468915"/>
                  <a:gd name="connsiteX99" fmla="*/ 855917 w 3455480"/>
                  <a:gd name="connsiteY99" fmla="*/ 333851 h 468915"/>
                  <a:gd name="connsiteX100" fmla="*/ 855917 w 3455480"/>
                  <a:gd name="connsiteY100" fmla="*/ 340042 h 468915"/>
                  <a:gd name="connsiteX101" fmla="*/ 889635 w 3455480"/>
                  <a:gd name="connsiteY101" fmla="*/ 340042 h 468915"/>
                  <a:gd name="connsiteX102" fmla="*/ 889635 w 3455480"/>
                  <a:gd name="connsiteY102" fmla="*/ 346138 h 468915"/>
                  <a:gd name="connsiteX103" fmla="*/ 895922 w 3455480"/>
                  <a:gd name="connsiteY103" fmla="*/ 346138 h 468915"/>
                  <a:gd name="connsiteX104" fmla="*/ 895922 w 3455480"/>
                  <a:gd name="connsiteY104" fmla="*/ 352234 h 468915"/>
                  <a:gd name="connsiteX105" fmla="*/ 910590 w 3455480"/>
                  <a:gd name="connsiteY105" fmla="*/ 352234 h 468915"/>
                  <a:gd name="connsiteX106" fmla="*/ 910590 w 3455480"/>
                  <a:gd name="connsiteY106" fmla="*/ 358330 h 468915"/>
                  <a:gd name="connsiteX107" fmla="*/ 923258 w 3455480"/>
                  <a:gd name="connsiteY107" fmla="*/ 358330 h 468915"/>
                  <a:gd name="connsiteX108" fmla="*/ 923258 w 3455480"/>
                  <a:gd name="connsiteY108" fmla="*/ 364521 h 468915"/>
                  <a:gd name="connsiteX109" fmla="*/ 948500 w 3455480"/>
                  <a:gd name="connsiteY109" fmla="*/ 364521 h 468915"/>
                  <a:gd name="connsiteX110" fmla="*/ 948500 w 3455480"/>
                  <a:gd name="connsiteY110" fmla="*/ 370617 h 468915"/>
                  <a:gd name="connsiteX111" fmla="*/ 1177766 w 3455480"/>
                  <a:gd name="connsiteY111" fmla="*/ 370617 h 468915"/>
                  <a:gd name="connsiteX112" fmla="*/ 1177766 w 3455480"/>
                  <a:gd name="connsiteY112" fmla="*/ 376809 h 468915"/>
                  <a:gd name="connsiteX113" fmla="*/ 1291304 w 3455480"/>
                  <a:gd name="connsiteY113" fmla="*/ 376809 h 468915"/>
                  <a:gd name="connsiteX114" fmla="*/ 1291304 w 3455480"/>
                  <a:gd name="connsiteY114" fmla="*/ 383000 h 468915"/>
                  <a:gd name="connsiteX115" fmla="*/ 1560481 w 3455480"/>
                  <a:gd name="connsiteY115" fmla="*/ 383000 h 468915"/>
                  <a:gd name="connsiteX116" fmla="*/ 1560481 w 3455480"/>
                  <a:gd name="connsiteY116" fmla="*/ 389286 h 468915"/>
                  <a:gd name="connsiteX117" fmla="*/ 1634109 w 3455480"/>
                  <a:gd name="connsiteY117" fmla="*/ 389286 h 468915"/>
                  <a:gd name="connsiteX118" fmla="*/ 1634109 w 3455480"/>
                  <a:gd name="connsiteY118" fmla="*/ 395573 h 468915"/>
                  <a:gd name="connsiteX119" fmla="*/ 1714024 w 3455480"/>
                  <a:gd name="connsiteY119" fmla="*/ 395573 h 468915"/>
                  <a:gd name="connsiteX120" fmla="*/ 1714024 w 3455480"/>
                  <a:gd name="connsiteY120" fmla="*/ 401859 h 468915"/>
                  <a:gd name="connsiteX121" fmla="*/ 1875949 w 3455480"/>
                  <a:gd name="connsiteY121" fmla="*/ 401859 h 468915"/>
                  <a:gd name="connsiteX122" fmla="*/ 1875949 w 3455480"/>
                  <a:gd name="connsiteY122" fmla="*/ 408336 h 468915"/>
                  <a:gd name="connsiteX123" fmla="*/ 1892808 w 3455480"/>
                  <a:gd name="connsiteY123" fmla="*/ 408336 h 468915"/>
                  <a:gd name="connsiteX124" fmla="*/ 1892808 w 3455480"/>
                  <a:gd name="connsiteY124" fmla="*/ 414718 h 468915"/>
                  <a:gd name="connsiteX125" fmla="*/ 2010632 w 3455480"/>
                  <a:gd name="connsiteY125" fmla="*/ 414718 h 468915"/>
                  <a:gd name="connsiteX126" fmla="*/ 2010632 w 3455480"/>
                  <a:gd name="connsiteY126" fmla="*/ 421195 h 468915"/>
                  <a:gd name="connsiteX127" fmla="*/ 2103120 w 3455480"/>
                  <a:gd name="connsiteY127" fmla="*/ 421195 h 468915"/>
                  <a:gd name="connsiteX128" fmla="*/ 2103120 w 3455480"/>
                  <a:gd name="connsiteY128" fmla="*/ 427577 h 468915"/>
                  <a:gd name="connsiteX129" fmla="*/ 2122075 w 3455480"/>
                  <a:gd name="connsiteY129" fmla="*/ 427577 h 468915"/>
                  <a:gd name="connsiteX130" fmla="*/ 2122075 w 3455480"/>
                  <a:gd name="connsiteY130" fmla="*/ 434054 h 468915"/>
                  <a:gd name="connsiteX131" fmla="*/ 2975896 w 3455480"/>
                  <a:gd name="connsiteY131" fmla="*/ 434054 h 468915"/>
                  <a:gd name="connsiteX132" fmla="*/ 2975896 w 3455480"/>
                  <a:gd name="connsiteY132" fmla="*/ 468915 h 468915"/>
                  <a:gd name="connsiteX133" fmla="*/ 3455480 w 3455480"/>
                  <a:gd name="connsiteY133" fmla="*/ 468915 h 468915"/>
                  <a:gd name="connsiteX0" fmla="*/ 0 w 3455480"/>
                  <a:gd name="connsiteY0" fmla="*/ 0 h 468915"/>
                  <a:gd name="connsiteX1" fmla="*/ 10477 w 3455480"/>
                  <a:gd name="connsiteY1" fmla="*/ 12192 h 468915"/>
                  <a:gd name="connsiteX2" fmla="*/ 18860 w 3455480"/>
                  <a:gd name="connsiteY2" fmla="*/ 12192 h 468915"/>
                  <a:gd name="connsiteX3" fmla="*/ 18860 w 3455480"/>
                  <a:gd name="connsiteY3" fmla="*/ 18288 h 468915"/>
                  <a:gd name="connsiteX4" fmla="*/ 33623 w 3455480"/>
                  <a:gd name="connsiteY4" fmla="*/ 18288 h 468915"/>
                  <a:gd name="connsiteX5" fmla="*/ 33623 w 3455480"/>
                  <a:gd name="connsiteY5" fmla="*/ 24288 h 468915"/>
                  <a:gd name="connsiteX6" fmla="*/ 37814 w 3455480"/>
                  <a:gd name="connsiteY6" fmla="*/ 24288 h 468915"/>
                  <a:gd name="connsiteX7" fmla="*/ 37814 w 3455480"/>
                  <a:gd name="connsiteY7" fmla="*/ 30384 h 468915"/>
                  <a:gd name="connsiteX8" fmla="*/ 42005 w 3455480"/>
                  <a:gd name="connsiteY8" fmla="*/ 30384 h 468915"/>
                  <a:gd name="connsiteX9" fmla="*/ 42005 w 3455480"/>
                  <a:gd name="connsiteY9" fmla="*/ 36480 h 468915"/>
                  <a:gd name="connsiteX10" fmla="*/ 54674 w 3455480"/>
                  <a:gd name="connsiteY10" fmla="*/ 36480 h 468915"/>
                  <a:gd name="connsiteX11" fmla="*/ 54674 w 3455480"/>
                  <a:gd name="connsiteY11" fmla="*/ 42481 h 468915"/>
                  <a:gd name="connsiteX12" fmla="*/ 84106 w 3455480"/>
                  <a:gd name="connsiteY12" fmla="*/ 42481 h 468915"/>
                  <a:gd name="connsiteX13" fmla="*/ 84106 w 3455480"/>
                  <a:gd name="connsiteY13" fmla="*/ 48577 h 468915"/>
                  <a:gd name="connsiteX14" fmla="*/ 92488 w 3455480"/>
                  <a:gd name="connsiteY14" fmla="*/ 48577 h 468915"/>
                  <a:gd name="connsiteX15" fmla="*/ 92488 w 3455480"/>
                  <a:gd name="connsiteY15" fmla="*/ 54673 h 468915"/>
                  <a:gd name="connsiteX16" fmla="*/ 94583 w 3455480"/>
                  <a:gd name="connsiteY16" fmla="*/ 54673 h 468915"/>
                  <a:gd name="connsiteX17" fmla="*/ 94583 w 3455480"/>
                  <a:gd name="connsiteY17" fmla="*/ 60674 h 468915"/>
                  <a:gd name="connsiteX18" fmla="*/ 109347 w 3455480"/>
                  <a:gd name="connsiteY18" fmla="*/ 60674 h 468915"/>
                  <a:gd name="connsiteX19" fmla="*/ 109347 w 3455480"/>
                  <a:gd name="connsiteY19" fmla="*/ 72866 h 468915"/>
                  <a:gd name="connsiteX20" fmla="*/ 111443 w 3455480"/>
                  <a:gd name="connsiteY20" fmla="*/ 72866 h 468915"/>
                  <a:gd name="connsiteX21" fmla="*/ 111443 w 3455480"/>
                  <a:gd name="connsiteY21" fmla="*/ 78867 h 468915"/>
                  <a:gd name="connsiteX22" fmla="*/ 117729 w 3455480"/>
                  <a:gd name="connsiteY22" fmla="*/ 78867 h 468915"/>
                  <a:gd name="connsiteX23" fmla="*/ 117729 w 3455480"/>
                  <a:gd name="connsiteY23" fmla="*/ 84963 h 468915"/>
                  <a:gd name="connsiteX24" fmla="*/ 121920 w 3455480"/>
                  <a:gd name="connsiteY24" fmla="*/ 84963 h 468915"/>
                  <a:gd name="connsiteX25" fmla="*/ 121920 w 3455480"/>
                  <a:gd name="connsiteY25" fmla="*/ 91059 h 468915"/>
                  <a:gd name="connsiteX26" fmla="*/ 138779 w 3455480"/>
                  <a:gd name="connsiteY26" fmla="*/ 91059 h 468915"/>
                  <a:gd name="connsiteX27" fmla="*/ 138779 w 3455480"/>
                  <a:gd name="connsiteY27" fmla="*/ 103155 h 468915"/>
                  <a:gd name="connsiteX28" fmla="*/ 142970 w 3455480"/>
                  <a:gd name="connsiteY28" fmla="*/ 103155 h 468915"/>
                  <a:gd name="connsiteX29" fmla="*/ 142970 w 3455480"/>
                  <a:gd name="connsiteY29" fmla="*/ 109251 h 468915"/>
                  <a:gd name="connsiteX30" fmla="*/ 166116 w 3455480"/>
                  <a:gd name="connsiteY30" fmla="*/ 109251 h 468915"/>
                  <a:gd name="connsiteX31" fmla="*/ 166116 w 3455480"/>
                  <a:gd name="connsiteY31" fmla="*/ 115347 h 468915"/>
                  <a:gd name="connsiteX32" fmla="*/ 170307 w 3455480"/>
                  <a:gd name="connsiteY32" fmla="*/ 115347 h 468915"/>
                  <a:gd name="connsiteX33" fmla="*/ 170307 w 3455480"/>
                  <a:gd name="connsiteY33" fmla="*/ 121348 h 468915"/>
                  <a:gd name="connsiteX34" fmla="*/ 176594 w 3455480"/>
                  <a:gd name="connsiteY34" fmla="*/ 121348 h 468915"/>
                  <a:gd name="connsiteX35" fmla="*/ 176594 w 3455480"/>
                  <a:gd name="connsiteY35" fmla="*/ 133540 h 468915"/>
                  <a:gd name="connsiteX36" fmla="*/ 195548 w 3455480"/>
                  <a:gd name="connsiteY36" fmla="*/ 133540 h 468915"/>
                  <a:gd name="connsiteX37" fmla="*/ 195548 w 3455480"/>
                  <a:gd name="connsiteY37" fmla="*/ 139541 h 468915"/>
                  <a:gd name="connsiteX38" fmla="*/ 203930 w 3455480"/>
                  <a:gd name="connsiteY38" fmla="*/ 139541 h 468915"/>
                  <a:gd name="connsiteX39" fmla="*/ 203930 w 3455480"/>
                  <a:gd name="connsiteY39" fmla="*/ 145637 h 468915"/>
                  <a:gd name="connsiteX40" fmla="*/ 216599 w 3455480"/>
                  <a:gd name="connsiteY40" fmla="*/ 145637 h 468915"/>
                  <a:gd name="connsiteX41" fmla="*/ 216599 w 3455480"/>
                  <a:gd name="connsiteY41" fmla="*/ 151733 h 468915"/>
                  <a:gd name="connsiteX42" fmla="*/ 233458 w 3455480"/>
                  <a:gd name="connsiteY42" fmla="*/ 151733 h 468915"/>
                  <a:gd name="connsiteX43" fmla="*/ 233458 w 3455480"/>
                  <a:gd name="connsiteY43" fmla="*/ 157734 h 468915"/>
                  <a:gd name="connsiteX44" fmla="*/ 260795 w 3455480"/>
                  <a:gd name="connsiteY44" fmla="*/ 157734 h 468915"/>
                  <a:gd name="connsiteX45" fmla="*/ 260795 w 3455480"/>
                  <a:gd name="connsiteY45" fmla="*/ 163830 h 468915"/>
                  <a:gd name="connsiteX46" fmla="*/ 262890 w 3455480"/>
                  <a:gd name="connsiteY46" fmla="*/ 163830 h 468915"/>
                  <a:gd name="connsiteX47" fmla="*/ 262890 w 3455480"/>
                  <a:gd name="connsiteY47" fmla="*/ 169926 h 468915"/>
                  <a:gd name="connsiteX48" fmla="*/ 273367 w 3455480"/>
                  <a:gd name="connsiteY48" fmla="*/ 169926 h 468915"/>
                  <a:gd name="connsiteX49" fmla="*/ 273367 w 3455480"/>
                  <a:gd name="connsiteY49" fmla="*/ 175926 h 468915"/>
                  <a:gd name="connsiteX50" fmla="*/ 279654 w 3455480"/>
                  <a:gd name="connsiteY50" fmla="*/ 175926 h 468915"/>
                  <a:gd name="connsiteX51" fmla="*/ 279654 w 3455480"/>
                  <a:gd name="connsiteY51" fmla="*/ 188118 h 468915"/>
                  <a:gd name="connsiteX52" fmla="*/ 288131 w 3455480"/>
                  <a:gd name="connsiteY52" fmla="*/ 188118 h 468915"/>
                  <a:gd name="connsiteX53" fmla="*/ 288131 w 3455480"/>
                  <a:gd name="connsiteY53" fmla="*/ 194119 h 468915"/>
                  <a:gd name="connsiteX54" fmla="*/ 294418 w 3455480"/>
                  <a:gd name="connsiteY54" fmla="*/ 194119 h 468915"/>
                  <a:gd name="connsiteX55" fmla="*/ 294418 w 3455480"/>
                  <a:gd name="connsiteY55" fmla="*/ 206311 h 468915"/>
                  <a:gd name="connsiteX56" fmla="*/ 296513 w 3455480"/>
                  <a:gd name="connsiteY56" fmla="*/ 206311 h 468915"/>
                  <a:gd name="connsiteX57" fmla="*/ 296513 w 3455480"/>
                  <a:gd name="connsiteY57" fmla="*/ 212407 h 468915"/>
                  <a:gd name="connsiteX58" fmla="*/ 309086 w 3455480"/>
                  <a:gd name="connsiteY58" fmla="*/ 212407 h 468915"/>
                  <a:gd name="connsiteX59" fmla="*/ 309086 w 3455480"/>
                  <a:gd name="connsiteY59" fmla="*/ 218408 h 468915"/>
                  <a:gd name="connsiteX60" fmla="*/ 332232 w 3455480"/>
                  <a:gd name="connsiteY60" fmla="*/ 218408 h 468915"/>
                  <a:gd name="connsiteX61" fmla="*/ 332232 w 3455480"/>
                  <a:gd name="connsiteY61" fmla="*/ 224504 h 468915"/>
                  <a:gd name="connsiteX62" fmla="*/ 338614 w 3455480"/>
                  <a:gd name="connsiteY62" fmla="*/ 224504 h 468915"/>
                  <a:gd name="connsiteX63" fmla="*/ 338614 w 3455480"/>
                  <a:gd name="connsiteY63" fmla="*/ 230600 h 468915"/>
                  <a:gd name="connsiteX64" fmla="*/ 346996 w 3455480"/>
                  <a:gd name="connsiteY64" fmla="*/ 230600 h 468915"/>
                  <a:gd name="connsiteX65" fmla="*/ 346996 w 3455480"/>
                  <a:gd name="connsiteY65" fmla="*/ 236601 h 468915"/>
                  <a:gd name="connsiteX66" fmla="*/ 355378 w 3455480"/>
                  <a:gd name="connsiteY66" fmla="*/ 236601 h 468915"/>
                  <a:gd name="connsiteX67" fmla="*/ 355378 w 3455480"/>
                  <a:gd name="connsiteY67" fmla="*/ 242697 h 468915"/>
                  <a:gd name="connsiteX68" fmla="*/ 359569 w 3455480"/>
                  <a:gd name="connsiteY68" fmla="*/ 242697 h 468915"/>
                  <a:gd name="connsiteX69" fmla="*/ 359569 w 3455480"/>
                  <a:gd name="connsiteY69" fmla="*/ 248793 h 468915"/>
                  <a:gd name="connsiteX70" fmla="*/ 433197 w 3455480"/>
                  <a:gd name="connsiteY70" fmla="*/ 248793 h 468915"/>
                  <a:gd name="connsiteX71" fmla="*/ 433197 w 3455480"/>
                  <a:gd name="connsiteY71" fmla="*/ 254793 h 468915"/>
                  <a:gd name="connsiteX72" fmla="*/ 454247 w 3455480"/>
                  <a:gd name="connsiteY72" fmla="*/ 254793 h 468915"/>
                  <a:gd name="connsiteX73" fmla="*/ 454247 w 3455480"/>
                  <a:gd name="connsiteY73" fmla="*/ 260889 h 468915"/>
                  <a:gd name="connsiteX74" fmla="*/ 460534 w 3455480"/>
                  <a:gd name="connsiteY74" fmla="*/ 260889 h 468915"/>
                  <a:gd name="connsiteX75" fmla="*/ 460534 w 3455480"/>
                  <a:gd name="connsiteY75" fmla="*/ 266985 h 468915"/>
                  <a:gd name="connsiteX76" fmla="*/ 502634 w 3455480"/>
                  <a:gd name="connsiteY76" fmla="*/ 266985 h 468915"/>
                  <a:gd name="connsiteX77" fmla="*/ 502634 w 3455480"/>
                  <a:gd name="connsiteY77" fmla="*/ 272986 h 468915"/>
                  <a:gd name="connsiteX78" fmla="*/ 517303 w 3455480"/>
                  <a:gd name="connsiteY78" fmla="*/ 272986 h 468915"/>
                  <a:gd name="connsiteX79" fmla="*/ 517303 w 3455480"/>
                  <a:gd name="connsiteY79" fmla="*/ 279082 h 468915"/>
                  <a:gd name="connsiteX80" fmla="*/ 546830 w 3455480"/>
                  <a:gd name="connsiteY80" fmla="*/ 279082 h 468915"/>
                  <a:gd name="connsiteX81" fmla="*/ 546830 w 3455480"/>
                  <a:gd name="connsiteY81" fmla="*/ 285178 h 468915"/>
                  <a:gd name="connsiteX82" fmla="*/ 548926 w 3455480"/>
                  <a:gd name="connsiteY82" fmla="*/ 285178 h 468915"/>
                  <a:gd name="connsiteX83" fmla="*/ 548926 w 3455480"/>
                  <a:gd name="connsiteY83" fmla="*/ 291179 h 468915"/>
                  <a:gd name="connsiteX84" fmla="*/ 571976 w 3455480"/>
                  <a:gd name="connsiteY84" fmla="*/ 291179 h 468915"/>
                  <a:gd name="connsiteX85" fmla="*/ 571976 w 3455480"/>
                  <a:gd name="connsiteY85" fmla="*/ 297275 h 468915"/>
                  <a:gd name="connsiteX86" fmla="*/ 584645 w 3455480"/>
                  <a:gd name="connsiteY86" fmla="*/ 297275 h 468915"/>
                  <a:gd name="connsiteX87" fmla="*/ 584645 w 3455480"/>
                  <a:gd name="connsiteY87" fmla="*/ 303371 h 468915"/>
                  <a:gd name="connsiteX88" fmla="*/ 620363 w 3455480"/>
                  <a:gd name="connsiteY88" fmla="*/ 303371 h 468915"/>
                  <a:gd name="connsiteX89" fmla="*/ 620363 w 3455480"/>
                  <a:gd name="connsiteY89" fmla="*/ 309467 h 468915"/>
                  <a:gd name="connsiteX90" fmla="*/ 736092 w 3455480"/>
                  <a:gd name="connsiteY90" fmla="*/ 309467 h 468915"/>
                  <a:gd name="connsiteX91" fmla="*/ 736092 w 3455480"/>
                  <a:gd name="connsiteY91" fmla="*/ 315468 h 468915"/>
                  <a:gd name="connsiteX92" fmla="*/ 773906 w 3455480"/>
                  <a:gd name="connsiteY92" fmla="*/ 315468 h 468915"/>
                  <a:gd name="connsiteX93" fmla="*/ 773906 w 3455480"/>
                  <a:gd name="connsiteY93" fmla="*/ 321659 h 468915"/>
                  <a:gd name="connsiteX94" fmla="*/ 826484 w 3455480"/>
                  <a:gd name="connsiteY94" fmla="*/ 321659 h 468915"/>
                  <a:gd name="connsiteX95" fmla="*/ 826484 w 3455480"/>
                  <a:gd name="connsiteY95" fmla="*/ 327755 h 468915"/>
                  <a:gd name="connsiteX96" fmla="*/ 845439 w 3455480"/>
                  <a:gd name="connsiteY96" fmla="*/ 327755 h 468915"/>
                  <a:gd name="connsiteX97" fmla="*/ 845439 w 3455480"/>
                  <a:gd name="connsiteY97" fmla="*/ 333851 h 468915"/>
                  <a:gd name="connsiteX98" fmla="*/ 855917 w 3455480"/>
                  <a:gd name="connsiteY98" fmla="*/ 333851 h 468915"/>
                  <a:gd name="connsiteX99" fmla="*/ 855917 w 3455480"/>
                  <a:gd name="connsiteY99" fmla="*/ 340042 h 468915"/>
                  <a:gd name="connsiteX100" fmla="*/ 889635 w 3455480"/>
                  <a:gd name="connsiteY100" fmla="*/ 340042 h 468915"/>
                  <a:gd name="connsiteX101" fmla="*/ 889635 w 3455480"/>
                  <a:gd name="connsiteY101" fmla="*/ 346138 h 468915"/>
                  <a:gd name="connsiteX102" fmla="*/ 895922 w 3455480"/>
                  <a:gd name="connsiteY102" fmla="*/ 346138 h 468915"/>
                  <a:gd name="connsiteX103" fmla="*/ 895922 w 3455480"/>
                  <a:gd name="connsiteY103" fmla="*/ 352234 h 468915"/>
                  <a:gd name="connsiteX104" fmla="*/ 910590 w 3455480"/>
                  <a:gd name="connsiteY104" fmla="*/ 352234 h 468915"/>
                  <a:gd name="connsiteX105" fmla="*/ 910590 w 3455480"/>
                  <a:gd name="connsiteY105" fmla="*/ 358330 h 468915"/>
                  <a:gd name="connsiteX106" fmla="*/ 923258 w 3455480"/>
                  <a:gd name="connsiteY106" fmla="*/ 358330 h 468915"/>
                  <a:gd name="connsiteX107" fmla="*/ 923258 w 3455480"/>
                  <a:gd name="connsiteY107" fmla="*/ 364521 h 468915"/>
                  <a:gd name="connsiteX108" fmla="*/ 948500 w 3455480"/>
                  <a:gd name="connsiteY108" fmla="*/ 364521 h 468915"/>
                  <a:gd name="connsiteX109" fmla="*/ 948500 w 3455480"/>
                  <a:gd name="connsiteY109" fmla="*/ 370617 h 468915"/>
                  <a:gd name="connsiteX110" fmla="*/ 1177766 w 3455480"/>
                  <a:gd name="connsiteY110" fmla="*/ 370617 h 468915"/>
                  <a:gd name="connsiteX111" fmla="*/ 1177766 w 3455480"/>
                  <a:gd name="connsiteY111" fmla="*/ 376809 h 468915"/>
                  <a:gd name="connsiteX112" fmla="*/ 1291304 w 3455480"/>
                  <a:gd name="connsiteY112" fmla="*/ 376809 h 468915"/>
                  <a:gd name="connsiteX113" fmla="*/ 1291304 w 3455480"/>
                  <a:gd name="connsiteY113" fmla="*/ 383000 h 468915"/>
                  <a:gd name="connsiteX114" fmla="*/ 1560481 w 3455480"/>
                  <a:gd name="connsiteY114" fmla="*/ 383000 h 468915"/>
                  <a:gd name="connsiteX115" fmla="*/ 1560481 w 3455480"/>
                  <a:gd name="connsiteY115" fmla="*/ 389286 h 468915"/>
                  <a:gd name="connsiteX116" fmla="*/ 1634109 w 3455480"/>
                  <a:gd name="connsiteY116" fmla="*/ 389286 h 468915"/>
                  <a:gd name="connsiteX117" fmla="*/ 1634109 w 3455480"/>
                  <a:gd name="connsiteY117" fmla="*/ 395573 h 468915"/>
                  <a:gd name="connsiteX118" fmla="*/ 1714024 w 3455480"/>
                  <a:gd name="connsiteY118" fmla="*/ 395573 h 468915"/>
                  <a:gd name="connsiteX119" fmla="*/ 1714024 w 3455480"/>
                  <a:gd name="connsiteY119" fmla="*/ 401859 h 468915"/>
                  <a:gd name="connsiteX120" fmla="*/ 1875949 w 3455480"/>
                  <a:gd name="connsiteY120" fmla="*/ 401859 h 468915"/>
                  <a:gd name="connsiteX121" fmla="*/ 1875949 w 3455480"/>
                  <a:gd name="connsiteY121" fmla="*/ 408336 h 468915"/>
                  <a:gd name="connsiteX122" fmla="*/ 1892808 w 3455480"/>
                  <a:gd name="connsiteY122" fmla="*/ 408336 h 468915"/>
                  <a:gd name="connsiteX123" fmla="*/ 1892808 w 3455480"/>
                  <a:gd name="connsiteY123" fmla="*/ 414718 h 468915"/>
                  <a:gd name="connsiteX124" fmla="*/ 2010632 w 3455480"/>
                  <a:gd name="connsiteY124" fmla="*/ 414718 h 468915"/>
                  <a:gd name="connsiteX125" fmla="*/ 2010632 w 3455480"/>
                  <a:gd name="connsiteY125" fmla="*/ 421195 h 468915"/>
                  <a:gd name="connsiteX126" fmla="*/ 2103120 w 3455480"/>
                  <a:gd name="connsiteY126" fmla="*/ 421195 h 468915"/>
                  <a:gd name="connsiteX127" fmla="*/ 2103120 w 3455480"/>
                  <a:gd name="connsiteY127" fmla="*/ 427577 h 468915"/>
                  <a:gd name="connsiteX128" fmla="*/ 2122075 w 3455480"/>
                  <a:gd name="connsiteY128" fmla="*/ 427577 h 468915"/>
                  <a:gd name="connsiteX129" fmla="*/ 2122075 w 3455480"/>
                  <a:gd name="connsiteY129" fmla="*/ 434054 h 468915"/>
                  <a:gd name="connsiteX130" fmla="*/ 2975896 w 3455480"/>
                  <a:gd name="connsiteY130" fmla="*/ 434054 h 468915"/>
                  <a:gd name="connsiteX131" fmla="*/ 2975896 w 3455480"/>
                  <a:gd name="connsiteY131" fmla="*/ 468915 h 468915"/>
                  <a:gd name="connsiteX132" fmla="*/ 3455480 w 3455480"/>
                  <a:gd name="connsiteY132" fmla="*/ 468915 h 468915"/>
                  <a:gd name="connsiteX0" fmla="*/ 0 w 3445003"/>
                  <a:gd name="connsiteY0" fmla="*/ 0 h 456723"/>
                  <a:gd name="connsiteX1" fmla="*/ 8383 w 3445003"/>
                  <a:gd name="connsiteY1" fmla="*/ 0 h 456723"/>
                  <a:gd name="connsiteX2" fmla="*/ 8383 w 3445003"/>
                  <a:gd name="connsiteY2" fmla="*/ 6096 h 456723"/>
                  <a:gd name="connsiteX3" fmla="*/ 23146 w 3445003"/>
                  <a:gd name="connsiteY3" fmla="*/ 6096 h 456723"/>
                  <a:gd name="connsiteX4" fmla="*/ 23146 w 3445003"/>
                  <a:gd name="connsiteY4" fmla="*/ 12096 h 456723"/>
                  <a:gd name="connsiteX5" fmla="*/ 27337 w 3445003"/>
                  <a:gd name="connsiteY5" fmla="*/ 12096 h 456723"/>
                  <a:gd name="connsiteX6" fmla="*/ 27337 w 3445003"/>
                  <a:gd name="connsiteY6" fmla="*/ 18192 h 456723"/>
                  <a:gd name="connsiteX7" fmla="*/ 31528 w 3445003"/>
                  <a:gd name="connsiteY7" fmla="*/ 18192 h 456723"/>
                  <a:gd name="connsiteX8" fmla="*/ 31528 w 3445003"/>
                  <a:gd name="connsiteY8" fmla="*/ 24288 h 456723"/>
                  <a:gd name="connsiteX9" fmla="*/ 44197 w 3445003"/>
                  <a:gd name="connsiteY9" fmla="*/ 24288 h 456723"/>
                  <a:gd name="connsiteX10" fmla="*/ 44197 w 3445003"/>
                  <a:gd name="connsiteY10" fmla="*/ 30289 h 456723"/>
                  <a:gd name="connsiteX11" fmla="*/ 73629 w 3445003"/>
                  <a:gd name="connsiteY11" fmla="*/ 30289 h 456723"/>
                  <a:gd name="connsiteX12" fmla="*/ 73629 w 3445003"/>
                  <a:gd name="connsiteY12" fmla="*/ 36385 h 456723"/>
                  <a:gd name="connsiteX13" fmla="*/ 82011 w 3445003"/>
                  <a:gd name="connsiteY13" fmla="*/ 36385 h 456723"/>
                  <a:gd name="connsiteX14" fmla="*/ 82011 w 3445003"/>
                  <a:gd name="connsiteY14" fmla="*/ 42481 h 456723"/>
                  <a:gd name="connsiteX15" fmla="*/ 84106 w 3445003"/>
                  <a:gd name="connsiteY15" fmla="*/ 42481 h 456723"/>
                  <a:gd name="connsiteX16" fmla="*/ 84106 w 3445003"/>
                  <a:gd name="connsiteY16" fmla="*/ 48482 h 456723"/>
                  <a:gd name="connsiteX17" fmla="*/ 98870 w 3445003"/>
                  <a:gd name="connsiteY17" fmla="*/ 48482 h 456723"/>
                  <a:gd name="connsiteX18" fmla="*/ 98870 w 3445003"/>
                  <a:gd name="connsiteY18" fmla="*/ 60674 h 456723"/>
                  <a:gd name="connsiteX19" fmla="*/ 100966 w 3445003"/>
                  <a:gd name="connsiteY19" fmla="*/ 60674 h 456723"/>
                  <a:gd name="connsiteX20" fmla="*/ 100966 w 3445003"/>
                  <a:gd name="connsiteY20" fmla="*/ 66675 h 456723"/>
                  <a:gd name="connsiteX21" fmla="*/ 107252 w 3445003"/>
                  <a:gd name="connsiteY21" fmla="*/ 66675 h 456723"/>
                  <a:gd name="connsiteX22" fmla="*/ 107252 w 3445003"/>
                  <a:gd name="connsiteY22" fmla="*/ 72771 h 456723"/>
                  <a:gd name="connsiteX23" fmla="*/ 111443 w 3445003"/>
                  <a:gd name="connsiteY23" fmla="*/ 72771 h 456723"/>
                  <a:gd name="connsiteX24" fmla="*/ 111443 w 3445003"/>
                  <a:gd name="connsiteY24" fmla="*/ 78867 h 456723"/>
                  <a:gd name="connsiteX25" fmla="*/ 128302 w 3445003"/>
                  <a:gd name="connsiteY25" fmla="*/ 78867 h 456723"/>
                  <a:gd name="connsiteX26" fmla="*/ 128302 w 3445003"/>
                  <a:gd name="connsiteY26" fmla="*/ 90963 h 456723"/>
                  <a:gd name="connsiteX27" fmla="*/ 132493 w 3445003"/>
                  <a:gd name="connsiteY27" fmla="*/ 90963 h 456723"/>
                  <a:gd name="connsiteX28" fmla="*/ 132493 w 3445003"/>
                  <a:gd name="connsiteY28" fmla="*/ 97059 h 456723"/>
                  <a:gd name="connsiteX29" fmla="*/ 155639 w 3445003"/>
                  <a:gd name="connsiteY29" fmla="*/ 97059 h 456723"/>
                  <a:gd name="connsiteX30" fmla="*/ 155639 w 3445003"/>
                  <a:gd name="connsiteY30" fmla="*/ 103155 h 456723"/>
                  <a:gd name="connsiteX31" fmla="*/ 159830 w 3445003"/>
                  <a:gd name="connsiteY31" fmla="*/ 103155 h 456723"/>
                  <a:gd name="connsiteX32" fmla="*/ 159830 w 3445003"/>
                  <a:gd name="connsiteY32" fmla="*/ 109156 h 456723"/>
                  <a:gd name="connsiteX33" fmla="*/ 166117 w 3445003"/>
                  <a:gd name="connsiteY33" fmla="*/ 109156 h 456723"/>
                  <a:gd name="connsiteX34" fmla="*/ 166117 w 3445003"/>
                  <a:gd name="connsiteY34" fmla="*/ 121348 h 456723"/>
                  <a:gd name="connsiteX35" fmla="*/ 185071 w 3445003"/>
                  <a:gd name="connsiteY35" fmla="*/ 121348 h 456723"/>
                  <a:gd name="connsiteX36" fmla="*/ 185071 w 3445003"/>
                  <a:gd name="connsiteY36" fmla="*/ 127349 h 456723"/>
                  <a:gd name="connsiteX37" fmla="*/ 193453 w 3445003"/>
                  <a:gd name="connsiteY37" fmla="*/ 127349 h 456723"/>
                  <a:gd name="connsiteX38" fmla="*/ 193453 w 3445003"/>
                  <a:gd name="connsiteY38" fmla="*/ 133445 h 456723"/>
                  <a:gd name="connsiteX39" fmla="*/ 206122 w 3445003"/>
                  <a:gd name="connsiteY39" fmla="*/ 133445 h 456723"/>
                  <a:gd name="connsiteX40" fmla="*/ 206122 w 3445003"/>
                  <a:gd name="connsiteY40" fmla="*/ 139541 h 456723"/>
                  <a:gd name="connsiteX41" fmla="*/ 222981 w 3445003"/>
                  <a:gd name="connsiteY41" fmla="*/ 139541 h 456723"/>
                  <a:gd name="connsiteX42" fmla="*/ 222981 w 3445003"/>
                  <a:gd name="connsiteY42" fmla="*/ 145542 h 456723"/>
                  <a:gd name="connsiteX43" fmla="*/ 250318 w 3445003"/>
                  <a:gd name="connsiteY43" fmla="*/ 145542 h 456723"/>
                  <a:gd name="connsiteX44" fmla="*/ 250318 w 3445003"/>
                  <a:gd name="connsiteY44" fmla="*/ 151638 h 456723"/>
                  <a:gd name="connsiteX45" fmla="*/ 252413 w 3445003"/>
                  <a:gd name="connsiteY45" fmla="*/ 151638 h 456723"/>
                  <a:gd name="connsiteX46" fmla="*/ 252413 w 3445003"/>
                  <a:gd name="connsiteY46" fmla="*/ 157734 h 456723"/>
                  <a:gd name="connsiteX47" fmla="*/ 262890 w 3445003"/>
                  <a:gd name="connsiteY47" fmla="*/ 157734 h 456723"/>
                  <a:gd name="connsiteX48" fmla="*/ 262890 w 3445003"/>
                  <a:gd name="connsiteY48" fmla="*/ 163734 h 456723"/>
                  <a:gd name="connsiteX49" fmla="*/ 269177 w 3445003"/>
                  <a:gd name="connsiteY49" fmla="*/ 163734 h 456723"/>
                  <a:gd name="connsiteX50" fmla="*/ 269177 w 3445003"/>
                  <a:gd name="connsiteY50" fmla="*/ 175926 h 456723"/>
                  <a:gd name="connsiteX51" fmla="*/ 277654 w 3445003"/>
                  <a:gd name="connsiteY51" fmla="*/ 175926 h 456723"/>
                  <a:gd name="connsiteX52" fmla="*/ 277654 w 3445003"/>
                  <a:gd name="connsiteY52" fmla="*/ 181927 h 456723"/>
                  <a:gd name="connsiteX53" fmla="*/ 283941 w 3445003"/>
                  <a:gd name="connsiteY53" fmla="*/ 181927 h 456723"/>
                  <a:gd name="connsiteX54" fmla="*/ 283941 w 3445003"/>
                  <a:gd name="connsiteY54" fmla="*/ 194119 h 456723"/>
                  <a:gd name="connsiteX55" fmla="*/ 286036 w 3445003"/>
                  <a:gd name="connsiteY55" fmla="*/ 194119 h 456723"/>
                  <a:gd name="connsiteX56" fmla="*/ 286036 w 3445003"/>
                  <a:gd name="connsiteY56" fmla="*/ 200215 h 456723"/>
                  <a:gd name="connsiteX57" fmla="*/ 298609 w 3445003"/>
                  <a:gd name="connsiteY57" fmla="*/ 200215 h 456723"/>
                  <a:gd name="connsiteX58" fmla="*/ 298609 w 3445003"/>
                  <a:gd name="connsiteY58" fmla="*/ 206216 h 456723"/>
                  <a:gd name="connsiteX59" fmla="*/ 321755 w 3445003"/>
                  <a:gd name="connsiteY59" fmla="*/ 206216 h 456723"/>
                  <a:gd name="connsiteX60" fmla="*/ 321755 w 3445003"/>
                  <a:gd name="connsiteY60" fmla="*/ 212312 h 456723"/>
                  <a:gd name="connsiteX61" fmla="*/ 328137 w 3445003"/>
                  <a:gd name="connsiteY61" fmla="*/ 212312 h 456723"/>
                  <a:gd name="connsiteX62" fmla="*/ 328137 w 3445003"/>
                  <a:gd name="connsiteY62" fmla="*/ 218408 h 456723"/>
                  <a:gd name="connsiteX63" fmla="*/ 336519 w 3445003"/>
                  <a:gd name="connsiteY63" fmla="*/ 218408 h 456723"/>
                  <a:gd name="connsiteX64" fmla="*/ 336519 w 3445003"/>
                  <a:gd name="connsiteY64" fmla="*/ 224409 h 456723"/>
                  <a:gd name="connsiteX65" fmla="*/ 344901 w 3445003"/>
                  <a:gd name="connsiteY65" fmla="*/ 224409 h 456723"/>
                  <a:gd name="connsiteX66" fmla="*/ 344901 w 3445003"/>
                  <a:gd name="connsiteY66" fmla="*/ 230505 h 456723"/>
                  <a:gd name="connsiteX67" fmla="*/ 349092 w 3445003"/>
                  <a:gd name="connsiteY67" fmla="*/ 230505 h 456723"/>
                  <a:gd name="connsiteX68" fmla="*/ 349092 w 3445003"/>
                  <a:gd name="connsiteY68" fmla="*/ 236601 h 456723"/>
                  <a:gd name="connsiteX69" fmla="*/ 422720 w 3445003"/>
                  <a:gd name="connsiteY69" fmla="*/ 236601 h 456723"/>
                  <a:gd name="connsiteX70" fmla="*/ 422720 w 3445003"/>
                  <a:gd name="connsiteY70" fmla="*/ 242601 h 456723"/>
                  <a:gd name="connsiteX71" fmla="*/ 443770 w 3445003"/>
                  <a:gd name="connsiteY71" fmla="*/ 242601 h 456723"/>
                  <a:gd name="connsiteX72" fmla="*/ 443770 w 3445003"/>
                  <a:gd name="connsiteY72" fmla="*/ 248697 h 456723"/>
                  <a:gd name="connsiteX73" fmla="*/ 450057 w 3445003"/>
                  <a:gd name="connsiteY73" fmla="*/ 248697 h 456723"/>
                  <a:gd name="connsiteX74" fmla="*/ 450057 w 3445003"/>
                  <a:gd name="connsiteY74" fmla="*/ 254793 h 456723"/>
                  <a:gd name="connsiteX75" fmla="*/ 492157 w 3445003"/>
                  <a:gd name="connsiteY75" fmla="*/ 254793 h 456723"/>
                  <a:gd name="connsiteX76" fmla="*/ 492157 w 3445003"/>
                  <a:gd name="connsiteY76" fmla="*/ 260794 h 456723"/>
                  <a:gd name="connsiteX77" fmla="*/ 506826 w 3445003"/>
                  <a:gd name="connsiteY77" fmla="*/ 260794 h 456723"/>
                  <a:gd name="connsiteX78" fmla="*/ 506826 w 3445003"/>
                  <a:gd name="connsiteY78" fmla="*/ 266890 h 456723"/>
                  <a:gd name="connsiteX79" fmla="*/ 536353 w 3445003"/>
                  <a:gd name="connsiteY79" fmla="*/ 266890 h 456723"/>
                  <a:gd name="connsiteX80" fmla="*/ 536353 w 3445003"/>
                  <a:gd name="connsiteY80" fmla="*/ 272986 h 456723"/>
                  <a:gd name="connsiteX81" fmla="*/ 538449 w 3445003"/>
                  <a:gd name="connsiteY81" fmla="*/ 272986 h 456723"/>
                  <a:gd name="connsiteX82" fmla="*/ 538449 w 3445003"/>
                  <a:gd name="connsiteY82" fmla="*/ 278987 h 456723"/>
                  <a:gd name="connsiteX83" fmla="*/ 561499 w 3445003"/>
                  <a:gd name="connsiteY83" fmla="*/ 278987 h 456723"/>
                  <a:gd name="connsiteX84" fmla="*/ 561499 w 3445003"/>
                  <a:gd name="connsiteY84" fmla="*/ 285083 h 456723"/>
                  <a:gd name="connsiteX85" fmla="*/ 574168 w 3445003"/>
                  <a:gd name="connsiteY85" fmla="*/ 285083 h 456723"/>
                  <a:gd name="connsiteX86" fmla="*/ 574168 w 3445003"/>
                  <a:gd name="connsiteY86" fmla="*/ 291179 h 456723"/>
                  <a:gd name="connsiteX87" fmla="*/ 609886 w 3445003"/>
                  <a:gd name="connsiteY87" fmla="*/ 291179 h 456723"/>
                  <a:gd name="connsiteX88" fmla="*/ 609886 w 3445003"/>
                  <a:gd name="connsiteY88" fmla="*/ 297275 h 456723"/>
                  <a:gd name="connsiteX89" fmla="*/ 725615 w 3445003"/>
                  <a:gd name="connsiteY89" fmla="*/ 297275 h 456723"/>
                  <a:gd name="connsiteX90" fmla="*/ 725615 w 3445003"/>
                  <a:gd name="connsiteY90" fmla="*/ 303276 h 456723"/>
                  <a:gd name="connsiteX91" fmla="*/ 763429 w 3445003"/>
                  <a:gd name="connsiteY91" fmla="*/ 303276 h 456723"/>
                  <a:gd name="connsiteX92" fmla="*/ 763429 w 3445003"/>
                  <a:gd name="connsiteY92" fmla="*/ 309467 h 456723"/>
                  <a:gd name="connsiteX93" fmla="*/ 816007 w 3445003"/>
                  <a:gd name="connsiteY93" fmla="*/ 309467 h 456723"/>
                  <a:gd name="connsiteX94" fmla="*/ 816007 w 3445003"/>
                  <a:gd name="connsiteY94" fmla="*/ 315563 h 456723"/>
                  <a:gd name="connsiteX95" fmla="*/ 834962 w 3445003"/>
                  <a:gd name="connsiteY95" fmla="*/ 315563 h 456723"/>
                  <a:gd name="connsiteX96" fmla="*/ 834962 w 3445003"/>
                  <a:gd name="connsiteY96" fmla="*/ 321659 h 456723"/>
                  <a:gd name="connsiteX97" fmla="*/ 845440 w 3445003"/>
                  <a:gd name="connsiteY97" fmla="*/ 321659 h 456723"/>
                  <a:gd name="connsiteX98" fmla="*/ 845440 w 3445003"/>
                  <a:gd name="connsiteY98" fmla="*/ 327850 h 456723"/>
                  <a:gd name="connsiteX99" fmla="*/ 879158 w 3445003"/>
                  <a:gd name="connsiteY99" fmla="*/ 327850 h 456723"/>
                  <a:gd name="connsiteX100" fmla="*/ 879158 w 3445003"/>
                  <a:gd name="connsiteY100" fmla="*/ 333946 h 456723"/>
                  <a:gd name="connsiteX101" fmla="*/ 885445 w 3445003"/>
                  <a:gd name="connsiteY101" fmla="*/ 333946 h 456723"/>
                  <a:gd name="connsiteX102" fmla="*/ 885445 w 3445003"/>
                  <a:gd name="connsiteY102" fmla="*/ 340042 h 456723"/>
                  <a:gd name="connsiteX103" fmla="*/ 900113 w 3445003"/>
                  <a:gd name="connsiteY103" fmla="*/ 340042 h 456723"/>
                  <a:gd name="connsiteX104" fmla="*/ 900113 w 3445003"/>
                  <a:gd name="connsiteY104" fmla="*/ 346138 h 456723"/>
                  <a:gd name="connsiteX105" fmla="*/ 912781 w 3445003"/>
                  <a:gd name="connsiteY105" fmla="*/ 346138 h 456723"/>
                  <a:gd name="connsiteX106" fmla="*/ 912781 w 3445003"/>
                  <a:gd name="connsiteY106" fmla="*/ 352329 h 456723"/>
                  <a:gd name="connsiteX107" fmla="*/ 938023 w 3445003"/>
                  <a:gd name="connsiteY107" fmla="*/ 352329 h 456723"/>
                  <a:gd name="connsiteX108" fmla="*/ 938023 w 3445003"/>
                  <a:gd name="connsiteY108" fmla="*/ 358425 h 456723"/>
                  <a:gd name="connsiteX109" fmla="*/ 1167289 w 3445003"/>
                  <a:gd name="connsiteY109" fmla="*/ 358425 h 456723"/>
                  <a:gd name="connsiteX110" fmla="*/ 1167289 w 3445003"/>
                  <a:gd name="connsiteY110" fmla="*/ 364617 h 456723"/>
                  <a:gd name="connsiteX111" fmla="*/ 1280827 w 3445003"/>
                  <a:gd name="connsiteY111" fmla="*/ 364617 h 456723"/>
                  <a:gd name="connsiteX112" fmla="*/ 1280827 w 3445003"/>
                  <a:gd name="connsiteY112" fmla="*/ 370808 h 456723"/>
                  <a:gd name="connsiteX113" fmla="*/ 1550004 w 3445003"/>
                  <a:gd name="connsiteY113" fmla="*/ 370808 h 456723"/>
                  <a:gd name="connsiteX114" fmla="*/ 1550004 w 3445003"/>
                  <a:gd name="connsiteY114" fmla="*/ 377094 h 456723"/>
                  <a:gd name="connsiteX115" fmla="*/ 1623632 w 3445003"/>
                  <a:gd name="connsiteY115" fmla="*/ 377094 h 456723"/>
                  <a:gd name="connsiteX116" fmla="*/ 1623632 w 3445003"/>
                  <a:gd name="connsiteY116" fmla="*/ 383381 h 456723"/>
                  <a:gd name="connsiteX117" fmla="*/ 1703547 w 3445003"/>
                  <a:gd name="connsiteY117" fmla="*/ 383381 h 456723"/>
                  <a:gd name="connsiteX118" fmla="*/ 1703547 w 3445003"/>
                  <a:gd name="connsiteY118" fmla="*/ 389667 h 456723"/>
                  <a:gd name="connsiteX119" fmla="*/ 1865472 w 3445003"/>
                  <a:gd name="connsiteY119" fmla="*/ 389667 h 456723"/>
                  <a:gd name="connsiteX120" fmla="*/ 1865472 w 3445003"/>
                  <a:gd name="connsiteY120" fmla="*/ 396144 h 456723"/>
                  <a:gd name="connsiteX121" fmla="*/ 1882331 w 3445003"/>
                  <a:gd name="connsiteY121" fmla="*/ 396144 h 456723"/>
                  <a:gd name="connsiteX122" fmla="*/ 1882331 w 3445003"/>
                  <a:gd name="connsiteY122" fmla="*/ 402526 h 456723"/>
                  <a:gd name="connsiteX123" fmla="*/ 2000155 w 3445003"/>
                  <a:gd name="connsiteY123" fmla="*/ 402526 h 456723"/>
                  <a:gd name="connsiteX124" fmla="*/ 2000155 w 3445003"/>
                  <a:gd name="connsiteY124" fmla="*/ 409003 h 456723"/>
                  <a:gd name="connsiteX125" fmla="*/ 2092643 w 3445003"/>
                  <a:gd name="connsiteY125" fmla="*/ 409003 h 456723"/>
                  <a:gd name="connsiteX126" fmla="*/ 2092643 w 3445003"/>
                  <a:gd name="connsiteY126" fmla="*/ 415385 h 456723"/>
                  <a:gd name="connsiteX127" fmla="*/ 2111598 w 3445003"/>
                  <a:gd name="connsiteY127" fmla="*/ 415385 h 456723"/>
                  <a:gd name="connsiteX128" fmla="*/ 2111598 w 3445003"/>
                  <a:gd name="connsiteY128" fmla="*/ 421862 h 456723"/>
                  <a:gd name="connsiteX129" fmla="*/ 2965419 w 3445003"/>
                  <a:gd name="connsiteY129" fmla="*/ 421862 h 456723"/>
                  <a:gd name="connsiteX130" fmla="*/ 2965419 w 3445003"/>
                  <a:gd name="connsiteY130" fmla="*/ 456723 h 456723"/>
                  <a:gd name="connsiteX131" fmla="*/ 3445003 w 3445003"/>
                  <a:gd name="connsiteY131" fmla="*/ 456723 h 456723"/>
                  <a:gd name="connsiteX0" fmla="*/ 0 w 3445003"/>
                  <a:gd name="connsiteY0" fmla="*/ 0 h 456723"/>
                  <a:gd name="connsiteX1" fmla="*/ 8383 w 3445003"/>
                  <a:gd name="connsiteY1" fmla="*/ 6096 h 456723"/>
                  <a:gd name="connsiteX2" fmla="*/ 23146 w 3445003"/>
                  <a:gd name="connsiteY2" fmla="*/ 6096 h 456723"/>
                  <a:gd name="connsiteX3" fmla="*/ 23146 w 3445003"/>
                  <a:gd name="connsiteY3" fmla="*/ 12096 h 456723"/>
                  <a:gd name="connsiteX4" fmla="*/ 27337 w 3445003"/>
                  <a:gd name="connsiteY4" fmla="*/ 12096 h 456723"/>
                  <a:gd name="connsiteX5" fmla="*/ 27337 w 3445003"/>
                  <a:gd name="connsiteY5" fmla="*/ 18192 h 456723"/>
                  <a:gd name="connsiteX6" fmla="*/ 31528 w 3445003"/>
                  <a:gd name="connsiteY6" fmla="*/ 18192 h 456723"/>
                  <a:gd name="connsiteX7" fmla="*/ 31528 w 3445003"/>
                  <a:gd name="connsiteY7" fmla="*/ 24288 h 456723"/>
                  <a:gd name="connsiteX8" fmla="*/ 44197 w 3445003"/>
                  <a:gd name="connsiteY8" fmla="*/ 24288 h 456723"/>
                  <a:gd name="connsiteX9" fmla="*/ 44197 w 3445003"/>
                  <a:gd name="connsiteY9" fmla="*/ 30289 h 456723"/>
                  <a:gd name="connsiteX10" fmla="*/ 73629 w 3445003"/>
                  <a:gd name="connsiteY10" fmla="*/ 30289 h 456723"/>
                  <a:gd name="connsiteX11" fmla="*/ 73629 w 3445003"/>
                  <a:gd name="connsiteY11" fmla="*/ 36385 h 456723"/>
                  <a:gd name="connsiteX12" fmla="*/ 82011 w 3445003"/>
                  <a:gd name="connsiteY12" fmla="*/ 36385 h 456723"/>
                  <a:gd name="connsiteX13" fmla="*/ 82011 w 3445003"/>
                  <a:gd name="connsiteY13" fmla="*/ 42481 h 456723"/>
                  <a:gd name="connsiteX14" fmla="*/ 84106 w 3445003"/>
                  <a:gd name="connsiteY14" fmla="*/ 42481 h 456723"/>
                  <a:gd name="connsiteX15" fmla="*/ 84106 w 3445003"/>
                  <a:gd name="connsiteY15" fmla="*/ 48482 h 456723"/>
                  <a:gd name="connsiteX16" fmla="*/ 98870 w 3445003"/>
                  <a:gd name="connsiteY16" fmla="*/ 48482 h 456723"/>
                  <a:gd name="connsiteX17" fmla="*/ 98870 w 3445003"/>
                  <a:gd name="connsiteY17" fmla="*/ 60674 h 456723"/>
                  <a:gd name="connsiteX18" fmla="*/ 100966 w 3445003"/>
                  <a:gd name="connsiteY18" fmla="*/ 60674 h 456723"/>
                  <a:gd name="connsiteX19" fmla="*/ 100966 w 3445003"/>
                  <a:gd name="connsiteY19" fmla="*/ 66675 h 456723"/>
                  <a:gd name="connsiteX20" fmla="*/ 107252 w 3445003"/>
                  <a:gd name="connsiteY20" fmla="*/ 66675 h 456723"/>
                  <a:gd name="connsiteX21" fmla="*/ 107252 w 3445003"/>
                  <a:gd name="connsiteY21" fmla="*/ 72771 h 456723"/>
                  <a:gd name="connsiteX22" fmla="*/ 111443 w 3445003"/>
                  <a:gd name="connsiteY22" fmla="*/ 72771 h 456723"/>
                  <a:gd name="connsiteX23" fmla="*/ 111443 w 3445003"/>
                  <a:gd name="connsiteY23" fmla="*/ 78867 h 456723"/>
                  <a:gd name="connsiteX24" fmla="*/ 128302 w 3445003"/>
                  <a:gd name="connsiteY24" fmla="*/ 78867 h 456723"/>
                  <a:gd name="connsiteX25" fmla="*/ 128302 w 3445003"/>
                  <a:gd name="connsiteY25" fmla="*/ 90963 h 456723"/>
                  <a:gd name="connsiteX26" fmla="*/ 132493 w 3445003"/>
                  <a:gd name="connsiteY26" fmla="*/ 90963 h 456723"/>
                  <a:gd name="connsiteX27" fmla="*/ 132493 w 3445003"/>
                  <a:gd name="connsiteY27" fmla="*/ 97059 h 456723"/>
                  <a:gd name="connsiteX28" fmla="*/ 155639 w 3445003"/>
                  <a:gd name="connsiteY28" fmla="*/ 97059 h 456723"/>
                  <a:gd name="connsiteX29" fmla="*/ 155639 w 3445003"/>
                  <a:gd name="connsiteY29" fmla="*/ 103155 h 456723"/>
                  <a:gd name="connsiteX30" fmla="*/ 159830 w 3445003"/>
                  <a:gd name="connsiteY30" fmla="*/ 103155 h 456723"/>
                  <a:gd name="connsiteX31" fmla="*/ 159830 w 3445003"/>
                  <a:gd name="connsiteY31" fmla="*/ 109156 h 456723"/>
                  <a:gd name="connsiteX32" fmla="*/ 166117 w 3445003"/>
                  <a:gd name="connsiteY32" fmla="*/ 109156 h 456723"/>
                  <a:gd name="connsiteX33" fmla="*/ 166117 w 3445003"/>
                  <a:gd name="connsiteY33" fmla="*/ 121348 h 456723"/>
                  <a:gd name="connsiteX34" fmla="*/ 185071 w 3445003"/>
                  <a:gd name="connsiteY34" fmla="*/ 121348 h 456723"/>
                  <a:gd name="connsiteX35" fmla="*/ 185071 w 3445003"/>
                  <a:gd name="connsiteY35" fmla="*/ 127349 h 456723"/>
                  <a:gd name="connsiteX36" fmla="*/ 193453 w 3445003"/>
                  <a:gd name="connsiteY36" fmla="*/ 127349 h 456723"/>
                  <a:gd name="connsiteX37" fmla="*/ 193453 w 3445003"/>
                  <a:gd name="connsiteY37" fmla="*/ 133445 h 456723"/>
                  <a:gd name="connsiteX38" fmla="*/ 206122 w 3445003"/>
                  <a:gd name="connsiteY38" fmla="*/ 133445 h 456723"/>
                  <a:gd name="connsiteX39" fmla="*/ 206122 w 3445003"/>
                  <a:gd name="connsiteY39" fmla="*/ 139541 h 456723"/>
                  <a:gd name="connsiteX40" fmla="*/ 222981 w 3445003"/>
                  <a:gd name="connsiteY40" fmla="*/ 139541 h 456723"/>
                  <a:gd name="connsiteX41" fmla="*/ 222981 w 3445003"/>
                  <a:gd name="connsiteY41" fmla="*/ 145542 h 456723"/>
                  <a:gd name="connsiteX42" fmla="*/ 250318 w 3445003"/>
                  <a:gd name="connsiteY42" fmla="*/ 145542 h 456723"/>
                  <a:gd name="connsiteX43" fmla="*/ 250318 w 3445003"/>
                  <a:gd name="connsiteY43" fmla="*/ 151638 h 456723"/>
                  <a:gd name="connsiteX44" fmla="*/ 252413 w 3445003"/>
                  <a:gd name="connsiteY44" fmla="*/ 151638 h 456723"/>
                  <a:gd name="connsiteX45" fmla="*/ 252413 w 3445003"/>
                  <a:gd name="connsiteY45" fmla="*/ 157734 h 456723"/>
                  <a:gd name="connsiteX46" fmla="*/ 262890 w 3445003"/>
                  <a:gd name="connsiteY46" fmla="*/ 157734 h 456723"/>
                  <a:gd name="connsiteX47" fmla="*/ 262890 w 3445003"/>
                  <a:gd name="connsiteY47" fmla="*/ 163734 h 456723"/>
                  <a:gd name="connsiteX48" fmla="*/ 269177 w 3445003"/>
                  <a:gd name="connsiteY48" fmla="*/ 163734 h 456723"/>
                  <a:gd name="connsiteX49" fmla="*/ 269177 w 3445003"/>
                  <a:gd name="connsiteY49" fmla="*/ 175926 h 456723"/>
                  <a:gd name="connsiteX50" fmla="*/ 277654 w 3445003"/>
                  <a:gd name="connsiteY50" fmla="*/ 175926 h 456723"/>
                  <a:gd name="connsiteX51" fmla="*/ 277654 w 3445003"/>
                  <a:gd name="connsiteY51" fmla="*/ 181927 h 456723"/>
                  <a:gd name="connsiteX52" fmla="*/ 283941 w 3445003"/>
                  <a:gd name="connsiteY52" fmla="*/ 181927 h 456723"/>
                  <a:gd name="connsiteX53" fmla="*/ 283941 w 3445003"/>
                  <a:gd name="connsiteY53" fmla="*/ 194119 h 456723"/>
                  <a:gd name="connsiteX54" fmla="*/ 286036 w 3445003"/>
                  <a:gd name="connsiteY54" fmla="*/ 194119 h 456723"/>
                  <a:gd name="connsiteX55" fmla="*/ 286036 w 3445003"/>
                  <a:gd name="connsiteY55" fmla="*/ 200215 h 456723"/>
                  <a:gd name="connsiteX56" fmla="*/ 298609 w 3445003"/>
                  <a:gd name="connsiteY56" fmla="*/ 200215 h 456723"/>
                  <a:gd name="connsiteX57" fmla="*/ 298609 w 3445003"/>
                  <a:gd name="connsiteY57" fmla="*/ 206216 h 456723"/>
                  <a:gd name="connsiteX58" fmla="*/ 321755 w 3445003"/>
                  <a:gd name="connsiteY58" fmla="*/ 206216 h 456723"/>
                  <a:gd name="connsiteX59" fmla="*/ 321755 w 3445003"/>
                  <a:gd name="connsiteY59" fmla="*/ 212312 h 456723"/>
                  <a:gd name="connsiteX60" fmla="*/ 328137 w 3445003"/>
                  <a:gd name="connsiteY60" fmla="*/ 212312 h 456723"/>
                  <a:gd name="connsiteX61" fmla="*/ 328137 w 3445003"/>
                  <a:gd name="connsiteY61" fmla="*/ 218408 h 456723"/>
                  <a:gd name="connsiteX62" fmla="*/ 336519 w 3445003"/>
                  <a:gd name="connsiteY62" fmla="*/ 218408 h 456723"/>
                  <a:gd name="connsiteX63" fmla="*/ 336519 w 3445003"/>
                  <a:gd name="connsiteY63" fmla="*/ 224409 h 456723"/>
                  <a:gd name="connsiteX64" fmla="*/ 344901 w 3445003"/>
                  <a:gd name="connsiteY64" fmla="*/ 224409 h 456723"/>
                  <a:gd name="connsiteX65" fmla="*/ 344901 w 3445003"/>
                  <a:gd name="connsiteY65" fmla="*/ 230505 h 456723"/>
                  <a:gd name="connsiteX66" fmla="*/ 349092 w 3445003"/>
                  <a:gd name="connsiteY66" fmla="*/ 230505 h 456723"/>
                  <a:gd name="connsiteX67" fmla="*/ 349092 w 3445003"/>
                  <a:gd name="connsiteY67" fmla="*/ 236601 h 456723"/>
                  <a:gd name="connsiteX68" fmla="*/ 422720 w 3445003"/>
                  <a:gd name="connsiteY68" fmla="*/ 236601 h 456723"/>
                  <a:gd name="connsiteX69" fmla="*/ 422720 w 3445003"/>
                  <a:gd name="connsiteY69" fmla="*/ 242601 h 456723"/>
                  <a:gd name="connsiteX70" fmla="*/ 443770 w 3445003"/>
                  <a:gd name="connsiteY70" fmla="*/ 242601 h 456723"/>
                  <a:gd name="connsiteX71" fmla="*/ 443770 w 3445003"/>
                  <a:gd name="connsiteY71" fmla="*/ 248697 h 456723"/>
                  <a:gd name="connsiteX72" fmla="*/ 450057 w 3445003"/>
                  <a:gd name="connsiteY72" fmla="*/ 248697 h 456723"/>
                  <a:gd name="connsiteX73" fmla="*/ 450057 w 3445003"/>
                  <a:gd name="connsiteY73" fmla="*/ 254793 h 456723"/>
                  <a:gd name="connsiteX74" fmla="*/ 492157 w 3445003"/>
                  <a:gd name="connsiteY74" fmla="*/ 254793 h 456723"/>
                  <a:gd name="connsiteX75" fmla="*/ 492157 w 3445003"/>
                  <a:gd name="connsiteY75" fmla="*/ 260794 h 456723"/>
                  <a:gd name="connsiteX76" fmla="*/ 506826 w 3445003"/>
                  <a:gd name="connsiteY76" fmla="*/ 260794 h 456723"/>
                  <a:gd name="connsiteX77" fmla="*/ 506826 w 3445003"/>
                  <a:gd name="connsiteY77" fmla="*/ 266890 h 456723"/>
                  <a:gd name="connsiteX78" fmla="*/ 536353 w 3445003"/>
                  <a:gd name="connsiteY78" fmla="*/ 266890 h 456723"/>
                  <a:gd name="connsiteX79" fmla="*/ 536353 w 3445003"/>
                  <a:gd name="connsiteY79" fmla="*/ 272986 h 456723"/>
                  <a:gd name="connsiteX80" fmla="*/ 538449 w 3445003"/>
                  <a:gd name="connsiteY80" fmla="*/ 272986 h 456723"/>
                  <a:gd name="connsiteX81" fmla="*/ 538449 w 3445003"/>
                  <a:gd name="connsiteY81" fmla="*/ 278987 h 456723"/>
                  <a:gd name="connsiteX82" fmla="*/ 561499 w 3445003"/>
                  <a:gd name="connsiteY82" fmla="*/ 278987 h 456723"/>
                  <a:gd name="connsiteX83" fmla="*/ 561499 w 3445003"/>
                  <a:gd name="connsiteY83" fmla="*/ 285083 h 456723"/>
                  <a:gd name="connsiteX84" fmla="*/ 574168 w 3445003"/>
                  <a:gd name="connsiteY84" fmla="*/ 285083 h 456723"/>
                  <a:gd name="connsiteX85" fmla="*/ 574168 w 3445003"/>
                  <a:gd name="connsiteY85" fmla="*/ 291179 h 456723"/>
                  <a:gd name="connsiteX86" fmla="*/ 609886 w 3445003"/>
                  <a:gd name="connsiteY86" fmla="*/ 291179 h 456723"/>
                  <a:gd name="connsiteX87" fmla="*/ 609886 w 3445003"/>
                  <a:gd name="connsiteY87" fmla="*/ 297275 h 456723"/>
                  <a:gd name="connsiteX88" fmla="*/ 725615 w 3445003"/>
                  <a:gd name="connsiteY88" fmla="*/ 297275 h 456723"/>
                  <a:gd name="connsiteX89" fmla="*/ 725615 w 3445003"/>
                  <a:gd name="connsiteY89" fmla="*/ 303276 h 456723"/>
                  <a:gd name="connsiteX90" fmla="*/ 763429 w 3445003"/>
                  <a:gd name="connsiteY90" fmla="*/ 303276 h 456723"/>
                  <a:gd name="connsiteX91" fmla="*/ 763429 w 3445003"/>
                  <a:gd name="connsiteY91" fmla="*/ 309467 h 456723"/>
                  <a:gd name="connsiteX92" fmla="*/ 816007 w 3445003"/>
                  <a:gd name="connsiteY92" fmla="*/ 309467 h 456723"/>
                  <a:gd name="connsiteX93" fmla="*/ 816007 w 3445003"/>
                  <a:gd name="connsiteY93" fmla="*/ 315563 h 456723"/>
                  <a:gd name="connsiteX94" fmla="*/ 834962 w 3445003"/>
                  <a:gd name="connsiteY94" fmla="*/ 315563 h 456723"/>
                  <a:gd name="connsiteX95" fmla="*/ 834962 w 3445003"/>
                  <a:gd name="connsiteY95" fmla="*/ 321659 h 456723"/>
                  <a:gd name="connsiteX96" fmla="*/ 845440 w 3445003"/>
                  <a:gd name="connsiteY96" fmla="*/ 321659 h 456723"/>
                  <a:gd name="connsiteX97" fmla="*/ 845440 w 3445003"/>
                  <a:gd name="connsiteY97" fmla="*/ 327850 h 456723"/>
                  <a:gd name="connsiteX98" fmla="*/ 879158 w 3445003"/>
                  <a:gd name="connsiteY98" fmla="*/ 327850 h 456723"/>
                  <a:gd name="connsiteX99" fmla="*/ 879158 w 3445003"/>
                  <a:gd name="connsiteY99" fmla="*/ 333946 h 456723"/>
                  <a:gd name="connsiteX100" fmla="*/ 885445 w 3445003"/>
                  <a:gd name="connsiteY100" fmla="*/ 333946 h 456723"/>
                  <a:gd name="connsiteX101" fmla="*/ 885445 w 3445003"/>
                  <a:gd name="connsiteY101" fmla="*/ 340042 h 456723"/>
                  <a:gd name="connsiteX102" fmla="*/ 900113 w 3445003"/>
                  <a:gd name="connsiteY102" fmla="*/ 340042 h 456723"/>
                  <a:gd name="connsiteX103" fmla="*/ 900113 w 3445003"/>
                  <a:gd name="connsiteY103" fmla="*/ 346138 h 456723"/>
                  <a:gd name="connsiteX104" fmla="*/ 912781 w 3445003"/>
                  <a:gd name="connsiteY104" fmla="*/ 346138 h 456723"/>
                  <a:gd name="connsiteX105" fmla="*/ 912781 w 3445003"/>
                  <a:gd name="connsiteY105" fmla="*/ 352329 h 456723"/>
                  <a:gd name="connsiteX106" fmla="*/ 938023 w 3445003"/>
                  <a:gd name="connsiteY106" fmla="*/ 352329 h 456723"/>
                  <a:gd name="connsiteX107" fmla="*/ 938023 w 3445003"/>
                  <a:gd name="connsiteY107" fmla="*/ 358425 h 456723"/>
                  <a:gd name="connsiteX108" fmla="*/ 1167289 w 3445003"/>
                  <a:gd name="connsiteY108" fmla="*/ 358425 h 456723"/>
                  <a:gd name="connsiteX109" fmla="*/ 1167289 w 3445003"/>
                  <a:gd name="connsiteY109" fmla="*/ 364617 h 456723"/>
                  <a:gd name="connsiteX110" fmla="*/ 1280827 w 3445003"/>
                  <a:gd name="connsiteY110" fmla="*/ 364617 h 456723"/>
                  <a:gd name="connsiteX111" fmla="*/ 1280827 w 3445003"/>
                  <a:gd name="connsiteY111" fmla="*/ 370808 h 456723"/>
                  <a:gd name="connsiteX112" fmla="*/ 1550004 w 3445003"/>
                  <a:gd name="connsiteY112" fmla="*/ 370808 h 456723"/>
                  <a:gd name="connsiteX113" fmla="*/ 1550004 w 3445003"/>
                  <a:gd name="connsiteY113" fmla="*/ 377094 h 456723"/>
                  <a:gd name="connsiteX114" fmla="*/ 1623632 w 3445003"/>
                  <a:gd name="connsiteY114" fmla="*/ 377094 h 456723"/>
                  <a:gd name="connsiteX115" fmla="*/ 1623632 w 3445003"/>
                  <a:gd name="connsiteY115" fmla="*/ 383381 h 456723"/>
                  <a:gd name="connsiteX116" fmla="*/ 1703547 w 3445003"/>
                  <a:gd name="connsiteY116" fmla="*/ 383381 h 456723"/>
                  <a:gd name="connsiteX117" fmla="*/ 1703547 w 3445003"/>
                  <a:gd name="connsiteY117" fmla="*/ 389667 h 456723"/>
                  <a:gd name="connsiteX118" fmla="*/ 1865472 w 3445003"/>
                  <a:gd name="connsiteY118" fmla="*/ 389667 h 456723"/>
                  <a:gd name="connsiteX119" fmla="*/ 1865472 w 3445003"/>
                  <a:gd name="connsiteY119" fmla="*/ 396144 h 456723"/>
                  <a:gd name="connsiteX120" fmla="*/ 1882331 w 3445003"/>
                  <a:gd name="connsiteY120" fmla="*/ 396144 h 456723"/>
                  <a:gd name="connsiteX121" fmla="*/ 1882331 w 3445003"/>
                  <a:gd name="connsiteY121" fmla="*/ 402526 h 456723"/>
                  <a:gd name="connsiteX122" fmla="*/ 2000155 w 3445003"/>
                  <a:gd name="connsiteY122" fmla="*/ 402526 h 456723"/>
                  <a:gd name="connsiteX123" fmla="*/ 2000155 w 3445003"/>
                  <a:gd name="connsiteY123" fmla="*/ 409003 h 456723"/>
                  <a:gd name="connsiteX124" fmla="*/ 2092643 w 3445003"/>
                  <a:gd name="connsiteY124" fmla="*/ 409003 h 456723"/>
                  <a:gd name="connsiteX125" fmla="*/ 2092643 w 3445003"/>
                  <a:gd name="connsiteY125" fmla="*/ 415385 h 456723"/>
                  <a:gd name="connsiteX126" fmla="*/ 2111598 w 3445003"/>
                  <a:gd name="connsiteY126" fmla="*/ 415385 h 456723"/>
                  <a:gd name="connsiteX127" fmla="*/ 2111598 w 3445003"/>
                  <a:gd name="connsiteY127" fmla="*/ 421862 h 456723"/>
                  <a:gd name="connsiteX128" fmla="*/ 2965419 w 3445003"/>
                  <a:gd name="connsiteY128" fmla="*/ 421862 h 456723"/>
                  <a:gd name="connsiteX129" fmla="*/ 2965419 w 3445003"/>
                  <a:gd name="connsiteY129" fmla="*/ 456723 h 456723"/>
                  <a:gd name="connsiteX130" fmla="*/ 3445003 w 3445003"/>
                  <a:gd name="connsiteY130" fmla="*/ 456723 h 456723"/>
                  <a:gd name="connsiteX0" fmla="*/ 0 w 3436620"/>
                  <a:gd name="connsiteY0" fmla="*/ 0 h 450627"/>
                  <a:gd name="connsiteX1" fmla="*/ 14763 w 3436620"/>
                  <a:gd name="connsiteY1" fmla="*/ 0 h 450627"/>
                  <a:gd name="connsiteX2" fmla="*/ 14763 w 3436620"/>
                  <a:gd name="connsiteY2" fmla="*/ 6000 h 450627"/>
                  <a:gd name="connsiteX3" fmla="*/ 18954 w 3436620"/>
                  <a:gd name="connsiteY3" fmla="*/ 6000 h 450627"/>
                  <a:gd name="connsiteX4" fmla="*/ 18954 w 3436620"/>
                  <a:gd name="connsiteY4" fmla="*/ 12096 h 450627"/>
                  <a:gd name="connsiteX5" fmla="*/ 23145 w 3436620"/>
                  <a:gd name="connsiteY5" fmla="*/ 12096 h 450627"/>
                  <a:gd name="connsiteX6" fmla="*/ 23145 w 3436620"/>
                  <a:gd name="connsiteY6" fmla="*/ 18192 h 450627"/>
                  <a:gd name="connsiteX7" fmla="*/ 35814 w 3436620"/>
                  <a:gd name="connsiteY7" fmla="*/ 18192 h 450627"/>
                  <a:gd name="connsiteX8" fmla="*/ 35814 w 3436620"/>
                  <a:gd name="connsiteY8" fmla="*/ 24193 h 450627"/>
                  <a:gd name="connsiteX9" fmla="*/ 65246 w 3436620"/>
                  <a:gd name="connsiteY9" fmla="*/ 24193 h 450627"/>
                  <a:gd name="connsiteX10" fmla="*/ 65246 w 3436620"/>
                  <a:gd name="connsiteY10" fmla="*/ 30289 h 450627"/>
                  <a:gd name="connsiteX11" fmla="*/ 73628 w 3436620"/>
                  <a:gd name="connsiteY11" fmla="*/ 30289 h 450627"/>
                  <a:gd name="connsiteX12" fmla="*/ 73628 w 3436620"/>
                  <a:gd name="connsiteY12" fmla="*/ 36385 h 450627"/>
                  <a:gd name="connsiteX13" fmla="*/ 75723 w 3436620"/>
                  <a:gd name="connsiteY13" fmla="*/ 36385 h 450627"/>
                  <a:gd name="connsiteX14" fmla="*/ 75723 w 3436620"/>
                  <a:gd name="connsiteY14" fmla="*/ 42386 h 450627"/>
                  <a:gd name="connsiteX15" fmla="*/ 90487 w 3436620"/>
                  <a:gd name="connsiteY15" fmla="*/ 42386 h 450627"/>
                  <a:gd name="connsiteX16" fmla="*/ 90487 w 3436620"/>
                  <a:gd name="connsiteY16" fmla="*/ 54578 h 450627"/>
                  <a:gd name="connsiteX17" fmla="*/ 92583 w 3436620"/>
                  <a:gd name="connsiteY17" fmla="*/ 54578 h 450627"/>
                  <a:gd name="connsiteX18" fmla="*/ 92583 w 3436620"/>
                  <a:gd name="connsiteY18" fmla="*/ 60579 h 450627"/>
                  <a:gd name="connsiteX19" fmla="*/ 98869 w 3436620"/>
                  <a:gd name="connsiteY19" fmla="*/ 60579 h 450627"/>
                  <a:gd name="connsiteX20" fmla="*/ 98869 w 3436620"/>
                  <a:gd name="connsiteY20" fmla="*/ 66675 h 450627"/>
                  <a:gd name="connsiteX21" fmla="*/ 103060 w 3436620"/>
                  <a:gd name="connsiteY21" fmla="*/ 66675 h 450627"/>
                  <a:gd name="connsiteX22" fmla="*/ 103060 w 3436620"/>
                  <a:gd name="connsiteY22" fmla="*/ 72771 h 450627"/>
                  <a:gd name="connsiteX23" fmla="*/ 119919 w 3436620"/>
                  <a:gd name="connsiteY23" fmla="*/ 72771 h 450627"/>
                  <a:gd name="connsiteX24" fmla="*/ 119919 w 3436620"/>
                  <a:gd name="connsiteY24" fmla="*/ 84867 h 450627"/>
                  <a:gd name="connsiteX25" fmla="*/ 124110 w 3436620"/>
                  <a:gd name="connsiteY25" fmla="*/ 84867 h 450627"/>
                  <a:gd name="connsiteX26" fmla="*/ 124110 w 3436620"/>
                  <a:gd name="connsiteY26" fmla="*/ 90963 h 450627"/>
                  <a:gd name="connsiteX27" fmla="*/ 147256 w 3436620"/>
                  <a:gd name="connsiteY27" fmla="*/ 90963 h 450627"/>
                  <a:gd name="connsiteX28" fmla="*/ 147256 w 3436620"/>
                  <a:gd name="connsiteY28" fmla="*/ 97059 h 450627"/>
                  <a:gd name="connsiteX29" fmla="*/ 151447 w 3436620"/>
                  <a:gd name="connsiteY29" fmla="*/ 97059 h 450627"/>
                  <a:gd name="connsiteX30" fmla="*/ 151447 w 3436620"/>
                  <a:gd name="connsiteY30" fmla="*/ 103060 h 450627"/>
                  <a:gd name="connsiteX31" fmla="*/ 157734 w 3436620"/>
                  <a:gd name="connsiteY31" fmla="*/ 103060 h 450627"/>
                  <a:gd name="connsiteX32" fmla="*/ 157734 w 3436620"/>
                  <a:gd name="connsiteY32" fmla="*/ 115252 h 450627"/>
                  <a:gd name="connsiteX33" fmla="*/ 176688 w 3436620"/>
                  <a:gd name="connsiteY33" fmla="*/ 115252 h 450627"/>
                  <a:gd name="connsiteX34" fmla="*/ 176688 w 3436620"/>
                  <a:gd name="connsiteY34" fmla="*/ 121253 h 450627"/>
                  <a:gd name="connsiteX35" fmla="*/ 185070 w 3436620"/>
                  <a:gd name="connsiteY35" fmla="*/ 121253 h 450627"/>
                  <a:gd name="connsiteX36" fmla="*/ 185070 w 3436620"/>
                  <a:gd name="connsiteY36" fmla="*/ 127349 h 450627"/>
                  <a:gd name="connsiteX37" fmla="*/ 197739 w 3436620"/>
                  <a:gd name="connsiteY37" fmla="*/ 127349 h 450627"/>
                  <a:gd name="connsiteX38" fmla="*/ 197739 w 3436620"/>
                  <a:gd name="connsiteY38" fmla="*/ 133445 h 450627"/>
                  <a:gd name="connsiteX39" fmla="*/ 214598 w 3436620"/>
                  <a:gd name="connsiteY39" fmla="*/ 133445 h 450627"/>
                  <a:gd name="connsiteX40" fmla="*/ 214598 w 3436620"/>
                  <a:gd name="connsiteY40" fmla="*/ 139446 h 450627"/>
                  <a:gd name="connsiteX41" fmla="*/ 241935 w 3436620"/>
                  <a:gd name="connsiteY41" fmla="*/ 139446 h 450627"/>
                  <a:gd name="connsiteX42" fmla="*/ 241935 w 3436620"/>
                  <a:gd name="connsiteY42" fmla="*/ 145542 h 450627"/>
                  <a:gd name="connsiteX43" fmla="*/ 244030 w 3436620"/>
                  <a:gd name="connsiteY43" fmla="*/ 145542 h 450627"/>
                  <a:gd name="connsiteX44" fmla="*/ 244030 w 3436620"/>
                  <a:gd name="connsiteY44" fmla="*/ 151638 h 450627"/>
                  <a:gd name="connsiteX45" fmla="*/ 254507 w 3436620"/>
                  <a:gd name="connsiteY45" fmla="*/ 151638 h 450627"/>
                  <a:gd name="connsiteX46" fmla="*/ 254507 w 3436620"/>
                  <a:gd name="connsiteY46" fmla="*/ 157638 h 450627"/>
                  <a:gd name="connsiteX47" fmla="*/ 260794 w 3436620"/>
                  <a:gd name="connsiteY47" fmla="*/ 157638 h 450627"/>
                  <a:gd name="connsiteX48" fmla="*/ 260794 w 3436620"/>
                  <a:gd name="connsiteY48" fmla="*/ 169830 h 450627"/>
                  <a:gd name="connsiteX49" fmla="*/ 269271 w 3436620"/>
                  <a:gd name="connsiteY49" fmla="*/ 169830 h 450627"/>
                  <a:gd name="connsiteX50" fmla="*/ 269271 w 3436620"/>
                  <a:gd name="connsiteY50" fmla="*/ 175831 h 450627"/>
                  <a:gd name="connsiteX51" fmla="*/ 275558 w 3436620"/>
                  <a:gd name="connsiteY51" fmla="*/ 175831 h 450627"/>
                  <a:gd name="connsiteX52" fmla="*/ 275558 w 3436620"/>
                  <a:gd name="connsiteY52" fmla="*/ 188023 h 450627"/>
                  <a:gd name="connsiteX53" fmla="*/ 277653 w 3436620"/>
                  <a:gd name="connsiteY53" fmla="*/ 188023 h 450627"/>
                  <a:gd name="connsiteX54" fmla="*/ 277653 w 3436620"/>
                  <a:gd name="connsiteY54" fmla="*/ 194119 h 450627"/>
                  <a:gd name="connsiteX55" fmla="*/ 290226 w 3436620"/>
                  <a:gd name="connsiteY55" fmla="*/ 194119 h 450627"/>
                  <a:gd name="connsiteX56" fmla="*/ 290226 w 3436620"/>
                  <a:gd name="connsiteY56" fmla="*/ 200120 h 450627"/>
                  <a:gd name="connsiteX57" fmla="*/ 313372 w 3436620"/>
                  <a:gd name="connsiteY57" fmla="*/ 200120 h 450627"/>
                  <a:gd name="connsiteX58" fmla="*/ 313372 w 3436620"/>
                  <a:gd name="connsiteY58" fmla="*/ 206216 h 450627"/>
                  <a:gd name="connsiteX59" fmla="*/ 319754 w 3436620"/>
                  <a:gd name="connsiteY59" fmla="*/ 206216 h 450627"/>
                  <a:gd name="connsiteX60" fmla="*/ 319754 w 3436620"/>
                  <a:gd name="connsiteY60" fmla="*/ 212312 h 450627"/>
                  <a:gd name="connsiteX61" fmla="*/ 328136 w 3436620"/>
                  <a:gd name="connsiteY61" fmla="*/ 212312 h 450627"/>
                  <a:gd name="connsiteX62" fmla="*/ 328136 w 3436620"/>
                  <a:gd name="connsiteY62" fmla="*/ 218313 h 450627"/>
                  <a:gd name="connsiteX63" fmla="*/ 336518 w 3436620"/>
                  <a:gd name="connsiteY63" fmla="*/ 218313 h 450627"/>
                  <a:gd name="connsiteX64" fmla="*/ 336518 w 3436620"/>
                  <a:gd name="connsiteY64" fmla="*/ 224409 h 450627"/>
                  <a:gd name="connsiteX65" fmla="*/ 340709 w 3436620"/>
                  <a:gd name="connsiteY65" fmla="*/ 224409 h 450627"/>
                  <a:gd name="connsiteX66" fmla="*/ 340709 w 3436620"/>
                  <a:gd name="connsiteY66" fmla="*/ 230505 h 450627"/>
                  <a:gd name="connsiteX67" fmla="*/ 414337 w 3436620"/>
                  <a:gd name="connsiteY67" fmla="*/ 230505 h 450627"/>
                  <a:gd name="connsiteX68" fmla="*/ 414337 w 3436620"/>
                  <a:gd name="connsiteY68" fmla="*/ 236505 h 450627"/>
                  <a:gd name="connsiteX69" fmla="*/ 435387 w 3436620"/>
                  <a:gd name="connsiteY69" fmla="*/ 236505 h 450627"/>
                  <a:gd name="connsiteX70" fmla="*/ 435387 w 3436620"/>
                  <a:gd name="connsiteY70" fmla="*/ 242601 h 450627"/>
                  <a:gd name="connsiteX71" fmla="*/ 441674 w 3436620"/>
                  <a:gd name="connsiteY71" fmla="*/ 242601 h 450627"/>
                  <a:gd name="connsiteX72" fmla="*/ 441674 w 3436620"/>
                  <a:gd name="connsiteY72" fmla="*/ 248697 h 450627"/>
                  <a:gd name="connsiteX73" fmla="*/ 483774 w 3436620"/>
                  <a:gd name="connsiteY73" fmla="*/ 248697 h 450627"/>
                  <a:gd name="connsiteX74" fmla="*/ 483774 w 3436620"/>
                  <a:gd name="connsiteY74" fmla="*/ 254698 h 450627"/>
                  <a:gd name="connsiteX75" fmla="*/ 498443 w 3436620"/>
                  <a:gd name="connsiteY75" fmla="*/ 254698 h 450627"/>
                  <a:gd name="connsiteX76" fmla="*/ 498443 w 3436620"/>
                  <a:gd name="connsiteY76" fmla="*/ 260794 h 450627"/>
                  <a:gd name="connsiteX77" fmla="*/ 527970 w 3436620"/>
                  <a:gd name="connsiteY77" fmla="*/ 260794 h 450627"/>
                  <a:gd name="connsiteX78" fmla="*/ 527970 w 3436620"/>
                  <a:gd name="connsiteY78" fmla="*/ 266890 h 450627"/>
                  <a:gd name="connsiteX79" fmla="*/ 530066 w 3436620"/>
                  <a:gd name="connsiteY79" fmla="*/ 266890 h 450627"/>
                  <a:gd name="connsiteX80" fmla="*/ 530066 w 3436620"/>
                  <a:gd name="connsiteY80" fmla="*/ 272891 h 450627"/>
                  <a:gd name="connsiteX81" fmla="*/ 553116 w 3436620"/>
                  <a:gd name="connsiteY81" fmla="*/ 272891 h 450627"/>
                  <a:gd name="connsiteX82" fmla="*/ 553116 w 3436620"/>
                  <a:gd name="connsiteY82" fmla="*/ 278987 h 450627"/>
                  <a:gd name="connsiteX83" fmla="*/ 565785 w 3436620"/>
                  <a:gd name="connsiteY83" fmla="*/ 278987 h 450627"/>
                  <a:gd name="connsiteX84" fmla="*/ 565785 w 3436620"/>
                  <a:gd name="connsiteY84" fmla="*/ 285083 h 450627"/>
                  <a:gd name="connsiteX85" fmla="*/ 601503 w 3436620"/>
                  <a:gd name="connsiteY85" fmla="*/ 285083 h 450627"/>
                  <a:gd name="connsiteX86" fmla="*/ 601503 w 3436620"/>
                  <a:gd name="connsiteY86" fmla="*/ 291179 h 450627"/>
                  <a:gd name="connsiteX87" fmla="*/ 717232 w 3436620"/>
                  <a:gd name="connsiteY87" fmla="*/ 291179 h 450627"/>
                  <a:gd name="connsiteX88" fmla="*/ 717232 w 3436620"/>
                  <a:gd name="connsiteY88" fmla="*/ 297180 h 450627"/>
                  <a:gd name="connsiteX89" fmla="*/ 755046 w 3436620"/>
                  <a:gd name="connsiteY89" fmla="*/ 297180 h 450627"/>
                  <a:gd name="connsiteX90" fmla="*/ 755046 w 3436620"/>
                  <a:gd name="connsiteY90" fmla="*/ 303371 h 450627"/>
                  <a:gd name="connsiteX91" fmla="*/ 807624 w 3436620"/>
                  <a:gd name="connsiteY91" fmla="*/ 303371 h 450627"/>
                  <a:gd name="connsiteX92" fmla="*/ 807624 w 3436620"/>
                  <a:gd name="connsiteY92" fmla="*/ 309467 h 450627"/>
                  <a:gd name="connsiteX93" fmla="*/ 826579 w 3436620"/>
                  <a:gd name="connsiteY93" fmla="*/ 309467 h 450627"/>
                  <a:gd name="connsiteX94" fmla="*/ 826579 w 3436620"/>
                  <a:gd name="connsiteY94" fmla="*/ 315563 h 450627"/>
                  <a:gd name="connsiteX95" fmla="*/ 837057 w 3436620"/>
                  <a:gd name="connsiteY95" fmla="*/ 315563 h 450627"/>
                  <a:gd name="connsiteX96" fmla="*/ 837057 w 3436620"/>
                  <a:gd name="connsiteY96" fmla="*/ 321754 h 450627"/>
                  <a:gd name="connsiteX97" fmla="*/ 870775 w 3436620"/>
                  <a:gd name="connsiteY97" fmla="*/ 321754 h 450627"/>
                  <a:gd name="connsiteX98" fmla="*/ 870775 w 3436620"/>
                  <a:gd name="connsiteY98" fmla="*/ 327850 h 450627"/>
                  <a:gd name="connsiteX99" fmla="*/ 877062 w 3436620"/>
                  <a:gd name="connsiteY99" fmla="*/ 327850 h 450627"/>
                  <a:gd name="connsiteX100" fmla="*/ 877062 w 3436620"/>
                  <a:gd name="connsiteY100" fmla="*/ 333946 h 450627"/>
                  <a:gd name="connsiteX101" fmla="*/ 891730 w 3436620"/>
                  <a:gd name="connsiteY101" fmla="*/ 333946 h 450627"/>
                  <a:gd name="connsiteX102" fmla="*/ 891730 w 3436620"/>
                  <a:gd name="connsiteY102" fmla="*/ 340042 h 450627"/>
                  <a:gd name="connsiteX103" fmla="*/ 904398 w 3436620"/>
                  <a:gd name="connsiteY103" fmla="*/ 340042 h 450627"/>
                  <a:gd name="connsiteX104" fmla="*/ 904398 w 3436620"/>
                  <a:gd name="connsiteY104" fmla="*/ 346233 h 450627"/>
                  <a:gd name="connsiteX105" fmla="*/ 929640 w 3436620"/>
                  <a:gd name="connsiteY105" fmla="*/ 346233 h 450627"/>
                  <a:gd name="connsiteX106" fmla="*/ 929640 w 3436620"/>
                  <a:gd name="connsiteY106" fmla="*/ 352329 h 450627"/>
                  <a:gd name="connsiteX107" fmla="*/ 1158906 w 3436620"/>
                  <a:gd name="connsiteY107" fmla="*/ 352329 h 450627"/>
                  <a:gd name="connsiteX108" fmla="*/ 1158906 w 3436620"/>
                  <a:gd name="connsiteY108" fmla="*/ 358521 h 450627"/>
                  <a:gd name="connsiteX109" fmla="*/ 1272444 w 3436620"/>
                  <a:gd name="connsiteY109" fmla="*/ 358521 h 450627"/>
                  <a:gd name="connsiteX110" fmla="*/ 1272444 w 3436620"/>
                  <a:gd name="connsiteY110" fmla="*/ 364712 h 450627"/>
                  <a:gd name="connsiteX111" fmla="*/ 1541621 w 3436620"/>
                  <a:gd name="connsiteY111" fmla="*/ 364712 h 450627"/>
                  <a:gd name="connsiteX112" fmla="*/ 1541621 w 3436620"/>
                  <a:gd name="connsiteY112" fmla="*/ 370998 h 450627"/>
                  <a:gd name="connsiteX113" fmla="*/ 1615249 w 3436620"/>
                  <a:gd name="connsiteY113" fmla="*/ 370998 h 450627"/>
                  <a:gd name="connsiteX114" fmla="*/ 1615249 w 3436620"/>
                  <a:gd name="connsiteY114" fmla="*/ 377285 h 450627"/>
                  <a:gd name="connsiteX115" fmla="*/ 1695164 w 3436620"/>
                  <a:gd name="connsiteY115" fmla="*/ 377285 h 450627"/>
                  <a:gd name="connsiteX116" fmla="*/ 1695164 w 3436620"/>
                  <a:gd name="connsiteY116" fmla="*/ 383571 h 450627"/>
                  <a:gd name="connsiteX117" fmla="*/ 1857089 w 3436620"/>
                  <a:gd name="connsiteY117" fmla="*/ 383571 h 450627"/>
                  <a:gd name="connsiteX118" fmla="*/ 1857089 w 3436620"/>
                  <a:gd name="connsiteY118" fmla="*/ 390048 h 450627"/>
                  <a:gd name="connsiteX119" fmla="*/ 1873948 w 3436620"/>
                  <a:gd name="connsiteY119" fmla="*/ 390048 h 450627"/>
                  <a:gd name="connsiteX120" fmla="*/ 1873948 w 3436620"/>
                  <a:gd name="connsiteY120" fmla="*/ 396430 h 450627"/>
                  <a:gd name="connsiteX121" fmla="*/ 1991772 w 3436620"/>
                  <a:gd name="connsiteY121" fmla="*/ 396430 h 450627"/>
                  <a:gd name="connsiteX122" fmla="*/ 1991772 w 3436620"/>
                  <a:gd name="connsiteY122" fmla="*/ 402907 h 450627"/>
                  <a:gd name="connsiteX123" fmla="*/ 2084260 w 3436620"/>
                  <a:gd name="connsiteY123" fmla="*/ 402907 h 450627"/>
                  <a:gd name="connsiteX124" fmla="*/ 2084260 w 3436620"/>
                  <a:gd name="connsiteY124" fmla="*/ 409289 h 450627"/>
                  <a:gd name="connsiteX125" fmla="*/ 2103215 w 3436620"/>
                  <a:gd name="connsiteY125" fmla="*/ 409289 h 450627"/>
                  <a:gd name="connsiteX126" fmla="*/ 2103215 w 3436620"/>
                  <a:gd name="connsiteY126" fmla="*/ 415766 h 450627"/>
                  <a:gd name="connsiteX127" fmla="*/ 2957036 w 3436620"/>
                  <a:gd name="connsiteY127" fmla="*/ 415766 h 450627"/>
                  <a:gd name="connsiteX128" fmla="*/ 2957036 w 3436620"/>
                  <a:gd name="connsiteY128" fmla="*/ 450627 h 450627"/>
                  <a:gd name="connsiteX129" fmla="*/ 3436620 w 3436620"/>
                  <a:gd name="connsiteY129" fmla="*/ 450627 h 450627"/>
                  <a:gd name="connsiteX0" fmla="*/ 0 w 3421857"/>
                  <a:gd name="connsiteY0" fmla="*/ 0 h 450627"/>
                  <a:gd name="connsiteX1" fmla="*/ 0 w 3421857"/>
                  <a:gd name="connsiteY1" fmla="*/ 6000 h 450627"/>
                  <a:gd name="connsiteX2" fmla="*/ 4191 w 3421857"/>
                  <a:gd name="connsiteY2" fmla="*/ 6000 h 450627"/>
                  <a:gd name="connsiteX3" fmla="*/ 4191 w 3421857"/>
                  <a:gd name="connsiteY3" fmla="*/ 12096 h 450627"/>
                  <a:gd name="connsiteX4" fmla="*/ 8382 w 3421857"/>
                  <a:gd name="connsiteY4" fmla="*/ 12096 h 450627"/>
                  <a:gd name="connsiteX5" fmla="*/ 8382 w 3421857"/>
                  <a:gd name="connsiteY5" fmla="*/ 18192 h 450627"/>
                  <a:gd name="connsiteX6" fmla="*/ 21051 w 3421857"/>
                  <a:gd name="connsiteY6" fmla="*/ 18192 h 450627"/>
                  <a:gd name="connsiteX7" fmla="*/ 21051 w 3421857"/>
                  <a:gd name="connsiteY7" fmla="*/ 24193 h 450627"/>
                  <a:gd name="connsiteX8" fmla="*/ 50483 w 3421857"/>
                  <a:gd name="connsiteY8" fmla="*/ 24193 h 450627"/>
                  <a:gd name="connsiteX9" fmla="*/ 50483 w 3421857"/>
                  <a:gd name="connsiteY9" fmla="*/ 30289 h 450627"/>
                  <a:gd name="connsiteX10" fmla="*/ 58865 w 3421857"/>
                  <a:gd name="connsiteY10" fmla="*/ 30289 h 450627"/>
                  <a:gd name="connsiteX11" fmla="*/ 58865 w 3421857"/>
                  <a:gd name="connsiteY11" fmla="*/ 36385 h 450627"/>
                  <a:gd name="connsiteX12" fmla="*/ 60960 w 3421857"/>
                  <a:gd name="connsiteY12" fmla="*/ 36385 h 450627"/>
                  <a:gd name="connsiteX13" fmla="*/ 60960 w 3421857"/>
                  <a:gd name="connsiteY13" fmla="*/ 42386 h 450627"/>
                  <a:gd name="connsiteX14" fmla="*/ 75724 w 3421857"/>
                  <a:gd name="connsiteY14" fmla="*/ 42386 h 450627"/>
                  <a:gd name="connsiteX15" fmla="*/ 75724 w 3421857"/>
                  <a:gd name="connsiteY15" fmla="*/ 54578 h 450627"/>
                  <a:gd name="connsiteX16" fmla="*/ 77820 w 3421857"/>
                  <a:gd name="connsiteY16" fmla="*/ 54578 h 450627"/>
                  <a:gd name="connsiteX17" fmla="*/ 77820 w 3421857"/>
                  <a:gd name="connsiteY17" fmla="*/ 60579 h 450627"/>
                  <a:gd name="connsiteX18" fmla="*/ 84106 w 3421857"/>
                  <a:gd name="connsiteY18" fmla="*/ 60579 h 450627"/>
                  <a:gd name="connsiteX19" fmla="*/ 84106 w 3421857"/>
                  <a:gd name="connsiteY19" fmla="*/ 66675 h 450627"/>
                  <a:gd name="connsiteX20" fmla="*/ 88297 w 3421857"/>
                  <a:gd name="connsiteY20" fmla="*/ 66675 h 450627"/>
                  <a:gd name="connsiteX21" fmla="*/ 88297 w 3421857"/>
                  <a:gd name="connsiteY21" fmla="*/ 72771 h 450627"/>
                  <a:gd name="connsiteX22" fmla="*/ 105156 w 3421857"/>
                  <a:gd name="connsiteY22" fmla="*/ 72771 h 450627"/>
                  <a:gd name="connsiteX23" fmla="*/ 105156 w 3421857"/>
                  <a:gd name="connsiteY23" fmla="*/ 84867 h 450627"/>
                  <a:gd name="connsiteX24" fmla="*/ 109347 w 3421857"/>
                  <a:gd name="connsiteY24" fmla="*/ 84867 h 450627"/>
                  <a:gd name="connsiteX25" fmla="*/ 109347 w 3421857"/>
                  <a:gd name="connsiteY25" fmla="*/ 90963 h 450627"/>
                  <a:gd name="connsiteX26" fmla="*/ 132493 w 3421857"/>
                  <a:gd name="connsiteY26" fmla="*/ 90963 h 450627"/>
                  <a:gd name="connsiteX27" fmla="*/ 132493 w 3421857"/>
                  <a:gd name="connsiteY27" fmla="*/ 97059 h 450627"/>
                  <a:gd name="connsiteX28" fmla="*/ 136684 w 3421857"/>
                  <a:gd name="connsiteY28" fmla="*/ 97059 h 450627"/>
                  <a:gd name="connsiteX29" fmla="*/ 136684 w 3421857"/>
                  <a:gd name="connsiteY29" fmla="*/ 103060 h 450627"/>
                  <a:gd name="connsiteX30" fmla="*/ 142971 w 3421857"/>
                  <a:gd name="connsiteY30" fmla="*/ 103060 h 450627"/>
                  <a:gd name="connsiteX31" fmla="*/ 142971 w 3421857"/>
                  <a:gd name="connsiteY31" fmla="*/ 115252 h 450627"/>
                  <a:gd name="connsiteX32" fmla="*/ 161925 w 3421857"/>
                  <a:gd name="connsiteY32" fmla="*/ 115252 h 450627"/>
                  <a:gd name="connsiteX33" fmla="*/ 161925 w 3421857"/>
                  <a:gd name="connsiteY33" fmla="*/ 121253 h 450627"/>
                  <a:gd name="connsiteX34" fmla="*/ 170307 w 3421857"/>
                  <a:gd name="connsiteY34" fmla="*/ 121253 h 450627"/>
                  <a:gd name="connsiteX35" fmla="*/ 170307 w 3421857"/>
                  <a:gd name="connsiteY35" fmla="*/ 127349 h 450627"/>
                  <a:gd name="connsiteX36" fmla="*/ 182976 w 3421857"/>
                  <a:gd name="connsiteY36" fmla="*/ 127349 h 450627"/>
                  <a:gd name="connsiteX37" fmla="*/ 182976 w 3421857"/>
                  <a:gd name="connsiteY37" fmla="*/ 133445 h 450627"/>
                  <a:gd name="connsiteX38" fmla="*/ 199835 w 3421857"/>
                  <a:gd name="connsiteY38" fmla="*/ 133445 h 450627"/>
                  <a:gd name="connsiteX39" fmla="*/ 199835 w 3421857"/>
                  <a:gd name="connsiteY39" fmla="*/ 139446 h 450627"/>
                  <a:gd name="connsiteX40" fmla="*/ 227172 w 3421857"/>
                  <a:gd name="connsiteY40" fmla="*/ 139446 h 450627"/>
                  <a:gd name="connsiteX41" fmla="*/ 227172 w 3421857"/>
                  <a:gd name="connsiteY41" fmla="*/ 145542 h 450627"/>
                  <a:gd name="connsiteX42" fmla="*/ 229267 w 3421857"/>
                  <a:gd name="connsiteY42" fmla="*/ 145542 h 450627"/>
                  <a:gd name="connsiteX43" fmla="*/ 229267 w 3421857"/>
                  <a:gd name="connsiteY43" fmla="*/ 151638 h 450627"/>
                  <a:gd name="connsiteX44" fmla="*/ 239744 w 3421857"/>
                  <a:gd name="connsiteY44" fmla="*/ 151638 h 450627"/>
                  <a:gd name="connsiteX45" fmla="*/ 239744 w 3421857"/>
                  <a:gd name="connsiteY45" fmla="*/ 157638 h 450627"/>
                  <a:gd name="connsiteX46" fmla="*/ 246031 w 3421857"/>
                  <a:gd name="connsiteY46" fmla="*/ 157638 h 450627"/>
                  <a:gd name="connsiteX47" fmla="*/ 246031 w 3421857"/>
                  <a:gd name="connsiteY47" fmla="*/ 169830 h 450627"/>
                  <a:gd name="connsiteX48" fmla="*/ 254508 w 3421857"/>
                  <a:gd name="connsiteY48" fmla="*/ 169830 h 450627"/>
                  <a:gd name="connsiteX49" fmla="*/ 254508 w 3421857"/>
                  <a:gd name="connsiteY49" fmla="*/ 175831 h 450627"/>
                  <a:gd name="connsiteX50" fmla="*/ 260795 w 3421857"/>
                  <a:gd name="connsiteY50" fmla="*/ 175831 h 450627"/>
                  <a:gd name="connsiteX51" fmla="*/ 260795 w 3421857"/>
                  <a:gd name="connsiteY51" fmla="*/ 188023 h 450627"/>
                  <a:gd name="connsiteX52" fmla="*/ 262890 w 3421857"/>
                  <a:gd name="connsiteY52" fmla="*/ 188023 h 450627"/>
                  <a:gd name="connsiteX53" fmla="*/ 262890 w 3421857"/>
                  <a:gd name="connsiteY53" fmla="*/ 194119 h 450627"/>
                  <a:gd name="connsiteX54" fmla="*/ 275463 w 3421857"/>
                  <a:gd name="connsiteY54" fmla="*/ 194119 h 450627"/>
                  <a:gd name="connsiteX55" fmla="*/ 275463 w 3421857"/>
                  <a:gd name="connsiteY55" fmla="*/ 200120 h 450627"/>
                  <a:gd name="connsiteX56" fmla="*/ 298609 w 3421857"/>
                  <a:gd name="connsiteY56" fmla="*/ 200120 h 450627"/>
                  <a:gd name="connsiteX57" fmla="*/ 298609 w 3421857"/>
                  <a:gd name="connsiteY57" fmla="*/ 206216 h 450627"/>
                  <a:gd name="connsiteX58" fmla="*/ 304991 w 3421857"/>
                  <a:gd name="connsiteY58" fmla="*/ 206216 h 450627"/>
                  <a:gd name="connsiteX59" fmla="*/ 304991 w 3421857"/>
                  <a:gd name="connsiteY59" fmla="*/ 212312 h 450627"/>
                  <a:gd name="connsiteX60" fmla="*/ 313373 w 3421857"/>
                  <a:gd name="connsiteY60" fmla="*/ 212312 h 450627"/>
                  <a:gd name="connsiteX61" fmla="*/ 313373 w 3421857"/>
                  <a:gd name="connsiteY61" fmla="*/ 218313 h 450627"/>
                  <a:gd name="connsiteX62" fmla="*/ 321755 w 3421857"/>
                  <a:gd name="connsiteY62" fmla="*/ 218313 h 450627"/>
                  <a:gd name="connsiteX63" fmla="*/ 321755 w 3421857"/>
                  <a:gd name="connsiteY63" fmla="*/ 224409 h 450627"/>
                  <a:gd name="connsiteX64" fmla="*/ 325946 w 3421857"/>
                  <a:gd name="connsiteY64" fmla="*/ 224409 h 450627"/>
                  <a:gd name="connsiteX65" fmla="*/ 325946 w 3421857"/>
                  <a:gd name="connsiteY65" fmla="*/ 230505 h 450627"/>
                  <a:gd name="connsiteX66" fmla="*/ 399574 w 3421857"/>
                  <a:gd name="connsiteY66" fmla="*/ 230505 h 450627"/>
                  <a:gd name="connsiteX67" fmla="*/ 399574 w 3421857"/>
                  <a:gd name="connsiteY67" fmla="*/ 236505 h 450627"/>
                  <a:gd name="connsiteX68" fmla="*/ 420624 w 3421857"/>
                  <a:gd name="connsiteY68" fmla="*/ 236505 h 450627"/>
                  <a:gd name="connsiteX69" fmla="*/ 420624 w 3421857"/>
                  <a:gd name="connsiteY69" fmla="*/ 242601 h 450627"/>
                  <a:gd name="connsiteX70" fmla="*/ 426911 w 3421857"/>
                  <a:gd name="connsiteY70" fmla="*/ 242601 h 450627"/>
                  <a:gd name="connsiteX71" fmla="*/ 426911 w 3421857"/>
                  <a:gd name="connsiteY71" fmla="*/ 248697 h 450627"/>
                  <a:gd name="connsiteX72" fmla="*/ 469011 w 3421857"/>
                  <a:gd name="connsiteY72" fmla="*/ 248697 h 450627"/>
                  <a:gd name="connsiteX73" fmla="*/ 469011 w 3421857"/>
                  <a:gd name="connsiteY73" fmla="*/ 254698 h 450627"/>
                  <a:gd name="connsiteX74" fmla="*/ 483680 w 3421857"/>
                  <a:gd name="connsiteY74" fmla="*/ 254698 h 450627"/>
                  <a:gd name="connsiteX75" fmla="*/ 483680 w 3421857"/>
                  <a:gd name="connsiteY75" fmla="*/ 260794 h 450627"/>
                  <a:gd name="connsiteX76" fmla="*/ 513207 w 3421857"/>
                  <a:gd name="connsiteY76" fmla="*/ 260794 h 450627"/>
                  <a:gd name="connsiteX77" fmla="*/ 513207 w 3421857"/>
                  <a:gd name="connsiteY77" fmla="*/ 266890 h 450627"/>
                  <a:gd name="connsiteX78" fmla="*/ 515303 w 3421857"/>
                  <a:gd name="connsiteY78" fmla="*/ 266890 h 450627"/>
                  <a:gd name="connsiteX79" fmla="*/ 515303 w 3421857"/>
                  <a:gd name="connsiteY79" fmla="*/ 272891 h 450627"/>
                  <a:gd name="connsiteX80" fmla="*/ 538353 w 3421857"/>
                  <a:gd name="connsiteY80" fmla="*/ 272891 h 450627"/>
                  <a:gd name="connsiteX81" fmla="*/ 538353 w 3421857"/>
                  <a:gd name="connsiteY81" fmla="*/ 278987 h 450627"/>
                  <a:gd name="connsiteX82" fmla="*/ 551022 w 3421857"/>
                  <a:gd name="connsiteY82" fmla="*/ 278987 h 450627"/>
                  <a:gd name="connsiteX83" fmla="*/ 551022 w 3421857"/>
                  <a:gd name="connsiteY83" fmla="*/ 285083 h 450627"/>
                  <a:gd name="connsiteX84" fmla="*/ 586740 w 3421857"/>
                  <a:gd name="connsiteY84" fmla="*/ 285083 h 450627"/>
                  <a:gd name="connsiteX85" fmla="*/ 586740 w 3421857"/>
                  <a:gd name="connsiteY85" fmla="*/ 291179 h 450627"/>
                  <a:gd name="connsiteX86" fmla="*/ 702469 w 3421857"/>
                  <a:gd name="connsiteY86" fmla="*/ 291179 h 450627"/>
                  <a:gd name="connsiteX87" fmla="*/ 702469 w 3421857"/>
                  <a:gd name="connsiteY87" fmla="*/ 297180 h 450627"/>
                  <a:gd name="connsiteX88" fmla="*/ 740283 w 3421857"/>
                  <a:gd name="connsiteY88" fmla="*/ 297180 h 450627"/>
                  <a:gd name="connsiteX89" fmla="*/ 740283 w 3421857"/>
                  <a:gd name="connsiteY89" fmla="*/ 303371 h 450627"/>
                  <a:gd name="connsiteX90" fmla="*/ 792861 w 3421857"/>
                  <a:gd name="connsiteY90" fmla="*/ 303371 h 450627"/>
                  <a:gd name="connsiteX91" fmla="*/ 792861 w 3421857"/>
                  <a:gd name="connsiteY91" fmla="*/ 309467 h 450627"/>
                  <a:gd name="connsiteX92" fmla="*/ 811816 w 3421857"/>
                  <a:gd name="connsiteY92" fmla="*/ 309467 h 450627"/>
                  <a:gd name="connsiteX93" fmla="*/ 811816 w 3421857"/>
                  <a:gd name="connsiteY93" fmla="*/ 315563 h 450627"/>
                  <a:gd name="connsiteX94" fmla="*/ 822294 w 3421857"/>
                  <a:gd name="connsiteY94" fmla="*/ 315563 h 450627"/>
                  <a:gd name="connsiteX95" fmla="*/ 822294 w 3421857"/>
                  <a:gd name="connsiteY95" fmla="*/ 321754 h 450627"/>
                  <a:gd name="connsiteX96" fmla="*/ 856012 w 3421857"/>
                  <a:gd name="connsiteY96" fmla="*/ 321754 h 450627"/>
                  <a:gd name="connsiteX97" fmla="*/ 856012 w 3421857"/>
                  <a:gd name="connsiteY97" fmla="*/ 327850 h 450627"/>
                  <a:gd name="connsiteX98" fmla="*/ 862299 w 3421857"/>
                  <a:gd name="connsiteY98" fmla="*/ 327850 h 450627"/>
                  <a:gd name="connsiteX99" fmla="*/ 862299 w 3421857"/>
                  <a:gd name="connsiteY99" fmla="*/ 333946 h 450627"/>
                  <a:gd name="connsiteX100" fmla="*/ 876967 w 3421857"/>
                  <a:gd name="connsiteY100" fmla="*/ 333946 h 450627"/>
                  <a:gd name="connsiteX101" fmla="*/ 876967 w 3421857"/>
                  <a:gd name="connsiteY101" fmla="*/ 340042 h 450627"/>
                  <a:gd name="connsiteX102" fmla="*/ 889635 w 3421857"/>
                  <a:gd name="connsiteY102" fmla="*/ 340042 h 450627"/>
                  <a:gd name="connsiteX103" fmla="*/ 889635 w 3421857"/>
                  <a:gd name="connsiteY103" fmla="*/ 346233 h 450627"/>
                  <a:gd name="connsiteX104" fmla="*/ 914877 w 3421857"/>
                  <a:gd name="connsiteY104" fmla="*/ 346233 h 450627"/>
                  <a:gd name="connsiteX105" fmla="*/ 914877 w 3421857"/>
                  <a:gd name="connsiteY105" fmla="*/ 352329 h 450627"/>
                  <a:gd name="connsiteX106" fmla="*/ 1144143 w 3421857"/>
                  <a:gd name="connsiteY106" fmla="*/ 352329 h 450627"/>
                  <a:gd name="connsiteX107" fmla="*/ 1144143 w 3421857"/>
                  <a:gd name="connsiteY107" fmla="*/ 358521 h 450627"/>
                  <a:gd name="connsiteX108" fmla="*/ 1257681 w 3421857"/>
                  <a:gd name="connsiteY108" fmla="*/ 358521 h 450627"/>
                  <a:gd name="connsiteX109" fmla="*/ 1257681 w 3421857"/>
                  <a:gd name="connsiteY109" fmla="*/ 364712 h 450627"/>
                  <a:gd name="connsiteX110" fmla="*/ 1526858 w 3421857"/>
                  <a:gd name="connsiteY110" fmla="*/ 364712 h 450627"/>
                  <a:gd name="connsiteX111" fmla="*/ 1526858 w 3421857"/>
                  <a:gd name="connsiteY111" fmla="*/ 370998 h 450627"/>
                  <a:gd name="connsiteX112" fmla="*/ 1600486 w 3421857"/>
                  <a:gd name="connsiteY112" fmla="*/ 370998 h 450627"/>
                  <a:gd name="connsiteX113" fmla="*/ 1600486 w 3421857"/>
                  <a:gd name="connsiteY113" fmla="*/ 377285 h 450627"/>
                  <a:gd name="connsiteX114" fmla="*/ 1680401 w 3421857"/>
                  <a:gd name="connsiteY114" fmla="*/ 377285 h 450627"/>
                  <a:gd name="connsiteX115" fmla="*/ 1680401 w 3421857"/>
                  <a:gd name="connsiteY115" fmla="*/ 383571 h 450627"/>
                  <a:gd name="connsiteX116" fmla="*/ 1842326 w 3421857"/>
                  <a:gd name="connsiteY116" fmla="*/ 383571 h 450627"/>
                  <a:gd name="connsiteX117" fmla="*/ 1842326 w 3421857"/>
                  <a:gd name="connsiteY117" fmla="*/ 390048 h 450627"/>
                  <a:gd name="connsiteX118" fmla="*/ 1859185 w 3421857"/>
                  <a:gd name="connsiteY118" fmla="*/ 390048 h 450627"/>
                  <a:gd name="connsiteX119" fmla="*/ 1859185 w 3421857"/>
                  <a:gd name="connsiteY119" fmla="*/ 396430 h 450627"/>
                  <a:gd name="connsiteX120" fmla="*/ 1977009 w 3421857"/>
                  <a:gd name="connsiteY120" fmla="*/ 396430 h 450627"/>
                  <a:gd name="connsiteX121" fmla="*/ 1977009 w 3421857"/>
                  <a:gd name="connsiteY121" fmla="*/ 402907 h 450627"/>
                  <a:gd name="connsiteX122" fmla="*/ 2069497 w 3421857"/>
                  <a:gd name="connsiteY122" fmla="*/ 402907 h 450627"/>
                  <a:gd name="connsiteX123" fmla="*/ 2069497 w 3421857"/>
                  <a:gd name="connsiteY123" fmla="*/ 409289 h 450627"/>
                  <a:gd name="connsiteX124" fmla="*/ 2088452 w 3421857"/>
                  <a:gd name="connsiteY124" fmla="*/ 409289 h 450627"/>
                  <a:gd name="connsiteX125" fmla="*/ 2088452 w 3421857"/>
                  <a:gd name="connsiteY125" fmla="*/ 415766 h 450627"/>
                  <a:gd name="connsiteX126" fmla="*/ 2942273 w 3421857"/>
                  <a:gd name="connsiteY126" fmla="*/ 415766 h 450627"/>
                  <a:gd name="connsiteX127" fmla="*/ 2942273 w 3421857"/>
                  <a:gd name="connsiteY127" fmla="*/ 450627 h 450627"/>
                  <a:gd name="connsiteX128" fmla="*/ 3421857 w 3421857"/>
                  <a:gd name="connsiteY128" fmla="*/ 450627 h 450627"/>
                  <a:gd name="connsiteX0" fmla="*/ 0 w 3421857"/>
                  <a:gd name="connsiteY0" fmla="*/ 0 h 450627"/>
                  <a:gd name="connsiteX1" fmla="*/ 0 w 3421857"/>
                  <a:gd name="connsiteY1" fmla="*/ 6000 h 450627"/>
                  <a:gd name="connsiteX2" fmla="*/ 4191 w 3421857"/>
                  <a:gd name="connsiteY2" fmla="*/ 12096 h 450627"/>
                  <a:gd name="connsiteX3" fmla="*/ 8382 w 3421857"/>
                  <a:gd name="connsiteY3" fmla="*/ 12096 h 450627"/>
                  <a:gd name="connsiteX4" fmla="*/ 8382 w 3421857"/>
                  <a:gd name="connsiteY4" fmla="*/ 18192 h 450627"/>
                  <a:gd name="connsiteX5" fmla="*/ 21051 w 3421857"/>
                  <a:gd name="connsiteY5" fmla="*/ 18192 h 450627"/>
                  <a:gd name="connsiteX6" fmla="*/ 21051 w 3421857"/>
                  <a:gd name="connsiteY6" fmla="*/ 24193 h 450627"/>
                  <a:gd name="connsiteX7" fmla="*/ 50483 w 3421857"/>
                  <a:gd name="connsiteY7" fmla="*/ 24193 h 450627"/>
                  <a:gd name="connsiteX8" fmla="*/ 50483 w 3421857"/>
                  <a:gd name="connsiteY8" fmla="*/ 30289 h 450627"/>
                  <a:gd name="connsiteX9" fmla="*/ 58865 w 3421857"/>
                  <a:gd name="connsiteY9" fmla="*/ 30289 h 450627"/>
                  <a:gd name="connsiteX10" fmla="*/ 58865 w 3421857"/>
                  <a:gd name="connsiteY10" fmla="*/ 36385 h 450627"/>
                  <a:gd name="connsiteX11" fmla="*/ 60960 w 3421857"/>
                  <a:gd name="connsiteY11" fmla="*/ 36385 h 450627"/>
                  <a:gd name="connsiteX12" fmla="*/ 60960 w 3421857"/>
                  <a:gd name="connsiteY12" fmla="*/ 42386 h 450627"/>
                  <a:gd name="connsiteX13" fmla="*/ 75724 w 3421857"/>
                  <a:gd name="connsiteY13" fmla="*/ 42386 h 450627"/>
                  <a:gd name="connsiteX14" fmla="*/ 75724 w 3421857"/>
                  <a:gd name="connsiteY14" fmla="*/ 54578 h 450627"/>
                  <a:gd name="connsiteX15" fmla="*/ 77820 w 3421857"/>
                  <a:gd name="connsiteY15" fmla="*/ 54578 h 450627"/>
                  <a:gd name="connsiteX16" fmla="*/ 77820 w 3421857"/>
                  <a:gd name="connsiteY16" fmla="*/ 60579 h 450627"/>
                  <a:gd name="connsiteX17" fmla="*/ 84106 w 3421857"/>
                  <a:gd name="connsiteY17" fmla="*/ 60579 h 450627"/>
                  <a:gd name="connsiteX18" fmla="*/ 84106 w 3421857"/>
                  <a:gd name="connsiteY18" fmla="*/ 66675 h 450627"/>
                  <a:gd name="connsiteX19" fmla="*/ 88297 w 3421857"/>
                  <a:gd name="connsiteY19" fmla="*/ 66675 h 450627"/>
                  <a:gd name="connsiteX20" fmla="*/ 88297 w 3421857"/>
                  <a:gd name="connsiteY20" fmla="*/ 72771 h 450627"/>
                  <a:gd name="connsiteX21" fmla="*/ 105156 w 3421857"/>
                  <a:gd name="connsiteY21" fmla="*/ 72771 h 450627"/>
                  <a:gd name="connsiteX22" fmla="*/ 105156 w 3421857"/>
                  <a:gd name="connsiteY22" fmla="*/ 84867 h 450627"/>
                  <a:gd name="connsiteX23" fmla="*/ 109347 w 3421857"/>
                  <a:gd name="connsiteY23" fmla="*/ 84867 h 450627"/>
                  <a:gd name="connsiteX24" fmla="*/ 109347 w 3421857"/>
                  <a:gd name="connsiteY24" fmla="*/ 90963 h 450627"/>
                  <a:gd name="connsiteX25" fmla="*/ 132493 w 3421857"/>
                  <a:gd name="connsiteY25" fmla="*/ 90963 h 450627"/>
                  <a:gd name="connsiteX26" fmla="*/ 132493 w 3421857"/>
                  <a:gd name="connsiteY26" fmla="*/ 97059 h 450627"/>
                  <a:gd name="connsiteX27" fmla="*/ 136684 w 3421857"/>
                  <a:gd name="connsiteY27" fmla="*/ 97059 h 450627"/>
                  <a:gd name="connsiteX28" fmla="*/ 136684 w 3421857"/>
                  <a:gd name="connsiteY28" fmla="*/ 103060 h 450627"/>
                  <a:gd name="connsiteX29" fmla="*/ 142971 w 3421857"/>
                  <a:gd name="connsiteY29" fmla="*/ 103060 h 450627"/>
                  <a:gd name="connsiteX30" fmla="*/ 142971 w 3421857"/>
                  <a:gd name="connsiteY30" fmla="*/ 115252 h 450627"/>
                  <a:gd name="connsiteX31" fmla="*/ 161925 w 3421857"/>
                  <a:gd name="connsiteY31" fmla="*/ 115252 h 450627"/>
                  <a:gd name="connsiteX32" fmla="*/ 161925 w 3421857"/>
                  <a:gd name="connsiteY32" fmla="*/ 121253 h 450627"/>
                  <a:gd name="connsiteX33" fmla="*/ 170307 w 3421857"/>
                  <a:gd name="connsiteY33" fmla="*/ 121253 h 450627"/>
                  <a:gd name="connsiteX34" fmla="*/ 170307 w 3421857"/>
                  <a:gd name="connsiteY34" fmla="*/ 127349 h 450627"/>
                  <a:gd name="connsiteX35" fmla="*/ 182976 w 3421857"/>
                  <a:gd name="connsiteY35" fmla="*/ 127349 h 450627"/>
                  <a:gd name="connsiteX36" fmla="*/ 182976 w 3421857"/>
                  <a:gd name="connsiteY36" fmla="*/ 133445 h 450627"/>
                  <a:gd name="connsiteX37" fmla="*/ 199835 w 3421857"/>
                  <a:gd name="connsiteY37" fmla="*/ 133445 h 450627"/>
                  <a:gd name="connsiteX38" fmla="*/ 199835 w 3421857"/>
                  <a:gd name="connsiteY38" fmla="*/ 139446 h 450627"/>
                  <a:gd name="connsiteX39" fmla="*/ 227172 w 3421857"/>
                  <a:gd name="connsiteY39" fmla="*/ 139446 h 450627"/>
                  <a:gd name="connsiteX40" fmla="*/ 227172 w 3421857"/>
                  <a:gd name="connsiteY40" fmla="*/ 145542 h 450627"/>
                  <a:gd name="connsiteX41" fmla="*/ 229267 w 3421857"/>
                  <a:gd name="connsiteY41" fmla="*/ 145542 h 450627"/>
                  <a:gd name="connsiteX42" fmla="*/ 229267 w 3421857"/>
                  <a:gd name="connsiteY42" fmla="*/ 151638 h 450627"/>
                  <a:gd name="connsiteX43" fmla="*/ 239744 w 3421857"/>
                  <a:gd name="connsiteY43" fmla="*/ 151638 h 450627"/>
                  <a:gd name="connsiteX44" fmla="*/ 239744 w 3421857"/>
                  <a:gd name="connsiteY44" fmla="*/ 157638 h 450627"/>
                  <a:gd name="connsiteX45" fmla="*/ 246031 w 3421857"/>
                  <a:gd name="connsiteY45" fmla="*/ 157638 h 450627"/>
                  <a:gd name="connsiteX46" fmla="*/ 246031 w 3421857"/>
                  <a:gd name="connsiteY46" fmla="*/ 169830 h 450627"/>
                  <a:gd name="connsiteX47" fmla="*/ 254508 w 3421857"/>
                  <a:gd name="connsiteY47" fmla="*/ 169830 h 450627"/>
                  <a:gd name="connsiteX48" fmla="*/ 254508 w 3421857"/>
                  <a:gd name="connsiteY48" fmla="*/ 175831 h 450627"/>
                  <a:gd name="connsiteX49" fmla="*/ 260795 w 3421857"/>
                  <a:gd name="connsiteY49" fmla="*/ 175831 h 450627"/>
                  <a:gd name="connsiteX50" fmla="*/ 260795 w 3421857"/>
                  <a:gd name="connsiteY50" fmla="*/ 188023 h 450627"/>
                  <a:gd name="connsiteX51" fmla="*/ 262890 w 3421857"/>
                  <a:gd name="connsiteY51" fmla="*/ 188023 h 450627"/>
                  <a:gd name="connsiteX52" fmla="*/ 262890 w 3421857"/>
                  <a:gd name="connsiteY52" fmla="*/ 194119 h 450627"/>
                  <a:gd name="connsiteX53" fmla="*/ 275463 w 3421857"/>
                  <a:gd name="connsiteY53" fmla="*/ 194119 h 450627"/>
                  <a:gd name="connsiteX54" fmla="*/ 275463 w 3421857"/>
                  <a:gd name="connsiteY54" fmla="*/ 200120 h 450627"/>
                  <a:gd name="connsiteX55" fmla="*/ 298609 w 3421857"/>
                  <a:gd name="connsiteY55" fmla="*/ 200120 h 450627"/>
                  <a:gd name="connsiteX56" fmla="*/ 298609 w 3421857"/>
                  <a:gd name="connsiteY56" fmla="*/ 206216 h 450627"/>
                  <a:gd name="connsiteX57" fmla="*/ 304991 w 3421857"/>
                  <a:gd name="connsiteY57" fmla="*/ 206216 h 450627"/>
                  <a:gd name="connsiteX58" fmla="*/ 304991 w 3421857"/>
                  <a:gd name="connsiteY58" fmla="*/ 212312 h 450627"/>
                  <a:gd name="connsiteX59" fmla="*/ 313373 w 3421857"/>
                  <a:gd name="connsiteY59" fmla="*/ 212312 h 450627"/>
                  <a:gd name="connsiteX60" fmla="*/ 313373 w 3421857"/>
                  <a:gd name="connsiteY60" fmla="*/ 218313 h 450627"/>
                  <a:gd name="connsiteX61" fmla="*/ 321755 w 3421857"/>
                  <a:gd name="connsiteY61" fmla="*/ 218313 h 450627"/>
                  <a:gd name="connsiteX62" fmla="*/ 321755 w 3421857"/>
                  <a:gd name="connsiteY62" fmla="*/ 224409 h 450627"/>
                  <a:gd name="connsiteX63" fmla="*/ 325946 w 3421857"/>
                  <a:gd name="connsiteY63" fmla="*/ 224409 h 450627"/>
                  <a:gd name="connsiteX64" fmla="*/ 325946 w 3421857"/>
                  <a:gd name="connsiteY64" fmla="*/ 230505 h 450627"/>
                  <a:gd name="connsiteX65" fmla="*/ 399574 w 3421857"/>
                  <a:gd name="connsiteY65" fmla="*/ 230505 h 450627"/>
                  <a:gd name="connsiteX66" fmla="*/ 399574 w 3421857"/>
                  <a:gd name="connsiteY66" fmla="*/ 236505 h 450627"/>
                  <a:gd name="connsiteX67" fmla="*/ 420624 w 3421857"/>
                  <a:gd name="connsiteY67" fmla="*/ 236505 h 450627"/>
                  <a:gd name="connsiteX68" fmla="*/ 420624 w 3421857"/>
                  <a:gd name="connsiteY68" fmla="*/ 242601 h 450627"/>
                  <a:gd name="connsiteX69" fmla="*/ 426911 w 3421857"/>
                  <a:gd name="connsiteY69" fmla="*/ 242601 h 450627"/>
                  <a:gd name="connsiteX70" fmla="*/ 426911 w 3421857"/>
                  <a:gd name="connsiteY70" fmla="*/ 248697 h 450627"/>
                  <a:gd name="connsiteX71" fmla="*/ 469011 w 3421857"/>
                  <a:gd name="connsiteY71" fmla="*/ 248697 h 450627"/>
                  <a:gd name="connsiteX72" fmla="*/ 469011 w 3421857"/>
                  <a:gd name="connsiteY72" fmla="*/ 254698 h 450627"/>
                  <a:gd name="connsiteX73" fmla="*/ 483680 w 3421857"/>
                  <a:gd name="connsiteY73" fmla="*/ 254698 h 450627"/>
                  <a:gd name="connsiteX74" fmla="*/ 483680 w 3421857"/>
                  <a:gd name="connsiteY74" fmla="*/ 260794 h 450627"/>
                  <a:gd name="connsiteX75" fmla="*/ 513207 w 3421857"/>
                  <a:gd name="connsiteY75" fmla="*/ 260794 h 450627"/>
                  <a:gd name="connsiteX76" fmla="*/ 513207 w 3421857"/>
                  <a:gd name="connsiteY76" fmla="*/ 266890 h 450627"/>
                  <a:gd name="connsiteX77" fmla="*/ 515303 w 3421857"/>
                  <a:gd name="connsiteY77" fmla="*/ 266890 h 450627"/>
                  <a:gd name="connsiteX78" fmla="*/ 515303 w 3421857"/>
                  <a:gd name="connsiteY78" fmla="*/ 272891 h 450627"/>
                  <a:gd name="connsiteX79" fmla="*/ 538353 w 3421857"/>
                  <a:gd name="connsiteY79" fmla="*/ 272891 h 450627"/>
                  <a:gd name="connsiteX80" fmla="*/ 538353 w 3421857"/>
                  <a:gd name="connsiteY80" fmla="*/ 278987 h 450627"/>
                  <a:gd name="connsiteX81" fmla="*/ 551022 w 3421857"/>
                  <a:gd name="connsiteY81" fmla="*/ 278987 h 450627"/>
                  <a:gd name="connsiteX82" fmla="*/ 551022 w 3421857"/>
                  <a:gd name="connsiteY82" fmla="*/ 285083 h 450627"/>
                  <a:gd name="connsiteX83" fmla="*/ 586740 w 3421857"/>
                  <a:gd name="connsiteY83" fmla="*/ 285083 h 450627"/>
                  <a:gd name="connsiteX84" fmla="*/ 586740 w 3421857"/>
                  <a:gd name="connsiteY84" fmla="*/ 291179 h 450627"/>
                  <a:gd name="connsiteX85" fmla="*/ 702469 w 3421857"/>
                  <a:gd name="connsiteY85" fmla="*/ 291179 h 450627"/>
                  <a:gd name="connsiteX86" fmla="*/ 702469 w 3421857"/>
                  <a:gd name="connsiteY86" fmla="*/ 297180 h 450627"/>
                  <a:gd name="connsiteX87" fmla="*/ 740283 w 3421857"/>
                  <a:gd name="connsiteY87" fmla="*/ 297180 h 450627"/>
                  <a:gd name="connsiteX88" fmla="*/ 740283 w 3421857"/>
                  <a:gd name="connsiteY88" fmla="*/ 303371 h 450627"/>
                  <a:gd name="connsiteX89" fmla="*/ 792861 w 3421857"/>
                  <a:gd name="connsiteY89" fmla="*/ 303371 h 450627"/>
                  <a:gd name="connsiteX90" fmla="*/ 792861 w 3421857"/>
                  <a:gd name="connsiteY90" fmla="*/ 309467 h 450627"/>
                  <a:gd name="connsiteX91" fmla="*/ 811816 w 3421857"/>
                  <a:gd name="connsiteY91" fmla="*/ 309467 h 450627"/>
                  <a:gd name="connsiteX92" fmla="*/ 811816 w 3421857"/>
                  <a:gd name="connsiteY92" fmla="*/ 315563 h 450627"/>
                  <a:gd name="connsiteX93" fmla="*/ 822294 w 3421857"/>
                  <a:gd name="connsiteY93" fmla="*/ 315563 h 450627"/>
                  <a:gd name="connsiteX94" fmla="*/ 822294 w 3421857"/>
                  <a:gd name="connsiteY94" fmla="*/ 321754 h 450627"/>
                  <a:gd name="connsiteX95" fmla="*/ 856012 w 3421857"/>
                  <a:gd name="connsiteY95" fmla="*/ 321754 h 450627"/>
                  <a:gd name="connsiteX96" fmla="*/ 856012 w 3421857"/>
                  <a:gd name="connsiteY96" fmla="*/ 327850 h 450627"/>
                  <a:gd name="connsiteX97" fmla="*/ 862299 w 3421857"/>
                  <a:gd name="connsiteY97" fmla="*/ 327850 h 450627"/>
                  <a:gd name="connsiteX98" fmla="*/ 862299 w 3421857"/>
                  <a:gd name="connsiteY98" fmla="*/ 333946 h 450627"/>
                  <a:gd name="connsiteX99" fmla="*/ 876967 w 3421857"/>
                  <a:gd name="connsiteY99" fmla="*/ 333946 h 450627"/>
                  <a:gd name="connsiteX100" fmla="*/ 876967 w 3421857"/>
                  <a:gd name="connsiteY100" fmla="*/ 340042 h 450627"/>
                  <a:gd name="connsiteX101" fmla="*/ 889635 w 3421857"/>
                  <a:gd name="connsiteY101" fmla="*/ 340042 h 450627"/>
                  <a:gd name="connsiteX102" fmla="*/ 889635 w 3421857"/>
                  <a:gd name="connsiteY102" fmla="*/ 346233 h 450627"/>
                  <a:gd name="connsiteX103" fmla="*/ 914877 w 3421857"/>
                  <a:gd name="connsiteY103" fmla="*/ 346233 h 450627"/>
                  <a:gd name="connsiteX104" fmla="*/ 914877 w 3421857"/>
                  <a:gd name="connsiteY104" fmla="*/ 352329 h 450627"/>
                  <a:gd name="connsiteX105" fmla="*/ 1144143 w 3421857"/>
                  <a:gd name="connsiteY105" fmla="*/ 352329 h 450627"/>
                  <a:gd name="connsiteX106" fmla="*/ 1144143 w 3421857"/>
                  <a:gd name="connsiteY106" fmla="*/ 358521 h 450627"/>
                  <a:gd name="connsiteX107" fmla="*/ 1257681 w 3421857"/>
                  <a:gd name="connsiteY107" fmla="*/ 358521 h 450627"/>
                  <a:gd name="connsiteX108" fmla="*/ 1257681 w 3421857"/>
                  <a:gd name="connsiteY108" fmla="*/ 364712 h 450627"/>
                  <a:gd name="connsiteX109" fmla="*/ 1526858 w 3421857"/>
                  <a:gd name="connsiteY109" fmla="*/ 364712 h 450627"/>
                  <a:gd name="connsiteX110" fmla="*/ 1526858 w 3421857"/>
                  <a:gd name="connsiteY110" fmla="*/ 370998 h 450627"/>
                  <a:gd name="connsiteX111" fmla="*/ 1600486 w 3421857"/>
                  <a:gd name="connsiteY111" fmla="*/ 370998 h 450627"/>
                  <a:gd name="connsiteX112" fmla="*/ 1600486 w 3421857"/>
                  <a:gd name="connsiteY112" fmla="*/ 377285 h 450627"/>
                  <a:gd name="connsiteX113" fmla="*/ 1680401 w 3421857"/>
                  <a:gd name="connsiteY113" fmla="*/ 377285 h 450627"/>
                  <a:gd name="connsiteX114" fmla="*/ 1680401 w 3421857"/>
                  <a:gd name="connsiteY114" fmla="*/ 383571 h 450627"/>
                  <a:gd name="connsiteX115" fmla="*/ 1842326 w 3421857"/>
                  <a:gd name="connsiteY115" fmla="*/ 383571 h 450627"/>
                  <a:gd name="connsiteX116" fmla="*/ 1842326 w 3421857"/>
                  <a:gd name="connsiteY116" fmla="*/ 390048 h 450627"/>
                  <a:gd name="connsiteX117" fmla="*/ 1859185 w 3421857"/>
                  <a:gd name="connsiteY117" fmla="*/ 390048 h 450627"/>
                  <a:gd name="connsiteX118" fmla="*/ 1859185 w 3421857"/>
                  <a:gd name="connsiteY118" fmla="*/ 396430 h 450627"/>
                  <a:gd name="connsiteX119" fmla="*/ 1977009 w 3421857"/>
                  <a:gd name="connsiteY119" fmla="*/ 396430 h 450627"/>
                  <a:gd name="connsiteX120" fmla="*/ 1977009 w 3421857"/>
                  <a:gd name="connsiteY120" fmla="*/ 402907 h 450627"/>
                  <a:gd name="connsiteX121" fmla="*/ 2069497 w 3421857"/>
                  <a:gd name="connsiteY121" fmla="*/ 402907 h 450627"/>
                  <a:gd name="connsiteX122" fmla="*/ 2069497 w 3421857"/>
                  <a:gd name="connsiteY122" fmla="*/ 409289 h 450627"/>
                  <a:gd name="connsiteX123" fmla="*/ 2088452 w 3421857"/>
                  <a:gd name="connsiteY123" fmla="*/ 409289 h 450627"/>
                  <a:gd name="connsiteX124" fmla="*/ 2088452 w 3421857"/>
                  <a:gd name="connsiteY124" fmla="*/ 415766 h 450627"/>
                  <a:gd name="connsiteX125" fmla="*/ 2942273 w 3421857"/>
                  <a:gd name="connsiteY125" fmla="*/ 415766 h 450627"/>
                  <a:gd name="connsiteX126" fmla="*/ 2942273 w 3421857"/>
                  <a:gd name="connsiteY126" fmla="*/ 450627 h 450627"/>
                  <a:gd name="connsiteX127" fmla="*/ 3421857 w 3421857"/>
                  <a:gd name="connsiteY127" fmla="*/ 450627 h 450627"/>
                  <a:gd name="connsiteX0" fmla="*/ 0 w 3421857"/>
                  <a:gd name="connsiteY0" fmla="*/ 0 h 450627"/>
                  <a:gd name="connsiteX1" fmla="*/ 4191 w 3421857"/>
                  <a:gd name="connsiteY1" fmla="*/ 12096 h 450627"/>
                  <a:gd name="connsiteX2" fmla="*/ 8382 w 3421857"/>
                  <a:gd name="connsiteY2" fmla="*/ 12096 h 450627"/>
                  <a:gd name="connsiteX3" fmla="*/ 8382 w 3421857"/>
                  <a:gd name="connsiteY3" fmla="*/ 18192 h 450627"/>
                  <a:gd name="connsiteX4" fmla="*/ 21051 w 3421857"/>
                  <a:gd name="connsiteY4" fmla="*/ 18192 h 450627"/>
                  <a:gd name="connsiteX5" fmla="*/ 21051 w 3421857"/>
                  <a:gd name="connsiteY5" fmla="*/ 24193 h 450627"/>
                  <a:gd name="connsiteX6" fmla="*/ 50483 w 3421857"/>
                  <a:gd name="connsiteY6" fmla="*/ 24193 h 450627"/>
                  <a:gd name="connsiteX7" fmla="*/ 50483 w 3421857"/>
                  <a:gd name="connsiteY7" fmla="*/ 30289 h 450627"/>
                  <a:gd name="connsiteX8" fmla="*/ 58865 w 3421857"/>
                  <a:gd name="connsiteY8" fmla="*/ 30289 h 450627"/>
                  <a:gd name="connsiteX9" fmla="*/ 58865 w 3421857"/>
                  <a:gd name="connsiteY9" fmla="*/ 36385 h 450627"/>
                  <a:gd name="connsiteX10" fmla="*/ 60960 w 3421857"/>
                  <a:gd name="connsiteY10" fmla="*/ 36385 h 450627"/>
                  <a:gd name="connsiteX11" fmla="*/ 60960 w 3421857"/>
                  <a:gd name="connsiteY11" fmla="*/ 42386 h 450627"/>
                  <a:gd name="connsiteX12" fmla="*/ 75724 w 3421857"/>
                  <a:gd name="connsiteY12" fmla="*/ 42386 h 450627"/>
                  <a:gd name="connsiteX13" fmla="*/ 75724 w 3421857"/>
                  <a:gd name="connsiteY13" fmla="*/ 54578 h 450627"/>
                  <a:gd name="connsiteX14" fmla="*/ 77820 w 3421857"/>
                  <a:gd name="connsiteY14" fmla="*/ 54578 h 450627"/>
                  <a:gd name="connsiteX15" fmla="*/ 77820 w 3421857"/>
                  <a:gd name="connsiteY15" fmla="*/ 60579 h 450627"/>
                  <a:gd name="connsiteX16" fmla="*/ 84106 w 3421857"/>
                  <a:gd name="connsiteY16" fmla="*/ 60579 h 450627"/>
                  <a:gd name="connsiteX17" fmla="*/ 84106 w 3421857"/>
                  <a:gd name="connsiteY17" fmla="*/ 66675 h 450627"/>
                  <a:gd name="connsiteX18" fmla="*/ 88297 w 3421857"/>
                  <a:gd name="connsiteY18" fmla="*/ 66675 h 450627"/>
                  <a:gd name="connsiteX19" fmla="*/ 88297 w 3421857"/>
                  <a:gd name="connsiteY19" fmla="*/ 72771 h 450627"/>
                  <a:gd name="connsiteX20" fmla="*/ 105156 w 3421857"/>
                  <a:gd name="connsiteY20" fmla="*/ 72771 h 450627"/>
                  <a:gd name="connsiteX21" fmla="*/ 105156 w 3421857"/>
                  <a:gd name="connsiteY21" fmla="*/ 84867 h 450627"/>
                  <a:gd name="connsiteX22" fmla="*/ 109347 w 3421857"/>
                  <a:gd name="connsiteY22" fmla="*/ 84867 h 450627"/>
                  <a:gd name="connsiteX23" fmla="*/ 109347 w 3421857"/>
                  <a:gd name="connsiteY23" fmla="*/ 90963 h 450627"/>
                  <a:gd name="connsiteX24" fmla="*/ 132493 w 3421857"/>
                  <a:gd name="connsiteY24" fmla="*/ 90963 h 450627"/>
                  <a:gd name="connsiteX25" fmla="*/ 132493 w 3421857"/>
                  <a:gd name="connsiteY25" fmla="*/ 97059 h 450627"/>
                  <a:gd name="connsiteX26" fmla="*/ 136684 w 3421857"/>
                  <a:gd name="connsiteY26" fmla="*/ 97059 h 450627"/>
                  <a:gd name="connsiteX27" fmla="*/ 136684 w 3421857"/>
                  <a:gd name="connsiteY27" fmla="*/ 103060 h 450627"/>
                  <a:gd name="connsiteX28" fmla="*/ 142971 w 3421857"/>
                  <a:gd name="connsiteY28" fmla="*/ 103060 h 450627"/>
                  <a:gd name="connsiteX29" fmla="*/ 142971 w 3421857"/>
                  <a:gd name="connsiteY29" fmla="*/ 115252 h 450627"/>
                  <a:gd name="connsiteX30" fmla="*/ 161925 w 3421857"/>
                  <a:gd name="connsiteY30" fmla="*/ 115252 h 450627"/>
                  <a:gd name="connsiteX31" fmla="*/ 161925 w 3421857"/>
                  <a:gd name="connsiteY31" fmla="*/ 121253 h 450627"/>
                  <a:gd name="connsiteX32" fmla="*/ 170307 w 3421857"/>
                  <a:gd name="connsiteY32" fmla="*/ 121253 h 450627"/>
                  <a:gd name="connsiteX33" fmla="*/ 170307 w 3421857"/>
                  <a:gd name="connsiteY33" fmla="*/ 127349 h 450627"/>
                  <a:gd name="connsiteX34" fmla="*/ 182976 w 3421857"/>
                  <a:gd name="connsiteY34" fmla="*/ 127349 h 450627"/>
                  <a:gd name="connsiteX35" fmla="*/ 182976 w 3421857"/>
                  <a:gd name="connsiteY35" fmla="*/ 133445 h 450627"/>
                  <a:gd name="connsiteX36" fmla="*/ 199835 w 3421857"/>
                  <a:gd name="connsiteY36" fmla="*/ 133445 h 450627"/>
                  <a:gd name="connsiteX37" fmla="*/ 199835 w 3421857"/>
                  <a:gd name="connsiteY37" fmla="*/ 139446 h 450627"/>
                  <a:gd name="connsiteX38" fmla="*/ 227172 w 3421857"/>
                  <a:gd name="connsiteY38" fmla="*/ 139446 h 450627"/>
                  <a:gd name="connsiteX39" fmla="*/ 227172 w 3421857"/>
                  <a:gd name="connsiteY39" fmla="*/ 145542 h 450627"/>
                  <a:gd name="connsiteX40" fmla="*/ 229267 w 3421857"/>
                  <a:gd name="connsiteY40" fmla="*/ 145542 h 450627"/>
                  <a:gd name="connsiteX41" fmla="*/ 229267 w 3421857"/>
                  <a:gd name="connsiteY41" fmla="*/ 151638 h 450627"/>
                  <a:gd name="connsiteX42" fmla="*/ 239744 w 3421857"/>
                  <a:gd name="connsiteY42" fmla="*/ 151638 h 450627"/>
                  <a:gd name="connsiteX43" fmla="*/ 239744 w 3421857"/>
                  <a:gd name="connsiteY43" fmla="*/ 157638 h 450627"/>
                  <a:gd name="connsiteX44" fmla="*/ 246031 w 3421857"/>
                  <a:gd name="connsiteY44" fmla="*/ 157638 h 450627"/>
                  <a:gd name="connsiteX45" fmla="*/ 246031 w 3421857"/>
                  <a:gd name="connsiteY45" fmla="*/ 169830 h 450627"/>
                  <a:gd name="connsiteX46" fmla="*/ 254508 w 3421857"/>
                  <a:gd name="connsiteY46" fmla="*/ 169830 h 450627"/>
                  <a:gd name="connsiteX47" fmla="*/ 254508 w 3421857"/>
                  <a:gd name="connsiteY47" fmla="*/ 175831 h 450627"/>
                  <a:gd name="connsiteX48" fmla="*/ 260795 w 3421857"/>
                  <a:gd name="connsiteY48" fmla="*/ 175831 h 450627"/>
                  <a:gd name="connsiteX49" fmla="*/ 260795 w 3421857"/>
                  <a:gd name="connsiteY49" fmla="*/ 188023 h 450627"/>
                  <a:gd name="connsiteX50" fmla="*/ 262890 w 3421857"/>
                  <a:gd name="connsiteY50" fmla="*/ 188023 h 450627"/>
                  <a:gd name="connsiteX51" fmla="*/ 262890 w 3421857"/>
                  <a:gd name="connsiteY51" fmla="*/ 194119 h 450627"/>
                  <a:gd name="connsiteX52" fmla="*/ 275463 w 3421857"/>
                  <a:gd name="connsiteY52" fmla="*/ 194119 h 450627"/>
                  <a:gd name="connsiteX53" fmla="*/ 275463 w 3421857"/>
                  <a:gd name="connsiteY53" fmla="*/ 200120 h 450627"/>
                  <a:gd name="connsiteX54" fmla="*/ 298609 w 3421857"/>
                  <a:gd name="connsiteY54" fmla="*/ 200120 h 450627"/>
                  <a:gd name="connsiteX55" fmla="*/ 298609 w 3421857"/>
                  <a:gd name="connsiteY55" fmla="*/ 206216 h 450627"/>
                  <a:gd name="connsiteX56" fmla="*/ 304991 w 3421857"/>
                  <a:gd name="connsiteY56" fmla="*/ 206216 h 450627"/>
                  <a:gd name="connsiteX57" fmla="*/ 304991 w 3421857"/>
                  <a:gd name="connsiteY57" fmla="*/ 212312 h 450627"/>
                  <a:gd name="connsiteX58" fmla="*/ 313373 w 3421857"/>
                  <a:gd name="connsiteY58" fmla="*/ 212312 h 450627"/>
                  <a:gd name="connsiteX59" fmla="*/ 313373 w 3421857"/>
                  <a:gd name="connsiteY59" fmla="*/ 218313 h 450627"/>
                  <a:gd name="connsiteX60" fmla="*/ 321755 w 3421857"/>
                  <a:gd name="connsiteY60" fmla="*/ 218313 h 450627"/>
                  <a:gd name="connsiteX61" fmla="*/ 321755 w 3421857"/>
                  <a:gd name="connsiteY61" fmla="*/ 224409 h 450627"/>
                  <a:gd name="connsiteX62" fmla="*/ 325946 w 3421857"/>
                  <a:gd name="connsiteY62" fmla="*/ 224409 h 450627"/>
                  <a:gd name="connsiteX63" fmla="*/ 325946 w 3421857"/>
                  <a:gd name="connsiteY63" fmla="*/ 230505 h 450627"/>
                  <a:gd name="connsiteX64" fmla="*/ 399574 w 3421857"/>
                  <a:gd name="connsiteY64" fmla="*/ 230505 h 450627"/>
                  <a:gd name="connsiteX65" fmla="*/ 399574 w 3421857"/>
                  <a:gd name="connsiteY65" fmla="*/ 236505 h 450627"/>
                  <a:gd name="connsiteX66" fmla="*/ 420624 w 3421857"/>
                  <a:gd name="connsiteY66" fmla="*/ 236505 h 450627"/>
                  <a:gd name="connsiteX67" fmla="*/ 420624 w 3421857"/>
                  <a:gd name="connsiteY67" fmla="*/ 242601 h 450627"/>
                  <a:gd name="connsiteX68" fmla="*/ 426911 w 3421857"/>
                  <a:gd name="connsiteY68" fmla="*/ 242601 h 450627"/>
                  <a:gd name="connsiteX69" fmla="*/ 426911 w 3421857"/>
                  <a:gd name="connsiteY69" fmla="*/ 248697 h 450627"/>
                  <a:gd name="connsiteX70" fmla="*/ 469011 w 3421857"/>
                  <a:gd name="connsiteY70" fmla="*/ 248697 h 450627"/>
                  <a:gd name="connsiteX71" fmla="*/ 469011 w 3421857"/>
                  <a:gd name="connsiteY71" fmla="*/ 254698 h 450627"/>
                  <a:gd name="connsiteX72" fmla="*/ 483680 w 3421857"/>
                  <a:gd name="connsiteY72" fmla="*/ 254698 h 450627"/>
                  <a:gd name="connsiteX73" fmla="*/ 483680 w 3421857"/>
                  <a:gd name="connsiteY73" fmla="*/ 260794 h 450627"/>
                  <a:gd name="connsiteX74" fmla="*/ 513207 w 3421857"/>
                  <a:gd name="connsiteY74" fmla="*/ 260794 h 450627"/>
                  <a:gd name="connsiteX75" fmla="*/ 513207 w 3421857"/>
                  <a:gd name="connsiteY75" fmla="*/ 266890 h 450627"/>
                  <a:gd name="connsiteX76" fmla="*/ 515303 w 3421857"/>
                  <a:gd name="connsiteY76" fmla="*/ 266890 h 450627"/>
                  <a:gd name="connsiteX77" fmla="*/ 515303 w 3421857"/>
                  <a:gd name="connsiteY77" fmla="*/ 272891 h 450627"/>
                  <a:gd name="connsiteX78" fmla="*/ 538353 w 3421857"/>
                  <a:gd name="connsiteY78" fmla="*/ 272891 h 450627"/>
                  <a:gd name="connsiteX79" fmla="*/ 538353 w 3421857"/>
                  <a:gd name="connsiteY79" fmla="*/ 278987 h 450627"/>
                  <a:gd name="connsiteX80" fmla="*/ 551022 w 3421857"/>
                  <a:gd name="connsiteY80" fmla="*/ 278987 h 450627"/>
                  <a:gd name="connsiteX81" fmla="*/ 551022 w 3421857"/>
                  <a:gd name="connsiteY81" fmla="*/ 285083 h 450627"/>
                  <a:gd name="connsiteX82" fmla="*/ 586740 w 3421857"/>
                  <a:gd name="connsiteY82" fmla="*/ 285083 h 450627"/>
                  <a:gd name="connsiteX83" fmla="*/ 586740 w 3421857"/>
                  <a:gd name="connsiteY83" fmla="*/ 291179 h 450627"/>
                  <a:gd name="connsiteX84" fmla="*/ 702469 w 3421857"/>
                  <a:gd name="connsiteY84" fmla="*/ 291179 h 450627"/>
                  <a:gd name="connsiteX85" fmla="*/ 702469 w 3421857"/>
                  <a:gd name="connsiteY85" fmla="*/ 297180 h 450627"/>
                  <a:gd name="connsiteX86" fmla="*/ 740283 w 3421857"/>
                  <a:gd name="connsiteY86" fmla="*/ 297180 h 450627"/>
                  <a:gd name="connsiteX87" fmla="*/ 740283 w 3421857"/>
                  <a:gd name="connsiteY87" fmla="*/ 303371 h 450627"/>
                  <a:gd name="connsiteX88" fmla="*/ 792861 w 3421857"/>
                  <a:gd name="connsiteY88" fmla="*/ 303371 h 450627"/>
                  <a:gd name="connsiteX89" fmla="*/ 792861 w 3421857"/>
                  <a:gd name="connsiteY89" fmla="*/ 309467 h 450627"/>
                  <a:gd name="connsiteX90" fmla="*/ 811816 w 3421857"/>
                  <a:gd name="connsiteY90" fmla="*/ 309467 h 450627"/>
                  <a:gd name="connsiteX91" fmla="*/ 811816 w 3421857"/>
                  <a:gd name="connsiteY91" fmla="*/ 315563 h 450627"/>
                  <a:gd name="connsiteX92" fmla="*/ 822294 w 3421857"/>
                  <a:gd name="connsiteY92" fmla="*/ 315563 h 450627"/>
                  <a:gd name="connsiteX93" fmla="*/ 822294 w 3421857"/>
                  <a:gd name="connsiteY93" fmla="*/ 321754 h 450627"/>
                  <a:gd name="connsiteX94" fmla="*/ 856012 w 3421857"/>
                  <a:gd name="connsiteY94" fmla="*/ 321754 h 450627"/>
                  <a:gd name="connsiteX95" fmla="*/ 856012 w 3421857"/>
                  <a:gd name="connsiteY95" fmla="*/ 327850 h 450627"/>
                  <a:gd name="connsiteX96" fmla="*/ 862299 w 3421857"/>
                  <a:gd name="connsiteY96" fmla="*/ 327850 h 450627"/>
                  <a:gd name="connsiteX97" fmla="*/ 862299 w 3421857"/>
                  <a:gd name="connsiteY97" fmla="*/ 333946 h 450627"/>
                  <a:gd name="connsiteX98" fmla="*/ 876967 w 3421857"/>
                  <a:gd name="connsiteY98" fmla="*/ 333946 h 450627"/>
                  <a:gd name="connsiteX99" fmla="*/ 876967 w 3421857"/>
                  <a:gd name="connsiteY99" fmla="*/ 340042 h 450627"/>
                  <a:gd name="connsiteX100" fmla="*/ 889635 w 3421857"/>
                  <a:gd name="connsiteY100" fmla="*/ 340042 h 450627"/>
                  <a:gd name="connsiteX101" fmla="*/ 889635 w 3421857"/>
                  <a:gd name="connsiteY101" fmla="*/ 346233 h 450627"/>
                  <a:gd name="connsiteX102" fmla="*/ 914877 w 3421857"/>
                  <a:gd name="connsiteY102" fmla="*/ 346233 h 450627"/>
                  <a:gd name="connsiteX103" fmla="*/ 914877 w 3421857"/>
                  <a:gd name="connsiteY103" fmla="*/ 352329 h 450627"/>
                  <a:gd name="connsiteX104" fmla="*/ 1144143 w 3421857"/>
                  <a:gd name="connsiteY104" fmla="*/ 352329 h 450627"/>
                  <a:gd name="connsiteX105" fmla="*/ 1144143 w 3421857"/>
                  <a:gd name="connsiteY105" fmla="*/ 358521 h 450627"/>
                  <a:gd name="connsiteX106" fmla="*/ 1257681 w 3421857"/>
                  <a:gd name="connsiteY106" fmla="*/ 358521 h 450627"/>
                  <a:gd name="connsiteX107" fmla="*/ 1257681 w 3421857"/>
                  <a:gd name="connsiteY107" fmla="*/ 364712 h 450627"/>
                  <a:gd name="connsiteX108" fmla="*/ 1526858 w 3421857"/>
                  <a:gd name="connsiteY108" fmla="*/ 364712 h 450627"/>
                  <a:gd name="connsiteX109" fmla="*/ 1526858 w 3421857"/>
                  <a:gd name="connsiteY109" fmla="*/ 370998 h 450627"/>
                  <a:gd name="connsiteX110" fmla="*/ 1600486 w 3421857"/>
                  <a:gd name="connsiteY110" fmla="*/ 370998 h 450627"/>
                  <a:gd name="connsiteX111" fmla="*/ 1600486 w 3421857"/>
                  <a:gd name="connsiteY111" fmla="*/ 377285 h 450627"/>
                  <a:gd name="connsiteX112" fmla="*/ 1680401 w 3421857"/>
                  <a:gd name="connsiteY112" fmla="*/ 377285 h 450627"/>
                  <a:gd name="connsiteX113" fmla="*/ 1680401 w 3421857"/>
                  <a:gd name="connsiteY113" fmla="*/ 383571 h 450627"/>
                  <a:gd name="connsiteX114" fmla="*/ 1842326 w 3421857"/>
                  <a:gd name="connsiteY114" fmla="*/ 383571 h 450627"/>
                  <a:gd name="connsiteX115" fmla="*/ 1842326 w 3421857"/>
                  <a:gd name="connsiteY115" fmla="*/ 390048 h 450627"/>
                  <a:gd name="connsiteX116" fmla="*/ 1859185 w 3421857"/>
                  <a:gd name="connsiteY116" fmla="*/ 390048 h 450627"/>
                  <a:gd name="connsiteX117" fmla="*/ 1859185 w 3421857"/>
                  <a:gd name="connsiteY117" fmla="*/ 396430 h 450627"/>
                  <a:gd name="connsiteX118" fmla="*/ 1977009 w 3421857"/>
                  <a:gd name="connsiteY118" fmla="*/ 396430 h 450627"/>
                  <a:gd name="connsiteX119" fmla="*/ 1977009 w 3421857"/>
                  <a:gd name="connsiteY119" fmla="*/ 402907 h 450627"/>
                  <a:gd name="connsiteX120" fmla="*/ 2069497 w 3421857"/>
                  <a:gd name="connsiteY120" fmla="*/ 402907 h 450627"/>
                  <a:gd name="connsiteX121" fmla="*/ 2069497 w 3421857"/>
                  <a:gd name="connsiteY121" fmla="*/ 409289 h 450627"/>
                  <a:gd name="connsiteX122" fmla="*/ 2088452 w 3421857"/>
                  <a:gd name="connsiteY122" fmla="*/ 409289 h 450627"/>
                  <a:gd name="connsiteX123" fmla="*/ 2088452 w 3421857"/>
                  <a:gd name="connsiteY123" fmla="*/ 415766 h 450627"/>
                  <a:gd name="connsiteX124" fmla="*/ 2942273 w 3421857"/>
                  <a:gd name="connsiteY124" fmla="*/ 415766 h 450627"/>
                  <a:gd name="connsiteX125" fmla="*/ 2942273 w 3421857"/>
                  <a:gd name="connsiteY125" fmla="*/ 450627 h 450627"/>
                  <a:gd name="connsiteX126" fmla="*/ 3421857 w 3421857"/>
                  <a:gd name="connsiteY126" fmla="*/ 450627 h 450627"/>
                  <a:gd name="connsiteX0" fmla="*/ 0 w 3417666"/>
                  <a:gd name="connsiteY0" fmla="*/ 0 h 438531"/>
                  <a:gd name="connsiteX1" fmla="*/ 4191 w 3417666"/>
                  <a:gd name="connsiteY1" fmla="*/ 0 h 438531"/>
                  <a:gd name="connsiteX2" fmla="*/ 4191 w 3417666"/>
                  <a:gd name="connsiteY2" fmla="*/ 6096 h 438531"/>
                  <a:gd name="connsiteX3" fmla="*/ 16860 w 3417666"/>
                  <a:gd name="connsiteY3" fmla="*/ 6096 h 438531"/>
                  <a:gd name="connsiteX4" fmla="*/ 16860 w 3417666"/>
                  <a:gd name="connsiteY4" fmla="*/ 12097 h 438531"/>
                  <a:gd name="connsiteX5" fmla="*/ 46292 w 3417666"/>
                  <a:gd name="connsiteY5" fmla="*/ 12097 h 438531"/>
                  <a:gd name="connsiteX6" fmla="*/ 46292 w 3417666"/>
                  <a:gd name="connsiteY6" fmla="*/ 18193 h 438531"/>
                  <a:gd name="connsiteX7" fmla="*/ 54674 w 3417666"/>
                  <a:gd name="connsiteY7" fmla="*/ 18193 h 438531"/>
                  <a:gd name="connsiteX8" fmla="*/ 54674 w 3417666"/>
                  <a:gd name="connsiteY8" fmla="*/ 24289 h 438531"/>
                  <a:gd name="connsiteX9" fmla="*/ 56769 w 3417666"/>
                  <a:gd name="connsiteY9" fmla="*/ 24289 h 438531"/>
                  <a:gd name="connsiteX10" fmla="*/ 56769 w 3417666"/>
                  <a:gd name="connsiteY10" fmla="*/ 30290 h 438531"/>
                  <a:gd name="connsiteX11" fmla="*/ 71533 w 3417666"/>
                  <a:gd name="connsiteY11" fmla="*/ 30290 h 438531"/>
                  <a:gd name="connsiteX12" fmla="*/ 71533 w 3417666"/>
                  <a:gd name="connsiteY12" fmla="*/ 42482 h 438531"/>
                  <a:gd name="connsiteX13" fmla="*/ 73629 w 3417666"/>
                  <a:gd name="connsiteY13" fmla="*/ 42482 h 438531"/>
                  <a:gd name="connsiteX14" fmla="*/ 73629 w 3417666"/>
                  <a:gd name="connsiteY14" fmla="*/ 48483 h 438531"/>
                  <a:gd name="connsiteX15" fmla="*/ 79915 w 3417666"/>
                  <a:gd name="connsiteY15" fmla="*/ 48483 h 438531"/>
                  <a:gd name="connsiteX16" fmla="*/ 79915 w 3417666"/>
                  <a:gd name="connsiteY16" fmla="*/ 54579 h 438531"/>
                  <a:gd name="connsiteX17" fmla="*/ 84106 w 3417666"/>
                  <a:gd name="connsiteY17" fmla="*/ 54579 h 438531"/>
                  <a:gd name="connsiteX18" fmla="*/ 84106 w 3417666"/>
                  <a:gd name="connsiteY18" fmla="*/ 60675 h 438531"/>
                  <a:gd name="connsiteX19" fmla="*/ 100965 w 3417666"/>
                  <a:gd name="connsiteY19" fmla="*/ 60675 h 438531"/>
                  <a:gd name="connsiteX20" fmla="*/ 100965 w 3417666"/>
                  <a:gd name="connsiteY20" fmla="*/ 72771 h 438531"/>
                  <a:gd name="connsiteX21" fmla="*/ 105156 w 3417666"/>
                  <a:gd name="connsiteY21" fmla="*/ 72771 h 438531"/>
                  <a:gd name="connsiteX22" fmla="*/ 105156 w 3417666"/>
                  <a:gd name="connsiteY22" fmla="*/ 78867 h 438531"/>
                  <a:gd name="connsiteX23" fmla="*/ 128302 w 3417666"/>
                  <a:gd name="connsiteY23" fmla="*/ 78867 h 438531"/>
                  <a:gd name="connsiteX24" fmla="*/ 128302 w 3417666"/>
                  <a:gd name="connsiteY24" fmla="*/ 84963 h 438531"/>
                  <a:gd name="connsiteX25" fmla="*/ 132493 w 3417666"/>
                  <a:gd name="connsiteY25" fmla="*/ 84963 h 438531"/>
                  <a:gd name="connsiteX26" fmla="*/ 132493 w 3417666"/>
                  <a:gd name="connsiteY26" fmla="*/ 90964 h 438531"/>
                  <a:gd name="connsiteX27" fmla="*/ 138780 w 3417666"/>
                  <a:gd name="connsiteY27" fmla="*/ 90964 h 438531"/>
                  <a:gd name="connsiteX28" fmla="*/ 138780 w 3417666"/>
                  <a:gd name="connsiteY28" fmla="*/ 103156 h 438531"/>
                  <a:gd name="connsiteX29" fmla="*/ 157734 w 3417666"/>
                  <a:gd name="connsiteY29" fmla="*/ 103156 h 438531"/>
                  <a:gd name="connsiteX30" fmla="*/ 157734 w 3417666"/>
                  <a:gd name="connsiteY30" fmla="*/ 109157 h 438531"/>
                  <a:gd name="connsiteX31" fmla="*/ 166116 w 3417666"/>
                  <a:gd name="connsiteY31" fmla="*/ 109157 h 438531"/>
                  <a:gd name="connsiteX32" fmla="*/ 166116 w 3417666"/>
                  <a:gd name="connsiteY32" fmla="*/ 115253 h 438531"/>
                  <a:gd name="connsiteX33" fmla="*/ 178785 w 3417666"/>
                  <a:gd name="connsiteY33" fmla="*/ 115253 h 438531"/>
                  <a:gd name="connsiteX34" fmla="*/ 178785 w 3417666"/>
                  <a:gd name="connsiteY34" fmla="*/ 121349 h 438531"/>
                  <a:gd name="connsiteX35" fmla="*/ 195644 w 3417666"/>
                  <a:gd name="connsiteY35" fmla="*/ 121349 h 438531"/>
                  <a:gd name="connsiteX36" fmla="*/ 195644 w 3417666"/>
                  <a:gd name="connsiteY36" fmla="*/ 127350 h 438531"/>
                  <a:gd name="connsiteX37" fmla="*/ 222981 w 3417666"/>
                  <a:gd name="connsiteY37" fmla="*/ 127350 h 438531"/>
                  <a:gd name="connsiteX38" fmla="*/ 222981 w 3417666"/>
                  <a:gd name="connsiteY38" fmla="*/ 133446 h 438531"/>
                  <a:gd name="connsiteX39" fmla="*/ 225076 w 3417666"/>
                  <a:gd name="connsiteY39" fmla="*/ 133446 h 438531"/>
                  <a:gd name="connsiteX40" fmla="*/ 225076 w 3417666"/>
                  <a:gd name="connsiteY40" fmla="*/ 139542 h 438531"/>
                  <a:gd name="connsiteX41" fmla="*/ 235553 w 3417666"/>
                  <a:gd name="connsiteY41" fmla="*/ 139542 h 438531"/>
                  <a:gd name="connsiteX42" fmla="*/ 235553 w 3417666"/>
                  <a:gd name="connsiteY42" fmla="*/ 145542 h 438531"/>
                  <a:gd name="connsiteX43" fmla="*/ 241840 w 3417666"/>
                  <a:gd name="connsiteY43" fmla="*/ 145542 h 438531"/>
                  <a:gd name="connsiteX44" fmla="*/ 241840 w 3417666"/>
                  <a:gd name="connsiteY44" fmla="*/ 157734 h 438531"/>
                  <a:gd name="connsiteX45" fmla="*/ 250317 w 3417666"/>
                  <a:gd name="connsiteY45" fmla="*/ 157734 h 438531"/>
                  <a:gd name="connsiteX46" fmla="*/ 250317 w 3417666"/>
                  <a:gd name="connsiteY46" fmla="*/ 163735 h 438531"/>
                  <a:gd name="connsiteX47" fmla="*/ 256604 w 3417666"/>
                  <a:gd name="connsiteY47" fmla="*/ 163735 h 438531"/>
                  <a:gd name="connsiteX48" fmla="*/ 256604 w 3417666"/>
                  <a:gd name="connsiteY48" fmla="*/ 175927 h 438531"/>
                  <a:gd name="connsiteX49" fmla="*/ 258699 w 3417666"/>
                  <a:gd name="connsiteY49" fmla="*/ 175927 h 438531"/>
                  <a:gd name="connsiteX50" fmla="*/ 258699 w 3417666"/>
                  <a:gd name="connsiteY50" fmla="*/ 182023 h 438531"/>
                  <a:gd name="connsiteX51" fmla="*/ 271272 w 3417666"/>
                  <a:gd name="connsiteY51" fmla="*/ 182023 h 438531"/>
                  <a:gd name="connsiteX52" fmla="*/ 271272 w 3417666"/>
                  <a:gd name="connsiteY52" fmla="*/ 188024 h 438531"/>
                  <a:gd name="connsiteX53" fmla="*/ 294418 w 3417666"/>
                  <a:gd name="connsiteY53" fmla="*/ 188024 h 438531"/>
                  <a:gd name="connsiteX54" fmla="*/ 294418 w 3417666"/>
                  <a:gd name="connsiteY54" fmla="*/ 194120 h 438531"/>
                  <a:gd name="connsiteX55" fmla="*/ 300800 w 3417666"/>
                  <a:gd name="connsiteY55" fmla="*/ 194120 h 438531"/>
                  <a:gd name="connsiteX56" fmla="*/ 300800 w 3417666"/>
                  <a:gd name="connsiteY56" fmla="*/ 200216 h 438531"/>
                  <a:gd name="connsiteX57" fmla="*/ 309182 w 3417666"/>
                  <a:gd name="connsiteY57" fmla="*/ 200216 h 438531"/>
                  <a:gd name="connsiteX58" fmla="*/ 309182 w 3417666"/>
                  <a:gd name="connsiteY58" fmla="*/ 206217 h 438531"/>
                  <a:gd name="connsiteX59" fmla="*/ 317564 w 3417666"/>
                  <a:gd name="connsiteY59" fmla="*/ 206217 h 438531"/>
                  <a:gd name="connsiteX60" fmla="*/ 317564 w 3417666"/>
                  <a:gd name="connsiteY60" fmla="*/ 212313 h 438531"/>
                  <a:gd name="connsiteX61" fmla="*/ 321755 w 3417666"/>
                  <a:gd name="connsiteY61" fmla="*/ 212313 h 438531"/>
                  <a:gd name="connsiteX62" fmla="*/ 321755 w 3417666"/>
                  <a:gd name="connsiteY62" fmla="*/ 218409 h 438531"/>
                  <a:gd name="connsiteX63" fmla="*/ 395383 w 3417666"/>
                  <a:gd name="connsiteY63" fmla="*/ 218409 h 438531"/>
                  <a:gd name="connsiteX64" fmla="*/ 395383 w 3417666"/>
                  <a:gd name="connsiteY64" fmla="*/ 224409 h 438531"/>
                  <a:gd name="connsiteX65" fmla="*/ 416433 w 3417666"/>
                  <a:gd name="connsiteY65" fmla="*/ 224409 h 438531"/>
                  <a:gd name="connsiteX66" fmla="*/ 416433 w 3417666"/>
                  <a:gd name="connsiteY66" fmla="*/ 230505 h 438531"/>
                  <a:gd name="connsiteX67" fmla="*/ 422720 w 3417666"/>
                  <a:gd name="connsiteY67" fmla="*/ 230505 h 438531"/>
                  <a:gd name="connsiteX68" fmla="*/ 422720 w 3417666"/>
                  <a:gd name="connsiteY68" fmla="*/ 236601 h 438531"/>
                  <a:gd name="connsiteX69" fmla="*/ 464820 w 3417666"/>
                  <a:gd name="connsiteY69" fmla="*/ 236601 h 438531"/>
                  <a:gd name="connsiteX70" fmla="*/ 464820 w 3417666"/>
                  <a:gd name="connsiteY70" fmla="*/ 242602 h 438531"/>
                  <a:gd name="connsiteX71" fmla="*/ 479489 w 3417666"/>
                  <a:gd name="connsiteY71" fmla="*/ 242602 h 438531"/>
                  <a:gd name="connsiteX72" fmla="*/ 479489 w 3417666"/>
                  <a:gd name="connsiteY72" fmla="*/ 248698 h 438531"/>
                  <a:gd name="connsiteX73" fmla="*/ 509016 w 3417666"/>
                  <a:gd name="connsiteY73" fmla="*/ 248698 h 438531"/>
                  <a:gd name="connsiteX74" fmla="*/ 509016 w 3417666"/>
                  <a:gd name="connsiteY74" fmla="*/ 254794 h 438531"/>
                  <a:gd name="connsiteX75" fmla="*/ 511112 w 3417666"/>
                  <a:gd name="connsiteY75" fmla="*/ 254794 h 438531"/>
                  <a:gd name="connsiteX76" fmla="*/ 511112 w 3417666"/>
                  <a:gd name="connsiteY76" fmla="*/ 260795 h 438531"/>
                  <a:gd name="connsiteX77" fmla="*/ 534162 w 3417666"/>
                  <a:gd name="connsiteY77" fmla="*/ 260795 h 438531"/>
                  <a:gd name="connsiteX78" fmla="*/ 534162 w 3417666"/>
                  <a:gd name="connsiteY78" fmla="*/ 266891 h 438531"/>
                  <a:gd name="connsiteX79" fmla="*/ 546831 w 3417666"/>
                  <a:gd name="connsiteY79" fmla="*/ 266891 h 438531"/>
                  <a:gd name="connsiteX80" fmla="*/ 546831 w 3417666"/>
                  <a:gd name="connsiteY80" fmla="*/ 272987 h 438531"/>
                  <a:gd name="connsiteX81" fmla="*/ 582549 w 3417666"/>
                  <a:gd name="connsiteY81" fmla="*/ 272987 h 438531"/>
                  <a:gd name="connsiteX82" fmla="*/ 582549 w 3417666"/>
                  <a:gd name="connsiteY82" fmla="*/ 279083 h 438531"/>
                  <a:gd name="connsiteX83" fmla="*/ 698278 w 3417666"/>
                  <a:gd name="connsiteY83" fmla="*/ 279083 h 438531"/>
                  <a:gd name="connsiteX84" fmla="*/ 698278 w 3417666"/>
                  <a:gd name="connsiteY84" fmla="*/ 285084 h 438531"/>
                  <a:gd name="connsiteX85" fmla="*/ 736092 w 3417666"/>
                  <a:gd name="connsiteY85" fmla="*/ 285084 h 438531"/>
                  <a:gd name="connsiteX86" fmla="*/ 736092 w 3417666"/>
                  <a:gd name="connsiteY86" fmla="*/ 291275 h 438531"/>
                  <a:gd name="connsiteX87" fmla="*/ 788670 w 3417666"/>
                  <a:gd name="connsiteY87" fmla="*/ 291275 h 438531"/>
                  <a:gd name="connsiteX88" fmla="*/ 788670 w 3417666"/>
                  <a:gd name="connsiteY88" fmla="*/ 297371 h 438531"/>
                  <a:gd name="connsiteX89" fmla="*/ 807625 w 3417666"/>
                  <a:gd name="connsiteY89" fmla="*/ 297371 h 438531"/>
                  <a:gd name="connsiteX90" fmla="*/ 807625 w 3417666"/>
                  <a:gd name="connsiteY90" fmla="*/ 303467 h 438531"/>
                  <a:gd name="connsiteX91" fmla="*/ 818103 w 3417666"/>
                  <a:gd name="connsiteY91" fmla="*/ 303467 h 438531"/>
                  <a:gd name="connsiteX92" fmla="*/ 818103 w 3417666"/>
                  <a:gd name="connsiteY92" fmla="*/ 309658 h 438531"/>
                  <a:gd name="connsiteX93" fmla="*/ 851821 w 3417666"/>
                  <a:gd name="connsiteY93" fmla="*/ 309658 h 438531"/>
                  <a:gd name="connsiteX94" fmla="*/ 851821 w 3417666"/>
                  <a:gd name="connsiteY94" fmla="*/ 315754 h 438531"/>
                  <a:gd name="connsiteX95" fmla="*/ 858108 w 3417666"/>
                  <a:gd name="connsiteY95" fmla="*/ 315754 h 438531"/>
                  <a:gd name="connsiteX96" fmla="*/ 858108 w 3417666"/>
                  <a:gd name="connsiteY96" fmla="*/ 321850 h 438531"/>
                  <a:gd name="connsiteX97" fmla="*/ 872776 w 3417666"/>
                  <a:gd name="connsiteY97" fmla="*/ 321850 h 438531"/>
                  <a:gd name="connsiteX98" fmla="*/ 872776 w 3417666"/>
                  <a:gd name="connsiteY98" fmla="*/ 327946 h 438531"/>
                  <a:gd name="connsiteX99" fmla="*/ 885444 w 3417666"/>
                  <a:gd name="connsiteY99" fmla="*/ 327946 h 438531"/>
                  <a:gd name="connsiteX100" fmla="*/ 885444 w 3417666"/>
                  <a:gd name="connsiteY100" fmla="*/ 334137 h 438531"/>
                  <a:gd name="connsiteX101" fmla="*/ 910686 w 3417666"/>
                  <a:gd name="connsiteY101" fmla="*/ 334137 h 438531"/>
                  <a:gd name="connsiteX102" fmla="*/ 910686 w 3417666"/>
                  <a:gd name="connsiteY102" fmla="*/ 340233 h 438531"/>
                  <a:gd name="connsiteX103" fmla="*/ 1139952 w 3417666"/>
                  <a:gd name="connsiteY103" fmla="*/ 340233 h 438531"/>
                  <a:gd name="connsiteX104" fmla="*/ 1139952 w 3417666"/>
                  <a:gd name="connsiteY104" fmla="*/ 346425 h 438531"/>
                  <a:gd name="connsiteX105" fmla="*/ 1253490 w 3417666"/>
                  <a:gd name="connsiteY105" fmla="*/ 346425 h 438531"/>
                  <a:gd name="connsiteX106" fmla="*/ 1253490 w 3417666"/>
                  <a:gd name="connsiteY106" fmla="*/ 352616 h 438531"/>
                  <a:gd name="connsiteX107" fmla="*/ 1522667 w 3417666"/>
                  <a:gd name="connsiteY107" fmla="*/ 352616 h 438531"/>
                  <a:gd name="connsiteX108" fmla="*/ 1522667 w 3417666"/>
                  <a:gd name="connsiteY108" fmla="*/ 358902 h 438531"/>
                  <a:gd name="connsiteX109" fmla="*/ 1596295 w 3417666"/>
                  <a:gd name="connsiteY109" fmla="*/ 358902 h 438531"/>
                  <a:gd name="connsiteX110" fmla="*/ 1596295 w 3417666"/>
                  <a:gd name="connsiteY110" fmla="*/ 365189 h 438531"/>
                  <a:gd name="connsiteX111" fmla="*/ 1676210 w 3417666"/>
                  <a:gd name="connsiteY111" fmla="*/ 365189 h 438531"/>
                  <a:gd name="connsiteX112" fmla="*/ 1676210 w 3417666"/>
                  <a:gd name="connsiteY112" fmla="*/ 371475 h 438531"/>
                  <a:gd name="connsiteX113" fmla="*/ 1838135 w 3417666"/>
                  <a:gd name="connsiteY113" fmla="*/ 371475 h 438531"/>
                  <a:gd name="connsiteX114" fmla="*/ 1838135 w 3417666"/>
                  <a:gd name="connsiteY114" fmla="*/ 377952 h 438531"/>
                  <a:gd name="connsiteX115" fmla="*/ 1854994 w 3417666"/>
                  <a:gd name="connsiteY115" fmla="*/ 377952 h 438531"/>
                  <a:gd name="connsiteX116" fmla="*/ 1854994 w 3417666"/>
                  <a:gd name="connsiteY116" fmla="*/ 384334 h 438531"/>
                  <a:gd name="connsiteX117" fmla="*/ 1972818 w 3417666"/>
                  <a:gd name="connsiteY117" fmla="*/ 384334 h 438531"/>
                  <a:gd name="connsiteX118" fmla="*/ 1972818 w 3417666"/>
                  <a:gd name="connsiteY118" fmla="*/ 390811 h 438531"/>
                  <a:gd name="connsiteX119" fmla="*/ 2065306 w 3417666"/>
                  <a:gd name="connsiteY119" fmla="*/ 390811 h 438531"/>
                  <a:gd name="connsiteX120" fmla="*/ 2065306 w 3417666"/>
                  <a:gd name="connsiteY120" fmla="*/ 397193 h 438531"/>
                  <a:gd name="connsiteX121" fmla="*/ 2084261 w 3417666"/>
                  <a:gd name="connsiteY121" fmla="*/ 397193 h 438531"/>
                  <a:gd name="connsiteX122" fmla="*/ 2084261 w 3417666"/>
                  <a:gd name="connsiteY122" fmla="*/ 403670 h 438531"/>
                  <a:gd name="connsiteX123" fmla="*/ 2938082 w 3417666"/>
                  <a:gd name="connsiteY123" fmla="*/ 403670 h 438531"/>
                  <a:gd name="connsiteX124" fmla="*/ 2938082 w 3417666"/>
                  <a:gd name="connsiteY124" fmla="*/ 438531 h 438531"/>
                  <a:gd name="connsiteX125" fmla="*/ 3417666 w 3417666"/>
                  <a:gd name="connsiteY125" fmla="*/ 438531 h 438531"/>
                  <a:gd name="connsiteX0" fmla="*/ 0 w 3417666"/>
                  <a:gd name="connsiteY0" fmla="*/ 0 h 438531"/>
                  <a:gd name="connsiteX1" fmla="*/ 4191 w 3417666"/>
                  <a:gd name="connsiteY1" fmla="*/ 0 h 438531"/>
                  <a:gd name="connsiteX2" fmla="*/ 16860 w 3417666"/>
                  <a:gd name="connsiteY2" fmla="*/ 6096 h 438531"/>
                  <a:gd name="connsiteX3" fmla="*/ 16860 w 3417666"/>
                  <a:gd name="connsiteY3" fmla="*/ 12097 h 438531"/>
                  <a:gd name="connsiteX4" fmla="*/ 46292 w 3417666"/>
                  <a:gd name="connsiteY4" fmla="*/ 12097 h 438531"/>
                  <a:gd name="connsiteX5" fmla="*/ 46292 w 3417666"/>
                  <a:gd name="connsiteY5" fmla="*/ 18193 h 438531"/>
                  <a:gd name="connsiteX6" fmla="*/ 54674 w 3417666"/>
                  <a:gd name="connsiteY6" fmla="*/ 18193 h 438531"/>
                  <a:gd name="connsiteX7" fmla="*/ 54674 w 3417666"/>
                  <a:gd name="connsiteY7" fmla="*/ 24289 h 438531"/>
                  <a:gd name="connsiteX8" fmla="*/ 56769 w 3417666"/>
                  <a:gd name="connsiteY8" fmla="*/ 24289 h 438531"/>
                  <a:gd name="connsiteX9" fmla="*/ 56769 w 3417666"/>
                  <a:gd name="connsiteY9" fmla="*/ 30290 h 438531"/>
                  <a:gd name="connsiteX10" fmla="*/ 71533 w 3417666"/>
                  <a:gd name="connsiteY10" fmla="*/ 30290 h 438531"/>
                  <a:gd name="connsiteX11" fmla="*/ 71533 w 3417666"/>
                  <a:gd name="connsiteY11" fmla="*/ 42482 h 438531"/>
                  <a:gd name="connsiteX12" fmla="*/ 73629 w 3417666"/>
                  <a:gd name="connsiteY12" fmla="*/ 42482 h 438531"/>
                  <a:gd name="connsiteX13" fmla="*/ 73629 w 3417666"/>
                  <a:gd name="connsiteY13" fmla="*/ 48483 h 438531"/>
                  <a:gd name="connsiteX14" fmla="*/ 79915 w 3417666"/>
                  <a:gd name="connsiteY14" fmla="*/ 48483 h 438531"/>
                  <a:gd name="connsiteX15" fmla="*/ 79915 w 3417666"/>
                  <a:gd name="connsiteY15" fmla="*/ 54579 h 438531"/>
                  <a:gd name="connsiteX16" fmla="*/ 84106 w 3417666"/>
                  <a:gd name="connsiteY16" fmla="*/ 54579 h 438531"/>
                  <a:gd name="connsiteX17" fmla="*/ 84106 w 3417666"/>
                  <a:gd name="connsiteY17" fmla="*/ 60675 h 438531"/>
                  <a:gd name="connsiteX18" fmla="*/ 100965 w 3417666"/>
                  <a:gd name="connsiteY18" fmla="*/ 60675 h 438531"/>
                  <a:gd name="connsiteX19" fmla="*/ 100965 w 3417666"/>
                  <a:gd name="connsiteY19" fmla="*/ 72771 h 438531"/>
                  <a:gd name="connsiteX20" fmla="*/ 105156 w 3417666"/>
                  <a:gd name="connsiteY20" fmla="*/ 72771 h 438531"/>
                  <a:gd name="connsiteX21" fmla="*/ 105156 w 3417666"/>
                  <a:gd name="connsiteY21" fmla="*/ 78867 h 438531"/>
                  <a:gd name="connsiteX22" fmla="*/ 128302 w 3417666"/>
                  <a:gd name="connsiteY22" fmla="*/ 78867 h 438531"/>
                  <a:gd name="connsiteX23" fmla="*/ 128302 w 3417666"/>
                  <a:gd name="connsiteY23" fmla="*/ 84963 h 438531"/>
                  <a:gd name="connsiteX24" fmla="*/ 132493 w 3417666"/>
                  <a:gd name="connsiteY24" fmla="*/ 84963 h 438531"/>
                  <a:gd name="connsiteX25" fmla="*/ 132493 w 3417666"/>
                  <a:gd name="connsiteY25" fmla="*/ 90964 h 438531"/>
                  <a:gd name="connsiteX26" fmla="*/ 138780 w 3417666"/>
                  <a:gd name="connsiteY26" fmla="*/ 90964 h 438531"/>
                  <a:gd name="connsiteX27" fmla="*/ 138780 w 3417666"/>
                  <a:gd name="connsiteY27" fmla="*/ 103156 h 438531"/>
                  <a:gd name="connsiteX28" fmla="*/ 157734 w 3417666"/>
                  <a:gd name="connsiteY28" fmla="*/ 103156 h 438531"/>
                  <a:gd name="connsiteX29" fmla="*/ 157734 w 3417666"/>
                  <a:gd name="connsiteY29" fmla="*/ 109157 h 438531"/>
                  <a:gd name="connsiteX30" fmla="*/ 166116 w 3417666"/>
                  <a:gd name="connsiteY30" fmla="*/ 109157 h 438531"/>
                  <a:gd name="connsiteX31" fmla="*/ 166116 w 3417666"/>
                  <a:gd name="connsiteY31" fmla="*/ 115253 h 438531"/>
                  <a:gd name="connsiteX32" fmla="*/ 178785 w 3417666"/>
                  <a:gd name="connsiteY32" fmla="*/ 115253 h 438531"/>
                  <a:gd name="connsiteX33" fmla="*/ 178785 w 3417666"/>
                  <a:gd name="connsiteY33" fmla="*/ 121349 h 438531"/>
                  <a:gd name="connsiteX34" fmla="*/ 195644 w 3417666"/>
                  <a:gd name="connsiteY34" fmla="*/ 121349 h 438531"/>
                  <a:gd name="connsiteX35" fmla="*/ 195644 w 3417666"/>
                  <a:gd name="connsiteY35" fmla="*/ 127350 h 438531"/>
                  <a:gd name="connsiteX36" fmla="*/ 222981 w 3417666"/>
                  <a:gd name="connsiteY36" fmla="*/ 127350 h 438531"/>
                  <a:gd name="connsiteX37" fmla="*/ 222981 w 3417666"/>
                  <a:gd name="connsiteY37" fmla="*/ 133446 h 438531"/>
                  <a:gd name="connsiteX38" fmla="*/ 225076 w 3417666"/>
                  <a:gd name="connsiteY38" fmla="*/ 133446 h 438531"/>
                  <a:gd name="connsiteX39" fmla="*/ 225076 w 3417666"/>
                  <a:gd name="connsiteY39" fmla="*/ 139542 h 438531"/>
                  <a:gd name="connsiteX40" fmla="*/ 235553 w 3417666"/>
                  <a:gd name="connsiteY40" fmla="*/ 139542 h 438531"/>
                  <a:gd name="connsiteX41" fmla="*/ 235553 w 3417666"/>
                  <a:gd name="connsiteY41" fmla="*/ 145542 h 438531"/>
                  <a:gd name="connsiteX42" fmla="*/ 241840 w 3417666"/>
                  <a:gd name="connsiteY42" fmla="*/ 145542 h 438531"/>
                  <a:gd name="connsiteX43" fmla="*/ 241840 w 3417666"/>
                  <a:gd name="connsiteY43" fmla="*/ 157734 h 438531"/>
                  <a:gd name="connsiteX44" fmla="*/ 250317 w 3417666"/>
                  <a:gd name="connsiteY44" fmla="*/ 157734 h 438531"/>
                  <a:gd name="connsiteX45" fmla="*/ 250317 w 3417666"/>
                  <a:gd name="connsiteY45" fmla="*/ 163735 h 438531"/>
                  <a:gd name="connsiteX46" fmla="*/ 256604 w 3417666"/>
                  <a:gd name="connsiteY46" fmla="*/ 163735 h 438531"/>
                  <a:gd name="connsiteX47" fmla="*/ 256604 w 3417666"/>
                  <a:gd name="connsiteY47" fmla="*/ 175927 h 438531"/>
                  <a:gd name="connsiteX48" fmla="*/ 258699 w 3417666"/>
                  <a:gd name="connsiteY48" fmla="*/ 175927 h 438531"/>
                  <a:gd name="connsiteX49" fmla="*/ 258699 w 3417666"/>
                  <a:gd name="connsiteY49" fmla="*/ 182023 h 438531"/>
                  <a:gd name="connsiteX50" fmla="*/ 271272 w 3417666"/>
                  <a:gd name="connsiteY50" fmla="*/ 182023 h 438531"/>
                  <a:gd name="connsiteX51" fmla="*/ 271272 w 3417666"/>
                  <a:gd name="connsiteY51" fmla="*/ 188024 h 438531"/>
                  <a:gd name="connsiteX52" fmla="*/ 294418 w 3417666"/>
                  <a:gd name="connsiteY52" fmla="*/ 188024 h 438531"/>
                  <a:gd name="connsiteX53" fmla="*/ 294418 w 3417666"/>
                  <a:gd name="connsiteY53" fmla="*/ 194120 h 438531"/>
                  <a:gd name="connsiteX54" fmla="*/ 300800 w 3417666"/>
                  <a:gd name="connsiteY54" fmla="*/ 194120 h 438531"/>
                  <a:gd name="connsiteX55" fmla="*/ 300800 w 3417666"/>
                  <a:gd name="connsiteY55" fmla="*/ 200216 h 438531"/>
                  <a:gd name="connsiteX56" fmla="*/ 309182 w 3417666"/>
                  <a:gd name="connsiteY56" fmla="*/ 200216 h 438531"/>
                  <a:gd name="connsiteX57" fmla="*/ 309182 w 3417666"/>
                  <a:gd name="connsiteY57" fmla="*/ 206217 h 438531"/>
                  <a:gd name="connsiteX58" fmla="*/ 317564 w 3417666"/>
                  <a:gd name="connsiteY58" fmla="*/ 206217 h 438531"/>
                  <a:gd name="connsiteX59" fmla="*/ 317564 w 3417666"/>
                  <a:gd name="connsiteY59" fmla="*/ 212313 h 438531"/>
                  <a:gd name="connsiteX60" fmla="*/ 321755 w 3417666"/>
                  <a:gd name="connsiteY60" fmla="*/ 212313 h 438531"/>
                  <a:gd name="connsiteX61" fmla="*/ 321755 w 3417666"/>
                  <a:gd name="connsiteY61" fmla="*/ 218409 h 438531"/>
                  <a:gd name="connsiteX62" fmla="*/ 395383 w 3417666"/>
                  <a:gd name="connsiteY62" fmla="*/ 218409 h 438531"/>
                  <a:gd name="connsiteX63" fmla="*/ 395383 w 3417666"/>
                  <a:gd name="connsiteY63" fmla="*/ 224409 h 438531"/>
                  <a:gd name="connsiteX64" fmla="*/ 416433 w 3417666"/>
                  <a:gd name="connsiteY64" fmla="*/ 224409 h 438531"/>
                  <a:gd name="connsiteX65" fmla="*/ 416433 w 3417666"/>
                  <a:gd name="connsiteY65" fmla="*/ 230505 h 438531"/>
                  <a:gd name="connsiteX66" fmla="*/ 422720 w 3417666"/>
                  <a:gd name="connsiteY66" fmla="*/ 230505 h 438531"/>
                  <a:gd name="connsiteX67" fmla="*/ 422720 w 3417666"/>
                  <a:gd name="connsiteY67" fmla="*/ 236601 h 438531"/>
                  <a:gd name="connsiteX68" fmla="*/ 464820 w 3417666"/>
                  <a:gd name="connsiteY68" fmla="*/ 236601 h 438531"/>
                  <a:gd name="connsiteX69" fmla="*/ 464820 w 3417666"/>
                  <a:gd name="connsiteY69" fmla="*/ 242602 h 438531"/>
                  <a:gd name="connsiteX70" fmla="*/ 479489 w 3417666"/>
                  <a:gd name="connsiteY70" fmla="*/ 242602 h 438531"/>
                  <a:gd name="connsiteX71" fmla="*/ 479489 w 3417666"/>
                  <a:gd name="connsiteY71" fmla="*/ 248698 h 438531"/>
                  <a:gd name="connsiteX72" fmla="*/ 509016 w 3417666"/>
                  <a:gd name="connsiteY72" fmla="*/ 248698 h 438531"/>
                  <a:gd name="connsiteX73" fmla="*/ 509016 w 3417666"/>
                  <a:gd name="connsiteY73" fmla="*/ 254794 h 438531"/>
                  <a:gd name="connsiteX74" fmla="*/ 511112 w 3417666"/>
                  <a:gd name="connsiteY74" fmla="*/ 254794 h 438531"/>
                  <a:gd name="connsiteX75" fmla="*/ 511112 w 3417666"/>
                  <a:gd name="connsiteY75" fmla="*/ 260795 h 438531"/>
                  <a:gd name="connsiteX76" fmla="*/ 534162 w 3417666"/>
                  <a:gd name="connsiteY76" fmla="*/ 260795 h 438531"/>
                  <a:gd name="connsiteX77" fmla="*/ 534162 w 3417666"/>
                  <a:gd name="connsiteY77" fmla="*/ 266891 h 438531"/>
                  <a:gd name="connsiteX78" fmla="*/ 546831 w 3417666"/>
                  <a:gd name="connsiteY78" fmla="*/ 266891 h 438531"/>
                  <a:gd name="connsiteX79" fmla="*/ 546831 w 3417666"/>
                  <a:gd name="connsiteY79" fmla="*/ 272987 h 438531"/>
                  <a:gd name="connsiteX80" fmla="*/ 582549 w 3417666"/>
                  <a:gd name="connsiteY80" fmla="*/ 272987 h 438531"/>
                  <a:gd name="connsiteX81" fmla="*/ 582549 w 3417666"/>
                  <a:gd name="connsiteY81" fmla="*/ 279083 h 438531"/>
                  <a:gd name="connsiteX82" fmla="*/ 698278 w 3417666"/>
                  <a:gd name="connsiteY82" fmla="*/ 279083 h 438531"/>
                  <a:gd name="connsiteX83" fmla="*/ 698278 w 3417666"/>
                  <a:gd name="connsiteY83" fmla="*/ 285084 h 438531"/>
                  <a:gd name="connsiteX84" fmla="*/ 736092 w 3417666"/>
                  <a:gd name="connsiteY84" fmla="*/ 285084 h 438531"/>
                  <a:gd name="connsiteX85" fmla="*/ 736092 w 3417666"/>
                  <a:gd name="connsiteY85" fmla="*/ 291275 h 438531"/>
                  <a:gd name="connsiteX86" fmla="*/ 788670 w 3417666"/>
                  <a:gd name="connsiteY86" fmla="*/ 291275 h 438531"/>
                  <a:gd name="connsiteX87" fmla="*/ 788670 w 3417666"/>
                  <a:gd name="connsiteY87" fmla="*/ 297371 h 438531"/>
                  <a:gd name="connsiteX88" fmla="*/ 807625 w 3417666"/>
                  <a:gd name="connsiteY88" fmla="*/ 297371 h 438531"/>
                  <a:gd name="connsiteX89" fmla="*/ 807625 w 3417666"/>
                  <a:gd name="connsiteY89" fmla="*/ 303467 h 438531"/>
                  <a:gd name="connsiteX90" fmla="*/ 818103 w 3417666"/>
                  <a:gd name="connsiteY90" fmla="*/ 303467 h 438531"/>
                  <a:gd name="connsiteX91" fmla="*/ 818103 w 3417666"/>
                  <a:gd name="connsiteY91" fmla="*/ 309658 h 438531"/>
                  <a:gd name="connsiteX92" fmla="*/ 851821 w 3417666"/>
                  <a:gd name="connsiteY92" fmla="*/ 309658 h 438531"/>
                  <a:gd name="connsiteX93" fmla="*/ 851821 w 3417666"/>
                  <a:gd name="connsiteY93" fmla="*/ 315754 h 438531"/>
                  <a:gd name="connsiteX94" fmla="*/ 858108 w 3417666"/>
                  <a:gd name="connsiteY94" fmla="*/ 315754 h 438531"/>
                  <a:gd name="connsiteX95" fmla="*/ 858108 w 3417666"/>
                  <a:gd name="connsiteY95" fmla="*/ 321850 h 438531"/>
                  <a:gd name="connsiteX96" fmla="*/ 872776 w 3417666"/>
                  <a:gd name="connsiteY96" fmla="*/ 321850 h 438531"/>
                  <a:gd name="connsiteX97" fmla="*/ 872776 w 3417666"/>
                  <a:gd name="connsiteY97" fmla="*/ 327946 h 438531"/>
                  <a:gd name="connsiteX98" fmla="*/ 885444 w 3417666"/>
                  <a:gd name="connsiteY98" fmla="*/ 327946 h 438531"/>
                  <a:gd name="connsiteX99" fmla="*/ 885444 w 3417666"/>
                  <a:gd name="connsiteY99" fmla="*/ 334137 h 438531"/>
                  <a:gd name="connsiteX100" fmla="*/ 910686 w 3417666"/>
                  <a:gd name="connsiteY100" fmla="*/ 334137 h 438531"/>
                  <a:gd name="connsiteX101" fmla="*/ 910686 w 3417666"/>
                  <a:gd name="connsiteY101" fmla="*/ 340233 h 438531"/>
                  <a:gd name="connsiteX102" fmla="*/ 1139952 w 3417666"/>
                  <a:gd name="connsiteY102" fmla="*/ 340233 h 438531"/>
                  <a:gd name="connsiteX103" fmla="*/ 1139952 w 3417666"/>
                  <a:gd name="connsiteY103" fmla="*/ 346425 h 438531"/>
                  <a:gd name="connsiteX104" fmla="*/ 1253490 w 3417666"/>
                  <a:gd name="connsiteY104" fmla="*/ 346425 h 438531"/>
                  <a:gd name="connsiteX105" fmla="*/ 1253490 w 3417666"/>
                  <a:gd name="connsiteY105" fmla="*/ 352616 h 438531"/>
                  <a:gd name="connsiteX106" fmla="*/ 1522667 w 3417666"/>
                  <a:gd name="connsiteY106" fmla="*/ 352616 h 438531"/>
                  <a:gd name="connsiteX107" fmla="*/ 1522667 w 3417666"/>
                  <a:gd name="connsiteY107" fmla="*/ 358902 h 438531"/>
                  <a:gd name="connsiteX108" fmla="*/ 1596295 w 3417666"/>
                  <a:gd name="connsiteY108" fmla="*/ 358902 h 438531"/>
                  <a:gd name="connsiteX109" fmla="*/ 1596295 w 3417666"/>
                  <a:gd name="connsiteY109" fmla="*/ 365189 h 438531"/>
                  <a:gd name="connsiteX110" fmla="*/ 1676210 w 3417666"/>
                  <a:gd name="connsiteY110" fmla="*/ 365189 h 438531"/>
                  <a:gd name="connsiteX111" fmla="*/ 1676210 w 3417666"/>
                  <a:gd name="connsiteY111" fmla="*/ 371475 h 438531"/>
                  <a:gd name="connsiteX112" fmla="*/ 1838135 w 3417666"/>
                  <a:gd name="connsiteY112" fmla="*/ 371475 h 438531"/>
                  <a:gd name="connsiteX113" fmla="*/ 1838135 w 3417666"/>
                  <a:gd name="connsiteY113" fmla="*/ 377952 h 438531"/>
                  <a:gd name="connsiteX114" fmla="*/ 1854994 w 3417666"/>
                  <a:gd name="connsiteY114" fmla="*/ 377952 h 438531"/>
                  <a:gd name="connsiteX115" fmla="*/ 1854994 w 3417666"/>
                  <a:gd name="connsiteY115" fmla="*/ 384334 h 438531"/>
                  <a:gd name="connsiteX116" fmla="*/ 1972818 w 3417666"/>
                  <a:gd name="connsiteY116" fmla="*/ 384334 h 438531"/>
                  <a:gd name="connsiteX117" fmla="*/ 1972818 w 3417666"/>
                  <a:gd name="connsiteY117" fmla="*/ 390811 h 438531"/>
                  <a:gd name="connsiteX118" fmla="*/ 2065306 w 3417666"/>
                  <a:gd name="connsiteY118" fmla="*/ 390811 h 438531"/>
                  <a:gd name="connsiteX119" fmla="*/ 2065306 w 3417666"/>
                  <a:gd name="connsiteY119" fmla="*/ 397193 h 438531"/>
                  <a:gd name="connsiteX120" fmla="*/ 2084261 w 3417666"/>
                  <a:gd name="connsiteY120" fmla="*/ 397193 h 438531"/>
                  <a:gd name="connsiteX121" fmla="*/ 2084261 w 3417666"/>
                  <a:gd name="connsiteY121" fmla="*/ 403670 h 438531"/>
                  <a:gd name="connsiteX122" fmla="*/ 2938082 w 3417666"/>
                  <a:gd name="connsiteY122" fmla="*/ 403670 h 438531"/>
                  <a:gd name="connsiteX123" fmla="*/ 2938082 w 3417666"/>
                  <a:gd name="connsiteY123" fmla="*/ 438531 h 438531"/>
                  <a:gd name="connsiteX124" fmla="*/ 3417666 w 3417666"/>
                  <a:gd name="connsiteY124" fmla="*/ 438531 h 438531"/>
                  <a:gd name="connsiteX0" fmla="*/ 0 w 3417666"/>
                  <a:gd name="connsiteY0" fmla="*/ 0 h 438531"/>
                  <a:gd name="connsiteX1" fmla="*/ 16860 w 3417666"/>
                  <a:gd name="connsiteY1" fmla="*/ 6096 h 438531"/>
                  <a:gd name="connsiteX2" fmla="*/ 16860 w 3417666"/>
                  <a:gd name="connsiteY2" fmla="*/ 12097 h 438531"/>
                  <a:gd name="connsiteX3" fmla="*/ 46292 w 3417666"/>
                  <a:gd name="connsiteY3" fmla="*/ 12097 h 438531"/>
                  <a:gd name="connsiteX4" fmla="*/ 46292 w 3417666"/>
                  <a:gd name="connsiteY4" fmla="*/ 18193 h 438531"/>
                  <a:gd name="connsiteX5" fmla="*/ 54674 w 3417666"/>
                  <a:gd name="connsiteY5" fmla="*/ 18193 h 438531"/>
                  <a:gd name="connsiteX6" fmla="*/ 54674 w 3417666"/>
                  <a:gd name="connsiteY6" fmla="*/ 24289 h 438531"/>
                  <a:gd name="connsiteX7" fmla="*/ 56769 w 3417666"/>
                  <a:gd name="connsiteY7" fmla="*/ 24289 h 438531"/>
                  <a:gd name="connsiteX8" fmla="*/ 56769 w 3417666"/>
                  <a:gd name="connsiteY8" fmla="*/ 30290 h 438531"/>
                  <a:gd name="connsiteX9" fmla="*/ 71533 w 3417666"/>
                  <a:gd name="connsiteY9" fmla="*/ 30290 h 438531"/>
                  <a:gd name="connsiteX10" fmla="*/ 71533 w 3417666"/>
                  <a:gd name="connsiteY10" fmla="*/ 42482 h 438531"/>
                  <a:gd name="connsiteX11" fmla="*/ 73629 w 3417666"/>
                  <a:gd name="connsiteY11" fmla="*/ 42482 h 438531"/>
                  <a:gd name="connsiteX12" fmla="*/ 73629 w 3417666"/>
                  <a:gd name="connsiteY12" fmla="*/ 48483 h 438531"/>
                  <a:gd name="connsiteX13" fmla="*/ 79915 w 3417666"/>
                  <a:gd name="connsiteY13" fmla="*/ 48483 h 438531"/>
                  <a:gd name="connsiteX14" fmla="*/ 79915 w 3417666"/>
                  <a:gd name="connsiteY14" fmla="*/ 54579 h 438531"/>
                  <a:gd name="connsiteX15" fmla="*/ 84106 w 3417666"/>
                  <a:gd name="connsiteY15" fmla="*/ 54579 h 438531"/>
                  <a:gd name="connsiteX16" fmla="*/ 84106 w 3417666"/>
                  <a:gd name="connsiteY16" fmla="*/ 60675 h 438531"/>
                  <a:gd name="connsiteX17" fmla="*/ 100965 w 3417666"/>
                  <a:gd name="connsiteY17" fmla="*/ 60675 h 438531"/>
                  <a:gd name="connsiteX18" fmla="*/ 100965 w 3417666"/>
                  <a:gd name="connsiteY18" fmla="*/ 72771 h 438531"/>
                  <a:gd name="connsiteX19" fmla="*/ 105156 w 3417666"/>
                  <a:gd name="connsiteY19" fmla="*/ 72771 h 438531"/>
                  <a:gd name="connsiteX20" fmla="*/ 105156 w 3417666"/>
                  <a:gd name="connsiteY20" fmla="*/ 78867 h 438531"/>
                  <a:gd name="connsiteX21" fmla="*/ 128302 w 3417666"/>
                  <a:gd name="connsiteY21" fmla="*/ 78867 h 438531"/>
                  <a:gd name="connsiteX22" fmla="*/ 128302 w 3417666"/>
                  <a:gd name="connsiteY22" fmla="*/ 84963 h 438531"/>
                  <a:gd name="connsiteX23" fmla="*/ 132493 w 3417666"/>
                  <a:gd name="connsiteY23" fmla="*/ 84963 h 438531"/>
                  <a:gd name="connsiteX24" fmla="*/ 132493 w 3417666"/>
                  <a:gd name="connsiteY24" fmla="*/ 90964 h 438531"/>
                  <a:gd name="connsiteX25" fmla="*/ 138780 w 3417666"/>
                  <a:gd name="connsiteY25" fmla="*/ 90964 h 438531"/>
                  <a:gd name="connsiteX26" fmla="*/ 138780 w 3417666"/>
                  <a:gd name="connsiteY26" fmla="*/ 103156 h 438531"/>
                  <a:gd name="connsiteX27" fmla="*/ 157734 w 3417666"/>
                  <a:gd name="connsiteY27" fmla="*/ 103156 h 438531"/>
                  <a:gd name="connsiteX28" fmla="*/ 157734 w 3417666"/>
                  <a:gd name="connsiteY28" fmla="*/ 109157 h 438531"/>
                  <a:gd name="connsiteX29" fmla="*/ 166116 w 3417666"/>
                  <a:gd name="connsiteY29" fmla="*/ 109157 h 438531"/>
                  <a:gd name="connsiteX30" fmla="*/ 166116 w 3417666"/>
                  <a:gd name="connsiteY30" fmla="*/ 115253 h 438531"/>
                  <a:gd name="connsiteX31" fmla="*/ 178785 w 3417666"/>
                  <a:gd name="connsiteY31" fmla="*/ 115253 h 438531"/>
                  <a:gd name="connsiteX32" fmla="*/ 178785 w 3417666"/>
                  <a:gd name="connsiteY32" fmla="*/ 121349 h 438531"/>
                  <a:gd name="connsiteX33" fmla="*/ 195644 w 3417666"/>
                  <a:gd name="connsiteY33" fmla="*/ 121349 h 438531"/>
                  <a:gd name="connsiteX34" fmla="*/ 195644 w 3417666"/>
                  <a:gd name="connsiteY34" fmla="*/ 127350 h 438531"/>
                  <a:gd name="connsiteX35" fmla="*/ 222981 w 3417666"/>
                  <a:gd name="connsiteY35" fmla="*/ 127350 h 438531"/>
                  <a:gd name="connsiteX36" fmla="*/ 222981 w 3417666"/>
                  <a:gd name="connsiteY36" fmla="*/ 133446 h 438531"/>
                  <a:gd name="connsiteX37" fmla="*/ 225076 w 3417666"/>
                  <a:gd name="connsiteY37" fmla="*/ 133446 h 438531"/>
                  <a:gd name="connsiteX38" fmla="*/ 225076 w 3417666"/>
                  <a:gd name="connsiteY38" fmla="*/ 139542 h 438531"/>
                  <a:gd name="connsiteX39" fmla="*/ 235553 w 3417666"/>
                  <a:gd name="connsiteY39" fmla="*/ 139542 h 438531"/>
                  <a:gd name="connsiteX40" fmla="*/ 235553 w 3417666"/>
                  <a:gd name="connsiteY40" fmla="*/ 145542 h 438531"/>
                  <a:gd name="connsiteX41" fmla="*/ 241840 w 3417666"/>
                  <a:gd name="connsiteY41" fmla="*/ 145542 h 438531"/>
                  <a:gd name="connsiteX42" fmla="*/ 241840 w 3417666"/>
                  <a:gd name="connsiteY42" fmla="*/ 157734 h 438531"/>
                  <a:gd name="connsiteX43" fmla="*/ 250317 w 3417666"/>
                  <a:gd name="connsiteY43" fmla="*/ 157734 h 438531"/>
                  <a:gd name="connsiteX44" fmla="*/ 250317 w 3417666"/>
                  <a:gd name="connsiteY44" fmla="*/ 163735 h 438531"/>
                  <a:gd name="connsiteX45" fmla="*/ 256604 w 3417666"/>
                  <a:gd name="connsiteY45" fmla="*/ 163735 h 438531"/>
                  <a:gd name="connsiteX46" fmla="*/ 256604 w 3417666"/>
                  <a:gd name="connsiteY46" fmla="*/ 175927 h 438531"/>
                  <a:gd name="connsiteX47" fmla="*/ 258699 w 3417666"/>
                  <a:gd name="connsiteY47" fmla="*/ 175927 h 438531"/>
                  <a:gd name="connsiteX48" fmla="*/ 258699 w 3417666"/>
                  <a:gd name="connsiteY48" fmla="*/ 182023 h 438531"/>
                  <a:gd name="connsiteX49" fmla="*/ 271272 w 3417666"/>
                  <a:gd name="connsiteY49" fmla="*/ 182023 h 438531"/>
                  <a:gd name="connsiteX50" fmla="*/ 271272 w 3417666"/>
                  <a:gd name="connsiteY50" fmla="*/ 188024 h 438531"/>
                  <a:gd name="connsiteX51" fmla="*/ 294418 w 3417666"/>
                  <a:gd name="connsiteY51" fmla="*/ 188024 h 438531"/>
                  <a:gd name="connsiteX52" fmla="*/ 294418 w 3417666"/>
                  <a:gd name="connsiteY52" fmla="*/ 194120 h 438531"/>
                  <a:gd name="connsiteX53" fmla="*/ 300800 w 3417666"/>
                  <a:gd name="connsiteY53" fmla="*/ 194120 h 438531"/>
                  <a:gd name="connsiteX54" fmla="*/ 300800 w 3417666"/>
                  <a:gd name="connsiteY54" fmla="*/ 200216 h 438531"/>
                  <a:gd name="connsiteX55" fmla="*/ 309182 w 3417666"/>
                  <a:gd name="connsiteY55" fmla="*/ 200216 h 438531"/>
                  <a:gd name="connsiteX56" fmla="*/ 309182 w 3417666"/>
                  <a:gd name="connsiteY56" fmla="*/ 206217 h 438531"/>
                  <a:gd name="connsiteX57" fmla="*/ 317564 w 3417666"/>
                  <a:gd name="connsiteY57" fmla="*/ 206217 h 438531"/>
                  <a:gd name="connsiteX58" fmla="*/ 317564 w 3417666"/>
                  <a:gd name="connsiteY58" fmla="*/ 212313 h 438531"/>
                  <a:gd name="connsiteX59" fmla="*/ 321755 w 3417666"/>
                  <a:gd name="connsiteY59" fmla="*/ 212313 h 438531"/>
                  <a:gd name="connsiteX60" fmla="*/ 321755 w 3417666"/>
                  <a:gd name="connsiteY60" fmla="*/ 218409 h 438531"/>
                  <a:gd name="connsiteX61" fmla="*/ 395383 w 3417666"/>
                  <a:gd name="connsiteY61" fmla="*/ 218409 h 438531"/>
                  <a:gd name="connsiteX62" fmla="*/ 395383 w 3417666"/>
                  <a:gd name="connsiteY62" fmla="*/ 224409 h 438531"/>
                  <a:gd name="connsiteX63" fmla="*/ 416433 w 3417666"/>
                  <a:gd name="connsiteY63" fmla="*/ 224409 h 438531"/>
                  <a:gd name="connsiteX64" fmla="*/ 416433 w 3417666"/>
                  <a:gd name="connsiteY64" fmla="*/ 230505 h 438531"/>
                  <a:gd name="connsiteX65" fmla="*/ 422720 w 3417666"/>
                  <a:gd name="connsiteY65" fmla="*/ 230505 h 438531"/>
                  <a:gd name="connsiteX66" fmla="*/ 422720 w 3417666"/>
                  <a:gd name="connsiteY66" fmla="*/ 236601 h 438531"/>
                  <a:gd name="connsiteX67" fmla="*/ 464820 w 3417666"/>
                  <a:gd name="connsiteY67" fmla="*/ 236601 h 438531"/>
                  <a:gd name="connsiteX68" fmla="*/ 464820 w 3417666"/>
                  <a:gd name="connsiteY68" fmla="*/ 242602 h 438531"/>
                  <a:gd name="connsiteX69" fmla="*/ 479489 w 3417666"/>
                  <a:gd name="connsiteY69" fmla="*/ 242602 h 438531"/>
                  <a:gd name="connsiteX70" fmla="*/ 479489 w 3417666"/>
                  <a:gd name="connsiteY70" fmla="*/ 248698 h 438531"/>
                  <a:gd name="connsiteX71" fmla="*/ 509016 w 3417666"/>
                  <a:gd name="connsiteY71" fmla="*/ 248698 h 438531"/>
                  <a:gd name="connsiteX72" fmla="*/ 509016 w 3417666"/>
                  <a:gd name="connsiteY72" fmla="*/ 254794 h 438531"/>
                  <a:gd name="connsiteX73" fmla="*/ 511112 w 3417666"/>
                  <a:gd name="connsiteY73" fmla="*/ 254794 h 438531"/>
                  <a:gd name="connsiteX74" fmla="*/ 511112 w 3417666"/>
                  <a:gd name="connsiteY74" fmla="*/ 260795 h 438531"/>
                  <a:gd name="connsiteX75" fmla="*/ 534162 w 3417666"/>
                  <a:gd name="connsiteY75" fmla="*/ 260795 h 438531"/>
                  <a:gd name="connsiteX76" fmla="*/ 534162 w 3417666"/>
                  <a:gd name="connsiteY76" fmla="*/ 266891 h 438531"/>
                  <a:gd name="connsiteX77" fmla="*/ 546831 w 3417666"/>
                  <a:gd name="connsiteY77" fmla="*/ 266891 h 438531"/>
                  <a:gd name="connsiteX78" fmla="*/ 546831 w 3417666"/>
                  <a:gd name="connsiteY78" fmla="*/ 272987 h 438531"/>
                  <a:gd name="connsiteX79" fmla="*/ 582549 w 3417666"/>
                  <a:gd name="connsiteY79" fmla="*/ 272987 h 438531"/>
                  <a:gd name="connsiteX80" fmla="*/ 582549 w 3417666"/>
                  <a:gd name="connsiteY80" fmla="*/ 279083 h 438531"/>
                  <a:gd name="connsiteX81" fmla="*/ 698278 w 3417666"/>
                  <a:gd name="connsiteY81" fmla="*/ 279083 h 438531"/>
                  <a:gd name="connsiteX82" fmla="*/ 698278 w 3417666"/>
                  <a:gd name="connsiteY82" fmla="*/ 285084 h 438531"/>
                  <a:gd name="connsiteX83" fmla="*/ 736092 w 3417666"/>
                  <a:gd name="connsiteY83" fmla="*/ 285084 h 438531"/>
                  <a:gd name="connsiteX84" fmla="*/ 736092 w 3417666"/>
                  <a:gd name="connsiteY84" fmla="*/ 291275 h 438531"/>
                  <a:gd name="connsiteX85" fmla="*/ 788670 w 3417666"/>
                  <a:gd name="connsiteY85" fmla="*/ 291275 h 438531"/>
                  <a:gd name="connsiteX86" fmla="*/ 788670 w 3417666"/>
                  <a:gd name="connsiteY86" fmla="*/ 297371 h 438531"/>
                  <a:gd name="connsiteX87" fmla="*/ 807625 w 3417666"/>
                  <a:gd name="connsiteY87" fmla="*/ 297371 h 438531"/>
                  <a:gd name="connsiteX88" fmla="*/ 807625 w 3417666"/>
                  <a:gd name="connsiteY88" fmla="*/ 303467 h 438531"/>
                  <a:gd name="connsiteX89" fmla="*/ 818103 w 3417666"/>
                  <a:gd name="connsiteY89" fmla="*/ 303467 h 438531"/>
                  <a:gd name="connsiteX90" fmla="*/ 818103 w 3417666"/>
                  <a:gd name="connsiteY90" fmla="*/ 309658 h 438531"/>
                  <a:gd name="connsiteX91" fmla="*/ 851821 w 3417666"/>
                  <a:gd name="connsiteY91" fmla="*/ 309658 h 438531"/>
                  <a:gd name="connsiteX92" fmla="*/ 851821 w 3417666"/>
                  <a:gd name="connsiteY92" fmla="*/ 315754 h 438531"/>
                  <a:gd name="connsiteX93" fmla="*/ 858108 w 3417666"/>
                  <a:gd name="connsiteY93" fmla="*/ 315754 h 438531"/>
                  <a:gd name="connsiteX94" fmla="*/ 858108 w 3417666"/>
                  <a:gd name="connsiteY94" fmla="*/ 321850 h 438531"/>
                  <a:gd name="connsiteX95" fmla="*/ 872776 w 3417666"/>
                  <a:gd name="connsiteY95" fmla="*/ 321850 h 438531"/>
                  <a:gd name="connsiteX96" fmla="*/ 872776 w 3417666"/>
                  <a:gd name="connsiteY96" fmla="*/ 327946 h 438531"/>
                  <a:gd name="connsiteX97" fmla="*/ 885444 w 3417666"/>
                  <a:gd name="connsiteY97" fmla="*/ 327946 h 438531"/>
                  <a:gd name="connsiteX98" fmla="*/ 885444 w 3417666"/>
                  <a:gd name="connsiteY98" fmla="*/ 334137 h 438531"/>
                  <a:gd name="connsiteX99" fmla="*/ 910686 w 3417666"/>
                  <a:gd name="connsiteY99" fmla="*/ 334137 h 438531"/>
                  <a:gd name="connsiteX100" fmla="*/ 910686 w 3417666"/>
                  <a:gd name="connsiteY100" fmla="*/ 340233 h 438531"/>
                  <a:gd name="connsiteX101" fmla="*/ 1139952 w 3417666"/>
                  <a:gd name="connsiteY101" fmla="*/ 340233 h 438531"/>
                  <a:gd name="connsiteX102" fmla="*/ 1139952 w 3417666"/>
                  <a:gd name="connsiteY102" fmla="*/ 346425 h 438531"/>
                  <a:gd name="connsiteX103" fmla="*/ 1253490 w 3417666"/>
                  <a:gd name="connsiteY103" fmla="*/ 346425 h 438531"/>
                  <a:gd name="connsiteX104" fmla="*/ 1253490 w 3417666"/>
                  <a:gd name="connsiteY104" fmla="*/ 352616 h 438531"/>
                  <a:gd name="connsiteX105" fmla="*/ 1522667 w 3417666"/>
                  <a:gd name="connsiteY105" fmla="*/ 352616 h 438531"/>
                  <a:gd name="connsiteX106" fmla="*/ 1522667 w 3417666"/>
                  <a:gd name="connsiteY106" fmla="*/ 358902 h 438531"/>
                  <a:gd name="connsiteX107" fmla="*/ 1596295 w 3417666"/>
                  <a:gd name="connsiteY107" fmla="*/ 358902 h 438531"/>
                  <a:gd name="connsiteX108" fmla="*/ 1596295 w 3417666"/>
                  <a:gd name="connsiteY108" fmla="*/ 365189 h 438531"/>
                  <a:gd name="connsiteX109" fmla="*/ 1676210 w 3417666"/>
                  <a:gd name="connsiteY109" fmla="*/ 365189 h 438531"/>
                  <a:gd name="connsiteX110" fmla="*/ 1676210 w 3417666"/>
                  <a:gd name="connsiteY110" fmla="*/ 371475 h 438531"/>
                  <a:gd name="connsiteX111" fmla="*/ 1838135 w 3417666"/>
                  <a:gd name="connsiteY111" fmla="*/ 371475 h 438531"/>
                  <a:gd name="connsiteX112" fmla="*/ 1838135 w 3417666"/>
                  <a:gd name="connsiteY112" fmla="*/ 377952 h 438531"/>
                  <a:gd name="connsiteX113" fmla="*/ 1854994 w 3417666"/>
                  <a:gd name="connsiteY113" fmla="*/ 377952 h 438531"/>
                  <a:gd name="connsiteX114" fmla="*/ 1854994 w 3417666"/>
                  <a:gd name="connsiteY114" fmla="*/ 384334 h 438531"/>
                  <a:gd name="connsiteX115" fmla="*/ 1972818 w 3417666"/>
                  <a:gd name="connsiteY115" fmla="*/ 384334 h 438531"/>
                  <a:gd name="connsiteX116" fmla="*/ 1972818 w 3417666"/>
                  <a:gd name="connsiteY116" fmla="*/ 390811 h 438531"/>
                  <a:gd name="connsiteX117" fmla="*/ 2065306 w 3417666"/>
                  <a:gd name="connsiteY117" fmla="*/ 390811 h 438531"/>
                  <a:gd name="connsiteX118" fmla="*/ 2065306 w 3417666"/>
                  <a:gd name="connsiteY118" fmla="*/ 397193 h 438531"/>
                  <a:gd name="connsiteX119" fmla="*/ 2084261 w 3417666"/>
                  <a:gd name="connsiteY119" fmla="*/ 397193 h 438531"/>
                  <a:gd name="connsiteX120" fmla="*/ 2084261 w 3417666"/>
                  <a:gd name="connsiteY120" fmla="*/ 403670 h 438531"/>
                  <a:gd name="connsiteX121" fmla="*/ 2938082 w 3417666"/>
                  <a:gd name="connsiteY121" fmla="*/ 403670 h 438531"/>
                  <a:gd name="connsiteX122" fmla="*/ 2938082 w 3417666"/>
                  <a:gd name="connsiteY122" fmla="*/ 438531 h 438531"/>
                  <a:gd name="connsiteX123" fmla="*/ 3417666 w 3417666"/>
                  <a:gd name="connsiteY123" fmla="*/ 438531 h 438531"/>
                  <a:gd name="connsiteX0" fmla="*/ 0 w 3400806"/>
                  <a:gd name="connsiteY0" fmla="*/ 0 h 432435"/>
                  <a:gd name="connsiteX1" fmla="*/ 0 w 3400806"/>
                  <a:gd name="connsiteY1" fmla="*/ 6001 h 432435"/>
                  <a:gd name="connsiteX2" fmla="*/ 29432 w 3400806"/>
                  <a:gd name="connsiteY2" fmla="*/ 6001 h 432435"/>
                  <a:gd name="connsiteX3" fmla="*/ 29432 w 3400806"/>
                  <a:gd name="connsiteY3" fmla="*/ 12097 h 432435"/>
                  <a:gd name="connsiteX4" fmla="*/ 37814 w 3400806"/>
                  <a:gd name="connsiteY4" fmla="*/ 12097 h 432435"/>
                  <a:gd name="connsiteX5" fmla="*/ 37814 w 3400806"/>
                  <a:gd name="connsiteY5" fmla="*/ 18193 h 432435"/>
                  <a:gd name="connsiteX6" fmla="*/ 39909 w 3400806"/>
                  <a:gd name="connsiteY6" fmla="*/ 18193 h 432435"/>
                  <a:gd name="connsiteX7" fmla="*/ 39909 w 3400806"/>
                  <a:gd name="connsiteY7" fmla="*/ 24194 h 432435"/>
                  <a:gd name="connsiteX8" fmla="*/ 54673 w 3400806"/>
                  <a:gd name="connsiteY8" fmla="*/ 24194 h 432435"/>
                  <a:gd name="connsiteX9" fmla="*/ 54673 w 3400806"/>
                  <a:gd name="connsiteY9" fmla="*/ 36386 h 432435"/>
                  <a:gd name="connsiteX10" fmla="*/ 56769 w 3400806"/>
                  <a:gd name="connsiteY10" fmla="*/ 36386 h 432435"/>
                  <a:gd name="connsiteX11" fmla="*/ 56769 w 3400806"/>
                  <a:gd name="connsiteY11" fmla="*/ 42387 h 432435"/>
                  <a:gd name="connsiteX12" fmla="*/ 63055 w 3400806"/>
                  <a:gd name="connsiteY12" fmla="*/ 42387 h 432435"/>
                  <a:gd name="connsiteX13" fmla="*/ 63055 w 3400806"/>
                  <a:gd name="connsiteY13" fmla="*/ 48483 h 432435"/>
                  <a:gd name="connsiteX14" fmla="*/ 67246 w 3400806"/>
                  <a:gd name="connsiteY14" fmla="*/ 48483 h 432435"/>
                  <a:gd name="connsiteX15" fmla="*/ 67246 w 3400806"/>
                  <a:gd name="connsiteY15" fmla="*/ 54579 h 432435"/>
                  <a:gd name="connsiteX16" fmla="*/ 84105 w 3400806"/>
                  <a:gd name="connsiteY16" fmla="*/ 54579 h 432435"/>
                  <a:gd name="connsiteX17" fmla="*/ 84105 w 3400806"/>
                  <a:gd name="connsiteY17" fmla="*/ 66675 h 432435"/>
                  <a:gd name="connsiteX18" fmla="*/ 88296 w 3400806"/>
                  <a:gd name="connsiteY18" fmla="*/ 66675 h 432435"/>
                  <a:gd name="connsiteX19" fmla="*/ 88296 w 3400806"/>
                  <a:gd name="connsiteY19" fmla="*/ 72771 h 432435"/>
                  <a:gd name="connsiteX20" fmla="*/ 111442 w 3400806"/>
                  <a:gd name="connsiteY20" fmla="*/ 72771 h 432435"/>
                  <a:gd name="connsiteX21" fmla="*/ 111442 w 3400806"/>
                  <a:gd name="connsiteY21" fmla="*/ 78867 h 432435"/>
                  <a:gd name="connsiteX22" fmla="*/ 115633 w 3400806"/>
                  <a:gd name="connsiteY22" fmla="*/ 78867 h 432435"/>
                  <a:gd name="connsiteX23" fmla="*/ 115633 w 3400806"/>
                  <a:gd name="connsiteY23" fmla="*/ 84868 h 432435"/>
                  <a:gd name="connsiteX24" fmla="*/ 121920 w 3400806"/>
                  <a:gd name="connsiteY24" fmla="*/ 84868 h 432435"/>
                  <a:gd name="connsiteX25" fmla="*/ 121920 w 3400806"/>
                  <a:gd name="connsiteY25" fmla="*/ 97060 h 432435"/>
                  <a:gd name="connsiteX26" fmla="*/ 140874 w 3400806"/>
                  <a:gd name="connsiteY26" fmla="*/ 97060 h 432435"/>
                  <a:gd name="connsiteX27" fmla="*/ 140874 w 3400806"/>
                  <a:gd name="connsiteY27" fmla="*/ 103061 h 432435"/>
                  <a:gd name="connsiteX28" fmla="*/ 149256 w 3400806"/>
                  <a:gd name="connsiteY28" fmla="*/ 103061 h 432435"/>
                  <a:gd name="connsiteX29" fmla="*/ 149256 w 3400806"/>
                  <a:gd name="connsiteY29" fmla="*/ 109157 h 432435"/>
                  <a:gd name="connsiteX30" fmla="*/ 161925 w 3400806"/>
                  <a:gd name="connsiteY30" fmla="*/ 109157 h 432435"/>
                  <a:gd name="connsiteX31" fmla="*/ 161925 w 3400806"/>
                  <a:gd name="connsiteY31" fmla="*/ 115253 h 432435"/>
                  <a:gd name="connsiteX32" fmla="*/ 178784 w 3400806"/>
                  <a:gd name="connsiteY32" fmla="*/ 115253 h 432435"/>
                  <a:gd name="connsiteX33" fmla="*/ 178784 w 3400806"/>
                  <a:gd name="connsiteY33" fmla="*/ 121254 h 432435"/>
                  <a:gd name="connsiteX34" fmla="*/ 206121 w 3400806"/>
                  <a:gd name="connsiteY34" fmla="*/ 121254 h 432435"/>
                  <a:gd name="connsiteX35" fmla="*/ 206121 w 3400806"/>
                  <a:gd name="connsiteY35" fmla="*/ 127350 h 432435"/>
                  <a:gd name="connsiteX36" fmla="*/ 208216 w 3400806"/>
                  <a:gd name="connsiteY36" fmla="*/ 127350 h 432435"/>
                  <a:gd name="connsiteX37" fmla="*/ 208216 w 3400806"/>
                  <a:gd name="connsiteY37" fmla="*/ 133446 h 432435"/>
                  <a:gd name="connsiteX38" fmla="*/ 218693 w 3400806"/>
                  <a:gd name="connsiteY38" fmla="*/ 133446 h 432435"/>
                  <a:gd name="connsiteX39" fmla="*/ 218693 w 3400806"/>
                  <a:gd name="connsiteY39" fmla="*/ 139446 h 432435"/>
                  <a:gd name="connsiteX40" fmla="*/ 224980 w 3400806"/>
                  <a:gd name="connsiteY40" fmla="*/ 139446 h 432435"/>
                  <a:gd name="connsiteX41" fmla="*/ 224980 w 3400806"/>
                  <a:gd name="connsiteY41" fmla="*/ 151638 h 432435"/>
                  <a:gd name="connsiteX42" fmla="*/ 233457 w 3400806"/>
                  <a:gd name="connsiteY42" fmla="*/ 151638 h 432435"/>
                  <a:gd name="connsiteX43" fmla="*/ 233457 w 3400806"/>
                  <a:gd name="connsiteY43" fmla="*/ 157639 h 432435"/>
                  <a:gd name="connsiteX44" fmla="*/ 239744 w 3400806"/>
                  <a:gd name="connsiteY44" fmla="*/ 157639 h 432435"/>
                  <a:gd name="connsiteX45" fmla="*/ 239744 w 3400806"/>
                  <a:gd name="connsiteY45" fmla="*/ 169831 h 432435"/>
                  <a:gd name="connsiteX46" fmla="*/ 241839 w 3400806"/>
                  <a:gd name="connsiteY46" fmla="*/ 169831 h 432435"/>
                  <a:gd name="connsiteX47" fmla="*/ 241839 w 3400806"/>
                  <a:gd name="connsiteY47" fmla="*/ 175927 h 432435"/>
                  <a:gd name="connsiteX48" fmla="*/ 254412 w 3400806"/>
                  <a:gd name="connsiteY48" fmla="*/ 175927 h 432435"/>
                  <a:gd name="connsiteX49" fmla="*/ 254412 w 3400806"/>
                  <a:gd name="connsiteY49" fmla="*/ 181928 h 432435"/>
                  <a:gd name="connsiteX50" fmla="*/ 277558 w 3400806"/>
                  <a:gd name="connsiteY50" fmla="*/ 181928 h 432435"/>
                  <a:gd name="connsiteX51" fmla="*/ 277558 w 3400806"/>
                  <a:gd name="connsiteY51" fmla="*/ 188024 h 432435"/>
                  <a:gd name="connsiteX52" fmla="*/ 283940 w 3400806"/>
                  <a:gd name="connsiteY52" fmla="*/ 188024 h 432435"/>
                  <a:gd name="connsiteX53" fmla="*/ 283940 w 3400806"/>
                  <a:gd name="connsiteY53" fmla="*/ 194120 h 432435"/>
                  <a:gd name="connsiteX54" fmla="*/ 292322 w 3400806"/>
                  <a:gd name="connsiteY54" fmla="*/ 194120 h 432435"/>
                  <a:gd name="connsiteX55" fmla="*/ 292322 w 3400806"/>
                  <a:gd name="connsiteY55" fmla="*/ 200121 h 432435"/>
                  <a:gd name="connsiteX56" fmla="*/ 300704 w 3400806"/>
                  <a:gd name="connsiteY56" fmla="*/ 200121 h 432435"/>
                  <a:gd name="connsiteX57" fmla="*/ 300704 w 3400806"/>
                  <a:gd name="connsiteY57" fmla="*/ 206217 h 432435"/>
                  <a:gd name="connsiteX58" fmla="*/ 304895 w 3400806"/>
                  <a:gd name="connsiteY58" fmla="*/ 206217 h 432435"/>
                  <a:gd name="connsiteX59" fmla="*/ 304895 w 3400806"/>
                  <a:gd name="connsiteY59" fmla="*/ 212313 h 432435"/>
                  <a:gd name="connsiteX60" fmla="*/ 378523 w 3400806"/>
                  <a:gd name="connsiteY60" fmla="*/ 212313 h 432435"/>
                  <a:gd name="connsiteX61" fmla="*/ 378523 w 3400806"/>
                  <a:gd name="connsiteY61" fmla="*/ 218313 h 432435"/>
                  <a:gd name="connsiteX62" fmla="*/ 399573 w 3400806"/>
                  <a:gd name="connsiteY62" fmla="*/ 218313 h 432435"/>
                  <a:gd name="connsiteX63" fmla="*/ 399573 w 3400806"/>
                  <a:gd name="connsiteY63" fmla="*/ 224409 h 432435"/>
                  <a:gd name="connsiteX64" fmla="*/ 405860 w 3400806"/>
                  <a:gd name="connsiteY64" fmla="*/ 224409 h 432435"/>
                  <a:gd name="connsiteX65" fmla="*/ 405860 w 3400806"/>
                  <a:gd name="connsiteY65" fmla="*/ 230505 h 432435"/>
                  <a:gd name="connsiteX66" fmla="*/ 447960 w 3400806"/>
                  <a:gd name="connsiteY66" fmla="*/ 230505 h 432435"/>
                  <a:gd name="connsiteX67" fmla="*/ 447960 w 3400806"/>
                  <a:gd name="connsiteY67" fmla="*/ 236506 h 432435"/>
                  <a:gd name="connsiteX68" fmla="*/ 462629 w 3400806"/>
                  <a:gd name="connsiteY68" fmla="*/ 236506 h 432435"/>
                  <a:gd name="connsiteX69" fmla="*/ 462629 w 3400806"/>
                  <a:gd name="connsiteY69" fmla="*/ 242602 h 432435"/>
                  <a:gd name="connsiteX70" fmla="*/ 492156 w 3400806"/>
                  <a:gd name="connsiteY70" fmla="*/ 242602 h 432435"/>
                  <a:gd name="connsiteX71" fmla="*/ 492156 w 3400806"/>
                  <a:gd name="connsiteY71" fmla="*/ 248698 h 432435"/>
                  <a:gd name="connsiteX72" fmla="*/ 494252 w 3400806"/>
                  <a:gd name="connsiteY72" fmla="*/ 248698 h 432435"/>
                  <a:gd name="connsiteX73" fmla="*/ 494252 w 3400806"/>
                  <a:gd name="connsiteY73" fmla="*/ 254699 h 432435"/>
                  <a:gd name="connsiteX74" fmla="*/ 517302 w 3400806"/>
                  <a:gd name="connsiteY74" fmla="*/ 254699 h 432435"/>
                  <a:gd name="connsiteX75" fmla="*/ 517302 w 3400806"/>
                  <a:gd name="connsiteY75" fmla="*/ 260795 h 432435"/>
                  <a:gd name="connsiteX76" fmla="*/ 529971 w 3400806"/>
                  <a:gd name="connsiteY76" fmla="*/ 260795 h 432435"/>
                  <a:gd name="connsiteX77" fmla="*/ 529971 w 3400806"/>
                  <a:gd name="connsiteY77" fmla="*/ 266891 h 432435"/>
                  <a:gd name="connsiteX78" fmla="*/ 565689 w 3400806"/>
                  <a:gd name="connsiteY78" fmla="*/ 266891 h 432435"/>
                  <a:gd name="connsiteX79" fmla="*/ 565689 w 3400806"/>
                  <a:gd name="connsiteY79" fmla="*/ 272987 h 432435"/>
                  <a:gd name="connsiteX80" fmla="*/ 681418 w 3400806"/>
                  <a:gd name="connsiteY80" fmla="*/ 272987 h 432435"/>
                  <a:gd name="connsiteX81" fmla="*/ 681418 w 3400806"/>
                  <a:gd name="connsiteY81" fmla="*/ 278988 h 432435"/>
                  <a:gd name="connsiteX82" fmla="*/ 719232 w 3400806"/>
                  <a:gd name="connsiteY82" fmla="*/ 278988 h 432435"/>
                  <a:gd name="connsiteX83" fmla="*/ 719232 w 3400806"/>
                  <a:gd name="connsiteY83" fmla="*/ 285179 h 432435"/>
                  <a:gd name="connsiteX84" fmla="*/ 771810 w 3400806"/>
                  <a:gd name="connsiteY84" fmla="*/ 285179 h 432435"/>
                  <a:gd name="connsiteX85" fmla="*/ 771810 w 3400806"/>
                  <a:gd name="connsiteY85" fmla="*/ 291275 h 432435"/>
                  <a:gd name="connsiteX86" fmla="*/ 790765 w 3400806"/>
                  <a:gd name="connsiteY86" fmla="*/ 291275 h 432435"/>
                  <a:gd name="connsiteX87" fmla="*/ 790765 w 3400806"/>
                  <a:gd name="connsiteY87" fmla="*/ 297371 h 432435"/>
                  <a:gd name="connsiteX88" fmla="*/ 801243 w 3400806"/>
                  <a:gd name="connsiteY88" fmla="*/ 297371 h 432435"/>
                  <a:gd name="connsiteX89" fmla="*/ 801243 w 3400806"/>
                  <a:gd name="connsiteY89" fmla="*/ 303562 h 432435"/>
                  <a:gd name="connsiteX90" fmla="*/ 834961 w 3400806"/>
                  <a:gd name="connsiteY90" fmla="*/ 303562 h 432435"/>
                  <a:gd name="connsiteX91" fmla="*/ 834961 w 3400806"/>
                  <a:gd name="connsiteY91" fmla="*/ 309658 h 432435"/>
                  <a:gd name="connsiteX92" fmla="*/ 841248 w 3400806"/>
                  <a:gd name="connsiteY92" fmla="*/ 309658 h 432435"/>
                  <a:gd name="connsiteX93" fmla="*/ 841248 w 3400806"/>
                  <a:gd name="connsiteY93" fmla="*/ 315754 h 432435"/>
                  <a:gd name="connsiteX94" fmla="*/ 855916 w 3400806"/>
                  <a:gd name="connsiteY94" fmla="*/ 315754 h 432435"/>
                  <a:gd name="connsiteX95" fmla="*/ 855916 w 3400806"/>
                  <a:gd name="connsiteY95" fmla="*/ 321850 h 432435"/>
                  <a:gd name="connsiteX96" fmla="*/ 868584 w 3400806"/>
                  <a:gd name="connsiteY96" fmla="*/ 321850 h 432435"/>
                  <a:gd name="connsiteX97" fmla="*/ 868584 w 3400806"/>
                  <a:gd name="connsiteY97" fmla="*/ 328041 h 432435"/>
                  <a:gd name="connsiteX98" fmla="*/ 893826 w 3400806"/>
                  <a:gd name="connsiteY98" fmla="*/ 328041 h 432435"/>
                  <a:gd name="connsiteX99" fmla="*/ 893826 w 3400806"/>
                  <a:gd name="connsiteY99" fmla="*/ 334137 h 432435"/>
                  <a:gd name="connsiteX100" fmla="*/ 1123092 w 3400806"/>
                  <a:gd name="connsiteY100" fmla="*/ 334137 h 432435"/>
                  <a:gd name="connsiteX101" fmla="*/ 1123092 w 3400806"/>
                  <a:gd name="connsiteY101" fmla="*/ 340329 h 432435"/>
                  <a:gd name="connsiteX102" fmla="*/ 1236630 w 3400806"/>
                  <a:gd name="connsiteY102" fmla="*/ 340329 h 432435"/>
                  <a:gd name="connsiteX103" fmla="*/ 1236630 w 3400806"/>
                  <a:gd name="connsiteY103" fmla="*/ 346520 h 432435"/>
                  <a:gd name="connsiteX104" fmla="*/ 1505807 w 3400806"/>
                  <a:gd name="connsiteY104" fmla="*/ 346520 h 432435"/>
                  <a:gd name="connsiteX105" fmla="*/ 1505807 w 3400806"/>
                  <a:gd name="connsiteY105" fmla="*/ 352806 h 432435"/>
                  <a:gd name="connsiteX106" fmla="*/ 1579435 w 3400806"/>
                  <a:gd name="connsiteY106" fmla="*/ 352806 h 432435"/>
                  <a:gd name="connsiteX107" fmla="*/ 1579435 w 3400806"/>
                  <a:gd name="connsiteY107" fmla="*/ 359093 h 432435"/>
                  <a:gd name="connsiteX108" fmla="*/ 1659350 w 3400806"/>
                  <a:gd name="connsiteY108" fmla="*/ 359093 h 432435"/>
                  <a:gd name="connsiteX109" fmla="*/ 1659350 w 3400806"/>
                  <a:gd name="connsiteY109" fmla="*/ 365379 h 432435"/>
                  <a:gd name="connsiteX110" fmla="*/ 1821275 w 3400806"/>
                  <a:gd name="connsiteY110" fmla="*/ 365379 h 432435"/>
                  <a:gd name="connsiteX111" fmla="*/ 1821275 w 3400806"/>
                  <a:gd name="connsiteY111" fmla="*/ 371856 h 432435"/>
                  <a:gd name="connsiteX112" fmla="*/ 1838134 w 3400806"/>
                  <a:gd name="connsiteY112" fmla="*/ 371856 h 432435"/>
                  <a:gd name="connsiteX113" fmla="*/ 1838134 w 3400806"/>
                  <a:gd name="connsiteY113" fmla="*/ 378238 h 432435"/>
                  <a:gd name="connsiteX114" fmla="*/ 1955958 w 3400806"/>
                  <a:gd name="connsiteY114" fmla="*/ 378238 h 432435"/>
                  <a:gd name="connsiteX115" fmla="*/ 1955958 w 3400806"/>
                  <a:gd name="connsiteY115" fmla="*/ 384715 h 432435"/>
                  <a:gd name="connsiteX116" fmla="*/ 2048446 w 3400806"/>
                  <a:gd name="connsiteY116" fmla="*/ 384715 h 432435"/>
                  <a:gd name="connsiteX117" fmla="*/ 2048446 w 3400806"/>
                  <a:gd name="connsiteY117" fmla="*/ 391097 h 432435"/>
                  <a:gd name="connsiteX118" fmla="*/ 2067401 w 3400806"/>
                  <a:gd name="connsiteY118" fmla="*/ 391097 h 432435"/>
                  <a:gd name="connsiteX119" fmla="*/ 2067401 w 3400806"/>
                  <a:gd name="connsiteY119" fmla="*/ 397574 h 432435"/>
                  <a:gd name="connsiteX120" fmla="*/ 2921222 w 3400806"/>
                  <a:gd name="connsiteY120" fmla="*/ 397574 h 432435"/>
                  <a:gd name="connsiteX121" fmla="*/ 2921222 w 3400806"/>
                  <a:gd name="connsiteY121" fmla="*/ 432435 h 432435"/>
                  <a:gd name="connsiteX122" fmla="*/ 3400806 w 3400806"/>
                  <a:gd name="connsiteY122" fmla="*/ 432435 h 432435"/>
                  <a:gd name="connsiteX0" fmla="*/ 0 w 3400806"/>
                  <a:gd name="connsiteY0" fmla="*/ 0 h 432435"/>
                  <a:gd name="connsiteX1" fmla="*/ 29432 w 3400806"/>
                  <a:gd name="connsiteY1" fmla="*/ 6001 h 432435"/>
                  <a:gd name="connsiteX2" fmla="*/ 29432 w 3400806"/>
                  <a:gd name="connsiteY2" fmla="*/ 12097 h 432435"/>
                  <a:gd name="connsiteX3" fmla="*/ 37814 w 3400806"/>
                  <a:gd name="connsiteY3" fmla="*/ 12097 h 432435"/>
                  <a:gd name="connsiteX4" fmla="*/ 37814 w 3400806"/>
                  <a:gd name="connsiteY4" fmla="*/ 18193 h 432435"/>
                  <a:gd name="connsiteX5" fmla="*/ 39909 w 3400806"/>
                  <a:gd name="connsiteY5" fmla="*/ 18193 h 432435"/>
                  <a:gd name="connsiteX6" fmla="*/ 39909 w 3400806"/>
                  <a:gd name="connsiteY6" fmla="*/ 24194 h 432435"/>
                  <a:gd name="connsiteX7" fmla="*/ 54673 w 3400806"/>
                  <a:gd name="connsiteY7" fmla="*/ 24194 h 432435"/>
                  <a:gd name="connsiteX8" fmla="*/ 54673 w 3400806"/>
                  <a:gd name="connsiteY8" fmla="*/ 36386 h 432435"/>
                  <a:gd name="connsiteX9" fmla="*/ 56769 w 3400806"/>
                  <a:gd name="connsiteY9" fmla="*/ 36386 h 432435"/>
                  <a:gd name="connsiteX10" fmla="*/ 56769 w 3400806"/>
                  <a:gd name="connsiteY10" fmla="*/ 42387 h 432435"/>
                  <a:gd name="connsiteX11" fmla="*/ 63055 w 3400806"/>
                  <a:gd name="connsiteY11" fmla="*/ 42387 h 432435"/>
                  <a:gd name="connsiteX12" fmla="*/ 63055 w 3400806"/>
                  <a:gd name="connsiteY12" fmla="*/ 48483 h 432435"/>
                  <a:gd name="connsiteX13" fmla="*/ 67246 w 3400806"/>
                  <a:gd name="connsiteY13" fmla="*/ 48483 h 432435"/>
                  <a:gd name="connsiteX14" fmla="*/ 67246 w 3400806"/>
                  <a:gd name="connsiteY14" fmla="*/ 54579 h 432435"/>
                  <a:gd name="connsiteX15" fmla="*/ 84105 w 3400806"/>
                  <a:gd name="connsiteY15" fmla="*/ 54579 h 432435"/>
                  <a:gd name="connsiteX16" fmla="*/ 84105 w 3400806"/>
                  <a:gd name="connsiteY16" fmla="*/ 66675 h 432435"/>
                  <a:gd name="connsiteX17" fmla="*/ 88296 w 3400806"/>
                  <a:gd name="connsiteY17" fmla="*/ 66675 h 432435"/>
                  <a:gd name="connsiteX18" fmla="*/ 88296 w 3400806"/>
                  <a:gd name="connsiteY18" fmla="*/ 72771 h 432435"/>
                  <a:gd name="connsiteX19" fmla="*/ 111442 w 3400806"/>
                  <a:gd name="connsiteY19" fmla="*/ 72771 h 432435"/>
                  <a:gd name="connsiteX20" fmla="*/ 111442 w 3400806"/>
                  <a:gd name="connsiteY20" fmla="*/ 78867 h 432435"/>
                  <a:gd name="connsiteX21" fmla="*/ 115633 w 3400806"/>
                  <a:gd name="connsiteY21" fmla="*/ 78867 h 432435"/>
                  <a:gd name="connsiteX22" fmla="*/ 115633 w 3400806"/>
                  <a:gd name="connsiteY22" fmla="*/ 84868 h 432435"/>
                  <a:gd name="connsiteX23" fmla="*/ 121920 w 3400806"/>
                  <a:gd name="connsiteY23" fmla="*/ 84868 h 432435"/>
                  <a:gd name="connsiteX24" fmla="*/ 121920 w 3400806"/>
                  <a:gd name="connsiteY24" fmla="*/ 97060 h 432435"/>
                  <a:gd name="connsiteX25" fmla="*/ 140874 w 3400806"/>
                  <a:gd name="connsiteY25" fmla="*/ 97060 h 432435"/>
                  <a:gd name="connsiteX26" fmla="*/ 140874 w 3400806"/>
                  <a:gd name="connsiteY26" fmla="*/ 103061 h 432435"/>
                  <a:gd name="connsiteX27" fmla="*/ 149256 w 3400806"/>
                  <a:gd name="connsiteY27" fmla="*/ 103061 h 432435"/>
                  <a:gd name="connsiteX28" fmla="*/ 149256 w 3400806"/>
                  <a:gd name="connsiteY28" fmla="*/ 109157 h 432435"/>
                  <a:gd name="connsiteX29" fmla="*/ 161925 w 3400806"/>
                  <a:gd name="connsiteY29" fmla="*/ 109157 h 432435"/>
                  <a:gd name="connsiteX30" fmla="*/ 161925 w 3400806"/>
                  <a:gd name="connsiteY30" fmla="*/ 115253 h 432435"/>
                  <a:gd name="connsiteX31" fmla="*/ 178784 w 3400806"/>
                  <a:gd name="connsiteY31" fmla="*/ 115253 h 432435"/>
                  <a:gd name="connsiteX32" fmla="*/ 178784 w 3400806"/>
                  <a:gd name="connsiteY32" fmla="*/ 121254 h 432435"/>
                  <a:gd name="connsiteX33" fmla="*/ 206121 w 3400806"/>
                  <a:gd name="connsiteY33" fmla="*/ 121254 h 432435"/>
                  <a:gd name="connsiteX34" fmla="*/ 206121 w 3400806"/>
                  <a:gd name="connsiteY34" fmla="*/ 127350 h 432435"/>
                  <a:gd name="connsiteX35" fmla="*/ 208216 w 3400806"/>
                  <a:gd name="connsiteY35" fmla="*/ 127350 h 432435"/>
                  <a:gd name="connsiteX36" fmla="*/ 208216 w 3400806"/>
                  <a:gd name="connsiteY36" fmla="*/ 133446 h 432435"/>
                  <a:gd name="connsiteX37" fmla="*/ 218693 w 3400806"/>
                  <a:gd name="connsiteY37" fmla="*/ 133446 h 432435"/>
                  <a:gd name="connsiteX38" fmla="*/ 218693 w 3400806"/>
                  <a:gd name="connsiteY38" fmla="*/ 139446 h 432435"/>
                  <a:gd name="connsiteX39" fmla="*/ 224980 w 3400806"/>
                  <a:gd name="connsiteY39" fmla="*/ 139446 h 432435"/>
                  <a:gd name="connsiteX40" fmla="*/ 224980 w 3400806"/>
                  <a:gd name="connsiteY40" fmla="*/ 151638 h 432435"/>
                  <a:gd name="connsiteX41" fmla="*/ 233457 w 3400806"/>
                  <a:gd name="connsiteY41" fmla="*/ 151638 h 432435"/>
                  <a:gd name="connsiteX42" fmla="*/ 233457 w 3400806"/>
                  <a:gd name="connsiteY42" fmla="*/ 157639 h 432435"/>
                  <a:gd name="connsiteX43" fmla="*/ 239744 w 3400806"/>
                  <a:gd name="connsiteY43" fmla="*/ 157639 h 432435"/>
                  <a:gd name="connsiteX44" fmla="*/ 239744 w 3400806"/>
                  <a:gd name="connsiteY44" fmla="*/ 169831 h 432435"/>
                  <a:gd name="connsiteX45" fmla="*/ 241839 w 3400806"/>
                  <a:gd name="connsiteY45" fmla="*/ 169831 h 432435"/>
                  <a:gd name="connsiteX46" fmla="*/ 241839 w 3400806"/>
                  <a:gd name="connsiteY46" fmla="*/ 175927 h 432435"/>
                  <a:gd name="connsiteX47" fmla="*/ 254412 w 3400806"/>
                  <a:gd name="connsiteY47" fmla="*/ 175927 h 432435"/>
                  <a:gd name="connsiteX48" fmla="*/ 254412 w 3400806"/>
                  <a:gd name="connsiteY48" fmla="*/ 181928 h 432435"/>
                  <a:gd name="connsiteX49" fmla="*/ 277558 w 3400806"/>
                  <a:gd name="connsiteY49" fmla="*/ 181928 h 432435"/>
                  <a:gd name="connsiteX50" fmla="*/ 277558 w 3400806"/>
                  <a:gd name="connsiteY50" fmla="*/ 188024 h 432435"/>
                  <a:gd name="connsiteX51" fmla="*/ 283940 w 3400806"/>
                  <a:gd name="connsiteY51" fmla="*/ 188024 h 432435"/>
                  <a:gd name="connsiteX52" fmla="*/ 283940 w 3400806"/>
                  <a:gd name="connsiteY52" fmla="*/ 194120 h 432435"/>
                  <a:gd name="connsiteX53" fmla="*/ 292322 w 3400806"/>
                  <a:gd name="connsiteY53" fmla="*/ 194120 h 432435"/>
                  <a:gd name="connsiteX54" fmla="*/ 292322 w 3400806"/>
                  <a:gd name="connsiteY54" fmla="*/ 200121 h 432435"/>
                  <a:gd name="connsiteX55" fmla="*/ 300704 w 3400806"/>
                  <a:gd name="connsiteY55" fmla="*/ 200121 h 432435"/>
                  <a:gd name="connsiteX56" fmla="*/ 300704 w 3400806"/>
                  <a:gd name="connsiteY56" fmla="*/ 206217 h 432435"/>
                  <a:gd name="connsiteX57" fmla="*/ 304895 w 3400806"/>
                  <a:gd name="connsiteY57" fmla="*/ 206217 h 432435"/>
                  <a:gd name="connsiteX58" fmla="*/ 304895 w 3400806"/>
                  <a:gd name="connsiteY58" fmla="*/ 212313 h 432435"/>
                  <a:gd name="connsiteX59" fmla="*/ 378523 w 3400806"/>
                  <a:gd name="connsiteY59" fmla="*/ 212313 h 432435"/>
                  <a:gd name="connsiteX60" fmla="*/ 378523 w 3400806"/>
                  <a:gd name="connsiteY60" fmla="*/ 218313 h 432435"/>
                  <a:gd name="connsiteX61" fmla="*/ 399573 w 3400806"/>
                  <a:gd name="connsiteY61" fmla="*/ 218313 h 432435"/>
                  <a:gd name="connsiteX62" fmla="*/ 399573 w 3400806"/>
                  <a:gd name="connsiteY62" fmla="*/ 224409 h 432435"/>
                  <a:gd name="connsiteX63" fmla="*/ 405860 w 3400806"/>
                  <a:gd name="connsiteY63" fmla="*/ 224409 h 432435"/>
                  <a:gd name="connsiteX64" fmla="*/ 405860 w 3400806"/>
                  <a:gd name="connsiteY64" fmla="*/ 230505 h 432435"/>
                  <a:gd name="connsiteX65" fmla="*/ 447960 w 3400806"/>
                  <a:gd name="connsiteY65" fmla="*/ 230505 h 432435"/>
                  <a:gd name="connsiteX66" fmla="*/ 447960 w 3400806"/>
                  <a:gd name="connsiteY66" fmla="*/ 236506 h 432435"/>
                  <a:gd name="connsiteX67" fmla="*/ 462629 w 3400806"/>
                  <a:gd name="connsiteY67" fmla="*/ 236506 h 432435"/>
                  <a:gd name="connsiteX68" fmla="*/ 462629 w 3400806"/>
                  <a:gd name="connsiteY68" fmla="*/ 242602 h 432435"/>
                  <a:gd name="connsiteX69" fmla="*/ 492156 w 3400806"/>
                  <a:gd name="connsiteY69" fmla="*/ 242602 h 432435"/>
                  <a:gd name="connsiteX70" fmla="*/ 492156 w 3400806"/>
                  <a:gd name="connsiteY70" fmla="*/ 248698 h 432435"/>
                  <a:gd name="connsiteX71" fmla="*/ 494252 w 3400806"/>
                  <a:gd name="connsiteY71" fmla="*/ 248698 h 432435"/>
                  <a:gd name="connsiteX72" fmla="*/ 494252 w 3400806"/>
                  <a:gd name="connsiteY72" fmla="*/ 254699 h 432435"/>
                  <a:gd name="connsiteX73" fmla="*/ 517302 w 3400806"/>
                  <a:gd name="connsiteY73" fmla="*/ 254699 h 432435"/>
                  <a:gd name="connsiteX74" fmla="*/ 517302 w 3400806"/>
                  <a:gd name="connsiteY74" fmla="*/ 260795 h 432435"/>
                  <a:gd name="connsiteX75" fmla="*/ 529971 w 3400806"/>
                  <a:gd name="connsiteY75" fmla="*/ 260795 h 432435"/>
                  <a:gd name="connsiteX76" fmla="*/ 529971 w 3400806"/>
                  <a:gd name="connsiteY76" fmla="*/ 266891 h 432435"/>
                  <a:gd name="connsiteX77" fmla="*/ 565689 w 3400806"/>
                  <a:gd name="connsiteY77" fmla="*/ 266891 h 432435"/>
                  <a:gd name="connsiteX78" fmla="*/ 565689 w 3400806"/>
                  <a:gd name="connsiteY78" fmla="*/ 272987 h 432435"/>
                  <a:gd name="connsiteX79" fmla="*/ 681418 w 3400806"/>
                  <a:gd name="connsiteY79" fmla="*/ 272987 h 432435"/>
                  <a:gd name="connsiteX80" fmla="*/ 681418 w 3400806"/>
                  <a:gd name="connsiteY80" fmla="*/ 278988 h 432435"/>
                  <a:gd name="connsiteX81" fmla="*/ 719232 w 3400806"/>
                  <a:gd name="connsiteY81" fmla="*/ 278988 h 432435"/>
                  <a:gd name="connsiteX82" fmla="*/ 719232 w 3400806"/>
                  <a:gd name="connsiteY82" fmla="*/ 285179 h 432435"/>
                  <a:gd name="connsiteX83" fmla="*/ 771810 w 3400806"/>
                  <a:gd name="connsiteY83" fmla="*/ 285179 h 432435"/>
                  <a:gd name="connsiteX84" fmla="*/ 771810 w 3400806"/>
                  <a:gd name="connsiteY84" fmla="*/ 291275 h 432435"/>
                  <a:gd name="connsiteX85" fmla="*/ 790765 w 3400806"/>
                  <a:gd name="connsiteY85" fmla="*/ 291275 h 432435"/>
                  <a:gd name="connsiteX86" fmla="*/ 790765 w 3400806"/>
                  <a:gd name="connsiteY86" fmla="*/ 297371 h 432435"/>
                  <a:gd name="connsiteX87" fmla="*/ 801243 w 3400806"/>
                  <a:gd name="connsiteY87" fmla="*/ 297371 h 432435"/>
                  <a:gd name="connsiteX88" fmla="*/ 801243 w 3400806"/>
                  <a:gd name="connsiteY88" fmla="*/ 303562 h 432435"/>
                  <a:gd name="connsiteX89" fmla="*/ 834961 w 3400806"/>
                  <a:gd name="connsiteY89" fmla="*/ 303562 h 432435"/>
                  <a:gd name="connsiteX90" fmla="*/ 834961 w 3400806"/>
                  <a:gd name="connsiteY90" fmla="*/ 309658 h 432435"/>
                  <a:gd name="connsiteX91" fmla="*/ 841248 w 3400806"/>
                  <a:gd name="connsiteY91" fmla="*/ 309658 h 432435"/>
                  <a:gd name="connsiteX92" fmla="*/ 841248 w 3400806"/>
                  <a:gd name="connsiteY92" fmla="*/ 315754 h 432435"/>
                  <a:gd name="connsiteX93" fmla="*/ 855916 w 3400806"/>
                  <a:gd name="connsiteY93" fmla="*/ 315754 h 432435"/>
                  <a:gd name="connsiteX94" fmla="*/ 855916 w 3400806"/>
                  <a:gd name="connsiteY94" fmla="*/ 321850 h 432435"/>
                  <a:gd name="connsiteX95" fmla="*/ 868584 w 3400806"/>
                  <a:gd name="connsiteY95" fmla="*/ 321850 h 432435"/>
                  <a:gd name="connsiteX96" fmla="*/ 868584 w 3400806"/>
                  <a:gd name="connsiteY96" fmla="*/ 328041 h 432435"/>
                  <a:gd name="connsiteX97" fmla="*/ 893826 w 3400806"/>
                  <a:gd name="connsiteY97" fmla="*/ 328041 h 432435"/>
                  <a:gd name="connsiteX98" fmla="*/ 893826 w 3400806"/>
                  <a:gd name="connsiteY98" fmla="*/ 334137 h 432435"/>
                  <a:gd name="connsiteX99" fmla="*/ 1123092 w 3400806"/>
                  <a:gd name="connsiteY99" fmla="*/ 334137 h 432435"/>
                  <a:gd name="connsiteX100" fmla="*/ 1123092 w 3400806"/>
                  <a:gd name="connsiteY100" fmla="*/ 340329 h 432435"/>
                  <a:gd name="connsiteX101" fmla="*/ 1236630 w 3400806"/>
                  <a:gd name="connsiteY101" fmla="*/ 340329 h 432435"/>
                  <a:gd name="connsiteX102" fmla="*/ 1236630 w 3400806"/>
                  <a:gd name="connsiteY102" fmla="*/ 346520 h 432435"/>
                  <a:gd name="connsiteX103" fmla="*/ 1505807 w 3400806"/>
                  <a:gd name="connsiteY103" fmla="*/ 346520 h 432435"/>
                  <a:gd name="connsiteX104" fmla="*/ 1505807 w 3400806"/>
                  <a:gd name="connsiteY104" fmla="*/ 352806 h 432435"/>
                  <a:gd name="connsiteX105" fmla="*/ 1579435 w 3400806"/>
                  <a:gd name="connsiteY105" fmla="*/ 352806 h 432435"/>
                  <a:gd name="connsiteX106" fmla="*/ 1579435 w 3400806"/>
                  <a:gd name="connsiteY106" fmla="*/ 359093 h 432435"/>
                  <a:gd name="connsiteX107" fmla="*/ 1659350 w 3400806"/>
                  <a:gd name="connsiteY107" fmla="*/ 359093 h 432435"/>
                  <a:gd name="connsiteX108" fmla="*/ 1659350 w 3400806"/>
                  <a:gd name="connsiteY108" fmla="*/ 365379 h 432435"/>
                  <a:gd name="connsiteX109" fmla="*/ 1821275 w 3400806"/>
                  <a:gd name="connsiteY109" fmla="*/ 365379 h 432435"/>
                  <a:gd name="connsiteX110" fmla="*/ 1821275 w 3400806"/>
                  <a:gd name="connsiteY110" fmla="*/ 371856 h 432435"/>
                  <a:gd name="connsiteX111" fmla="*/ 1838134 w 3400806"/>
                  <a:gd name="connsiteY111" fmla="*/ 371856 h 432435"/>
                  <a:gd name="connsiteX112" fmla="*/ 1838134 w 3400806"/>
                  <a:gd name="connsiteY112" fmla="*/ 378238 h 432435"/>
                  <a:gd name="connsiteX113" fmla="*/ 1955958 w 3400806"/>
                  <a:gd name="connsiteY113" fmla="*/ 378238 h 432435"/>
                  <a:gd name="connsiteX114" fmla="*/ 1955958 w 3400806"/>
                  <a:gd name="connsiteY114" fmla="*/ 384715 h 432435"/>
                  <a:gd name="connsiteX115" fmla="*/ 2048446 w 3400806"/>
                  <a:gd name="connsiteY115" fmla="*/ 384715 h 432435"/>
                  <a:gd name="connsiteX116" fmla="*/ 2048446 w 3400806"/>
                  <a:gd name="connsiteY116" fmla="*/ 391097 h 432435"/>
                  <a:gd name="connsiteX117" fmla="*/ 2067401 w 3400806"/>
                  <a:gd name="connsiteY117" fmla="*/ 391097 h 432435"/>
                  <a:gd name="connsiteX118" fmla="*/ 2067401 w 3400806"/>
                  <a:gd name="connsiteY118" fmla="*/ 397574 h 432435"/>
                  <a:gd name="connsiteX119" fmla="*/ 2921222 w 3400806"/>
                  <a:gd name="connsiteY119" fmla="*/ 397574 h 432435"/>
                  <a:gd name="connsiteX120" fmla="*/ 2921222 w 3400806"/>
                  <a:gd name="connsiteY120" fmla="*/ 432435 h 432435"/>
                  <a:gd name="connsiteX121" fmla="*/ 3400806 w 3400806"/>
                  <a:gd name="connsiteY121" fmla="*/ 432435 h 432435"/>
                  <a:gd name="connsiteX0" fmla="*/ 0 w 3371374"/>
                  <a:gd name="connsiteY0" fmla="*/ 0 h 426434"/>
                  <a:gd name="connsiteX1" fmla="*/ 0 w 3371374"/>
                  <a:gd name="connsiteY1" fmla="*/ 6096 h 426434"/>
                  <a:gd name="connsiteX2" fmla="*/ 8382 w 3371374"/>
                  <a:gd name="connsiteY2" fmla="*/ 6096 h 426434"/>
                  <a:gd name="connsiteX3" fmla="*/ 8382 w 3371374"/>
                  <a:gd name="connsiteY3" fmla="*/ 12192 h 426434"/>
                  <a:gd name="connsiteX4" fmla="*/ 10477 w 3371374"/>
                  <a:gd name="connsiteY4" fmla="*/ 12192 h 426434"/>
                  <a:gd name="connsiteX5" fmla="*/ 10477 w 3371374"/>
                  <a:gd name="connsiteY5" fmla="*/ 18193 h 426434"/>
                  <a:gd name="connsiteX6" fmla="*/ 25241 w 3371374"/>
                  <a:gd name="connsiteY6" fmla="*/ 18193 h 426434"/>
                  <a:gd name="connsiteX7" fmla="*/ 25241 w 3371374"/>
                  <a:gd name="connsiteY7" fmla="*/ 30385 h 426434"/>
                  <a:gd name="connsiteX8" fmla="*/ 27337 w 3371374"/>
                  <a:gd name="connsiteY8" fmla="*/ 30385 h 426434"/>
                  <a:gd name="connsiteX9" fmla="*/ 27337 w 3371374"/>
                  <a:gd name="connsiteY9" fmla="*/ 36386 h 426434"/>
                  <a:gd name="connsiteX10" fmla="*/ 33623 w 3371374"/>
                  <a:gd name="connsiteY10" fmla="*/ 36386 h 426434"/>
                  <a:gd name="connsiteX11" fmla="*/ 33623 w 3371374"/>
                  <a:gd name="connsiteY11" fmla="*/ 42482 h 426434"/>
                  <a:gd name="connsiteX12" fmla="*/ 37814 w 3371374"/>
                  <a:gd name="connsiteY12" fmla="*/ 42482 h 426434"/>
                  <a:gd name="connsiteX13" fmla="*/ 37814 w 3371374"/>
                  <a:gd name="connsiteY13" fmla="*/ 48578 h 426434"/>
                  <a:gd name="connsiteX14" fmla="*/ 54673 w 3371374"/>
                  <a:gd name="connsiteY14" fmla="*/ 48578 h 426434"/>
                  <a:gd name="connsiteX15" fmla="*/ 54673 w 3371374"/>
                  <a:gd name="connsiteY15" fmla="*/ 60674 h 426434"/>
                  <a:gd name="connsiteX16" fmla="*/ 58864 w 3371374"/>
                  <a:gd name="connsiteY16" fmla="*/ 60674 h 426434"/>
                  <a:gd name="connsiteX17" fmla="*/ 58864 w 3371374"/>
                  <a:gd name="connsiteY17" fmla="*/ 66770 h 426434"/>
                  <a:gd name="connsiteX18" fmla="*/ 82010 w 3371374"/>
                  <a:gd name="connsiteY18" fmla="*/ 66770 h 426434"/>
                  <a:gd name="connsiteX19" fmla="*/ 82010 w 3371374"/>
                  <a:gd name="connsiteY19" fmla="*/ 72866 h 426434"/>
                  <a:gd name="connsiteX20" fmla="*/ 86201 w 3371374"/>
                  <a:gd name="connsiteY20" fmla="*/ 72866 h 426434"/>
                  <a:gd name="connsiteX21" fmla="*/ 86201 w 3371374"/>
                  <a:gd name="connsiteY21" fmla="*/ 78867 h 426434"/>
                  <a:gd name="connsiteX22" fmla="*/ 92488 w 3371374"/>
                  <a:gd name="connsiteY22" fmla="*/ 78867 h 426434"/>
                  <a:gd name="connsiteX23" fmla="*/ 92488 w 3371374"/>
                  <a:gd name="connsiteY23" fmla="*/ 91059 h 426434"/>
                  <a:gd name="connsiteX24" fmla="*/ 111442 w 3371374"/>
                  <a:gd name="connsiteY24" fmla="*/ 91059 h 426434"/>
                  <a:gd name="connsiteX25" fmla="*/ 111442 w 3371374"/>
                  <a:gd name="connsiteY25" fmla="*/ 97060 h 426434"/>
                  <a:gd name="connsiteX26" fmla="*/ 119824 w 3371374"/>
                  <a:gd name="connsiteY26" fmla="*/ 97060 h 426434"/>
                  <a:gd name="connsiteX27" fmla="*/ 119824 w 3371374"/>
                  <a:gd name="connsiteY27" fmla="*/ 103156 h 426434"/>
                  <a:gd name="connsiteX28" fmla="*/ 132493 w 3371374"/>
                  <a:gd name="connsiteY28" fmla="*/ 103156 h 426434"/>
                  <a:gd name="connsiteX29" fmla="*/ 132493 w 3371374"/>
                  <a:gd name="connsiteY29" fmla="*/ 109252 h 426434"/>
                  <a:gd name="connsiteX30" fmla="*/ 149352 w 3371374"/>
                  <a:gd name="connsiteY30" fmla="*/ 109252 h 426434"/>
                  <a:gd name="connsiteX31" fmla="*/ 149352 w 3371374"/>
                  <a:gd name="connsiteY31" fmla="*/ 115253 h 426434"/>
                  <a:gd name="connsiteX32" fmla="*/ 176689 w 3371374"/>
                  <a:gd name="connsiteY32" fmla="*/ 115253 h 426434"/>
                  <a:gd name="connsiteX33" fmla="*/ 176689 w 3371374"/>
                  <a:gd name="connsiteY33" fmla="*/ 121349 h 426434"/>
                  <a:gd name="connsiteX34" fmla="*/ 178784 w 3371374"/>
                  <a:gd name="connsiteY34" fmla="*/ 121349 h 426434"/>
                  <a:gd name="connsiteX35" fmla="*/ 178784 w 3371374"/>
                  <a:gd name="connsiteY35" fmla="*/ 127445 h 426434"/>
                  <a:gd name="connsiteX36" fmla="*/ 189261 w 3371374"/>
                  <a:gd name="connsiteY36" fmla="*/ 127445 h 426434"/>
                  <a:gd name="connsiteX37" fmla="*/ 189261 w 3371374"/>
                  <a:gd name="connsiteY37" fmla="*/ 133445 h 426434"/>
                  <a:gd name="connsiteX38" fmla="*/ 195548 w 3371374"/>
                  <a:gd name="connsiteY38" fmla="*/ 133445 h 426434"/>
                  <a:gd name="connsiteX39" fmla="*/ 195548 w 3371374"/>
                  <a:gd name="connsiteY39" fmla="*/ 145637 h 426434"/>
                  <a:gd name="connsiteX40" fmla="*/ 204025 w 3371374"/>
                  <a:gd name="connsiteY40" fmla="*/ 145637 h 426434"/>
                  <a:gd name="connsiteX41" fmla="*/ 204025 w 3371374"/>
                  <a:gd name="connsiteY41" fmla="*/ 151638 h 426434"/>
                  <a:gd name="connsiteX42" fmla="*/ 210312 w 3371374"/>
                  <a:gd name="connsiteY42" fmla="*/ 151638 h 426434"/>
                  <a:gd name="connsiteX43" fmla="*/ 210312 w 3371374"/>
                  <a:gd name="connsiteY43" fmla="*/ 163830 h 426434"/>
                  <a:gd name="connsiteX44" fmla="*/ 212407 w 3371374"/>
                  <a:gd name="connsiteY44" fmla="*/ 163830 h 426434"/>
                  <a:gd name="connsiteX45" fmla="*/ 212407 w 3371374"/>
                  <a:gd name="connsiteY45" fmla="*/ 169926 h 426434"/>
                  <a:gd name="connsiteX46" fmla="*/ 224980 w 3371374"/>
                  <a:gd name="connsiteY46" fmla="*/ 169926 h 426434"/>
                  <a:gd name="connsiteX47" fmla="*/ 224980 w 3371374"/>
                  <a:gd name="connsiteY47" fmla="*/ 175927 h 426434"/>
                  <a:gd name="connsiteX48" fmla="*/ 248126 w 3371374"/>
                  <a:gd name="connsiteY48" fmla="*/ 175927 h 426434"/>
                  <a:gd name="connsiteX49" fmla="*/ 248126 w 3371374"/>
                  <a:gd name="connsiteY49" fmla="*/ 182023 h 426434"/>
                  <a:gd name="connsiteX50" fmla="*/ 254508 w 3371374"/>
                  <a:gd name="connsiteY50" fmla="*/ 182023 h 426434"/>
                  <a:gd name="connsiteX51" fmla="*/ 254508 w 3371374"/>
                  <a:gd name="connsiteY51" fmla="*/ 188119 h 426434"/>
                  <a:gd name="connsiteX52" fmla="*/ 262890 w 3371374"/>
                  <a:gd name="connsiteY52" fmla="*/ 188119 h 426434"/>
                  <a:gd name="connsiteX53" fmla="*/ 262890 w 3371374"/>
                  <a:gd name="connsiteY53" fmla="*/ 194120 h 426434"/>
                  <a:gd name="connsiteX54" fmla="*/ 271272 w 3371374"/>
                  <a:gd name="connsiteY54" fmla="*/ 194120 h 426434"/>
                  <a:gd name="connsiteX55" fmla="*/ 271272 w 3371374"/>
                  <a:gd name="connsiteY55" fmla="*/ 200216 h 426434"/>
                  <a:gd name="connsiteX56" fmla="*/ 275463 w 3371374"/>
                  <a:gd name="connsiteY56" fmla="*/ 200216 h 426434"/>
                  <a:gd name="connsiteX57" fmla="*/ 275463 w 3371374"/>
                  <a:gd name="connsiteY57" fmla="*/ 206312 h 426434"/>
                  <a:gd name="connsiteX58" fmla="*/ 349091 w 3371374"/>
                  <a:gd name="connsiteY58" fmla="*/ 206312 h 426434"/>
                  <a:gd name="connsiteX59" fmla="*/ 349091 w 3371374"/>
                  <a:gd name="connsiteY59" fmla="*/ 212312 h 426434"/>
                  <a:gd name="connsiteX60" fmla="*/ 370141 w 3371374"/>
                  <a:gd name="connsiteY60" fmla="*/ 212312 h 426434"/>
                  <a:gd name="connsiteX61" fmla="*/ 370141 w 3371374"/>
                  <a:gd name="connsiteY61" fmla="*/ 218408 h 426434"/>
                  <a:gd name="connsiteX62" fmla="*/ 376428 w 3371374"/>
                  <a:gd name="connsiteY62" fmla="*/ 218408 h 426434"/>
                  <a:gd name="connsiteX63" fmla="*/ 376428 w 3371374"/>
                  <a:gd name="connsiteY63" fmla="*/ 224504 h 426434"/>
                  <a:gd name="connsiteX64" fmla="*/ 418528 w 3371374"/>
                  <a:gd name="connsiteY64" fmla="*/ 224504 h 426434"/>
                  <a:gd name="connsiteX65" fmla="*/ 418528 w 3371374"/>
                  <a:gd name="connsiteY65" fmla="*/ 230505 h 426434"/>
                  <a:gd name="connsiteX66" fmla="*/ 433197 w 3371374"/>
                  <a:gd name="connsiteY66" fmla="*/ 230505 h 426434"/>
                  <a:gd name="connsiteX67" fmla="*/ 433197 w 3371374"/>
                  <a:gd name="connsiteY67" fmla="*/ 236601 h 426434"/>
                  <a:gd name="connsiteX68" fmla="*/ 462724 w 3371374"/>
                  <a:gd name="connsiteY68" fmla="*/ 236601 h 426434"/>
                  <a:gd name="connsiteX69" fmla="*/ 462724 w 3371374"/>
                  <a:gd name="connsiteY69" fmla="*/ 242697 h 426434"/>
                  <a:gd name="connsiteX70" fmla="*/ 464820 w 3371374"/>
                  <a:gd name="connsiteY70" fmla="*/ 242697 h 426434"/>
                  <a:gd name="connsiteX71" fmla="*/ 464820 w 3371374"/>
                  <a:gd name="connsiteY71" fmla="*/ 248698 h 426434"/>
                  <a:gd name="connsiteX72" fmla="*/ 487870 w 3371374"/>
                  <a:gd name="connsiteY72" fmla="*/ 248698 h 426434"/>
                  <a:gd name="connsiteX73" fmla="*/ 487870 w 3371374"/>
                  <a:gd name="connsiteY73" fmla="*/ 254794 h 426434"/>
                  <a:gd name="connsiteX74" fmla="*/ 500539 w 3371374"/>
                  <a:gd name="connsiteY74" fmla="*/ 254794 h 426434"/>
                  <a:gd name="connsiteX75" fmla="*/ 500539 w 3371374"/>
                  <a:gd name="connsiteY75" fmla="*/ 260890 h 426434"/>
                  <a:gd name="connsiteX76" fmla="*/ 536257 w 3371374"/>
                  <a:gd name="connsiteY76" fmla="*/ 260890 h 426434"/>
                  <a:gd name="connsiteX77" fmla="*/ 536257 w 3371374"/>
                  <a:gd name="connsiteY77" fmla="*/ 266986 h 426434"/>
                  <a:gd name="connsiteX78" fmla="*/ 651986 w 3371374"/>
                  <a:gd name="connsiteY78" fmla="*/ 266986 h 426434"/>
                  <a:gd name="connsiteX79" fmla="*/ 651986 w 3371374"/>
                  <a:gd name="connsiteY79" fmla="*/ 272987 h 426434"/>
                  <a:gd name="connsiteX80" fmla="*/ 689800 w 3371374"/>
                  <a:gd name="connsiteY80" fmla="*/ 272987 h 426434"/>
                  <a:gd name="connsiteX81" fmla="*/ 689800 w 3371374"/>
                  <a:gd name="connsiteY81" fmla="*/ 279178 h 426434"/>
                  <a:gd name="connsiteX82" fmla="*/ 742378 w 3371374"/>
                  <a:gd name="connsiteY82" fmla="*/ 279178 h 426434"/>
                  <a:gd name="connsiteX83" fmla="*/ 742378 w 3371374"/>
                  <a:gd name="connsiteY83" fmla="*/ 285274 h 426434"/>
                  <a:gd name="connsiteX84" fmla="*/ 761333 w 3371374"/>
                  <a:gd name="connsiteY84" fmla="*/ 285274 h 426434"/>
                  <a:gd name="connsiteX85" fmla="*/ 761333 w 3371374"/>
                  <a:gd name="connsiteY85" fmla="*/ 291370 h 426434"/>
                  <a:gd name="connsiteX86" fmla="*/ 771811 w 3371374"/>
                  <a:gd name="connsiteY86" fmla="*/ 291370 h 426434"/>
                  <a:gd name="connsiteX87" fmla="*/ 771811 w 3371374"/>
                  <a:gd name="connsiteY87" fmla="*/ 297561 h 426434"/>
                  <a:gd name="connsiteX88" fmla="*/ 805529 w 3371374"/>
                  <a:gd name="connsiteY88" fmla="*/ 297561 h 426434"/>
                  <a:gd name="connsiteX89" fmla="*/ 805529 w 3371374"/>
                  <a:gd name="connsiteY89" fmla="*/ 303657 h 426434"/>
                  <a:gd name="connsiteX90" fmla="*/ 811816 w 3371374"/>
                  <a:gd name="connsiteY90" fmla="*/ 303657 h 426434"/>
                  <a:gd name="connsiteX91" fmla="*/ 811816 w 3371374"/>
                  <a:gd name="connsiteY91" fmla="*/ 309753 h 426434"/>
                  <a:gd name="connsiteX92" fmla="*/ 826484 w 3371374"/>
                  <a:gd name="connsiteY92" fmla="*/ 309753 h 426434"/>
                  <a:gd name="connsiteX93" fmla="*/ 826484 w 3371374"/>
                  <a:gd name="connsiteY93" fmla="*/ 315849 h 426434"/>
                  <a:gd name="connsiteX94" fmla="*/ 839152 w 3371374"/>
                  <a:gd name="connsiteY94" fmla="*/ 315849 h 426434"/>
                  <a:gd name="connsiteX95" fmla="*/ 839152 w 3371374"/>
                  <a:gd name="connsiteY95" fmla="*/ 322040 h 426434"/>
                  <a:gd name="connsiteX96" fmla="*/ 864394 w 3371374"/>
                  <a:gd name="connsiteY96" fmla="*/ 322040 h 426434"/>
                  <a:gd name="connsiteX97" fmla="*/ 864394 w 3371374"/>
                  <a:gd name="connsiteY97" fmla="*/ 328136 h 426434"/>
                  <a:gd name="connsiteX98" fmla="*/ 1093660 w 3371374"/>
                  <a:gd name="connsiteY98" fmla="*/ 328136 h 426434"/>
                  <a:gd name="connsiteX99" fmla="*/ 1093660 w 3371374"/>
                  <a:gd name="connsiteY99" fmla="*/ 334328 h 426434"/>
                  <a:gd name="connsiteX100" fmla="*/ 1207198 w 3371374"/>
                  <a:gd name="connsiteY100" fmla="*/ 334328 h 426434"/>
                  <a:gd name="connsiteX101" fmla="*/ 1207198 w 3371374"/>
                  <a:gd name="connsiteY101" fmla="*/ 340519 h 426434"/>
                  <a:gd name="connsiteX102" fmla="*/ 1476375 w 3371374"/>
                  <a:gd name="connsiteY102" fmla="*/ 340519 h 426434"/>
                  <a:gd name="connsiteX103" fmla="*/ 1476375 w 3371374"/>
                  <a:gd name="connsiteY103" fmla="*/ 346805 h 426434"/>
                  <a:gd name="connsiteX104" fmla="*/ 1550003 w 3371374"/>
                  <a:gd name="connsiteY104" fmla="*/ 346805 h 426434"/>
                  <a:gd name="connsiteX105" fmla="*/ 1550003 w 3371374"/>
                  <a:gd name="connsiteY105" fmla="*/ 353092 h 426434"/>
                  <a:gd name="connsiteX106" fmla="*/ 1629918 w 3371374"/>
                  <a:gd name="connsiteY106" fmla="*/ 353092 h 426434"/>
                  <a:gd name="connsiteX107" fmla="*/ 1629918 w 3371374"/>
                  <a:gd name="connsiteY107" fmla="*/ 359378 h 426434"/>
                  <a:gd name="connsiteX108" fmla="*/ 1791843 w 3371374"/>
                  <a:gd name="connsiteY108" fmla="*/ 359378 h 426434"/>
                  <a:gd name="connsiteX109" fmla="*/ 1791843 w 3371374"/>
                  <a:gd name="connsiteY109" fmla="*/ 365855 h 426434"/>
                  <a:gd name="connsiteX110" fmla="*/ 1808702 w 3371374"/>
                  <a:gd name="connsiteY110" fmla="*/ 365855 h 426434"/>
                  <a:gd name="connsiteX111" fmla="*/ 1808702 w 3371374"/>
                  <a:gd name="connsiteY111" fmla="*/ 372237 h 426434"/>
                  <a:gd name="connsiteX112" fmla="*/ 1926526 w 3371374"/>
                  <a:gd name="connsiteY112" fmla="*/ 372237 h 426434"/>
                  <a:gd name="connsiteX113" fmla="*/ 1926526 w 3371374"/>
                  <a:gd name="connsiteY113" fmla="*/ 378714 h 426434"/>
                  <a:gd name="connsiteX114" fmla="*/ 2019014 w 3371374"/>
                  <a:gd name="connsiteY114" fmla="*/ 378714 h 426434"/>
                  <a:gd name="connsiteX115" fmla="*/ 2019014 w 3371374"/>
                  <a:gd name="connsiteY115" fmla="*/ 385096 h 426434"/>
                  <a:gd name="connsiteX116" fmla="*/ 2037969 w 3371374"/>
                  <a:gd name="connsiteY116" fmla="*/ 385096 h 426434"/>
                  <a:gd name="connsiteX117" fmla="*/ 2037969 w 3371374"/>
                  <a:gd name="connsiteY117" fmla="*/ 391573 h 426434"/>
                  <a:gd name="connsiteX118" fmla="*/ 2891790 w 3371374"/>
                  <a:gd name="connsiteY118" fmla="*/ 391573 h 426434"/>
                  <a:gd name="connsiteX119" fmla="*/ 2891790 w 3371374"/>
                  <a:gd name="connsiteY119" fmla="*/ 426434 h 426434"/>
                  <a:gd name="connsiteX120" fmla="*/ 3371374 w 3371374"/>
                  <a:gd name="connsiteY120" fmla="*/ 426434 h 426434"/>
                  <a:gd name="connsiteX0" fmla="*/ 0 w 3371374"/>
                  <a:gd name="connsiteY0" fmla="*/ 0 h 426434"/>
                  <a:gd name="connsiteX1" fmla="*/ 0 w 3371374"/>
                  <a:gd name="connsiteY1" fmla="*/ 6096 h 426434"/>
                  <a:gd name="connsiteX2" fmla="*/ 8382 w 3371374"/>
                  <a:gd name="connsiteY2" fmla="*/ 12192 h 426434"/>
                  <a:gd name="connsiteX3" fmla="*/ 10477 w 3371374"/>
                  <a:gd name="connsiteY3" fmla="*/ 12192 h 426434"/>
                  <a:gd name="connsiteX4" fmla="*/ 10477 w 3371374"/>
                  <a:gd name="connsiteY4" fmla="*/ 18193 h 426434"/>
                  <a:gd name="connsiteX5" fmla="*/ 25241 w 3371374"/>
                  <a:gd name="connsiteY5" fmla="*/ 18193 h 426434"/>
                  <a:gd name="connsiteX6" fmla="*/ 25241 w 3371374"/>
                  <a:gd name="connsiteY6" fmla="*/ 30385 h 426434"/>
                  <a:gd name="connsiteX7" fmla="*/ 27337 w 3371374"/>
                  <a:gd name="connsiteY7" fmla="*/ 30385 h 426434"/>
                  <a:gd name="connsiteX8" fmla="*/ 27337 w 3371374"/>
                  <a:gd name="connsiteY8" fmla="*/ 36386 h 426434"/>
                  <a:gd name="connsiteX9" fmla="*/ 33623 w 3371374"/>
                  <a:gd name="connsiteY9" fmla="*/ 36386 h 426434"/>
                  <a:gd name="connsiteX10" fmla="*/ 33623 w 3371374"/>
                  <a:gd name="connsiteY10" fmla="*/ 42482 h 426434"/>
                  <a:gd name="connsiteX11" fmla="*/ 37814 w 3371374"/>
                  <a:gd name="connsiteY11" fmla="*/ 42482 h 426434"/>
                  <a:gd name="connsiteX12" fmla="*/ 37814 w 3371374"/>
                  <a:gd name="connsiteY12" fmla="*/ 48578 h 426434"/>
                  <a:gd name="connsiteX13" fmla="*/ 54673 w 3371374"/>
                  <a:gd name="connsiteY13" fmla="*/ 48578 h 426434"/>
                  <a:gd name="connsiteX14" fmla="*/ 54673 w 3371374"/>
                  <a:gd name="connsiteY14" fmla="*/ 60674 h 426434"/>
                  <a:gd name="connsiteX15" fmla="*/ 58864 w 3371374"/>
                  <a:gd name="connsiteY15" fmla="*/ 60674 h 426434"/>
                  <a:gd name="connsiteX16" fmla="*/ 58864 w 3371374"/>
                  <a:gd name="connsiteY16" fmla="*/ 66770 h 426434"/>
                  <a:gd name="connsiteX17" fmla="*/ 82010 w 3371374"/>
                  <a:gd name="connsiteY17" fmla="*/ 66770 h 426434"/>
                  <a:gd name="connsiteX18" fmla="*/ 82010 w 3371374"/>
                  <a:gd name="connsiteY18" fmla="*/ 72866 h 426434"/>
                  <a:gd name="connsiteX19" fmla="*/ 86201 w 3371374"/>
                  <a:gd name="connsiteY19" fmla="*/ 72866 h 426434"/>
                  <a:gd name="connsiteX20" fmla="*/ 86201 w 3371374"/>
                  <a:gd name="connsiteY20" fmla="*/ 78867 h 426434"/>
                  <a:gd name="connsiteX21" fmla="*/ 92488 w 3371374"/>
                  <a:gd name="connsiteY21" fmla="*/ 78867 h 426434"/>
                  <a:gd name="connsiteX22" fmla="*/ 92488 w 3371374"/>
                  <a:gd name="connsiteY22" fmla="*/ 91059 h 426434"/>
                  <a:gd name="connsiteX23" fmla="*/ 111442 w 3371374"/>
                  <a:gd name="connsiteY23" fmla="*/ 91059 h 426434"/>
                  <a:gd name="connsiteX24" fmla="*/ 111442 w 3371374"/>
                  <a:gd name="connsiteY24" fmla="*/ 97060 h 426434"/>
                  <a:gd name="connsiteX25" fmla="*/ 119824 w 3371374"/>
                  <a:gd name="connsiteY25" fmla="*/ 97060 h 426434"/>
                  <a:gd name="connsiteX26" fmla="*/ 119824 w 3371374"/>
                  <a:gd name="connsiteY26" fmla="*/ 103156 h 426434"/>
                  <a:gd name="connsiteX27" fmla="*/ 132493 w 3371374"/>
                  <a:gd name="connsiteY27" fmla="*/ 103156 h 426434"/>
                  <a:gd name="connsiteX28" fmla="*/ 132493 w 3371374"/>
                  <a:gd name="connsiteY28" fmla="*/ 109252 h 426434"/>
                  <a:gd name="connsiteX29" fmla="*/ 149352 w 3371374"/>
                  <a:gd name="connsiteY29" fmla="*/ 109252 h 426434"/>
                  <a:gd name="connsiteX30" fmla="*/ 149352 w 3371374"/>
                  <a:gd name="connsiteY30" fmla="*/ 115253 h 426434"/>
                  <a:gd name="connsiteX31" fmla="*/ 176689 w 3371374"/>
                  <a:gd name="connsiteY31" fmla="*/ 115253 h 426434"/>
                  <a:gd name="connsiteX32" fmla="*/ 176689 w 3371374"/>
                  <a:gd name="connsiteY32" fmla="*/ 121349 h 426434"/>
                  <a:gd name="connsiteX33" fmla="*/ 178784 w 3371374"/>
                  <a:gd name="connsiteY33" fmla="*/ 121349 h 426434"/>
                  <a:gd name="connsiteX34" fmla="*/ 178784 w 3371374"/>
                  <a:gd name="connsiteY34" fmla="*/ 127445 h 426434"/>
                  <a:gd name="connsiteX35" fmla="*/ 189261 w 3371374"/>
                  <a:gd name="connsiteY35" fmla="*/ 127445 h 426434"/>
                  <a:gd name="connsiteX36" fmla="*/ 189261 w 3371374"/>
                  <a:gd name="connsiteY36" fmla="*/ 133445 h 426434"/>
                  <a:gd name="connsiteX37" fmla="*/ 195548 w 3371374"/>
                  <a:gd name="connsiteY37" fmla="*/ 133445 h 426434"/>
                  <a:gd name="connsiteX38" fmla="*/ 195548 w 3371374"/>
                  <a:gd name="connsiteY38" fmla="*/ 145637 h 426434"/>
                  <a:gd name="connsiteX39" fmla="*/ 204025 w 3371374"/>
                  <a:gd name="connsiteY39" fmla="*/ 145637 h 426434"/>
                  <a:gd name="connsiteX40" fmla="*/ 204025 w 3371374"/>
                  <a:gd name="connsiteY40" fmla="*/ 151638 h 426434"/>
                  <a:gd name="connsiteX41" fmla="*/ 210312 w 3371374"/>
                  <a:gd name="connsiteY41" fmla="*/ 151638 h 426434"/>
                  <a:gd name="connsiteX42" fmla="*/ 210312 w 3371374"/>
                  <a:gd name="connsiteY42" fmla="*/ 163830 h 426434"/>
                  <a:gd name="connsiteX43" fmla="*/ 212407 w 3371374"/>
                  <a:gd name="connsiteY43" fmla="*/ 163830 h 426434"/>
                  <a:gd name="connsiteX44" fmla="*/ 212407 w 3371374"/>
                  <a:gd name="connsiteY44" fmla="*/ 169926 h 426434"/>
                  <a:gd name="connsiteX45" fmla="*/ 224980 w 3371374"/>
                  <a:gd name="connsiteY45" fmla="*/ 169926 h 426434"/>
                  <a:gd name="connsiteX46" fmla="*/ 224980 w 3371374"/>
                  <a:gd name="connsiteY46" fmla="*/ 175927 h 426434"/>
                  <a:gd name="connsiteX47" fmla="*/ 248126 w 3371374"/>
                  <a:gd name="connsiteY47" fmla="*/ 175927 h 426434"/>
                  <a:gd name="connsiteX48" fmla="*/ 248126 w 3371374"/>
                  <a:gd name="connsiteY48" fmla="*/ 182023 h 426434"/>
                  <a:gd name="connsiteX49" fmla="*/ 254508 w 3371374"/>
                  <a:gd name="connsiteY49" fmla="*/ 182023 h 426434"/>
                  <a:gd name="connsiteX50" fmla="*/ 254508 w 3371374"/>
                  <a:gd name="connsiteY50" fmla="*/ 188119 h 426434"/>
                  <a:gd name="connsiteX51" fmla="*/ 262890 w 3371374"/>
                  <a:gd name="connsiteY51" fmla="*/ 188119 h 426434"/>
                  <a:gd name="connsiteX52" fmla="*/ 262890 w 3371374"/>
                  <a:gd name="connsiteY52" fmla="*/ 194120 h 426434"/>
                  <a:gd name="connsiteX53" fmla="*/ 271272 w 3371374"/>
                  <a:gd name="connsiteY53" fmla="*/ 194120 h 426434"/>
                  <a:gd name="connsiteX54" fmla="*/ 271272 w 3371374"/>
                  <a:gd name="connsiteY54" fmla="*/ 200216 h 426434"/>
                  <a:gd name="connsiteX55" fmla="*/ 275463 w 3371374"/>
                  <a:gd name="connsiteY55" fmla="*/ 200216 h 426434"/>
                  <a:gd name="connsiteX56" fmla="*/ 275463 w 3371374"/>
                  <a:gd name="connsiteY56" fmla="*/ 206312 h 426434"/>
                  <a:gd name="connsiteX57" fmla="*/ 349091 w 3371374"/>
                  <a:gd name="connsiteY57" fmla="*/ 206312 h 426434"/>
                  <a:gd name="connsiteX58" fmla="*/ 349091 w 3371374"/>
                  <a:gd name="connsiteY58" fmla="*/ 212312 h 426434"/>
                  <a:gd name="connsiteX59" fmla="*/ 370141 w 3371374"/>
                  <a:gd name="connsiteY59" fmla="*/ 212312 h 426434"/>
                  <a:gd name="connsiteX60" fmla="*/ 370141 w 3371374"/>
                  <a:gd name="connsiteY60" fmla="*/ 218408 h 426434"/>
                  <a:gd name="connsiteX61" fmla="*/ 376428 w 3371374"/>
                  <a:gd name="connsiteY61" fmla="*/ 218408 h 426434"/>
                  <a:gd name="connsiteX62" fmla="*/ 376428 w 3371374"/>
                  <a:gd name="connsiteY62" fmla="*/ 224504 h 426434"/>
                  <a:gd name="connsiteX63" fmla="*/ 418528 w 3371374"/>
                  <a:gd name="connsiteY63" fmla="*/ 224504 h 426434"/>
                  <a:gd name="connsiteX64" fmla="*/ 418528 w 3371374"/>
                  <a:gd name="connsiteY64" fmla="*/ 230505 h 426434"/>
                  <a:gd name="connsiteX65" fmla="*/ 433197 w 3371374"/>
                  <a:gd name="connsiteY65" fmla="*/ 230505 h 426434"/>
                  <a:gd name="connsiteX66" fmla="*/ 433197 w 3371374"/>
                  <a:gd name="connsiteY66" fmla="*/ 236601 h 426434"/>
                  <a:gd name="connsiteX67" fmla="*/ 462724 w 3371374"/>
                  <a:gd name="connsiteY67" fmla="*/ 236601 h 426434"/>
                  <a:gd name="connsiteX68" fmla="*/ 462724 w 3371374"/>
                  <a:gd name="connsiteY68" fmla="*/ 242697 h 426434"/>
                  <a:gd name="connsiteX69" fmla="*/ 464820 w 3371374"/>
                  <a:gd name="connsiteY69" fmla="*/ 242697 h 426434"/>
                  <a:gd name="connsiteX70" fmla="*/ 464820 w 3371374"/>
                  <a:gd name="connsiteY70" fmla="*/ 248698 h 426434"/>
                  <a:gd name="connsiteX71" fmla="*/ 487870 w 3371374"/>
                  <a:gd name="connsiteY71" fmla="*/ 248698 h 426434"/>
                  <a:gd name="connsiteX72" fmla="*/ 487870 w 3371374"/>
                  <a:gd name="connsiteY72" fmla="*/ 254794 h 426434"/>
                  <a:gd name="connsiteX73" fmla="*/ 500539 w 3371374"/>
                  <a:gd name="connsiteY73" fmla="*/ 254794 h 426434"/>
                  <a:gd name="connsiteX74" fmla="*/ 500539 w 3371374"/>
                  <a:gd name="connsiteY74" fmla="*/ 260890 h 426434"/>
                  <a:gd name="connsiteX75" fmla="*/ 536257 w 3371374"/>
                  <a:gd name="connsiteY75" fmla="*/ 260890 h 426434"/>
                  <a:gd name="connsiteX76" fmla="*/ 536257 w 3371374"/>
                  <a:gd name="connsiteY76" fmla="*/ 266986 h 426434"/>
                  <a:gd name="connsiteX77" fmla="*/ 651986 w 3371374"/>
                  <a:gd name="connsiteY77" fmla="*/ 266986 h 426434"/>
                  <a:gd name="connsiteX78" fmla="*/ 651986 w 3371374"/>
                  <a:gd name="connsiteY78" fmla="*/ 272987 h 426434"/>
                  <a:gd name="connsiteX79" fmla="*/ 689800 w 3371374"/>
                  <a:gd name="connsiteY79" fmla="*/ 272987 h 426434"/>
                  <a:gd name="connsiteX80" fmla="*/ 689800 w 3371374"/>
                  <a:gd name="connsiteY80" fmla="*/ 279178 h 426434"/>
                  <a:gd name="connsiteX81" fmla="*/ 742378 w 3371374"/>
                  <a:gd name="connsiteY81" fmla="*/ 279178 h 426434"/>
                  <a:gd name="connsiteX82" fmla="*/ 742378 w 3371374"/>
                  <a:gd name="connsiteY82" fmla="*/ 285274 h 426434"/>
                  <a:gd name="connsiteX83" fmla="*/ 761333 w 3371374"/>
                  <a:gd name="connsiteY83" fmla="*/ 285274 h 426434"/>
                  <a:gd name="connsiteX84" fmla="*/ 761333 w 3371374"/>
                  <a:gd name="connsiteY84" fmla="*/ 291370 h 426434"/>
                  <a:gd name="connsiteX85" fmla="*/ 771811 w 3371374"/>
                  <a:gd name="connsiteY85" fmla="*/ 291370 h 426434"/>
                  <a:gd name="connsiteX86" fmla="*/ 771811 w 3371374"/>
                  <a:gd name="connsiteY86" fmla="*/ 297561 h 426434"/>
                  <a:gd name="connsiteX87" fmla="*/ 805529 w 3371374"/>
                  <a:gd name="connsiteY87" fmla="*/ 297561 h 426434"/>
                  <a:gd name="connsiteX88" fmla="*/ 805529 w 3371374"/>
                  <a:gd name="connsiteY88" fmla="*/ 303657 h 426434"/>
                  <a:gd name="connsiteX89" fmla="*/ 811816 w 3371374"/>
                  <a:gd name="connsiteY89" fmla="*/ 303657 h 426434"/>
                  <a:gd name="connsiteX90" fmla="*/ 811816 w 3371374"/>
                  <a:gd name="connsiteY90" fmla="*/ 309753 h 426434"/>
                  <a:gd name="connsiteX91" fmla="*/ 826484 w 3371374"/>
                  <a:gd name="connsiteY91" fmla="*/ 309753 h 426434"/>
                  <a:gd name="connsiteX92" fmla="*/ 826484 w 3371374"/>
                  <a:gd name="connsiteY92" fmla="*/ 315849 h 426434"/>
                  <a:gd name="connsiteX93" fmla="*/ 839152 w 3371374"/>
                  <a:gd name="connsiteY93" fmla="*/ 315849 h 426434"/>
                  <a:gd name="connsiteX94" fmla="*/ 839152 w 3371374"/>
                  <a:gd name="connsiteY94" fmla="*/ 322040 h 426434"/>
                  <a:gd name="connsiteX95" fmla="*/ 864394 w 3371374"/>
                  <a:gd name="connsiteY95" fmla="*/ 322040 h 426434"/>
                  <a:gd name="connsiteX96" fmla="*/ 864394 w 3371374"/>
                  <a:gd name="connsiteY96" fmla="*/ 328136 h 426434"/>
                  <a:gd name="connsiteX97" fmla="*/ 1093660 w 3371374"/>
                  <a:gd name="connsiteY97" fmla="*/ 328136 h 426434"/>
                  <a:gd name="connsiteX98" fmla="*/ 1093660 w 3371374"/>
                  <a:gd name="connsiteY98" fmla="*/ 334328 h 426434"/>
                  <a:gd name="connsiteX99" fmla="*/ 1207198 w 3371374"/>
                  <a:gd name="connsiteY99" fmla="*/ 334328 h 426434"/>
                  <a:gd name="connsiteX100" fmla="*/ 1207198 w 3371374"/>
                  <a:gd name="connsiteY100" fmla="*/ 340519 h 426434"/>
                  <a:gd name="connsiteX101" fmla="*/ 1476375 w 3371374"/>
                  <a:gd name="connsiteY101" fmla="*/ 340519 h 426434"/>
                  <a:gd name="connsiteX102" fmla="*/ 1476375 w 3371374"/>
                  <a:gd name="connsiteY102" fmla="*/ 346805 h 426434"/>
                  <a:gd name="connsiteX103" fmla="*/ 1550003 w 3371374"/>
                  <a:gd name="connsiteY103" fmla="*/ 346805 h 426434"/>
                  <a:gd name="connsiteX104" fmla="*/ 1550003 w 3371374"/>
                  <a:gd name="connsiteY104" fmla="*/ 353092 h 426434"/>
                  <a:gd name="connsiteX105" fmla="*/ 1629918 w 3371374"/>
                  <a:gd name="connsiteY105" fmla="*/ 353092 h 426434"/>
                  <a:gd name="connsiteX106" fmla="*/ 1629918 w 3371374"/>
                  <a:gd name="connsiteY106" fmla="*/ 359378 h 426434"/>
                  <a:gd name="connsiteX107" fmla="*/ 1791843 w 3371374"/>
                  <a:gd name="connsiteY107" fmla="*/ 359378 h 426434"/>
                  <a:gd name="connsiteX108" fmla="*/ 1791843 w 3371374"/>
                  <a:gd name="connsiteY108" fmla="*/ 365855 h 426434"/>
                  <a:gd name="connsiteX109" fmla="*/ 1808702 w 3371374"/>
                  <a:gd name="connsiteY109" fmla="*/ 365855 h 426434"/>
                  <a:gd name="connsiteX110" fmla="*/ 1808702 w 3371374"/>
                  <a:gd name="connsiteY110" fmla="*/ 372237 h 426434"/>
                  <a:gd name="connsiteX111" fmla="*/ 1926526 w 3371374"/>
                  <a:gd name="connsiteY111" fmla="*/ 372237 h 426434"/>
                  <a:gd name="connsiteX112" fmla="*/ 1926526 w 3371374"/>
                  <a:gd name="connsiteY112" fmla="*/ 378714 h 426434"/>
                  <a:gd name="connsiteX113" fmla="*/ 2019014 w 3371374"/>
                  <a:gd name="connsiteY113" fmla="*/ 378714 h 426434"/>
                  <a:gd name="connsiteX114" fmla="*/ 2019014 w 3371374"/>
                  <a:gd name="connsiteY114" fmla="*/ 385096 h 426434"/>
                  <a:gd name="connsiteX115" fmla="*/ 2037969 w 3371374"/>
                  <a:gd name="connsiteY115" fmla="*/ 385096 h 426434"/>
                  <a:gd name="connsiteX116" fmla="*/ 2037969 w 3371374"/>
                  <a:gd name="connsiteY116" fmla="*/ 391573 h 426434"/>
                  <a:gd name="connsiteX117" fmla="*/ 2891790 w 3371374"/>
                  <a:gd name="connsiteY117" fmla="*/ 391573 h 426434"/>
                  <a:gd name="connsiteX118" fmla="*/ 2891790 w 3371374"/>
                  <a:gd name="connsiteY118" fmla="*/ 426434 h 426434"/>
                  <a:gd name="connsiteX119" fmla="*/ 3371374 w 3371374"/>
                  <a:gd name="connsiteY119" fmla="*/ 426434 h 426434"/>
                  <a:gd name="connsiteX0" fmla="*/ 0 w 3371374"/>
                  <a:gd name="connsiteY0" fmla="*/ 0 h 420338"/>
                  <a:gd name="connsiteX1" fmla="*/ 8382 w 3371374"/>
                  <a:gd name="connsiteY1" fmla="*/ 6096 h 420338"/>
                  <a:gd name="connsiteX2" fmla="*/ 10477 w 3371374"/>
                  <a:gd name="connsiteY2" fmla="*/ 6096 h 420338"/>
                  <a:gd name="connsiteX3" fmla="*/ 10477 w 3371374"/>
                  <a:gd name="connsiteY3" fmla="*/ 12097 h 420338"/>
                  <a:gd name="connsiteX4" fmla="*/ 25241 w 3371374"/>
                  <a:gd name="connsiteY4" fmla="*/ 12097 h 420338"/>
                  <a:gd name="connsiteX5" fmla="*/ 25241 w 3371374"/>
                  <a:gd name="connsiteY5" fmla="*/ 24289 h 420338"/>
                  <a:gd name="connsiteX6" fmla="*/ 27337 w 3371374"/>
                  <a:gd name="connsiteY6" fmla="*/ 24289 h 420338"/>
                  <a:gd name="connsiteX7" fmla="*/ 27337 w 3371374"/>
                  <a:gd name="connsiteY7" fmla="*/ 30290 h 420338"/>
                  <a:gd name="connsiteX8" fmla="*/ 33623 w 3371374"/>
                  <a:gd name="connsiteY8" fmla="*/ 30290 h 420338"/>
                  <a:gd name="connsiteX9" fmla="*/ 33623 w 3371374"/>
                  <a:gd name="connsiteY9" fmla="*/ 36386 h 420338"/>
                  <a:gd name="connsiteX10" fmla="*/ 37814 w 3371374"/>
                  <a:gd name="connsiteY10" fmla="*/ 36386 h 420338"/>
                  <a:gd name="connsiteX11" fmla="*/ 37814 w 3371374"/>
                  <a:gd name="connsiteY11" fmla="*/ 42482 h 420338"/>
                  <a:gd name="connsiteX12" fmla="*/ 54673 w 3371374"/>
                  <a:gd name="connsiteY12" fmla="*/ 42482 h 420338"/>
                  <a:gd name="connsiteX13" fmla="*/ 54673 w 3371374"/>
                  <a:gd name="connsiteY13" fmla="*/ 54578 h 420338"/>
                  <a:gd name="connsiteX14" fmla="*/ 58864 w 3371374"/>
                  <a:gd name="connsiteY14" fmla="*/ 54578 h 420338"/>
                  <a:gd name="connsiteX15" fmla="*/ 58864 w 3371374"/>
                  <a:gd name="connsiteY15" fmla="*/ 60674 h 420338"/>
                  <a:gd name="connsiteX16" fmla="*/ 82010 w 3371374"/>
                  <a:gd name="connsiteY16" fmla="*/ 60674 h 420338"/>
                  <a:gd name="connsiteX17" fmla="*/ 82010 w 3371374"/>
                  <a:gd name="connsiteY17" fmla="*/ 66770 h 420338"/>
                  <a:gd name="connsiteX18" fmla="*/ 86201 w 3371374"/>
                  <a:gd name="connsiteY18" fmla="*/ 66770 h 420338"/>
                  <a:gd name="connsiteX19" fmla="*/ 86201 w 3371374"/>
                  <a:gd name="connsiteY19" fmla="*/ 72771 h 420338"/>
                  <a:gd name="connsiteX20" fmla="*/ 92488 w 3371374"/>
                  <a:gd name="connsiteY20" fmla="*/ 72771 h 420338"/>
                  <a:gd name="connsiteX21" fmla="*/ 92488 w 3371374"/>
                  <a:gd name="connsiteY21" fmla="*/ 84963 h 420338"/>
                  <a:gd name="connsiteX22" fmla="*/ 111442 w 3371374"/>
                  <a:gd name="connsiteY22" fmla="*/ 84963 h 420338"/>
                  <a:gd name="connsiteX23" fmla="*/ 111442 w 3371374"/>
                  <a:gd name="connsiteY23" fmla="*/ 90964 h 420338"/>
                  <a:gd name="connsiteX24" fmla="*/ 119824 w 3371374"/>
                  <a:gd name="connsiteY24" fmla="*/ 90964 h 420338"/>
                  <a:gd name="connsiteX25" fmla="*/ 119824 w 3371374"/>
                  <a:gd name="connsiteY25" fmla="*/ 97060 h 420338"/>
                  <a:gd name="connsiteX26" fmla="*/ 132493 w 3371374"/>
                  <a:gd name="connsiteY26" fmla="*/ 97060 h 420338"/>
                  <a:gd name="connsiteX27" fmla="*/ 132493 w 3371374"/>
                  <a:gd name="connsiteY27" fmla="*/ 103156 h 420338"/>
                  <a:gd name="connsiteX28" fmla="*/ 149352 w 3371374"/>
                  <a:gd name="connsiteY28" fmla="*/ 103156 h 420338"/>
                  <a:gd name="connsiteX29" fmla="*/ 149352 w 3371374"/>
                  <a:gd name="connsiteY29" fmla="*/ 109157 h 420338"/>
                  <a:gd name="connsiteX30" fmla="*/ 176689 w 3371374"/>
                  <a:gd name="connsiteY30" fmla="*/ 109157 h 420338"/>
                  <a:gd name="connsiteX31" fmla="*/ 176689 w 3371374"/>
                  <a:gd name="connsiteY31" fmla="*/ 115253 h 420338"/>
                  <a:gd name="connsiteX32" fmla="*/ 178784 w 3371374"/>
                  <a:gd name="connsiteY32" fmla="*/ 115253 h 420338"/>
                  <a:gd name="connsiteX33" fmla="*/ 178784 w 3371374"/>
                  <a:gd name="connsiteY33" fmla="*/ 121349 h 420338"/>
                  <a:gd name="connsiteX34" fmla="*/ 189261 w 3371374"/>
                  <a:gd name="connsiteY34" fmla="*/ 121349 h 420338"/>
                  <a:gd name="connsiteX35" fmla="*/ 189261 w 3371374"/>
                  <a:gd name="connsiteY35" fmla="*/ 127349 h 420338"/>
                  <a:gd name="connsiteX36" fmla="*/ 195548 w 3371374"/>
                  <a:gd name="connsiteY36" fmla="*/ 127349 h 420338"/>
                  <a:gd name="connsiteX37" fmla="*/ 195548 w 3371374"/>
                  <a:gd name="connsiteY37" fmla="*/ 139541 h 420338"/>
                  <a:gd name="connsiteX38" fmla="*/ 204025 w 3371374"/>
                  <a:gd name="connsiteY38" fmla="*/ 139541 h 420338"/>
                  <a:gd name="connsiteX39" fmla="*/ 204025 w 3371374"/>
                  <a:gd name="connsiteY39" fmla="*/ 145542 h 420338"/>
                  <a:gd name="connsiteX40" fmla="*/ 210312 w 3371374"/>
                  <a:gd name="connsiteY40" fmla="*/ 145542 h 420338"/>
                  <a:gd name="connsiteX41" fmla="*/ 210312 w 3371374"/>
                  <a:gd name="connsiteY41" fmla="*/ 157734 h 420338"/>
                  <a:gd name="connsiteX42" fmla="*/ 212407 w 3371374"/>
                  <a:gd name="connsiteY42" fmla="*/ 157734 h 420338"/>
                  <a:gd name="connsiteX43" fmla="*/ 212407 w 3371374"/>
                  <a:gd name="connsiteY43" fmla="*/ 163830 h 420338"/>
                  <a:gd name="connsiteX44" fmla="*/ 224980 w 3371374"/>
                  <a:gd name="connsiteY44" fmla="*/ 163830 h 420338"/>
                  <a:gd name="connsiteX45" fmla="*/ 224980 w 3371374"/>
                  <a:gd name="connsiteY45" fmla="*/ 169831 h 420338"/>
                  <a:gd name="connsiteX46" fmla="*/ 248126 w 3371374"/>
                  <a:gd name="connsiteY46" fmla="*/ 169831 h 420338"/>
                  <a:gd name="connsiteX47" fmla="*/ 248126 w 3371374"/>
                  <a:gd name="connsiteY47" fmla="*/ 175927 h 420338"/>
                  <a:gd name="connsiteX48" fmla="*/ 254508 w 3371374"/>
                  <a:gd name="connsiteY48" fmla="*/ 175927 h 420338"/>
                  <a:gd name="connsiteX49" fmla="*/ 254508 w 3371374"/>
                  <a:gd name="connsiteY49" fmla="*/ 182023 h 420338"/>
                  <a:gd name="connsiteX50" fmla="*/ 262890 w 3371374"/>
                  <a:gd name="connsiteY50" fmla="*/ 182023 h 420338"/>
                  <a:gd name="connsiteX51" fmla="*/ 262890 w 3371374"/>
                  <a:gd name="connsiteY51" fmla="*/ 188024 h 420338"/>
                  <a:gd name="connsiteX52" fmla="*/ 271272 w 3371374"/>
                  <a:gd name="connsiteY52" fmla="*/ 188024 h 420338"/>
                  <a:gd name="connsiteX53" fmla="*/ 271272 w 3371374"/>
                  <a:gd name="connsiteY53" fmla="*/ 194120 h 420338"/>
                  <a:gd name="connsiteX54" fmla="*/ 275463 w 3371374"/>
                  <a:gd name="connsiteY54" fmla="*/ 194120 h 420338"/>
                  <a:gd name="connsiteX55" fmla="*/ 275463 w 3371374"/>
                  <a:gd name="connsiteY55" fmla="*/ 200216 h 420338"/>
                  <a:gd name="connsiteX56" fmla="*/ 349091 w 3371374"/>
                  <a:gd name="connsiteY56" fmla="*/ 200216 h 420338"/>
                  <a:gd name="connsiteX57" fmla="*/ 349091 w 3371374"/>
                  <a:gd name="connsiteY57" fmla="*/ 206216 h 420338"/>
                  <a:gd name="connsiteX58" fmla="*/ 370141 w 3371374"/>
                  <a:gd name="connsiteY58" fmla="*/ 206216 h 420338"/>
                  <a:gd name="connsiteX59" fmla="*/ 370141 w 3371374"/>
                  <a:gd name="connsiteY59" fmla="*/ 212312 h 420338"/>
                  <a:gd name="connsiteX60" fmla="*/ 376428 w 3371374"/>
                  <a:gd name="connsiteY60" fmla="*/ 212312 h 420338"/>
                  <a:gd name="connsiteX61" fmla="*/ 376428 w 3371374"/>
                  <a:gd name="connsiteY61" fmla="*/ 218408 h 420338"/>
                  <a:gd name="connsiteX62" fmla="*/ 418528 w 3371374"/>
                  <a:gd name="connsiteY62" fmla="*/ 218408 h 420338"/>
                  <a:gd name="connsiteX63" fmla="*/ 418528 w 3371374"/>
                  <a:gd name="connsiteY63" fmla="*/ 224409 h 420338"/>
                  <a:gd name="connsiteX64" fmla="*/ 433197 w 3371374"/>
                  <a:gd name="connsiteY64" fmla="*/ 224409 h 420338"/>
                  <a:gd name="connsiteX65" fmla="*/ 433197 w 3371374"/>
                  <a:gd name="connsiteY65" fmla="*/ 230505 h 420338"/>
                  <a:gd name="connsiteX66" fmla="*/ 462724 w 3371374"/>
                  <a:gd name="connsiteY66" fmla="*/ 230505 h 420338"/>
                  <a:gd name="connsiteX67" fmla="*/ 462724 w 3371374"/>
                  <a:gd name="connsiteY67" fmla="*/ 236601 h 420338"/>
                  <a:gd name="connsiteX68" fmla="*/ 464820 w 3371374"/>
                  <a:gd name="connsiteY68" fmla="*/ 236601 h 420338"/>
                  <a:gd name="connsiteX69" fmla="*/ 464820 w 3371374"/>
                  <a:gd name="connsiteY69" fmla="*/ 242602 h 420338"/>
                  <a:gd name="connsiteX70" fmla="*/ 487870 w 3371374"/>
                  <a:gd name="connsiteY70" fmla="*/ 242602 h 420338"/>
                  <a:gd name="connsiteX71" fmla="*/ 487870 w 3371374"/>
                  <a:gd name="connsiteY71" fmla="*/ 248698 h 420338"/>
                  <a:gd name="connsiteX72" fmla="*/ 500539 w 3371374"/>
                  <a:gd name="connsiteY72" fmla="*/ 248698 h 420338"/>
                  <a:gd name="connsiteX73" fmla="*/ 500539 w 3371374"/>
                  <a:gd name="connsiteY73" fmla="*/ 254794 h 420338"/>
                  <a:gd name="connsiteX74" fmla="*/ 536257 w 3371374"/>
                  <a:gd name="connsiteY74" fmla="*/ 254794 h 420338"/>
                  <a:gd name="connsiteX75" fmla="*/ 536257 w 3371374"/>
                  <a:gd name="connsiteY75" fmla="*/ 260890 h 420338"/>
                  <a:gd name="connsiteX76" fmla="*/ 651986 w 3371374"/>
                  <a:gd name="connsiteY76" fmla="*/ 260890 h 420338"/>
                  <a:gd name="connsiteX77" fmla="*/ 651986 w 3371374"/>
                  <a:gd name="connsiteY77" fmla="*/ 266891 h 420338"/>
                  <a:gd name="connsiteX78" fmla="*/ 689800 w 3371374"/>
                  <a:gd name="connsiteY78" fmla="*/ 266891 h 420338"/>
                  <a:gd name="connsiteX79" fmla="*/ 689800 w 3371374"/>
                  <a:gd name="connsiteY79" fmla="*/ 273082 h 420338"/>
                  <a:gd name="connsiteX80" fmla="*/ 742378 w 3371374"/>
                  <a:gd name="connsiteY80" fmla="*/ 273082 h 420338"/>
                  <a:gd name="connsiteX81" fmla="*/ 742378 w 3371374"/>
                  <a:gd name="connsiteY81" fmla="*/ 279178 h 420338"/>
                  <a:gd name="connsiteX82" fmla="*/ 761333 w 3371374"/>
                  <a:gd name="connsiteY82" fmla="*/ 279178 h 420338"/>
                  <a:gd name="connsiteX83" fmla="*/ 761333 w 3371374"/>
                  <a:gd name="connsiteY83" fmla="*/ 285274 h 420338"/>
                  <a:gd name="connsiteX84" fmla="*/ 771811 w 3371374"/>
                  <a:gd name="connsiteY84" fmla="*/ 285274 h 420338"/>
                  <a:gd name="connsiteX85" fmla="*/ 771811 w 3371374"/>
                  <a:gd name="connsiteY85" fmla="*/ 291465 h 420338"/>
                  <a:gd name="connsiteX86" fmla="*/ 805529 w 3371374"/>
                  <a:gd name="connsiteY86" fmla="*/ 291465 h 420338"/>
                  <a:gd name="connsiteX87" fmla="*/ 805529 w 3371374"/>
                  <a:gd name="connsiteY87" fmla="*/ 297561 h 420338"/>
                  <a:gd name="connsiteX88" fmla="*/ 811816 w 3371374"/>
                  <a:gd name="connsiteY88" fmla="*/ 297561 h 420338"/>
                  <a:gd name="connsiteX89" fmla="*/ 811816 w 3371374"/>
                  <a:gd name="connsiteY89" fmla="*/ 303657 h 420338"/>
                  <a:gd name="connsiteX90" fmla="*/ 826484 w 3371374"/>
                  <a:gd name="connsiteY90" fmla="*/ 303657 h 420338"/>
                  <a:gd name="connsiteX91" fmla="*/ 826484 w 3371374"/>
                  <a:gd name="connsiteY91" fmla="*/ 309753 h 420338"/>
                  <a:gd name="connsiteX92" fmla="*/ 839152 w 3371374"/>
                  <a:gd name="connsiteY92" fmla="*/ 309753 h 420338"/>
                  <a:gd name="connsiteX93" fmla="*/ 839152 w 3371374"/>
                  <a:gd name="connsiteY93" fmla="*/ 315944 h 420338"/>
                  <a:gd name="connsiteX94" fmla="*/ 864394 w 3371374"/>
                  <a:gd name="connsiteY94" fmla="*/ 315944 h 420338"/>
                  <a:gd name="connsiteX95" fmla="*/ 864394 w 3371374"/>
                  <a:gd name="connsiteY95" fmla="*/ 322040 h 420338"/>
                  <a:gd name="connsiteX96" fmla="*/ 1093660 w 3371374"/>
                  <a:gd name="connsiteY96" fmla="*/ 322040 h 420338"/>
                  <a:gd name="connsiteX97" fmla="*/ 1093660 w 3371374"/>
                  <a:gd name="connsiteY97" fmla="*/ 328232 h 420338"/>
                  <a:gd name="connsiteX98" fmla="*/ 1207198 w 3371374"/>
                  <a:gd name="connsiteY98" fmla="*/ 328232 h 420338"/>
                  <a:gd name="connsiteX99" fmla="*/ 1207198 w 3371374"/>
                  <a:gd name="connsiteY99" fmla="*/ 334423 h 420338"/>
                  <a:gd name="connsiteX100" fmla="*/ 1476375 w 3371374"/>
                  <a:gd name="connsiteY100" fmla="*/ 334423 h 420338"/>
                  <a:gd name="connsiteX101" fmla="*/ 1476375 w 3371374"/>
                  <a:gd name="connsiteY101" fmla="*/ 340709 h 420338"/>
                  <a:gd name="connsiteX102" fmla="*/ 1550003 w 3371374"/>
                  <a:gd name="connsiteY102" fmla="*/ 340709 h 420338"/>
                  <a:gd name="connsiteX103" fmla="*/ 1550003 w 3371374"/>
                  <a:gd name="connsiteY103" fmla="*/ 346996 h 420338"/>
                  <a:gd name="connsiteX104" fmla="*/ 1629918 w 3371374"/>
                  <a:gd name="connsiteY104" fmla="*/ 346996 h 420338"/>
                  <a:gd name="connsiteX105" fmla="*/ 1629918 w 3371374"/>
                  <a:gd name="connsiteY105" fmla="*/ 353282 h 420338"/>
                  <a:gd name="connsiteX106" fmla="*/ 1791843 w 3371374"/>
                  <a:gd name="connsiteY106" fmla="*/ 353282 h 420338"/>
                  <a:gd name="connsiteX107" fmla="*/ 1791843 w 3371374"/>
                  <a:gd name="connsiteY107" fmla="*/ 359759 h 420338"/>
                  <a:gd name="connsiteX108" fmla="*/ 1808702 w 3371374"/>
                  <a:gd name="connsiteY108" fmla="*/ 359759 h 420338"/>
                  <a:gd name="connsiteX109" fmla="*/ 1808702 w 3371374"/>
                  <a:gd name="connsiteY109" fmla="*/ 366141 h 420338"/>
                  <a:gd name="connsiteX110" fmla="*/ 1926526 w 3371374"/>
                  <a:gd name="connsiteY110" fmla="*/ 366141 h 420338"/>
                  <a:gd name="connsiteX111" fmla="*/ 1926526 w 3371374"/>
                  <a:gd name="connsiteY111" fmla="*/ 372618 h 420338"/>
                  <a:gd name="connsiteX112" fmla="*/ 2019014 w 3371374"/>
                  <a:gd name="connsiteY112" fmla="*/ 372618 h 420338"/>
                  <a:gd name="connsiteX113" fmla="*/ 2019014 w 3371374"/>
                  <a:gd name="connsiteY113" fmla="*/ 379000 h 420338"/>
                  <a:gd name="connsiteX114" fmla="*/ 2037969 w 3371374"/>
                  <a:gd name="connsiteY114" fmla="*/ 379000 h 420338"/>
                  <a:gd name="connsiteX115" fmla="*/ 2037969 w 3371374"/>
                  <a:gd name="connsiteY115" fmla="*/ 385477 h 420338"/>
                  <a:gd name="connsiteX116" fmla="*/ 2891790 w 3371374"/>
                  <a:gd name="connsiteY116" fmla="*/ 385477 h 420338"/>
                  <a:gd name="connsiteX117" fmla="*/ 2891790 w 3371374"/>
                  <a:gd name="connsiteY117" fmla="*/ 420338 h 420338"/>
                  <a:gd name="connsiteX118" fmla="*/ 3371374 w 3371374"/>
                  <a:gd name="connsiteY118" fmla="*/ 420338 h 420338"/>
                  <a:gd name="connsiteX0" fmla="*/ 0 w 3362992"/>
                  <a:gd name="connsiteY0" fmla="*/ 0 h 414242"/>
                  <a:gd name="connsiteX1" fmla="*/ 2095 w 3362992"/>
                  <a:gd name="connsiteY1" fmla="*/ 0 h 414242"/>
                  <a:gd name="connsiteX2" fmla="*/ 2095 w 3362992"/>
                  <a:gd name="connsiteY2" fmla="*/ 6001 h 414242"/>
                  <a:gd name="connsiteX3" fmla="*/ 16859 w 3362992"/>
                  <a:gd name="connsiteY3" fmla="*/ 6001 h 414242"/>
                  <a:gd name="connsiteX4" fmla="*/ 16859 w 3362992"/>
                  <a:gd name="connsiteY4" fmla="*/ 18193 h 414242"/>
                  <a:gd name="connsiteX5" fmla="*/ 18955 w 3362992"/>
                  <a:gd name="connsiteY5" fmla="*/ 18193 h 414242"/>
                  <a:gd name="connsiteX6" fmla="*/ 18955 w 3362992"/>
                  <a:gd name="connsiteY6" fmla="*/ 24194 h 414242"/>
                  <a:gd name="connsiteX7" fmla="*/ 25241 w 3362992"/>
                  <a:gd name="connsiteY7" fmla="*/ 24194 h 414242"/>
                  <a:gd name="connsiteX8" fmla="*/ 25241 w 3362992"/>
                  <a:gd name="connsiteY8" fmla="*/ 30290 h 414242"/>
                  <a:gd name="connsiteX9" fmla="*/ 29432 w 3362992"/>
                  <a:gd name="connsiteY9" fmla="*/ 30290 h 414242"/>
                  <a:gd name="connsiteX10" fmla="*/ 29432 w 3362992"/>
                  <a:gd name="connsiteY10" fmla="*/ 36386 h 414242"/>
                  <a:gd name="connsiteX11" fmla="*/ 46291 w 3362992"/>
                  <a:gd name="connsiteY11" fmla="*/ 36386 h 414242"/>
                  <a:gd name="connsiteX12" fmla="*/ 46291 w 3362992"/>
                  <a:gd name="connsiteY12" fmla="*/ 48482 h 414242"/>
                  <a:gd name="connsiteX13" fmla="*/ 50482 w 3362992"/>
                  <a:gd name="connsiteY13" fmla="*/ 48482 h 414242"/>
                  <a:gd name="connsiteX14" fmla="*/ 50482 w 3362992"/>
                  <a:gd name="connsiteY14" fmla="*/ 54578 h 414242"/>
                  <a:gd name="connsiteX15" fmla="*/ 73628 w 3362992"/>
                  <a:gd name="connsiteY15" fmla="*/ 54578 h 414242"/>
                  <a:gd name="connsiteX16" fmla="*/ 73628 w 3362992"/>
                  <a:gd name="connsiteY16" fmla="*/ 60674 h 414242"/>
                  <a:gd name="connsiteX17" fmla="*/ 77819 w 3362992"/>
                  <a:gd name="connsiteY17" fmla="*/ 60674 h 414242"/>
                  <a:gd name="connsiteX18" fmla="*/ 77819 w 3362992"/>
                  <a:gd name="connsiteY18" fmla="*/ 66675 h 414242"/>
                  <a:gd name="connsiteX19" fmla="*/ 84106 w 3362992"/>
                  <a:gd name="connsiteY19" fmla="*/ 66675 h 414242"/>
                  <a:gd name="connsiteX20" fmla="*/ 84106 w 3362992"/>
                  <a:gd name="connsiteY20" fmla="*/ 78867 h 414242"/>
                  <a:gd name="connsiteX21" fmla="*/ 103060 w 3362992"/>
                  <a:gd name="connsiteY21" fmla="*/ 78867 h 414242"/>
                  <a:gd name="connsiteX22" fmla="*/ 103060 w 3362992"/>
                  <a:gd name="connsiteY22" fmla="*/ 84868 h 414242"/>
                  <a:gd name="connsiteX23" fmla="*/ 111442 w 3362992"/>
                  <a:gd name="connsiteY23" fmla="*/ 84868 h 414242"/>
                  <a:gd name="connsiteX24" fmla="*/ 111442 w 3362992"/>
                  <a:gd name="connsiteY24" fmla="*/ 90964 h 414242"/>
                  <a:gd name="connsiteX25" fmla="*/ 124111 w 3362992"/>
                  <a:gd name="connsiteY25" fmla="*/ 90964 h 414242"/>
                  <a:gd name="connsiteX26" fmla="*/ 124111 w 3362992"/>
                  <a:gd name="connsiteY26" fmla="*/ 97060 h 414242"/>
                  <a:gd name="connsiteX27" fmla="*/ 140970 w 3362992"/>
                  <a:gd name="connsiteY27" fmla="*/ 97060 h 414242"/>
                  <a:gd name="connsiteX28" fmla="*/ 140970 w 3362992"/>
                  <a:gd name="connsiteY28" fmla="*/ 103061 h 414242"/>
                  <a:gd name="connsiteX29" fmla="*/ 168307 w 3362992"/>
                  <a:gd name="connsiteY29" fmla="*/ 103061 h 414242"/>
                  <a:gd name="connsiteX30" fmla="*/ 168307 w 3362992"/>
                  <a:gd name="connsiteY30" fmla="*/ 109157 h 414242"/>
                  <a:gd name="connsiteX31" fmla="*/ 170402 w 3362992"/>
                  <a:gd name="connsiteY31" fmla="*/ 109157 h 414242"/>
                  <a:gd name="connsiteX32" fmla="*/ 170402 w 3362992"/>
                  <a:gd name="connsiteY32" fmla="*/ 115253 h 414242"/>
                  <a:gd name="connsiteX33" fmla="*/ 180879 w 3362992"/>
                  <a:gd name="connsiteY33" fmla="*/ 115253 h 414242"/>
                  <a:gd name="connsiteX34" fmla="*/ 180879 w 3362992"/>
                  <a:gd name="connsiteY34" fmla="*/ 121253 h 414242"/>
                  <a:gd name="connsiteX35" fmla="*/ 187166 w 3362992"/>
                  <a:gd name="connsiteY35" fmla="*/ 121253 h 414242"/>
                  <a:gd name="connsiteX36" fmla="*/ 187166 w 3362992"/>
                  <a:gd name="connsiteY36" fmla="*/ 133445 h 414242"/>
                  <a:gd name="connsiteX37" fmla="*/ 195643 w 3362992"/>
                  <a:gd name="connsiteY37" fmla="*/ 133445 h 414242"/>
                  <a:gd name="connsiteX38" fmla="*/ 195643 w 3362992"/>
                  <a:gd name="connsiteY38" fmla="*/ 139446 h 414242"/>
                  <a:gd name="connsiteX39" fmla="*/ 201930 w 3362992"/>
                  <a:gd name="connsiteY39" fmla="*/ 139446 h 414242"/>
                  <a:gd name="connsiteX40" fmla="*/ 201930 w 3362992"/>
                  <a:gd name="connsiteY40" fmla="*/ 151638 h 414242"/>
                  <a:gd name="connsiteX41" fmla="*/ 204025 w 3362992"/>
                  <a:gd name="connsiteY41" fmla="*/ 151638 h 414242"/>
                  <a:gd name="connsiteX42" fmla="*/ 204025 w 3362992"/>
                  <a:gd name="connsiteY42" fmla="*/ 157734 h 414242"/>
                  <a:gd name="connsiteX43" fmla="*/ 216598 w 3362992"/>
                  <a:gd name="connsiteY43" fmla="*/ 157734 h 414242"/>
                  <a:gd name="connsiteX44" fmla="*/ 216598 w 3362992"/>
                  <a:gd name="connsiteY44" fmla="*/ 163735 h 414242"/>
                  <a:gd name="connsiteX45" fmla="*/ 239744 w 3362992"/>
                  <a:gd name="connsiteY45" fmla="*/ 163735 h 414242"/>
                  <a:gd name="connsiteX46" fmla="*/ 239744 w 3362992"/>
                  <a:gd name="connsiteY46" fmla="*/ 169831 h 414242"/>
                  <a:gd name="connsiteX47" fmla="*/ 246126 w 3362992"/>
                  <a:gd name="connsiteY47" fmla="*/ 169831 h 414242"/>
                  <a:gd name="connsiteX48" fmla="*/ 246126 w 3362992"/>
                  <a:gd name="connsiteY48" fmla="*/ 175927 h 414242"/>
                  <a:gd name="connsiteX49" fmla="*/ 254508 w 3362992"/>
                  <a:gd name="connsiteY49" fmla="*/ 175927 h 414242"/>
                  <a:gd name="connsiteX50" fmla="*/ 254508 w 3362992"/>
                  <a:gd name="connsiteY50" fmla="*/ 181928 h 414242"/>
                  <a:gd name="connsiteX51" fmla="*/ 262890 w 3362992"/>
                  <a:gd name="connsiteY51" fmla="*/ 181928 h 414242"/>
                  <a:gd name="connsiteX52" fmla="*/ 262890 w 3362992"/>
                  <a:gd name="connsiteY52" fmla="*/ 188024 h 414242"/>
                  <a:gd name="connsiteX53" fmla="*/ 267081 w 3362992"/>
                  <a:gd name="connsiteY53" fmla="*/ 188024 h 414242"/>
                  <a:gd name="connsiteX54" fmla="*/ 267081 w 3362992"/>
                  <a:gd name="connsiteY54" fmla="*/ 194120 h 414242"/>
                  <a:gd name="connsiteX55" fmla="*/ 340709 w 3362992"/>
                  <a:gd name="connsiteY55" fmla="*/ 194120 h 414242"/>
                  <a:gd name="connsiteX56" fmla="*/ 340709 w 3362992"/>
                  <a:gd name="connsiteY56" fmla="*/ 200120 h 414242"/>
                  <a:gd name="connsiteX57" fmla="*/ 361759 w 3362992"/>
                  <a:gd name="connsiteY57" fmla="*/ 200120 h 414242"/>
                  <a:gd name="connsiteX58" fmla="*/ 361759 w 3362992"/>
                  <a:gd name="connsiteY58" fmla="*/ 206216 h 414242"/>
                  <a:gd name="connsiteX59" fmla="*/ 368046 w 3362992"/>
                  <a:gd name="connsiteY59" fmla="*/ 206216 h 414242"/>
                  <a:gd name="connsiteX60" fmla="*/ 368046 w 3362992"/>
                  <a:gd name="connsiteY60" fmla="*/ 212312 h 414242"/>
                  <a:gd name="connsiteX61" fmla="*/ 410146 w 3362992"/>
                  <a:gd name="connsiteY61" fmla="*/ 212312 h 414242"/>
                  <a:gd name="connsiteX62" fmla="*/ 410146 w 3362992"/>
                  <a:gd name="connsiteY62" fmla="*/ 218313 h 414242"/>
                  <a:gd name="connsiteX63" fmla="*/ 424815 w 3362992"/>
                  <a:gd name="connsiteY63" fmla="*/ 218313 h 414242"/>
                  <a:gd name="connsiteX64" fmla="*/ 424815 w 3362992"/>
                  <a:gd name="connsiteY64" fmla="*/ 224409 h 414242"/>
                  <a:gd name="connsiteX65" fmla="*/ 454342 w 3362992"/>
                  <a:gd name="connsiteY65" fmla="*/ 224409 h 414242"/>
                  <a:gd name="connsiteX66" fmla="*/ 454342 w 3362992"/>
                  <a:gd name="connsiteY66" fmla="*/ 230505 h 414242"/>
                  <a:gd name="connsiteX67" fmla="*/ 456438 w 3362992"/>
                  <a:gd name="connsiteY67" fmla="*/ 230505 h 414242"/>
                  <a:gd name="connsiteX68" fmla="*/ 456438 w 3362992"/>
                  <a:gd name="connsiteY68" fmla="*/ 236506 h 414242"/>
                  <a:gd name="connsiteX69" fmla="*/ 479488 w 3362992"/>
                  <a:gd name="connsiteY69" fmla="*/ 236506 h 414242"/>
                  <a:gd name="connsiteX70" fmla="*/ 479488 w 3362992"/>
                  <a:gd name="connsiteY70" fmla="*/ 242602 h 414242"/>
                  <a:gd name="connsiteX71" fmla="*/ 492157 w 3362992"/>
                  <a:gd name="connsiteY71" fmla="*/ 242602 h 414242"/>
                  <a:gd name="connsiteX72" fmla="*/ 492157 w 3362992"/>
                  <a:gd name="connsiteY72" fmla="*/ 248698 h 414242"/>
                  <a:gd name="connsiteX73" fmla="*/ 527875 w 3362992"/>
                  <a:gd name="connsiteY73" fmla="*/ 248698 h 414242"/>
                  <a:gd name="connsiteX74" fmla="*/ 527875 w 3362992"/>
                  <a:gd name="connsiteY74" fmla="*/ 254794 h 414242"/>
                  <a:gd name="connsiteX75" fmla="*/ 643604 w 3362992"/>
                  <a:gd name="connsiteY75" fmla="*/ 254794 h 414242"/>
                  <a:gd name="connsiteX76" fmla="*/ 643604 w 3362992"/>
                  <a:gd name="connsiteY76" fmla="*/ 260795 h 414242"/>
                  <a:gd name="connsiteX77" fmla="*/ 681418 w 3362992"/>
                  <a:gd name="connsiteY77" fmla="*/ 260795 h 414242"/>
                  <a:gd name="connsiteX78" fmla="*/ 681418 w 3362992"/>
                  <a:gd name="connsiteY78" fmla="*/ 266986 h 414242"/>
                  <a:gd name="connsiteX79" fmla="*/ 733996 w 3362992"/>
                  <a:gd name="connsiteY79" fmla="*/ 266986 h 414242"/>
                  <a:gd name="connsiteX80" fmla="*/ 733996 w 3362992"/>
                  <a:gd name="connsiteY80" fmla="*/ 273082 h 414242"/>
                  <a:gd name="connsiteX81" fmla="*/ 752951 w 3362992"/>
                  <a:gd name="connsiteY81" fmla="*/ 273082 h 414242"/>
                  <a:gd name="connsiteX82" fmla="*/ 752951 w 3362992"/>
                  <a:gd name="connsiteY82" fmla="*/ 279178 h 414242"/>
                  <a:gd name="connsiteX83" fmla="*/ 763429 w 3362992"/>
                  <a:gd name="connsiteY83" fmla="*/ 279178 h 414242"/>
                  <a:gd name="connsiteX84" fmla="*/ 763429 w 3362992"/>
                  <a:gd name="connsiteY84" fmla="*/ 285369 h 414242"/>
                  <a:gd name="connsiteX85" fmla="*/ 797147 w 3362992"/>
                  <a:gd name="connsiteY85" fmla="*/ 285369 h 414242"/>
                  <a:gd name="connsiteX86" fmla="*/ 797147 w 3362992"/>
                  <a:gd name="connsiteY86" fmla="*/ 291465 h 414242"/>
                  <a:gd name="connsiteX87" fmla="*/ 803434 w 3362992"/>
                  <a:gd name="connsiteY87" fmla="*/ 291465 h 414242"/>
                  <a:gd name="connsiteX88" fmla="*/ 803434 w 3362992"/>
                  <a:gd name="connsiteY88" fmla="*/ 297561 h 414242"/>
                  <a:gd name="connsiteX89" fmla="*/ 818102 w 3362992"/>
                  <a:gd name="connsiteY89" fmla="*/ 297561 h 414242"/>
                  <a:gd name="connsiteX90" fmla="*/ 818102 w 3362992"/>
                  <a:gd name="connsiteY90" fmla="*/ 303657 h 414242"/>
                  <a:gd name="connsiteX91" fmla="*/ 830770 w 3362992"/>
                  <a:gd name="connsiteY91" fmla="*/ 303657 h 414242"/>
                  <a:gd name="connsiteX92" fmla="*/ 830770 w 3362992"/>
                  <a:gd name="connsiteY92" fmla="*/ 309848 h 414242"/>
                  <a:gd name="connsiteX93" fmla="*/ 856012 w 3362992"/>
                  <a:gd name="connsiteY93" fmla="*/ 309848 h 414242"/>
                  <a:gd name="connsiteX94" fmla="*/ 856012 w 3362992"/>
                  <a:gd name="connsiteY94" fmla="*/ 315944 h 414242"/>
                  <a:gd name="connsiteX95" fmla="*/ 1085278 w 3362992"/>
                  <a:gd name="connsiteY95" fmla="*/ 315944 h 414242"/>
                  <a:gd name="connsiteX96" fmla="*/ 1085278 w 3362992"/>
                  <a:gd name="connsiteY96" fmla="*/ 322136 h 414242"/>
                  <a:gd name="connsiteX97" fmla="*/ 1198816 w 3362992"/>
                  <a:gd name="connsiteY97" fmla="*/ 322136 h 414242"/>
                  <a:gd name="connsiteX98" fmla="*/ 1198816 w 3362992"/>
                  <a:gd name="connsiteY98" fmla="*/ 328327 h 414242"/>
                  <a:gd name="connsiteX99" fmla="*/ 1467993 w 3362992"/>
                  <a:gd name="connsiteY99" fmla="*/ 328327 h 414242"/>
                  <a:gd name="connsiteX100" fmla="*/ 1467993 w 3362992"/>
                  <a:gd name="connsiteY100" fmla="*/ 334613 h 414242"/>
                  <a:gd name="connsiteX101" fmla="*/ 1541621 w 3362992"/>
                  <a:gd name="connsiteY101" fmla="*/ 334613 h 414242"/>
                  <a:gd name="connsiteX102" fmla="*/ 1541621 w 3362992"/>
                  <a:gd name="connsiteY102" fmla="*/ 340900 h 414242"/>
                  <a:gd name="connsiteX103" fmla="*/ 1621536 w 3362992"/>
                  <a:gd name="connsiteY103" fmla="*/ 340900 h 414242"/>
                  <a:gd name="connsiteX104" fmla="*/ 1621536 w 3362992"/>
                  <a:gd name="connsiteY104" fmla="*/ 347186 h 414242"/>
                  <a:gd name="connsiteX105" fmla="*/ 1783461 w 3362992"/>
                  <a:gd name="connsiteY105" fmla="*/ 347186 h 414242"/>
                  <a:gd name="connsiteX106" fmla="*/ 1783461 w 3362992"/>
                  <a:gd name="connsiteY106" fmla="*/ 353663 h 414242"/>
                  <a:gd name="connsiteX107" fmla="*/ 1800320 w 3362992"/>
                  <a:gd name="connsiteY107" fmla="*/ 353663 h 414242"/>
                  <a:gd name="connsiteX108" fmla="*/ 1800320 w 3362992"/>
                  <a:gd name="connsiteY108" fmla="*/ 360045 h 414242"/>
                  <a:gd name="connsiteX109" fmla="*/ 1918144 w 3362992"/>
                  <a:gd name="connsiteY109" fmla="*/ 360045 h 414242"/>
                  <a:gd name="connsiteX110" fmla="*/ 1918144 w 3362992"/>
                  <a:gd name="connsiteY110" fmla="*/ 366522 h 414242"/>
                  <a:gd name="connsiteX111" fmla="*/ 2010632 w 3362992"/>
                  <a:gd name="connsiteY111" fmla="*/ 366522 h 414242"/>
                  <a:gd name="connsiteX112" fmla="*/ 2010632 w 3362992"/>
                  <a:gd name="connsiteY112" fmla="*/ 372904 h 414242"/>
                  <a:gd name="connsiteX113" fmla="*/ 2029587 w 3362992"/>
                  <a:gd name="connsiteY113" fmla="*/ 372904 h 414242"/>
                  <a:gd name="connsiteX114" fmla="*/ 2029587 w 3362992"/>
                  <a:gd name="connsiteY114" fmla="*/ 379381 h 414242"/>
                  <a:gd name="connsiteX115" fmla="*/ 2883408 w 3362992"/>
                  <a:gd name="connsiteY115" fmla="*/ 379381 h 414242"/>
                  <a:gd name="connsiteX116" fmla="*/ 2883408 w 3362992"/>
                  <a:gd name="connsiteY116" fmla="*/ 414242 h 414242"/>
                  <a:gd name="connsiteX117" fmla="*/ 3362992 w 3362992"/>
                  <a:gd name="connsiteY117" fmla="*/ 414242 h 414242"/>
                  <a:gd name="connsiteX0" fmla="*/ 0 w 3362992"/>
                  <a:gd name="connsiteY0" fmla="*/ 0 h 414242"/>
                  <a:gd name="connsiteX1" fmla="*/ 2095 w 3362992"/>
                  <a:gd name="connsiteY1" fmla="*/ 6001 h 414242"/>
                  <a:gd name="connsiteX2" fmla="*/ 16859 w 3362992"/>
                  <a:gd name="connsiteY2" fmla="*/ 6001 h 414242"/>
                  <a:gd name="connsiteX3" fmla="*/ 16859 w 3362992"/>
                  <a:gd name="connsiteY3" fmla="*/ 18193 h 414242"/>
                  <a:gd name="connsiteX4" fmla="*/ 18955 w 3362992"/>
                  <a:gd name="connsiteY4" fmla="*/ 18193 h 414242"/>
                  <a:gd name="connsiteX5" fmla="*/ 18955 w 3362992"/>
                  <a:gd name="connsiteY5" fmla="*/ 24194 h 414242"/>
                  <a:gd name="connsiteX6" fmla="*/ 25241 w 3362992"/>
                  <a:gd name="connsiteY6" fmla="*/ 24194 h 414242"/>
                  <a:gd name="connsiteX7" fmla="*/ 25241 w 3362992"/>
                  <a:gd name="connsiteY7" fmla="*/ 30290 h 414242"/>
                  <a:gd name="connsiteX8" fmla="*/ 29432 w 3362992"/>
                  <a:gd name="connsiteY8" fmla="*/ 30290 h 414242"/>
                  <a:gd name="connsiteX9" fmla="*/ 29432 w 3362992"/>
                  <a:gd name="connsiteY9" fmla="*/ 36386 h 414242"/>
                  <a:gd name="connsiteX10" fmla="*/ 46291 w 3362992"/>
                  <a:gd name="connsiteY10" fmla="*/ 36386 h 414242"/>
                  <a:gd name="connsiteX11" fmla="*/ 46291 w 3362992"/>
                  <a:gd name="connsiteY11" fmla="*/ 48482 h 414242"/>
                  <a:gd name="connsiteX12" fmla="*/ 50482 w 3362992"/>
                  <a:gd name="connsiteY12" fmla="*/ 48482 h 414242"/>
                  <a:gd name="connsiteX13" fmla="*/ 50482 w 3362992"/>
                  <a:gd name="connsiteY13" fmla="*/ 54578 h 414242"/>
                  <a:gd name="connsiteX14" fmla="*/ 73628 w 3362992"/>
                  <a:gd name="connsiteY14" fmla="*/ 54578 h 414242"/>
                  <a:gd name="connsiteX15" fmla="*/ 73628 w 3362992"/>
                  <a:gd name="connsiteY15" fmla="*/ 60674 h 414242"/>
                  <a:gd name="connsiteX16" fmla="*/ 77819 w 3362992"/>
                  <a:gd name="connsiteY16" fmla="*/ 60674 h 414242"/>
                  <a:gd name="connsiteX17" fmla="*/ 77819 w 3362992"/>
                  <a:gd name="connsiteY17" fmla="*/ 66675 h 414242"/>
                  <a:gd name="connsiteX18" fmla="*/ 84106 w 3362992"/>
                  <a:gd name="connsiteY18" fmla="*/ 66675 h 414242"/>
                  <a:gd name="connsiteX19" fmla="*/ 84106 w 3362992"/>
                  <a:gd name="connsiteY19" fmla="*/ 78867 h 414242"/>
                  <a:gd name="connsiteX20" fmla="*/ 103060 w 3362992"/>
                  <a:gd name="connsiteY20" fmla="*/ 78867 h 414242"/>
                  <a:gd name="connsiteX21" fmla="*/ 103060 w 3362992"/>
                  <a:gd name="connsiteY21" fmla="*/ 84868 h 414242"/>
                  <a:gd name="connsiteX22" fmla="*/ 111442 w 3362992"/>
                  <a:gd name="connsiteY22" fmla="*/ 84868 h 414242"/>
                  <a:gd name="connsiteX23" fmla="*/ 111442 w 3362992"/>
                  <a:gd name="connsiteY23" fmla="*/ 90964 h 414242"/>
                  <a:gd name="connsiteX24" fmla="*/ 124111 w 3362992"/>
                  <a:gd name="connsiteY24" fmla="*/ 90964 h 414242"/>
                  <a:gd name="connsiteX25" fmla="*/ 124111 w 3362992"/>
                  <a:gd name="connsiteY25" fmla="*/ 97060 h 414242"/>
                  <a:gd name="connsiteX26" fmla="*/ 140970 w 3362992"/>
                  <a:gd name="connsiteY26" fmla="*/ 97060 h 414242"/>
                  <a:gd name="connsiteX27" fmla="*/ 140970 w 3362992"/>
                  <a:gd name="connsiteY27" fmla="*/ 103061 h 414242"/>
                  <a:gd name="connsiteX28" fmla="*/ 168307 w 3362992"/>
                  <a:gd name="connsiteY28" fmla="*/ 103061 h 414242"/>
                  <a:gd name="connsiteX29" fmla="*/ 168307 w 3362992"/>
                  <a:gd name="connsiteY29" fmla="*/ 109157 h 414242"/>
                  <a:gd name="connsiteX30" fmla="*/ 170402 w 3362992"/>
                  <a:gd name="connsiteY30" fmla="*/ 109157 h 414242"/>
                  <a:gd name="connsiteX31" fmla="*/ 170402 w 3362992"/>
                  <a:gd name="connsiteY31" fmla="*/ 115253 h 414242"/>
                  <a:gd name="connsiteX32" fmla="*/ 180879 w 3362992"/>
                  <a:gd name="connsiteY32" fmla="*/ 115253 h 414242"/>
                  <a:gd name="connsiteX33" fmla="*/ 180879 w 3362992"/>
                  <a:gd name="connsiteY33" fmla="*/ 121253 h 414242"/>
                  <a:gd name="connsiteX34" fmla="*/ 187166 w 3362992"/>
                  <a:gd name="connsiteY34" fmla="*/ 121253 h 414242"/>
                  <a:gd name="connsiteX35" fmla="*/ 187166 w 3362992"/>
                  <a:gd name="connsiteY35" fmla="*/ 133445 h 414242"/>
                  <a:gd name="connsiteX36" fmla="*/ 195643 w 3362992"/>
                  <a:gd name="connsiteY36" fmla="*/ 133445 h 414242"/>
                  <a:gd name="connsiteX37" fmla="*/ 195643 w 3362992"/>
                  <a:gd name="connsiteY37" fmla="*/ 139446 h 414242"/>
                  <a:gd name="connsiteX38" fmla="*/ 201930 w 3362992"/>
                  <a:gd name="connsiteY38" fmla="*/ 139446 h 414242"/>
                  <a:gd name="connsiteX39" fmla="*/ 201930 w 3362992"/>
                  <a:gd name="connsiteY39" fmla="*/ 151638 h 414242"/>
                  <a:gd name="connsiteX40" fmla="*/ 204025 w 3362992"/>
                  <a:gd name="connsiteY40" fmla="*/ 151638 h 414242"/>
                  <a:gd name="connsiteX41" fmla="*/ 204025 w 3362992"/>
                  <a:gd name="connsiteY41" fmla="*/ 157734 h 414242"/>
                  <a:gd name="connsiteX42" fmla="*/ 216598 w 3362992"/>
                  <a:gd name="connsiteY42" fmla="*/ 157734 h 414242"/>
                  <a:gd name="connsiteX43" fmla="*/ 216598 w 3362992"/>
                  <a:gd name="connsiteY43" fmla="*/ 163735 h 414242"/>
                  <a:gd name="connsiteX44" fmla="*/ 239744 w 3362992"/>
                  <a:gd name="connsiteY44" fmla="*/ 163735 h 414242"/>
                  <a:gd name="connsiteX45" fmla="*/ 239744 w 3362992"/>
                  <a:gd name="connsiteY45" fmla="*/ 169831 h 414242"/>
                  <a:gd name="connsiteX46" fmla="*/ 246126 w 3362992"/>
                  <a:gd name="connsiteY46" fmla="*/ 169831 h 414242"/>
                  <a:gd name="connsiteX47" fmla="*/ 246126 w 3362992"/>
                  <a:gd name="connsiteY47" fmla="*/ 175927 h 414242"/>
                  <a:gd name="connsiteX48" fmla="*/ 254508 w 3362992"/>
                  <a:gd name="connsiteY48" fmla="*/ 175927 h 414242"/>
                  <a:gd name="connsiteX49" fmla="*/ 254508 w 3362992"/>
                  <a:gd name="connsiteY49" fmla="*/ 181928 h 414242"/>
                  <a:gd name="connsiteX50" fmla="*/ 262890 w 3362992"/>
                  <a:gd name="connsiteY50" fmla="*/ 181928 h 414242"/>
                  <a:gd name="connsiteX51" fmla="*/ 262890 w 3362992"/>
                  <a:gd name="connsiteY51" fmla="*/ 188024 h 414242"/>
                  <a:gd name="connsiteX52" fmla="*/ 267081 w 3362992"/>
                  <a:gd name="connsiteY52" fmla="*/ 188024 h 414242"/>
                  <a:gd name="connsiteX53" fmla="*/ 267081 w 3362992"/>
                  <a:gd name="connsiteY53" fmla="*/ 194120 h 414242"/>
                  <a:gd name="connsiteX54" fmla="*/ 340709 w 3362992"/>
                  <a:gd name="connsiteY54" fmla="*/ 194120 h 414242"/>
                  <a:gd name="connsiteX55" fmla="*/ 340709 w 3362992"/>
                  <a:gd name="connsiteY55" fmla="*/ 200120 h 414242"/>
                  <a:gd name="connsiteX56" fmla="*/ 361759 w 3362992"/>
                  <a:gd name="connsiteY56" fmla="*/ 200120 h 414242"/>
                  <a:gd name="connsiteX57" fmla="*/ 361759 w 3362992"/>
                  <a:gd name="connsiteY57" fmla="*/ 206216 h 414242"/>
                  <a:gd name="connsiteX58" fmla="*/ 368046 w 3362992"/>
                  <a:gd name="connsiteY58" fmla="*/ 206216 h 414242"/>
                  <a:gd name="connsiteX59" fmla="*/ 368046 w 3362992"/>
                  <a:gd name="connsiteY59" fmla="*/ 212312 h 414242"/>
                  <a:gd name="connsiteX60" fmla="*/ 410146 w 3362992"/>
                  <a:gd name="connsiteY60" fmla="*/ 212312 h 414242"/>
                  <a:gd name="connsiteX61" fmla="*/ 410146 w 3362992"/>
                  <a:gd name="connsiteY61" fmla="*/ 218313 h 414242"/>
                  <a:gd name="connsiteX62" fmla="*/ 424815 w 3362992"/>
                  <a:gd name="connsiteY62" fmla="*/ 218313 h 414242"/>
                  <a:gd name="connsiteX63" fmla="*/ 424815 w 3362992"/>
                  <a:gd name="connsiteY63" fmla="*/ 224409 h 414242"/>
                  <a:gd name="connsiteX64" fmla="*/ 454342 w 3362992"/>
                  <a:gd name="connsiteY64" fmla="*/ 224409 h 414242"/>
                  <a:gd name="connsiteX65" fmla="*/ 454342 w 3362992"/>
                  <a:gd name="connsiteY65" fmla="*/ 230505 h 414242"/>
                  <a:gd name="connsiteX66" fmla="*/ 456438 w 3362992"/>
                  <a:gd name="connsiteY66" fmla="*/ 230505 h 414242"/>
                  <a:gd name="connsiteX67" fmla="*/ 456438 w 3362992"/>
                  <a:gd name="connsiteY67" fmla="*/ 236506 h 414242"/>
                  <a:gd name="connsiteX68" fmla="*/ 479488 w 3362992"/>
                  <a:gd name="connsiteY68" fmla="*/ 236506 h 414242"/>
                  <a:gd name="connsiteX69" fmla="*/ 479488 w 3362992"/>
                  <a:gd name="connsiteY69" fmla="*/ 242602 h 414242"/>
                  <a:gd name="connsiteX70" fmla="*/ 492157 w 3362992"/>
                  <a:gd name="connsiteY70" fmla="*/ 242602 h 414242"/>
                  <a:gd name="connsiteX71" fmla="*/ 492157 w 3362992"/>
                  <a:gd name="connsiteY71" fmla="*/ 248698 h 414242"/>
                  <a:gd name="connsiteX72" fmla="*/ 527875 w 3362992"/>
                  <a:gd name="connsiteY72" fmla="*/ 248698 h 414242"/>
                  <a:gd name="connsiteX73" fmla="*/ 527875 w 3362992"/>
                  <a:gd name="connsiteY73" fmla="*/ 254794 h 414242"/>
                  <a:gd name="connsiteX74" fmla="*/ 643604 w 3362992"/>
                  <a:gd name="connsiteY74" fmla="*/ 254794 h 414242"/>
                  <a:gd name="connsiteX75" fmla="*/ 643604 w 3362992"/>
                  <a:gd name="connsiteY75" fmla="*/ 260795 h 414242"/>
                  <a:gd name="connsiteX76" fmla="*/ 681418 w 3362992"/>
                  <a:gd name="connsiteY76" fmla="*/ 260795 h 414242"/>
                  <a:gd name="connsiteX77" fmla="*/ 681418 w 3362992"/>
                  <a:gd name="connsiteY77" fmla="*/ 266986 h 414242"/>
                  <a:gd name="connsiteX78" fmla="*/ 733996 w 3362992"/>
                  <a:gd name="connsiteY78" fmla="*/ 266986 h 414242"/>
                  <a:gd name="connsiteX79" fmla="*/ 733996 w 3362992"/>
                  <a:gd name="connsiteY79" fmla="*/ 273082 h 414242"/>
                  <a:gd name="connsiteX80" fmla="*/ 752951 w 3362992"/>
                  <a:gd name="connsiteY80" fmla="*/ 273082 h 414242"/>
                  <a:gd name="connsiteX81" fmla="*/ 752951 w 3362992"/>
                  <a:gd name="connsiteY81" fmla="*/ 279178 h 414242"/>
                  <a:gd name="connsiteX82" fmla="*/ 763429 w 3362992"/>
                  <a:gd name="connsiteY82" fmla="*/ 279178 h 414242"/>
                  <a:gd name="connsiteX83" fmla="*/ 763429 w 3362992"/>
                  <a:gd name="connsiteY83" fmla="*/ 285369 h 414242"/>
                  <a:gd name="connsiteX84" fmla="*/ 797147 w 3362992"/>
                  <a:gd name="connsiteY84" fmla="*/ 285369 h 414242"/>
                  <a:gd name="connsiteX85" fmla="*/ 797147 w 3362992"/>
                  <a:gd name="connsiteY85" fmla="*/ 291465 h 414242"/>
                  <a:gd name="connsiteX86" fmla="*/ 803434 w 3362992"/>
                  <a:gd name="connsiteY86" fmla="*/ 291465 h 414242"/>
                  <a:gd name="connsiteX87" fmla="*/ 803434 w 3362992"/>
                  <a:gd name="connsiteY87" fmla="*/ 297561 h 414242"/>
                  <a:gd name="connsiteX88" fmla="*/ 818102 w 3362992"/>
                  <a:gd name="connsiteY88" fmla="*/ 297561 h 414242"/>
                  <a:gd name="connsiteX89" fmla="*/ 818102 w 3362992"/>
                  <a:gd name="connsiteY89" fmla="*/ 303657 h 414242"/>
                  <a:gd name="connsiteX90" fmla="*/ 830770 w 3362992"/>
                  <a:gd name="connsiteY90" fmla="*/ 303657 h 414242"/>
                  <a:gd name="connsiteX91" fmla="*/ 830770 w 3362992"/>
                  <a:gd name="connsiteY91" fmla="*/ 309848 h 414242"/>
                  <a:gd name="connsiteX92" fmla="*/ 856012 w 3362992"/>
                  <a:gd name="connsiteY92" fmla="*/ 309848 h 414242"/>
                  <a:gd name="connsiteX93" fmla="*/ 856012 w 3362992"/>
                  <a:gd name="connsiteY93" fmla="*/ 315944 h 414242"/>
                  <a:gd name="connsiteX94" fmla="*/ 1085278 w 3362992"/>
                  <a:gd name="connsiteY94" fmla="*/ 315944 h 414242"/>
                  <a:gd name="connsiteX95" fmla="*/ 1085278 w 3362992"/>
                  <a:gd name="connsiteY95" fmla="*/ 322136 h 414242"/>
                  <a:gd name="connsiteX96" fmla="*/ 1198816 w 3362992"/>
                  <a:gd name="connsiteY96" fmla="*/ 322136 h 414242"/>
                  <a:gd name="connsiteX97" fmla="*/ 1198816 w 3362992"/>
                  <a:gd name="connsiteY97" fmla="*/ 328327 h 414242"/>
                  <a:gd name="connsiteX98" fmla="*/ 1467993 w 3362992"/>
                  <a:gd name="connsiteY98" fmla="*/ 328327 h 414242"/>
                  <a:gd name="connsiteX99" fmla="*/ 1467993 w 3362992"/>
                  <a:gd name="connsiteY99" fmla="*/ 334613 h 414242"/>
                  <a:gd name="connsiteX100" fmla="*/ 1541621 w 3362992"/>
                  <a:gd name="connsiteY100" fmla="*/ 334613 h 414242"/>
                  <a:gd name="connsiteX101" fmla="*/ 1541621 w 3362992"/>
                  <a:gd name="connsiteY101" fmla="*/ 340900 h 414242"/>
                  <a:gd name="connsiteX102" fmla="*/ 1621536 w 3362992"/>
                  <a:gd name="connsiteY102" fmla="*/ 340900 h 414242"/>
                  <a:gd name="connsiteX103" fmla="*/ 1621536 w 3362992"/>
                  <a:gd name="connsiteY103" fmla="*/ 347186 h 414242"/>
                  <a:gd name="connsiteX104" fmla="*/ 1783461 w 3362992"/>
                  <a:gd name="connsiteY104" fmla="*/ 347186 h 414242"/>
                  <a:gd name="connsiteX105" fmla="*/ 1783461 w 3362992"/>
                  <a:gd name="connsiteY105" fmla="*/ 353663 h 414242"/>
                  <a:gd name="connsiteX106" fmla="*/ 1800320 w 3362992"/>
                  <a:gd name="connsiteY106" fmla="*/ 353663 h 414242"/>
                  <a:gd name="connsiteX107" fmla="*/ 1800320 w 3362992"/>
                  <a:gd name="connsiteY107" fmla="*/ 360045 h 414242"/>
                  <a:gd name="connsiteX108" fmla="*/ 1918144 w 3362992"/>
                  <a:gd name="connsiteY108" fmla="*/ 360045 h 414242"/>
                  <a:gd name="connsiteX109" fmla="*/ 1918144 w 3362992"/>
                  <a:gd name="connsiteY109" fmla="*/ 366522 h 414242"/>
                  <a:gd name="connsiteX110" fmla="*/ 2010632 w 3362992"/>
                  <a:gd name="connsiteY110" fmla="*/ 366522 h 414242"/>
                  <a:gd name="connsiteX111" fmla="*/ 2010632 w 3362992"/>
                  <a:gd name="connsiteY111" fmla="*/ 372904 h 414242"/>
                  <a:gd name="connsiteX112" fmla="*/ 2029587 w 3362992"/>
                  <a:gd name="connsiteY112" fmla="*/ 372904 h 414242"/>
                  <a:gd name="connsiteX113" fmla="*/ 2029587 w 3362992"/>
                  <a:gd name="connsiteY113" fmla="*/ 379381 h 414242"/>
                  <a:gd name="connsiteX114" fmla="*/ 2883408 w 3362992"/>
                  <a:gd name="connsiteY114" fmla="*/ 379381 h 414242"/>
                  <a:gd name="connsiteX115" fmla="*/ 2883408 w 3362992"/>
                  <a:gd name="connsiteY115" fmla="*/ 414242 h 414242"/>
                  <a:gd name="connsiteX116" fmla="*/ 3362992 w 3362992"/>
                  <a:gd name="connsiteY116" fmla="*/ 414242 h 414242"/>
                  <a:gd name="connsiteX0" fmla="*/ 0 w 3362992"/>
                  <a:gd name="connsiteY0" fmla="*/ 0 h 414242"/>
                  <a:gd name="connsiteX1" fmla="*/ 16859 w 3362992"/>
                  <a:gd name="connsiteY1" fmla="*/ 6001 h 414242"/>
                  <a:gd name="connsiteX2" fmla="*/ 16859 w 3362992"/>
                  <a:gd name="connsiteY2" fmla="*/ 18193 h 414242"/>
                  <a:gd name="connsiteX3" fmla="*/ 18955 w 3362992"/>
                  <a:gd name="connsiteY3" fmla="*/ 18193 h 414242"/>
                  <a:gd name="connsiteX4" fmla="*/ 18955 w 3362992"/>
                  <a:gd name="connsiteY4" fmla="*/ 24194 h 414242"/>
                  <a:gd name="connsiteX5" fmla="*/ 25241 w 3362992"/>
                  <a:gd name="connsiteY5" fmla="*/ 24194 h 414242"/>
                  <a:gd name="connsiteX6" fmla="*/ 25241 w 3362992"/>
                  <a:gd name="connsiteY6" fmla="*/ 30290 h 414242"/>
                  <a:gd name="connsiteX7" fmla="*/ 29432 w 3362992"/>
                  <a:gd name="connsiteY7" fmla="*/ 30290 h 414242"/>
                  <a:gd name="connsiteX8" fmla="*/ 29432 w 3362992"/>
                  <a:gd name="connsiteY8" fmla="*/ 36386 h 414242"/>
                  <a:gd name="connsiteX9" fmla="*/ 46291 w 3362992"/>
                  <a:gd name="connsiteY9" fmla="*/ 36386 h 414242"/>
                  <a:gd name="connsiteX10" fmla="*/ 46291 w 3362992"/>
                  <a:gd name="connsiteY10" fmla="*/ 48482 h 414242"/>
                  <a:gd name="connsiteX11" fmla="*/ 50482 w 3362992"/>
                  <a:gd name="connsiteY11" fmla="*/ 48482 h 414242"/>
                  <a:gd name="connsiteX12" fmla="*/ 50482 w 3362992"/>
                  <a:gd name="connsiteY12" fmla="*/ 54578 h 414242"/>
                  <a:gd name="connsiteX13" fmla="*/ 73628 w 3362992"/>
                  <a:gd name="connsiteY13" fmla="*/ 54578 h 414242"/>
                  <a:gd name="connsiteX14" fmla="*/ 73628 w 3362992"/>
                  <a:gd name="connsiteY14" fmla="*/ 60674 h 414242"/>
                  <a:gd name="connsiteX15" fmla="*/ 77819 w 3362992"/>
                  <a:gd name="connsiteY15" fmla="*/ 60674 h 414242"/>
                  <a:gd name="connsiteX16" fmla="*/ 77819 w 3362992"/>
                  <a:gd name="connsiteY16" fmla="*/ 66675 h 414242"/>
                  <a:gd name="connsiteX17" fmla="*/ 84106 w 3362992"/>
                  <a:gd name="connsiteY17" fmla="*/ 66675 h 414242"/>
                  <a:gd name="connsiteX18" fmla="*/ 84106 w 3362992"/>
                  <a:gd name="connsiteY18" fmla="*/ 78867 h 414242"/>
                  <a:gd name="connsiteX19" fmla="*/ 103060 w 3362992"/>
                  <a:gd name="connsiteY19" fmla="*/ 78867 h 414242"/>
                  <a:gd name="connsiteX20" fmla="*/ 103060 w 3362992"/>
                  <a:gd name="connsiteY20" fmla="*/ 84868 h 414242"/>
                  <a:gd name="connsiteX21" fmla="*/ 111442 w 3362992"/>
                  <a:gd name="connsiteY21" fmla="*/ 84868 h 414242"/>
                  <a:gd name="connsiteX22" fmla="*/ 111442 w 3362992"/>
                  <a:gd name="connsiteY22" fmla="*/ 90964 h 414242"/>
                  <a:gd name="connsiteX23" fmla="*/ 124111 w 3362992"/>
                  <a:gd name="connsiteY23" fmla="*/ 90964 h 414242"/>
                  <a:gd name="connsiteX24" fmla="*/ 124111 w 3362992"/>
                  <a:gd name="connsiteY24" fmla="*/ 97060 h 414242"/>
                  <a:gd name="connsiteX25" fmla="*/ 140970 w 3362992"/>
                  <a:gd name="connsiteY25" fmla="*/ 97060 h 414242"/>
                  <a:gd name="connsiteX26" fmla="*/ 140970 w 3362992"/>
                  <a:gd name="connsiteY26" fmla="*/ 103061 h 414242"/>
                  <a:gd name="connsiteX27" fmla="*/ 168307 w 3362992"/>
                  <a:gd name="connsiteY27" fmla="*/ 103061 h 414242"/>
                  <a:gd name="connsiteX28" fmla="*/ 168307 w 3362992"/>
                  <a:gd name="connsiteY28" fmla="*/ 109157 h 414242"/>
                  <a:gd name="connsiteX29" fmla="*/ 170402 w 3362992"/>
                  <a:gd name="connsiteY29" fmla="*/ 109157 h 414242"/>
                  <a:gd name="connsiteX30" fmla="*/ 170402 w 3362992"/>
                  <a:gd name="connsiteY30" fmla="*/ 115253 h 414242"/>
                  <a:gd name="connsiteX31" fmla="*/ 180879 w 3362992"/>
                  <a:gd name="connsiteY31" fmla="*/ 115253 h 414242"/>
                  <a:gd name="connsiteX32" fmla="*/ 180879 w 3362992"/>
                  <a:gd name="connsiteY32" fmla="*/ 121253 h 414242"/>
                  <a:gd name="connsiteX33" fmla="*/ 187166 w 3362992"/>
                  <a:gd name="connsiteY33" fmla="*/ 121253 h 414242"/>
                  <a:gd name="connsiteX34" fmla="*/ 187166 w 3362992"/>
                  <a:gd name="connsiteY34" fmla="*/ 133445 h 414242"/>
                  <a:gd name="connsiteX35" fmla="*/ 195643 w 3362992"/>
                  <a:gd name="connsiteY35" fmla="*/ 133445 h 414242"/>
                  <a:gd name="connsiteX36" fmla="*/ 195643 w 3362992"/>
                  <a:gd name="connsiteY36" fmla="*/ 139446 h 414242"/>
                  <a:gd name="connsiteX37" fmla="*/ 201930 w 3362992"/>
                  <a:gd name="connsiteY37" fmla="*/ 139446 h 414242"/>
                  <a:gd name="connsiteX38" fmla="*/ 201930 w 3362992"/>
                  <a:gd name="connsiteY38" fmla="*/ 151638 h 414242"/>
                  <a:gd name="connsiteX39" fmla="*/ 204025 w 3362992"/>
                  <a:gd name="connsiteY39" fmla="*/ 151638 h 414242"/>
                  <a:gd name="connsiteX40" fmla="*/ 204025 w 3362992"/>
                  <a:gd name="connsiteY40" fmla="*/ 157734 h 414242"/>
                  <a:gd name="connsiteX41" fmla="*/ 216598 w 3362992"/>
                  <a:gd name="connsiteY41" fmla="*/ 157734 h 414242"/>
                  <a:gd name="connsiteX42" fmla="*/ 216598 w 3362992"/>
                  <a:gd name="connsiteY42" fmla="*/ 163735 h 414242"/>
                  <a:gd name="connsiteX43" fmla="*/ 239744 w 3362992"/>
                  <a:gd name="connsiteY43" fmla="*/ 163735 h 414242"/>
                  <a:gd name="connsiteX44" fmla="*/ 239744 w 3362992"/>
                  <a:gd name="connsiteY44" fmla="*/ 169831 h 414242"/>
                  <a:gd name="connsiteX45" fmla="*/ 246126 w 3362992"/>
                  <a:gd name="connsiteY45" fmla="*/ 169831 h 414242"/>
                  <a:gd name="connsiteX46" fmla="*/ 246126 w 3362992"/>
                  <a:gd name="connsiteY46" fmla="*/ 175927 h 414242"/>
                  <a:gd name="connsiteX47" fmla="*/ 254508 w 3362992"/>
                  <a:gd name="connsiteY47" fmla="*/ 175927 h 414242"/>
                  <a:gd name="connsiteX48" fmla="*/ 254508 w 3362992"/>
                  <a:gd name="connsiteY48" fmla="*/ 181928 h 414242"/>
                  <a:gd name="connsiteX49" fmla="*/ 262890 w 3362992"/>
                  <a:gd name="connsiteY49" fmla="*/ 181928 h 414242"/>
                  <a:gd name="connsiteX50" fmla="*/ 262890 w 3362992"/>
                  <a:gd name="connsiteY50" fmla="*/ 188024 h 414242"/>
                  <a:gd name="connsiteX51" fmla="*/ 267081 w 3362992"/>
                  <a:gd name="connsiteY51" fmla="*/ 188024 h 414242"/>
                  <a:gd name="connsiteX52" fmla="*/ 267081 w 3362992"/>
                  <a:gd name="connsiteY52" fmla="*/ 194120 h 414242"/>
                  <a:gd name="connsiteX53" fmla="*/ 340709 w 3362992"/>
                  <a:gd name="connsiteY53" fmla="*/ 194120 h 414242"/>
                  <a:gd name="connsiteX54" fmla="*/ 340709 w 3362992"/>
                  <a:gd name="connsiteY54" fmla="*/ 200120 h 414242"/>
                  <a:gd name="connsiteX55" fmla="*/ 361759 w 3362992"/>
                  <a:gd name="connsiteY55" fmla="*/ 200120 h 414242"/>
                  <a:gd name="connsiteX56" fmla="*/ 361759 w 3362992"/>
                  <a:gd name="connsiteY56" fmla="*/ 206216 h 414242"/>
                  <a:gd name="connsiteX57" fmla="*/ 368046 w 3362992"/>
                  <a:gd name="connsiteY57" fmla="*/ 206216 h 414242"/>
                  <a:gd name="connsiteX58" fmla="*/ 368046 w 3362992"/>
                  <a:gd name="connsiteY58" fmla="*/ 212312 h 414242"/>
                  <a:gd name="connsiteX59" fmla="*/ 410146 w 3362992"/>
                  <a:gd name="connsiteY59" fmla="*/ 212312 h 414242"/>
                  <a:gd name="connsiteX60" fmla="*/ 410146 w 3362992"/>
                  <a:gd name="connsiteY60" fmla="*/ 218313 h 414242"/>
                  <a:gd name="connsiteX61" fmla="*/ 424815 w 3362992"/>
                  <a:gd name="connsiteY61" fmla="*/ 218313 h 414242"/>
                  <a:gd name="connsiteX62" fmla="*/ 424815 w 3362992"/>
                  <a:gd name="connsiteY62" fmla="*/ 224409 h 414242"/>
                  <a:gd name="connsiteX63" fmla="*/ 454342 w 3362992"/>
                  <a:gd name="connsiteY63" fmla="*/ 224409 h 414242"/>
                  <a:gd name="connsiteX64" fmla="*/ 454342 w 3362992"/>
                  <a:gd name="connsiteY64" fmla="*/ 230505 h 414242"/>
                  <a:gd name="connsiteX65" fmla="*/ 456438 w 3362992"/>
                  <a:gd name="connsiteY65" fmla="*/ 230505 h 414242"/>
                  <a:gd name="connsiteX66" fmla="*/ 456438 w 3362992"/>
                  <a:gd name="connsiteY66" fmla="*/ 236506 h 414242"/>
                  <a:gd name="connsiteX67" fmla="*/ 479488 w 3362992"/>
                  <a:gd name="connsiteY67" fmla="*/ 236506 h 414242"/>
                  <a:gd name="connsiteX68" fmla="*/ 479488 w 3362992"/>
                  <a:gd name="connsiteY68" fmla="*/ 242602 h 414242"/>
                  <a:gd name="connsiteX69" fmla="*/ 492157 w 3362992"/>
                  <a:gd name="connsiteY69" fmla="*/ 242602 h 414242"/>
                  <a:gd name="connsiteX70" fmla="*/ 492157 w 3362992"/>
                  <a:gd name="connsiteY70" fmla="*/ 248698 h 414242"/>
                  <a:gd name="connsiteX71" fmla="*/ 527875 w 3362992"/>
                  <a:gd name="connsiteY71" fmla="*/ 248698 h 414242"/>
                  <a:gd name="connsiteX72" fmla="*/ 527875 w 3362992"/>
                  <a:gd name="connsiteY72" fmla="*/ 254794 h 414242"/>
                  <a:gd name="connsiteX73" fmla="*/ 643604 w 3362992"/>
                  <a:gd name="connsiteY73" fmla="*/ 254794 h 414242"/>
                  <a:gd name="connsiteX74" fmla="*/ 643604 w 3362992"/>
                  <a:gd name="connsiteY74" fmla="*/ 260795 h 414242"/>
                  <a:gd name="connsiteX75" fmla="*/ 681418 w 3362992"/>
                  <a:gd name="connsiteY75" fmla="*/ 260795 h 414242"/>
                  <a:gd name="connsiteX76" fmla="*/ 681418 w 3362992"/>
                  <a:gd name="connsiteY76" fmla="*/ 266986 h 414242"/>
                  <a:gd name="connsiteX77" fmla="*/ 733996 w 3362992"/>
                  <a:gd name="connsiteY77" fmla="*/ 266986 h 414242"/>
                  <a:gd name="connsiteX78" fmla="*/ 733996 w 3362992"/>
                  <a:gd name="connsiteY78" fmla="*/ 273082 h 414242"/>
                  <a:gd name="connsiteX79" fmla="*/ 752951 w 3362992"/>
                  <a:gd name="connsiteY79" fmla="*/ 273082 h 414242"/>
                  <a:gd name="connsiteX80" fmla="*/ 752951 w 3362992"/>
                  <a:gd name="connsiteY80" fmla="*/ 279178 h 414242"/>
                  <a:gd name="connsiteX81" fmla="*/ 763429 w 3362992"/>
                  <a:gd name="connsiteY81" fmla="*/ 279178 h 414242"/>
                  <a:gd name="connsiteX82" fmla="*/ 763429 w 3362992"/>
                  <a:gd name="connsiteY82" fmla="*/ 285369 h 414242"/>
                  <a:gd name="connsiteX83" fmla="*/ 797147 w 3362992"/>
                  <a:gd name="connsiteY83" fmla="*/ 285369 h 414242"/>
                  <a:gd name="connsiteX84" fmla="*/ 797147 w 3362992"/>
                  <a:gd name="connsiteY84" fmla="*/ 291465 h 414242"/>
                  <a:gd name="connsiteX85" fmla="*/ 803434 w 3362992"/>
                  <a:gd name="connsiteY85" fmla="*/ 291465 h 414242"/>
                  <a:gd name="connsiteX86" fmla="*/ 803434 w 3362992"/>
                  <a:gd name="connsiteY86" fmla="*/ 297561 h 414242"/>
                  <a:gd name="connsiteX87" fmla="*/ 818102 w 3362992"/>
                  <a:gd name="connsiteY87" fmla="*/ 297561 h 414242"/>
                  <a:gd name="connsiteX88" fmla="*/ 818102 w 3362992"/>
                  <a:gd name="connsiteY88" fmla="*/ 303657 h 414242"/>
                  <a:gd name="connsiteX89" fmla="*/ 830770 w 3362992"/>
                  <a:gd name="connsiteY89" fmla="*/ 303657 h 414242"/>
                  <a:gd name="connsiteX90" fmla="*/ 830770 w 3362992"/>
                  <a:gd name="connsiteY90" fmla="*/ 309848 h 414242"/>
                  <a:gd name="connsiteX91" fmla="*/ 856012 w 3362992"/>
                  <a:gd name="connsiteY91" fmla="*/ 309848 h 414242"/>
                  <a:gd name="connsiteX92" fmla="*/ 856012 w 3362992"/>
                  <a:gd name="connsiteY92" fmla="*/ 315944 h 414242"/>
                  <a:gd name="connsiteX93" fmla="*/ 1085278 w 3362992"/>
                  <a:gd name="connsiteY93" fmla="*/ 315944 h 414242"/>
                  <a:gd name="connsiteX94" fmla="*/ 1085278 w 3362992"/>
                  <a:gd name="connsiteY94" fmla="*/ 322136 h 414242"/>
                  <a:gd name="connsiteX95" fmla="*/ 1198816 w 3362992"/>
                  <a:gd name="connsiteY95" fmla="*/ 322136 h 414242"/>
                  <a:gd name="connsiteX96" fmla="*/ 1198816 w 3362992"/>
                  <a:gd name="connsiteY96" fmla="*/ 328327 h 414242"/>
                  <a:gd name="connsiteX97" fmla="*/ 1467993 w 3362992"/>
                  <a:gd name="connsiteY97" fmla="*/ 328327 h 414242"/>
                  <a:gd name="connsiteX98" fmla="*/ 1467993 w 3362992"/>
                  <a:gd name="connsiteY98" fmla="*/ 334613 h 414242"/>
                  <a:gd name="connsiteX99" fmla="*/ 1541621 w 3362992"/>
                  <a:gd name="connsiteY99" fmla="*/ 334613 h 414242"/>
                  <a:gd name="connsiteX100" fmla="*/ 1541621 w 3362992"/>
                  <a:gd name="connsiteY100" fmla="*/ 340900 h 414242"/>
                  <a:gd name="connsiteX101" fmla="*/ 1621536 w 3362992"/>
                  <a:gd name="connsiteY101" fmla="*/ 340900 h 414242"/>
                  <a:gd name="connsiteX102" fmla="*/ 1621536 w 3362992"/>
                  <a:gd name="connsiteY102" fmla="*/ 347186 h 414242"/>
                  <a:gd name="connsiteX103" fmla="*/ 1783461 w 3362992"/>
                  <a:gd name="connsiteY103" fmla="*/ 347186 h 414242"/>
                  <a:gd name="connsiteX104" fmla="*/ 1783461 w 3362992"/>
                  <a:gd name="connsiteY104" fmla="*/ 353663 h 414242"/>
                  <a:gd name="connsiteX105" fmla="*/ 1800320 w 3362992"/>
                  <a:gd name="connsiteY105" fmla="*/ 353663 h 414242"/>
                  <a:gd name="connsiteX106" fmla="*/ 1800320 w 3362992"/>
                  <a:gd name="connsiteY106" fmla="*/ 360045 h 414242"/>
                  <a:gd name="connsiteX107" fmla="*/ 1918144 w 3362992"/>
                  <a:gd name="connsiteY107" fmla="*/ 360045 h 414242"/>
                  <a:gd name="connsiteX108" fmla="*/ 1918144 w 3362992"/>
                  <a:gd name="connsiteY108" fmla="*/ 366522 h 414242"/>
                  <a:gd name="connsiteX109" fmla="*/ 2010632 w 3362992"/>
                  <a:gd name="connsiteY109" fmla="*/ 366522 h 414242"/>
                  <a:gd name="connsiteX110" fmla="*/ 2010632 w 3362992"/>
                  <a:gd name="connsiteY110" fmla="*/ 372904 h 414242"/>
                  <a:gd name="connsiteX111" fmla="*/ 2029587 w 3362992"/>
                  <a:gd name="connsiteY111" fmla="*/ 372904 h 414242"/>
                  <a:gd name="connsiteX112" fmla="*/ 2029587 w 3362992"/>
                  <a:gd name="connsiteY112" fmla="*/ 379381 h 414242"/>
                  <a:gd name="connsiteX113" fmla="*/ 2883408 w 3362992"/>
                  <a:gd name="connsiteY113" fmla="*/ 379381 h 414242"/>
                  <a:gd name="connsiteX114" fmla="*/ 2883408 w 3362992"/>
                  <a:gd name="connsiteY114" fmla="*/ 414242 h 414242"/>
                  <a:gd name="connsiteX115" fmla="*/ 3362992 w 3362992"/>
                  <a:gd name="connsiteY115" fmla="*/ 414242 h 414242"/>
                  <a:gd name="connsiteX0" fmla="*/ 0 w 3346133"/>
                  <a:gd name="connsiteY0" fmla="*/ 0 h 408241"/>
                  <a:gd name="connsiteX1" fmla="*/ 0 w 3346133"/>
                  <a:gd name="connsiteY1" fmla="*/ 12192 h 408241"/>
                  <a:gd name="connsiteX2" fmla="*/ 2096 w 3346133"/>
                  <a:gd name="connsiteY2" fmla="*/ 12192 h 408241"/>
                  <a:gd name="connsiteX3" fmla="*/ 2096 w 3346133"/>
                  <a:gd name="connsiteY3" fmla="*/ 18193 h 408241"/>
                  <a:gd name="connsiteX4" fmla="*/ 8382 w 3346133"/>
                  <a:gd name="connsiteY4" fmla="*/ 18193 h 408241"/>
                  <a:gd name="connsiteX5" fmla="*/ 8382 w 3346133"/>
                  <a:gd name="connsiteY5" fmla="*/ 24289 h 408241"/>
                  <a:gd name="connsiteX6" fmla="*/ 12573 w 3346133"/>
                  <a:gd name="connsiteY6" fmla="*/ 24289 h 408241"/>
                  <a:gd name="connsiteX7" fmla="*/ 12573 w 3346133"/>
                  <a:gd name="connsiteY7" fmla="*/ 30385 h 408241"/>
                  <a:gd name="connsiteX8" fmla="*/ 29432 w 3346133"/>
                  <a:gd name="connsiteY8" fmla="*/ 30385 h 408241"/>
                  <a:gd name="connsiteX9" fmla="*/ 29432 w 3346133"/>
                  <a:gd name="connsiteY9" fmla="*/ 42481 h 408241"/>
                  <a:gd name="connsiteX10" fmla="*/ 33623 w 3346133"/>
                  <a:gd name="connsiteY10" fmla="*/ 42481 h 408241"/>
                  <a:gd name="connsiteX11" fmla="*/ 33623 w 3346133"/>
                  <a:gd name="connsiteY11" fmla="*/ 48577 h 408241"/>
                  <a:gd name="connsiteX12" fmla="*/ 56769 w 3346133"/>
                  <a:gd name="connsiteY12" fmla="*/ 48577 h 408241"/>
                  <a:gd name="connsiteX13" fmla="*/ 56769 w 3346133"/>
                  <a:gd name="connsiteY13" fmla="*/ 54673 h 408241"/>
                  <a:gd name="connsiteX14" fmla="*/ 60960 w 3346133"/>
                  <a:gd name="connsiteY14" fmla="*/ 54673 h 408241"/>
                  <a:gd name="connsiteX15" fmla="*/ 60960 w 3346133"/>
                  <a:gd name="connsiteY15" fmla="*/ 60674 h 408241"/>
                  <a:gd name="connsiteX16" fmla="*/ 67247 w 3346133"/>
                  <a:gd name="connsiteY16" fmla="*/ 60674 h 408241"/>
                  <a:gd name="connsiteX17" fmla="*/ 67247 w 3346133"/>
                  <a:gd name="connsiteY17" fmla="*/ 72866 h 408241"/>
                  <a:gd name="connsiteX18" fmla="*/ 86201 w 3346133"/>
                  <a:gd name="connsiteY18" fmla="*/ 72866 h 408241"/>
                  <a:gd name="connsiteX19" fmla="*/ 86201 w 3346133"/>
                  <a:gd name="connsiteY19" fmla="*/ 78867 h 408241"/>
                  <a:gd name="connsiteX20" fmla="*/ 94583 w 3346133"/>
                  <a:gd name="connsiteY20" fmla="*/ 78867 h 408241"/>
                  <a:gd name="connsiteX21" fmla="*/ 94583 w 3346133"/>
                  <a:gd name="connsiteY21" fmla="*/ 84963 h 408241"/>
                  <a:gd name="connsiteX22" fmla="*/ 107252 w 3346133"/>
                  <a:gd name="connsiteY22" fmla="*/ 84963 h 408241"/>
                  <a:gd name="connsiteX23" fmla="*/ 107252 w 3346133"/>
                  <a:gd name="connsiteY23" fmla="*/ 91059 h 408241"/>
                  <a:gd name="connsiteX24" fmla="*/ 124111 w 3346133"/>
                  <a:gd name="connsiteY24" fmla="*/ 91059 h 408241"/>
                  <a:gd name="connsiteX25" fmla="*/ 124111 w 3346133"/>
                  <a:gd name="connsiteY25" fmla="*/ 97060 h 408241"/>
                  <a:gd name="connsiteX26" fmla="*/ 151448 w 3346133"/>
                  <a:gd name="connsiteY26" fmla="*/ 97060 h 408241"/>
                  <a:gd name="connsiteX27" fmla="*/ 151448 w 3346133"/>
                  <a:gd name="connsiteY27" fmla="*/ 103156 h 408241"/>
                  <a:gd name="connsiteX28" fmla="*/ 153543 w 3346133"/>
                  <a:gd name="connsiteY28" fmla="*/ 103156 h 408241"/>
                  <a:gd name="connsiteX29" fmla="*/ 153543 w 3346133"/>
                  <a:gd name="connsiteY29" fmla="*/ 109252 h 408241"/>
                  <a:gd name="connsiteX30" fmla="*/ 164020 w 3346133"/>
                  <a:gd name="connsiteY30" fmla="*/ 109252 h 408241"/>
                  <a:gd name="connsiteX31" fmla="*/ 164020 w 3346133"/>
                  <a:gd name="connsiteY31" fmla="*/ 115252 h 408241"/>
                  <a:gd name="connsiteX32" fmla="*/ 170307 w 3346133"/>
                  <a:gd name="connsiteY32" fmla="*/ 115252 h 408241"/>
                  <a:gd name="connsiteX33" fmla="*/ 170307 w 3346133"/>
                  <a:gd name="connsiteY33" fmla="*/ 127444 h 408241"/>
                  <a:gd name="connsiteX34" fmla="*/ 178784 w 3346133"/>
                  <a:gd name="connsiteY34" fmla="*/ 127444 h 408241"/>
                  <a:gd name="connsiteX35" fmla="*/ 178784 w 3346133"/>
                  <a:gd name="connsiteY35" fmla="*/ 133445 h 408241"/>
                  <a:gd name="connsiteX36" fmla="*/ 185071 w 3346133"/>
                  <a:gd name="connsiteY36" fmla="*/ 133445 h 408241"/>
                  <a:gd name="connsiteX37" fmla="*/ 185071 w 3346133"/>
                  <a:gd name="connsiteY37" fmla="*/ 145637 h 408241"/>
                  <a:gd name="connsiteX38" fmla="*/ 187166 w 3346133"/>
                  <a:gd name="connsiteY38" fmla="*/ 145637 h 408241"/>
                  <a:gd name="connsiteX39" fmla="*/ 187166 w 3346133"/>
                  <a:gd name="connsiteY39" fmla="*/ 151733 h 408241"/>
                  <a:gd name="connsiteX40" fmla="*/ 199739 w 3346133"/>
                  <a:gd name="connsiteY40" fmla="*/ 151733 h 408241"/>
                  <a:gd name="connsiteX41" fmla="*/ 199739 w 3346133"/>
                  <a:gd name="connsiteY41" fmla="*/ 157734 h 408241"/>
                  <a:gd name="connsiteX42" fmla="*/ 222885 w 3346133"/>
                  <a:gd name="connsiteY42" fmla="*/ 157734 h 408241"/>
                  <a:gd name="connsiteX43" fmla="*/ 222885 w 3346133"/>
                  <a:gd name="connsiteY43" fmla="*/ 163830 h 408241"/>
                  <a:gd name="connsiteX44" fmla="*/ 229267 w 3346133"/>
                  <a:gd name="connsiteY44" fmla="*/ 163830 h 408241"/>
                  <a:gd name="connsiteX45" fmla="*/ 229267 w 3346133"/>
                  <a:gd name="connsiteY45" fmla="*/ 169926 h 408241"/>
                  <a:gd name="connsiteX46" fmla="*/ 237649 w 3346133"/>
                  <a:gd name="connsiteY46" fmla="*/ 169926 h 408241"/>
                  <a:gd name="connsiteX47" fmla="*/ 237649 w 3346133"/>
                  <a:gd name="connsiteY47" fmla="*/ 175927 h 408241"/>
                  <a:gd name="connsiteX48" fmla="*/ 246031 w 3346133"/>
                  <a:gd name="connsiteY48" fmla="*/ 175927 h 408241"/>
                  <a:gd name="connsiteX49" fmla="*/ 246031 w 3346133"/>
                  <a:gd name="connsiteY49" fmla="*/ 182023 h 408241"/>
                  <a:gd name="connsiteX50" fmla="*/ 250222 w 3346133"/>
                  <a:gd name="connsiteY50" fmla="*/ 182023 h 408241"/>
                  <a:gd name="connsiteX51" fmla="*/ 250222 w 3346133"/>
                  <a:gd name="connsiteY51" fmla="*/ 188119 h 408241"/>
                  <a:gd name="connsiteX52" fmla="*/ 323850 w 3346133"/>
                  <a:gd name="connsiteY52" fmla="*/ 188119 h 408241"/>
                  <a:gd name="connsiteX53" fmla="*/ 323850 w 3346133"/>
                  <a:gd name="connsiteY53" fmla="*/ 194119 h 408241"/>
                  <a:gd name="connsiteX54" fmla="*/ 344900 w 3346133"/>
                  <a:gd name="connsiteY54" fmla="*/ 194119 h 408241"/>
                  <a:gd name="connsiteX55" fmla="*/ 344900 w 3346133"/>
                  <a:gd name="connsiteY55" fmla="*/ 200215 h 408241"/>
                  <a:gd name="connsiteX56" fmla="*/ 351187 w 3346133"/>
                  <a:gd name="connsiteY56" fmla="*/ 200215 h 408241"/>
                  <a:gd name="connsiteX57" fmla="*/ 351187 w 3346133"/>
                  <a:gd name="connsiteY57" fmla="*/ 206311 h 408241"/>
                  <a:gd name="connsiteX58" fmla="*/ 393287 w 3346133"/>
                  <a:gd name="connsiteY58" fmla="*/ 206311 h 408241"/>
                  <a:gd name="connsiteX59" fmla="*/ 393287 w 3346133"/>
                  <a:gd name="connsiteY59" fmla="*/ 212312 h 408241"/>
                  <a:gd name="connsiteX60" fmla="*/ 407956 w 3346133"/>
                  <a:gd name="connsiteY60" fmla="*/ 212312 h 408241"/>
                  <a:gd name="connsiteX61" fmla="*/ 407956 w 3346133"/>
                  <a:gd name="connsiteY61" fmla="*/ 218408 h 408241"/>
                  <a:gd name="connsiteX62" fmla="*/ 437483 w 3346133"/>
                  <a:gd name="connsiteY62" fmla="*/ 218408 h 408241"/>
                  <a:gd name="connsiteX63" fmla="*/ 437483 w 3346133"/>
                  <a:gd name="connsiteY63" fmla="*/ 224504 h 408241"/>
                  <a:gd name="connsiteX64" fmla="*/ 439579 w 3346133"/>
                  <a:gd name="connsiteY64" fmla="*/ 224504 h 408241"/>
                  <a:gd name="connsiteX65" fmla="*/ 439579 w 3346133"/>
                  <a:gd name="connsiteY65" fmla="*/ 230505 h 408241"/>
                  <a:gd name="connsiteX66" fmla="*/ 462629 w 3346133"/>
                  <a:gd name="connsiteY66" fmla="*/ 230505 h 408241"/>
                  <a:gd name="connsiteX67" fmla="*/ 462629 w 3346133"/>
                  <a:gd name="connsiteY67" fmla="*/ 236601 h 408241"/>
                  <a:gd name="connsiteX68" fmla="*/ 475298 w 3346133"/>
                  <a:gd name="connsiteY68" fmla="*/ 236601 h 408241"/>
                  <a:gd name="connsiteX69" fmla="*/ 475298 w 3346133"/>
                  <a:gd name="connsiteY69" fmla="*/ 242697 h 408241"/>
                  <a:gd name="connsiteX70" fmla="*/ 511016 w 3346133"/>
                  <a:gd name="connsiteY70" fmla="*/ 242697 h 408241"/>
                  <a:gd name="connsiteX71" fmla="*/ 511016 w 3346133"/>
                  <a:gd name="connsiteY71" fmla="*/ 248793 h 408241"/>
                  <a:gd name="connsiteX72" fmla="*/ 626745 w 3346133"/>
                  <a:gd name="connsiteY72" fmla="*/ 248793 h 408241"/>
                  <a:gd name="connsiteX73" fmla="*/ 626745 w 3346133"/>
                  <a:gd name="connsiteY73" fmla="*/ 254794 h 408241"/>
                  <a:gd name="connsiteX74" fmla="*/ 664559 w 3346133"/>
                  <a:gd name="connsiteY74" fmla="*/ 254794 h 408241"/>
                  <a:gd name="connsiteX75" fmla="*/ 664559 w 3346133"/>
                  <a:gd name="connsiteY75" fmla="*/ 260985 h 408241"/>
                  <a:gd name="connsiteX76" fmla="*/ 717137 w 3346133"/>
                  <a:gd name="connsiteY76" fmla="*/ 260985 h 408241"/>
                  <a:gd name="connsiteX77" fmla="*/ 717137 w 3346133"/>
                  <a:gd name="connsiteY77" fmla="*/ 267081 h 408241"/>
                  <a:gd name="connsiteX78" fmla="*/ 736092 w 3346133"/>
                  <a:gd name="connsiteY78" fmla="*/ 267081 h 408241"/>
                  <a:gd name="connsiteX79" fmla="*/ 736092 w 3346133"/>
                  <a:gd name="connsiteY79" fmla="*/ 273177 h 408241"/>
                  <a:gd name="connsiteX80" fmla="*/ 746570 w 3346133"/>
                  <a:gd name="connsiteY80" fmla="*/ 273177 h 408241"/>
                  <a:gd name="connsiteX81" fmla="*/ 746570 w 3346133"/>
                  <a:gd name="connsiteY81" fmla="*/ 279368 h 408241"/>
                  <a:gd name="connsiteX82" fmla="*/ 780288 w 3346133"/>
                  <a:gd name="connsiteY82" fmla="*/ 279368 h 408241"/>
                  <a:gd name="connsiteX83" fmla="*/ 780288 w 3346133"/>
                  <a:gd name="connsiteY83" fmla="*/ 285464 h 408241"/>
                  <a:gd name="connsiteX84" fmla="*/ 786575 w 3346133"/>
                  <a:gd name="connsiteY84" fmla="*/ 285464 h 408241"/>
                  <a:gd name="connsiteX85" fmla="*/ 786575 w 3346133"/>
                  <a:gd name="connsiteY85" fmla="*/ 291560 h 408241"/>
                  <a:gd name="connsiteX86" fmla="*/ 801243 w 3346133"/>
                  <a:gd name="connsiteY86" fmla="*/ 291560 h 408241"/>
                  <a:gd name="connsiteX87" fmla="*/ 801243 w 3346133"/>
                  <a:gd name="connsiteY87" fmla="*/ 297656 h 408241"/>
                  <a:gd name="connsiteX88" fmla="*/ 813911 w 3346133"/>
                  <a:gd name="connsiteY88" fmla="*/ 297656 h 408241"/>
                  <a:gd name="connsiteX89" fmla="*/ 813911 w 3346133"/>
                  <a:gd name="connsiteY89" fmla="*/ 303847 h 408241"/>
                  <a:gd name="connsiteX90" fmla="*/ 839153 w 3346133"/>
                  <a:gd name="connsiteY90" fmla="*/ 303847 h 408241"/>
                  <a:gd name="connsiteX91" fmla="*/ 839153 w 3346133"/>
                  <a:gd name="connsiteY91" fmla="*/ 309943 h 408241"/>
                  <a:gd name="connsiteX92" fmla="*/ 1068419 w 3346133"/>
                  <a:gd name="connsiteY92" fmla="*/ 309943 h 408241"/>
                  <a:gd name="connsiteX93" fmla="*/ 1068419 w 3346133"/>
                  <a:gd name="connsiteY93" fmla="*/ 316135 h 408241"/>
                  <a:gd name="connsiteX94" fmla="*/ 1181957 w 3346133"/>
                  <a:gd name="connsiteY94" fmla="*/ 316135 h 408241"/>
                  <a:gd name="connsiteX95" fmla="*/ 1181957 w 3346133"/>
                  <a:gd name="connsiteY95" fmla="*/ 322326 h 408241"/>
                  <a:gd name="connsiteX96" fmla="*/ 1451134 w 3346133"/>
                  <a:gd name="connsiteY96" fmla="*/ 322326 h 408241"/>
                  <a:gd name="connsiteX97" fmla="*/ 1451134 w 3346133"/>
                  <a:gd name="connsiteY97" fmla="*/ 328612 h 408241"/>
                  <a:gd name="connsiteX98" fmla="*/ 1524762 w 3346133"/>
                  <a:gd name="connsiteY98" fmla="*/ 328612 h 408241"/>
                  <a:gd name="connsiteX99" fmla="*/ 1524762 w 3346133"/>
                  <a:gd name="connsiteY99" fmla="*/ 334899 h 408241"/>
                  <a:gd name="connsiteX100" fmla="*/ 1604677 w 3346133"/>
                  <a:gd name="connsiteY100" fmla="*/ 334899 h 408241"/>
                  <a:gd name="connsiteX101" fmla="*/ 1604677 w 3346133"/>
                  <a:gd name="connsiteY101" fmla="*/ 341185 h 408241"/>
                  <a:gd name="connsiteX102" fmla="*/ 1766602 w 3346133"/>
                  <a:gd name="connsiteY102" fmla="*/ 341185 h 408241"/>
                  <a:gd name="connsiteX103" fmla="*/ 1766602 w 3346133"/>
                  <a:gd name="connsiteY103" fmla="*/ 347662 h 408241"/>
                  <a:gd name="connsiteX104" fmla="*/ 1783461 w 3346133"/>
                  <a:gd name="connsiteY104" fmla="*/ 347662 h 408241"/>
                  <a:gd name="connsiteX105" fmla="*/ 1783461 w 3346133"/>
                  <a:gd name="connsiteY105" fmla="*/ 354044 h 408241"/>
                  <a:gd name="connsiteX106" fmla="*/ 1901285 w 3346133"/>
                  <a:gd name="connsiteY106" fmla="*/ 354044 h 408241"/>
                  <a:gd name="connsiteX107" fmla="*/ 1901285 w 3346133"/>
                  <a:gd name="connsiteY107" fmla="*/ 360521 h 408241"/>
                  <a:gd name="connsiteX108" fmla="*/ 1993773 w 3346133"/>
                  <a:gd name="connsiteY108" fmla="*/ 360521 h 408241"/>
                  <a:gd name="connsiteX109" fmla="*/ 1993773 w 3346133"/>
                  <a:gd name="connsiteY109" fmla="*/ 366903 h 408241"/>
                  <a:gd name="connsiteX110" fmla="*/ 2012728 w 3346133"/>
                  <a:gd name="connsiteY110" fmla="*/ 366903 h 408241"/>
                  <a:gd name="connsiteX111" fmla="*/ 2012728 w 3346133"/>
                  <a:gd name="connsiteY111" fmla="*/ 373380 h 408241"/>
                  <a:gd name="connsiteX112" fmla="*/ 2866549 w 3346133"/>
                  <a:gd name="connsiteY112" fmla="*/ 373380 h 408241"/>
                  <a:gd name="connsiteX113" fmla="*/ 2866549 w 3346133"/>
                  <a:gd name="connsiteY113" fmla="*/ 408241 h 408241"/>
                  <a:gd name="connsiteX114" fmla="*/ 3346133 w 3346133"/>
                  <a:gd name="connsiteY114" fmla="*/ 408241 h 408241"/>
                  <a:gd name="connsiteX0" fmla="*/ 0 w 3346133"/>
                  <a:gd name="connsiteY0" fmla="*/ 0 h 396049"/>
                  <a:gd name="connsiteX1" fmla="*/ 2096 w 3346133"/>
                  <a:gd name="connsiteY1" fmla="*/ 0 h 396049"/>
                  <a:gd name="connsiteX2" fmla="*/ 2096 w 3346133"/>
                  <a:gd name="connsiteY2" fmla="*/ 6001 h 396049"/>
                  <a:gd name="connsiteX3" fmla="*/ 8382 w 3346133"/>
                  <a:gd name="connsiteY3" fmla="*/ 6001 h 396049"/>
                  <a:gd name="connsiteX4" fmla="*/ 8382 w 3346133"/>
                  <a:gd name="connsiteY4" fmla="*/ 12097 h 396049"/>
                  <a:gd name="connsiteX5" fmla="*/ 12573 w 3346133"/>
                  <a:gd name="connsiteY5" fmla="*/ 12097 h 396049"/>
                  <a:gd name="connsiteX6" fmla="*/ 12573 w 3346133"/>
                  <a:gd name="connsiteY6" fmla="*/ 18193 h 396049"/>
                  <a:gd name="connsiteX7" fmla="*/ 29432 w 3346133"/>
                  <a:gd name="connsiteY7" fmla="*/ 18193 h 396049"/>
                  <a:gd name="connsiteX8" fmla="*/ 29432 w 3346133"/>
                  <a:gd name="connsiteY8" fmla="*/ 30289 h 396049"/>
                  <a:gd name="connsiteX9" fmla="*/ 33623 w 3346133"/>
                  <a:gd name="connsiteY9" fmla="*/ 30289 h 396049"/>
                  <a:gd name="connsiteX10" fmla="*/ 33623 w 3346133"/>
                  <a:gd name="connsiteY10" fmla="*/ 36385 h 396049"/>
                  <a:gd name="connsiteX11" fmla="*/ 56769 w 3346133"/>
                  <a:gd name="connsiteY11" fmla="*/ 36385 h 396049"/>
                  <a:gd name="connsiteX12" fmla="*/ 56769 w 3346133"/>
                  <a:gd name="connsiteY12" fmla="*/ 42481 h 396049"/>
                  <a:gd name="connsiteX13" fmla="*/ 60960 w 3346133"/>
                  <a:gd name="connsiteY13" fmla="*/ 42481 h 396049"/>
                  <a:gd name="connsiteX14" fmla="*/ 60960 w 3346133"/>
                  <a:gd name="connsiteY14" fmla="*/ 48482 h 396049"/>
                  <a:gd name="connsiteX15" fmla="*/ 67247 w 3346133"/>
                  <a:gd name="connsiteY15" fmla="*/ 48482 h 396049"/>
                  <a:gd name="connsiteX16" fmla="*/ 67247 w 3346133"/>
                  <a:gd name="connsiteY16" fmla="*/ 60674 h 396049"/>
                  <a:gd name="connsiteX17" fmla="*/ 86201 w 3346133"/>
                  <a:gd name="connsiteY17" fmla="*/ 60674 h 396049"/>
                  <a:gd name="connsiteX18" fmla="*/ 86201 w 3346133"/>
                  <a:gd name="connsiteY18" fmla="*/ 66675 h 396049"/>
                  <a:gd name="connsiteX19" fmla="*/ 94583 w 3346133"/>
                  <a:gd name="connsiteY19" fmla="*/ 66675 h 396049"/>
                  <a:gd name="connsiteX20" fmla="*/ 94583 w 3346133"/>
                  <a:gd name="connsiteY20" fmla="*/ 72771 h 396049"/>
                  <a:gd name="connsiteX21" fmla="*/ 107252 w 3346133"/>
                  <a:gd name="connsiteY21" fmla="*/ 72771 h 396049"/>
                  <a:gd name="connsiteX22" fmla="*/ 107252 w 3346133"/>
                  <a:gd name="connsiteY22" fmla="*/ 78867 h 396049"/>
                  <a:gd name="connsiteX23" fmla="*/ 124111 w 3346133"/>
                  <a:gd name="connsiteY23" fmla="*/ 78867 h 396049"/>
                  <a:gd name="connsiteX24" fmla="*/ 124111 w 3346133"/>
                  <a:gd name="connsiteY24" fmla="*/ 84868 h 396049"/>
                  <a:gd name="connsiteX25" fmla="*/ 151448 w 3346133"/>
                  <a:gd name="connsiteY25" fmla="*/ 84868 h 396049"/>
                  <a:gd name="connsiteX26" fmla="*/ 151448 w 3346133"/>
                  <a:gd name="connsiteY26" fmla="*/ 90964 h 396049"/>
                  <a:gd name="connsiteX27" fmla="*/ 153543 w 3346133"/>
                  <a:gd name="connsiteY27" fmla="*/ 90964 h 396049"/>
                  <a:gd name="connsiteX28" fmla="*/ 153543 w 3346133"/>
                  <a:gd name="connsiteY28" fmla="*/ 97060 h 396049"/>
                  <a:gd name="connsiteX29" fmla="*/ 164020 w 3346133"/>
                  <a:gd name="connsiteY29" fmla="*/ 97060 h 396049"/>
                  <a:gd name="connsiteX30" fmla="*/ 164020 w 3346133"/>
                  <a:gd name="connsiteY30" fmla="*/ 103060 h 396049"/>
                  <a:gd name="connsiteX31" fmla="*/ 170307 w 3346133"/>
                  <a:gd name="connsiteY31" fmla="*/ 103060 h 396049"/>
                  <a:gd name="connsiteX32" fmla="*/ 170307 w 3346133"/>
                  <a:gd name="connsiteY32" fmla="*/ 115252 h 396049"/>
                  <a:gd name="connsiteX33" fmla="*/ 178784 w 3346133"/>
                  <a:gd name="connsiteY33" fmla="*/ 115252 h 396049"/>
                  <a:gd name="connsiteX34" fmla="*/ 178784 w 3346133"/>
                  <a:gd name="connsiteY34" fmla="*/ 121253 h 396049"/>
                  <a:gd name="connsiteX35" fmla="*/ 185071 w 3346133"/>
                  <a:gd name="connsiteY35" fmla="*/ 121253 h 396049"/>
                  <a:gd name="connsiteX36" fmla="*/ 185071 w 3346133"/>
                  <a:gd name="connsiteY36" fmla="*/ 133445 h 396049"/>
                  <a:gd name="connsiteX37" fmla="*/ 187166 w 3346133"/>
                  <a:gd name="connsiteY37" fmla="*/ 133445 h 396049"/>
                  <a:gd name="connsiteX38" fmla="*/ 187166 w 3346133"/>
                  <a:gd name="connsiteY38" fmla="*/ 139541 h 396049"/>
                  <a:gd name="connsiteX39" fmla="*/ 199739 w 3346133"/>
                  <a:gd name="connsiteY39" fmla="*/ 139541 h 396049"/>
                  <a:gd name="connsiteX40" fmla="*/ 199739 w 3346133"/>
                  <a:gd name="connsiteY40" fmla="*/ 145542 h 396049"/>
                  <a:gd name="connsiteX41" fmla="*/ 222885 w 3346133"/>
                  <a:gd name="connsiteY41" fmla="*/ 145542 h 396049"/>
                  <a:gd name="connsiteX42" fmla="*/ 222885 w 3346133"/>
                  <a:gd name="connsiteY42" fmla="*/ 151638 h 396049"/>
                  <a:gd name="connsiteX43" fmla="*/ 229267 w 3346133"/>
                  <a:gd name="connsiteY43" fmla="*/ 151638 h 396049"/>
                  <a:gd name="connsiteX44" fmla="*/ 229267 w 3346133"/>
                  <a:gd name="connsiteY44" fmla="*/ 157734 h 396049"/>
                  <a:gd name="connsiteX45" fmla="*/ 237649 w 3346133"/>
                  <a:gd name="connsiteY45" fmla="*/ 157734 h 396049"/>
                  <a:gd name="connsiteX46" fmla="*/ 237649 w 3346133"/>
                  <a:gd name="connsiteY46" fmla="*/ 163735 h 396049"/>
                  <a:gd name="connsiteX47" fmla="*/ 246031 w 3346133"/>
                  <a:gd name="connsiteY47" fmla="*/ 163735 h 396049"/>
                  <a:gd name="connsiteX48" fmla="*/ 246031 w 3346133"/>
                  <a:gd name="connsiteY48" fmla="*/ 169831 h 396049"/>
                  <a:gd name="connsiteX49" fmla="*/ 250222 w 3346133"/>
                  <a:gd name="connsiteY49" fmla="*/ 169831 h 396049"/>
                  <a:gd name="connsiteX50" fmla="*/ 250222 w 3346133"/>
                  <a:gd name="connsiteY50" fmla="*/ 175927 h 396049"/>
                  <a:gd name="connsiteX51" fmla="*/ 323850 w 3346133"/>
                  <a:gd name="connsiteY51" fmla="*/ 175927 h 396049"/>
                  <a:gd name="connsiteX52" fmla="*/ 323850 w 3346133"/>
                  <a:gd name="connsiteY52" fmla="*/ 181927 h 396049"/>
                  <a:gd name="connsiteX53" fmla="*/ 344900 w 3346133"/>
                  <a:gd name="connsiteY53" fmla="*/ 181927 h 396049"/>
                  <a:gd name="connsiteX54" fmla="*/ 344900 w 3346133"/>
                  <a:gd name="connsiteY54" fmla="*/ 188023 h 396049"/>
                  <a:gd name="connsiteX55" fmla="*/ 351187 w 3346133"/>
                  <a:gd name="connsiteY55" fmla="*/ 188023 h 396049"/>
                  <a:gd name="connsiteX56" fmla="*/ 351187 w 3346133"/>
                  <a:gd name="connsiteY56" fmla="*/ 194119 h 396049"/>
                  <a:gd name="connsiteX57" fmla="*/ 393287 w 3346133"/>
                  <a:gd name="connsiteY57" fmla="*/ 194119 h 396049"/>
                  <a:gd name="connsiteX58" fmla="*/ 393287 w 3346133"/>
                  <a:gd name="connsiteY58" fmla="*/ 200120 h 396049"/>
                  <a:gd name="connsiteX59" fmla="*/ 407956 w 3346133"/>
                  <a:gd name="connsiteY59" fmla="*/ 200120 h 396049"/>
                  <a:gd name="connsiteX60" fmla="*/ 407956 w 3346133"/>
                  <a:gd name="connsiteY60" fmla="*/ 206216 h 396049"/>
                  <a:gd name="connsiteX61" fmla="*/ 437483 w 3346133"/>
                  <a:gd name="connsiteY61" fmla="*/ 206216 h 396049"/>
                  <a:gd name="connsiteX62" fmla="*/ 437483 w 3346133"/>
                  <a:gd name="connsiteY62" fmla="*/ 212312 h 396049"/>
                  <a:gd name="connsiteX63" fmla="*/ 439579 w 3346133"/>
                  <a:gd name="connsiteY63" fmla="*/ 212312 h 396049"/>
                  <a:gd name="connsiteX64" fmla="*/ 439579 w 3346133"/>
                  <a:gd name="connsiteY64" fmla="*/ 218313 h 396049"/>
                  <a:gd name="connsiteX65" fmla="*/ 462629 w 3346133"/>
                  <a:gd name="connsiteY65" fmla="*/ 218313 h 396049"/>
                  <a:gd name="connsiteX66" fmla="*/ 462629 w 3346133"/>
                  <a:gd name="connsiteY66" fmla="*/ 224409 h 396049"/>
                  <a:gd name="connsiteX67" fmla="*/ 475298 w 3346133"/>
                  <a:gd name="connsiteY67" fmla="*/ 224409 h 396049"/>
                  <a:gd name="connsiteX68" fmla="*/ 475298 w 3346133"/>
                  <a:gd name="connsiteY68" fmla="*/ 230505 h 396049"/>
                  <a:gd name="connsiteX69" fmla="*/ 511016 w 3346133"/>
                  <a:gd name="connsiteY69" fmla="*/ 230505 h 396049"/>
                  <a:gd name="connsiteX70" fmla="*/ 511016 w 3346133"/>
                  <a:gd name="connsiteY70" fmla="*/ 236601 h 396049"/>
                  <a:gd name="connsiteX71" fmla="*/ 626745 w 3346133"/>
                  <a:gd name="connsiteY71" fmla="*/ 236601 h 396049"/>
                  <a:gd name="connsiteX72" fmla="*/ 626745 w 3346133"/>
                  <a:gd name="connsiteY72" fmla="*/ 242602 h 396049"/>
                  <a:gd name="connsiteX73" fmla="*/ 664559 w 3346133"/>
                  <a:gd name="connsiteY73" fmla="*/ 242602 h 396049"/>
                  <a:gd name="connsiteX74" fmla="*/ 664559 w 3346133"/>
                  <a:gd name="connsiteY74" fmla="*/ 248793 h 396049"/>
                  <a:gd name="connsiteX75" fmla="*/ 717137 w 3346133"/>
                  <a:gd name="connsiteY75" fmla="*/ 248793 h 396049"/>
                  <a:gd name="connsiteX76" fmla="*/ 717137 w 3346133"/>
                  <a:gd name="connsiteY76" fmla="*/ 254889 h 396049"/>
                  <a:gd name="connsiteX77" fmla="*/ 736092 w 3346133"/>
                  <a:gd name="connsiteY77" fmla="*/ 254889 h 396049"/>
                  <a:gd name="connsiteX78" fmla="*/ 736092 w 3346133"/>
                  <a:gd name="connsiteY78" fmla="*/ 260985 h 396049"/>
                  <a:gd name="connsiteX79" fmla="*/ 746570 w 3346133"/>
                  <a:gd name="connsiteY79" fmla="*/ 260985 h 396049"/>
                  <a:gd name="connsiteX80" fmla="*/ 746570 w 3346133"/>
                  <a:gd name="connsiteY80" fmla="*/ 267176 h 396049"/>
                  <a:gd name="connsiteX81" fmla="*/ 780288 w 3346133"/>
                  <a:gd name="connsiteY81" fmla="*/ 267176 h 396049"/>
                  <a:gd name="connsiteX82" fmla="*/ 780288 w 3346133"/>
                  <a:gd name="connsiteY82" fmla="*/ 273272 h 396049"/>
                  <a:gd name="connsiteX83" fmla="*/ 786575 w 3346133"/>
                  <a:gd name="connsiteY83" fmla="*/ 273272 h 396049"/>
                  <a:gd name="connsiteX84" fmla="*/ 786575 w 3346133"/>
                  <a:gd name="connsiteY84" fmla="*/ 279368 h 396049"/>
                  <a:gd name="connsiteX85" fmla="*/ 801243 w 3346133"/>
                  <a:gd name="connsiteY85" fmla="*/ 279368 h 396049"/>
                  <a:gd name="connsiteX86" fmla="*/ 801243 w 3346133"/>
                  <a:gd name="connsiteY86" fmla="*/ 285464 h 396049"/>
                  <a:gd name="connsiteX87" fmla="*/ 813911 w 3346133"/>
                  <a:gd name="connsiteY87" fmla="*/ 285464 h 396049"/>
                  <a:gd name="connsiteX88" fmla="*/ 813911 w 3346133"/>
                  <a:gd name="connsiteY88" fmla="*/ 291655 h 396049"/>
                  <a:gd name="connsiteX89" fmla="*/ 839153 w 3346133"/>
                  <a:gd name="connsiteY89" fmla="*/ 291655 h 396049"/>
                  <a:gd name="connsiteX90" fmla="*/ 839153 w 3346133"/>
                  <a:gd name="connsiteY90" fmla="*/ 297751 h 396049"/>
                  <a:gd name="connsiteX91" fmla="*/ 1068419 w 3346133"/>
                  <a:gd name="connsiteY91" fmla="*/ 297751 h 396049"/>
                  <a:gd name="connsiteX92" fmla="*/ 1068419 w 3346133"/>
                  <a:gd name="connsiteY92" fmla="*/ 303943 h 396049"/>
                  <a:gd name="connsiteX93" fmla="*/ 1181957 w 3346133"/>
                  <a:gd name="connsiteY93" fmla="*/ 303943 h 396049"/>
                  <a:gd name="connsiteX94" fmla="*/ 1181957 w 3346133"/>
                  <a:gd name="connsiteY94" fmla="*/ 310134 h 396049"/>
                  <a:gd name="connsiteX95" fmla="*/ 1451134 w 3346133"/>
                  <a:gd name="connsiteY95" fmla="*/ 310134 h 396049"/>
                  <a:gd name="connsiteX96" fmla="*/ 1451134 w 3346133"/>
                  <a:gd name="connsiteY96" fmla="*/ 316420 h 396049"/>
                  <a:gd name="connsiteX97" fmla="*/ 1524762 w 3346133"/>
                  <a:gd name="connsiteY97" fmla="*/ 316420 h 396049"/>
                  <a:gd name="connsiteX98" fmla="*/ 1524762 w 3346133"/>
                  <a:gd name="connsiteY98" fmla="*/ 322707 h 396049"/>
                  <a:gd name="connsiteX99" fmla="*/ 1604677 w 3346133"/>
                  <a:gd name="connsiteY99" fmla="*/ 322707 h 396049"/>
                  <a:gd name="connsiteX100" fmla="*/ 1604677 w 3346133"/>
                  <a:gd name="connsiteY100" fmla="*/ 328993 h 396049"/>
                  <a:gd name="connsiteX101" fmla="*/ 1766602 w 3346133"/>
                  <a:gd name="connsiteY101" fmla="*/ 328993 h 396049"/>
                  <a:gd name="connsiteX102" fmla="*/ 1766602 w 3346133"/>
                  <a:gd name="connsiteY102" fmla="*/ 335470 h 396049"/>
                  <a:gd name="connsiteX103" fmla="*/ 1783461 w 3346133"/>
                  <a:gd name="connsiteY103" fmla="*/ 335470 h 396049"/>
                  <a:gd name="connsiteX104" fmla="*/ 1783461 w 3346133"/>
                  <a:gd name="connsiteY104" fmla="*/ 341852 h 396049"/>
                  <a:gd name="connsiteX105" fmla="*/ 1901285 w 3346133"/>
                  <a:gd name="connsiteY105" fmla="*/ 341852 h 396049"/>
                  <a:gd name="connsiteX106" fmla="*/ 1901285 w 3346133"/>
                  <a:gd name="connsiteY106" fmla="*/ 348329 h 396049"/>
                  <a:gd name="connsiteX107" fmla="*/ 1993773 w 3346133"/>
                  <a:gd name="connsiteY107" fmla="*/ 348329 h 396049"/>
                  <a:gd name="connsiteX108" fmla="*/ 1993773 w 3346133"/>
                  <a:gd name="connsiteY108" fmla="*/ 354711 h 396049"/>
                  <a:gd name="connsiteX109" fmla="*/ 2012728 w 3346133"/>
                  <a:gd name="connsiteY109" fmla="*/ 354711 h 396049"/>
                  <a:gd name="connsiteX110" fmla="*/ 2012728 w 3346133"/>
                  <a:gd name="connsiteY110" fmla="*/ 361188 h 396049"/>
                  <a:gd name="connsiteX111" fmla="*/ 2866549 w 3346133"/>
                  <a:gd name="connsiteY111" fmla="*/ 361188 h 396049"/>
                  <a:gd name="connsiteX112" fmla="*/ 2866549 w 3346133"/>
                  <a:gd name="connsiteY112" fmla="*/ 396049 h 396049"/>
                  <a:gd name="connsiteX113" fmla="*/ 3346133 w 3346133"/>
                  <a:gd name="connsiteY113" fmla="*/ 396049 h 396049"/>
                  <a:gd name="connsiteX0" fmla="*/ 0 w 3346133"/>
                  <a:gd name="connsiteY0" fmla="*/ 0 h 396049"/>
                  <a:gd name="connsiteX1" fmla="*/ 2096 w 3346133"/>
                  <a:gd name="connsiteY1" fmla="*/ 0 h 396049"/>
                  <a:gd name="connsiteX2" fmla="*/ 2096 w 3346133"/>
                  <a:gd name="connsiteY2" fmla="*/ 6001 h 396049"/>
                  <a:gd name="connsiteX3" fmla="*/ 8382 w 3346133"/>
                  <a:gd name="connsiteY3" fmla="*/ 12097 h 396049"/>
                  <a:gd name="connsiteX4" fmla="*/ 12573 w 3346133"/>
                  <a:gd name="connsiteY4" fmla="*/ 12097 h 396049"/>
                  <a:gd name="connsiteX5" fmla="*/ 12573 w 3346133"/>
                  <a:gd name="connsiteY5" fmla="*/ 18193 h 396049"/>
                  <a:gd name="connsiteX6" fmla="*/ 29432 w 3346133"/>
                  <a:gd name="connsiteY6" fmla="*/ 18193 h 396049"/>
                  <a:gd name="connsiteX7" fmla="*/ 29432 w 3346133"/>
                  <a:gd name="connsiteY7" fmla="*/ 30289 h 396049"/>
                  <a:gd name="connsiteX8" fmla="*/ 33623 w 3346133"/>
                  <a:gd name="connsiteY8" fmla="*/ 30289 h 396049"/>
                  <a:gd name="connsiteX9" fmla="*/ 33623 w 3346133"/>
                  <a:gd name="connsiteY9" fmla="*/ 36385 h 396049"/>
                  <a:gd name="connsiteX10" fmla="*/ 56769 w 3346133"/>
                  <a:gd name="connsiteY10" fmla="*/ 36385 h 396049"/>
                  <a:gd name="connsiteX11" fmla="*/ 56769 w 3346133"/>
                  <a:gd name="connsiteY11" fmla="*/ 42481 h 396049"/>
                  <a:gd name="connsiteX12" fmla="*/ 60960 w 3346133"/>
                  <a:gd name="connsiteY12" fmla="*/ 42481 h 396049"/>
                  <a:gd name="connsiteX13" fmla="*/ 60960 w 3346133"/>
                  <a:gd name="connsiteY13" fmla="*/ 48482 h 396049"/>
                  <a:gd name="connsiteX14" fmla="*/ 67247 w 3346133"/>
                  <a:gd name="connsiteY14" fmla="*/ 48482 h 396049"/>
                  <a:gd name="connsiteX15" fmla="*/ 67247 w 3346133"/>
                  <a:gd name="connsiteY15" fmla="*/ 60674 h 396049"/>
                  <a:gd name="connsiteX16" fmla="*/ 86201 w 3346133"/>
                  <a:gd name="connsiteY16" fmla="*/ 60674 h 396049"/>
                  <a:gd name="connsiteX17" fmla="*/ 86201 w 3346133"/>
                  <a:gd name="connsiteY17" fmla="*/ 66675 h 396049"/>
                  <a:gd name="connsiteX18" fmla="*/ 94583 w 3346133"/>
                  <a:gd name="connsiteY18" fmla="*/ 66675 h 396049"/>
                  <a:gd name="connsiteX19" fmla="*/ 94583 w 3346133"/>
                  <a:gd name="connsiteY19" fmla="*/ 72771 h 396049"/>
                  <a:gd name="connsiteX20" fmla="*/ 107252 w 3346133"/>
                  <a:gd name="connsiteY20" fmla="*/ 72771 h 396049"/>
                  <a:gd name="connsiteX21" fmla="*/ 107252 w 3346133"/>
                  <a:gd name="connsiteY21" fmla="*/ 78867 h 396049"/>
                  <a:gd name="connsiteX22" fmla="*/ 124111 w 3346133"/>
                  <a:gd name="connsiteY22" fmla="*/ 78867 h 396049"/>
                  <a:gd name="connsiteX23" fmla="*/ 124111 w 3346133"/>
                  <a:gd name="connsiteY23" fmla="*/ 84868 h 396049"/>
                  <a:gd name="connsiteX24" fmla="*/ 151448 w 3346133"/>
                  <a:gd name="connsiteY24" fmla="*/ 84868 h 396049"/>
                  <a:gd name="connsiteX25" fmla="*/ 151448 w 3346133"/>
                  <a:gd name="connsiteY25" fmla="*/ 90964 h 396049"/>
                  <a:gd name="connsiteX26" fmla="*/ 153543 w 3346133"/>
                  <a:gd name="connsiteY26" fmla="*/ 90964 h 396049"/>
                  <a:gd name="connsiteX27" fmla="*/ 153543 w 3346133"/>
                  <a:gd name="connsiteY27" fmla="*/ 97060 h 396049"/>
                  <a:gd name="connsiteX28" fmla="*/ 164020 w 3346133"/>
                  <a:gd name="connsiteY28" fmla="*/ 97060 h 396049"/>
                  <a:gd name="connsiteX29" fmla="*/ 164020 w 3346133"/>
                  <a:gd name="connsiteY29" fmla="*/ 103060 h 396049"/>
                  <a:gd name="connsiteX30" fmla="*/ 170307 w 3346133"/>
                  <a:gd name="connsiteY30" fmla="*/ 103060 h 396049"/>
                  <a:gd name="connsiteX31" fmla="*/ 170307 w 3346133"/>
                  <a:gd name="connsiteY31" fmla="*/ 115252 h 396049"/>
                  <a:gd name="connsiteX32" fmla="*/ 178784 w 3346133"/>
                  <a:gd name="connsiteY32" fmla="*/ 115252 h 396049"/>
                  <a:gd name="connsiteX33" fmla="*/ 178784 w 3346133"/>
                  <a:gd name="connsiteY33" fmla="*/ 121253 h 396049"/>
                  <a:gd name="connsiteX34" fmla="*/ 185071 w 3346133"/>
                  <a:gd name="connsiteY34" fmla="*/ 121253 h 396049"/>
                  <a:gd name="connsiteX35" fmla="*/ 185071 w 3346133"/>
                  <a:gd name="connsiteY35" fmla="*/ 133445 h 396049"/>
                  <a:gd name="connsiteX36" fmla="*/ 187166 w 3346133"/>
                  <a:gd name="connsiteY36" fmla="*/ 133445 h 396049"/>
                  <a:gd name="connsiteX37" fmla="*/ 187166 w 3346133"/>
                  <a:gd name="connsiteY37" fmla="*/ 139541 h 396049"/>
                  <a:gd name="connsiteX38" fmla="*/ 199739 w 3346133"/>
                  <a:gd name="connsiteY38" fmla="*/ 139541 h 396049"/>
                  <a:gd name="connsiteX39" fmla="*/ 199739 w 3346133"/>
                  <a:gd name="connsiteY39" fmla="*/ 145542 h 396049"/>
                  <a:gd name="connsiteX40" fmla="*/ 222885 w 3346133"/>
                  <a:gd name="connsiteY40" fmla="*/ 145542 h 396049"/>
                  <a:gd name="connsiteX41" fmla="*/ 222885 w 3346133"/>
                  <a:gd name="connsiteY41" fmla="*/ 151638 h 396049"/>
                  <a:gd name="connsiteX42" fmla="*/ 229267 w 3346133"/>
                  <a:gd name="connsiteY42" fmla="*/ 151638 h 396049"/>
                  <a:gd name="connsiteX43" fmla="*/ 229267 w 3346133"/>
                  <a:gd name="connsiteY43" fmla="*/ 157734 h 396049"/>
                  <a:gd name="connsiteX44" fmla="*/ 237649 w 3346133"/>
                  <a:gd name="connsiteY44" fmla="*/ 157734 h 396049"/>
                  <a:gd name="connsiteX45" fmla="*/ 237649 w 3346133"/>
                  <a:gd name="connsiteY45" fmla="*/ 163735 h 396049"/>
                  <a:gd name="connsiteX46" fmla="*/ 246031 w 3346133"/>
                  <a:gd name="connsiteY46" fmla="*/ 163735 h 396049"/>
                  <a:gd name="connsiteX47" fmla="*/ 246031 w 3346133"/>
                  <a:gd name="connsiteY47" fmla="*/ 169831 h 396049"/>
                  <a:gd name="connsiteX48" fmla="*/ 250222 w 3346133"/>
                  <a:gd name="connsiteY48" fmla="*/ 169831 h 396049"/>
                  <a:gd name="connsiteX49" fmla="*/ 250222 w 3346133"/>
                  <a:gd name="connsiteY49" fmla="*/ 175927 h 396049"/>
                  <a:gd name="connsiteX50" fmla="*/ 323850 w 3346133"/>
                  <a:gd name="connsiteY50" fmla="*/ 175927 h 396049"/>
                  <a:gd name="connsiteX51" fmla="*/ 323850 w 3346133"/>
                  <a:gd name="connsiteY51" fmla="*/ 181927 h 396049"/>
                  <a:gd name="connsiteX52" fmla="*/ 344900 w 3346133"/>
                  <a:gd name="connsiteY52" fmla="*/ 181927 h 396049"/>
                  <a:gd name="connsiteX53" fmla="*/ 344900 w 3346133"/>
                  <a:gd name="connsiteY53" fmla="*/ 188023 h 396049"/>
                  <a:gd name="connsiteX54" fmla="*/ 351187 w 3346133"/>
                  <a:gd name="connsiteY54" fmla="*/ 188023 h 396049"/>
                  <a:gd name="connsiteX55" fmla="*/ 351187 w 3346133"/>
                  <a:gd name="connsiteY55" fmla="*/ 194119 h 396049"/>
                  <a:gd name="connsiteX56" fmla="*/ 393287 w 3346133"/>
                  <a:gd name="connsiteY56" fmla="*/ 194119 h 396049"/>
                  <a:gd name="connsiteX57" fmla="*/ 393287 w 3346133"/>
                  <a:gd name="connsiteY57" fmla="*/ 200120 h 396049"/>
                  <a:gd name="connsiteX58" fmla="*/ 407956 w 3346133"/>
                  <a:gd name="connsiteY58" fmla="*/ 200120 h 396049"/>
                  <a:gd name="connsiteX59" fmla="*/ 407956 w 3346133"/>
                  <a:gd name="connsiteY59" fmla="*/ 206216 h 396049"/>
                  <a:gd name="connsiteX60" fmla="*/ 437483 w 3346133"/>
                  <a:gd name="connsiteY60" fmla="*/ 206216 h 396049"/>
                  <a:gd name="connsiteX61" fmla="*/ 437483 w 3346133"/>
                  <a:gd name="connsiteY61" fmla="*/ 212312 h 396049"/>
                  <a:gd name="connsiteX62" fmla="*/ 439579 w 3346133"/>
                  <a:gd name="connsiteY62" fmla="*/ 212312 h 396049"/>
                  <a:gd name="connsiteX63" fmla="*/ 439579 w 3346133"/>
                  <a:gd name="connsiteY63" fmla="*/ 218313 h 396049"/>
                  <a:gd name="connsiteX64" fmla="*/ 462629 w 3346133"/>
                  <a:gd name="connsiteY64" fmla="*/ 218313 h 396049"/>
                  <a:gd name="connsiteX65" fmla="*/ 462629 w 3346133"/>
                  <a:gd name="connsiteY65" fmla="*/ 224409 h 396049"/>
                  <a:gd name="connsiteX66" fmla="*/ 475298 w 3346133"/>
                  <a:gd name="connsiteY66" fmla="*/ 224409 h 396049"/>
                  <a:gd name="connsiteX67" fmla="*/ 475298 w 3346133"/>
                  <a:gd name="connsiteY67" fmla="*/ 230505 h 396049"/>
                  <a:gd name="connsiteX68" fmla="*/ 511016 w 3346133"/>
                  <a:gd name="connsiteY68" fmla="*/ 230505 h 396049"/>
                  <a:gd name="connsiteX69" fmla="*/ 511016 w 3346133"/>
                  <a:gd name="connsiteY69" fmla="*/ 236601 h 396049"/>
                  <a:gd name="connsiteX70" fmla="*/ 626745 w 3346133"/>
                  <a:gd name="connsiteY70" fmla="*/ 236601 h 396049"/>
                  <a:gd name="connsiteX71" fmla="*/ 626745 w 3346133"/>
                  <a:gd name="connsiteY71" fmla="*/ 242602 h 396049"/>
                  <a:gd name="connsiteX72" fmla="*/ 664559 w 3346133"/>
                  <a:gd name="connsiteY72" fmla="*/ 242602 h 396049"/>
                  <a:gd name="connsiteX73" fmla="*/ 664559 w 3346133"/>
                  <a:gd name="connsiteY73" fmla="*/ 248793 h 396049"/>
                  <a:gd name="connsiteX74" fmla="*/ 717137 w 3346133"/>
                  <a:gd name="connsiteY74" fmla="*/ 248793 h 396049"/>
                  <a:gd name="connsiteX75" fmla="*/ 717137 w 3346133"/>
                  <a:gd name="connsiteY75" fmla="*/ 254889 h 396049"/>
                  <a:gd name="connsiteX76" fmla="*/ 736092 w 3346133"/>
                  <a:gd name="connsiteY76" fmla="*/ 254889 h 396049"/>
                  <a:gd name="connsiteX77" fmla="*/ 736092 w 3346133"/>
                  <a:gd name="connsiteY77" fmla="*/ 260985 h 396049"/>
                  <a:gd name="connsiteX78" fmla="*/ 746570 w 3346133"/>
                  <a:gd name="connsiteY78" fmla="*/ 260985 h 396049"/>
                  <a:gd name="connsiteX79" fmla="*/ 746570 w 3346133"/>
                  <a:gd name="connsiteY79" fmla="*/ 267176 h 396049"/>
                  <a:gd name="connsiteX80" fmla="*/ 780288 w 3346133"/>
                  <a:gd name="connsiteY80" fmla="*/ 267176 h 396049"/>
                  <a:gd name="connsiteX81" fmla="*/ 780288 w 3346133"/>
                  <a:gd name="connsiteY81" fmla="*/ 273272 h 396049"/>
                  <a:gd name="connsiteX82" fmla="*/ 786575 w 3346133"/>
                  <a:gd name="connsiteY82" fmla="*/ 273272 h 396049"/>
                  <a:gd name="connsiteX83" fmla="*/ 786575 w 3346133"/>
                  <a:gd name="connsiteY83" fmla="*/ 279368 h 396049"/>
                  <a:gd name="connsiteX84" fmla="*/ 801243 w 3346133"/>
                  <a:gd name="connsiteY84" fmla="*/ 279368 h 396049"/>
                  <a:gd name="connsiteX85" fmla="*/ 801243 w 3346133"/>
                  <a:gd name="connsiteY85" fmla="*/ 285464 h 396049"/>
                  <a:gd name="connsiteX86" fmla="*/ 813911 w 3346133"/>
                  <a:gd name="connsiteY86" fmla="*/ 285464 h 396049"/>
                  <a:gd name="connsiteX87" fmla="*/ 813911 w 3346133"/>
                  <a:gd name="connsiteY87" fmla="*/ 291655 h 396049"/>
                  <a:gd name="connsiteX88" fmla="*/ 839153 w 3346133"/>
                  <a:gd name="connsiteY88" fmla="*/ 291655 h 396049"/>
                  <a:gd name="connsiteX89" fmla="*/ 839153 w 3346133"/>
                  <a:gd name="connsiteY89" fmla="*/ 297751 h 396049"/>
                  <a:gd name="connsiteX90" fmla="*/ 1068419 w 3346133"/>
                  <a:gd name="connsiteY90" fmla="*/ 297751 h 396049"/>
                  <a:gd name="connsiteX91" fmla="*/ 1068419 w 3346133"/>
                  <a:gd name="connsiteY91" fmla="*/ 303943 h 396049"/>
                  <a:gd name="connsiteX92" fmla="*/ 1181957 w 3346133"/>
                  <a:gd name="connsiteY92" fmla="*/ 303943 h 396049"/>
                  <a:gd name="connsiteX93" fmla="*/ 1181957 w 3346133"/>
                  <a:gd name="connsiteY93" fmla="*/ 310134 h 396049"/>
                  <a:gd name="connsiteX94" fmla="*/ 1451134 w 3346133"/>
                  <a:gd name="connsiteY94" fmla="*/ 310134 h 396049"/>
                  <a:gd name="connsiteX95" fmla="*/ 1451134 w 3346133"/>
                  <a:gd name="connsiteY95" fmla="*/ 316420 h 396049"/>
                  <a:gd name="connsiteX96" fmla="*/ 1524762 w 3346133"/>
                  <a:gd name="connsiteY96" fmla="*/ 316420 h 396049"/>
                  <a:gd name="connsiteX97" fmla="*/ 1524762 w 3346133"/>
                  <a:gd name="connsiteY97" fmla="*/ 322707 h 396049"/>
                  <a:gd name="connsiteX98" fmla="*/ 1604677 w 3346133"/>
                  <a:gd name="connsiteY98" fmla="*/ 322707 h 396049"/>
                  <a:gd name="connsiteX99" fmla="*/ 1604677 w 3346133"/>
                  <a:gd name="connsiteY99" fmla="*/ 328993 h 396049"/>
                  <a:gd name="connsiteX100" fmla="*/ 1766602 w 3346133"/>
                  <a:gd name="connsiteY100" fmla="*/ 328993 h 396049"/>
                  <a:gd name="connsiteX101" fmla="*/ 1766602 w 3346133"/>
                  <a:gd name="connsiteY101" fmla="*/ 335470 h 396049"/>
                  <a:gd name="connsiteX102" fmla="*/ 1783461 w 3346133"/>
                  <a:gd name="connsiteY102" fmla="*/ 335470 h 396049"/>
                  <a:gd name="connsiteX103" fmla="*/ 1783461 w 3346133"/>
                  <a:gd name="connsiteY103" fmla="*/ 341852 h 396049"/>
                  <a:gd name="connsiteX104" fmla="*/ 1901285 w 3346133"/>
                  <a:gd name="connsiteY104" fmla="*/ 341852 h 396049"/>
                  <a:gd name="connsiteX105" fmla="*/ 1901285 w 3346133"/>
                  <a:gd name="connsiteY105" fmla="*/ 348329 h 396049"/>
                  <a:gd name="connsiteX106" fmla="*/ 1993773 w 3346133"/>
                  <a:gd name="connsiteY106" fmla="*/ 348329 h 396049"/>
                  <a:gd name="connsiteX107" fmla="*/ 1993773 w 3346133"/>
                  <a:gd name="connsiteY107" fmla="*/ 354711 h 396049"/>
                  <a:gd name="connsiteX108" fmla="*/ 2012728 w 3346133"/>
                  <a:gd name="connsiteY108" fmla="*/ 354711 h 396049"/>
                  <a:gd name="connsiteX109" fmla="*/ 2012728 w 3346133"/>
                  <a:gd name="connsiteY109" fmla="*/ 361188 h 396049"/>
                  <a:gd name="connsiteX110" fmla="*/ 2866549 w 3346133"/>
                  <a:gd name="connsiteY110" fmla="*/ 361188 h 396049"/>
                  <a:gd name="connsiteX111" fmla="*/ 2866549 w 3346133"/>
                  <a:gd name="connsiteY111" fmla="*/ 396049 h 396049"/>
                  <a:gd name="connsiteX112" fmla="*/ 3346133 w 3346133"/>
                  <a:gd name="connsiteY112" fmla="*/ 396049 h 396049"/>
                  <a:gd name="connsiteX0" fmla="*/ 0 w 3346133"/>
                  <a:gd name="connsiteY0" fmla="*/ 0 h 396049"/>
                  <a:gd name="connsiteX1" fmla="*/ 2096 w 3346133"/>
                  <a:gd name="connsiteY1" fmla="*/ 0 h 396049"/>
                  <a:gd name="connsiteX2" fmla="*/ 8382 w 3346133"/>
                  <a:gd name="connsiteY2" fmla="*/ 12097 h 396049"/>
                  <a:gd name="connsiteX3" fmla="*/ 12573 w 3346133"/>
                  <a:gd name="connsiteY3" fmla="*/ 12097 h 396049"/>
                  <a:gd name="connsiteX4" fmla="*/ 12573 w 3346133"/>
                  <a:gd name="connsiteY4" fmla="*/ 18193 h 396049"/>
                  <a:gd name="connsiteX5" fmla="*/ 29432 w 3346133"/>
                  <a:gd name="connsiteY5" fmla="*/ 18193 h 396049"/>
                  <a:gd name="connsiteX6" fmla="*/ 29432 w 3346133"/>
                  <a:gd name="connsiteY6" fmla="*/ 30289 h 396049"/>
                  <a:gd name="connsiteX7" fmla="*/ 33623 w 3346133"/>
                  <a:gd name="connsiteY7" fmla="*/ 30289 h 396049"/>
                  <a:gd name="connsiteX8" fmla="*/ 33623 w 3346133"/>
                  <a:gd name="connsiteY8" fmla="*/ 36385 h 396049"/>
                  <a:gd name="connsiteX9" fmla="*/ 56769 w 3346133"/>
                  <a:gd name="connsiteY9" fmla="*/ 36385 h 396049"/>
                  <a:gd name="connsiteX10" fmla="*/ 56769 w 3346133"/>
                  <a:gd name="connsiteY10" fmla="*/ 42481 h 396049"/>
                  <a:gd name="connsiteX11" fmla="*/ 60960 w 3346133"/>
                  <a:gd name="connsiteY11" fmla="*/ 42481 h 396049"/>
                  <a:gd name="connsiteX12" fmla="*/ 60960 w 3346133"/>
                  <a:gd name="connsiteY12" fmla="*/ 48482 h 396049"/>
                  <a:gd name="connsiteX13" fmla="*/ 67247 w 3346133"/>
                  <a:gd name="connsiteY13" fmla="*/ 48482 h 396049"/>
                  <a:gd name="connsiteX14" fmla="*/ 67247 w 3346133"/>
                  <a:gd name="connsiteY14" fmla="*/ 60674 h 396049"/>
                  <a:gd name="connsiteX15" fmla="*/ 86201 w 3346133"/>
                  <a:gd name="connsiteY15" fmla="*/ 60674 h 396049"/>
                  <a:gd name="connsiteX16" fmla="*/ 86201 w 3346133"/>
                  <a:gd name="connsiteY16" fmla="*/ 66675 h 396049"/>
                  <a:gd name="connsiteX17" fmla="*/ 94583 w 3346133"/>
                  <a:gd name="connsiteY17" fmla="*/ 66675 h 396049"/>
                  <a:gd name="connsiteX18" fmla="*/ 94583 w 3346133"/>
                  <a:gd name="connsiteY18" fmla="*/ 72771 h 396049"/>
                  <a:gd name="connsiteX19" fmla="*/ 107252 w 3346133"/>
                  <a:gd name="connsiteY19" fmla="*/ 72771 h 396049"/>
                  <a:gd name="connsiteX20" fmla="*/ 107252 w 3346133"/>
                  <a:gd name="connsiteY20" fmla="*/ 78867 h 396049"/>
                  <a:gd name="connsiteX21" fmla="*/ 124111 w 3346133"/>
                  <a:gd name="connsiteY21" fmla="*/ 78867 h 396049"/>
                  <a:gd name="connsiteX22" fmla="*/ 124111 w 3346133"/>
                  <a:gd name="connsiteY22" fmla="*/ 84868 h 396049"/>
                  <a:gd name="connsiteX23" fmla="*/ 151448 w 3346133"/>
                  <a:gd name="connsiteY23" fmla="*/ 84868 h 396049"/>
                  <a:gd name="connsiteX24" fmla="*/ 151448 w 3346133"/>
                  <a:gd name="connsiteY24" fmla="*/ 90964 h 396049"/>
                  <a:gd name="connsiteX25" fmla="*/ 153543 w 3346133"/>
                  <a:gd name="connsiteY25" fmla="*/ 90964 h 396049"/>
                  <a:gd name="connsiteX26" fmla="*/ 153543 w 3346133"/>
                  <a:gd name="connsiteY26" fmla="*/ 97060 h 396049"/>
                  <a:gd name="connsiteX27" fmla="*/ 164020 w 3346133"/>
                  <a:gd name="connsiteY27" fmla="*/ 97060 h 396049"/>
                  <a:gd name="connsiteX28" fmla="*/ 164020 w 3346133"/>
                  <a:gd name="connsiteY28" fmla="*/ 103060 h 396049"/>
                  <a:gd name="connsiteX29" fmla="*/ 170307 w 3346133"/>
                  <a:gd name="connsiteY29" fmla="*/ 103060 h 396049"/>
                  <a:gd name="connsiteX30" fmla="*/ 170307 w 3346133"/>
                  <a:gd name="connsiteY30" fmla="*/ 115252 h 396049"/>
                  <a:gd name="connsiteX31" fmla="*/ 178784 w 3346133"/>
                  <a:gd name="connsiteY31" fmla="*/ 115252 h 396049"/>
                  <a:gd name="connsiteX32" fmla="*/ 178784 w 3346133"/>
                  <a:gd name="connsiteY32" fmla="*/ 121253 h 396049"/>
                  <a:gd name="connsiteX33" fmla="*/ 185071 w 3346133"/>
                  <a:gd name="connsiteY33" fmla="*/ 121253 h 396049"/>
                  <a:gd name="connsiteX34" fmla="*/ 185071 w 3346133"/>
                  <a:gd name="connsiteY34" fmla="*/ 133445 h 396049"/>
                  <a:gd name="connsiteX35" fmla="*/ 187166 w 3346133"/>
                  <a:gd name="connsiteY35" fmla="*/ 133445 h 396049"/>
                  <a:gd name="connsiteX36" fmla="*/ 187166 w 3346133"/>
                  <a:gd name="connsiteY36" fmla="*/ 139541 h 396049"/>
                  <a:gd name="connsiteX37" fmla="*/ 199739 w 3346133"/>
                  <a:gd name="connsiteY37" fmla="*/ 139541 h 396049"/>
                  <a:gd name="connsiteX38" fmla="*/ 199739 w 3346133"/>
                  <a:gd name="connsiteY38" fmla="*/ 145542 h 396049"/>
                  <a:gd name="connsiteX39" fmla="*/ 222885 w 3346133"/>
                  <a:gd name="connsiteY39" fmla="*/ 145542 h 396049"/>
                  <a:gd name="connsiteX40" fmla="*/ 222885 w 3346133"/>
                  <a:gd name="connsiteY40" fmla="*/ 151638 h 396049"/>
                  <a:gd name="connsiteX41" fmla="*/ 229267 w 3346133"/>
                  <a:gd name="connsiteY41" fmla="*/ 151638 h 396049"/>
                  <a:gd name="connsiteX42" fmla="*/ 229267 w 3346133"/>
                  <a:gd name="connsiteY42" fmla="*/ 157734 h 396049"/>
                  <a:gd name="connsiteX43" fmla="*/ 237649 w 3346133"/>
                  <a:gd name="connsiteY43" fmla="*/ 157734 h 396049"/>
                  <a:gd name="connsiteX44" fmla="*/ 237649 w 3346133"/>
                  <a:gd name="connsiteY44" fmla="*/ 163735 h 396049"/>
                  <a:gd name="connsiteX45" fmla="*/ 246031 w 3346133"/>
                  <a:gd name="connsiteY45" fmla="*/ 163735 h 396049"/>
                  <a:gd name="connsiteX46" fmla="*/ 246031 w 3346133"/>
                  <a:gd name="connsiteY46" fmla="*/ 169831 h 396049"/>
                  <a:gd name="connsiteX47" fmla="*/ 250222 w 3346133"/>
                  <a:gd name="connsiteY47" fmla="*/ 169831 h 396049"/>
                  <a:gd name="connsiteX48" fmla="*/ 250222 w 3346133"/>
                  <a:gd name="connsiteY48" fmla="*/ 175927 h 396049"/>
                  <a:gd name="connsiteX49" fmla="*/ 323850 w 3346133"/>
                  <a:gd name="connsiteY49" fmla="*/ 175927 h 396049"/>
                  <a:gd name="connsiteX50" fmla="*/ 323850 w 3346133"/>
                  <a:gd name="connsiteY50" fmla="*/ 181927 h 396049"/>
                  <a:gd name="connsiteX51" fmla="*/ 344900 w 3346133"/>
                  <a:gd name="connsiteY51" fmla="*/ 181927 h 396049"/>
                  <a:gd name="connsiteX52" fmla="*/ 344900 w 3346133"/>
                  <a:gd name="connsiteY52" fmla="*/ 188023 h 396049"/>
                  <a:gd name="connsiteX53" fmla="*/ 351187 w 3346133"/>
                  <a:gd name="connsiteY53" fmla="*/ 188023 h 396049"/>
                  <a:gd name="connsiteX54" fmla="*/ 351187 w 3346133"/>
                  <a:gd name="connsiteY54" fmla="*/ 194119 h 396049"/>
                  <a:gd name="connsiteX55" fmla="*/ 393287 w 3346133"/>
                  <a:gd name="connsiteY55" fmla="*/ 194119 h 396049"/>
                  <a:gd name="connsiteX56" fmla="*/ 393287 w 3346133"/>
                  <a:gd name="connsiteY56" fmla="*/ 200120 h 396049"/>
                  <a:gd name="connsiteX57" fmla="*/ 407956 w 3346133"/>
                  <a:gd name="connsiteY57" fmla="*/ 200120 h 396049"/>
                  <a:gd name="connsiteX58" fmla="*/ 407956 w 3346133"/>
                  <a:gd name="connsiteY58" fmla="*/ 206216 h 396049"/>
                  <a:gd name="connsiteX59" fmla="*/ 437483 w 3346133"/>
                  <a:gd name="connsiteY59" fmla="*/ 206216 h 396049"/>
                  <a:gd name="connsiteX60" fmla="*/ 437483 w 3346133"/>
                  <a:gd name="connsiteY60" fmla="*/ 212312 h 396049"/>
                  <a:gd name="connsiteX61" fmla="*/ 439579 w 3346133"/>
                  <a:gd name="connsiteY61" fmla="*/ 212312 h 396049"/>
                  <a:gd name="connsiteX62" fmla="*/ 439579 w 3346133"/>
                  <a:gd name="connsiteY62" fmla="*/ 218313 h 396049"/>
                  <a:gd name="connsiteX63" fmla="*/ 462629 w 3346133"/>
                  <a:gd name="connsiteY63" fmla="*/ 218313 h 396049"/>
                  <a:gd name="connsiteX64" fmla="*/ 462629 w 3346133"/>
                  <a:gd name="connsiteY64" fmla="*/ 224409 h 396049"/>
                  <a:gd name="connsiteX65" fmla="*/ 475298 w 3346133"/>
                  <a:gd name="connsiteY65" fmla="*/ 224409 h 396049"/>
                  <a:gd name="connsiteX66" fmla="*/ 475298 w 3346133"/>
                  <a:gd name="connsiteY66" fmla="*/ 230505 h 396049"/>
                  <a:gd name="connsiteX67" fmla="*/ 511016 w 3346133"/>
                  <a:gd name="connsiteY67" fmla="*/ 230505 h 396049"/>
                  <a:gd name="connsiteX68" fmla="*/ 511016 w 3346133"/>
                  <a:gd name="connsiteY68" fmla="*/ 236601 h 396049"/>
                  <a:gd name="connsiteX69" fmla="*/ 626745 w 3346133"/>
                  <a:gd name="connsiteY69" fmla="*/ 236601 h 396049"/>
                  <a:gd name="connsiteX70" fmla="*/ 626745 w 3346133"/>
                  <a:gd name="connsiteY70" fmla="*/ 242602 h 396049"/>
                  <a:gd name="connsiteX71" fmla="*/ 664559 w 3346133"/>
                  <a:gd name="connsiteY71" fmla="*/ 242602 h 396049"/>
                  <a:gd name="connsiteX72" fmla="*/ 664559 w 3346133"/>
                  <a:gd name="connsiteY72" fmla="*/ 248793 h 396049"/>
                  <a:gd name="connsiteX73" fmla="*/ 717137 w 3346133"/>
                  <a:gd name="connsiteY73" fmla="*/ 248793 h 396049"/>
                  <a:gd name="connsiteX74" fmla="*/ 717137 w 3346133"/>
                  <a:gd name="connsiteY74" fmla="*/ 254889 h 396049"/>
                  <a:gd name="connsiteX75" fmla="*/ 736092 w 3346133"/>
                  <a:gd name="connsiteY75" fmla="*/ 254889 h 396049"/>
                  <a:gd name="connsiteX76" fmla="*/ 736092 w 3346133"/>
                  <a:gd name="connsiteY76" fmla="*/ 260985 h 396049"/>
                  <a:gd name="connsiteX77" fmla="*/ 746570 w 3346133"/>
                  <a:gd name="connsiteY77" fmla="*/ 260985 h 396049"/>
                  <a:gd name="connsiteX78" fmla="*/ 746570 w 3346133"/>
                  <a:gd name="connsiteY78" fmla="*/ 267176 h 396049"/>
                  <a:gd name="connsiteX79" fmla="*/ 780288 w 3346133"/>
                  <a:gd name="connsiteY79" fmla="*/ 267176 h 396049"/>
                  <a:gd name="connsiteX80" fmla="*/ 780288 w 3346133"/>
                  <a:gd name="connsiteY80" fmla="*/ 273272 h 396049"/>
                  <a:gd name="connsiteX81" fmla="*/ 786575 w 3346133"/>
                  <a:gd name="connsiteY81" fmla="*/ 273272 h 396049"/>
                  <a:gd name="connsiteX82" fmla="*/ 786575 w 3346133"/>
                  <a:gd name="connsiteY82" fmla="*/ 279368 h 396049"/>
                  <a:gd name="connsiteX83" fmla="*/ 801243 w 3346133"/>
                  <a:gd name="connsiteY83" fmla="*/ 279368 h 396049"/>
                  <a:gd name="connsiteX84" fmla="*/ 801243 w 3346133"/>
                  <a:gd name="connsiteY84" fmla="*/ 285464 h 396049"/>
                  <a:gd name="connsiteX85" fmla="*/ 813911 w 3346133"/>
                  <a:gd name="connsiteY85" fmla="*/ 285464 h 396049"/>
                  <a:gd name="connsiteX86" fmla="*/ 813911 w 3346133"/>
                  <a:gd name="connsiteY86" fmla="*/ 291655 h 396049"/>
                  <a:gd name="connsiteX87" fmla="*/ 839153 w 3346133"/>
                  <a:gd name="connsiteY87" fmla="*/ 291655 h 396049"/>
                  <a:gd name="connsiteX88" fmla="*/ 839153 w 3346133"/>
                  <a:gd name="connsiteY88" fmla="*/ 297751 h 396049"/>
                  <a:gd name="connsiteX89" fmla="*/ 1068419 w 3346133"/>
                  <a:gd name="connsiteY89" fmla="*/ 297751 h 396049"/>
                  <a:gd name="connsiteX90" fmla="*/ 1068419 w 3346133"/>
                  <a:gd name="connsiteY90" fmla="*/ 303943 h 396049"/>
                  <a:gd name="connsiteX91" fmla="*/ 1181957 w 3346133"/>
                  <a:gd name="connsiteY91" fmla="*/ 303943 h 396049"/>
                  <a:gd name="connsiteX92" fmla="*/ 1181957 w 3346133"/>
                  <a:gd name="connsiteY92" fmla="*/ 310134 h 396049"/>
                  <a:gd name="connsiteX93" fmla="*/ 1451134 w 3346133"/>
                  <a:gd name="connsiteY93" fmla="*/ 310134 h 396049"/>
                  <a:gd name="connsiteX94" fmla="*/ 1451134 w 3346133"/>
                  <a:gd name="connsiteY94" fmla="*/ 316420 h 396049"/>
                  <a:gd name="connsiteX95" fmla="*/ 1524762 w 3346133"/>
                  <a:gd name="connsiteY95" fmla="*/ 316420 h 396049"/>
                  <a:gd name="connsiteX96" fmla="*/ 1524762 w 3346133"/>
                  <a:gd name="connsiteY96" fmla="*/ 322707 h 396049"/>
                  <a:gd name="connsiteX97" fmla="*/ 1604677 w 3346133"/>
                  <a:gd name="connsiteY97" fmla="*/ 322707 h 396049"/>
                  <a:gd name="connsiteX98" fmla="*/ 1604677 w 3346133"/>
                  <a:gd name="connsiteY98" fmla="*/ 328993 h 396049"/>
                  <a:gd name="connsiteX99" fmla="*/ 1766602 w 3346133"/>
                  <a:gd name="connsiteY99" fmla="*/ 328993 h 396049"/>
                  <a:gd name="connsiteX100" fmla="*/ 1766602 w 3346133"/>
                  <a:gd name="connsiteY100" fmla="*/ 335470 h 396049"/>
                  <a:gd name="connsiteX101" fmla="*/ 1783461 w 3346133"/>
                  <a:gd name="connsiteY101" fmla="*/ 335470 h 396049"/>
                  <a:gd name="connsiteX102" fmla="*/ 1783461 w 3346133"/>
                  <a:gd name="connsiteY102" fmla="*/ 341852 h 396049"/>
                  <a:gd name="connsiteX103" fmla="*/ 1901285 w 3346133"/>
                  <a:gd name="connsiteY103" fmla="*/ 341852 h 396049"/>
                  <a:gd name="connsiteX104" fmla="*/ 1901285 w 3346133"/>
                  <a:gd name="connsiteY104" fmla="*/ 348329 h 396049"/>
                  <a:gd name="connsiteX105" fmla="*/ 1993773 w 3346133"/>
                  <a:gd name="connsiteY105" fmla="*/ 348329 h 396049"/>
                  <a:gd name="connsiteX106" fmla="*/ 1993773 w 3346133"/>
                  <a:gd name="connsiteY106" fmla="*/ 354711 h 396049"/>
                  <a:gd name="connsiteX107" fmla="*/ 2012728 w 3346133"/>
                  <a:gd name="connsiteY107" fmla="*/ 354711 h 396049"/>
                  <a:gd name="connsiteX108" fmla="*/ 2012728 w 3346133"/>
                  <a:gd name="connsiteY108" fmla="*/ 361188 h 396049"/>
                  <a:gd name="connsiteX109" fmla="*/ 2866549 w 3346133"/>
                  <a:gd name="connsiteY109" fmla="*/ 361188 h 396049"/>
                  <a:gd name="connsiteX110" fmla="*/ 2866549 w 3346133"/>
                  <a:gd name="connsiteY110" fmla="*/ 396049 h 396049"/>
                  <a:gd name="connsiteX111" fmla="*/ 3346133 w 3346133"/>
                  <a:gd name="connsiteY111" fmla="*/ 396049 h 396049"/>
                  <a:gd name="connsiteX0" fmla="*/ 0 w 3346133"/>
                  <a:gd name="connsiteY0" fmla="*/ 0 h 396049"/>
                  <a:gd name="connsiteX1" fmla="*/ 8382 w 3346133"/>
                  <a:gd name="connsiteY1" fmla="*/ 12097 h 396049"/>
                  <a:gd name="connsiteX2" fmla="*/ 12573 w 3346133"/>
                  <a:gd name="connsiteY2" fmla="*/ 12097 h 396049"/>
                  <a:gd name="connsiteX3" fmla="*/ 12573 w 3346133"/>
                  <a:gd name="connsiteY3" fmla="*/ 18193 h 396049"/>
                  <a:gd name="connsiteX4" fmla="*/ 29432 w 3346133"/>
                  <a:gd name="connsiteY4" fmla="*/ 18193 h 396049"/>
                  <a:gd name="connsiteX5" fmla="*/ 29432 w 3346133"/>
                  <a:gd name="connsiteY5" fmla="*/ 30289 h 396049"/>
                  <a:gd name="connsiteX6" fmla="*/ 33623 w 3346133"/>
                  <a:gd name="connsiteY6" fmla="*/ 30289 h 396049"/>
                  <a:gd name="connsiteX7" fmla="*/ 33623 w 3346133"/>
                  <a:gd name="connsiteY7" fmla="*/ 36385 h 396049"/>
                  <a:gd name="connsiteX8" fmla="*/ 56769 w 3346133"/>
                  <a:gd name="connsiteY8" fmla="*/ 36385 h 396049"/>
                  <a:gd name="connsiteX9" fmla="*/ 56769 w 3346133"/>
                  <a:gd name="connsiteY9" fmla="*/ 42481 h 396049"/>
                  <a:gd name="connsiteX10" fmla="*/ 60960 w 3346133"/>
                  <a:gd name="connsiteY10" fmla="*/ 42481 h 396049"/>
                  <a:gd name="connsiteX11" fmla="*/ 60960 w 3346133"/>
                  <a:gd name="connsiteY11" fmla="*/ 48482 h 396049"/>
                  <a:gd name="connsiteX12" fmla="*/ 67247 w 3346133"/>
                  <a:gd name="connsiteY12" fmla="*/ 48482 h 396049"/>
                  <a:gd name="connsiteX13" fmla="*/ 67247 w 3346133"/>
                  <a:gd name="connsiteY13" fmla="*/ 60674 h 396049"/>
                  <a:gd name="connsiteX14" fmla="*/ 86201 w 3346133"/>
                  <a:gd name="connsiteY14" fmla="*/ 60674 h 396049"/>
                  <a:gd name="connsiteX15" fmla="*/ 86201 w 3346133"/>
                  <a:gd name="connsiteY15" fmla="*/ 66675 h 396049"/>
                  <a:gd name="connsiteX16" fmla="*/ 94583 w 3346133"/>
                  <a:gd name="connsiteY16" fmla="*/ 66675 h 396049"/>
                  <a:gd name="connsiteX17" fmla="*/ 94583 w 3346133"/>
                  <a:gd name="connsiteY17" fmla="*/ 72771 h 396049"/>
                  <a:gd name="connsiteX18" fmla="*/ 107252 w 3346133"/>
                  <a:gd name="connsiteY18" fmla="*/ 72771 h 396049"/>
                  <a:gd name="connsiteX19" fmla="*/ 107252 w 3346133"/>
                  <a:gd name="connsiteY19" fmla="*/ 78867 h 396049"/>
                  <a:gd name="connsiteX20" fmla="*/ 124111 w 3346133"/>
                  <a:gd name="connsiteY20" fmla="*/ 78867 h 396049"/>
                  <a:gd name="connsiteX21" fmla="*/ 124111 w 3346133"/>
                  <a:gd name="connsiteY21" fmla="*/ 84868 h 396049"/>
                  <a:gd name="connsiteX22" fmla="*/ 151448 w 3346133"/>
                  <a:gd name="connsiteY22" fmla="*/ 84868 h 396049"/>
                  <a:gd name="connsiteX23" fmla="*/ 151448 w 3346133"/>
                  <a:gd name="connsiteY23" fmla="*/ 90964 h 396049"/>
                  <a:gd name="connsiteX24" fmla="*/ 153543 w 3346133"/>
                  <a:gd name="connsiteY24" fmla="*/ 90964 h 396049"/>
                  <a:gd name="connsiteX25" fmla="*/ 153543 w 3346133"/>
                  <a:gd name="connsiteY25" fmla="*/ 97060 h 396049"/>
                  <a:gd name="connsiteX26" fmla="*/ 164020 w 3346133"/>
                  <a:gd name="connsiteY26" fmla="*/ 97060 h 396049"/>
                  <a:gd name="connsiteX27" fmla="*/ 164020 w 3346133"/>
                  <a:gd name="connsiteY27" fmla="*/ 103060 h 396049"/>
                  <a:gd name="connsiteX28" fmla="*/ 170307 w 3346133"/>
                  <a:gd name="connsiteY28" fmla="*/ 103060 h 396049"/>
                  <a:gd name="connsiteX29" fmla="*/ 170307 w 3346133"/>
                  <a:gd name="connsiteY29" fmla="*/ 115252 h 396049"/>
                  <a:gd name="connsiteX30" fmla="*/ 178784 w 3346133"/>
                  <a:gd name="connsiteY30" fmla="*/ 115252 h 396049"/>
                  <a:gd name="connsiteX31" fmla="*/ 178784 w 3346133"/>
                  <a:gd name="connsiteY31" fmla="*/ 121253 h 396049"/>
                  <a:gd name="connsiteX32" fmla="*/ 185071 w 3346133"/>
                  <a:gd name="connsiteY32" fmla="*/ 121253 h 396049"/>
                  <a:gd name="connsiteX33" fmla="*/ 185071 w 3346133"/>
                  <a:gd name="connsiteY33" fmla="*/ 133445 h 396049"/>
                  <a:gd name="connsiteX34" fmla="*/ 187166 w 3346133"/>
                  <a:gd name="connsiteY34" fmla="*/ 133445 h 396049"/>
                  <a:gd name="connsiteX35" fmla="*/ 187166 w 3346133"/>
                  <a:gd name="connsiteY35" fmla="*/ 139541 h 396049"/>
                  <a:gd name="connsiteX36" fmla="*/ 199739 w 3346133"/>
                  <a:gd name="connsiteY36" fmla="*/ 139541 h 396049"/>
                  <a:gd name="connsiteX37" fmla="*/ 199739 w 3346133"/>
                  <a:gd name="connsiteY37" fmla="*/ 145542 h 396049"/>
                  <a:gd name="connsiteX38" fmla="*/ 222885 w 3346133"/>
                  <a:gd name="connsiteY38" fmla="*/ 145542 h 396049"/>
                  <a:gd name="connsiteX39" fmla="*/ 222885 w 3346133"/>
                  <a:gd name="connsiteY39" fmla="*/ 151638 h 396049"/>
                  <a:gd name="connsiteX40" fmla="*/ 229267 w 3346133"/>
                  <a:gd name="connsiteY40" fmla="*/ 151638 h 396049"/>
                  <a:gd name="connsiteX41" fmla="*/ 229267 w 3346133"/>
                  <a:gd name="connsiteY41" fmla="*/ 157734 h 396049"/>
                  <a:gd name="connsiteX42" fmla="*/ 237649 w 3346133"/>
                  <a:gd name="connsiteY42" fmla="*/ 157734 h 396049"/>
                  <a:gd name="connsiteX43" fmla="*/ 237649 w 3346133"/>
                  <a:gd name="connsiteY43" fmla="*/ 163735 h 396049"/>
                  <a:gd name="connsiteX44" fmla="*/ 246031 w 3346133"/>
                  <a:gd name="connsiteY44" fmla="*/ 163735 h 396049"/>
                  <a:gd name="connsiteX45" fmla="*/ 246031 w 3346133"/>
                  <a:gd name="connsiteY45" fmla="*/ 169831 h 396049"/>
                  <a:gd name="connsiteX46" fmla="*/ 250222 w 3346133"/>
                  <a:gd name="connsiteY46" fmla="*/ 169831 h 396049"/>
                  <a:gd name="connsiteX47" fmla="*/ 250222 w 3346133"/>
                  <a:gd name="connsiteY47" fmla="*/ 175927 h 396049"/>
                  <a:gd name="connsiteX48" fmla="*/ 323850 w 3346133"/>
                  <a:gd name="connsiteY48" fmla="*/ 175927 h 396049"/>
                  <a:gd name="connsiteX49" fmla="*/ 323850 w 3346133"/>
                  <a:gd name="connsiteY49" fmla="*/ 181927 h 396049"/>
                  <a:gd name="connsiteX50" fmla="*/ 344900 w 3346133"/>
                  <a:gd name="connsiteY50" fmla="*/ 181927 h 396049"/>
                  <a:gd name="connsiteX51" fmla="*/ 344900 w 3346133"/>
                  <a:gd name="connsiteY51" fmla="*/ 188023 h 396049"/>
                  <a:gd name="connsiteX52" fmla="*/ 351187 w 3346133"/>
                  <a:gd name="connsiteY52" fmla="*/ 188023 h 396049"/>
                  <a:gd name="connsiteX53" fmla="*/ 351187 w 3346133"/>
                  <a:gd name="connsiteY53" fmla="*/ 194119 h 396049"/>
                  <a:gd name="connsiteX54" fmla="*/ 393287 w 3346133"/>
                  <a:gd name="connsiteY54" fmla="*/ 194119 h 396049"/>
                  <a:gd name="connsiteX55" fmla="*/ 393287 w 3346133"/>
                  <a:gd name="connsiteY55" fmla="*/ 200120 h 396049"/>
                  <a:gd name="connsiteX56" fmla="*/ 407956 w 3346133"/>
                  <a:gd name="connsiteY56" fmla="*/ 200120 h 396049"/>
                  <a:gd name="connsiteX57" fmla="*/ 407956 w 3346133"/>
                  <a:gd name="connsiteY57" fmla="*/ 206216 h 396049"/>
                  <a:gd name="connsiteX58" fmla="*/ 437483 w 3346133"/>
                  <a:gd name="connsiteY58" fmla="*/ 206216 h 396049"/>
                  <a:gd name="connsiteX59" fmla="*/ 437483 w 3346133"/>
                  <a:gd name="connsiteY59" fmla="*/ 212312 h 396049"/>
                  <a:gd name="connsiteX60" fmla="*/ 439579 w 3346133"/>
                  <a:gd name="connsiteY60" fmla="*/ 212312 h 396049"/>
                  <a:gd name="connsiteX61" fmla="*/ 439579 w 3346133"/>
                  <a:gd name="connsiteY61" fmla="*/ 218313 h 396049"/>
                  <a:gd name="connsiteX62" fmla="*/ 462629 w 3346133"/>
                  <a:gd name="connsiteY62" fmla="*/ 218313 h 396049"/>
                  <a:gd name="connsiteX63" fmla="*/ 462629 w 3346133"/>
                  <a:gd name="connsiteY63" fmla="*/ 224409 h 396049"/>
                  <a:gd name="connsiteX64" fmla="*/ 475298 w 3346133"/>
                  <a:gd name="connsiteY64" fmla="*/ 224409 h 396049"/>
                  <a:gd name="connsiteX65" fmla="*/ 475298 w 3346133"/>
                  <a:gd name="connsiteY65" fmla="*/ 230505 h 396049"/>
                  <a:gd name="connsiteX66" fmla="*/ 511016 w 3346133"/>
                  <a:gd name="connsiteY66" fmla="*/ 230505 h 396049"/>
                  <a:gd name="connsiteX67" fmla="*/ 511016 w 3346133"/>
                  <a:gd name="connsiteY67" fmla="*/ 236601 h 396049"/>
                  <a:gd name="connsiteX68" fmla="*/ 626745 w 3346133"/>
                  <a:gd name="connsiteY68" fmla="*/ 236601 h 396049"/>
                  <a:gd name="connsiteX69" fmla="*/ 626745 w 3346133"/>
                  <a:gd name="connsiteY69" fmla="*/ 242602 h 396049"/>
                  <a:gd name="connsiteX70" fmla="*/ 664559 w 3346133"/>
                  <a:gd name="connsiteY70" fmla="*/ 242602 h 396049"/>
                  <a:gd name="connsiteX71" fmla="*/ 664559 w 3346133"/>
                  <a:gd name="connsiteY71" fmla="*/ 248793 h 396049"/>
                  <a:gd name="connsiteX72" fmla="*/ 717137 w 3346133"/>
                  <a:gd name="connsiteY72" fmla="*/ 248793 h 396049"/>
                  <a:gd name="connsiteX73" fmla="*/ 717137 w 3346133"/>
                  <a:gd name="connsiteY73" fmla="*/ 254889 h 396049"/>
                  <a:gd name="connsiteX74" fmla="*/ 736092 w 3346133"/>
                  <a:gd name="connsiteY74" fmla="*/ 254889 h 396049"/>
                  <a:gd name="connsiteX75" fmla="*/ 736092 w 3346133"/>
                  <a:gd name="connsiteY75" fmla="*/ 260985 h 396049"/>
                  <a:gd name="connsiteX76" fmla="*/ 746570 w 3346133"/>
                  <a:gd name="connsiteY76" fmla="*/ 260985 h 396049"/>
                  <a:gd name="connsiteX77" fmla="*/ 746570 w 3346133"/>
                  <a:gd name="connsiteY77" fmla="*/ 267176 h 396049"/>
                  <a:gd name="connsiteX78" fmla="*/ 780288 w 3346133"/>
                  <a:gd name="connsiteY78" fmla="*/ 267176 h 396049"/>
                  <a:gd name="connsiteX79" fmla="*/ 780288 w 3346133"/>
                  <a:gd name="connsiteY79" fmla="*/ 273272 h 396049"/>
                  <a:gd name="connsiteX80" fmla="*/ 786575 w 3346133"/>
                  <a:gd name="connsiteY80" fmla="*/ 273272 h 396049"/>
                  <a:gd name="connsiteX81" fmla="*/ 786575 w 3346133"/>
                  <a:gd name="connsiteY81" fmla="*/ 279368 h 396049"/>
                  <a:gd name="connsiteX82" fmla="*/ 801243 w 3346133"/>
                  <a:gd name="connsiteY82" fmla="*/ 279368 h 396049"/>
                  <a:gd name="connsiteX83" fmla="*/ 801243 w 3346133"/>
                  <a:gd name="connsiteY83" fmla="*/ 285464 h 396049"/>
                  <a:gd name="connsiteX84" fmla="*/ 813911 w 3346133"/>
                  <a:gd name="connsiteY84" fmla="*/ 285464 h 396049"/>
                  <a:gd name="connsiteX85" fmla="*/ 813911 w 3346133"/>
                  <a:gd name="connsiteY85" fmla="*/ 291655 h 396049"/>
                  <a:gd name="connsiteX86" fmla="*/ 839153 w 3346133"/>
                  <a:gd name="connsiteY86" fmla="*/ 291655 h 396049"/>
                  <a:gd name="connsiteX87" fmla="*/ 839153 w 3346133"/>
                  <a:gd name="connsiteY87" fmla="*/ 297751 h 396049"/>
                  <a:gd name="connsiteX88" fmla="*/ 1068419 w 3346133"/>
                  <a:gd name="connsiteY88" fmla="*/ 297751 h 396049"/>
                  <a:gd name="connsiteX89" fmla="*/ 1068419 w 3346133"/>
                  <a:gd name="connsiteY89" fmla="*/ 303943 h 396049"/>
                  <a:gd name="connsiteX90" fmla="*/ 1181957 w 3346133"/>
                  <a:gd name="connsiteY90" fmla="*/ 303943 h 396049"/>
                  <a:gd name="connsiteX91" fmla="*/ 1181957 w 3346133"/>
                  <a:gd name="connsiteY91" fmla="*/ 310134 h 396049"/>
                  <a:gd name="connsiteX92" fmla="*/ 1451134 w 3346133"/>
                  <a:gd name="connsiteY92" fmla="*/ 310134 h 396049"/>
                  <a:gd name="connsiteX93" fmla="*/ 1451134 w 3346133"/>
                  <a:gd name="connsiteY93" fmla="*/ 316420 h 396049"/>
                  <a:gd name="connsiteX94" fmla="*/ 1524762 w 3346133"/>
                  <a:gd name="connsiteY94" fmla="*/ 316420 h 396049"/>
                  <a:gd name="connsiteX95" fmla="*/ 1524762 w 3346133"/>
                  <a:gd name="connsiteY95" fmla="*/ 322707 h 396049"/>
                  <a:gd name="connsiteX96" fmla="*/ 1604677 w 3346133"/>
                  <a:gd name="connsiteY96" fmla="*/ 322707 h 396049"/>
                  <a:gd name="connsiteX97" fmla="*/ 1604677 w 3346133"/>
                  <a:gd name="connsiteY97" fmla="*/ 328993 h 396049"/>
                  <a:gd name="connsiteX98" fmla="*/ 1766602 w 3346133"/>
                  <a:gd name="connsiteY98" fmla="*/ 328993 h 396049"/>
                  <a:gd name="connsiteX99" fmla="*/ 1766602 w 3346133"/>
                  <a:gd name="connsiteY99" fmla="*/ 335470 h 396049"/>
                  <a:gd name="connsiteX100" fmla="*/ 1783461 w 3346133"/>
                  <a:gd name="connsiteY100" fmla="*/ 335470 h 396049"/>
                  <a:gd name="connsiteX101" fmla="*/ 1783461 w 3346133"/>
                  <a:gd name="connsiteY101" fmla="*/ 341852 h 396049"/>
                  <a:gd name="connsiteX102" fmla="*/ 1901285 w 3346133"/>
                  <a:gd name="connsiteY102" fmla="*/ 341852 h 396049"/>
                  <a:gd name="connsiteX103" fmla="*/ 1901285 w 3346133"/>
                  <a:gd name="connsiteY103" fmla="*/ 348329 h 396049"/>
                  <a:gd name="connsiteX104" fmla="*/ 1993773 w 3346133"/>
                  <a:gd name="connsiteY104" fmla="*/ 348329 h 396049"/>
                  <a:gd name="connsiteX105" fmla="*/ 1993773 w 3346133"/>
                  <a:gd name="connsiteY105" fmla="*/ 354711 h 396049"/>
                  <a:gd name="connsiteX106" fmla="*/ 2012728 w 3346133"/>
                  <a:gd name="connsiteY106" fmla="*/ 354711 h 396049"/>
                  <a:gd name="connsiteX107" fmla="*/ 2012728 w 3346133"/>
                  <a:gd name="connsiteY107" fmla="*/ 361188 h 396049"/>
                  <a:gd name="connsiteX108" fmla="*/ 2866549 w 3346133"/>
                  <a:gd name="connsiteY108" fmla="*/ 361188 h 396049"/>
                  <a:gd name="connsiteX109" fmla="*/ 2866549 w 3346133"/>
                  <a:gd name="connsiteY109" fmla="*/ 396049 h 396049"/>
                  <a:gd name="connsiteX110" fmla="*/ 3346133 w 3346133"/>
                  <a:gd name="connsiteY110" fmla="*/ 396049 h 396049"/>
                  <a:gd name="connsiteX0" fmla="*/ 0 w 3337751"/>
                  <a:gd name="connsiteY0" fmla="*/ 0 h 383952"/>
                  <a:gd name="connsiteX1" fmla="*/ 4191 w 3337751"/>
                  <a:gd name="connsiteY1" fmla="*/ 0 h 383952"/>
                  <a:gd name="connsiteX2" fmla="*/ 4191 w 3337751"/>
                  <a:gd name="connsiteY2" fmla="*/ 6096 h 383952"/>
                  <a:gd name="connsiteX3" fmla="*/ 21050 w 3337751"/>
                  <a:gd name="connsiteY3" fmla="*/ 6096 h 383952"/>
                  <a:gd name="connsiteX4" fmla="*/ 21050 w 3337751"/>
                  <a:gd name="connsiteY4" fmla="*/ 18192 h 383952"/>
                  <a:gd name="connsiteX5" fmla="*/ 25241 w 3337751"/>
                  <a:gd name="connsiteY5" fmla="*/ 18192 h 383952"/>
                  <a:gd name="connsiteX6" fmla="*/ 25241 w 3337751"/>
                  <a:gd name="connsiteY6" fmla="*/ 24288 h 383952"/>
                  <a:gd name="connsiteX7" fmla="*/ 48387 w 3337751"/>
                  <a:gd name="connsiteY7" fmla="*/ 24288 h 383952"/>
                  <a:gd name="connsiteX8" fmla="*/ 48387 w 3337751"/>
                  <a:gd name="connsiteY8" fmla="*/ 30384 h 383952"/>
                  <a:gd name="connsiteX9" fmla="*/ 52578 w 3337751"/>
                  <a:gd name="connsiteY9" fmla="*/ 30384 h 383952"/>
                  <a:gd name="connsiteX10" fmla="*/ 52578 w 3337751"/>
                  <a:gd name="connsiteY10" fmla="*/ 36385 h 383952"/>
                  <a:gd name="connsiteX11" fmla="*/ 58865 w 3337751"/>
                  <a:gd name="connsiteY11" fmla="*/ 36385 h 383952"/>
                  <a:gd name="connsiteX12" fmla="*/ 58865 w 3337751"/>
                  <a:gd name="connsiteY12" fmla="*/ 48577 h 383952"/>
                  <a:gd name="connsiteX13" fmla="*/ 77819 w 3337751"/>
                  <a:gd name="connsiteY13" fmla="*/ 48577 h 383952"/>
                  <a:gd name="connsiteX14" fmla="*/ 77819 w 3337751"/>
                  <a:gd name="connsiteY14" fmla="*/ 54578 h 383952"/>
                  <a:gd name="connsiteX15" fmla="*/ 86201 w 3337751"/>
                  <a:gd name="connsiteY15" fmla="*/ 54578 h 383952"/>
                  <a:gd name="connsiteX16" fmla="*/ 86201 w 3337751"/>
                  <a:gd name="connsiteY16" fmla="*/ 60674 h 383952"/>
                  <a:gd name="connsiteX17" fmla="*/ 98870 w 3337751"/>
                  <a:gd name="connsiteY17" fmla="*/ 60674 h 383952"/>
                  <a:gd name="connsiteX18" fmla="*/ 98870 w 3337751"/>
                  <a:gd name="connsiteY18" fmla="*/ 66770 h 383952"/>
                  <a:gd name="connsiteX19" fmla="*/ 115729 w 3337751"/>
                  <a:gd name="connsiteY19" fmla="*/ 66770 h 383952"/>
                  <a:gd name="connsiteX20" fmla="*/ 115729 w 3337751"/>
                  <a:gd name="connsiteY20" fmla="*/ 72771 h 383952"/>
                  <a:gd name="connsiteX21" fmla="*/ 143066 w 3337751"/>
                  <a:gd name="connsiteY21" fmla="*/ 72771 h 383952"/>
                  <a:gd name="connsiteX22" fmla="*/ 143066 w 3337751"/>
                  <a:gd name="connsiteY22" fmla="*/ 78867 h 383952"/>
                  <a:gd name="connsiteX23" fmla="*/ 145161 w 3337751"/>
                  <a:gd name="connsiteY23" fmla="*/ 78867 h 383952"/>
                  <a:gd name="connsiteX24" fmla="*/ 145161 w 3337751"/>
                  <a:gd name="connsiteY24" fmla="*/ 84963 h 383952"/>
                  <a:gd name="connsiteX25" fmla="*/ 155638 w 3337751"/>
                  <a:gd name="connsiteY25" fmla="*/ 84963 h 383952"/>
                  <a:gd name="connsiteX26" fmla="*/ 155638 w 3337751"/>
                  <a:gd name="connsiteY26" fmla="*/ 90963 h 383952"/>
                  <a:gd name="connsiteX27" fmla="*/ 161925 w 3337751"/>
                  <a:gd name="connsiteY27" fmla="*/ 90963 h 383952"/>
                  <a:gd name="connsiteX28" fmla="*/ 161925 w 3337751"/>
                  <a:gd name="connsiteY28" fmla="*/ 103155 h 383952"/>
                  <a:gd name="connsiteX29" fmla="*/ 170402 w 3337751"/>
                  <a:gd name="connsiteY29" fmla="*/ 103155 h 383952"/>
                  <a:gd name="connsiteX30" fmla="*/ 170402 w 3337751"/>
                  <a:gd name="connsiteY30" fmla="*/ 109156 h 383952"/>
                  <a:gd name="connsiteX31" fmla="*/ 176689 w 3337751"/>
                  <a:gd name="connsiteY31" fmla="*/ 109156 h 383952"/>
                  <a:gd name="connsiteX32" fmla="*/ 176689 w 3337751"/>
                  <a:gd name="connsiteY32" fmla="*/ 121348 h 383952"/>
                  <a:gd name="connsiteX33" fmla="*/ 178784 w 3337751"/>
                  <a:gd name="connsiteY33" fmla="*/ 121348 h 383952"/>
                  <a:gd name="connsiteX34" fmla="*/ 178784 w 3337751"/>
                  <a:gd name="connsiteY34" fmla="*/ 127444 h 383952"/>
                  <a:gd name="connsiteX35" fmla="*/ 191357 w 3337751"/>
                  <a:gd name="connsiteY35" fmla="*/ 127444 h 383952"/>
                  <a:gd name="connsiteX36" fmla="*/ 191357 w 3337751"/>
                  <a:gd name="connsiteY36" fmla="*/ 133445 h 383952"/>
                  <a:gd name="connsiteX37" fmla="*/ 214503 w 3337751"/>
                  <a:gd name="connsiteY37" fmla="*/ 133445 h 383952"/>
                  <a:gd name="connsiteX38" fmla="*/ 214503 w 3337751"/>
                  <a:gd name="connsiteY38" fmla="*/ 139541 h 383952"/>
                  <a:gd name="connsiteX39" fmla="*/ 220885 w 3337751"/>
                  <a:gd name="connsiteY39" fmla="*/ 139541 h 383952"/>
                  <a:gd name="connsiteX40" fmla="*/ 220885 w 3337751"/>
                  <a:gd name="connsiteY40" fmla="*/ 145637 h 383952"/>
                  <a:gd name="connsiteX41" fmla="*/ 229267 w 3337751"/>
                  <a:gd name="connsiteY41" fmla="*/ 145637 h 383952"/>
                  <a:gd name="connsiteX42" fmla="*/ 229267 w 3337751"/>
                  <a:gd name="connsiteY42" fmla="*/ 151638 h 383952"/>
                  <a:gd name="connsiteX43" fmla="*/ 237649 w 3337751"/>
                  <a:gd name="connsiteY43" fmla="*/ 151638 h 383952"/>
                  <a:gd name="connsiteX44" fmla="*/ 237649 w 3337751"/>
                  <a:gd name="connsiteY44" fmla="*/ 157734 h 383952"/>
                  <a:gd name="connsiteX45" fmla="*/ 241840 w 3337751"/>
                  <a:gd name="connsiteY45" fmla="*/ 157734 h 383952"/>
                  <a:gd name="connsiteX46" fmla="*/ 241840 w 3337751"/>
                  <a:gd name="connsiteY46" fmla="*/ 163830 h 383952"/>
                  <a:gd name="connsiteX47" fmla="*/ 315468 w 3337751"/>
                  <a:gd name="connsiteY47" fmla="*/ 163830 h 383952"/>
                  <a:gd name="connsiteX48" fmla="*/ 315468 w 3337751"/>
                  <a:gd name="connsiteY48" fmla="*/ 169830 h 383952"/>
                  <a:gd name="connsiteX49" fmla="*/ 336518 w 3337751"/>
                  <a:gd name="connsiteY49" fmla="*/ 169830 h 383952"/>
                  <a:gd name="connsiteX50" fmla="*/ 336518 w 3337751"/>
                  <a:gd name="connsiteY50" fmla="*/ 175926 h 383952"/>
                  <a:gd name="connsiteX51" fmla="*/ 342805 w 3337751"/>
                  <a:gd name="connsiteY51" fmla="*/ 175926 h 383952"/>
                  <a:gd name="connsiteX52" fmla="*/ 342805 w 3337751"/>
                  <a:gd name="connsiteY52" fmla="*/ 182022 h 383952"/>
                  <a:gd name="connsiteX53" fmla="*/ 384905 w 3337751"/>
                  <a:gd name="connsiteY53" fmla="*/ 182022 h 383952"/>
                  <a:gd name="connsiteX54" fmla="*/ 384905 w 3337751"/>
                  <a:gd name="connsiteY54" fmla="*/ 188023 h 383952"/>
                  <a:gd name="connsiteX55" fmla="*/ 399574 w 3337751"/>
                  <a:gd name="connsiteY55" fmla="*/ 188023 h 383952"/>
                  <a:gd name="connsiteX56" fmla="*/ 399574 w 3337751"/>
                  <a:gd name="connsiteY56" fmla="*/ 194119 h 383952"/>
                  <a:gd name="connsiteX57" fmla="*/ 429101 w 3337751"/>
                  <a:gd name="connsiteY57" fmla="*/ 194119 h 383952"/>
                  <a:gd name="connsiteX58" fmla="*/ 429101 w 3337751"/>
                  <a:gd name="connsiteY58" fmla="*/ 200215 h 383952"/>
                  <a:gd name="connsiteX59" fmla="*/ 431197 w 3337751"/>
                  <a:gd name="connsiteY59" fmla="*/ 200215 h 383952"/>
                  <a:gd name="connsiteX60" fmla="*/ 431197 w 3337751"/>
                  <a:gd name="connsiteY60" fmla="*/ 206216 h 383952"/>
                  <a:gd name="connsiteX61" fmla="*/ 454247 w 3337751"/>
                  <a:gd name="connsiteY61" fmla="*/ 206216 h 383952"/>
                  <a:gd name="connsiteX62" fmla="*/ 454247 w 3337751"/>
                  <a:gd name="connsiteY62" fmla="*/ 212312 h 383952"/>
                  <a:gd name="connsiteX63" fmla="*/ 466916 w 3337751"/>
                  <a:gd name="connsiteY63" fmla="*/ 212312 h 383952"/>
                  <a:gd name="connsiteX64" fmla="*/ 466916 w 3337751"/>
                  <a:gd name="connsiteY64" fmla="*/ 218408 h 383952"/>
                  <a:gd name="connsiteX65" fmla="*/ 502634 w 3337751"/>
                  <a:gd name="connsiteY65" fmla="*/ 218408 h 383952"/>
                  <a:gd name="connsiteX66" fmla="*/ 502634 w 3337751"/>
                  <a:gd name="connsiteY66" fmla="*/ 224504 h 383952"/>
                  <a:gd name="connsiteX67" fmla="*/ 618363 w 3337751"/>
                  <a:gd name="connsiteY67" fmla="*/ 224504 h 383952"/>
                  <a:gd name="connsiteX68" fmla="*/ 618363 w 3337751"/>
                  <a:gd name="connsiteY68" fmla="*/ 230505 h 383952"/>
                  <a:gd name="connsiteX69" fmla="*/ 656177 w 3337751"/>
                  <a:gd name="connsiteY69" fmla="*/ 230505 h 383952"/>
                  <a:gd name="connsiteX70" fmla="*/ 656177 w 3337751"/>
                  <a:gd name="connsiteY70" fmla="*/ 236696 h 383952"/>
                  <a:gd name="connsiteX71" fmla="*/ 708755 w 3337751"/>
                  <a:gd name="connsiteY71" fmla="*/ 236696 h 383952"/>
                  <a:gd name="connsiteX72" fmla="*/ 708755 w 3337751"/>
                  <a:gd name="connsiteY72" fmla="*/ 242792 h 383952"/>
                  <a:gd name="connsiteX73" fmla="*/ 727710 w 3337751"/>
                  <a:gd name="connsiteY73" fmla="*/ 242792 h 383952"/>
                  <a:gd name="connsiteX74" fmla="*/ 727710 w 3337751"/>
                  <a:gd name="connsiteY74" fmla="*/ 248888 h 383952"/>
                  <a:gd name="connsiteX75" fmla="*/ 738188 w 3337751"/>
                  <a:gd name="connsiteY75" fmla="*/ 248888 h 383952"/>
                  <a:gd name="connsiteX76" fmla="*/ 738188 w 3337751"/>
                  <a:gd name="connsiteY76" fmla="*/ 255079 h 383952"/>
                  <a:gd name="connsiteX77" fmla="*/ 771906 w 3337751"/>
                  <a:gd name="connsiteY77" fmla="*/ 255079 h 383952"/>
                  <a:gd name="connsiteX78" fmla="*/ 771906 w 3337751"/>
                  <a:gd name="connsiteY78" fmla="*/ 261175 h 383952"/>
                  <a:gd name="connsiteX79" fmla="*/ 778193 w 3337751"/>
                  <a:gd name="connsiteY79" fmla="*/ 261175 h 383952"/>
                  <a:gd name="connsiteX80" fmla="*/ 778193 w 3337751"/>
                  <a:gd name="connsiteY80" fmla="*/ 267271 h 383952"/>
                  <a:gd name="connsiteX81" fmla="*/ 792861 w 3337751"/>
                  <a:gd name="connsiteY81" fmla="*/ 267271 h 383952"/>
                  <a:gd name="connsiteX82" fmla="*/ 792861 w 3337751"/>
                  <a:gd name="connsiteY82" fmla="*/ 273367 h 383952"/>
                  <a:gd name="connsiteX83" fmla="*/ 805529 w 3337751"/>
                  <a:gd name="connsiteY83" fmla="*/ 273367 h 383952"/>
                  <a:gd name="connsiteX84" fmla="*/ 805529 w 3337751"/>
                  <a:gd name="connsiteY84" fmla="*/ 279558 h 383952"/>
                  <a:gd name="connsiteX85" fmla="*/ 830771 w 3337751"/>
                  <a:gd name="connsiteY85" fmla="*/ 279558 h 383952"/>
                  <a:gd name="connsiteX86" fmla="*/ 830771 w 3337751"/>
                  <a:gd name="connsiteY86" fmla="*/ 285654 h 383952"/>
                  <a:gd name="connsiteX87" fmla="*/ 1060037 w 3337751"/>
                  <a:gd name="connsiteY87" fmla="*/ 285654 h 383952"/>
                  <a:gd name="connsiteX88" fmla="*/ 1060037 w 3337751"/>
                  <a:gd name="connsiteY88" fmla="*/ 291846 h 383952"/>
                  <a:gd name="connsiteX89" fmla="*/ 1173575 w 3337751"/>
                  <a:gd name="connsiteY89" fmla="*/ 291846 h 383952"/>
                  <a:gd name="connsiteX90" fmla="*/ 1173575 w 3337751"/>
                  <a:gd name="connsiteY90" fmla="*/ 298037 h 383952"/>
                  <a:gd name="connsiteX91" fmla="*/ 1442752 w 3337751"/>
                  <a:gd name="connsiteY91" fmla="*/ 298037 h 383952"/>
                  <a:gd name="connsiteX92" fmla="*/ 1442752 w 3337751"/>
                  <a:gd name="connsiteY92" fmla="*/ 304323 h 383952"/>
                  <a:gd name="connsiteX93" fmla="*/ 1516380 w 3337751"/>
                  <a:gd name="connsiteY93" fmla="*/ 304323 h 383952"/>
                  <a:gd name="connsiteX94" fmla="*/ 1516380 w 3337751"/>
                  <a:gd name="connsiteY94" fmla="*/ 310610 h 383952"/>
                  <a:gd name="connsiteX95" fmla="*/ 1596295 w 3337751"/>
                  <a:gd name="connsiteY95" fmla="*/ 310610 h 383952"/>
                  <a:gd name="connsiteX96" fmla="*/ 1596295 w 3337751"/>
                  <a:gd name="connsiteY96" fmla="*/ 316896 h 383952"/>
                  <a:gd name="connsiteX97" fmla="*/ 1758220 w 3337751"/>
                  <a:gd name="connsiteY97" fmla="*/ 316896 h 383952"/>
                  <a:gd name="connsiteX98" fmla="*/ 1758220 w 3337751"/>
                  <a:gd name="connsiteY98" fmla="*/ 323373 h 383952"/>
                  <a:gd name="connsiteX99" fmla="*/ 1775079 w 3337751"/>
                  <a:gd name="connsiteY99" fmla="*/ 323373 h 383952"/>
                  <a:gd name="connsiteX100" fmla="*/ 1775079 w 3337751"/>
                  <a:gd name="connsiteY100" fmla="*/ 329755 h 383952"/>
                  <a:gd name="connsiteX101" fmla="*/ 1892903 w 3337751"/>
                  <a:gd name="connsiteY101" fmla="*/ 329755 h 383952"/>
                  <a:gd name="connsiteX102" fmla="*/ 1892903 w 3337751"/>
                  <a:gd name="connsiteY102" fmla="*/ 336232 h 383952"/>
                  <a:gd name="connsiteX103" fmla="*/ 1985391 w 3337751"/>
                  <a:gd name="connsiteY103" fmla="*/ 336232 h 383952"/>
                  <a:gd name="connsiteX104" fmla="*/ 1985391 w 3337751"/>
                  <a:gd name="connsiteY104" fmla="*/ 342614 h 383952"/>
                  <a:gd name="connsiteX105" fmla="*/ 2004346 w 3337751"/>
                  <a:gd name="connsiteY105" fmla="*/ 342614 h 383952"/>
                  <a:gd name="connsiteX106" fmla="*/ 2004346 w 3337751"/>
                  <a:gd name="connsiteY106" fmla="*/ 349091 h 383952"/>
                  <a:gd name="connsiteX107" fmla="*/ 2858167 w 3337751"/>
                  <a:gd name="connsiteY107" fmla="*/ 349091 h 383952"/>
                  <a:gd name="connsiteX108" fmla="*/ 2858167 w 3337751"/>
                  <a:gd name="connsiteY108" fmla="*/ 383952 h 383952"/>
                  <a:gd name="connsiteX109" fmla="*/ 3337751 w 3337751"/>
                  <a:gd name="connsiteY109" fmla="*/ 383952 h 383952"/>
                  <a:gd name="connsiteX0" fmla="*/ 0 w 3337751"/>
                  <a:gd name="connsiteY0" fmla="*/ 0 h 383952"/>
                  <a:gd name="connsiteX1" fmla="*/ 4191 w 3337751"/>
                  <a:gd name="connsiteY1" fmla="*/ 0 h 383952"/>
                  <a:gd name="connsiteX2" fmla="*/ 21050 w 3337751"/>
                  <a:gd name="connsiteY2" fmla="*/ 6096 h 383952"/>
                  <a:gd name="connsiteX3" fmla="*/ 21050 w 3337751"/>
                  <a:gd name="connsiteY3" fmla="*/ 18192 h 383952"/>
                  <a:gd name="connsiteX4" fmla="*/ 25241 w 3337751"/>
                  <a:gd name="connsiteY4" fmla="*/ 18192 h 383952"/>
                  <a:gd name="connsiteX5" fmla="*/ 25241 w 3337751"/>
                  <a:gd name="connsiteY5" fmla="*/ 24288 h 383952"/>
                  <a:gd name="connsiteX6" fmla="*/ 48387 w 3337751"/>
                  <a:gd name="connsiteY6" fmla="*/ 24288 h 383952"/>
                  <a:gd name="connsiteX7" fmla="*/ 48387 w 3337751"/>
                  <a:gd name="connsiteY7" fmla="*/ 30384 h 383952"/>
                  <a:gd name="connsiteX8" fmla="*/ 52578 w 3337751"/>
                  <a:gd name="connsiteY8" fmla="*/ 30384 h 383952"/>
                  <a:gd name="connsiteX9" fmla="*/ 52578 w 3337751"/>
                  <a:gd name="connsiteY9" fmla="*/ 36385 h 383952"/>
                  <a:gd name="connsiteX10" fmla="*/ 58865 w 3337751"/>
                  <a:gd name="connsiteY10" fmla="*/ 36385 h 383952"/>
                  <a:gd name="connsiteX11" fmla="*/ 58865 w 3337751"/>
                  <a:gd name="connsiteY11" fmla="*/ 48577 h 383952"/>
                  <a:gd name="connsiteX12" fmla="*/ 77819 w 3337751"/>
                  <a:gd name="connsiteY12" fmla="*/ 48577 h 383952"/>
                  <a:gd name="connsiteX13" fmla="*/ 77819 w 3337751"/>
                  <a:gd name="connsiteY13" fmla="*/ 54578 h 383952"/>
                  <a:gd name="connsiteX14" fmla="*/ 86201 w 3337751"/>
                  <a:gd name="connsiteY14" fmla="*/ 54578 h 383952"/>
                  <a:gd name="connsiteX15" fmla="*/ 86201 w 3337751"/>
                  <a:gd name="connsiteY15" fmla="*/ 60674 h 383952"/>
                  <a:gd name="connsiteX16" fmla="*/ 98870 w 3337751"/>
                  <a:gd name="connsiteY16" fmla="*/ 60674 h 383952"/>
                  <a:gd name="connsiteX17" fmla="*/ 98870 w 3337751"/>
                  <a:gd name="connsiteY17" fmla="*/ 66770 h 383952"/>
                  <a:gd name="connsiteX18" fmla="*/ 115729 w 3337751"/>
                  <a:gd name="connsiteY18" fmla="*/ 66770 h 383952"/>
                  <a:gd name="connsiteX19" fmla="*/ 115729 w 3337751"/>
                  <a:gd name="connsiteY19" fmla="*/ 72771 h 383952"/>
                  <a:gd name="connsiteX20" fmla="*/ 143066 w 3337751"/>
                  <a:gd name="connsiteY20" fmla="*/ 72771 h 383952"/>
                  <a:gd name="connsiteX21" fmla="*/ 143066 w 3337751"/>
                  <a:gd name="connsiteY21" fmla="*/ 78867 h 383952"/>
                  <a:gd name="connsiteX22" fmla="*/ 145161 w 3337751"/>
                  <a:gd name="connsiteY22" fmla="*/ 78867 h 383952"/>
                  <a:gd name="connsiteX23" fmla="*/ 145161 w 3337751"/>
                  <a:gd name="connsiteY23" fmla="*/ 84963 h 383952"/>
                  <a:gd name="connsiteX24" fmla="*/ 155638 w 3337751"/>
                  <a:gd name="connsiteY24" fmla="*/ 84963 h 383952"/>
                  <a:gd name="connsiteX25" fmla="*/ 155638 w 3337751"/>
                  <a:gd name="connsiteY25" fmla="*/ 90963 h 383952"/>
                  <a:gd name="connsiteX26" fmla="*/ 161925 w 3337751"/>
                  <a:gd name="connsiteY26" fmla="*/ 90963 h 383952"/>
                  <a:gd name="connsiteX27" fmla="*/ 161925 w 3337751"/>
                  <a:gd name="connsiteY27" fmla="*/ 103155 h 383952"/>
                  <a:gd name="connsiteX28" fmla="*/ 170402 w 3337751"/>
                  <a:gd name="connsiteY28" fmla="*/ 103155 h 383952"/>
                  <a:gd name="connsiteX29" fmla="*/ 170402 w 3337751"/>
                  <a:gd name="connsiteY29" fmla="*/ 109156 h 383952"/>
                  <a:gd name="connsiteX30" fmla="*/ 176689 w 3337751"/>
                  <a:gd name="connsiteY30" fmla="*/ 109156 h 383952"/>
                  <a:gd name="connsiteX31" fmla="*/ 176689 w 3337751"/>
                  <a:gd name="connsiteY31" fmla="*/ 121348 h 383952"/>
                  <a:gd name="connsiteX32" fmla="*/ 178784 w 3337751"/>
                  <a:gd name="connsiteY32" fmla="*/ 121348 h 383952"/>
                  <a:gd name="connsiteX33" fmla="*/ 178784 w 3337751"/>
                  <a:gd name="connsiteY33" fmla="*/ 127444 h 383952"/>
                  <a:gd name="connsiteX34" fmla="*/ 191357 w 3337751"/>
                  <a:gd name="connsiteY34" fmla="*/ 127444 h 383952"/>
                  <a:gd name="connsiteX35" fmla="*/ 191357 w 3337751"/>
                  <a:gd name="connsiteY35" fmla="*/ 133445 h 383952"/>
                  <a:gd name="connsiteX36" fmla="*/ 214503 w 3337751"/>
                  <a:gd name="connsiteY36" fmla="*/ 133445 h 383952"/>
                  <a:gd name="connsiteX37" fmla="*/ 214503 w 3337751"/>
                  <a:gd name="connsiteY37" fmla="*/ 139541 h 383952"/>
                  <a:gd name="connsiteX38" fmla="*/ 220885 w 3337751"/>
                  <a:gd name="connsiteY38" fmla="*/ 139541 h 383952"/>
                  <a:gd name="connsiteX39" fmla="*/ 220885 w 3337751"/>
                  <a:gd name="connsiteY39" fmla="*/ 145637 h 383952"/>
                  <a:gd name="connsiteX40" fmla="*/ 229267 w 3337751"/>
                  <a:gd name="connsiteY40" fmla="*/ 145637 h 383952"/>
                  <a:gd name="connsiteX41" fmla="*/ 229267 w 3337751"/>
                  <a:gd name="connsiteY41" fmla="*/ 151638 h 383952"/>
                  <a:gd name="connsiteX42" fmla="*/ 237649 w 3337751"/>
                  <a:gd name="connsiteY42" fmla="*/ 151638 h 383952"/>
                  <a:gd name="connsiteX43" fmla="*/ 237649 w 3337751"/>
                  <a:gd name="connsiteY43" fmla="*/ 157734 h 383952"/>
                  <a:gd name="connsiteX44" fmla="*/ 241840 w 3337751"/>
                  <a:gd name="connsiteY44" fmla="*/ 157734 h 383952"/>
                  <a:gd name="connsiteX45" fmla="*/ 241840 w 3337751"/>
                  <a:gd name="connsiteY45" fmla="*/ 163830 h 383952"/>
                  <a:gd name="connsiteX46" fmla="*/ 315468 w 3337751"/>
                  <a:gd name="connsiteY46" fmla="*/ 163830 h 383952"/>
                  <a:gd name="connsiteX47" fmla="*/ 315468 w 3337751"/>
                  <a:gd name="connsiteY47" fmla="*/ 169830 h 383952"/>
                  <a:gd name="connsiteX48" fmla="*/ 336518 w 3337751"/>
                  <a:gd name="connsiteY48" fmla="*/ 169830 h 383952"/>
                  <a:gd name="connsiteX49" fmla="*/ 336518 w 3337751"/>
                  <a:gd name="connsiteY49" fmla="*/ 175926 h 383952"/>
                  <a:gd name="connsiteX50" fmla="*/ 342805 w 3337751"/>
                  <a:gd name="connsiteY50" fmla="*/ 175926 h 383952"/>
                  <a:gd name="connsiteX51" fmla="*/ 342805 w 3337751"/>
                  <a:gd name="connsiteY51" fmla="*/ 182022 h 383952"/>
                  <a:gd name="connsiteX52" fmla="*/ 384905 w 3337751"/>
                  <a:gd name="connsiteY52" fmla="*/ 182022 h 383952"/>
                  <a:gd name="connsiteX53" fmla="*/ 384905 w 3337751"/>
                  <a:gd name="connsiteY53" fmla="*/ 188023 h 383952"/>
                  <a:gd name="connsiteX54" fmla="*/ 399574 w 3337751"/>
                  <a:gd name="connsiteY54" fmla="*/ 188023 h 383952"/>
                  <a:gd name="connsiteX55" fmla="*/ 399574 w 3337751"/>
                  <a:gd name="connsiteY55" fmla="*/ 194119 h 383952"/>
                  <a:gd name="connsiteX56" fmla="*/ 429101 w 3337751"/>
                  <a:gd name="connsiteY56" fmla="*/ 194119 h 383952"/>
                  <a:gd name="connsiteX57" fmla="*/ 429101 w 3337751"/>
                  <a:gd name="connsiteY57" fmla="*/ 200215 h 383952"/>
                  <a:gd name="connsiteX58" fmla="*/ 431197 w 3337751"/>
                  <a:gd name="connsiteY58" fmla="*/ 200215 h 383952"/>
                  <a:gd name="connsiteX59" fmla="*/ 431197 w 3337751"/>
                  <a:gd name="connsiteY59" fmla="*/ 206216 h 383952"/>
                  <a:gd name="connsiteX60" fmla="*/ 454247 w 3337751"/>
                  <a:gd name="connsiteY60" fmla="*/ 206216 h 383952"/>
                  <a:gd name="connsiteX61" fmla="*/ 454247 w 3337751"/>
                  <a:gd name="connsiteY61" fmla="*/ 212312 h 383952"/>
                  <a:gd name="connsiteX62" fmla="*/ 466916 w 3337751"/>
                  <a:gd name="connsiteY62" fmla="*/ 212312 h 383952"/>
                  <a:gd name="connsiteX63" fmla="*/ 466916 w 3337751"/>
                  <a:gd name="connsiteY63" fmla="*/ 218408 h 383952"/>
                  <a:gd name="connsiteX64" fmla="*/ 502634 w 3337751"/>
                  <a:gd name="connsiteY64" fmla="*/ 218408 h 383952"/>
                  <a:gd name="connsiteX65" fmla="*/ 502634 w 3337751"/>
                  <a:gd name="connsiteY65" fmla="*/ 224504 h 383952"/>
                  <a:gd name="connsiteX66" fmla="*/ 618363 w 3337751"/>
                  <a:gd name="connsiteY66" fmla="*/ 224504 h 383952"/>
                  <a:gd name="connsiteX67" fmla="*/ 618363 w 3337751"/>
                  <a:gd name="connsiteY67" fmla="*/ 230505 h 383952"/>
                  <a:gd name="connsiteX68" fmla="*/ 656177 w 3337751"/>
                  <a:gd name="connsiteY68" fmla="*/ 230505 h 383952"/>
                  <a:gd name="connsiteX69" fmla="*/ 656177 w 3337751"/>
                  <a:gd name="connsiteY69" fmla="*/ 236696 h 383952"/>
                  <a:gd name="connsiteX70" fmla="*/ 708755 w 3337751"/>
                  <a:gd name="connsiteY70" fmla="*/ 236696 h 383952"/>
                  <a:gd name="connsiteX71" fmla="*/ 708755 w 3337751"/>
                  <a:gd name="connsiteY71" fmla="*/ 242792 h 383952"/>
                  <a:gd name="connsiteX72" fmla="*/ 727710 w 3337751"/>
                  <a:gd name="connsiteY72" fmla="*/ 242792 h 383952"/>
                  <a:gd name="connsiteX73" fmla="*/ 727710 w 3337751"/>
                  <a:gd name="connsiteY73" fmla="*/ 248888 h 383952"/>
                  <a:gd name="connsiteX74" fmla="*/ 738188 w 3337751"/>
                  <a:gd name="connsiteY74" fmla="*/ 248888 h 383952"/>
                  <a:gd name="connsiteX75" fmla="*/ 738188 w 3337751"/>
                  <a:gd name="connsiteY75" fmla="*/ 255079 h 383952"/>
                  <a:gd name="connsiteX76" fmla="*/ 771906 w 3337751"/>
                  <a:gd name="connsiteY76" fmla="*/ 255079 h 383952"/>
                  <a:gd name="connsiteX77" fmla="*/ 771906 w 3337751"/>
                  <a:gd name="connsiteY77" fmla="*/ 261175 h 383952"/>
                  <a:gd name="connsiteX78" fmla="*/ 778193 w 3337751"/>
                  <a:gd name="connsiteY78" fmla="*/ 261175 h 383952"/>
                  <a:gd name="connsiteX79" fmla="*/ 778193 w 3337751"/>
                  <a:gd name="connsiteY79" fmla="*/ 267271 h 383952"/>
                  <a:gd name="connsiteX80" fmla="*/ 792861 w 3337751"/>
                  <a:gd name="connsiteY80" fmla="*/ 267271 h 383952"/>
                  <a:gd name="connsiteX81" fmla="*/ 792861 w 3337751"/>
                  <a:gd name="connsiteY81" fmla="*/ 273367 h 383952"/>
                  <a:gd name="connsiteX82" fmla="*/ 805529 w 3337751"/>
                  <a:gd name="connsiteY82" fmla="*/ 273367 h 383952"/>
                  <a:gd name="connsiteX83" fmla="*/ 805529 w 3337751"/>
                  <a:gd name="connsiteY83" fmla="*/ 279558 h 383952"/>
                  <a:gd name="connsiteX84" fmla="*/ 830771 w 3337751"/>
                  <a:gd name="connsiteY84" fmla="*/ 279558 h 383952"/>
                  <a:gd name="connsiteX85" fmla="*/ 830771 w 3337751"/>
                  <a:gd name="connsiteY85" fmla="*/ 285654 h 383952"/>
                  <a:gd name="connsiteX86" fmla="*/ 1060037 w 3337751"/>
                  <a:gd name="connsiteY86" fmla="*/ 285654 h 383952"/>
                  <a:gd name="connsiteX87" fmla="*/ 1060037 w 3337751"/>
                  <a:gd name="connsiteY87" fmla="*/ 291846 h 383952"/>
                  <a:gd name="connsiteX88" fmla="*/ 1173575 w 3337751"/>
                  <a:gd name="connsiteY88" fmla="*/ 291846 h 383952"/>
                  <a:gd name="connsiteX89" fmla="*/ 1173575 w 3337751"/>
                  <a:gd name="connsiteY89" fmla="*/ 298037 h 383952"/>
                  <a:gd name="connsiteX90" fmla="*/ 1442752 w 3337751"/>
                  <a:gd name="connsiteY90" fmla="*/ 298037 h 383952"/>
                  <a:gd name="connsiteX91" fmla="*/ 1442752 w 3337751"/>
                  <a:gd name="connsiteY91" fmla="*/ 304323 h 383952"/>
                  <a:gd name="connsiteX92" fmla="*/ 1516380 w 3337751"/>
                  <a:gd name="connsiteY92" fmla="*/ 304323 h 383952"/>
                  <a:gd name="connsiteX93" fmla="*/ 1516380 w 3337751"/>
                  <a:gd name="connsiteY93" fmla="*/ 310610 h 383952"/>
                  <a:gd name="connsiteX94" fmla="*/ 1596295 w 3337751"/>
                  <a:gd name="connsiteY94" fmla="*/ 310610 h 383952"/>
                  <a:gd name="connsiteX95" fmla="*/ 1596295 w 3337751"/>
                  <a:gd name="connsiteY95" fmla="*/ 316896 h 383952"/>
                  <a:gd name="connsiteX96" fmla="*/ 1758220 w 3337751"/>
                  <a:gd name="connsiteY96" fmla="*/ 316896 h 383952"/>
                  <a:gd name="connsiteX97" fmla="*/ 1758220 w 3337751"/>
                  <a:gd name="connsiteY97" fmla="*/ 323373 h 383952"/>
                  <a:gd name="connsiteX98" fmla="*/ 1775079 w 3337751"/>
                  <a:gd name="connsiteY98" fmla="*/ 323373 h 383952"/>
                  <a:gd name="connsiteX99" fmla="*/ 1775079 w 3337751"/>
                  <a:gd name="connsiteY99" fmla="*/ 329755 h 383952"/>
                  <a:gd name="connsiteX100" fmla="*/ 1892903 w 3337751"/>
                  <a:gd name="connsiteY100" fmla="*/ 329755 h 383952"/>
                  <a:gd name="connsiteX101" fmla="*/ 1892903 w 3337751"/>
                  <a:gd name="connsiteY101" fmla="*/ 336232 h 383952"/>
                  <a:gd name="connsiteX102" fmla="*/ 1985391 w 3337751"/>
                  <a:gd name="connsiteY102" fmla="*/ 336232 h 383952"/>
                  <a:gd name="connsiteX103" fmla="*/ 1985391 w 3337751"/>
                  <a:gd name="connsiteY103" fmla="*/ 342614 h 383952"/>
                  <a:gd name="connsiteX104" fmla="*/ 2004346 w 3337751"/>
                  <a:gd name="connsiteY104" fmla="*/ 342614 h 383952"/>
                  <a:gd name="connsiteX105" fmla="*/ 2004346 w 3337751"/>
                  <a:gd name="connsiteY105" fmla="*/ 349091 h 383952"/>
                  <a:gd name="connsiteX106" fmla="*/ 2858167 w 3337751"/>
                  <a:gd name="connsiteY106" fmla="*/ 349091 h 383952"/>
                  <a:gd name="connsiteX107" fmla="*/ 2858167 w 3337751"/>
                  <a:gd name="connsiteY107" fmla="*/ 383952 h 383952"/>
                  <a:gd name="connsiteX108" fmla="*/ 3337751 w 3337751"/>
                  <a:gd name="connsiteY108" fmla="*/ 383952 h 383952"/>
                  <a:gd name="connsiteX0" fmla="*/ 0 w 3337751"/>
                  <a:gd name="connsiteY0" fmla="*/ 0 h 383952"/>
                  <a:gd name="connsiteX1" fmla="*/ 21050 w 3337751"/>
                  <a:gd name="connsiteY1" fmla="*/ 6096 h 383952"/>
                  <a:gd name="connsiteX2" fmla="*/ 21050 w 3337751"/>
                  <a:gd name="connsiteY2" fmla="*/ 18192 h 383952"/>
                  <a:gd name="connsiteX3" fmla="*/ 25241 w 3337751"/>
                  <a:gd name="connsiteY3" fmla="*/ 18192 h 383952"/>
                  <a:gd name="connsiteX4" fmla="*/ 25241 w 3337751"/>
                  <a:gd name="connsiteY4" fmla="*/ 24288 h 383952"/>
                  <a:gd name="connsiteX5" fmla="*/ 48387 w 3337751"/>
                  <a:gd name="connsiteY5" fmla="*/ 24288 h 383952"/>
                  <a:gd name="connsiteX6" fmla="*/ 48387 w 3337751"/>
                  <a:gd name="connsiteY6" fmla="*/ 30384 h 383952"/>
                  <a:gd name="connsiteX7" fmla="*/ 52578 w 3337751"/>
                  <a:gd name="connsiteY7" fmla="*/ 30384 h 383952"/>
                  <a:gd name="connsiteX8" fmla="*/ 52578 w 3337751"/>
                  <a:gd name="connsiteY8" fmla="*/ 36385 h 383952"/>
                  <a:gd name="connsiteX9" fmla="*/ 58865 w 3337751"/>
                  <a:gd name="connsiteY9" fmla="*/ 36385 h 383952"/>
                  <a:gd name="connsiteX10" fmla="*/ 58865 w 3337751"/>
                  <a:gd name="connsiteY10" fmla="*/ 48577 h 383952"/>
                  <a:gd name="connsiteX11" fmla="*/ 77819 w 3337751"/>
                  <a:gd name="connsiteY11" fmla="*/ 48577 h 383952"/>
                  <a:gd name="connsiteX12" fmla="*/ 77819 w 3337751"/>
                  <a:gd name="connsiteY12" fmla="*/ 54578 h 383952"/>
                  <a:gd name="connsiteX13" fmla="*/ 86201 w 3337751"/>
                  <a:gd name="connsiteY13" fmla="*/ 54578 h 383952"/>
                  <a:gd name="connsiteX14" fmla="*/ 86201 w 3337751"/>
                  <a:gd name="connsiteY14" fmla="*/ 60674 h 383952"/>
                  <a:gd name="connsiteX15" fmla="*/ 98870 w 3337751"/>
                  <a:gd name="connsiteY15" fmla="*/ 60674 h 383952"/>
                  <a:gd name="connsiteX16" fmla="*/ 98870 w 3337751"/>
                  <a:gd name="connsiteY16" fmla="*/ 66770 h 383952"/>
                  <a:gd name="connsiteX17" fmla="*/ 115729 w 3337751"/>
                  <a:gd name="connsiteY17" fmla="*/ 66770 h 383952"/>
                  <a:gd name="connsiteX18" fmla="*/ 115729 w 3337751"/>
                  <a:gd name="connsiteY18" fmla="*/ 72771 h 383952"/>
                  <a:gd name="connsiteX19" fmla="*/ 143066 w 3337751"/>
                  <a:gd name="connsiteY19" fmla="*/ 72771 h 383952"/>
                  <a:gd name="connsiteX20" fmla="*/ 143066 w 3337751"/>
                  <a:gd name="connsiteY20" fmla="*/ 78867 h 383952"/>
                  <a:gd name="connsiteX21" fmla="*/ 145161 w 3337751"/>
                  <a:gd name="connsiteY21" fmla="*/ 78867 h 383952"/>
                  <a:gd name="connsiteX22" fmla="*/ 145161 w 3337751"/>
                  <a:gd name="connsiteY22" fmla="*/ 84963 h 383952"/>
                  <a:gd name="connsiteX23" fmla="*/ 155638 w 3337751"/>
                  <a:gd name="connsiteY23" fmla="*/ 84963 h 383952"/>
                  <a:gd name="connsiteX24" fmla="*/ 155638 w 3337751"/>
                  <a:gd name="connsiteY24" fmla="*/ 90963 h 383952"/>
                  <a:gd name="connsiteX25" fmla="*/ 161925 w 3337751"/>
                  <a:gd name="connsiteY25" fmla="*/ 90963 h 383952"/>
                  <a:gd name="connsiteX26" fmla="*/ 161925 w 3337751"/>
                  <a:gd name="connsiteY26" fmla="*/ 103155 h 383952"/>
                  <a:gd name="connsiteX27" fmla="*/ 170402 w 3337751"/>
                  <a:gd name="connsiteY27" fmla="*/ 103155 h 383952"/>
                  <a:gd name="connsiteX28" fmla="*/ 170402 w 3337751"/>
                  <a:gd name="connsiteY28" fmla="*/ 109156 h 383952"/>
                  <a:gd name="connsiteX29" fmla="*/ 176689 w 3337751"/>
                  <a:gd name="connsiteY29" fmla="*/ 109156 h 383952"/>
                  <a:gd name="connsiteX30" fmla="*/ 176689 w 3337751"/>
                  <a:gd name="connsiteY30" fmla="*/ 121348 h 383952"/>
                  <a:gd name="connsiteX31" fmla="*/ 178784 w 3337751"/>
                  <a:gd name="connsiteY31" fmla="*/ 121348 h 383952"/>
                  <a:gd name="connsiteX32" fmla="*/ 178784 w 3337751"/>
                  <a:gd name="connsiteY32" fmla="*/ 127444 h 383952"/>
                  <a:gd name="connsiteX33" fmla="*/ 191357 w 3337751"/>
                  <a:gd name="connsiteY33" fmla="*/ 127444 h 383952"/>
                  <a:gd name="connsiteX34" fmla="*/ 191357 w 3337751"/>
                  <a:gd name="connsiteY34" fmla="*/ 133445 h 383952"/>
                  <a:gd name="connsiteX35" fmla="*/ 214503 w 3337751"/>
                  <a:gd name="connsiteY35" fmla="*/ 133445 h 383952"/>
                  <a:gd name="connsiteX36" fmla="*/ 214503 w 3337751"/>
                  <a:gd name="connsiteY36" fmla="*/ 139541 h 383952"/>
                  <a:gd name="connsiteX37" fmla="*/ 220885 w 3337751"/>
                  <a:gd name="connsiteY37" fmla="*/ 139541 h 383952"/>
                  <a:gd name="connsiteX38" fmla="*/ 220885 w 3337751"/>
                  <a:gd name="connsiteY38" fmla="*/ 145637 h 383952"/>
                  <a:gd name="connsiteX39" fmla="*/ 229267 w 3337751"/>
                  <a:gd name="connsiteY39" fmla="*/ 145637 h 383952"/>
                  <a:gd name="connsiteX40" fmla="*/ 229267 w 3337751"/>
                  <a:gd name="connsiteY40" fmla="*/ 151638 h 383952"/>
                  <a:gd name="connsiteX41" fmla="*/ 237649 w 3337751"/>
                  <a:gd name="connsiteY41" fmla="*/ 151638 h 383952"/>
                  <a:gd name="connsiteX42" fmla="*/ 237649 w 3337751"/>
                  <a:gd name="connsiteY42" fmla="*/ 157734 h 383952"/>
                  <a:gd name="connsiteX43" fmla="*/ 241840 w 3337751"/>
                  <a:gd name="connsiteY43" fmla="*/ 157734 h 383952"/>
                  <a:gd name="connsiteX44" fmla="*/ 241840 w 3337751"/>
                  <a:gd name="connsiteY44" fmla="*/ 163830 h 383952"/>
                  <a:gd name="connsiteX45" fmla="*/ 315468 w 3337751"/>
                  <a:gd name="connsiteY45" fmla="*/ 163830 h 383952"/>
                  <a:gd name="connsiteX46" fmla="*/ 315468 w 3337751"/>
                  <a:gd name="connsiteY46" fmla="*/ 169830 h 383952"/>
                  <a:gd name="connsiteX47" fmla="*/ 336518 w 3337751"/>
                  <a:gd name="connsiteY47" fmla="*/ 169830 h 383952"/>
                  <a:gd name="connsiteX48" fmla="*/ 336518 w 3337751"/>
                  <a:gd name="connsiteY48" fmla="*/ 175926 h 383952"/>
                  <a:gd name="connsiteX49" fmla="*/ 342805 w 3337751"/>
                  <a:gd name="connsiteY49" fmla="*/ 175926 h 383952"/>
                  <a:gd name="connsiteX50" fmla="*/ 342805 w 3337751"/>
                  <a:gd name="connsiteY50" fmla="*/ 182022 h 383952"/>
                  <a:gd name="connsiteX51" fmla="*/ 384905 w 3337751"/>
                  <a:gd name="connsiteY51" fmla="*/ 182022 h 383952"/>
                  <a:gd name="connsiteX52" fmla="*/ 384905 w 3337751"/>
                  <a:gd name="connsiteY52" fmla="*/ 188023 h 383952"/>
                  <a:gd name="connsiteX53" fmla="*/ 399574 w 3337751"/>
                  <a:gd name="connsiteY53" fmla="*/ 188023 h 383952"/>
                  <a:gd name="connsiteX54" fmla="*/ 399574 w 3337751"/>
                  <a:gd name="connsiteY54" fmla="*/ 194119 h 383952"/>
                  <a:gd name="connsiteX55" fmla="*/ 429101 w 3337751"/>
                  <a:gd name="connsiteY55" fmla="*/ 194119 h 383952"/>
                  <a:gd name="connsiteX56" fmla="*/ 429101 w 3337751"/>
                  <a:gd name="connsiteY56" fmla="*/ 200215 h 383952"/>
                  <a:gd name="connsiteX57" fmla="*/ 431197 w 3337751"/>
                  <a:gd name="connsiteY57" fmla="*/ 200215 h 383952"/>
                  <a:gd name="connsiteX58" fmla="*/ 431197 w 3337751"/>
                  <a:gd name="connsiteY58" fmla="*/ 206216 h 383952"/>
                  <a:gd name="connsiteX59" fmla="*/ 454247 w 3337751"/>
                  <a:gd name="connsiteY59" fmla="*/ 206216 h 383952"/>
                  <a:gd name="connsiteX60" fmla="*/ 454247 w 3337751"/>
                  <a:gd name="connsiteY60" fmla="*/ 212312 h 383952"/>
                  <a:gd name="connsiteX61" fmla="*/ 466916 w 3337751"/>
                  <a:gd name="connsiteY61" fmla="*/ 212312 h 383952"/>
                  <a:gd name="connsiteX62" fmla="*/ 466916 w 3337751"/>
                  <a:gd name="connsiteY62" fmla="*/ 218408 h 383952"/>
                  <a:gd name="connsiteX63" fmla="*/ 502634 w 3337751"/>
                  <a:gd name="connsiteY63" fmla="*/ 218408 h 383952"/>
                  <a:gd name="connsiteX64" fmla="*/ 502634 w 3337751"/>
                  <a:gd name="connsiteY64" fmla="*/ 224504 h 383952"/>
                  <a:gd name="connsiteX65" fmla="*/ 618363 w 3337751"/>
                  <a:gd name="connsiteY65" fmla="*/ 224504 h 383952"/>
                  <a:gd name="connsiteX66" fmla="*/ 618363 w 3337751"/>
                  <a:gd name="connsiteY66" fmla="*/ 230505 h 383952"/>
                  <a:gd name="connsiteX67" fmla="*/ 656177 w 3337751"/>
                  <a:gd name="connsiteY67" fmla="*/ 230505 h 383952"/>
                  <a:gd name="connsiteX68" fmla="*/ 656177 w 3337751"/>
                  <a:gd name="connsiteY68" fmla="*/ 236696 h 383952"/>
                  <a:gd name="connsiteX69" fmla="*/ 708755 w 3337751"/>
                  <a:gd name="connsiteY69" fmla="*/ 236696 h 383952"/>
                  <a:gd name="connsiteX70" fmla="*/ 708755 w 3337751"/>
                  <a:gd name="connsiteY70" fmla="*/ 242792 h 383952"/>
                  <a:gd name="connsiteX71" fmla="*/ 727710 w 3337751"/>
                  <a:gd name="connsiteY71" fmla="*/ 242792 h 383952"/>
                  <a:gd name="connsiteX72" fmla="*/ 727710 w 3337751"/>
                  <a:gd name="connsiteY72" fmla="*/ 248888 h 383952"/>
                  <a:gd name="connsiteX73" fmla="*/ 738188 w 3337751"/>
                  <a:gd name="connsiteY73" fmla="*/ 248888 h 383952"/>
                  <a:gd name="connsiteX74" fmla="*/ 738188 w 3337751"/>
                  <a:gd name="connsiteY74" fmla="*/ 255079 h 383952"/>
                  <a:gd name="connsiteX75" fmla="*/ 771906 w 3337751"/>
                  <a:gd name="connsiteY75" fmla="*/ 255079 h 383952"/>
                  <a:gd name="connsiteX76" fmla="*/ 771906 w 3337751"/>
                  <a:gd name="connsiteY76" fmla="*/ 261175 h 383952"/>
                  <a:gd name="connsiteX77" fmla="*/ 778193 w 3337751"/>
                  <a:gd name="connsiteY77" fmla="*/ 261175 h 383952"/>
                  <a:gd name="connsiteX78" fmla="*/ 778193 w 3337751"/>
                  <a:gd name="connsiteY78" fmla="*/ 267271 h 383952"/>
                  <a:gd name="connsiteX79" fmla="*/ 792861 w 3337751"/>
                  <a:gd name="connsiteY79" fmla="*/ 267271 h 383952"/>
                  <a:gd name="connsiteX80" fmla="*/ 792861 w 3337751"/>
                  <a:gd name="connsiteY80" fmla="*/ 273367 h 383952"/>
                  <a:gd name="connsiteX81" fmla="*/ 805529 w 3337751"/>
                  <a:gd name="connsiteY81" fmla="*/ 273367 h 383952"/>
                  <a:gd name="connsiteX82" fmla="*/ 805529 w 3337751"/>
                  <a:gd name="connsiteY82" fmla="*/ 279558 h 383952"/>
                  <a:gd name="connsiteX83" fmla="*/ 830771 w 3337751"/>
                  <a:gd name="connsiteY83" fmla="*/ 279558 h 383952"/>
                  <a:gd name="connsiteX84" fmla="*/ 830771 w 3337751"/>
                  <a:gd name="connsiteY84" fmla="*/ 285654 h 383952"/>
                  <a:gd name="connsiteX85" fmla="*/ 1060037 w 3337751"/>
                  <a:gd name="connsiteY85" fmla="*/ 285654 h 383952"/>
                  <a:gd name="connsiteX86" fmla="*/ 1060037 w 3337751"/>
                  <a:gd name="connsiteY86" fmla="*/ 291846 h 383952"/>
                  <a:gd name="connsiteX87" fmla="*/ 1173575 w 3337751"/>
                  <a:gd name="connsiteY87" fmla="*/ 291846 h 383952"/>
                  <a:gd name="connsiteX88" fmla="*/ 1173575 w 3337751"/>
                  <a:gd name="connsiteY88" fmla="*/ 298037 h 383952"/>
                  <a:gd name="connsiteX89" fmla="*/ 1442752 w 3337751"/>
                  <a:gd name="connsiteY89" fmla="*/ 298037 h 383952"/>
                  <a:gd name="connsiteX90" fmla="*/ 1442752 w 3337751"/>
                  <a:gd name="connsiteY90" fmla="*/ 304323 h 383952"/>
                  <a:gd name="connsiteX91" fmla="*/ 1516380 w 3337751"/>
                  <a:gd name="connsiteY91" fmla="*/ 304323 h 383952"/>
                  <a:gd name="connsiteX92" fmla="*/ 1516380 w 3337751"/>
                  <a:gd name="connsiteY92" fmla="*/ 310610 h 383952"/>
                  <a:gd name="connsiteX93" fmla="*/ 1596295 w 3337751"/>
                  <a:gd name="connsiteY93" fmla="*/ 310610 h 383952"/>
                  <a:gd name="connsiteX94" fmla="*/ 1596295 w 3337751"/>
                  <a:gd name="connsiteY94" fmla="*/ 316896 h 383952"/>
                  <a:gd name="connsiteX95" fmla="*/ 1758220 w 3337751"/>
                  <a:gd name="connsiteY95" fmla="*/ 316896 h 383952"/>
                  <a:gd name="connsiteX96" fmla="*/ 1758220 w 3337751"/>
                  <a:gd name="connsiteY96" fmla="*/ 323373 h 383952"/>
                  <a:gd name="connsiteX97" fmla="*/ 1775079 w 3337751"/>
                  <a:gd name="connsiteY97" fmla="*/ 323373 h 383952"/>
                  <a:gd name="connsiteX98" fmla="*/ 1775079 w 3337751"/>
                  <a:gd name="connsiteY98" fmla="*/ 329755 h 383952"/>
                  <a:gd name="connsiteX99" fmla="*/ 1892903 w 3337751"/>
                  <a:gd name="connsiteY99" fmla="*/ 329755 h 383952"/>
                  <a:gd name="connsiteX100" fmla="*/ 1892903 w 3337751"/>
                  <a:gd name="connsiteY100" fmla="*/ 336232 h 383952"/>
                  <a:gd name="connsiteX101" fmla="*/ 1985391 w 3337751"/>
                  <a:gd name="connsiteY101" fmla="*/ 336232 h 383952"/>
                  <a:gd name="connsiteX102" fmla="*/ 1985391 w 3337751"/>
                  <a:gd name="connsiteY102" fmla="*/ 342614 h 383952"/>
                  <a:gd name="connsiteX103" fmla="*/ 2004346 w 3337751"/>
                  <a:gd name="connsiteY103" fmla="*/ 342614 h 383952"/>
                  <a:gd name="connsiteX104" fmla="*/ 2004346 w 3337751"/>
                  <a:gd name="connsiteY104" fmla="*/ 349091 h 383952"/>
                  <a:gd name="connsiteX105" fmla="*/ 2858167 w 3337751"/>
                  <a:gd name="connsiteY105" fmla="*/ 349091 h 383952"/>
                  <a:gd name="connsiteX106" fmla="*/ 2858167 w 3337751"/>
                  <a:gd name="connsiteY106" fmla="*/ 383952 h 383952"/>
                  <a:gd name="connsiteX107" fmla="*/ 3337751 w 3337751"/>
                  <a:gd name="connsiteY107" fmla="*/ 383952 h 383952"/>
                  <a:gd name="connsiteX0" fmla="*/ 0 w 3316701"/>
                  <a:gd name="connsiteY0" fmla="*/ 0 h 377856"/>
                  <a:gd name="connsiteX1" fmla="*/ 0 w 3316701"/>
                  <a:gd name="connsiteY1" fmla="*/ 12096 h 377856"/>
                  <a:gd name="connsiteX2" fmla="*/ 4191 w 3316701"/>
                  <a:gd name="connsiteY2" fmla="*/ 12096 h 377856"/>
                  <a:gd name="connsiteX3" fmla="*/ 4191 w 3316701"/>
                  <a:gd name="connsiteY3" fmla="*/ 18192 h 377856"/>
                  <a:gd name="connsiteX4" fmla="*/ 27337 w 3316701"/>
                  <a:gd name="connsiteY4" fmla="*/ 18192 h 377856"/>
                  <a:gd name="connsiteX5" fmla="*/ 27337 w 3316701"/>
                  <a:gd name="connsiteY5" fmla="*/ 24288 h 377856"/>
                  <a:gd name="connsiteX6" fmla="*/ 31528 w 3316701"/>
                  <a:gd name="connsiteY6" fmla="*/ 24288 h 377856"/>
                  <a:gd name="connsiteX7" fmla="*/ 31528 w 3316701"/>
                  <a:gd name="connsiteY7" fmla="*/ 30289 h 377856"/>
                  <a:gd name="connsiteX8" fmla="*/ 37815 w 3316701"/>
                  <a:gd name="connsiteY8" fmla="*/ 30289 h 377856"/>
                  <a:gd name="connsiteX9" fmla="*/ 37815 w 3316701"/>
                  <a:gd name="connsiteY9" fmla="*/ 42481 h 377856"/>
                  <a:gd name="connsiteX10" fmla="*/ 56769 w 3316701"/>
                  <a:gd name="connsiteY10" fmla="*/ 42481 h 377856"/>
                  <a:gd name="connsiteX11" fmla="*/ 56769 w 3316701"/>
                  <a:gd name="connsiteY11" fmla="*/ 48482 h 377856"/>
                  <a:gd name="connsiteX12" fmla="*/ 65151 w 3316701"/>
                  <a:gd name="connsiteY12" fmla="*/ 48482 h 377856"/>
                  <a:gd name="connsiteX13" fmla="*/ 65151 w 3316701"/>
                  <a:gd name="connsiteY13" fmla="*/ 54578 h 377856"/>
                  <a:gd name="connsiteX14" fmla="*/ 77820 w 3316701"/>
                  <a:gd name="connsiteY14" fmla="*/ 54578 h 377856"/>
                  <a:gd name="connsiteX15" fmla="*/ 77820 w 3316701"/>
                  <a:gd name="connsiteY15" fmla="*/ 60674 h 377856"/>
                  <a:gd name="connsiteX16" fmla="*/ 94679 w 3316701"/>
                  <a:gd name="connsiteY16" fmla="*/ 60674 h 377856"/>
                  <a:gd name="connsiteX17" fmla="*/ 94679 w 3316701"/>
                  <a:gd name="connsiteY17" fmla="*/ 66675 h 377856"/>
                  <a:gd name="connsiteX18" fmla="*/ 122016 w 3316701"/>
                  <a:gd name="connsiteY18" fmla="*/ 66675 h 377856"/>
                  <a:gd name="connsiteX19" fmla="*/ 122016 w 3316701"/>
                  <a:gd name="connsiteY19" fmla="*/ 72771 h 377856"/>
                  <a:gd name="connsiteX20" fmla="*/ 124111 w 3316701"/>
                  <a:gd name="connsiteY20" fmla="*/ 72771 h 377856"/>
                  <a:gd name="connsiteX21" fmla="*/ 124111 w 3316701"/>
                  <a:gd name="connsiteY21" fmla="*/ 78867 h 377856"/>
                  <a:gd name="connsiteX22" fmla="*/ 134588 w 3316701"/>
                  <a:gd name="connsiteY22" fmla="*/ 78867 h 377856"/>
                  <a:gd name="connsiteX23" fmla="*/ 134588 w 3316701"/>
                  <a:gd name="connsiteY23" fmla="*/ 84867 h 377856"/>
                  <a:gd name="connsiteX24" fmla="*/ 140875 w 3316701"/>
                  <a:gd name="connsiteY24" fmla="*/ 84867 h 377856"/>
                  <a:gd name="connsiteX25" fmla="*/ 140875 w 3316701"/>
                  <a:gd name="connsiteY25" fmla="*/ 97059 h 377856"/>
                  <a:gd name="connsiteX26" fmla="*/ 149352 w 3316701"/>
                  <a:gd name="connsiteY26" fmla="*/ 97059 h 377856"/>
                  <a:gd name="connsiteX27" fmla="*/ 149352 w 3316701"/>
                  <a:gd name="connsiteY27" fmla="*/ 103060 h 377856"/>
                  <a:gd name="connsiteX28" fmla="*/ 155639 w 3316701"/>
                  <a:gd name="connsiteY28" fmla="*/ 103060 h 377856"/>
                  <a:gd name="connsiteX29" fmla="*/ 155639 w 3316701"/>
                  <a:gd name="connsiteY29" fmla="*/ 115252 h 377856"/>
                  <a:gd name="connsiteX30" fmla="*/ 157734 w 3316701"/>
                  <a:gd name="connsiteY30" fmla="*/ 115252 h 377856"/>
                  <a:gd name="connsiteX31" fmla="*/ 157734 w 3316701"/>
                  <a:gd name="connsiteY31" fmla="*/ 121348 h 377856"/>
                  <a:gd name="connsiteX32" fmla="*/ 170307 w 3316701"/>
                  <a:gd name="connsiteY32" fmla="*/ 121348 h 377856"/>
                  <a:gd name="connsiteX33" fmla="*/ 170307 w 3316701"/>
                  <a:gd name="connsiteY33" fmla="*/ 127349 h 377856"/>
                  <a:gd name="connsiteX34" fmla="*/ 193453 w 3316701"/>
                  <a:gd name="connsiteY34" fmla="*/ 127349 h 377856"/>
                  <a:gd name="connsiteX35" fmla="*/ 193453 w 3316701"/>
                  <a:gd name="connsiteY35" fmla="*/ 133445 h 377856"/>
                  <a:gd name="connsiteX36" fmla="*/ 199835 w 3316701"/>
                  <a:gd name="connsiteY36" fmla="*/ 133445 h 377856"/>
                  <a:gd name="connsiteX37" fmla="*/ 199835 w 3316701"/>
                  <a:gd name="connsiteY37" fmla="*/ 139541 h 377856"/>
                  <a:gd name="connsiteX38" fmla="*/ 208217 w 3316701"/>
                  <a:gd name="connsiteY38" fmla="*/ 139541 h 377856"/>
                  <a:gd name="connsiteX39" fmla="*/ 208217 w 3316701"/>
                  <a:gd name="connsiteY39" fmla="*/ 145542 h 377856"/>
                  <a:gd name="connsiteX40" fmla="*/ 216599 w 3316701"/>
                  <a:gd name="connsiteY40" fmla="*/ 145542 h 377856"/>
                  <a:gd name="connsiteX41" fmla="*/ 216599 w 3316701"/>
                  <a:gd name="connsiteY41" fmla="*/ 151638 h 377856"/>
                  <a:gd name="connsiteX42" fmla="*/ 220790 w 3316701"/>
                  <a:gd name="connsiteY42" fmla="*/ 151638 h 377856"/>
                  <a:gd name="connsiteX43" fmla="*/ 220790 w 3316701"/>
                  <a:gd name="connsiteY43" fmla="*/ 157734 h 377856"/>
                  <a:gd name="connsiteX44" fmla="*/ 294418 w 3316701"/>
                  <a:gd name="connsiteY44" fmla="*/ 157734 h 377856"/>
                  <a:gd name="connsiteX45" fmla="*/ 294418 w 3316701"/>
                  <a:gd name="connsiteY45" fmla="*/ 163734 h 377856"/>
                  <a:gd name="connsiteX46" fmla="*/ 315468 w 3316701"/>
                  <a:gd name="connsiteY46" fmla="*/ 163734 h 377856"/>
                  <a:gd name="connsiteX47" fmla="*/ 315468 w 3316701"/>
                  <a:gd name="connsiteY47" fmla="*/ 169830 h 377856"/>
                  <a:gd name="connsiteX48" fmla="*/ 321755 w 3316701"/>
                  <a:gd name="connsiteY48" fmla="*/ 169830 h 377856"/>
                  <a:gd name="connsiteX49" fmla="*/ 321755 w 3316701"/>
                  <a:gd name="connsiteY49" fmla="*/ 175926 h 377856"/>
                  <a:gd name="connsiteX50" fmla="*/ 363855 w 3316701"/>
                  <a:gd name="connsiteY50" fmla="*/ 175926 h 377856"/>
                  <a:gd name="connsiteX51" fmla="*/ 363855 w 3316701"/>
                  <a:gd name="connsiteY51" fmla="*/ 181927 h 377856"/>
                  <a:gd name="connsiteX52" fmla="*/ 378524 w 3316701"/>
                  <a:gd name="connsiteY52" fmla="*/ 181927 h 377856"/>
                  <a:gd name="connsiteX53" fmla="*/ 378524 w 3316701"/>
                  <a:gd name="connsiteY53" fmla="*/ 188023 h 377856"/>
                  <a:gd name="connsiteX54" fmla="*/ 408051 w 3316701"/>
                  <a:gd name="connsiteY54" fmla="*/ 188023 h 377856"/>
                  <a:gd name="connsiteX55" fmla="*/ 408051 w 3316701"/>
                  <a:gd name="connsiteY55" fmla="*/ 194119 h 377856"/>
                  <a:gd name="connsiteX56" fmla="*/ 410147 w 3316701"/>
                  <a:gd name="connsiteY56" fmla="*/ 194119 h 377856"/>
                  <a:gd name="connsiteX57" fmla="*/ 410147 w 3316701"/>
                  <a:gd name="connsiteY57" fmla="*/ 200120 h 377856"/>
                  <a:gd name="connsiteX58" fmla="*/ 433197 w 3316701"/>
                  <a:gd name="connsiteY58" fmla="*/ 200120 h 377856"/>
                  <a:gd name="connsiteX59" fmla="*/ 433197 w 3316701"/>
                  <a:gd name="connsiteY59" fmla="*/ 206216 h 377856"/>
                  <a:gd name="connsiteX60" fmla="*/ 445866 w 3316701"/>
                  <a:gd name="connsiteY60" fmla="*/ 206216 h 377856"/>
                  <a:gd name="connsiteX61" fmla="*/ 445866 w 3316701"/>
                  <a:gd name="connsiteY61" fmla="*/ 212312 h 377856"/>
                  <a:gd name="connsiteX62" fmla="*/ 481584 w 3316701"/>
                  <a:gd name="connsiteY62" fmla="*/ 212312 h 377856"/>
                  <a:gd name="connsiteX63" fmla="*/ 481584 w 3316701"/>
                  <a:gd name="connsiteY63" fmla="*/ 218408 h 377856"/>
                  <a:gd name="connsiteX64" fmla="*/ 597313 w 3316701"/>
                  <a:gd name="connsiteY64" fmla="*/ 218408 h 377856"/>
                  <a:gd name="connsiteX65" fmla="*/ 597313 w 3316701"/>
                  <a:gd name="connsiteY65" fmla="*/ 224409 h 377856"/>
                  <a:gd name="connsiteX66" fmla="*/ 635127 w 3316701"/>
                  <a:gd name="connsiteY66" fmla="*/ 224409 h 377856"/>
                  <a:gd name="connsiteX67" fmla="*/ 635127 w 3316701"/>
                  <a:gd name="connsiteY67" fmla="*/ 230600 h 377856"/>
                  <a:gd name="connsiteX68" fmla="*/ 687705 w 3316701"/>
                  <a:gd name="connsiteY68" fmla="*/ 230600 h 377856"/>
                  <a:gd name="connsiteX69" fmla="*/ 687705 w 3316701"/>
                  <a:gd name="connsiteY69" fmla="*/ 236696 h 377856"/>
                  <a:gd name="connsiteX70" fmla="*/ 706660 w 3316701"/>
                  <a:gd name="connsiteY70" fmla="*/ 236696 h 377856"/>
                  <a:gd name="connsiteX71" fmla="*/ 706660 w 3316701"/>
                  <a:gd name="connsiteY71" fmla="*/ 242792 h 377856"/>
                  <a:gd name="connsiteX72" fmla="*/ 717138 w 3316701"/>
                  <a:gd name="connsiteY72" fmla="*/ 242792 h 377856"/>
                  <a:gd name="connsiteX73" fmla="*/ 717138 w 3316701"/>
                  <a:gd name="connsiteY73" fmla="*/ 248983 h 377856"/>
                  <a:gd name="connsiteX74" fmla="*/ 750856 w 3316701"/>
                  <a:gd name="connsiteY74" fmla="*/ 248983 h 377856"/>
                  <a:gd name="connsiteX75" fmla="*/ 750856 w 3316701"/>
                  <a:gd name="connsiteY75" fmla="*/ 255079 h 377856"/>
                  <a:gd name="connsiteX76" fmla="*/ 757143 w 3316701"/>
                  <a:gd name="connsiteY76" fmla="*/ 255079 h 377856"/>
                  <a:gd name="connsiteX77" fmla="*/ 757143 w 3316701"/>
                  <a:gd name="connsiteY77" fmla="*/ 261175 h 377856"/>
                  <a:gd name="connsiteX78" fmla="*/ 771811 w 3316701"/>
                  <a:gd name="connsiteY78" fmla="*/ 261175 h 377856"/>
                  <a:gd name="connsiteX79" fmla="*/ 771811 w 3316701"/>
                  <a:gd name="connsiteY79" fmla="*/ 267271 h 377856"/>
                  <a:gd name="connsiteX80" fmla="*/ 784479 w 3316701"/>
                  <a:gd name="connsiteY80" fmla="*/ 267271 h 377856"/>
                  <a:gd name="connsiteX81" fmla="*/ 784479 w 3316701"/>
                  <a:gd name="connsiteY81" fmla="*/ 273462 h 377856"/>
                  <a:gd name="connsiteX82" fmla="*/ 809721 w 3316701"/>
                  <a:gd name="connsiteY82" fmla="*/ 273462 h 377856"/>
                  <a:gd name="connsiteX83" fmla="*/ 809721 w 3316701"/>
                  <a:gd name="connsiteY83" fmla="*/ 279558 h 377856"/>
                  <a:gd name="connsiteX84" fmla="*/ 1038987 w 3316701"/>
                  <a:gd name="connsiteY84" fmla="*/ 279558 h 377856"/>
                  <a:gd name="connsiteX85" fmla="*/ 1038987 w 3316701"/>
                  <a:gd name="connsiteY85" fmla="*/ 285750 h 377856"/>
                  <a:gd name="connsiteX86" fmla="*/ 1152525 w 3316701"/>
                  <a:gd name="connsiteY86" fmla="*/ 285750 h 377856"/>
                  <a:gd name="connsiteX87" fmla="*/ 1152525 w 3316701"/>
                  <a:gd name="connsiteY87" fmla="*/ 291941 h 377856"/>
                  <a:gd name="connsiteX88" fmla="*/ 1421702 w 3316701"/>
                  <a:gd name="connsiteY88" fmla="*/ 291941 h 377856"/>
                  <a:gd name="connsiteX89" fmla="*/ 1421702 w 3316701"/>
                  <a:gd name="connsiteY89" fmla="*/ 298227 h 377856"/>
                  <a:gd name="connsiteX90" fmla="*/ 1495330 w 3316701"/>
                  <a:gd name="connsiteY90" fmla="*/ 298227 h 377856"/>
                  <a:gd name="connsiteX91" fmla="*/ 1495330 w 3316701"/>
                  <a:gd name="connsiteY91" fmla="*/ 304514 h 377856"/>
                  <a:gd name="connsiteX92" fmla="*/ 1575245 w 3316701"/>
                  <a:gd name="connsiteY92" fmla="*/ 304514 h 377856"/>
                  <a:gd name="connsiteX93" fmla="*/ 1575245 w 3316701"/>
                  <a:gd name="connsiteY93" fmla="*/ 310800 h 377856"/>
                  <a:gd name="connsiteX94" fmla="*/ 1737170 w 3316701"/>
                  <a:gd name="connsiteY94" fmla="*/ 310800 h 377856"/>
                  <a:gd name="connsiteX95" fmla="*/ 1737170 w 3316701"/>
                  <a:gd name="connsiteY95" fmla="*/ 317277 h 377856"/>
                  <a:gd name="connsiteX96" fmla="*/ 1754029 w 3316701"/>
                  <a:gd name="connsiteY96" fmla="*/ 317277 h 377856"/>
                  <a:gd name="connsiteX97" fmla="*/ 1754029 w 3316701"/>
                  <a:gd name="connsiteY97" fmla="*/ 323659 h 377856"/>
                  <a:gd name="connsiteX98" fmla="*/ 1871853 w 3316701"/>
                  <a:gd name="connsiteY98" fmla="*/ 323659 h 377856"/>
                  <a:gd name="connsiteX99" fmla="*/ 1871853 w 3316701"/>
                  <a:gd name="connsiteY99" fmla="*/ 330136 h 377856"/>
                  <a:gd name="connsiteX100" fmla="*/ 1964341 w 3316701"/>
                  <a:gd name="connsiteY100" fmla="*/ 330136 h 377856"/>
                  <a:gd name="connsiteX101" fmla="*/ 1964341 w 3316701"/>
                  <a:gd name="connsiteY101" fmla="*/ 336518 h 377856"/>
                  <a:gd name="connsiteX102" fmla="*/ 1983296 w 3316701"/>
                  <a:gd name="connsiteY102" fmla="*/ 336518 h 377856"/>
                  <a:gd name="connsiteX103" fmla="*/ 1983296 w 3316701"/>
                  <a:gd name="connsiteY103" fmla="*/ 342995 h 377856"/>
                  <a:gd name="connsiteX104" fmla="*/ 2837117 w 3316701"/>
                  <a:gd name="connsiteY104" fmla="*/ 342995 h 377856"/>
                  <a:gd name="connsiteX105" fmla="*/ 2837117 w 3316701"/>
                  <a:gd name="connsiteY105" fmla="*/ 377856 h 377856"/>
                  <a:gd name="connsiteX106" fmla="*/ 3316701 w 3316701"/>
                  <a:gd name="connsiteY106" fmla="*/ 377856 h 377856"/>
                  <a:gd name="connsiteX0" fmla="*/ 0 w 3316701"/>
                  <a:gd name="connsiteY0" fmla="*/ 0 h 365760"/>
                  <a:gd name="connsiteX1" fmla="*/ 4191 w 3316701"/>
                  <a:gd name="connsiteY1" fmla="*/ 0 h 365760"/>
                  <a:gd name="connsiteX2" fmla="*/ 4191 w 3316701"/>
                  <a:gd name="connsiteY2" fmla="*/ 6096 h 365760"/>
                  <a:gd name="connsiteX3" fmla="*/ 27337 w 3316701"/>
                  <a:gd name="connsiteY3" fmla="*/ 6096 h 365760"/>
                  <a:gd name="connsiteX4" fmla="*/ 27337 w 3316701"/>
                  <a:gd name="connsiteY4" fmla="*/ 12192 h 365760"/>
                  <a:gd name="connsiteX5" fmla="*/ 31528 w 3316701"/>
                  <a:gd name="connsiteY5" fmla="*/ 12192 h 365760"/>
                  <a:gd name="connsiteX6" fmla="*/ 31528 w 3316701"/>
                  <a:gd name="connsiteY6" fmla="*/ 18193 h 365760"/>
                  <a:gd name="connsiteX7" fmla="*/ 37815 w 3316701"/>
                  <a:gd name="connsiteY7" fmla="*/ 18193 h 365760"/>
                  <a:gd name="connsiteX8" fmla="*/ 37815 w 3316701"/>
                  <a:gd name="connsiteY8" fmla="*/ 30385 h 365760"/>
                  <a:gd name="connsiteX9" fmla="*/ 56769 w 3316701"/>
                  <a:gd name="connsiteY9" fmla="*/ 30385 h 365760"/>
                  <a:gd name="connsiteX10" fmla="*/ 56769 w 3316701"/>
                  <a:gd name="connsiteY10" fmla="*/ 36386 h 365760"/>
                  <a:gd name="connsiteX11" fmla="*/ 65151 w 3316701"/>
                  <a:gd name="connsiteY11" fmla="*/ 36386 h 365760"/>
                  <a:gd name="connsiteX12" fmla="*/ 65151 w 3316701"/>
                  <a:gd name="connsiteY12" fmla="*/ 42482 h 365760"/>
                  <a:gd name="connsiteX13" fmla="*/ 77820 w 3316701"/>
                  <a:gd name="connsiteY13" fmla="*/ 42482 h 365760"/>
                  <a:gd name="connsiteX14" fmla="*/ 77820 w 3316701"/>
                  <a:gd name="connsiteY14" fmla="*/ 48578 h 365760"/>
                  <a:gd name="connsiteX15" fmla="*/ 94679 w 3316701"/>
                  <a:gd name="connsiteY15" fmla="*/ 48578 h 365760"/>
                  <a:gd name="connsiteX16" fmla="*/ 94679 w 3316701"/>
                  <a:gd name="connsiteY16" fmla="*/ 54579 h 365760"/>
                  <a:gd name="connsiteX17" fmla="*/ 122016 w 3316701"/>
                  <a:gd name="connsiteY17" fmla="*/ 54579 h 365760"/>
                  <a:gd name="connsiteX18" fmla="*/ 122016 w 3316701"/>
                  <a:gd name="connsiteY18" fmla="*/ 60675 h 365760"/>
                  <a:gd name="connsiteX19" fmla="*/ 124111 w 3316701"/>
                  <a:gd name="connsiteY19" fmla="*/ 60675 h 365760"/>
                  <a:gd name="connsiteX20" fmla="*/ 124111 w 3316701"/>
                  <a:gd name="connsiteY20" fmla="*/ 66771 h 365760"/>
                  <a:gd name="connsiteX21" fmla="*/ 134588 w 3316701"/>
                  <a:gd name="connsiteY21" fmla="*/ 66771 h 365760"/>
                  <a:gd name="connsiteX22" fmla="*/ 134588 w 3316701"/>
                  <a:gd name="connsiteY22" fmla="*/ 72771 h 365760"/>
                  <a:gd name="connsiteX23" fmla="*/ 140875 w 3316701"/>
                  <a:gd name="connsiteY23" fmla="*/ 72771 h 365760"/>
                  <a:gd name="connsiteX24" fmla="*/ 140875 w 3316701"/>
                  <a:gd name="connsiteY24" fmla="*/ 84963 h 365760"/>
                  <a:gd name="connsiteX25" fmla="*/ 149352 w 3316701"/>
                  <a:gd name="connsiteY25" fmla="*/ 84963 h 365760"/>
                  <a:gd name="connsiteX26" fmla="*/ 149352 w 3316701"/>
                  <a:gd name="connsiteY26" fmla="*/ 90964 h 365760"/>
                  <a:gd name="connsiteX27" fmla="*/ 155639 w 3316701"/>
                  <a:gd name="connsiteY27" fmla="*/ 90964 h 365760"/>
                  <a:gd name="connsiteX28" fmla="*/ 155639 w 3316701"/>
                  <a:gd name="connsiteY28" fmla="*/ 103156 h 365760"/>
                  <a:gd name="connsiteX29" fmla="*/ 157734 w 3316701"/>
                  <a:gd name="connsiteY29" fmla="*/ 103156 h 365760"/>
                  <a:gd name="connsiteX30" fmla="*/ 157734 w 3316701"/>
                  <a:gd name="connsiteY30" fmla="*/ 109252 h 365760"/>
                  <a:gd name="connsiteX31" fmla="*/ 170307 w 3316701"/>
                  <a:gd name="connsiteY31" fmla="*/ 109252 h 365760"/>
                  <a:gd name="connsiteX32" fmla="*/ 170307 w 3316701"/>
                  <a:gd name="connsiteY32" fmla="*/ 115253 h 365760"/>
                  <a:gd name="connsiteX33" fmla="*/ 193453 w 3316701"/>
                  <a:gd name="connsiteY33" fmla="*/ 115253 h 365760"/>
                  <a:gd name="connsiteX34" fmla="*/ 193453 w 3316701"/>
                  <a:gd name="connsiteY34" fmla="*/ 121349 h 365760"/>
                  <a:gd name="connsiteX35" fmla="*/ 199835 w 3316701"/>
                  <a:gd name="connsiteY35" fmla="*/ 121349 h 365760"/>
                  <a:gd name="connsiteX36" fmla="*/ 199835 w 3316701"/>
                  <a:gd name="connsiteY36" fmla="*/ 127445 h 365760"/>
                  <a:gd name="connsiteX37" fmla="*/ 208217 w 3316701"/>
                  <a:gd name="connsiteY37" fmla="*/ 127445 h 365760"/>
                  <a:gd name="connsiteX38" fmla="*/ 208217 w 3316701"/>
                  <a:gd name="connsiteY38" fmla="*/ 133446 h 365760"/>
                  <a:gd name="connsiteX39" fmla="*/ 216599 w 3316701"/>
                  <a:gd name="connsiteY39" fmla="*/ 133446 h 365760"/>
                  <a:gd name="connsiteX40" fmla="*/ 216599 w 3316701"/>
                  <a:gd name="connsiteY40" fmla="*/ 139542 h 365760"/>
                  <a:gd name="connsiteX41" fmla="*/ 220790 w 3316701"/>
                  <a:gd name="connsiteY41" fmla="*/ 139542 h 365760"/>
                  <a:gd name="connsiteX42" fmla="*/ 220790 w 3316701"/>
                  <a:gd name="connsiteY42" fmla="*/ 145638 h 365760"/>
                  <a:gd name="connsiteX43" fmla="*/ 294418 w 3316701"/>
                  <a:gd name="connsiteY43" fmla="*/ 145638 h 365760"/>
                  <a:gd name="connsiteX44" fmla="*/ 294418 w 3316701"/>
                  <a:gd name="connsiteY44" fmla="*/ 151638 h 365760"/>
                  <a:gd name="connsiteX45" fmla="*/ 315468 w 3316701"/>
                  <a:gd name="connsiteY45" fmla="*/ 151638 h 365760"/>
                  <a:gd name="connsiteX46" fmla="*/ 315468 w 3316701"/>
                  <a:gd name="connsiteY46" fmla="*/ 157734 h 365760"/>
                  <a:gd name="connsiteX47" fmla="*/ 321755 w 3316701"/>
                  <a:gd name="connsiteY47" fmla="*/ 157734 h 365760"/>
                  <a:gd name="connsiteX48" fmla="*/ 321755 w 3316701"/>
                  <a:gd name="connsiteY48" fmla="*/ 163830 h 365760"/>
                  <a:gd name="connsiteX49" fmla="*/ 363855 w 3316701"/>
                  <a:gd name="connsiteY49" fmla="*/ 163830 h 365760"/>
                  <a:gd name="connsiteX50" fmla="*/ 363855 w 3316701"/>
                  <a:gd name="connsiteY50" fmla="*/ 169831 h 365760"/>
                  <a:gd name="connsiteX51" fmla="*/ 378524 w 3316701"/>
                  <a:gd name="connsiteY51" fmla="*/ 169831 h 365760"/>
                  <a:gd name="connsiteX52" fmla="*/ 378524 w 3316701"/>
                  <a:gd name="connsiteY52" fmla="*/ 175927 h 365760"/>
                  <a:gd name="connsiteX53" fmla="*/ 408051 w 3316701"/>
                  <a:gd name="connsiteY53" fmla="*/ 175927 h 365760"/>
                  <a:gd name="connsiteX54" fmla="*/ 408051 w 3316701"/>
                  <a:gd name="connsiteY54" fmla="*/ 182023 h 365760"/>
                  <a:gd name="connsiteX55" fmla="*/ 410147 w 3316701"/>
                  <a:gd name="connsiteY55" fmla="*/ 182023 h 365760"/>
                  <a:gd name="connsiteX56" fmla="*/ 410147 w 3316701"/>
                  <a:gd name="connsiteY56" fmla="*/ 188024 h 365760"/>
                  <a:gd name="connsiteX57" fmla="*/ 433197 w 3316701"/>
                  <a:gd name="connsiteY57" fmla="*/ 188024 h 365760"/>
                  <a:gd name="connsiteX58" fmla="*/ 433197 w 3316701"/>
                  <a:gd name="connsiteY58" fmla="*/ 194120 h 365760"/>
                  <a:gd name="connsiteX59" fmla="*/ 445866 w 3316701"/>
                  <a:gd name="connsiteY59" fmla="*/ 194120 h 365760"/>
                  <a:gd name="connsiteX60" fmla="*/ 445866 w 3316701"/>
                  <a:gd name="connsiteY60" fmla="*/ 200216 h 365760"/>
                  <a:gd name="connsiteX61" fmla="*/ 481584 w 3316701"/>
                  <a:gd name="connsiteY61" fmla="*/ 200216 h 365760"/>
                  <a:gd name="connsiteX62" fmla="*/ 481584 w 3316701"/>
                  <a:gd name="connsiteY62" fmla="*/ 206312 h 365760"/>
                  <a:gd name="connsiteX63" fmla="*/ 597313 w 3316701"/>
                  <a:gd name="connsiteY63" fmla="*/ 206312 h 365760"/>
                  <a:gd name="connsiteX64" fmla="*/ 597313 w 3316701"/>
                  <a:gd name="connsiteY64" fmla="*/ 212313 h 365760"/>
                  <a:gd name="connsiteX65" fmla="*/ 635127 w 3316701"/>
                  <a:gd name="connsiteY65" fmla="*/ 212313 h 365760"/>
                  <a:gd name="connsiteX66" fmla="*/ 635127 w 3316701"/>
                  <a:gd name="connsiteY66" fmla="*/ 218504 h 365760"/>
                  <a:gd name="connsiteX67" fmla="*/ 687705 w 3316701"/>
                  <a:gd name="connsiteY67" fmla="*/ 218504 h 365760"/>
                  <a:gd name="connsiteX68" fmla="*/ 687705 w 3316701"/>
                  <a:gd name="connsiteY68" fmla="*/ 224600 h 365760"/>
                  <a:gd name="connsiteX69" fmla="*/ 706660 w 3316701"/>
                  <a:gd name="connsiteY69" fmla="*/ 224600 h 365760"/>
                  <a:gd name="connsiteX70" fmla="*/ 706660 w 3316701"/>
                  <a:gd name="connsiteY70" fmla="*/ 230696 h 365760"/>
                  <a:gd name="connsiteX71" fmla="*/ 717138 w 3316701"/>
                  <a:gd name="connsiteY71" fmla="*/ 230696 h 365760"/>
                  <a:gd name="connsiteX72" fmla="*/ 717138 w 3316701"/>
                  <a:gd name="connsiteY72" fmla="*/ 236887 h 365760"/>
                  <a:gd name="connsiteX73" fmla="*/ 750856 w 3316701"/>
                  <a:gd name="connsiteY73" fmla="*/ 236887 h 365760"/>
                  <a:gd name="connsiteX74" fmla="*/ 750856 w 3316701"/>
                  <a:gd name="connsiteY74" fmla="*/ 242983 h 365760"/>
                  <a:gd name="connsiteX75" fmla="*/ 757143 w 3316701"/>
                  <a:gd name="connsiteY75" fmla="*/ 242983 h 365760"/>
                  <a:gd name="connsiteX76" fmla="*/ 757143 w 3316701"/>
                  <a:gd name="connsiteY76" fmla="*/ 249079 h 365760"/>
                  <a:gd name="connsiteX77" fmla="*/ 771811 w 3316701"/>
                  <a:gd name="connsiteY77" fmla="*/ 249079 h 365760"/>
                  <a:gd name="connsiteX78" fmla="*/ 771811 w 3316701"/>
                  <a:gd name="connsiteY78" fmla="*/ 255175 h 365760"/>
                  <a:gd name="connsiteX79" fmla="*/ 784479 w 3316701"/>
                  <a:gd name="connsiteY79" fmla="*/ 255175 h 365760"/>
                  <a:gd name="connsiteX80" fmla="*/ 784479 w 3316701"/>
                  <a:gd name="connsiteY80" fmla="*/ 261366 h 365760"/>
                  <a:gd name="connsiteX81" fmla="*/ 809721 w 3316701"/>
                  <a:gd name="connsiteY81" fmla="*/ 261366 h 365760"/>
                  <a:gd name="connsiteX82" fmla="*/ 809721 w 3316701"/>
                  <a:gd name="connsiteY82" fmla="*/ 267462 h 365760"/>
                  <a:gd name="connsiteX83" fmla="*/ 1038987 w 3316701"/>
                  <a:gd name="connsiteY83" fmla="*/ 267462 h 365760"/>
                  <a:gd name="connsiteX84" fmla="*/ 1038987 w 3316701"/>
                  <a:gd name="connsiteY84" fmla="*/ 273654 h 365760"/>
                  <a:gd name="connsiteX85" fmla="*/ 1152525 w 3316701"/>
                  <a:gd name="connsiteY85" fmla="*/ 273654 h 365760"/>
                  <a:gd name="connsiteX86" fmla="*/ 1152525 w 3316701"/>
                  <a:gd name="connsiteY86" fmla="*/ 279845 h 365760"/>
                  <a:gd name="connsiteX87" fmla="*/ 1421702 w 3316701"/>
                  <a:gd name="connsiteY87" fmla="*/ 279845 h 365760"/>
                  <a:gd name="connsiteX88" fmla="*/ 1421702 w 3316701"/>
                  <a:gd name="connsiteY88" fmla="*/ 286131 h 365760"/>
                  <a:gd name="connsiteX89" fmla="*/ 1495330 w 3316701"/>
                  <a:gd name="connsiteY89" fmla="*/ 286131 h 365760"/>
                  <a:gd name="connsiteX90" fmla="*/ 1495330 w 3316701"/>
                  <a:gd name="connsiteY90" fmla="*/ 292418 h 365760"/>
                  <a:gd name="connsiteX91" fmla="*/ 1575245 w 3316701"/>
                  <a:gd name="connsiteY91" fmla="*/ 292418 h 365760"/>
                  <a:gd name="connsiteX92" fmla="*/ 1575245 w 3316701"/>
                  <a:gd name="connsiteY92" fmla="*/ 298704 h 365760"/>
                  <a:gd name="connsiteX93" fmla="*/ 1737170 w 3316701"/>
                  <a:gd name="connsiteY93" fmla="*/ 298704 h 365760"/>
                  <a:gd name="connsiteX94" fmla="*/ 1737170 w 3316701"/>
                  <a:gd name="connsiteY94" fmla="*/ 305181 h 365760"/>
                  <a:gd name="connsiteX95" fmla="*/ 1754029 w 3316701"/>
                  <a:gd name="connsiteY95" fmla="*/ 305181 h 365760"/>
                  <a:gd name="connsiteX96" fmla="*/ 1754029 w 3316701"/>
                  <a:gd name="connsiteY96" fmla="*/ 311563 h 365760"/>
                  <a:gd name="connsiteX97" fmla="*/ 1871853 w 3316701"/>
                  <a:gd name="connsiteY97" fmla="*/ 311563 h 365760"/>
                  <a:gd name="connsiteX98" fmla="*/ 1871853 w 3316701"/>
                  <a:gd name="connsiteY98" fmla="*/ 318040 h 365760"/>
                  <a:gd name="connsiteX99" fmla="*/ 1964341 w 3316701"/>
                  <a:gd name="connsiteY99" fmla="*/ 318040 h 365760"/>
                  <a:gd name="connsiteX100" fmla="*/ 1964341 w 3316701"/>
                  <a:gd name="connsiteY100" fmla="*/ 324422 h 365760"/>
                  <a:gd name="connsiteX101" fmla="*/ 1983296 w 3316701"/>
                  <a:gd name="connsiteY101" fmla="*/ 324422 h 365760"/>
                  <a:gd name="connsiteX102" fmla="*/ 1983296 w 3316701"/>
                  <a:gd name="connsiteY102" fmla="*/ 330899 h 365760"/>
                  <a:gd name="connsiteX103" fmla="*/ 2837117 w 3316701"/>
                  <a:gd name="connsiteY103" fmla="*/ 330899 h 365760"/>
                  <a:gd name="connsiteX104" fmla="*/ 2837117 w 3316701"/>
                  <a:gd name="connsiteY104" fmla="*/ 365760 h 365760"/>
                  <a:gd name="connsiteX105" fmla="*/ 3316701 w 3316701"/>
                  <a:gd name="connsiteY105" fmla="*/ 365760 h 365760"/>
                  <a:gd name="connsiteX0" fmla="*/ 0 w 3316701"/>
                  <a:gd name="connsiteY0" fmla="*/ 0 h 365760"/>
                  <a:gd name="connsiteX1" fmla="*/ 4191 w 3316701"/>
                  <a:gd name="connsiteY1" fmla="*/ 6096 h 365760"/>
                  <a:gd name="connsiteX2" fmla="*/ 27337 w 3316701"/>
                  <a:gd name="connsiteY2" fmla="*/ 6096 h 365760"/>
                  <a:gd name="connsiteX3" fmla="*/ 27337 w 3316701"/>
                  <a:gd name="connsiteY3" fmla="*/ 12192 h 365760"/>
                  <a:gd name="connsiteX4" fmla="*/ 31528 w 3316701"/>
                  <a:gd name="connsiteY4" fmla="*/ 12192 h 365760"/>
                  <a:gd name="connsiteX5" fmla="*/ 31528 w 3316701"/>
                  <a:gd name="connsiteY5" fmla="*/ 18193 h 365760"/>
                  <a:gd name="connsiteX6" fmla="*/ 37815 w 3316701"/>
                  <a:gd name="connsiteY6" fmla="*/ 18193 h 365760"/>
                  <a:gd name="connsiteX7" fmla="*/ 37815 w 3316701"/>
                  <a:gd name="connsiteY7" fmla="*/ 30385 h 365760"/>
                  <a:gd name="connsiteX8" fmla="*/ 56769 w 3316701"/>
                  <a:gd name="connsiteY8" fmla="*/ 30385 h 365760"/>
                  <a:gd name="connsiteX9" fmla="*/ 56769 w 3316701"/>
                  <a:gd name="connsiteY9" fmla="*/ 36386 h 365760"/>
                  <a:gd name="connsiteX10" fmla="*/ 65151 w 3316701"/>
                  <a:gd name="connsiteY10" fmla="*/ 36386 h 365760"/>
                  <a:gd name="connsiteX11" fmla="*/ 65151 w 3316701"/>
                  <a:gd name="connsiteY11" fmla="*/ 42482 h 365760"/>
                  <a:gd name="connsiteX12" fmla="*/ 77820 w 3316701"/>
                  <a:gd name="connsiteY12" fmla="*/ 42482 h 365760"/>
                  <a:gd name="connsiteX13" fmla="*/ 77820 w 3316701"/>
                  <a:gd name="connsiteY13" fmla="*/ 48578 h 365760"/>
                  <a:gd name="connsiteX14" fmla="*/ 94679 w 3316701"/>
                  <a:gd name="connsiteY14" fmla="*/ 48578 h 365760"/>
                  <a:gd name="connsiteX15" fmla="*/ 94679 w 3316701"/>
                  <a:gd name="connsiteY15" fmla="*/ 54579 h 365760"/>
                  <a:gd name="connsiteX16" fmla="*/ 122016 w 3316701"/>
                  <a:gd name="connsiteY16" fmla="*/ 54579 h 365760"/>
                  <a:gd name="connsiteX17" fmla="*/ 122016 w 3316701"/>
                  <a:gd name="connsiteY17" fmla="*/ 60675 h 365760"/>
                  <a:gd name="connsiteX18" fmla="*/ 124111 w 3316701"/>
                  <a:gd name="connsiteY18" fmla="*/ 60675 h 365760"/>
                  <a:gd name="connsiteX19" fmla="*/ 124111 w 3316701"/>
                  <a:gd name="connsiteY19" fmla="*/ 66771 h 365760"/>
                  <a:gd name="connsiteX20" fmla="*/ 134588 w 3316701"/>
                  <a:gd name="connsiteY20" fmla="*/ 66771 h 365760"/>
                  <a:gd name="connsiteX21" fmla="*/ 134588 w 3316701"/>
                  <a:gd name="connsiteY21" fmla="*/ 72771 h 365760"/>
                  <a:gd name="connsiteX22" fmla="*/ 140875 w 3316701"/>
                  <a:gd name="connsiteY22" fmla="*/ 72771 h 365760"/>
                  <a:gd name="connsiteX23" fmla="*/ 140875 w 3316701"/>
                  <a:gd name="connsiteY23" fmla="*/ 84963 h 365760"/>
                  <a:gd name="connsiteX24" fmla="*/ 149352 w 3316701"/>
                  <a:gd name="connsiteY24" fmla="*/ 84963 h 365760"/>
                  <a:gd name="connsiteX25" fmla="*/ 149352 w 3316701"/>
                  <a:gd name="connsiteY25" fmla="*/ 90964 h 365760"/>
                  <a:gd name="connsiteX26" fmla="*/ 155639 w 3316701"/>
                  <a:gd name="connsiteY26" fmla="*/ 90964 h 365760"/>
                  <a:gd name="connsiteX27" fmla="*/ 155639 w 3316701"/>
                  <a:gd name="connsiteY27" fmla="*/ 103156 h 365760"/>
                  <a:gd name="connsiteX28" fmla="*/ 157734 w 3316701"/>
                  <a:gd name="connsiteY28" fmla="*/ 103156 h 365760"/>
                  <a:gd name="connsiteX29" fmla="*/ 157734 w 3316701"/>
                  <a:gd name="connsiteY29" fmla="*/ 109252 h 365760"/>
                  <a:gd name="connsiteX30" fmla="*/ 170307 w 3316701"/>
                  <a:gd name="connsiteY30" fmla="*/ 109252 h 365760"/>
                  <a:gd name="connsiteX31" fmla="*/ 170307 w 3316701"/>
                  <a:gd name="connsiteY31" fmla="*/ 115253 h 365760"/>
                  <a:gd name="connsiteX32" fmla="*/ 193453 w 3316701"/>
                  <a:gd name="connsiteY32" fmla="*/ 115253 h 365760"/>
                  <a:gd name="connsiteX33" fmla="*/ 193453 w 3316701"/>
                  <a:gd name="connsiteY33" fmla="*/ 121349 h 365760"/>
                  <a:gd name="connsiteX34" fmla="*/ 199835 w 3316701"/>
                  <a:gd name="connsiteY34" fmla="*/ 121349 h 365760"/>
                  <a:gd name="connsiteX35" fmla="*/ 199835 w 3316701"/>
                  <a:gd name="connsiteY35" fmla="*/ 127445 h 365760"/>
                  <a:gd name="connsiteX36" fmla="*/ 208217 w 3316701"/>
                  <a:gd name="connsiteY36" fmla="*/ 127445 h 365760"/>
                  <a:gd name="connsiteX37" fmla="*/ 208217 w 3316701"/>
                  <a:gd name="connsiteY37" fmla="*/ 133446 h 365760"/>
                  <a:gd name="connsiteX38" fmla="*/ 216599 w 3316701"/>
                  <a:gd name="connsiteY38" fmla="*/ 133446 h 365760"/>
                  <a:gd name="connsiteX39" fmla="*/ 216599 w 3316701"/>
                  <a:gd name="connsiteY39" fmla="*/ 139542 h 365760"/>
                  <a:gd name="connsiteX40" fmla="*/ 220790 w 3316701"/>
                  <a:gd name="connsiteY40" fmla="*/ 139542 h 365760"/>
                  <a:gd name="connsiteX41" fmla="*/ 220790 w 3316701"/>
                  <a:gd name="connsiteY41" fmla="*/ 145638 h 365760"/>
                  <a:gd name="connsiteX42" fmla="*/ 294418 w 3316701"/>
                  <a:gd name="connsiteY42" fmla="*/ 145638 h 365760"/>
                  <a:gd name="connsiteX43" fmla="*/ 294418 w 3316701"/>
                  <a:gd name="connsiteY43" fmla="*/ 151638 h 365760"/>
                  <a:gd name="connsiteX44" fmla="*/ 315468 w 3316701"/>
                  <a:gd name="connsiteY44" fmla="*/ 151638 h 365760"/>
                  <a:gd name="connsiteX45" fmla="*/ 315468 w 3316701"/>
                  <a:gd name="connsiteY45" fmla="*/ 157734 h 365760"/>
                  <a:gd name="connsiteX46" fmla="*/ 321755 w 3316701"/>
                  <a:gd name="connsiteY46" fmla="*/ 157734 h 365760"/>
                  <a:gd name="connsiteX47" fmla="*/ 321755 w 3316701"/>
                  <a:gd name="connsiteY47" fmla="*/ 163830 h 365760"/>
                  <a:gd name="connsiteX48" fmla="*/ 363855 w 3316701"/>
                  <a:gd name="connsiteY48" fmla="*/ 163830 h 365760"/>
                  <a:gd name="connsiteX49" fmla="*/ 363855 w 3316701"/>
                  <a:gd name="connsiteY49" fmla="*/ 169831 h 365760"/>
                  <a:gd name="connsiteX50" fmla="*/ 378524 w 3316701"/>
                  <a:gd name="connsiteY50" fmla="*/ 169831 h 365760"/>
                  <a:gd name="connsiteX51" fmla="*/ 378524 w 3316701"/>
                  <a:gd name="connsiteY51" fmla="*/ 175927 h 365760"/>
                  <a:gd name="connsiteX52" fmla="*/ 408051 w 3316701"/>
                  <a:gd name="connsiteY52" fmla="*/ 175927 h 365760"/>
                  <a:gd name="connsiteX53" fmla="*/ 408051 w 3316701"/>
                  <a:gd name="connsiteY53" fmla="*/ 182023 h 365760"/>
                  <a:gd name="connsiteX54" fmla="*/ 410147 w 3316701"/>
                  <a:gd name="connsiteY54" fmla="*/ 182023 h 365760"/>
                  <a:gd name="connsiteX55" fmla="*/ 410147 w 3316701"/>
                  <a:gd name="connsiteY55" fmla="*/ 188024 h 365760"/>
                  <a:gd name="connsiteX56" fmla="*/ 433197 w 3316701"/>
                  <a:gd name="connsiteY56" fmla="*/ 188024 h 365760"/>
                  <a:gd name="connsiteX57" fmla="*/ 433197 w 3316701"/>
                  <a:gd name="connsiteY57" fmla="*/ 194120 h 365760"/>
                  <a:gd name="connsiteX58" fmla="*/ 445866 w 3316701"/>
                  <a:gd name="connsiteY58" fmla="*/ 194120 h 365760"/>
                  <a:gd name="connsiteX59" fmla="*/ 445866 w 3316701"/>
                  <a:gd name="connsiteY59" fmla="*/ 200216 h 365760"/>
                  <a:gd name="connsiteX60" fmla="*/ 481584 w 3316701"/>
                  <a:gd name="connsiteY60" fmla="*/ 200216 h 365760"/>
                  <a:gd name="connsiteX61" fmla="*/ 481584 w 3316701"/>
                  <a:gd name="connsiteY61" fmla="*/ 206312 h 365760"/>
                  <a:gd name="connsiteX62" fmla="*/ 597313 w 3316701"/>
                  <a:gd name="connsiteY62" fmla="*/ 206312 h 365760"/>
                  <a:gd name="connsiteX63" fmla="*/ 597313 w 3316701"/>
                  <a:gd name="connsiteY63" fmla="*/ 212313 h 365760"/>
                  <a:gd name="connsiteX64" fmla="*/ 635127 w 3316701"/>
                  <a:gd name="connsiteY64" fmla="*/ 212313 h 365760"/>
                  <a:gd name="connsiteX65" fmla="*/ 635127 w 3316701"/>
                  <a:gd name="connsiteY65" fmla="*/ 218504 h 365760"/>
                  <a:gd name="connsiteX66" fmla="*/ 687705 w 3316701"/>
                  <a:gd name="connsiteY66" fmla="*/ 218504 h 365760"/>
                  <a:gd name="connsiteX67" fmla="*/ 687705 w 3316701"/>
                  <a:gd name="connsiteY67" fmla="*/ 224600 h 365760"/>
                  <a:gd name="connsiteX68" fmla="*/ 706660 w 3316701"/>
                  <a:gd name="connsiteY68" fmla="*/ 224600 h 365760"/>
                  <a:gd name="connsiteX69" fmla="*/ 706660 w 3316701"/>
                  <a:gd name="connsiteY69" fmla="*/ 230696 h 365760"/>
                  <a:gd name="connsiteX70" fmla="*/ 717138 w 3316701"/>
                  <a:gd name="connsiteY70" fmla="*/ 230696 h 365760"/>
                  <a:gd name="connsiteX71" fmla="*/ 717138 w 3316701"/>
                  <a:gd name="connsiteY71" fmla="*/ 236887 h 365760"/>
                  <a:gd name="connsiteX72" fmla="*/ 750856 w 3316701"/>
                  <a:gd name="connsiteY72" fmla="*/ 236887 h 365760"/>
                  <a:gd name="connsiteX73" fmla="*/ 750856 w 3316701"/>
                  <a:gd name="connsiteY73" fmla="*/ 242983 h 365760"/>
                  <a:gd name="connsiteX74" fmla="*/ 757143 w 3316701"/>
                  <a:gd name="connsiteY74" fmla="*/ 242983 h 365760"/>
                  <a:gd name="connsiteX75" fmla="*/ 757143 w 3316701"/>
                  <a:gd name="connsiteY75" fmla="*/ 249079 h 365760"/>
                  <a:gd name="connsiteX76" fmla="*/ 771811 w 3316701"/>
                  <a:gd name="connsiteY76" fmla="*/ 249079 h 365760"/>
                  <a:gd name="connsiteX77" fmla="*/ 771811 w 3316701"/>
                  <a:gd name="connsiteY77" fmla="*/ 255175 h 365760"/>
                  <a:gd name="connsiteX78" fmla="*/ 784479 w 3316701"/>
                  <a:gd name="connsiteY78" fmla="*/ 255175 h 365760"/>
                  <a:gd name="connsiteX79" fmla="*/ 784479 w 3316701"/>
                  <a:gd name="connsiteY79" fmla="*/ 261366 h 365760"/>
                  <a:gd name="connsiteX80" fmla="*/ 809721 w 3316701"/>
                  <a:gd name="connsiteY80" fmla="*/ 261366 h 365760"/>
                  <a:gd name="connsiteX81" fmla="*/ 809721 w 3316701"/>
                  <a:gd name="connsiteY81" fmla="*/ 267462 h 365760"/>
                  <a:gd name="connsiteX82" fmla="*/ 1038987 w 3316701"/>
                  <a:gd name="connsiteY82" fmla="*/ 267462 h 365760"/>
                  <a:gd name="connsiteX83" fmla="*/ 1038987 w 3316701"/>
                  <a:gd name="connsiteY83" fmla="*/ 273654 h 365760"/>
                  <a:gd name="connsiteX84" fmla="*/ 1152525 w 3316701"/>
                  <a:gd name="connsiteY84" fmla="*/ 273654 h 365760"/>
                  <a:gd name="connsiteX85" fmla="*/ 1152525 w 3316701"/>
                  <a:gd name="connsiteY85" fmla="*/ 279845 h 365760"/>
                  <a:gd name="connsiteX86" fmla="*/ 1421702 w 3316701"/>
                  <a:gd name="connsiteY86" fmla="*/ 279845 h 365760"/>
                  <a:gd name="connsiteX87" fmla="*/ 1421702 w 3316701"/>
                  <a:gd name="connsiteY87" fmla="*/ 286131 h 365760"/>
                  <a:gd name="connsiteX88" fmla="*/ 1495330 w 3316701"/>
                  <a:gd name="connsiteY88" fmla="*/ 286131 h 365760"/>
                  <a:gd name="connsiteX89" fmla="*/ 1495330 w 3316701"/>
                  <a:gd name="connsiteY89" fmla="*/ 292418 h 365760"/>
                  <a:gd name="connsiteX90" fmla="*/ 1575245 w 3316701"/>
                  <a:gd name="connsiteY90" fmla="*/ 292418 h 365760"/>
                  <a:gd name="connsiteX91" fmla="*/ 1575245 w 3316701"/>
                  <a:gd name="connsiteY91" fmla="*/ 298704 h 365760"/>
                  <a:gd name="connsiteX92" fmla="*/ 1737170 w 3316701"/>
                  <a:gd name="connsiteY92" fmla="*/ 298704 h 365760"/>
                  <a:gd name="connsiteX93" fmla="*/ 1737170 w 3316701"/>
                  <a:gd name="connsiteY93" fmla="*/ 305181 h 365760"/>
                  <a:gd name="connsiteX94" fmla="*/ 1754029 w 3316701"/>
                  <a:gd name="connsiteY94" fmla="*/ 305181 h 365760"/>
                  <a:gd name="connsiteX95" fmla="*/ 1754029 w 3316701"/>
                  <a:gd name="connsiteY95" fmla="*/ 311563 h 365760"/>
                  <a:gd name="connsiteX96" fmla="*/ 1871853 w 3316701"/>
                  <a:gd name="connsiteY96" fmla="*/ 311563 h 365760"/>
                  <a:gd name="connsiteX97" fmla="*/ 1871853 w 3316701"/>
                  <a:gd name="connsiteY97" fmla="*/ 318040 h 365760"/>
                  <a:gd name="connsiteX98" fmla="*/ 1964341 w 3316701"/>
                  <a:gd name="connsiteY98" fmla="*/ 318040 h 365760"/>
                  <a:gd name="connsiteX99" fmla="*/ 1964341 w 3316701"/>
                  <a:gd name="connsiteY99" fmla="*/ 324422 h 365760"/>
                  <a:gd name="connsiteX100" fmla="*/ 1983296 w 3316701"/>
                  <a:gd name="connsiteY100" fmla="*/ 324422 h 365760"/>
                  <a:gd name="connsiteX101" fmla="*/ 1983296 w 3316701"/>
                  <a:gd name="connsiteY101" fmla="*/ 330899 h 365760"/>
                  <a:gd name="connsiteX102" fmla="*/ 2837117 w 3316701"/>
                  <a:gd name="connsiteY102" fmla="*/ 330899 h 365760"/>
                  <a:gd name="connsiteX103" fmla="*/ 2837117 w 3316701"/>
                  <a:gd name="connsiteY103" fmla="*/ 365760 h 365760"/>
                  <a:gd name="connsiteX104" fmla="*/ 3316701 w 3316701"/>
                  <a:gd name="connsiteY104" fmla="*/ 365760 h 365760"/>
                  <a:gd name="connsiteX0" fmla="*/ 0 w 3316701"/>
                  <a:gd name="connsiteY0" fmla="*/ 0 h 365760"/>
                  <a:gd name="connsiteX1" fmla="*/ 27337 w 3316701"/>
                  <a:gd name="connsiteY1" fmla="*/ 6096 h 365760"/>
                  <a:gd name="connsiteX2" fmla="*/ 27337 w 3316701"/>
                  <a:gd name="connsiteY2" fmla="*/ 12192 h 365760"/>
                  <a:gd name="connsiteX3" fmla="*/ 31528 w 3316701"/>
                  <a:gd name="connsiteY3" fmla="*/ 12192 h 365760"/>
                  <a:gd name="connsiteX4" fmla="*/ 31528 w 3316701"/>
                  <a:gd name="connsiteY4" fmla="*/ 18193 h 365760"/>
                  <a:gd name="connsiteX5" fmla="*/ 37815 w 3316701"/>
                  <a:gd name="connsiteY5" fmla="*/ 18193 h 365760"/>
                  <a:gd name="connsiteX6" fmla="*/ 37815 w 3316701"/>
                  <a:gd name="connsiteY6" fmla="*/ 30385 h 365760"/>
                  <a:gd name="connsiteX7" fmla="*/ 56769 w 3316701"/>
                  <a:gd name="connsiteY7" fmla="*/ 30385 h 365760"/>
                  <a:gd name="connsiteX8" fmla="*/ 56769 w 3316701"/>
                  <a:gd name="connsiteY8" fmla="*/ 36386 h 365760"/>
                  <a:gd name="connsiteX9" fmla="*/ 65151 w 3316701"/>
                  <a:gd name="connsiteY9" fmla="*/ 36386 h 365760"/>
                  <a:gd name="connsiteX10" fmla="*/ 65151 w 3316701"/>
                  <a:gd name="connsiteY10" fmla="*/ 42482 h 365760"/>
                  <a:gd name="connsiteX11" fmla="*/ 77820 w 3316701"/>
                  <a:gd name="connsiteY11" fmla="*/ 42482 h 365760"/>
                  <a:gd name="connsiteX12" fmla="*/ 77820 w 3316701"/>
                  <a:gd name="connsiteY12" fmla="*/ 48578 h 365760"/>
                  <a:gd name="connsiteX13" fmla="*/ 94679 w 3316701"/>
                  <a:gd name="connsiteY13" fmla="*/ 48578 h 365760"/>
                  <a:gd name="connsiteX14" fmla="*/ 94679 w 3316701"/>
                  <a:gd name="connsiteY14" fmla="*/ 54579 h 365760"/>
                  <a:gd name="connsiteX15" fmla="*/ 122016 w 3316701"/>
                  <a:gd name="connsiteY15" fmla="*/ 54579 h 365760"/>
                  <a:gd name="connsiteX16" fmla="*/ 122016 w 3316701"/>
                  <a:gd name="connsiteY16" fmla="*/ 60675 h 365760"/>
                  <a:gd name="connsiteX17" fmla="*/ 124111 w 3316701"/>
                  <a:gd name="connsiteY17" fmla="*/ 60675 h 365760"/>
                  <a:gd name="connsiteX18" fmla="*/ 124111 w 3316701"/>
                  <a:gd name="connsiteY18" fmla="*/ 66771 h 365760"/>
                  <a:gd name="connsiteX19" fmla="*/ 134588 w 3316701"/>
                  <a:gd name="connsiteY19" fmla="*/ 66771 h 365760"/>
                  <a:gd name="connsiteX20" fmla="*/ 134588 w 3316701"/>
                  <a:gd name="connsiteY20" fmla="*/ 72771 h 365760"/>
                  <a:gd name="connsiteX21" fmla="*/ 140875 w 3316701"/>
                  <a:gd name="connsiteY21" fmla="*/ 72771 h 365760"/>
                  <a:gd name="connsiteX22" fmla="*/ 140875 w 3316701"/>
                  <a:gd name="connsiteY22" fmla="*/ 84963 h 365760"/>
                  <a:gd name="connsiteX23" fmla="*/ 149352 w 3316701"/>
                  <a:gd name="connsiteY23" fmla="*/ 84963 h 365760"/>
                  <a:gd name="connsiteX24" fmla="*/ 149352 w 3316701"/>
                  <a:gd name="connsiteY24" fmla="*/ 90964 h 365760"/>
                  <a:gd name="connsiteX25" fmla="*/ 155639 w 3316701"/>
                  <a:gd name="connsiteY25" fmla="*/ 90964 h 365760"/>
                  <a:gd name="connsiteX26" fmla="*/ 155639 w 3316701"/>
                  <a:gd name="connsiteY26" fmla="*/ 103156 h 365760"/>
                  <a:gd name="connsiteX27" fmla="*/ 157734 w 3316701"/>
                  <a:gd name="connsiteY27" fmla="*/ 103156 h 365760"/>
                  <a:gd name="connsiteX28" fmla="*/ 157734 w 3316701"/>
                  <a:gd name="connsiteY28" fmla="*/ 109252 h 365760"/>
                  <a:gd name="connsiteX29" fmla="*/ 170307 w 3316701"/>
                  <a:gd name="connsiteY29" fmla="*/ 109252 h 365760"/>
                  <a:gd name="connsiteX30" fmla="*/ 170307 w 3316701"/>
                  <a:gd name="connsiteY30" fmla="*/ 115253 h 365760"/>
                  <a:gd name="connsiteX31" fmla="*/ 193453 w 3316701"/>
                  <a:gd name="connsiteY31" fmla="*/ 115253 h 365760"/>
                  <a:gd name="connsiteX32" fmla="*/ 193453 w 3316701"/>
                  <a:gd name="connsiteY32" fmla="*/ 121349 h 365760"/>
                  <a:gd name="connsiteX33" fmla="*/ 199835 w 3316701"/>
                  <a:gd name="connsiteY33" fmla="*/ 121349 h 365760"/>
                  <a:gd name="connsiteX34" fmla="*/ 199835 w 3316701"/>
                  <a:gd name="connsiteY34" fmla="*/ 127445 h 365760"/>
                  <a:gd name="connsiteX35" fmla="*/ 208217 w 3316701"/>
                  <a:gd name="connsiteY35" fmla="*/ 127445 h 365760"/>
                  <a:gd name="connsiteX36" fmla="*/ 208217 w 3316701"/>
                  <a:gd name="connsiteY36" fmla="*/ 133446 h 365760"/>
                  <a:gd name="connsiteX37" fmla="*/ 216599 w 3316701"/>
                  <a:gd name="connsiteY37" fmla="*/ 133446 h 365760"/>
                  <a:gd name="connsiteX38" fmla="*/ 216599 w 3316701"/>
                  <a:gd name="connsiteY38" fmla="*/ 139542 h 365760"/>
                  <a:gd name="connsiteX39" fmla="*/ 220790 w 3316701"/>
                  <a:gd name="connsiteY39" fmla="*/ 139542 h 365760"/>
                  <a:gd name="connsiteX40" fmla="*/ 220790 w 3316701"/>
                  <a:gd name="connsiteY40" fmla="*/ 145638 h 365760"/>
                  <a:gd name="connsiteX41" fmla="*/ 294418 w 3316701"/>
                  <a:gd name="connsiteY41" fmla="*/ 145638 h 365760"/>
                  <a:gd name="connsiteX42" fmla="*/ 294418 w 3316701"/>
                  <a:gd name="connsiteY42" fmla="*/ 151638 h 365760"/>
                  <a:gd name="connsiteX43" fmla="*/ 315468 w 3316701"/>
                  <a:gd name="connsiteY43" fmla="*/ 151638 h 365760"/>
                  <a:gd name="connsiteX44" fmla="*/ 315468 w 3316701"/>
                  <a:gd name="connsiteY44" fmla="*/ 157734 h 365760"/>
                  <a:gd name="connsiteX45" fmla="*/ 321755 w 3316701"/>
                  <a:gd name="connsiteY45" fmla="*/ 157734 h 365760"/>
                  <a:gd name="connsiteX46" fmla="*/ 321755 w 3316701"/>
                  <a:gd name="connsiteY46" fmla="*/ 163830 h 365760"/>
                  <a:gd name="connsiteX47" fmla="*/ 363855 w 3316701"/>
                  <a:gd name="connsiteY47" fmla="*/ 163830 h 365760"/>
                  <a:gd name="connsiteX48" fmla="*/ 363855 w 3316701"/>
                  <a:gd name="connsiteY48" fmla="*/ 169831 h 365760"/>
                  <a:gd name="connsiteX49" fmla="*/ 378524 w 3316701"/>
                  <a:gd name="connsiteY49" fmla="*/ 169831 h 365760"/>
                  <a:gd name="connsiteX50" fmla="*/ 378524 w 3316701"/>
                  <a:gd name="connsiteY50" fmla="*/ 175927 h 365760"/>
                  <a:gd name="connsiteX51" fmla="*/ 408051 w 3316701"/>
                  <a:gd name="connsiteY51" fmla="*/ 175927 h 365760"/>
                  <a:gd name="connsiteX52" fmla="*/ 408051 w 3316701"/>
                  <a:gd name="connsiteY52" fmla="*/ 182023 h 365760"/>
                  <a:gd name="connsiteX53" fmla="*/ 410147 w 3316701"/>
                  <a:gd name="connsiteY53" fmla="*/ 182023 h 365760"/>
                  <a:gd name="connsiteX54" fmla="*/ 410147 w 3316701"/>
                  <a:gd name="connsiteY54" fmla="*/ 188024 h 365760"/>
                  <a:gd name="connsiteX55" fmla="*/ 433197 w 3316701"/>
                  <a:gd name="connsiteY55" fmla="*/ 188024 h 365760"/>
                  <a:gd name="connsiteX56" fmla="*/ 433197 w 3316701"/>
                  <a:gd name="connsiteY56" fmla="*/ 194120 h 365760"/>
                  <a:gd name="connsiteX57" fmla="*/ 445866 w 3316701"/>
                  <a:gd name="connsiteY57" fmla="*/ 194120 h 365760"/>
                  <a:gd name="connsiteX58" fmla="*/ 445866 w 3316701"/>
                  <a:gd name="connsiteY58" fmla="*/ 200216 h 365760"/>
                  <a:gd name="connsiteX59" fmla="*/ 481584 w 3316701"/>
                  <a:gd name="connsiteY59" fmla="*/ 200216 h 365760"/>
                  <a:gd name="connsiteX60" fmla="*/ 481584 w 3316701"/>
                  <a:gd name="connsiteY60" fmla="*/ 206312 h 365760"/>
                  <a:gd name="connsiteX61" fmla="*/ 597313 w 3316701"/>
                  <a:gd name="connsiteY61" fmla="*/ 206312 h 365760"/>
                  <a:gd name="connsiteX62" fmla="*/ 597313 w 3316701"/>
                  <a:gd name="connsiteY62" fmla="*/ 212313 h 365760"/>
                  <a:gd name="connsiteX63" fmla="*/ 635127 w 3316701"/>
                  <a:gd name="connsiteY63" fmla="*/ 212313 h 365760"/>
                  <a:gd name="connsiteX64" fmla="*/ 635127 w 3316701"/>
                  <a:gd name="connsiteY64" fmla="*/ 218504 h 365760"/>
                  <a:gd name="connsiteX65" fmla="*/ 687705 w 3316701"/>
                  <a:gd name="connsiteY65" fmla="*/ 218504 h 365760"/>
                  <a:gd name="connsiteX66" fmla="*/ 687705 w 3316701"/>
                  <a:gd name="connsiteY66" fmla="*/ 224600 h 365760"/>
                  <a:gd name="connsiteX67" fmla="*/ 706660 w 3316701"/>
                  <a:gd name="connsiteY67" fmla="*/ 224600 h 365760"/>
                  <a:gd name="connsiteX68" fmla="*/ 706660 w 3316701"/>
                  <a:gd name="connsiteY68" fmla="*/ 230696 h 365760"/>
                  <a:gd name="connsiteX69" fmla="*/ 717138 w 3316701"/>
                  <a:gd name="connsiteY69" fmla="*/ 230696 h 365760"/>
                  <a:gd name="connsiteX70" fmla="*/ 717138 w 3316701"/>
                  <a:gd name="connsiteY70" fmla="*/ 236887 h 365760"/>
                  <a:gd name="connsiteX71" fmla="*/ 750856 w 3316701"/>
                  <a:gd name="connsiteY71" fmla="*/ 236887 h 365760"/>
                  <a:gd name="connsiteX72" fmla="*/ 750856 w 3316701"/>
                  <a:gd name="connsiteY72" fmla="*/ 242983 h 365760"/>
                  <a:gd name="connsiteX73" fmla="*/ 757143 w 3316701"/>
                  <a:gd name="connsiteY73" fmla="*/ 242983 h 365760"/>
                  <a:gd name="connsiteX74" fmla="*/ 757143 w 3316701"/>
                  <a:gd name="connsiteY74" fmla="*/ 249079 h 365760"/>
                  <a:gd name="connsiteX75" fmla="*/ 771811 w 3316701"/>
                  <a:gd name="connsiteY75" fmla="*/ 249079 h 365760"/>
                  <a:gd name="connsiteX76" fmla="*/ 771811 w 3316701"/>
                  <a:gd name="connsiteY76" fmla="*/ 255175 h 365760"/>
                  <a:gd name="connsiteX77" fmla="*/ 784479 w 3316701"/>
                  <a:gd name="connsiteY77" fmla="*/ 255175 h 365760"/>
                  <a:gd name="connsiteX78" fmla="*/ 784479 w 3316701"/>
                  <a:gd name="connsiteY78" fmla="*/ 261366 h 365760"/>
                  <a:gd name="connsiteX79" fmla="*/ 809721 w 3316701"/>
                  <a:gd name="connsiteY79" fmla="*/ 261366 h 365760"/>
                  <a:gd name="connsiteX80" fmla="*/ 809721 w 3316701"/>
                  <a:gd name="connsiteY80" fmla="*/ 267462 h 365760"/>
                  <a:gd name="connsiteX81" fmla="*/ 1038987 w 3316701"/>
                  <a:gd name="connsiteY81" fmla="*/ 267462 h 365760"/>
                  <a:gd name="connsiteX82" fmla="*/ 1038987 w 3316701"/>
                  <a:gd name="connsiteY82" fmla="*/ 273654 h 365760"/>
                  <a:gd name="connsiteX83" fmla="*/ 1152525 w 3316701"/>
                  <a:gd name="connsiteY83" fmla="*/ 273654 h 365760"/>
                  <a:gd name="connsiteX84" fmla="*/ 1152525 w 3316701"/>
                  <a:gd name="connsiteY84" fmla="*/ 279845 h 365760"/>
                  <a:gd name="connsiteX85" fmla="*/ 1421702 w 3316701"/>
                  <a:gd name="connsiteY85" fmla="*/ 279845 h 365760"/>
                  <a:gd name="connsiteX86" fmla="*/ 1421702 w 3316701"/>
                  <a:gd name="connsiteY86" fmla="*/ 286131 h 365760"/>
                  <a:gd name="connsiteX87" fmla="*/ 1495330 w 3316701"/>
                  <a:gd name="connsiteY87" fmla="*/ 286131 h 365760"/>
                  <a:gd name="connsiteX88" fmla="*/ 1495330 w 3316701"/>
                  <a:gd name="connsiteY88" fmla="*/ 292418 h 365760"/>
                  <a:gd name="connsiteX89" fmla="*/ 1575245 w 3316701"/>
                  <a:gd name="connsiteY89" fmla="*/ 292418 h 365760"/>
                  <a:gd name="connsiteX90" fmla="*/ 1575245 w 3316701"/>
                  <a:gd name="connsiteY90" fmla="*/ 298704 h 365760"/>
                  <a:gd name="connsiteX91" fmla="*/ 1737170 w 3316701"/>
                  <a:gd name="connsiteY91" fmla="*/ 298704 h 365760"/>
                  <a:gd name="connsiteX92" fmla="*/ 1737170 w 3316701"/>
                  <a:gd name="connsiteY92" fmla="*/ 305181 h 365760"/>
                  <a:gd name="connsiteX93" fmla="*/ 1754029 w 3316701"/>
                  <a:gd name="connsiteY93" fmla="*/ 305181 h 365760"/>
                  <a:gd name="connsiteX94" fmla="*/ 1754029 w 3316701"/>
                  <a:gd name="connsiteY94" fmla="*/ 311563 h 365760"/>
                  <a:gd name="connsiteX95" fmla="*/ 1871853 w 3316701"/>
                  <a:gd name="connsiteY95" fmla="*/ 311563 h 365760"/>
                  <a:gd name="connsiteX96" fmla="*/ 1871853 w 3316701"/>
                  <a:gd name="connsiteY96" fmla="*/ 318040 h 365760"/>
                  <a:gd name="connsiteX97" fmla="*/ 1964341 w 3316701"/>
                  <a:gd name="connsiteY97" fmla="*/ 318040 h 365760"/>
                  <a:gd name="connsiteX98" fmla="*/ 1964341 w 3316701"/>
                  <a:gd name="connsiteY98" fmla="*/ 324422 h 365760"/>
                  <a:gd name="connsiteX99" fmla="*/ 1983296 w 3316701"/>
                  <a:gd name="connsiteY99" fmla="*/ 324422 h 365760"/>
                  <a:gd name="connsiteX100" fmla="*/ 1983296 w 3316701"/>
                  <a:gd name="connsiteY100" fmla="*/ 330899 h 365760"/>
                  <a:gd name="connsiteX101" fmla="*/ 2837117 w 3316701"/>
                  <a:gd name="connsiteY101" fmla="*/ 330899 h 365760"/>
                  <a:gd name="connsiteX102" fmla="*/ 2837117 w 3316701"/>
                  <a:gd name="connsiteY102" fmla="*/ 365760 h 365760"/>
                  <a:gd name="connsiteX103" fmla="*/ 3316701 w 3316701"/>
                  <a:gd name="connsiteY103" fmla="*/ 365760 h 365760"/>
                  <a:gd name="connsiteX0" fmla="*/ 0 w 3289364"/>
                  <a:gd name="connsiteY0" fmla="*/ 0 h 359664"/>
                  <a:gd name="connsiteX1" fmla="*/ 0 w 3289364"/>
                  <a:gd name="connsiteY1" fmla="*/ 6096 h 359664"/>
                  <a:gd name="connsiteX2" fmla="*/ 4191 w 3289364"/>
                  <a:gd name="connsiteY2" fmla="*/ 6096 h 359664"/>
                  <a:gd name="connsiteX3" fmla="*/ 4191 w 3289364"/>
                  <a:gd name="connsiteY3" fmla="*/ 12097 h 359664"/>
                  <a:gd name="connsiteX4" fmla="*/ 10478 w 3289364"/>
                  <a:gd name="connsiteY4" fmla="*/ 12097 h 359664"/>
                  <a:gd name="connsiteX5" fmla="*/ 10478 w 3289364"/>
                  <a:gd name="connsiteY5" fmla="*/ 24289 h 359664"/>
                  <a:gd name="connsiteX6" fmla="*/ 29432 w 3289364"/>
                  <a:gd name="connsiteY6" fmla="*/ 24289 h 359664"/>
                  <a:gd name="connsiteX7" fmla="*/ 29432 w 3289364"/>
                  <a:gd name="connsiteY7" fmla="*/ 30290 h 359664"/>
                  <a:gd name="connsiteX8" fmla="*/ 37814 w 3289364"/>
                  <a:gd name="connsiteY8" fmla="*/ 30290 h 359664"/>
                  <a:gd name="connsiteX9" fmla="*/ 37814 w 3289364"/>
                  <a:gd name="connsiteY9" fmla="*/ 36386 h 359664"/>
                  <a:gd name="connsiteX10" fmla="*/ 50483 w 3289364"/>
                  <a:gd name="connsiteY10" fmla="*/ 36386 h 359664"/>
                  <a:gd name="connsiteX11" fmla="*/ 50483 w 3289364"/>
                  <a:gd name="connsiteY11" fmla="*/ 42482 h 359664"/>
                  <a:gd name="connsiteX12" fmla="*/ 67342 w 3289364"/>
                  <a:gd name="connsiteY12" fmla="*/ 42482 h 359664"/>
                  <a:gd name="connsiteX13" fmla="*/ 67342 w 3289364"/>
                  <a:gd name="connsiteY13" fmla="*/ 48483 h 359664"/>
                  <a:gd name="connsiteX14" fmla="*/ 94679 w 3289364"/>
                  <a:gd name="connsiteY14" fmla="*/ 48483 h 359664"/>
                  <a:gd name="connsiteX15" fmla="*/ 94679 w 3289364"/>
                  <a:gd name="connsiteY15" fmla="*/ 54579 h 359664"/>
                  <a:gd name="connsiteX16" fmla="*/ 96774 w 3289364"/>
                  <a:gd name="connsiteY16" fmla="*/ 54579 h 359664"/>
                  <a:gd name="connsiteX17" fmla="*/ 96774 w 3289364"/>
                  <a:gd name="connsiteY17" fmla="*/ 60675 h 359664"/>
                  <a:gd name="connsiteX18" fmla="*/ 107251 w 3289364"/>
                  <a:gd name="connsiteY18" fmla="*/ 60675 h 359664"/>
                  <a:gd name="connsiteX19" fmla="*/ 107251 w 3289364"/>
                  <a:gd name="connsiteY19" fmla="*/ 66675 h 359664"/>
                  <a:gd name="connsiteX20" fmla="*/ 113538 w 3289364"/>
                  <a:gd name="connsiteY20" fmla="*/ 66675 h 359664"/>
                  <a:gd name="connsiteX21" fmla="*/ 113538 w 3289364"/>
                  <a:gd name="connsiteY21" fmla="*/ 78867 h 359664"/>
                  <a:gd name="connsiteX22" fmla="*/ 122015 w 3289364"/>
                  <a:gd name="connsiteY22" fmla="*/ 78867 h 359664"/>
                  <a:gd name="connsiteX23" fmla="*/ 122015 w 3289364"/>
                  <a:gd name="connsiteY23" fmla="*/ 84868 h 359664"/>
                  <a:gd name="connsiteX24" fmla="*/ 128302 w 3289364"/>
                  <a:gd name="connsiteY24" fmla="*/ 84868 h 359664"/>
                  <a:gd name="connsiteX25" fmla="*/ 128302 w 3289364"/>
                  <a:gd name="connsiteY25" fmla="*/ 97060 h 359664"/>
                  <a:gd name="connsiteX26" fmla="*/ 130397 w 3289364"/>
                  <a:gd name="connsiteY26" fmla="*/ 97060 h 359664"/>
                  <a:gd name="connsiteX27" fmla="*/ 130397 w 3289364"/>
                  <a:gd name="connsiteY27" fmla="*/ 103156 h 359664"/>
                  <a:gd name="connsiteX28" fmla="*/ 142970 w 3289364"/>
                  <a:gd name="connsiteY28" fmla="*/ 103156 h 359664"/>
                  <a:gd name="connsiteX29" fmla="*/ 142970 w 3289364"/>
                  <a:gd name="connsiteY29" fmla="*/ 109157 h 359664"/>
                  <a:gd name="connsiteX30" fmla="*/ 166116 w 3289364"/>
                  <a:gd name="connsiteY30" fmla="*/ 109157 h 359664"/>
                  <a:gd name="connsiteX31" fmla="*/ 166116 w 3289364"/>
                  <a:gd name="connsiteY31" fmla="*/ 115253 h 359664"/>
                  <a:gd name="connsiteX32" fmla="*/ 172498 w 3289364"/>
                  <a:gd name="connsiteY32" fmla="*/ 115253 h 359664"/>
                  <a:gd name="connsiteX33" fmla="*/ 172498 w 3289364"/>
                  <a:gd name="connsiteY33" fmla="*/ 121349 h 359664"/>
                  <a:gd name="connsiteX34" fmla="*/ 180880 w 3289364"/>
                  <a:gd name="connsiteY34" fmla="*/ 121349 h 359664"/>
                  <a:gd name="connsiteX35" fmla="*/ 180880 w 3289364"/>
                  <a:gd name="connsiteY35" fmla="*/ 127350 h 359664"/>
                  <a:gd name="connsiteX36" fmla="*/ 189262 w 3289364"/>
                  <a:gd name="connsiteY36" fmla="*/ 127350 h 359664"/>
                  <a:gd name="connsiteX37" fmla="*/ 189262 w 3289364"/>
                  <a:gd name="connsiteY37" fmla="*/ 133446 h 359664"/>
                  <a:gd name="connsiteX38" fmla="*/ 193453 w 3289364"/>
                  <a:gd name="connsiteY38" fmla="*/ 133446 h 359664"/>
                  <a:gd name="connsiteX39" fmla="*/ 193453 w 3289364"/>
                  <a:gd name="connsiteY39" fmla="*/ 139542 h 359664"/>
                  <a:gd name="connsiteX40" fmla="*/ 267081 w 3289364"/>
                  <a:gd name="connsiteY40" fmla="*/ 139542 h 359664"/>
                  <a:gd name="connsiteX41" fmla="*/ 267081 w 3289364"/>
                  <a:gd name="connsiteY41" fmla="*/ 145542 h 359664"/>
                  <a:gd name="connsiteX42" fmla="*/ 288131 w 3289364"/>
                  <a:gd name="connsiteY42" fmla="*/ 145542 h 359664"/>
                  <a:gd name="connsiteX43" fmla="*/ 288131 w 3289364"/>
                  <a:gd name="connsiteY43" fmla="*/ 151638 h 359664"/>
                  <a:gd name="connsiteX44" fmla="*/ 294418 w 3289364"/>
                  <a:gd name="connsiteY44" fmla="*/ 151638 h 359664"/>
                  <a:gd name="connsiteX45" fmla="*/ 294418 w 3289364"/>
                  <a:gd name="connsiteY45" fmla="*/ 157734 h 359664"/>
                  <a:gd name="connsiteX46" fmla="*/ 336518 w 3289364"/>
                  <a:gd name="connsiteY46" fmla="*/ 157734 h 359664"/>
                  <a:gd name="connsiteX47" fmla="*/ 336518 w 3289364"/>
                  <a:gd name="connsiteY47" fmla="*/ 163735 h 359664"/>
                  <a:gd name="connsiteX48" fmla="*/ 351187 w 3289364"/>
                  <a:gd name="connsiteY48" fmla="*/ 163735 h 359664"/>
                  <a:gd name="connsiteX49" fmla="*/ 351187 w 3289364"/>
                  <a:gd name="connsiteY49" fmla="*/ 169831 h 359664"/>
                  <a:gd name="connsiteX50" fmla="*/ 380714 w 3289364"/>
                  <a:gd name="connsiteY50" fmla="*/ 169831 h 359664"/>
                  <a:gd name="connsiteX51" fmla="*/ 380714 w 3289364"/>
                  <a:gd name="connsiteY51" fmla="*/ 175927 h 359664"/>
                  <a:gd name="connsiteX52" fmla="*/ 382810 w 3289364"/>
                  <a:gd name="connsiteY52" fmla="*/ 175927 h 359664"/>
                  <a:gd name="connsiteX53" fmla="*/ 382810 w 3289364"/>
                  <a:gd name="connsiteY53" fmla="*/ 181928 h 359664"/>
                  <a:gd name="connsiteX54" fmla="*/ 405860 w 3289364"/>
                  <a:gd name="connsiteY54" fmla="*/ 181928 h 359664"/>
                  <a:gd name="connsiteX55" fmla="*/ 405860 w 3289364"/>
                  <a:gd name="connsiteY55" fmla="*/ 188024 h 359664"/>
                  <a:gd name="connsiteX56" fmla="*/ 418529 w 3289364"/>
                  <a:gd name="connsiteY56" fmla="*/ 188024 h 359664"/>
                  <a:gd name="connsiteX57" fmla="*/ 418529 w 3289364"/>
                  <a:gd name="connsiteY57" fmla="*/ 194120 h 359664"/>
                  <a:gd name="connsiteX58" fmla="*/ 454247 w 3289364"/>
                  <a:gd name="connsiteY58" fmla="*/ 194120 h 359664"/>
                  <a:gd name="connsiteX59" fmla="*/ 454247 w 3289364"/>
                  <a:gd name="connsiteY59" fmla="*/ 200216 h 359664"/>
                  <a:gd name="connsiteX60" fmla="*/ 569976 w 3289364"/>
                  <a:gd name="connsiteY60" fmla="*/ 200216 h 359664"/>
                  <a:gd name="connsiteX61" fmla="*/ 569976 w 3289364"/>
                  <a:gd name="connsiteY61" fmla="*/ 206217 h 359664"/>
                  <a:gd name="connsiteX62" fmla="*/ 607790 w 3289364"/>
                  <a:gd name="connsiteY62" fmla="*/ 206217 h 359664"/>
                  <a:gd name="connsiteX63" fmla="*/ 607790 w 3289364"/>
                  <a:gd name="connsiteY63" fmla="*/ 212408 h 359664"/>
                  <a:gd name="connsiteX64" fmla="*/ 660368 w 3289364"/>
                  <a:gd name="connsiteY64" fmla="*/ 212408 h 359664"/>
                  <a:gd name="connsiteX65" fmla="*/ 660368 w 3289364"/>
                  <a:gd name="connsiteY65" fmla="*/ 218504 h 359664"/>
                  <a:gd name="connsiteX66" fmla="*/ 679323 w 3289364"/>
                  <a:gd name="connsiteY66" fmla="*/ 218504 h 359664"/>
                  <a:gd name="connsiteX67" fmla="*/ 679323 w 3289364"/>
                  <a:gd name="connsiteY67" fmla="*/ 224600 h 359664"/>
                  <a:gd name="connsiteX68" fmla="*/ 689801 w 3289364"/>
                  <a:gd name="connsiteY68" fmla="*/ 224600 h 359664"/>
                  <a:gd name="connsiteX69" fmla="*/ 689801 w 3289364"/>
                  <a:gd name="connsiteY69" fmla="*/ 230791 h 359664"/>
                  <a:gd name="connsiteX70" fmla="*/ 723519 w 3289364"/>
                  <a:gd name="connsiteY70" fmla="*/ 230791 h 359664"/>
                  <a:gd name="connsiteX71" fmla="*/ 723519 w 3289364"/>
                  <a:gd name="connsiteY71" fmla="*/ 236887 h 359664"/>
                  <a:gd name="connsiteX72" fmla="*/ 729806 w 3289364"/>
                  <a:gd name="connsiteY72" fmla="*/ 236887 h 359664"/>
                  <a:gd name="connsiteX73" fmla="*/ 729806 w 3289364"/>
                  <a:gd name="connsiteY73" fmla="*/ 242983 h 359664"/>
                  <a:gd name="connsiteX74" fmla="*/ 744474 w 3289364"/>
                  <a:gd name="connsiteY74" fmla="*/ 242983 h 359664"/>
                  <a:gd name="connsiteX75" fmla="*/ 744474 w 3289364"/>
                  <a:gd name="connsiteY75" fmla="*/ 249079 h 359664"/>
                  <a:gd name="connsiteX76" fmla="*/ 757142 w 3289364"/>
                  <a:gd name="connsiteY76" fmla="*/ 249079 h 359664"/>
                  <a:gd name="connsiteX77" fmla="*/ 757142 w 3289364"/>
                  <a:gd name="connsiteY77" fmla="*/ 255270 h 359664"/>
                  <a:gd name="connsiteX78" fmla="*/ 782384 w 3289364"/>
                  <a:gd name="connsiteY78" fmla="*/ 255270 h 359664"/>
                  <a:gd name="connsiteX79" fmla="*/ 782384 w 3289364"/>
                  <a:gd name="connsiteY79" fmla="*/ 261366 h 359664"/>
                  <a:gd name="connsiteX80" fmla="*/ 1011650 w 3289364"/>
                  <a:gd name="connsiteY80" fmla="*/ 261366 h 359664"/>
                  <a:gd name="connsiteX81" fmla="*/ 1011650 w 3289364"/>
                  <a:gd name="connsiteY81" fmla="*/ 267558 h 359664"/>
                  <a:gd name="connsiteX82" fmla="*/ 1125188 w 3289364"/>
                  <a:gd name="connsiteY82" fmla="*/ 267558 h 359664"/>
                  <a:gd name="connsiteX83" fmla="*/ 1125188 w 3289364"/>
                  <a:gd name="connsiteY83" fmla="*/ 273749 h 359664"/>
                  <a:gd name="connsiteX84" fmla="*/ 1394365 w 3289364"/>
                  <a:gd name="connsiteY84" fmla="*/ 273749 h 359664"/>
                  <a:gd name="connsiteX85" fmla="*/ 1394365 w 3289364"/>
                  <a:gd name="connsiteY85" fmla="*/ 280035 h 359664"/>
                  <a:gd name="connsiteX86" fmla="*/ 1467993 w 3289364"/>
                  <a:gd name="connsiteY86" fmla="*/ 280035 h 359664"/>
                  <a:gd name="connsiteX87" fmla="*/ 1467993 w 3289364"/>
                  <a:gd name="connsiteY87" fmla="*/ 286322 h 359664"/>
                  <a:gd name="connsiteX88" fmla="*/ 1547908 w 3289364"/>
                  <a:gd name="connsiteY88" fmla="*/ 286322 h 359664"/>
                  <a:gd name="connsiteX89" fmla="*/ 1547908 w 3289364"/>
                  <a:gd name="connsiteY89" fmla="*/ 292608 h 359664"/>
                  <a:gd name="connsiteX90" fmla="*/ 1709833 w 3289364"/>
                  <a:gd name="connsiteY90" fmla="*/ 292608 h 359664"/>
                  <a:gd name="connsiteX91" fmla="*/ 1709833 w 3289364"/>
                  <a:gd name="connsiteY91" fmla="*/ 299085 h 359664"/>
                  <a:gd name="connsiteX92" fmla="*/ 1726692 w 3289364"/>
                  <a:gd name="connsiteY92" fmla="*/ 299085 h 359664"/>
                  <a:gd name="connsiteX93" fmla="*/ 1726692 w 3289364"/>
                  <a:gd name="connsiteY93" fmla="*/ 305467 h 359664"/>
                  <a:gd name="connsiteX94" fmla="*/ 1844516 w 3289364"/>
                  <a:gd name="connsiteY94" fmla="*/ 305467 h 359664"/>
                  <a:gd name="connsiteX95" fmla="*/ 1844516 w 3289364"/>
                  <a:gd name="connsiteY95" fmla="*/ 311944 h 359664"/>
                  <a:gd name="connsiteX96" fmla="*/ 1937004 w 3289364"/>
                  <a:gd name="connsiteY96" fmla="*/ 311944 h 359664"/>
                  <a:gd name="connsiteX97" fmla="*/ 1937004 w 3289364"/>
                  <a:gd name="connsiteY97" fmla="*/ 318326 h 359664"/>
                  <a:gd name="connsiteX98" fmla="*/ 1955959 w 3289364"/>
                  <a:gd name="connsiteY98" fmla="*/ 318326 h 359664"/>
                  <a:gd name="connsiteX99" fmla="*/ 1955959 w 3289364"/>
                  <a:gd name="connsiteY99" fmla="*/ 324803 h 359664"/>
                  <a:gd name="connsiteX100" fmla="*/ 2809780 w 3289364"/>
                  <a:gd name="connsiteY100" fmla="*/ 324803 h 359664"/>
                  <a:gd name="connsiteX101" fmla="*/ 2809780 w 3289364"/>
                  <a:gd name="connsiteY101" fmla="*/ 359664 h 359664"/>
                  <a:gd name="connsiteX102" fmla="*/ 3289364 w 3289364"/>
                  <a:gd name="connsiteY102" fmla="*/ 359664 h 359664"/>
                  <a:gd name="connsiteX0" fmla="*/ 0 w 3289364"/>
                  <a:gd name="connsiteY0" fmla="*/ 0 h 359664"/>
                  <a:gd name="connsiteX1" fmla="*/ 0 w 3289364"/>
                  <a:gd name="connsiteY1" fmla="*/ 6096 h 359664"/>
                  <a:gd name="connsiteX2" fmla="*/ 4191 w 3289364"/>
                  <a:gd name="connsiteY2" fmla="*/ 12097 h 359664"/>
                  <a:gd name="connsiteX3" fmla="*/ 10478 w 3289364"/>
                  <a:gd name="connsiteY3" fmla="*/ 12097 h 359664"/>
                  <a:gd name="connsiteX4" fmla="*/ 10478 w 3289364"/>
                  <a:gd name="connsiteY4" fmla="*/ 24289 h 359664"/>
                  <a:gd name="connsiteX5" fmla="*/ 29432 w 3289364"/>
                  <a:gd name="connsiteY5" fmla="*/ 24289 h 359664"/>
                  <a:gd name="connsiteX6" fmla="*/ 29432 w 3289364"/>
                  <a:gd name="connsiteY6" fmla="*/ 30290 h 359664"/>
                  <a:gd name="connsiteX7" fmla="*/ 37814 w 3289364"/>
                  <a:gd name="connsiteY7" fmla="*/ 30290 h 359664"/>
                  <a:gd name="connsiteX8" fmla="*/ 37814 w 3289364"/>
                  <a:gd name="connsiteY8" fmla="*/ 36386 h 359664"/>
                  <a:gd name="connsiteX9" fmla="*/ 50483 w 3289364"/>
                  <a:gd name="connsiteY9" fmla="*/ 36386 h 359664"/>
                  <a:gd name="connsiteX10" fmla="*/ 50483 w 3289364"/>
                  <a:gd name="connsiteY10" fmla="*/ 42482 h 359664"/>
                  <a:gd name="connsiteX11" fmla="*/ 67342 w 3289364"/>
                  <a:gd name="connsiteY11" fmla="*/ 42482 h 359664"/>
                  <a:gd name="connsiteX12" fmla="*/ 67342 w 3289364"/>
                  <a:gd name="connsiteY12" fmla="*/ 48483 h 359664"/>
                  <a:gd name="connsiteX13" fmla="*/ 94679 w 3289364"/>
                  <a:gd name="connsiteY13" fmla="*/ 48483 h 359664"/>
                  <a:gd name="connsiteX14" fmla="*/ 94679 w 3289364"/>
                  <a:gd name="connsiteY14" fmla="*/ 54579 h 359664"/>
                  <a:gd name="connsiteX15" fmla="*/ 96774 w 3289364"/>
                  <a:gd name="connsiteY15" fmla="*/ 54579 h 359664"/>
                  <a:gd name="connsiteX16" fmla="*/ 96774 w 3289364"/>
                  <a:gd name="connsiteY16" fmla="*/ 60675 h 359664"/>
                  <a:gd name="connsiteX17" fmla="*/ 107251 w 3289364"/>
                  <a:gd name="connsiteY17" fmla="*/ 60675 h 359664"/>
                  <a:gd name="connsiteX18" fmla="*/ 107251 w 3289364"/>
                  <a:gd name="connsiteY18" fmla="*/ 66675 h 359664"/>
                  <a:gd name="connsiteX19" fmla="*/ 113538 w 3289364"/>
                  <a:gd name="connsiteY19" fmla="*/ 66675 h 359664"/>
                  <a:gd name="connsiteX20" fmla="*/ 113538 w 3289364"/>
                  <a:gd name="connsiteY20" fmla="*/ 78867 h 359664"/>
                  <a:gd name="connsiteX21" fmla="*/ 122015 w 3289364"/>
                  <a:gd name="connsiteY21" fmla="*/ 78867 h 359664"/>
                  <a:gd name="connsiteX22" fmla="*/ 122015 w 3289364"/>
                  <a:gd name="connsiteY22" fmla="*/ 84868 h 359664"/>
                  <a:gd name="connsiteX23" fmla="*/ 128302 w 3289364"/>
                  <a:gd name="connsiteY23" fmla="*/ 84868 h 359664"/>
                  <a:gd name="connsiteX24" fmla="*/ 128302 w 3289364"/>
                  <a:gd name="connsiteY24" fmla="*/ 97060 h 359664"/>
                  <a:gd name="connsiteX25" fmla="*/ 130397 w 3289364"/>
                  <a:gd name="connsiteY25" fmla="*/ 97060 h 359664"/>
                  <a:gd name="connsiteX26" fmla="*/ 130397 w 3289364"/>
                  <a:gd name="connsiteY26" fmla="*/ 103156 h 359664"/>
                  <a:gd name="connsiteX27" fmla="*/ 142970 w 3289364"/>
                  <a:gd name="connsiteY27" fmla="*/ 103156 h 359664"/>
                  <a:gd name="connsiteX28" fmla="*/ 142970 w 3289364"/>
                  <a:gd name="connsiteY28" fmla="*/ 109157 h 359664"/>
                  <a:gd name="connsiteX29" fmla="*/ 166116 w 3289364"/>
                  <a:gd name="connsiteY29" fmla="*/ 109157 h 359664"/>
                  <a:gd name="connsiteX30" fmla="*/ 166116 w 3289364"/>
                  <a:gd name="connsiteY30" fmla="*/ 115253 h 359664"/>
                  <a:gd name="connsiteX31" fmla="*/ 172498 w 3289364"/>
                  <a:gd name="connsiteY31" fmla="*/ 115253 h 359664"/>
                  <a:gd name="connsiteX32" fmla="*/ 172498 w 3289364"/>
                  <a:gd name="connsiteY32" fmla="*/ 121349 h 359664"/>
                  <a:gd name="connsiteX33" fmla="*/ 180880 w 3289364"/>
                  <a:gd name="connsiteY33" fmla="*/ 121349 h 359664"/>
                  <a:gd name="connsiteX34" fmla="*/ 180880 w 3289364"/>
                  <a:gd name="connsiteY34" fmla="*/ 127350 h 359664"/>
                  <a:gd name="connsiteX35" fmla="*/ 189262 w 3289364"/>
                  <a:gd name="connsiteY35" fmla="*/ 127350 h 359664"/>
                  <a:gd name="connsiteX36" fmla="*/ 189262 w 3289364"/>
                  <a:gd name="connsiteY36" fmla="*/ 133446 h 359664"/>
                  <a:gd name="connsiteX37" fmla="*/ 193453 w 3289364"/>
                  <a:gd name="connsiteY37" fmla="*/ 133446 h 359664"/>
                  <a:gd name="connsiteX38" fmla="*/ 193453 w 3289364"/>
                  <a:gd name="connsiteY38" fmla="*/ 139542 h 359664"/>
                  <a:gd name="connsiteX39" fmla="*/ 267081 w 3289364"/>
                  <a:gd name="connsiteY39" fmla="*/ 139542 h 359664"/>
                  <a:gd name="connsiteX40" fmla="*/ 267081 w 3289364"/>
                  <a:gd name="connsiteY40" fmla="*/ 145542 h 359664"/>
                  <a:gd name="connsiteX41" fmla="*/ 288131 w 3289364"/>
                  <a:gd name="connsiteY41" fmla="*/ 145542 h 359664"/>
                  <a:gd name="connsiteX42" fmla="*/ 288131 w 3289364"/>
                  <a:gd name="connsiteY42" fmla="*/ 151638 h 359664"/>
                  <a:gd name="connsiteX43" fmla="*/ 294418 w 3289364"/>
                  <a:gd name="connsiteY43" fmla="*/ 151638 h 359664"/>
                  <a:gd name="connsiteX44" fmla="*/ 294418 w 3289364"/>
                  <a:gd name="connsiteY44" fmla="*/ 157734 h 359664"/>
                  <a:gd name="connsiteX45" fmla="*/ 336518 w 3289364"/>
                  <a:gd name="connsiteY45" fmla="*/ 157734 h 359664"/>
                  <a:gd name="connsiteX46" fmla="*/ 336518 w 3289364"/>
                  <a:gd name="connsiteY46" fmla="*/ 163735 h 359664"/>
                  <a:gd name="connsiteX47" fmla="*/ 351187 w 3289364"/>
                  <a:gd name="connsiteY47" fmla="*/ 163735 h 359664"/>
                  <a:gd name="connsiteX48" fmla="*/ 351187 w 3289364"/>
                  <a:gd name="connsiteY48" fmla="*/ 169831 h 359664"/>
                  <a:gd name="connsiteX49" fmla="*/ 380714 w 3289364"/>
                  <a:gd name="connsiteY49" fmla="*/ 169831 h 359664"/>
                  <a:gd name="connsiteX50" fmla="*/ 380714 w 3289364"/>
                  <a:gd name="connsiteY50" fmla="*/ 175927 h 359664"/>
                  <a:gd name="connsiteX51" fmla="*/ 382810 w 3289364"/>
                  <a:gd name="connsiteY51" fmla="*/ 175927 h 359664"/>
                  <a:gd name="connsiteX52" fmla="*/ 382810 w 3289364"/>
                  <a:gd name="connsiteY52" fmla="*/ 181928 h 359664"/>
                  <a:gd name="connsiteX53" fmla="*/ 405860 w 3289364"/>
                  <a:gd name="connsiteY53" fmla="*/ 181928 h 359664"/>
                  <a:gd name="connsiteX54" fmla="*/ 405860 w 3289364"/>
                  <a:gd name="connsiteY54" fmla="*/ 188024 h 359664"/>
                  <a:gd name="connsiteX55" fmla="*/ 418529 w 3289364"/>
                  <a:gd name="connsiteY55" fmla="*/ 188024 h 359664"/>
                  <a:gd name="connsiteX56" fmla="*/ 418529 w 3289364"/>
                  <a:gd name="connsiteY56" fmla="*/ 194120 h 359664"/>
                  <a:gd name="connsiteX57" fmla="*/ 454247 w 3289364"/>
                  <a:gd name="connsiteY57" fmla="*/ 194120 h 359664"/>
                  <a:gd name="connsiteX58" fmla="*/ 454247 w 3289364"/>
                  <a:gd name="connsiteY58" fmla="*/ 200216 h 359664"/>
                  <a:gd name="connsiteX59" fmla="*/ 569976 w 3289364"/>
                  <a:gd name="connsiteY59" fmla="*/ 200216 h 359664"/>
                  <a:gd name="connsiteX60" fmla="*/ 569976 w 3289364"/>
                  <a:gd name="connsiteY60" fmla="*/ 206217 h 359664"/>
                  <a:gd name="connsiteX61" fmla="*/ 607790 w 3289364"/>
                  <a:gd name="connsiteY61" fmla="*/ 206217 h 359664"/>
                  <a:gd name="connsiteX62" fmla="*/ 607790 w 3289364"/>
                  <a:gd name="connsiteY62" fmla="*/ 212408 h 359664"/>
                  <a:gd name="connsiteX63" fmla="*/ 660368 w 3289364"/>
                  <a:gd name="connsiteY63" fmla="*/ 212408 h 359664"/>
                  <a:gd name="connsiteX64" fmla="*/ 660368 w 3289364"/>
                  <a:gd name="connsiteY64" fmla="*/ 218504 h 359664"/>
                  <a:gd name="connsiteX65" fmla="*/ 679323 w 3289364"/>
                  <a:gd name="connsiteY65" fmla="*/ 218504 h 359664"/>
                  <a:gd name="connsiteX66" fmla="*/ 679323 w 3289364"/>
                  <a:gd name="connsiteY66" fmla="*/ 224600 h 359664"/>
                  <a:gd name="connsiteX67" fmla="*/ 689801 w 3289364"/>
                  <a:gd name="connsiteY67" fmla="*/ 224600 h 359664"/>
                  <a:gd name="connsiteX68" fmla="*/ 689801 w 3289364"/>
                  <a:gd name="connsiteY68" fmla="*/ 230791 h 359664"/>
                  <a:gd name="connsiteX69" fmla="*/ 723519 w 3289364"/>
                  <a:gd name="connsiteY69" fmla="*/ 230791 h 359664"/>
                  <a:gd name="connsiteX70" fmla="*/ 723519 w 3289364"/>
                  <a:gd name="connsiteY70" fmla="*/ 236887 h 359664"/>
                  <a:gd name="connsiteX71" fmla="*/ 729806 w 3289364"/>
                  <a:gd name="connsiteY71" fmla="*/ 236887 h 359664"/>
                  <a:gd name="connsiteX72" fmla="*/ 729806 w 3289364"/>
                  <a:gd name="connsiteY72" fmla="*/ 242983 h 359664"/>
                  <a:gd name="connsiteX73" fmla="*/ 744474 w 3289364"/>
                  <a:gd name="connsiteY73" fmla="*/ 242983 h 359664"/>
                  <a:gd name="connsiteX74" fmla="*/ 744474 w 3289364"/>
                  <a:gd name="connsiteY74" fmla="*/ 249079 h 359664"/>
                  <a:gd name="connsiteX75" fmla="*/ 757142 w 3289364"/>
                  <a:gd name="connsiteY75" fmla="*/ 249079 h 359664"/>
                  <a:gd name="connsiteX76" fmla="*/ 757142 w 3289364"/>
                  <a:gd name="connsiteY76" fmla="*/ 255270 h 359664"/>
                  <a:gd name="connsiteX77" fmla="*/ 782384 w 3289364"/>
                  <a:gd name="connsiteY77" fmla="*/ 255270 h 359664"/>
                  <a:gd name="connsiteX78" fmla="*/ 782384 w 3289364"/>
                  <a:gd name="connsiteY78" fmla="*/ 261366 h 359664"/>
                  <a:gd name="connsiteX79" fmla="*/ 1011650 w 3289364"/>
                  <a:gd name="connsiteY79" fmla="*/ 261366 h 359664"/>
                  <a:gd name="connsiteX80" fmla="*/ 1011650 w 3289364"/>
                  <a:gd name="connsiteY80" fmla="*/ 267558 h 359664"/>
                  <a:gd name="connsiteX81" fmla="*/ 1125188 w 3289364"/>
                  <a:gd name="connsiteY81" fmla="*/ 267558 h 359664"/>
                  <a:gd name="connsiteX82" fmla="*/ 1125188 w 3289364"/>
                  <a:gd name="connsiteY82" fmla="*/ 273749 h 359664"/>
                  <a:gd name="connsiteX83" fmla="*/ 1394365 w 3289364"/>
                  <a:gd name="connsiteY83" fmla="*/ 273749 h 359664"/>
                  <a:gd name="connsiteX84" fmla="*/ 1394365 w 3289364"/>
                  <a:gd name="connsiteY84" fmla="*/ 280035 h 359664"/>
                  <a:gd name="connsiteX85" fmla="*/ 1467993 w 3289364"/>
                  <a:gd name="connsiteY85" fmla="*/ 280035 h 359664"/>
                  <a:gd name="connsiteX86" fmla="*/ 1467993 w 3289364"/>
                  <a:gd name="connsiteY86" fmla="*/ 286322 h 359664"/>
                  <a:gd name="connsiteX87" fmla="*/ 1547908 w 3289364"/>
                  <a:gd name="connsiteY87" fmla="*/ 286322 h 359664"/>
                  <a:gd name="connsiteX88" fmla="*/ 1547908 w 3289364"/>
                  <a:gd name="connsiteY88" fmla="*/ 292608 h 359664"/>
                  <a:gd name="connsiteX89" fmla="*/ 1709833 w 3289364"/>
                  <a:gd name="connsiteY89" fmla="*/ 292608 h 359664"/>
                  <a:gd name="connsiteX90" fmla="*/ 1709833 w 3289364"/>
                  <a:gd name="connsiteY90" fmla="*/ 299085 h 359664"/>
                  <a:gd name="connsiteX91" fmla="*/ 1726692 w 3289364"/>
                  <a:gd name="connsiteY91" fmla="*/ 299085 h 359664"/>
                  <a:gd name="connsiteX92" fmla="*/ 1726692 w 3289364"/>
                  <a:gd name="connsiteY92" fmla="*/ 305467 h 359664"/>
                  <a:gd name="connsiteX93" fmla="*/ 1844516 w 3289364"/>
                  <a:gd name="connsiteY93" fmla="*/ 305467 h 359664"/>
                  <a:gd name="connsiteX94" fmla="*/ 1844516 w 3289364"/>
                  <a:gd name="connsiteY94" fmla="*/ 311944 h 359664"/>
                  <a:gd name="connsiteX95" fmla="*/ 1937004 w 3289364"/>
                  <a:gd name="connsiteY95" fmla="*/ 311944 h 359664"/>
                  <a:gd name="connsiteX96" fmla="*/ 1937004 w 3289364"/>
                  <a:gd name="connsiteY96" fmla="*/ 318326 h 359664"/>
                  <a:gd name="connsiteX97" fmla="*/ 1955959 w 3289364"/>
                  <a:gd name="connsiteY97" fmla="*/ 318326 h 359664"/>
                  <a:gd name="connsiteX98" fmla="*/ 1955959 w 3289364"/>
                  <a:gd name="connsiteY98" fmla="*/ 324803 h 359664"/>
                  <a:gd name="connsiteX99" fmla="*/ 2809780 w 3289364"/>
                  <a:gd name="connsiteY99" fmla="*/ 324803 h 359664"/>
                  <a:gd name="connsiteX100" fmla="*/ 2809780 w 3289364"/>
                  <a:gd name="connsiteY100" fmla="*/ 359664 h 359664"/>
                  <a:gd name="connsiteX101" fmla="*/ 3289364 w 3289364"/>
                  <a:gd name="connsiteY101" fmla="*/ 359664 h 359664"/>
                  <a:gd name="connsiteX0" fmla="*/ 0 w 3289364"/>
                  <a:gd name="connsiteY0" fmla="*/ 0 h 359664"/>
                  <a:gd name="connsiteX1" fmla="*/ 4191 w 3289364"/>
                  <a:gd name="connsiteY1" fmla="*/ 12097 h 359664"/>
                  <a:gd name="connsiteX2" fmla="*/ 10478 w 3289364"/>
                  <a:gd name="connsiteY2" fmla="*/ 12097 h 359664"/>
                  <a:gd name="connsiteX3" fmla="*/ 10478 w 3289364"/>
                  <a:gd name="connsiteY3" fmla="*/ 24289 h 359664"/>
                  <a:gd name="connsiteX4" fmla="*/ 29432 w 3289364"/>
                  <a:gd name="connsiteY4" fmla="*/ 24289 h 359664"/>
                  <a:gd name="connsiteX5" fmla="*/ 29432 w 3289364"/>
                  <a:gd name="connsiteY5" fmla="*/ 30290 h 359664"/>
                  <a:gd name="connsiteX6" fmla="*/ 37814 w 3289364"/>
                  <a:gd name="connsiteY6" fmla="*/ 30290 h 359664"/>
                  <a:gd name="connsiteX7" fmla="*/ 37814 w 3289364"/>
                  <a:gd name="connsiteY7" fmla="*/ 36386 h 359664"/>
                  <a:gd name="connsiteX8" fmla="*/ 50483 w 3289364"/>
                  <a:gd name="connsiteY8" fmla="*/ 36386 h 359664"/>
                  <a:gd name="connsiteX9" fmla="*/ 50483 w 3289364"/>
                  <a:gd name="connsiteY9" fmla="*/ 42482 h 359664"/>
                  <a:gd name="connsiteX10" fmla="*/ 67342 w 3289364"/>
                  <a:gd name="connsiteY10" fmla="*/ 42482 h 359664"/>
                  <a:gd name="connsiteX11" fmla="*/ 67342 w 3289364"/>
                  <a:gd name="connsiteY11" fmla="*/ 48483 h 359664"/>
                  <a:gd name="connsiteX12" fmla="*/ 94679 w 3289364"/>
                  <a:gd name="connsiteY12" fmla="*/ 48483 h 359664"/>
                  <a:gd name="connsiteX13" fmla="*/ 94679 w 3289364"/>
                  <a:gd name="connsiteY13" fmla="*/ 54579 h 359664"/>
                  <a:gd name="connsiteX14" fmla="*/ 96774 w 3289364"/>
                  <a:gd name="connsiteY14" fmla="*/ 54579 h 359664"/>
                  <a:gd name="connsiteX15" fmla="*/ 96774 w 3289364"/>
                  <a:gd name="connsiteY15" fmla="*/ 60675 h 359664"/>
                  <a:gd name="connsiteX16" fmla="*/ 107251 w 3289364"/>
                  <a:gd name="connsiteY16" fmla="*/ 60675 h 359664"/>
                  <a:gd name="connsiteX17" fmla="*/ 107251 w 3289364"/>
                  <a:gd name="connsiteY17" fmla="*/ 66675 h 359664"/>
                  <a:gd name="connsiteX18" fmla="*/ 113538 w 3289364"/>
                  <a:gd name="connsiteY18" fmla="*/ 66675 h 359664"/>
                  <a:gd name="connsiteX19" fmla="*/ 113538 w 3289364"/>
                  <a:gd name="connsiteY19" fmla="*/ 78867 h 359664"/>
                  <a:gd name="connsiteX20" fmla="*/ 122015 w 3289364"/>
                  <a:gd name="connsiteY20" fmla="*/ 78867 h 359664"/>
                  <a:gd name="connsiteX21" fmla="*/ 122015 w 3289364"/>
                  <a:gd name="connsiteY21" fmla="*/ 84868 h 359664"/>
                  <a:gd name="connsiteX22" fmla="*/ 128302 w 3289364"/>
                  <a:gd name="connsiteY22" fmla="*/ 84868 h 359664"/>
                  <a:gd name="connsiteX23" fmla="*/ 128302 w 3289364"/>
                  <a:gd name="connsiteY23" fmla="*/ 97060 h 359664"/>
                  <a:gd name="connsiteX24" fmla="*/ 130397 w 3289364"/>
                  <a:gd name="connsiteY24" fmla="*/ 97060 h 359664"/>
                  <a:gd name="connsiteX25" fmla="*/ 130397 w 3289364"/>
                  <a:gd name="connsiteY25" fmla="*/ 103156 h 359664"/>
                  <a:gd name="connsiteX26" fmla="*/ 142970 w 3289364"/>
                  <a:gd name="connsiteY26" fmla="*/ 103156 h 359664"/>
                  <a:gd name="connsiteX27" fmla="*/ 142970 w 3289364"/>
                  <a:gd name="connsiteY27" fmla="*/ 109157 h 359664"/>
                  <a:gd name="connsiteX28" fmla="*/ 166116 w 3289364"/>
                  <a:gd name="connsiteY28" fmla="*/ 109157 h 359664"/>
                  <a:gd name="connsiteX29" fmla="*/ 166116 w 3289364"/>
                  <a:gd name="connsiteY29" fmla="*/ 115253 h 359664"/>
                  <a:gd name="connsiteX30" fmla="*/ 172498 w 3289364"/>
                  <a:gd name="connsiteY30" fmla="*/ 115253 h 359664"/>
                  <a:gd name="connsiteX31" fmla="*/ 172498 w 3289364"/>
                  <a:gd name="connsiteY31" fmla="*/ 121349 h 359664"/>
                  <a:gd name="connsiteX32" fmla="*/ 180880 w 3289364"/>
                  <a:gd name="connsiteY32" fmla="*/ 121349 h 359664"/>
                  <a:gd name="connsiteX33" fmla="*/ 180880 w 3289364"/>
                  <a:gd name="connsiteY33" fmla="*/ 127350 h 359664"/>
                  <a:gd name="connsiteX34" fmla="*/ 189262 w 3289364"/>
                  <a:gd name="connsiteY34" fmla="*/ 127350 h 359664"/>
                  <a:gd name="connsiteX35" fmla="*/ 189262 w 3289364"/>
                  <a:gd name="connsiteY35" fmla="*/ 133446 h 359664"/>
                  <a:gd name="connsiteX36" fmla="*/ 193453 w 3289364"/>
                  <a:gd name="connsiteY36" fmla="*/ 133446 h 359664"/>
                  <a:gd name="connsiteX37" fmla="*/ 193453 w 3289364"/>
                  <a:gd name="connsiteY37" fmla="*/ 139542 h 359664"/>
                  <a:gd name="connsiteX38" fmla="*/ 267081 w 3289364"/>
                  <a:gd name="connsiteY38" fmla="*/ 139542 h 359664"/>
                  <a:gd name="connsiteX39" fmla="*/ 267081 w 3289364"/>
                  <a:gd name="connsiteY39" fmla="*/ 145542 h 359664"/>
                  <a:gd name="connsiteX40" fmla="*/ 288131 w 3289364"/>
                  <a:gd name="connsiteY40" fmla="*/ 145542 h 359664"/>
                  <a:gd name="connsiteX41" fmla="*/ 288131 w 3289364"/>
                  <a:gd name="connsiteY41" fmla="*/ 151638 h 359664"/>
                  <a:gd name="connsiteX42" fmla="*/ 294418 w 3289364"/>
                  <a:gd name="connsiteY42" fmla="*/ 151638 h 359664"/>
                  <a:gd name="connsiteX43" fmla="*/ 294418 w 3289364"/>
                  <a:gd name="connsiteY43" fmla="*/ 157734 h 359664"/>
                  <a:gd name="connsiteX44" fmla="*/ 336518 w 3289364"/>
                  <a:gd name="connsiteY44" fmla="*/ 157734 h 359664"/>
                  <a:gd name="connsiteX45" fmla="*/ 336518 w 3289364"/>
                  <a:gd name="connsiteY45" fmla="*/ 163735 h 359664"/>
                  <a:gd name="connsiteX46" fmla="*/ 351187 w 3289364"/>
                  <a:gd name="connsiteY46" fmla="*/ 163735 h 359664"/>
                  <a:gd name="connsiteX47" fmla="*/ 351187 w 3289364"/>
                  <a:gd name="connsiteY47" fmla="*/ 169831 h 359664"/>
                  <a:gd name="connsiteX48" fmla="*/ 380714 w 3289364"/>
                  <a:gd name="connsiteY48" fmla="*/ 169831 h 359664"/>
                  <a:gd name="connsiteX49" fmla="*/ 380714 w 3289364"/>
                  <a:gd name="connsiteY49" fmla="*/ 175927 h 359664"/>
                  <a:gd name="connsiteX50" fmla="*/ 382810 w 3289364"/>
                  <a:gd name="connsiteY50" fmla="*/ 175927 h 359664"/>
                  <a:gd name="connsiteX51" fmla="*/ 382810 w 3289364"/>
                  <a:gd name="connsiteY51" fmla="*/ 181928 h 359664"/>
                  <a:gd name="connsiteX52" fmla="*/ 405860 w 3289364"/>
                  <a:gd name="connsiteY52" fmla="*/ 181928 h 359664"/>
                  <a:gd name="connsiteX53" fmla="*/ 405860 w 3289364"/>
                  <a:gd name="connsiteY53" fmla="*/ 188024 h 359664"/>
                  <a:gd name="connsiteX54" fmla="*/ 418529 w 3289364"/>
                  <a:gd name="connsiteY54" fmla="*/ 188024 h 359664"/>
                  <a:gd name="connsiteX55" fmla="*/ 418529 w 3289364"/>
                  <a:gd name="connsiteY55" fmla="*/ 194120 h 359664"/>
                  <a:gd name="connsiteX56" fmla="*/ 454247 w 3289364"/>
                  <a:gd name="connsiteY56" fmla="*/ 194120 h 359664"/>
                  <a:gd name="connsiteX57" fmla="*/ 454247 w 3289364"/>
                  <a:gd name="connsiteY57" fmla="*/ 200216 h 359664"/>
                  <a:gd name="connsiteX58" fmla="*/ 569976 w 3289364"/>
                  <a:gd name="connsiteY58" fmla="*/ 200216 h 359664"/>
                  <a:gd name="connsiteX59" fmla="*/ 569976 w 3289364"/>
                  <a:gd name="connsiteY59" fmla="*/ 206217 h 359664"/>
                  <a:gd name="connsiteX60" fmla="*/ 607790 w 3289364"/>
                  <a:gd name="connsiteY60" fmla="*/ 206217 h 359664"/>
                  <a:gd name="connsiteX61" fmla="*/ 607790 w 3289364"/>
                  <a:gd name="connsiteY61" fmla="*/ 212408 h 359664"/>
                  <a:gd name="connsiteX62" fmla="*/ 660368 w 3289364"/>
                  <a:gd name="connsiteY62" fmla="*/ 212408 h 359664"/>
                  <a:gd name="connsiteX63" fmla="*/ 660368 w 3289364"/>
                  <a:gd name="connsiteY63" fmla="*/ 218504 h 359664"/>
                  <a:gd name="connsiteX64" fmla="*/ 679323 w 3289364"/>
                  <a:gd name="connsiteY64" fmla="*/ 218504 h 359664"/>
                  <a:gd name="connsiteX65" fmla="*/ 679323 w 3289364"/>
                  <a:gd name="connsiteY65" fmla="*/ 224600 h 359664"/>
                  <a:gd name="connsiteX66" fmla="*/ 689801 w 3289364"/>
                  <a:gd name="connsiteY66" fmla="*/ 224600 h 359664"/>
                  <a:gd name="connsiteX67" fmla="*/ 689801 w 3289364"/>
                  <a:gd name="connsiteY67" fmla="*/ 230791 h 359664"/>
                  <a:gd name="connsiteX68" fmla="*/ 723519 w 3289364"/>
                  <a:gd name="connsiteY68" fmla="*/ 230791 h 359664"/>
                  <a:gd name="connsiteX69" fmla="*/ 723519 w 3289364"/>
                  <a:gd name="connsiteY69" fmla="*/ 236887 h 359664"/>
                  <a:gd name="connsiteX70" fmla="*/ 729806 w 3289364"/>
                  <a:gd name="connsiteY70" fmla="*/ 236887 h 359664"/>
                  <a:gd name="connsiteX71" fmla="*/ 729806 w 3289364"/>
                  <a:gd name="connsiteY71" fmla="*/ 242983 h 359664"/>
                  <a:gd name="connsiteX72" fmla="*/ 744474 w 3289364"/>
                  <a:gd name="connsiteY72" fmla="*/ 242983 h 359664"/>
                  <a:gd name="connsiteX73" fmla="*/ 744474 w 3289364"/>
                  <a:gd name="connsiteY73" fmla="*/ 249079 h 359664"/>
                  <a:gd name="connsiteX74" fmla="*/ 757142 w 3289364"/>
                  <a:gd name="connsiteY74" fmla="*/ 249079 h 359664"/>
                  <a:gd name="connsiteX75" fmla="*/ 757142 w 3289364"/>
                  <a:gd name="connsiteY75" fmla="*/ 255270 h 359664"/>
                  <a:gd name="connsiteX76" fmla="*/ 782384 w 3289364"/>
                  <a:gd name="connsiteY76" fmla="*/ 255270 h 359664"/>
                  <a:gd name="connsiteX77" fmla="*/ 782384 w 3289364"/>
                  <a:gd name="connsiteY77" fmla="*/ 261366 h 359664"/>
                  <a:gd name="connsiteX78" fmla="*/ 1011650 w 3289364"/>
                  <a:gd name="connsiteY78" fmla="*/ 261366 h 359664"/>
                  <a:gd name="connsiteX79" fmla="*/ 1011650 w 3289364"/>
                  <a:gd name="connsiteY79" fmla="*/ 267558 h 359664"/>
                  <a:gd name="connsiteX80" fmla="*/ 1125188 w 3289364"/>
                  <a:gd name="connsiteY80" fmla="*/ 267558 h 359664"/>
                  <a:gd name="connsiteX81" fmla="*/ 1125188 w 3289364"/>
                  <a:gd name="connsiteY81" fmla="*/ 273749 h 359664"/>
                  <a:gd name="connsiteX82" fmla="*/ 1394365 w 3289364"/>
                  <a:gd name="connsiteY82" fmla="*/ 273749 h 359664"/>
                  <a:gd name="connsiteX83" fmla="*/ 1394365 w 3289364"/>
                  <a:gd name="connsiteY83" fmla="*/ 280035 h 359664"/>
                  <a:gd name="connsiteX84" fmla="*/ 1467993 w 3289364"/>
                  <a:gd name="connsiteY84" fmla="*/ 280035 h 359664"/>
                  <a:gd name="connsiteX85" fmla="*/ 1467993 w 3289364"/>
                  <a:gd name="connsiteY85" fmla="*/ 286322 h 359664"/>
                  <a:gd name="connsiteX86" fmla="*/ 1547908 w 3289364"/>
                  <a:gd name="connsiteY86" fmla="*/ 286322 h 359664"/>
                  <a:gd name="connsiteX87" fmla="*/ 1547908 w 3289364"/>
                  <a:gd name="connsiteY87" fmla="*/ 292608 h 359664"/>
                  <a:gd name="connsiteX88" fmla="*/ 1709833 w 3289364"/>
                  <a:gd name="connsiteY88" fmla="*/ 292608 h 359664"/>
                  <a:gd name="connsiteX89" fmla="*/ 1709833 w 3289364"/>
                  <a:gd name="connsiteY89" fmla="*/ 299085 h 359664"/>
                  <a:gd name="connsiteX90" fmla="*/ 1726692 w 3289364"/>
                  <a:gd name="connsiteY90" fmla="*/ 299085 h 359664"/>
                  <a:gd name="connsiteX91" fmla="*/ 1726692 w 3289364"/>
                  <a:gd name="connsiteY91" fmla="*/ 305467 h 359664"/>
                  <a:gd name="connsiteX92" fmla="*/ 1844516 w 3289364"/>
                  <a:gd name="connsiteY92" fmla="*/ 305467 h 359664"/>
                  <a:gd name="connsiteX93" fmla="*/ 1844516 w 3289364"/>
                  <a:gd name="connsiteY93" fmla="*/ 311944 h 359664"/>
                  <a:gd name="connsiteX94" fmla="*/ 1937004 w 3289364"/>
                  <a:gd name="connsiteY94" fmla="*/ 311944 h 359664"/>
                  <a:gd name="connsiteX95" fmla="*/ 1937004 w 3289364"/>
                  <a:gd name="connsiteY95" fmla="*/ 318326 h 359664"/>
                  <a:gd name="connsiteX96" fmla="*/ 1955959 w 3289364"/>
                  <a:gd name="connsiteY96" fmla="*/ 318326 h 359664"/>
                  <a:gd name="connsiteX97" fmla="*/ 1955959 w 3289364"/>
                  <a:gd name="connsiteY97" fmla="*/ 324803 h 359664"/>
                  <a:gd name="connsiteX98" fmla="*/ 2809780 w 3289364"/>
                  <a:gd name="connsiteY98" fmla="*/ 324803 h 359664"/>
                  <a:gd name="connsiteX99" fmla="*/ 2809780 w 3289364"/>
                  <a:gd name="connsiteY99" fmla="*/ 359664 h 359664"/>
                  <a:gd name="connsiteX100" fmla="*/ 3289364 w 3289364"/>
                  <a:gd name="connsiteY100" fmla="*/ 359664 h 359664"/>
                  <a:gd name="connsiteX0" fmla="*/ 0 w 3285173"/>
                  <a:gd name="connsiteY0" fmla="*/ 0 h 347567"/>
                  <a:gd name="connsiteX1" fmla="*/ 6287 w 3285173"/>
                  <a:gd name="connsiteY1" fmla="*/ 0 h 347567"/>
                  <a:gd name="connsiteX2" fmla="*/ 6287 w 3285173"/>
                  <a:gd name="connsiteY2" fmla="*/ 12192 h 347567"/>
                  <a:gd name="connsiteX3" fmla="*/ 25241 w 3285173"/>
                  <a:gd name="connsiteY3" fmla="*/ 12192 h 347567"/>
                  <a:gd name="connsiteX4" fmla="*/ 25241 w 3285173"/>
                  <a:gd name="connsiteY4" fmla="*/ 18193 h 347567"/>
                  <a:gd name="connsiteX5" fmla="*/ 33623 w 3285173"/>
                  <a:gd name="connsiteY5" fmla="*/ 18193 h 347567"/>
                  <a:gd name="connsiteX6" fmla="*/ 33623 w 3285173"/>
                  <a:gd name="connsiteY6" fmla="*/ 24289 h 347567"/>
                  <a:gd name="connsiteX7" fmla="*/ 46292 w 3285173"/>
                  <a:gd name="connsiteY7" fmla="*/ 24289 h 347567"/>
                  <a:gd name="connsiteX8" fmla="*/ 46292 w 3285173"/>
                  <a:gd name="connsiteY8" fmla="*/ 30385 h 347567"/>
                  <a:gd name="connsiteX9" fmla="*/ 63151 w 3285173"/>
                  <a:gd name="connsiteY9" fmla="*/ 30385 h 347567"/>
                  <a:gd name="connsiteX10" fmla="*/ 63151 w 3285173"/>
                  <a:gd name="connsiteY10" fmla="*/ 36386 h 347567"/>
                  <a:gd name="connsiteX11" fmla="*/ 90488 w 3285173"/>
                  <a:gd name="connsiteY11" fmla="*/ 36386 h 347567"/>
                  <a:gd name="connsiteX12" fmla="*/ 90488 w 3285173"/>
                  <a:gd name="connsiteY12" fmla="*/ 42482 h 347567"/>
                  <a:gd name="connsiteX13" fmla="*/ 92583 w 3285173"/>
                  <a:gd name="connsiteY13" fmla="*/ 42482 h 347567"/>
                  <a:gd name="connsiteX14" fmla="*/ 92583 w 3285173"/>
                  <a:gd name="connsiteY14" fmla="*/ 48578 h 347567"/>
                  <a:gd name="connsiteX15" fmla="*/ 103060 w 3285173"/>
                  <a:gd name="connsiteY15" fmla="*/ 48578 h 347567"/>
                  <a:gd name="connsiteX16" fmla="*/ 103060 w 3285173"/>
                  <a:gd name="connsiteY16" fmla="*/ 54578 h 347567"/>
                  <a:gd name="connsiteX17" fmla="*/ 109347 w 3285173"/>
                  <a:gd name="connsiteY17" fmla="*/ 54578 h 347567"/>
                  <a:gd name="connsiteX18" fmla="*/ 109347 w 3285173"/>
                  <a:gd name="connsiteY18" fmla="*/ 66770 h 347567"/>
                  <a:gd name="connsiteX19" fmla="*/ 117824 w 3285173"/>
                  <a:gd name="connsiteY19" fmla="*/ 66770 h 347567"/>
                  <a:gd name="connsiteX20" fmla="*/ 117824 w 3285173"/>
                  <a:gd name="connsiteY20" fmla="*/ 72771 h 347567"/>
                  <a:gd name="connsiteX21" fmla="*/ 124111 w 3285173"/>
                  <a:gd name="connsiteY21" fmla="*/ 72771 h 347567"/>
                  <a:gd name="connsiteX22" fmla="*/ 124111 w 3285173"/>
                  <a:gd name="connsiteY22" fmla="*/ 84963 h 347567"/>
                  <a:gd name="connsiteX23" fmla="*/ 126206 w 3285173"/>
                  <a:gd name="connsiteY23" fmla="*/ 84963 h 347567"/>
                  <a:gd name="connsiteX24" fmla="*/ 126206 w 3285173"/>
                  <a:gd name="connsiteY24" fmla="*/ 91059 h 347567"/>
                  <a:gd name="connsiteX25" fmla="*/ 138779 w 3285173"/>
                  <a:gd name="connsiteY25" fmla="*/ 91059 h 347567"/>
                  <a:gd name="connsiteX26" fmla="*/ 138779 w 3285173"/>
                  <a:gd name="connsiteY26" fmla="*/ 97060 h 347567"/>
                  <a:gd name="connsiteX27" fmla="*/ 161925 w 3285173"/>
                  <a:gd name="connsiteY27" fmla="*/ 97060 h 347567"/>
                  <a:gd name="connsiteX28" fmla="*/ 161925 w 3285173"/>
                  <a:gd name="connsiteY28" fmla="*/ 103156 h 347567"/>
                  <a:gd name="connsiteX29" fmla="*/ 168307 w 3285173"/>
                  <a:gd name="connsiteY29" fmla="*/ 103156 h 347567"/>
                  <a:gd name="connsiteX30" fmla="*/ 168307 w 3285173"/>
                  <a:gd name="connsiteY30" fmla="*/ 109252 h 347567"/>
                  <a:gd name="connsiteX31" fmla="*/ 176689 w 3285173"/>
                  <a:gd name="connsiteY31" fmla="*/ 109252 h 347567"/>
                  <a:gd name="connsiteX32" fmla="*/ 176689 w 3285173"/>
                  <a:gd name="connsiteY32" fmla="*/ 115253 h 347567"/>
                  <a:gd name="connsiteX33" fmla="*/ 185071 w 3285173"/>
                  <a:gd name="connsiteY33" fmla="*/ 115253 h 347567"/>
                  <a:gd name="connsiteX34" fmla="*/ 185071 w 3285173"/>
                  <a:gd name="connsiteY34" fmla="*/ 121349 h 347567"/>
                  <a:gd name="connsiteX35" fmla="*/ 189262 w 3285173"/>
                  <a:gd name="connsiteY35" fmla="*/ 121349 h 347567"/>
                  <a:gd name="connsiteX36" fmla="*/ 189262 w 3285173"/>
                  <a:gd name="connsiteY36" fmla="*/ 127445 h 347567"/>
                  <a:gd name="connsiteX37" fmla="*/ 262890 w 3285173"/>
                  <a:gd name="connsiteY37" fmla="*/ 127445 h 347567"/>
                  <a:gd name="connsiteX38" fmla="*/ 262890 w 3285173"/>
                  <a:gd name="connsiteY38" fmla="*/ 133445 h 347567"/>
                  <a:gd name="connsiteX39" fmla="*/ 283940 w 3285173"/>
                  <a:gd name="connsiteY39" fmla="*/ 133445 h 347567"/>
                  <a:gd name="connsiteX40" fmla="*/ 283940 w 3285173"/>
                  <a:gd name="connsiteY40" fmla="*/ 139541 h 347567"/>
                  <a:gd name="connsiteX41" fmla="*/ 290227 w 3285173"/>
                  <a:gd name="connsiteY41" fmla="*/ 139541 h 347567"/>
                  <a:gd name="connsiteX42" fmla="*/ 290227 w 3285173"/>
                  <a:gd name="connsiteY42" fmla="*/ 145637 h 347567"/>
                  <a:gd name="connsiteX43" fmla="*/ 332327 w 3285173"/>
                  <a:gd name="connsiteY43" fmla="*/ 145637 h 347567"/>
                  <a:gd name="connsiteX44" fmla="*/ 332327 w 3285173"/>
                  <a:gd name="connsiteY44" fmla="*/ 151638 h 347567"/>
                  <a:gd name="connsiteX45" fmla="*/ 346996 w 3285173"/>
                  <a:gd name="connsiteY45" fmla="*/ 151638 h 347567"/>
                  <a:gd name="connsiteX46" fmla="*/ 346996 w 3285173"/>
                  <a:gd name="connsiteY46" fmla="*/ 157734 h 347567"/>
                  <a:gd name="connsiteX47" fmla="*/ 376523 w 3285173"/>
                  <a:gd name="connsiteY47" fmla="*/ 157734 h 347567"/>
                  <a:gd name="connsiteX48" fmla="*/ 376523 w 3285173"/>
                  <a:gd name="connsiteY48" fmla="*/ 163830 h 347567"/>
                  <a:gd name="connsiteX49" fmla="*/ 378619 w 3285173"/>
                  <a:gd name="connsiteY49" fmla="*/ 163830 h 347567"/>
                  <a:gd name="connsiteX50" fmla="*/ 378619 w 3285173"/>
                  <a:gd name="connsiteY50" fmla="*/ 169831 h 347567"/>
                  <a:gd name="connsiteX51" fmla="*/ 401669 w 3285173"/>
                  <a:gd name="connsiteY51" fmla="*/ 169831 h 347567"/>
                  <a:gd name="connsiteX52" fmla="*/ 401669 w 3285173"/>
                  <a:gd name="connsiteY52" fmla="*/ 175927 h 347567"/>
                  <a:gd name="connsiteX53" fmla="*/ 414338 w 3285173"/>
                  <a:gd name="connsiteY53" fmla="*/ 175927 h 347567"/>
                  <a:gd name="connsiteX54" fmla="*/ 414338 w 3285173"/>
                  <a:gd name="connsiteY54" fmla="*/ 182023 h 347567"/>
                  <a:gd name="connsiteX55" fmla="*/ 450056 w 3285173"/>
                  <a:gd name="connsiteY55" fmla="*/ 182023 h 347567"/>
                  <a:gd name="connsiteX56" fmla="*/ 450056 w 3285173"/>
                  <a:gd name="connsiteY56" fmla="*/ 188119 h 347567"/>
                  <a:gd name="connsiteX57" fmla="*/ 565785 w 3285173"/>
                  <a:gd name="connsiteY57" fmla="*/ 188119 h 347567"/>
                  <a:gd name="connsiteX58" fmla="*/ 565785 w 3285173"/>
                  <a:gd name="connsiteY58" fmla="*/ 194120 h 347567"/>
                  <a:gd name="connsiteX59" fmla="*/ 603599 w 3285173"/>
                  <a:gd name="connsiteY59" fmla="*/ 194120 h 347567"/>
                  <a:gd name="connsiteX60" fmla="*/ 603599 w 3285173"/>
                  <a:gd name="connsiteY60" fmla="*/ 200311 h 347567"/>
                  <a:gd name="connsiteX61" fmla="*/ 656177 w 3285173"/>
                  <a:gd name="connsiteY61" fmla="*/ 200311 h 347567"/>
                  <a:gd name="connsiteX62" fmla="*/ 656177 w 3285173"/>
                  <a:gd name="connsiteY62" fmla="*/ 206407 h 347567"/>
                  <a:gd name="connsiteX63" fmla="*/ 675132 w 3285173"/>
                  <a:gd name="connsiteY63" fmla="*/ 206407 h 347567"/>
                  <a:gd name="connsiteX64" fmla="*/ 675132 w 3285173"/>
                  <a:gd name="connsiteY64" fmla="*/ 212503 h 347567"/>
                  <a:gd name="connsiteX65" fmla="*/ 685610 w 3285173"/>
                  <a:gd name="connsiteY65" fmla="*/ 212503 h 347567"/>
                  <a:gd name="connsiteX66" fmla="*/ 685610 w 3285173"/>
                  <a:gd name="connsiteY66" fmla="*/ 218694 h 347567"/>
                  <a:gd name="connsiteX67" fmla="*/ 719328 w 3285173"/>
                  <a:gd name="connsiteY67" fmla="*/ 218694 h 347567"/>
                  <a:gd name="connsiteX68" fmla="*/ 719328 w 3285173"/>
                  <a:gd name="connsiteY68" fmla="*/ 224790 h 347567"/>
                  <a:gd name="connsiteX69" fmla="*/ 725615 w 3285173"/>
                  <a:gd name="connsiteY69" fmla="*/ 224790 h 347567"/>
                  <a:gd name="connsiteX70" fmla="*/ 725615 w 3285173"/>
                  <a:gd name="connsiteY70" fmla="*/ 230886 h 347567"/>
                  <a:gd name="connsiteX71" fmla="*/ 740283 w 3285173"/>
                  <a:gd name="connsiteY71" fmla="*/ 230886 h 347567"/>
                  <a:gd name="connsiteX72" fmla="*/ 740283 w 3285173"/>
                  <a:gd name="connsiteY72" fmla="*/ 236982 h 347567"/>
                  <a:gd name="connsiteX73" fmla="*/ 752951 w 3285173"/>
                  <a:gd name="connsiteY73" fmla="*/ 236982 h 347567"/>
                  <a:gd name="connsiteX74" fmla="*/ 752951 w 3285173"/>
                  <a:gd name="connsiteY74" fmla="*/ 243173 h 347567"/>
                  <a:gd name="connsiteX75" fmla="*/ 778193 w 3285173"/>
                  <a:gd name="connsiteY75" fmla="*/ 243173 h 347567"/>
                  <a:gd name="connsiteX76" fmla="*/ 778193 w 3285173"/>
                  <a:gd name="connsiteY76" fmla="*/ 249269 h 347567"/>
                  <a:gd name="connsiteX77" fmla="*/ 1007459 w 3285173"/>
                  <a:gd name="connsiteY77" fmla="*/ 249269 h 347567"/>
                  <a:gd name="connsiteX78" fmla="*/ 1007459 w 3285173"/>
                  <a:gd name="connsiteY78" fmla="*/ 255461 h 347567"/>
                  <a:gd name="connsiteX79" fmla="*/ 1120997 w 3285173"/>
                  <a:gd name="connsiteY79" fmla="*/ 255461 h 347567"/>
                  <a:gd name="connsiteX80" fmla="*/ 1120997 w 3285173"/>
                  <a:gd name="connsiteY80" fmla="*/ 261652 h 347567"/>
                  <a:gd name="connsiteX81" fmla="*/ 1390174 w 3285173"/>
                  <a:gd name="connsiteY81" fmla="*/ 261652 h 347567"/>
                  <a:gd name="connsiteX82" fmla="*/ 1390174 w 3285173"/>
                  <a:gd name="connsiteY82" fmla="*/ 267938 h 347567"/>
                  <a:gd name="connsiteX83" fmla="*/ 1463802 w 3285173"/>
                  <a:gd name="connsiteY83" fmla="*/ 267938 h 347567"/>
                  <a:gd name="connsiteX84" fmla="*/ 1463802 w 3285173"/>
                  <a:gd name="connsiteY84" fmla="*/ 274225 h 347567"/>
                  <a:gd name="connsiteX85" fmla="*/ 1543717 w 3285173"/>
                  <a:gd name="connsiteY85" fmla="*/ 274225 h 347567"/>
                  <a:gd name="connsiteX86" fmla="*/ 1543717 w 3285173"/>
                  <a:gd name="connsiteY86" fmla="*/ 280511 h 347567"/>
                  <a:gd name="connsiteX87" fmla="*/ 1705642 w 3285173"/>
                  <a:gd name="connsiteY87" fmla="*/ 280511 h 347567"/>
                  <a:gd name="connsiteX88" fmla="*/ 1705642 w 3285173"/>
                  <a:gd name="connsiteY88" fmla="*/ 286988 h 347567"/>
                  <a:gd name="connsiteX89" fmla="*/ 1722501 w 3285173"/>
                  <a:gd name="connsiteY89" fmla="*/ 286988 h 347567"/>
                  <a:gd name="connsiteX90" fmla="*/ 1722501 w 3285173"/>
                  <a:gd name="connsiteY90" fmla="*/ 293370 h 347567"/>
                  <a:gd name="connsiteX91" fmla="*/ 1840325 w 3285173"/>
                  <a:gd name="connsiteY91" fmla="*/ 293370 h 347567"/>
                  <a:gd name="connsiteX92" fmla="*/ 1840325 w 3285173"/>
                  <a:gd name="connsiteY92" fmla="*/ 299847 h 347567"/>
                  <a:gd name="connsiteX93" fmla="*/ 1932813 w 3285173"/>
                  <a:gd name="connsiteY93" fmla="*/ 299847 h 347567"/>
                  <a:gd name="connsiteX94" fmla="*/ 1932813 w 3285173"/>
                  <a:gd name="connsiteY94" fmla="*/ 306229 h 347567"/>
                  <a:gd name="connsiteX95" fmla="*/ 1951768 w 3285173"/>
                  <a:gd name="connsiteY95" fmla="*/ 306229 h 347567"/>
                  <a:gd name="connsiteX96" fmla="*/ 1951768 w 3285173"/>
                  <a:gd name="connsiteY96" fmla="*/ 312706 h 347567"/>
                  <a:gd name="connsiteX97" fmla="*/ 2805589 w 3285173"/>
                  <a:gd name="connsiteY97" fmla="*/ 312706 h 347567"/>
                  <a:gd name="connsiteX98" fmla="*/ 2805589 w 3285173"/>
                  <a:gd name="connsiteY98" fmla="*/ 347567 h 347567"/>
                  <a:gd name="connsiteX99" fmla="*/ 3285173 w 3285173"/>
                  <a:gd name="connsiteY99" fmla="*/ 347567 h 347567"/>
                  <a:gd name="connsiteX0" fmla="*/ 0 w 3285173"/>
                  <a:gd name="connsiteY0" fmla="*/ 0 h 347567"/>
                  <a:gd name="connsiteX1" fmla="*/ 6287 w 3285173"/>
                  <a:gd name="connsiteY1" fmla="*/ 12192 h 347567"/>
                  <a:gd name="connsiteX2" fmla="*/ 25241 w 3285173"/>
                  <a:gd name="connsiteY2" fmla="*/ 12192 h 347567"/>
                  <a:gd name="connsiteX3" fmla="*/ 25241 w 3285173"/>
                  <a:gd name="connsiteY3" fmla="*/ 18193 h 347567"/>
                  <a:gd name="connsiteX4" fmla="*/ 33623 w 3285173"/>
                  <a:gd name="connsiteY4" fmla="*/ 18193 h 347567"/>
                  <a:gd name="connsiteX5" fmla="*/ 33623 w 3285173"/>
                  <a:gd name="connsiteY5" fmla="*/ 24289 h 347567"/>
                  <a:gd name="connsiteX6" fmla="*/ 46292 w 3285173"/>
                  <a:gd name="connsiteY6" fmla="*/ 24289 h 347567"/>
                  <a:gd name="connsiteX7" fmla="*/ 46292 w 3285173"/>
                  <a:gd name="connsiteY7" fmla="*/ 30385 h 347567"/>
                  <a:gd name="connsiteX8" fmla="*/ 63151 w 3285173"/>
                  <a:gd name="connsiteY8" fmla="*/ 30385 h 347567"/>
                  <a:gd name="connsiteX9" fmla="*/ 63151 w 3285173"/>
                  <a:gd name="connsiteY9" fmla="*/ 36386 h 347567"/>
                  <a:gd name="connsiteX10" fmla="*/ 90488 w 3285173"/>
                  <a:gd name="connsiteY10" fmla="*/ 36386 h 347567"/>
                  <a:gd name="connsiteX11" fmla="*/ 90488 w 3285173"/>
                  <a:gd name="connsiteY11" fmla="*/ 42482 h 347567"/>
                  <a:gd name="connsiteX12" fmla="*/ 92583 w 3285173"/>
                  <a:gd name="connsiteY12" fmla="*/ 42482 h 347567"/>
                  <a:gd name="connsiteX13" fmla="*/ 92583 w 3285173"/>
                  <a:gd name="connsiteY13" fmla="*/ 48578 h 347567"/>
                  <a:gd name="connsiteX14" fmla="*/ 103060 w 3285173"/>
                  <a:gd name="connsiteY14" fmla="*/ 48578 h 347567"/>
                  <a:gd name="connsiteX15" fmla="*/ 103060 w 3285173"/>
                  <a:gd name="connsiteY15" fmla="*/ 54578 h 347567"/>
                  <a:gd name="connsiteX16" fmla="*/ 109347 w 3285173"/>
                  <a:gd name="connsiteY16" fmla="*/ 54578 h 347567"/>
                  <a:gd name="connsiteX17" fmla="*/ 109347 w 3285173"/>
                  <a:gd name="connsiteY17" fmla="*/ 66770 h 347567"/>
                  <a:gd name="connsiteX18" fmla="*/ 117824 w 3285173"/>
                  <a:gd name="connsiteY18" fmla="*/ 66770 h 347567"/>
                  <a:gd name="connsiteX19" fmla="*/ 117824 w 3285173"/>
                  <a:gd name="connsiteY19" fmla="*/ 72771 h 347567"/>
                  <a:gd name="connsiteX20" fmla="*/ 124111 w 3285173"/>
                  <a:gd name="connsiteY20" fmla="*/ 72771 h 347567"/>
                  <a:gd name="connsiteX21" fmla="*/ 124111 w 3285173"/>
                  <a:gd name="connsiteY21" fmla="*/ 84963 h 347567"/>
                  <a:gd name="connsiteX22" fmla="*/ 126206 w 3285173"/>
                  <a:gd name="connsiteY22" fmla="*/ 84963 h 347567"/>
                  <a:gd name="connsiteX23" fmla="*/ 126206 w 3285173"/>
                  <a:gd name="connsiteY23" fmla="*/ 91059 h 347567"/>
                  <a:gd name="connsiteX24" fmla="*/ 138779 w 3285173"/>
                  <a:gd name="connsiteY24" fmla="*/ 91059 h 347567"/>
                  <a:gd name="connsiteX25" fmla="*/ 138779 w 3285173"/>
                  <a:gd name="connsiteY25" fmla="*/ 97060 h 347567"/>
                  <a:gd name="connsiteX26" fmla="*/ 161925 w 3285173"/>
                  <a:gd name="connsiteY26" fmla="*/ 97060 h 347567"/>
                  <a:gd name="connsiteX27" fmla="*/ 161925 w 3285173"/>
                  <a:gd name="connsiteY27" fmla="*/ 103156 h 347567"/>
                  <a:gd name="connsiteX28" fmla="*/ 168307 w 3285173"/>
                  <a:gd name="connsiteY28" fmla="*/ 103156 h 347567"/>
                  <a:gd name="connsiteX29" fmla="*/ 168307 w 3285173"/>
                  <a:gd name="connsiteY29" fmla="*/ 109252 h 347567"/>
                  <a:gd name="connsiteX30" fmla="*/ 176689 w 3285173"/>
                  <a:gd name="connsiteY30" fmla="*/ 109252 h 347567"/>
                  <a:gd name="connsiteX31" fmla="*/ 176689 w 3285173"/>
                  <a:gd name="connsiteY31" fmla="*/ 115253 h 347567"/>
                  <a:gd name="connsiteX32" fmla="*/ 185071 w 3285173"/>
                  <a:gd name="connsiteY32" fmla="*/ 115253 h 347567"/>
                  <a:gd name="connsiteX33" fmla="*/ 185071 w 3285173"/>
                  <a:gd name="connsiteY33" fmla="*/ 121349 h 347567"/>
                  <a:gd name="connsiteX34" fmla="*/ 189262 w 3285173"/>
                  <a:gd name="connsiteY34" fmla="*/ 121349 h 347567"/>
                  <a:gd name="connsiteX35" fmla="*/ 189262 w 3285173"/>
                  <a:gd name="connsiteY35" fmla="*/ 127445 h 347567"/>
                  <a:gd name="connsiteX36" fmla="*/ 262890 w 3285173"/>
                  <a:gd name="connsiteY36" fmla="*/ 127445 h 347567"/>
                  <a:gd name="connsiteX37" fmla="*/ 262890 w 3285173"/>
                  <a:gd name="connsiteY37" fmla="*/ 133445 h 347567"/>
                  <a:gd name="connsiteX38" fmla="*/ 283940 w 3285173"/>
                  <a:gd name="connsiteY38" fmla="*/ 133445 h 347567"/>
                  <a:gd name="connsiteX39" fmla="*/ 283940 w 3285173"/>
                  <a:gd name="connsiteY39" fmla="*/ 139541 h 347567"/>
                  <a:gd name="connsiteX40" fmla="*/ 290227 w 3285173"/>
                  <a:gd name="connsiteY40" fmla="*/ 139541 h 347567"/>
                  <a:gd name="connsiteX41" fmla="*/ 290227 w 3285173"/>
                  <a:gd name="connsiteY41" fmla="*/ 145637 h 347567"/>
                  <a:gd name="connsiteX42" fmla="*/ 332327 w 3285173"/>
                  <a:gd name="connsiteY42" fmla="*/ 145637 h 347567"/>
                  <a:gd name="connsiteX43" fmla="*/ 332327 w 3285173"/>
                  <a:gd name="connsiteY43" fmla="*/ 151638 h 347567"/>
                  <a:gd name="connsiteX44" fmla="*/ 346996 w 3285173"/>
                  <a:gd name="connsiteY44" fmla="*/ 151638 h 347567"/>
                  <a:gd name="connsiteX45" fmla="*/ 346996 w 3285173"/>
                  <a:gd name="connsiteY45" fmla="*/ 157734 h 347567"/>
                  <a:gd name="connsiteX46" fmla="*/ 376523 w 3285173"/>
                  <a:gd name="connsiteY46" fmla="*/ 157734 h 347567"/>
                  <a:gd name="connsiteX47" fmla="*/ 376523 w 3285173"/>
                  <a:gd name="connsiteY47" fmla="*/ 163830 h 347567"/>
                  <a:gd name="connsiteX48" fmla="*/ 378619 w 3285173"/>
                  <a:gd name="connsiteY48" fmla="*/ 163830 h 347567"/>
                  <a:gd name="connsiteX49" fmla="*/ 378619 w 3285173"/>
                  <a:gd name="connsiteY49" fmla="*/ 169831 h 347567"/>
                  <a:gd name="connsiteX50" fmla="*/ 401669 w 3285173"/>
                  <a:gd name="connsiteY50" fmla="*/ 169831 h 347567"/>
                  <a:gd name="connsiteX51" fmla="*/ 401669 w 3285173"/>
                  <a:gd name="connsiteY51" fmla="*/ 175927 h 347567"/>
                  <a:gd name="connsiteX52" fmla="*/ 414338 w 3285173"/>
                  <a:gd name="connsiteY52" fmla="*/ 175927 h 347567"/>
                  <a:gd name="connsiteX53" fmla="*/ 414338 w 3285173"/>
                  <a:gd name="connsiteY53" fmla="*/ 182023 h 347567"/>
                  <a:gd name="connsiteX54" fmla="*/ 450056 w 3285173"/>
                  <a:gd name="connsiteY54" fmla="*/ 182023 h 347567"/>
                  <a:gd name="connsiteX55" fmla="*/ 450056 w 3285173"/>
                  <a:gd name="connsiteY55" fmla="*/ 188119 h 347567"/>
                  <a:gd name="connsiteX56" fmla="*/ 565785 w 3285173"/>
                  <a:gd name="connsiteY56" fmla="*/ 188119 h 347567"/>
                  <a:gd name="connsiteX57" fmla="*/ 565785 w 3285173"/>
                  <a:gd name="connsiteY57" fmla="*/ 194120 h 347567"/>
                  <a:gd name="connsiteX58" fmla="*/ 603599 w 3285173"/>
                  <a:gd name="connsiteY58" fmla="*/ 194120 h 347567"/>
                  <a:gd name="connsiteX59" fmla="*/ 603599 w 3285173"/>
                  <a:gd name="connsiteY59" fmla="*/ 200311 h 347567"/>
                  <a:gd name="connsiteX60" fmla="*/ 656177 w 3285173"/>
                  <a:gd name="connsiteY60" fmla="*/ 200311 h 347567"/>
                  <a:gd name="connsiteX61" fmla="*/ 656177 w 3285173"/>
                  <a:gd name="connsiteY61" fmla="*/ 206407 h 347567"/>
                  <a:gd name="connsiteX62" fmla="*/ 675132 w 3285173"/>
                  <a:gd name="connsiteY62" fmla="*/ 206407 h 347567"/>
                  <a:gd name="connsiteX63" fmla="*/ 675132 w 3285173"/>
                  <a:gd name="connsiteY63" fmla="*/ 212503 h 347567"/>
                  <a:gd name="connsiteX64" fmla="*/ 685610 w 3285173"/>
                  <a:gd name="connsiteY64" fmla="*/ 212503 h 347567"/>
                  <a:gd name="connsiteX65" fmla="*/ 685610 w 3285173"/>
                  <a:gd name="connsiteY65" fmla="*/ 218694 h 347567"/>
                  <a:gd name="connsiteX66" fmla="*/ 719328 w 3285173"/>
                  <a:gd name="connsiteY66" fmla="*/ 218694 h 347567"/>
                  <a:gd name="connsiteX67" fmla="*/ 719328 w 3285173"/>
                  <a:gd name="connsiteY67" fmla="*/ 224790 h 347567"/>
                  <a:gd name="connsiteX68" fmla="*/ 725615 w 3285173"/>
                  <a:gd name="connsiteY68" fmla="*/ 224790 h 347567"/>
                  <a:gd name="connsiteX69" fmla="*/ 725615 w 3285173"/>
                  <a:gd name="connsiteY69" fmla="*/ 230886 h 347567"/>
                  <a:gd name="connsiteX70" fmla="*/ 740283 w 3285173"/>
                  <a:gd name="connsiteY70" fmla="*/ 230886 h 347567"/>
                  <a:gd name="connsiteX71" fmla="*/ 740283 w 3285173"/>
                  <a:gd name="connsiteY71" fmla="*/ 236982 h 347567"/>
                  <a:gd name="connsiteX72" fmla="*/ 752951 w 3285173"/>
                  <a:gd name="connsiteY72" fmla="*/ 236982 h 347567"/>
                  <a:gd name="connsiteX73" fmla="*/ 752951 w 3285173"/>
                  <a:gd name="connsiteY73" fmla="*/ 243173 h 347567"/>
                  <a:gd name="connsiteX74" fmla="*/ 778193 w 3285173"/>
                  <a:gd name="connsiteY74" fmla="*/ 243173 h 347567"/>
                  <a:gd name="connsiteX75" fmla="*/ 778193 w 3285173"/>
                  <a:gd name="connsiteY75" fmla="*/ 249269 h 347567"/>
                  <a:gd name="connsiteX76" fmla="*/ 1007459 w 3285173"/>
                  <a:gd name="connsiteY76" fmla="*/ 249269 h 347567"/>
                  <a:gd name="connsiteX77" fmla="*/ 1007459 w 3285173"/>
                  <a:gd name="connsiteY77" fmla="*/ 255461 h 347567"/>
                  <a:gd name="connsiteX78" fmla="*/ 1120997 w 3285173"/>
                  <a:gd name="connsiteY78" fmla="*/ 255461 h 347567"/>
                  <a:gd name="connsiteX79" fmla="*/ 1120997 w 3285173"/>
                  <a:gd name="connsiteY79" fmla="*/ 261652 h 347567"/>
                  <a:gd name="connsiteX80" fmla="*/ 1390174 w 3285173"/>
                  <a:gd name="connsiteY80" fmla="*/ 261652 h 347567"/>
                  <a:gd name="connsiteX81" fmla="*/ 1390174 w 3285173"/>
                  <a:gd name="connsiteY81" fmla="*/ 267938 h 347567"/>
                  <a:gd name="connsiteX82" fmla="*/ 1463802 w 3285173"/>
                  <a:gd name="connsiteY82" fmla="*/ 267938 h 347567"/>
                  <a:gd name="connsiteX83" fmla="*/ 1463802 w 3285173"/>
                  <a:gd name="connsiteY83" fmla="*/ 274225 h 347567"/>
                  <a:gd name="connsiteX84" fmla="*/ 1543717 w 3285173"/>
                  <a:gd name="connsiteY84" fmla="*/ 274225 h 347567"/>
                  <a:gd name="connsiteX85" fmla="*/ 1543717 w 3285173"/>
                  <a:gd name="connsiteY85" fmla="*/ 280511 h 347567"/>
                  <a:gd name="connsiteX86" fmla="*/ 1705642 w 3285173"/>
                  <a:gd name="connsiteY86" fmla="*/ 280511 h 347567"/>
                  <a:gd name="connsiteX87" fmla="*/ 1705642 w 3285173"/>
                  <a:gd name="connsiteY87" fmla="*/ 286988 h 347567"/>
                  <a:gd name="connsiteX88" fmla="*/ 1722501 w 3285173"/>
                  <a:gd name="connsiteY88" fmla="*/ 286988 h 347567"/>
                  <a:gd name="connsiteX89" fmla="*/ 1722501 w 3285173"/>
                  <a:gd name="connsiteY89" fmla="*/ 293370 h 347567"/>
                  <a:gd name="connsiteX90" fmla="*/ 1840325 w 3285173"/>
                  <a:gd name="connsiteY90" fmla="*/ 293370 h 347567"/>
                  <a:gd name="connsiteX91" fmla="*/ 1840325 w 3285173"/>
                  <a:gd name="connsiteY91" fmla="*/ 299847 h 347567"/>
                  <a:gd name="connsiteX92" fmla="*/ 1932813 w 3285173"/>
                  <a:gd name="connsiteY92" fmla="*/ 299847 h 347567"/>
                  <a:gd name="connsiteX93" fmla="*/ 1932813 w 3285173"/>
                  <a:gd name="connsiteY93" fmla="*/ 306229 h 347567"/>
                  <a:gd name="connsiteX94" fmla="*/ 1951768 w 3285173"/>
                  <a:gd name="connsiteY94" fmla="*/ 306229 h 347567"/>
                  <a:gd name="connsiteX95" fmla="*/ 1951768 w 3285173"/>
                  <a:gd name="connsiteY95" fmla="*/ 312706 h 347567"/>
                  <a:gd name="connsiteX96" fmla="*/ 2805589 w 3285173"/>
                  <a:gd name="connsiteY96" fmla="*/ 312706 h 347567"/>
                  <a:gd name="connsiteX97" fmla="*/ 2805589 w 3285173"/>
                  <a:gd name="connsiteY97" fmla="*/ 347567 h 347567"/>
                  <a:gd name="connsiteX98" fmla="*/ 3285173 w 3285173"/>
                  <a:gd name="connsiteY98" fmla="*/ 347567 h 347567"/>
                  <a:gd name="connsiteX0" fmla="*/ 0 w 3278886"/>
                  <a:gd name="connsiteY0" fmla="*/ 0 h 335375"/>
                  <a:gd name="connsiteX1" fmla="*/ 18954 w 3278886"/>
                  <a:gd name="connsiteY1" fmla="*/ 0 h 335375"/>
                  <a:gd name="connsiteX2" fmla="*/ 18954 w 3278886"/>
                  <a:gd name="connsiteY2" fmla="*/ 6001 h 335375"/>
                  <a:gd name="connsiteX3" fmla="*/ 27336 w 3278886"/>
                  <a:gd name="connsiteY3" fmla="*/ 6001 h 335375"/>
                  <a:gd name="connsiteX4" fmla="*/ 27336 w 3278886"/>
                  <a:gd name="connsiteY4" fmla="*/ 12097 h 335375"/>
                  <a:gd name="connsiteX5" fmla="*/ 40005 w 3278886"/>
                  <a:gd name="connsiteY5" fmla="*/ 12097 h 335375"/>
                  <a:gd name="connsiteX6" fmla="*/ 40005 w 3278886"/>
                  <a:gd name="connsiteY6" fmla="*/ 18193 h 335375"/>
                  <a:gd name="connsiteX7" fmla="*/ 56864 w 3278886"/>
                  <a:gd name="connsiteY7" fmla="*/ 18193 h 335375"/>
                  <a:gd name="connsiteX8" fmla="*/ 56864 w 3278886"/>
                  <a:gd name="connsiteY8" fmla="*/ 24194 h 335375"/>
                  <a:gd name="connsiteX9" fmla="*/ 84201 w 3278886"/>
                  <a:gd name="connsiteY9" fmla="*/ 24194 h 335375"/>
                  <a:gd name="connsiteX10" fmla="*/ 84201 w 3278886"/>
                  <a:gd name="connsiteY10" fmla="*/ 30290 h 335375"/>
                  <a:gd name="connsiteX11" fmla="*/ 86296 w 3278886"/>
                  <a:gd name="connsiteY11" fmla="*/ 30290 h 335375"/>
                  <a:gd name="connsiteX12" fmla="*/ 86296 w 3278886"/>
                  <a:gd name="connsiteY12" fmla="*/ 36386 h 335375"/>
                  <a:gd name="connsiteX13" fmla="*/ 96773 w 3278886"/>
                  <a:gd name="connsiteY13" fmla="*/ 36386 h 335375"/>
                  <a:gd name="connsiteX14" fmla="*/ 96773 w 3278886"/>
                  <a:gd name="connsiteY14" fmla="*/ 42386 h 335375"/>
                  <a:gd name="connsiteX15" fmla="*/ 103060 w 3278886"/>
                  <a:gd name="connsiteY15" fmla="*/ 42386 h 335375"/>
                  <a:gd name="connsiteX16" fmla="*/ 103060 w 3278886"/>
                  <a:gd name="connsiteY16" fmla="*/ 54578 h 335375"/>
                  <a:gd name="connsiteX17" fmla="*/ 111537 w 3278886"/>
                  <a:gd name="connsiteY17" fmla="*/ 54578 h 335375"/>
                  <a:gd name="connsiteX18" fmla="*/ 111537 w 3278886"/>
                  <a:gd name="connsiteY18" fmla="*/ 60579 h 335375"/>
                  <a:gd name="connsiteX19" fmla="*/ 117824 w 3278886"/>
                  <a:gd name="connsiteY19" fmla="*/ 60579 h 335375"/>
                  <a:gd name="connsiteX20" fmla="*/ 117824 w 3278886"/>
                  <a:gd name="connsiteY20" fmla="*/ 72771 h 335375"/>
                  <a:gd name="connsiteX21" fmla="*/ 119919 w 3278886"/>
                  <a:gd name="connsiteY21" fmla="*/ 72771 h 335375"/>
                  <a:gd name="connsiteX22" fmla="*/ 119919 w 3278886"/>
                  <a:gd name="connsiteY22" fmla="*/ 78867 h 335375"/>
                  <a:gd name="connsiteX23" fmla="*/ 132492 w 3278886"/>
                  <a:gd name="connsiteY23" fmla="*/ 78867 h 335375"/>
                  <a:gd name="connsiteX24" fmla="*/ 132492 w 3278886"/>
                  <a:gd name="connsiteY24" fmla="*/ 84868 h 335375"/>
                  <a:gd name="connsiteX25" fmla="*/ 155638 w 3278886"/>
                  <a:gd name="connsiteY25" fmla="*/ 84868 h 335375"/>
                  <a:gd name="connsiteX26" fmla="*/ 155638 w 3278886"/>
                  <a:gd name="connsiteY26" fmla="*/ 90964 h 335375"/>
                  <a:gd name="connsiteX27" fmla="*/ 162020 w 3278886"/>
                  <a:gd name="connsiteY27" fmla="*/ 90964 h 335375"/>
                  <a:gd name="connsiteX28" fmla="*/ 162020 w 3278886"/>
                  <a:gd name="connsiteY28" fmla="*/ 97060 h 335375"/>
                  <a:gd name="connsiteX29" fmla="*/ 170402 w 3278886"/>
                  <a:gd name="connsiteY29" fmla="*/ 97060 h 335375"/>
                  <a:gd name="connsiteX30" fmla="*/ 170402 w 3278886"/>
                  <a:gd name="connsiteY30" fmla="*/ 103061 h 335375"/>
                  <a:gd name="connsiteX31" fmla="*/ 178784 w 3278886"/>
                  <a:gd name="connsiteY31" fmla="*/ 103061 h 335375"/>
                  <a:gd name="connsiteX32" fmla="*/ 178784 w 3278886"/>
                  <a:gd name="connsiteY32" fmla="*/ 109157 h 335375"/>
                  <a:gd name="connsiteX33" fmla="*/ 182975 w 3278886"/>
                  <a:gd name="connsiteY33" fmla="*/ 109157 h 335375"/>
                  <a:gd name="connsiteX34" fmla="*/ 182975 w 3278886"/>
                  <a:gd name="connsiteY34" fmla="*/ 115253 h 335375"/>
                  <a:gd name="connsiteX35" fmla="*/ 256603 w 3278886"/>
                  <a:gd name="connsiteY35" fmla="*/ 115253 h 335375"/>
                  <a:gd name="connsiteX36" fmla="*/ 256603 w 3278886"/>
                  <a:gd name="connsiteY36" fmla="*/ 121253 h 335375"/>
                  <a:gd name="connsiteX37" fmla="*/ 277653 w 3278886"/>
                  <a:gd name="connsiteY37" fmla="*/ 121253 h 335375"/>
                  <a:gd name="connsiteX38" fmla="*/ 277653 w 3278886"/>
                  <a:gd name="connsiteY38" fmla="*/ 127349 h 335375"/>
                  <a:gd name="connsiteX39" fmla="*/ 283940 w 3278886"/>
                  <a:gd name="connsiteY39" fmla="*/ 127349 h 335375"/>
                  <a:gd name="connsiteX40" fmla="*/ 283940 w 3278886"/>
                  <a:gd name="connsiteY40" fmla="*/ 133445 h 335375"/>
                  <a:gd name="connsiteX41" fmla="*/ 326040 w 3278886"/>
                  <a:gd name="connsiteY41" fmla="*/ 133445 h 335375"/>
                  <a:gd name="connsiteX42" fmla="*/ 326040 w 3278886"/>
                  <a:gd name="connsiteY42" fmla="*/ 139446 h 335375"/>
                  <a:gd name="connsiteX43" fmla="*/ 340709 w 3278886"/>
                  <a:gd name="connsiteY43" fmla="*/ 139446 h 335375"/>
                  <a:gd name="connsiteX44" fmla="*/ 340709 w 3278886"/>
                  <a:gd name="connsiteY44" fmla="*/ 145542 h 335375"/>
                  <a:gd name="connsiteX45" fmla="*/ 370236 w 3278886"/>
                  <a:gd name="connsiteY45" fmla="*/ 145542 h 335375"/>
                  <a:gd name="connsiteX46" fmla="*/ 370236 w 3278886"/>
                  <a:gd name="connsiteY46" fmla="*/ 151638 h 335375"/>
                  <a:gd name="connsiteX47" fmla="*/ 372332 w 3278886"/>
                  <a:gd name="connsiteY47" fmla="*/ 151638 h 335375"/>
                  <a:gd name="connsiteX48" fmla="*/ 372332 w 3278886"/>
                  <a:gd name="connsiteY48" fmla="*/ 157639 h 335375"/>
                  <a:gd name="connsiteX49" fmla="*/ 395382 w 3278886"/>
                  <a:gd name="connsiteY49" fmla="*/ 157639 h 335375"/>
                  <a:gd name="connsiteX50" fmla="*/ 395382 w 3278886"/>
                  <a:gd name="connsiteY50" fmla="*/ 163735 h 335375"/>
                  <a:gd name="connsiteX51" fmla="*/ 408051 w 3278886"/>
                  <a:gd name="connsiteY51" fmla="*/ 163735 h 335375"/>
                  <a:gd name="connsiteX52" fmla="*/ 408051 w 3278886"/>
                  <a:gd name="connsiteY52" fmla="*/ 169831 h 335375"/>
                  <a:gd name="connsiteX53" fmla="*/ 443769 w 3278886"/>
                  <a:gd name="connsiteY53" fmla="*/ 169831 h 335375"/>
                  <a:gd name="connsiteX54" fmla="*/ 443769 w 3278886"/>
                  <a:gd name="connsiteY54" fmla="*/ 175927 h 335375"/>
                  <a:gd name="connsiteX55" fmla="*/ 559498 w 3278886"/>
                  <a:gd name="connsiteY55" fmla="*/ 175927 h 335375"/>
                  <a:gd name="connsiteX56" fmla="*/ 559498 w 3278886"/>
                  <a:gd name="connsiteY56" fmla="*/ 181928 h 335375"/>
                  <a:gd name="connsiteX57" fmla="*/ 597312 w 3278886"/>
                  <a:gd name="connsiteY57" fmla="*/ 181928 h 335375"/>
                  <a:gd name="connsiteX58" fmla="*/ 597312 w 3278886"/>
                  <a:gd name="connsiteY58" fmla="*/ 188119 h 335375"/>
                  <a:gd name="connsiteX59" fmla="*/ 649890 w 3278886"/>
                  <a:gd name="connsiteY59" fmla="*/ 188119 h 335375"/>
                  <a:gd name="connsiteX60" fmla="*/ 649890 w 3278886"/>
                  <a:gd name="connsiteY60" fmla="*/ 194215 h 335375"/>
                  <a:gd name="connsiteX61" fmla="*/ 668845 w 3278886"/>
                  <a:gd name="connsiteY61" fmla="*/ 194215 h 335375"/>
                  <a:gd name="connsiteX62" fmla="*/ 668845 w 3278886"/>
                  <a:gd name="connsiteY62" fmla="*/ 200311 h 335375"/>
                  <a:gd name="connsiteX63" fmla="*/ 679323 w 3278886"/>
                  <a:gd name="connsiteY63" fmla="*/ 200311 h 335375"/>
                  <a:gd name="connsiteX64" fmla="*/ 679323 w 3278886"/>
                  <a:gd name="connsiteY64" fmla="*/ 206502 h 335375"/>
                  <a:gd name="connsiteX65" fmla="*/ 713041 w 3278886"/>
                  <a:gd name="connsiteY65" fmla="*/ 206502 h 335375"/>
                  <a:gd name="connsiteX66" fmla="*/ 713041 w 3278886"/>
                  <a:gd name="connsiteY66" fmla="*/ 212598 h 335375"/>
                  <a:gd name="connsiteX67" fmla="*/ 719328 w 3278886"/>
                  <a:gd name="connsiteY67" fmla="*/ 212598 h 335375"/>
                  <a:gd name="connsiteX68" fmla="*/ 719328 w 3278886"/>
                  <a:gd name="connsiteY68" fmla="*/ 218694 h 335375"/>
                  <a:gd name="connsiteX69" fmla="*/ 733996 w 3278886"/>
                  <a:gd name="connsiteY69" fmla="*/ 218694 h 335375"/>
                  <a:gd name="connsiteX70" fmla="*/ 733996 w 3278886"/>
                  <a:gd name="connsiteY70" fmla="*/ 224790 h 335375"/>
                  <a:gd name="connsiteX71" fmla="*/ 746664 w 3278886"/>
                  <a:gd name="connsiteY71" fmla="*/ 224790 h 335375"/>
                  <a:gd name="connsiteX72" fmla="*/ 746664 w 3278886"/>
                  <a:gd name="connsiteY72" fmla="*/ 230981 h 335375"/>
                  <a:gd name="connsiteX73" fmla="*/ 771906 w 3278886"/>
                  <a:gd name="connsiteY73" fmla="*/ 230981 h 335375"/>
                  <a:gd name="connsiteX74" fmla="*/ 771906 w 3278886"/>
                  <a:gd name="connsiteY74" fmla="*/ 237077 h 335375"/>
                  <a:gd name="connsiteX75" fmla="*/ 1001172 w 3278886"/>
                  <a:gd name="connsiteY75" fmla="*/ 237077 h 335375"/>
                  <a:gd name="connsiteX76" fmla="*/ 1001172 w 3278886"/>
                  <a:gd name="connsiteY76" fmla="*/ 243269 h 335375"/>
                  <a:gd name="connsiteX77" fmla="*/ 1114710 w 3278886"/>
                  <a:gd name="connsiteY77" fmla="*/ 243269 h 335375"/>
                  <a:gd name="connsiteX78" fmla="*/ 1114710 w 3278886"/>
                  <a:gd name="connsiteY78" fmla="*/ 249460 h 335375"/>
                  <a:gd name="connsiteX79" fmla="*/ 1383887 w 3278886"/>
                  <a:gd name="connsiteY79" fmla="*/ 249460 h 335375"/>
                  <a:gd name="connsiteX80" fmla="*/ 1383887 w 3278886"/>
                  <a:gd name="connsiteY80" fmla="*/ 255746 h 335375"/>
                  <a:gd name="connsiteX81" fmla="*/ 1457515 w 3278886"/>
                  <a:gd name="connsiteY81" fmla="*/ 255746 h 335375"/>
                  <a:gd name="connsiteX82" fmla="*/ 1457515 w 3278886"/>
                  <a:gd name="connsiteY82" fmla="*/ 262033 h 335375"/>
                  <a:gd name="connsiteX83" fmla="*/ 1537430 w 3278886"/>
                  <a:gd name="connsiteY83" fmla="*/ 262033 h 335375"/>
                  <a:gd name="connsiteX84" fmla="*/ 1537430 w 3278886"/>
                  <a:gd name="connsiteY84" fmla="*/ 268319 h 335375"/>
                  <a:gd name="connsiteX85" fmla="*/ 1699355 w 3278886"/>
                  <a:gd name="connsiteY85" fmla="*/ 268319 h 335375"/>
                  <a:gd name="connsiteX86" fmla="*/ 1699355 w 3278886"/>
                  <a:gd name="connsiteY86" fmla="*/ 274796 h 335375"/>
                  <a:gd name="connsiteX87" fmla="*/ 1716214 w 3278886"/>
                  <a:gd name="connsiteY87" fmla="*/ 274796 h 335375"/>
                  <a:gd name="connsiteX88" fmla="*/ 1716214 w 3278886"/>
                  <a:gd name="connsiteY88" fmla="*/ 281178 h 335375"/>
                  <a:gd name="connsiteX89" fmla="*/ 1834038 w 3278886"/>
                  <a:gd name="connsiteY89" fmla="*/ 281178 h 335375"/>
                  <a:gd name="connsiteX90" fmla="*/ 1834038 w 3278886"/>
                  <a:gd name="connsiteY90" fmla="*/ 287655 h 335375"/>
                  <a:gd name="connsiteX91" fmla="*/ 1926526 w 3278886"/>
                  <a:gd name="connsiteY91" fmla="*/ 287655 h 335375"/>
                  <a:gd name="connsiteX92" fmla="*/ 1926526 w 3278886"/>
                  <a:gd name="connsiteY92" fmla="*/ 294037 h 335375"/>
                  <a:gd name="connsiteX93" fmla="*/ 1945481 w 3278886"/>
                  <a:gd name="connsiteY93" fmla="*/ 294037 h 335375"/>
                  <a:gd name="connsiteX94" fmla="*/ 1945481 w 3278886"/>
                  <a:gd name="connsiteY94" fmla="*/ 300514 h 335375"/>
                  <a:gd name="connsiteX95" fmla="*/ 2799302 w 3278886"/>
                  <a:gd name="connsiteY95" fmla="*/ 300514 h 335375"/>
                  <a:gd name="connsiteX96" fmla="*/ 2799302 w 3278886"/>
                  <a:gd name="connsiteY96" fmla="*/ 335375 h 335375"/>
                  <a:gd name="connsiteX97" fmla="*/ 3278886 w 3278886"/>
                  <a:gd name="connsiteY97" fmla="*/ 335375 h 335375"/>
                  <a:gd name="connsiteX0" fmla="*/ 0 w 3259932"/>
                  <a:gd name="connsiteY0" fmla="*/ 0 h 335375"/>
                  <a:gd name="connsiteX1" fmla="*/ 0 w 3259932"/>
                  <a:gd name="connsiteY1" fmla="*/ 6001 h 335375"/>
                  <a:gd name="connsiteX2" fmla="*/ 8382 w 3259932"/>
                  <a:gd name="connsiteY2" fmla="*/ 6001 h 335375"/>
                  <a:gd name="connsiteX3" fmla="*/ 8382 w 3259932"/>
                  <a:gd name="connsiteY3" fmla="*/ 12097 h 335375"/>
                  <a:gd name="connsiteX4" fmla="*/ 21051 w 3259932"/>
                  <a:gd name="connsiteY4" fmla="*/ 12097 h 335375"/>
                  <a:gd name="connsiteX5" fmla="*/ 21051 w 3259932"/>
                  <a:gd name="connsiteY5" fmla="*/ 18193 h 335375"/>
                  <a:gd name="connsiteX6" fmla="*/ 37910 w 3259932"/>
                  <a:gd name="connsiteY6" fmla="*/ 18193 h 335375"/>
                  <a:gd name="connsiteX7" fmla="*/ 37910 w 3259932"/>
                  <a:gd name="connsiteY7" fmla="*/ 24194 h 335375"/>
                  <a:gd name="connsiteX8" fmla="*/ 65247 w 3259932"/>
                  <a:gd name="connsiteY8" fmla="*/ 24194 h 335375"/>
                  <a:gd name="connsiteX9" fmla="*/ 65247 w 3259932"/>
                  <a:gd name="connsiteY9" fmla="*/ 30290 h 335375"/>
                  <a:gd name="connsiteX10" fmla="*/ 67342 w 3259932"/>
                  <a:gd name="connsiteY10" fmla="*/ 30290 h 335375"/>
                  <a:gd name="connsiteX11" fmla="*/ 67342 w 3259932"/>
                  <a:gd name="connsiteY11" fmla="*/ 36386 h 335375"/>
                  <a:gd name="connsiteX12" fmla="*/ 77819 w 3259932"/>
                  <a:gd name="connsiteY12" fmla="*/ 36386 h 335375"/>
                  <a:gd name="connsiteX13" fmla="*/ 77819 w 3259932"/>
                  <a:gd name="connsiteY13" fmla="*/ 42386 h 335375"/>
                  <a:gd name="connsiteX14" fmla="*/ 84106 w 3259932"/>
                  <a:gd name="connsiteY14" fmla="*/ 42386 h 335375"/>
                  <a:gd name="connsiteX15" fmla="*/ 84106 w 3259932"/>
                  <a:gd name="connsiteY15" fmla="*/ 54578 h 335375"/>
                  <a:gd name="connsiteX16" fmla="*/ 92583 w 3259932"/>
                  <a:gd name="connsiteY16" fmla="*/ 54578 h 335375"/>
                  <a:gd name="connsiteX17" fmla="*/ 92583 w 3259932"/>
                  <a:gd name="connsiteY17" fmla="*/ 60579 h 335375"/>
                  <a:gd name="connsiteX18" fmla="*/ 98870 w 3259932"/>
                  <a:gd name="connsiteY18" fmla="*/ 60579 h 335375"/>
                  <a:gd name="connsiteX19" fmla="*/ 98870 w 3259932"/>
                  <a:gd name="connsiteY19" fmla="*/ 72771 h 335375"/>
                  <a:gd name="connsiteX20" fmla="*/ 100965 w 3259932"/>
                  <a:gd name="connsiteY20" fmla="*/ 72771 h 335375"/>
                  <a:gd name="connsiteX21" fmla="*/ 100965 w 3259932"/>
                  <a:gd name="connsiteY21" fmla="*/ 78867 h 335375"/>
                  <a:gd name="connsiteX22" fmla="*/ 113538 w 3259932"/>
                  <a:gd name="connsiteY22" fmla="*/ 78867 h 335375"/>
                  <a:gd name="connsiteX23" fmla="*/ 113538 w 3259932"/>
                  <a:gd name="connsiteY23" fmla="*/ 84868 h 335375"/>
                  <a:gd name="connsiteX24" fmla="*/ 136684 w 3259932"/>
                  <a:gd name="connsiteY24" fmla="*/ 84868 h 335375"/>
                  <a:gd name="connsiteX25" fmla="*/ 136684 w 3259932"/>
                  <a:gd name="connsiteY25" fmla="*/ 90964 h 335375"/>
                  <a:gd name="connsiteX26" fmla="*/ 143066 w 3259932"/>
                  <a:gd name="connsiteY26" fmla="*/ 90964 h 335375"/>
                  <a:gd name="connsiteX27" fmla="*/ 143066 w 3259932"/>
                  <a:gd name="connsiteY27" fmla="*/ 97060 h 335375"/>
                  <a:gd name="connsiteX28" fmla="*/ 151448 w 3259932"/>
                  <a:gd name="connsiteY28" fmla="*/ 97060 h 335375"/>
                  <a:gd name="connsiteX29" fmla="*/ 151448 w 3259932"/>
                  <a:gd name="connsiteY29" fmla="*/ 103061 h 335375"/>
                  <a:gd name="connsiteX30" fmla="*/ 159830 w 3259932"/>
                  <a:gd name="connsiteY30" fmla="*/ 103061 h 335375"/>
                  <a:gd name="connsiteX31" fmla="*/ 159830 w 3259932"/>
                  <a:gd name="connsiteY31" fmla="*/ 109157 h 335375"/>
                  <a:gd name="connsiteX32" fmla="*/ 164021 w 3259932"/>
                  <a:gd name="connsiteY32" fmla="*/ 109157 h 335375"/>
                  <a:gd name="connsiteX33" fmla="*/ 164021 w 3259932"/>
                  <a:gd name="connsiteY33" fmla="*/ 115253 h 335375"/>
                  <a:gd name="connsiteX34" fmla="*/ 237649 w 3259932"/>
                  <a:gd name="connsiteY34" fmla="*/ 115253 h 335375"/>
                  <a:gd name="connsiteX35" fmla="*/ 237649 w 3259932"/>
                  <a:gd name="connsiteY35" fmla="*/ 121253 h 335375"/>
                  <a:gd name="connsiteX36" fmla="*/ 258699 w 3259932"/>
                  <a:gd name="connsiteY36" fmla="*/ 121253 h 335375"/>
                  <a:gd name="connsiteX37" fmla="*/ 258699 w 3259932"/>
                  <a:gd name="connsiteY37" fmla="*/ 127349 h 335375"/>
                  <a:gd name="connsiteX38" fmla="*/ 264986 w 3259932"/>
                  <a:gd name="connsiteY38" fmla="*/ 127349 h 335375"/>
                  <a:gd name="connsiteX39" fmla="*/ 264986 w 3259932"/>
                  <a:gd name="connsiteY39" fmla="*/ 133445 h 335375"/>
                  <a:gd name="connsiteX40" fmla="*/ 307086 w 3259932"/>
                  <a:gd name="connsiteY40" fmla="*/ 133445 h 335375"/>
                  <a:gd name="connsiteX41" fmla="*/ 307086 w 3259932"/>
                  <a:gd name="connsiteY41" fmla="*/ 139446 h 335375"/>
                  <a:gd name="connsiteX42" fmla="*/ 321755 w 3259932"/>
                  <a:gd name="connsiteY42" fmla="*/ 139446 h 335375"/>
                  <a:gd name="connsiteX43" fmla="*/ 321755 w 3259932"/>
                  <a:gd name="connsiteY43" fmla="*/ 145542 h 335375"/>
                  <a:gd name="connsiteX44" fmla="*/ 351282 w 3259932"/>
                  <a:gd name="connsiteY44" fmla="*/ 145542 h 335375"/>
                  <a:gd name="connsiteX45" fmla="*/ 351282 w 3259932"/>
                  <a:gd name="connsiteY45" fmla="*/ 151638 h 335375"/>
                  <a:gd name="connsiteX46" fmla="*/ 353378 w 3259932"/>
                  <a:gd name="connsiteY46" fmla="*/ 151638 h 335375"/>
                  <a:gd name="connsiteX47" fmla="*/ 353378 w 3259932"/>
                  <a:gd name="connsiteY47" fmla="*/ 157639 h 335375"/>
                  <a:gd name="connsiteX48" fmla="*/ 376428 w 3259932"/>
                  <a:gd name="connsiteY48" fmla="*/ 157639 h 335375"/>
                  <a:gd name="connsiteX49" fmla="*/ 376428 w 3259932"/>
                  <a:gd name="connsiteY49" fmla="*/ 163735 h 335375"/>
                  <a:gd name="connsiteX50" fmla="*/ 389097 w 3259932"/>
                  <a:gd name="connsiteY50" fmla="*/ 163735 h 335375"/>
                  <a:gd name="connsiteX51" fmla="*/ 389097 w 3259932"/>
                  <a:gd name="connsiteY51" fmla="*/ 169831 h 335375"/>
                  <a:gd name="connsiteX52" fmla="*/ 424815 w 3259932"/>
                  <a:gd name="connsiteY52" fmla="*/ 169831 h 335375"/>
                  <a:gd name="connsiteX53" fmla="*/ 424815 w 3259932"/>
                  <a:gd name="connsiteY53" fmla="*/ 175927 h 335375"/>
                  <a:gd name="connsiteX54" fmla="*/ 540544 w 3259932"/>
                  <a:gd name="connsiteY54" fmla="*/ 175927 h 335375"/>
                  <a:gd name="connsiteX55" fmla="*/ 540544 w 3259932"/>
                  <a:gd name="connsiteY55" fmla="*/ 181928 h 335375"/>
                  <a:gd name="connsiteX56" fmla="*/ 578358 w 3259932"/>
                  <a:gd name="connsiteY56" fmla="*/ 181928 h 335375"/>
                  <a:gd name="connsiteX57" fmla="*/ 578358 w 3259932"/>
                  <a:gd name="connsiteY57" fmla="*/ 188119 h 335375"/>
                  <a:gd name="connsiteX58" fmla="*/ 630936 w 3259932"/>
                  <a:gd name="connsiteY58" fmla="*/ 188119 h 335375"/>
                  <a:gd name="connsiteX59" fmla="*/ 630936 w 3259932"/>
                  <a:gd name="connsiteY59" fmla="*/ 194215 h 335375"/>
                  <a:gd name="connsiteX60" fmla="*/ 649891 w 3259932"/>
                  <a:gd name="connsiteY60" fmla="*/ 194215 h 335375"/>
                  <a:gd name="connsiteX61" fmla="*/ 649891 w 3259932"/>
                  <a:gd name="connsiteY61" fmla="*/ 200311 h 335375"/>
                  <a:gd name="connsiteX62" fmla="*/ 660369 w 3259932"/>
                  <a:gd name="connsiteY62" fmla="*/ 200311 h 335375"/>
                  <a:gd name="connsiteX63" fmla="*/ 660369 w 3259932"/>
                  <a:gd name="connsiteY63" fmla="*/ 206502 h 335375"/>
                  <a:gd name="connsiteX64" fmla="*/ 694087 w 3259932"/>
                  <a:gd name="connsiteY64" fmla="*/ 206502 h 335375"/>
                  <a:gd name="connsiteX65" fmla="*/ 694087 w 3259932"/>
                  <a:gd name="connsiteY65" fmla="*/ 212598 h 335375"/>
                  <a:gd name="connsiteX66" fmla="*/ 700374 w 3259932"/>
                  <a:gd name="connsiteY66" fmla="*/ 212598 h 335375"/>
                  <a:gd name="connsiteX67" fmla="*/ 700374 w 3259932"/>
                  <a:gd name="connsiteY67" fmla="*/ 218694 h 335375"/>
                  <a:gd name="connsiteX68" fmla="*/ 715042 w 3259932"/>
                  <a:gd name="connsiteY68" fmla="*/ 218694 h 335375"/>
                  <a:gd name="connsiteX69" fmla="*/ 715042 w 3259932"/>
                  <a:gd name="connsiteY69" fmla="*/ 224790 h 335375"/>
                  <a:gd name="connsiteX70" fmla="*/ 727710 w 3259932"/>
                  <a:gd name="connsiteY70" fmla="*/ 224790 h 335375"/>
                  <a:gd name="connsiteX71" fmla="*/ 727710 w 3259932"/>
                  <a:gd name="connsiteY71" fmla="*/ 230981 h 335375"/>
                  <a:gd name="connsiteX72" fmla="*/ 752952 w 3259932"/>
                  <a:gd name="connsiteY72" fmla="*/ 230981 h 335375"/>
                  <a:gd name="connsiteX73" fmla="*/ 752952 w 3259932"/>
                  <a:gd name="connsiteY73" fmla="*/ 237077 h 335375"/>
                  <a:gd name="connsiteX74" fmla="*/ 982218 w 3259932"/>
                  <a:gd name="connsiteY74" fmla="*/ 237077 h 335375"/>
                  <a:gd name="connsiteX75" fmla="*/ 982218 w 3259932"/>
                  <a:gd name="connsiteY75" fmla="*/ 243269 h 335375"/>
                  <a:gd name="connsiteX76" fmla="*/ 1095756 w 3259932"/>
                  <a:gd name="connsiteY76" fmla="*/ 243269 h 335375"/>
                  <a:gd name="connsiteX77" fmla="*/ 1095756 w 3259932"/>
                  <a:gd name="connsiteY77" fmla="*/ 249460 h 335375"/>
                  <a:gd name="connsiteX78" fmla="*/ 1364933 w 3259932"/>
                  <a:gd name="connsiteY78" fmla="*/ 249460 h 335375"/>
                  <a:gd name="connsiteX79" fmla="*/ 1364933 w 3259932"/>
                  <a:gd name="connsiteY79" fmla="*/ 255746 h 335375"/>
                  <a:gd name="connsiteX80" fmla="*/ 1438561 w 3259932"/>
                  <a:gd name="connsiteY80" fmla="*/ 255746 h 335375"/>
                  <a:gd name="connsiteX81" fmla="*/ 1438561 w 3259932"/>
                  <a:gd name="connsiteY81" fmla="*/ 262033 h 335375"/>
                  <a:gd name="connsiteX82" fmla="*/ 1518476 w 3259932"/>
                  <a:gd name="connsiteY82" fmla="*/ 262033 h 335375"/>
                  <a:gd name="connsiteX83" fmla="*/ 1518476 w 3259932"/>
                  <a:gd name="connsiteY83" fmla="*/ 268319 h 335375"/>
                  <a:gd name="connsiteX84" fmla="*/ 1680401 w 3259932"/>
                  <a:gd name="connsiteY84" fmla="*/ 268319 h 335375"/>
                  <a:gd name="connsiteX85" fmla="*/ 1680401 w 3259932"/>
                  <a:gd name="connsiteY85" fmla="*/ 274796 h 335375"/>
                  <a:gd name="connsiteX86" fmla="*/ 1697260 w 3259932"/>
                  <a:gd name="connsiteY86" fmla="*/ 274796 h 335375"/>
                  <a:gd name="connsiteX87" fmla="*/ 1697260 w 3259932"/>
                  <a:gd name="connsiteY87" fmla="*/ 281178 h 335375"/>
                  <a:gd name="connsiteX88" fmla="*/ 1815084 w 3259932"/>
                  <a:gd name="connsiteY88" fmla="*/ 281178 h 335375"/>
                  <a:gd name="connsiteX89" fmla="*/ 1815084 w 3259932"/>
                  <a:gd name="connsiteY89" fmla="*/ 287655 h 335375"/>
                  <a:gd name="connsiteX90" fmla="*/ 1907572 w 3259932"/>
                  <a:gd name="connsiteY90" fmla="*/ 287655 h 335375"/>
                  <a:gd name="connsiteX91" fmla="*/ 1907572 w 3259932"/>
                  <a:gd name="connsiteY91" fmla="*/ 294037 h 335375"/>
                  <a:gd name="connsiteX92" fmla="*/ 1926527 w 3259932"/>
                  <a:gd name="connsiteY92" fmla="*/ 294037 h 335375"/>
                  <a:gd name="connsiteX93" fmla="*/ 1926527 w 3259932"/>
                  <a:gd name="connsiteY93" fmla="*/ 300514 h 335375"/>
                  <a:gd name="connsiteX94" fmla="*/ 2780348 w 3259932"/>
                  <a:gd name="connsiteY94" fmla="*/ 300514 h 335375"/>
                  <a:gd name="connsiteX95" fmla="*/ 2780348 w 3259932"/>
                  <a:gd name="connsiteY95" fmla="*/ 335375 h 335375"/>
                  <a:gd name="connsiteX96" fmla="*/ 3259932 w 3259932"/>
                  <a:gd name="connsiteY96" fmla="*/ 335375 h 335375"/>
                  <a:gd name="connsiteX0" fmla="*/ 0 w 3259932"/>
                  <a:gd name="connsiteY0" fmla="*/ 0 h 335375"/>
                  <a:gd name="connsiteX1" fmla="*/ 0 w 3259932"/>
                  <a:gd name="connsiteY1" fmla="*/ 6001 h 335375"/>
                  <a:gd name="connsiteX2" fmla="*/ 8382 w 3259932"/>
                  <a:gd name="connsiteY2" fmla="*/ 12097 h 335375"/>
                  <a:gd name="connsiteX3" fmla="*/ 21051 w 3259932"/>
                  <a:gd name="connsiteY3" fmla="*/ 12097 h 335375"/>
                  <a:gd name="connsiteX4" fmla="*/ 21051 w 3259932"/>
                  <a:gd name="connsiteY4" fmla="*/ 18193 h 335375"/>
                  <a:gd name="connsiteX5" fmla="*/ 37910 w 3259932"/>
                  <a:gd name="connsiteY5" fmla="*/ 18193 h 335375"/>
                  <a:gd name="connsiteX6" fmla="*/ 37910 w 3259932"/>
                  <a:gd name="connsiteY6" fmla="*/ 24194 h 335375"/>
                  <a:gd name="connsiteX7" fmla="*/ 65247 w 3259932"/>
                  <a:gd name="connsiteY7" fmla="*/ 24194 h 335375"/>
                  <a:gd name="connsiteX8" fmla="*/ 65247 w 3259932"/>
                  <a:gd name="connsiteY8" fmla="*/ 30290 h 335375"/>
                  <a:gd name="connsiteX9" fmla="*/ 67342 w 3259932"/>
                  <a:gd name="connsiteY9" fmla="*/ 30290 h 335375"/>
                  <a:gd name="connsiteX10" fmla="*/ 67342 w 3259932"/>
                  <a:gd name="connsiteY10" fmla="*/ 36386 h 335375"/>
                  <a:gd name="connsiteX11" fmla="*/ 77819 w 3259932"/>
                  <a:gd name="connsiteY11" fmla="*/ 36386 h 335375"/>
                  <a:gd name="connsiteX12" fmla="*/ 77819 w 3259932"/>
                  <a:gd name="connsiteY12" fmla="*/ 42386 h 335375"/>
                  <a:gd name="connsiteX13" fmla="*/ 84106 w 3259932"/>
                  <a:gd name="connsiteY13" fmla="*/ 42386 h 335375"/>
                  <a:gd name="connsiteX14" fmla="*/ 84106 w 3259932"/>
                  <a:gd name="connsiteY14" fmla="*/ 54578 h 335375"/>
                  <a:gd name="connsiteX15" fmla="*/ 92583 w 3259932"/>
                  <a:gd name="connsiteY15" fmla="*/ 54578 h 335375"/>
                  <a:gd name="connsiteX16" fmla="*/ 92583 w 3259932"/>
                  <a:gd name="connsiteY16" fmla="*/ 60579 h 335375"/>
                  <a:gd name="connsiteX17" fmla="*/ 98870 w 3259932"/>
                  <a:gd name="connsiteY17" fmla="*/ 60579 h 335375"/>
                  <a:gd name="connsiteX18" fmla="*/ 98870 w 3259932"/>
                  <a:gd name="connsiteY18" fmla="*/ 72771 h 335375"/>
                  <a:gd name="connsiteX19" fmla="*/ 100965 w 3259932"/>
                  <a:gd name="connsiteY19" fmla="*/ 72771 h 335375"/>
                  <a:gd name="connsiteX20" fmla="*/ 100965 w 3259932"/>
                  <a:gd name="connsiteY20" fmla="*/ 78867 h 335375"/>
                  <a:gd name="connsiteX21" fmla="*/ 113538 w 3259932"/>
                  <a:gd name="connsiteY21" fmla="*/ 78867 h 335375"/>
                  <a:gd name="connsiteX22" fmla="*/ 113538 w 3259932"/>
                  <a:gd name="connsiteY22" fmla="*/ 84868 h 335375"/>
                  <a:gd name="connsiteX23" fmla="*/ 136684 w 3259932"/>
                  <a:gd name="connsiteY23" fmla="*/ 84868 h 335375"/>
                  <a:gd name="connsiteX24" fmla="*/ 136684 w 3259932"/>
                  <a:gd name="connsiteY24" fmla="*/ 90964 h 335375"/>
                  <a:gd name="connsiteX25" fmla="*/ 143066 w 3259932"/>
                  <a:gd name="connsiteY25" fmla="*/ 90964 h 335375"/>
                  <a:gd name="connsiteX26" fmla="*/ 143066 w 3259932"/>
                  <a:gd name="connsiteY26" fmla="*/ 97060 h 335375"/>
                  <a:gd name="connsiteX27" fmla="*/ 151448 w 3259932"/>
                  <a:gd name="connsiteY27" fmla="*/ 97060 h 335375"/>
                  <a:gd name="connsiteX28" fmla="*/ 151448 w 3259932"/>
                  <a:gd name="connsiteY28" fmla="*/ 103061 h 335375"/>
                  <a:gd name="connsiteX29" fmla="*/ 159830 w 3259932"/>
                  <a:gd name="connsiteY29" fmla="*/ 103061 h 335375"/>
                  <a:gd name="connsiteX30" fmla="*/ 159830 w 3259932"/>
                  <a:gd name="connsiteY30" fmla="*/ 109157 h 335375"/>
                  <a:gd name="connsiteX31" fmla="*/ 164021 w 3259932"/>
                  <a:gd name="connsiteY31" fmla="*/ 109157 h 335375"/>
                  <a:gd name="connsiteX32" fmla="*/ 164021 w 3259932"/>
                  <a:gd name="connsiteY32" fmla="*/ 115253 h 335375"/>
                  <a:gd name="connsiteX33" fmla="*/ 237649 w 3259932"/>
                  <a:gd name="connsiteY33" fmla="*/ 115253 h 335375"/>
                  <a:gd name="connsiteX34" fmla="*/ 237649 w 3259932"/>
                  <a:gd name="connsiteY34" fmla="*/ 121253 h 335375"/>
                  <a:gd name="connsiteX35" fmla="*/ 258699 w 3259932"/>
                  <a:gd name="connsiteY35" fmla="*/ 121253 h 335375"/>
                  <a:gd name="connsiteX36" fmla="*/ 258699 w 3259932"/>
                  <a:gd name="connsiteY36" fmla="*/ 127349 h 335375"/>
                  <a:gd name="connsiteX37" fmla="*/ 264986 w 3259932"/>
                  <a:gd name="connsiteY37" fmla="*/ 127349 h 335375"/>
                  <a:gd name="connsiteX38" fmla="*/ 264986 w 3259932"/>
                  <a:gd name="connsiteY38" fmla="*/ 133445 h 335375"/>
                  <a:gd name="connsiteX39" fmla="*/ 307086 w 3259932"/>
                  <a:gd name="connsiteY39" fmla="*/ 133445 h 335375"/>
                  <a:gd name="connsiteX40" fmla="*/ 307086 w 3259932"/>
                  <a:gd name="connsiteY40" fmla="*/ 139446 h 335375"/>
                  <a:gd name="connsiteX41" fmla="*/ 321755 w 3259932"/>
                  <a:gd name="connsiteY41" fmla="*/ 139446 h 335375"/>
                  <a:gd name="connsiteX42" fmla="*/ 321755 w 3259932"/>
                  <a:gd name="connsiteY42" fmla="*/ 145542 h 335375"/>
                  <a:gd name="connsiteX43" fmla="*/ 351282 w 3259932"/>
                  <a:gd name="connsiteY43" fmla="*/ 145542 h 335375"/>
                  <a:gd name="connsiteX44" fmla="*/ 351282 w 3259932"/>
                  <a:gd name="connsiteY44" fmla="*/ 151638 h 335375"/>
                  <a:gd name="connsiteX45" fmla="*/ 353378 w 3259932"/>
                  <a:gd name="connsiteY45" fmla="*/ 151638 h 335375"/>
                  <a:gd name="connsiteX46" fmla="*/ 353378 w 3259932"/>
                  <a:gd name="connsiteY46" fmla="*/ 157639 h 335375"/>
                  <a:gd name="connsiteX47" fmla="*/ 376428 w 3259932"/>
                  <a:gd name="connsiteY47" fmla="*/ 157639 h 335375"/>
                  <a:gd name="connsiteX48" fmla="*/ 376428 w 3259932"/>
                  <a:gd name="connsiteY48" fmla="*/ 163735 h 335375"/>
                  <a:gd name="connsiteX49" fmla="*/ 389097 w 3259932"/>
                  <a:gd name="connsiteY49" fmla="*/ 163735 h 335375"/>
                  <a:gd name="connsiteX50" fmla="*/ 389097 w 3259932"/>
                  <a:gd name="connsiteY50" fmla="*/ 169831 h 335375"/>
                  <a:gd name="connsiteX51" fmla="*/ 424815 w 3259932"/>
                  <a:gd name="connsiteY51" fmla="*/ 169831 h 335375"/>
                  <a:gd name="connsiteX52" fmla="*/ 424815 w 3259932"/>
                  <a:gd name="connsiteY52" fmla="*/ 175927 h 335375"/>
                  <a:gd name="connsiteX53" fmla="*/ 540544 w 3259932"/>
                  <a:gd name="connsiteY53" fmla="*/ 175927 h 335375"/>
                  <a:gd name="connsiteX54" fmla="*/ 540544 w 3259932"/>
                  <a:gd name="connsiteY54" fmla="*/ 181928 h 335375"/>
                  <a:gd name="connsiteX55" fmla="*/ 578358 w 3259932"/>
                  <a:gd name="connsiteY55" fmla="*/ 181928 h 335375"/>
                  <a:gd name="connsiteX56" fmla="*/ 578358 w 3259932"/>
                  <a:gd name="connsiteY56" fmla="*/ 188119 h 335375"/>
                  <a:gd name="connsiteX57" fmla="*/ 630936 w 3259932"/>
                  <a:gd name="connsiteY57" fmla="*/ 188119 h 335375"/>
                  <a:gd name="connsiteX58" fmla="*/ 630936 w 3259932"/>
                  <a:gd name="connsiteY58" fmla="*/ 194215 h 335375"/>
                  <a:gd name="connsiteX59" fmla="*/ 649891 w 3259932"/>
                  <a:gd name="connsiteY59" fmla="*/ 194215 h 335375"/>
                  <a:gd name="connsiteX60" fmla="*/ 649891 w 3259932"/>
                  <a:gd name="connsiteY60" fmla="*/ 200311 h 335375"/>
                  <a:gd name="connsiteX61" fmla="*/ 660369 w 3259932"/>
                  <a:gd name="connsiteY61" fmla="*/ 200311 h 335375"/>
                  <a:gd name="connsiteX62" fmla="*/ 660369 w 3259932"/>
                  <a:gd name="connsiteY62" fmla="*/ 206502 h 335375"/>
                  <a:gd name="connsiteX63" fmla="*/ 694087 w 3259932"/>
                  <a:gd name="connsiteY63" fmla="*/ 206502 h 335375"/>
                  <a:gd name="connsiteX64" fmla="*/ 694087 w 3259932"/>
                  <a:gd name="connsiteY64" fmla="*/ 212598 h 335375"/>
                  <a:gd name="connsiteX65" fmla="*/ 700374 w 3259932"/>
                  <a:gd name="connsiteY65" fmla="*/ 212598 h 335375"/>
                  <a:gd name="connsiteX66" fmla="*/ 700374 w 3259932"/>
                  <a:gd name="connsiteY66" fmla="*/ 218694 h 335375"/>
                  <a:gd name="connsiteX67" fmla="*/ 715042 w 3259932"/>
                  <a:gd name="connsiteY67" fmla="*/ 218694 h 335375"/>
                  <a:gd name="connsiteX68" fmla="*/ 715042 w 3259932"/>
                  <a:gd name="connsiteY68" fmla="*/ 224790 h 335375"/>
                  <a:gd name="connsiteX69" fmla="*/ 727710 w 3259932"/>
                  <a:gd name="connsiteY69" fmla="*/ 224790 h 335375"/>
                  <a:gd name="connsiteX70" fmla="*/ 727710 w 3259932"/>
                  <a:gd name="connsiteY70" fmla="*/ 230981 h 335375"/>
                  <a:gd name="connsiteX71" fmla="*/ 752952 w 3259932"/>
                  <a:gd name="connsiteY71" fmla="*/ 230981 h 335375"/>
                  <a:gd name="connsiteX72" fmla="*/ 752952 w 3259932"/>
                  <a:gd name="connsiteY72" fmla="*/ 237077 h 335375"/>
                  <a:gd name="connsiteX73" fmla="*/ 982218 w 3259932"/>
                  <a:gd name="connsiteY73" fmla="*/ 237077 h 335375"/>
                  <a:gd name="connsiteX74" fmla="*/ 982218 w 3259932"/>
                  <a:gd name="connsiteY74" fmla="*/ 243269 h 335375"/>
                  <a:gd name="connsiteX75" fmla="*/ 1095756 w 3259932"/>
                  <a:gd name="connsiteY75" fmla="*/ 243269 h 335375"/>
                  <a:gd name="connsiteX76" fmla="*/ 1095756 w 3259932"/>
                  <a:gd name="connsiteY76" fmla="*/ 249460 h 335375"/>
                  <a:gd name="connsiteX77" fmla="*/ 1364933 w 3259932"/>
                  <a:gd name="connsiteY77" fmla="*/ 249460 h 335375"/>
                  <a:gd name="connsiteX78" fmla="*/ 1364933 w 3259932"/>
                  <a:gd name="connsiteY78" fmla="*/ 255746 h 335375"/>
                  <a:gd name="connsiteX79" fmla="*/ 1438561 w 3259932"/>
                  <a:gd name="connsiteY79" fmla="*/ 255746 h 335375"/>
                  <a:gd name="connsiteX80" fmla="*/ 1438561 w 3259932"/>
                  <a:gd name="connsiteY80" fmla="*/ 262033 h 335375"/>
                  <a:gd name="connsiteX81" fmla="*/ 1518476 w 3259932"/>
                  <a:gd name="connsiteY81" fmla="*/ 262033 h 335375"/>
                  <a:gd name="connsiteX82" fmla="*/ 1518476 w 3259932"/>
                  <a:gd name="connsiteY82" fmla="*/ 268319 h 335375"/>
                  <a:gd name="connsiteX83" fmla="*/ 1680401 w 3259932"/>
                  <a:gd name="connsiteY83" fmla="*/ 268319 h 335375"/>
                  <a:gd name="connsiteX84" fmla="*/ 1680401 w 3259932"/>
                  <a:gd name="connsiteY84" fmla="*/ 274796 h 335375"/>
                  <a:gd name="connsiteX85" fmla="*/ 1697260 w 3259932"/>
                  <a:gd name="connsiteY85" fmla="*/ 274796 h 335375"/>
                  <a:gd name="connsiteX86" fmla="*/ 1697260 w 3259932"/>
                  <a:gd name="connsiteY86" fmla="*/ 281178 h 335375"/>
                  <a:gd name="connsiteX87" fmla="*/ 1815084 w 3259932"/>
                  <a:gd name="connsiteY87" fmla="*/ 281178 h 335375"/>
                  <a:gd name="connsiteX88" fmla="*/ 1815084 w 3259932"/>
                  <a:gd name="connsiteY88" fmla="*/ 287655 h 335375"/>
                  <a:gd name="connsiteX89" fmla="*/ 1907572 w 3259932"/>
                  <a:gd name="connsiteY89" fmla="*/ 287655 h 335375"/>
                  <a:gd name="connsiteX90" fmla="*/ 1907572 w 3259932"/>
                  <a:gd name="connsiteY90" fmla="*/ 294037 h 335375"/>
                  <a:gd name="connsiteX91" fmla="*/ 1926527 w 3259932"/>
                  <a:gd name="connsiteY91" fmla="*/ 294037 h 335375"/>
                  <a:gd name="connsiteX92" fmla="*/ 1926527 w 3259932"/>
                  <a:gd name="connsiteY92" fmla="*/ 300514 h 335375"/>
                  <a:gd name="connsiteX93" fmla="*/ 2780348 w 3259932"/>
                  <a:gd name="connsiteY93" fmla="*/ 300514 h 335375"/>
                  <a:gd name="connsiteX94" fmla="*/ 2780348 w 3259932"/>
                  <a:gd name="connsiteY94" fmla="*/ 335375 h 335375"/>
                  <a:gd name="connsiteX95" fmla="*/ 3259932 w 3259932"/>
                  <a:gd name="connsiteY95" fmla="*/ 335375 h 335375"/>
                  <a:gd name="connsiteX0" fmla="*/ 0 w 3259932"/>
                  <a:gd name="connsiteY0" fmla="*/ 0 h 335375"/>
                  <a:gd name="connsiteX1" fmla="*/ 0 w 3259932"/>
                  <a:gd name="connsiteY1" fmla="*/ 6001 h 335375"/>
                  <a:gd name="connsiteX2" fmla="*/ 21051 w 3259932"/>
                  <a:gd name="connsiteY2" fmla="*/ 12097 h 335375"/>
                  <a:gd name="connsiteX3" fmla="*/ 21051 w 3259932"/>
                  <a:gd name="connsiteY3" fmla="*/ 18193 h 335375"/>
                  <a:gd name="connsiteX4" fmla="*/ 37910 w 3259932"/>
                  <a:gd name="connsiteY4" fmla="*/ 18193 h 335375"/>
                  <a:gd name="connsiteX5" fmla="*/ 37910 w 3259932"/>
                  <a:gd name="connsiteY5" fmla="*/ 24194 h 335375"/>
                  <a:gd name="connsiteX6" fmla="*/ 65247 w 3259932"/>
                  <a:gd name="connsiteY6" fmla="*/ 24194 h 335375"/>
                  <a:gd name="connsiteX7" fmla="*/ 65247 w 3259932"/>
                  <a:gd name="connsiteY7" fmla="*/ 30290 h 335375"/>
                  <a:gd name="connsiteX8" fmla="*/ 67342 w 3259932"/>
                  <a:gd name="connsiteY8" fmla="*/ 30290 h 335375"/>
                  <a:gd name="connsiteX9" fmla="*/ 67342 w 3259932"/>
                  <a:gd name="connsiteY9" fmla="*/ 36386 h 335375"/>
                  <a:gd name="connsiteX10" fmla="*/ 77819 w 3259932"/>
                  <a:gd name="connsiteY10" fmla="*/ 36386 h 335375"/>
                  <a:gd name="connsiteX11" fmla="*/ 77819 w 3259932"/>
                  <a:gd name="connsiteY11" fmla="*/ 42386 h 335375"/>
                  <a:gd name="connsiteX12" fmla="*/ 84106 w 3259932"/>
                  <a:gd name="connsiteY12" fmla="*/ 42386 h 335375"/>
                  <a:gd name="connsiteX13" fmla="*/ 84106 w 3259932"/>
                  <a:gd name="connsiteY13" fmla="*/ 54578 h 335375"/>
                  <a:gd name="connsiteX14" fmla="*/ 92583 w 3259932"/>
                  <a:gd name="connsiteY14" fmla="*/ 54578 h 335375"/>
                  <a:gd name="connsiteX15" fmla="*/ 92583 w 3259932"/>
                  <a:gd name="connsiteY15" fmla="*/ 60579 h 335375"/>
                  <a:gd name="connsiteX16" fmla="*/ 98870 w 3259932"/>
                  <a:gd name="connsiteY16" fmla="*/ 60579 h 335375"/>
                  <a:gd name="connsiteX17" fmla="*/ 98870 w 3259932"/>
                  <a:gd name="connsiteY17" fmla="*/ 72771 h 335375"/>
                  <a:gd name="connsiteX18" fmla="*/ 100965 w 3259932"/>
                  <a:gd name="connsiteY18" fmla="*/ 72771 h 335375"/>
                  <a:gd name="connsiteX19" fmla="*/ 100965 w 3259932"/>
                  <a:gd name="connsiteY19" fmla="*/ 78867 h 335375"/>
                  <a:gd name="connsiteX20" fmla="*/ 113538 w 3259932"/>
                  <a:gd name="connsiteY20" fmla="*/ 78867 h 335375"/>
                  <a:gd name="connsiteX21" fmla="*/ 113538 w 3259932"/>
                  <a:gd name="connsiteY21" fmla="*/ 84868 h 335375"/>
                  <a:gd name="connsiteX22" fmla="*/ 136684 w 3259932"/>
                  <a:gd name="connsiteY22" fmla="*/ 84868 h 335375"/>
                  <a:gd name="connsiteX23" fmla="*/ 136684 w 3259932"/>
                  <a:gd name="connsiteY23" fmla="*/ 90964 h 335375"/>
                  <a:gd name="connsiteX24" fmla="*/ 143066 w 3259932"/>
                  <a:gd name="connsiteY24" fmla="*/ 90964 h 335375"/>
                  <a:gd name="connsiteX25" fmla="*/ 143066 w 3259932"/>
                  <a:gd name="connsiteY25" fmla="*/ 97060 h 335375"/>
                  <a:gd name="connsiteX26" fmla="*/ 151448 w 3259932"/>
                  <a:gd name="connsiteY26" fmla="*/ 97060 h 335375"/>
                  <a:gd name="connsiteX27" fmla="*/ 151448 w 3259932"/>
                  <a:gd name="connsiteY27" fmla="*/ 103061 h 335375"/>
                  <a:gd name="connsiteX28" fmla="*/ 159830 w 3259932"/>
                  <a:gd name="connsiteY28" fmla="*/ 103061 h 335375"/>
                  <a:gd name="connsiteX29" fmla="*/ 159830 w 3259932"/>
                  <a:gd name="connsiteY29" fmla="*/ 109157 h 335375"/>
                  <a:gd name="connsiteX30" fmla="*/ 164021 w 3259932"/>
                  <a:gd name="connsiteY30" fmla="*/ 109157 h 335375"/>
                  <a:gd name="connsiteX31" fmla="*/ 164021 w 3259932"/>
                  <a:gd name="connsiteY31" fmla="*/ 115253 h 335375"/>
                  <a:gd name="connsiteX32" fmla="*/ 237649 w 3259932"/>
                  <a:gd name="connsiteY32" fmla="*/ 115253 h 335375"/>
                  <a:gd name="connsiteX33" fmla="*/ 237649 w 3259932"/>
                  <a:gd name="connsiteY33" fmla="*/ 121253 h 335375"/>
                  <a:gd name="connsiteX34" fmla="*/ 258699 w 3259932"/>
                  <a:gd name="connsiteY34" fmla="*/ 121253 h 335375"/>
                  <a:gd name="connsiteX35" fmla="*/ 258699 w 3259932"/>
                  <a:gd name="connsiteY35" fmla="*/ 127349 h 335375"/>
                  <a:gd name="connsiteX36" fmla="*/ 264986 w 3259932"/>
                  <a:gd name="connsiteY36" fmla="*/ 127349 h 335375"/>
                  <a:gd name="connsiteX37" fmla="*/ 264986 w 3259932"/>
                  <a:gd name="connsiteY37" fmla="*/ 133445 h 335375"/>
                  <a:gd name="connsiteX38" fmla="*/ 307086 w 3259932"/>
                  <a:gd name="connsiteY38" fmla="*/ 133445 h 335375"/>
                  <a:gd name="connsiteX39" fmla="*/ 307086 w 3259932"/>
                  <a:gd name="connsiteY39" fmla="*/ 139446 h 335375"/>
                  <a:gd name="connsiteX40" fmla="*/ 321755 w 3259932"/>
                  <a:gd name="connsiteY40" fmla="*/ 139446 h 335375"/>
                  <a:gd name="connsiteX41" fmla="*/ 321755 w 3259932"/>
                  <a:gd name="connsiteY41" fmla="*/ 145542 h 335375"/>
                  <a:gd name="connsiteX42" fmla="*/ 351282 w 3259932"/>
                  <a:gd name="connsiteY42" fmla="*/ 145542 h 335375"/>
                  <a:gd name="connsiteX43" fmla="*/ 351282 w 3259932"/>
                  <a:gd name="connsiteY43" fmla="*/ 151638 h 335375"/>
                  <a:gd name="connsiteX44" fmla="*/ 353378 w 3259932"/>
                  <a:gd name="connsiteY44" fmla="*/ 151638 h 335375"/>
                  <a:gd name="connsiteX45" fmla="*/ 353378 w 3259932"/>
                  <a:gd name="connsiteY45" fmla="*/ 157639 h 335375"/>
                  <a:gd name="connsiteX46" fmla="*/ 376428 w 3259932"/>
                  <a:gd name="connsiteY46" fmla="*/ 157639 h 335375"/>
                  <a:gd name="connsiteX47" fmla="*/ 376428 w 3259932"/>
                  <a:gd name="connsiteY47" fmla="*/ 163735 h 335375"/>
                  <a:gd name="connsiteX48" fmla="*/ 389097 w 3259932"/>
                  <a:gd name="connsiteY48" fmla="*/ 163735 h 335375"/>
                  <a:gd name="connsiteX49" fmla="*/ 389097 w 3259932"/>
                  <a:gd name="connsiteY49" fmla="*/ 169831 h 335375"/>
                  <a:gd name="connsiteX50" fmla="*/ 424815 w 3259932"/>
                  <a:gd name="connsiteY50" fmla="*/ 169831 h 335375"/>
                  <a:gd name="connsiteX51" fmla="*/ 424815 w 3259932"/>
                  <a:gd name="connsiteY51" fmla="*/ 175927 h 335375"/>
                  <a:gd name="connsiteX52" fmla="*/ 540544 w 3259932"/>
                  <a:gd name="connsiteY52" fmla="*/ 175927 h 335375"/>
                  <a:gd name="connsiteX53" fmla="*/ 540544 w 3259932"/>
                  <a:gd name="connsiteY53" fmla="*/ 181928 h 335375"/>
                  <a:gd name="connsiteX54" fmla="*/ 578358 w 3259932"/>
                  <a:gd name="connsiteY54" fmla="*/ 181928 h 335375"/>
                  <a:gd name="connsiteX55" fmla="*/ 578358 w 3259932"/>
                  <a:gd name="connsiteY55" fmla="*/ 188119 h 335375"/>
                  <a:gd name="connsiteX56" fmla="*/ 630936 w 3259932"/>
                  <a:gd name="connsiteY56" fmla="*/ 188119 h 335375"/>
                  <a:gd name="connsiteX57" fmla="*/ 630936 w 3259932"/>
                  <a:gd name="connsiteY57" fmla="*/ 194215 h 335375"/>
                  <a:gd name="connsiteX58" fmla="*/ 649891 w 3259932"/>
                  <a:gd name="connsiteY58" fmla="*/ 194215 h 335375"/>
                  <a:gd name="connsiteX59" fmla="*/ 649891 w 3259932"/>
                  <a:gd name="connsiteY59" fmla="*/ 200311 h 335375"/>
                  <a:gd name="connsiteX60" fmla="*/ 660369 w 3259932"/>
                  <a:gd name="connsiteY60" fmla="*/ 200311 h 335375"/>
                  <a:gd name="connsiteX61" fmla="*/ 660369 w 3259932"/>
                  <a:gd name="connsiteY61" fmla="*/ 206502 h 335375"/>
                  <a:gd name="connsiteX62" fmla="*/ 694087 w 3259932"/>
                  <a:gd name="connsiteY62" fmla="*/ 206502 h 335375"/>
                  <a:gd name="connsiteX63" fmla="*/ 694087 w 3259932"/>
                  <a:gd name="connsiteY63" fmla="*/ 212598 h 335375"/>
                  <a:gd name="connsiteX64" fmla="*/ 700374 w 3259932"/>
                  <a:gd name="connsiteY64" fmla="*/ 212598 h 335375"/>
                  <a:gd name="connsiteX65" fmla="*/ 700374 w 3259932"/>
                  <a:gd name="connsiteY65" fmla="*/ 218694 h 335375"/>
                  <a:gd name="connsiteX66" fmla="*/ 715042 w 3259932"/>
                  <a:gd name="connsiteY66" fmla="*/ 218694 h 335375"/>
                  <a:gd name="connsiteX67" fmla="*/ 715042 w 3259932"/>
                  <a:gd name="connsiteY67" fmla="*/ 224790 h 335375"/>
                  <a:gd name="connsiteX68" fmla="*/ 727710 w 3259932"/>
                  <a:gd name="connsiteY68" fmla="*/ 224790 h 335375"/>
                  <a:gd name="connsiteX69" fmla="*/ 727710 w 3259932"/>
                  <a:gd name="connsiteY69" fmla="*/ 230981 h 335375"/>
                  <a:gd name="connsiteX70" fmla="*/ 752952 w 3259932"/>
                  <a:gd name="connsiteY70" fmla="*/ 230981 h 335375"/>
                  <a:gd name="connsiteX71" fmla="*/ 752952 w 3259932"/>
                  <a:gd name="connsiteY71" fmla="*/ 237077 h 335375"/>
                  <a:gd name="connsiteX72" fmla="*/ 982218 w 3259932"/>
                  <a:gd name="connsiteY72" fmla="*/ 237077 h 335375"/>
                  <a:gd name="connsiteX73" fmla="*/ 982218 w 3259932"/>
                  <a:gd name="connsiteY73" fmla="*/ 243269 h 335375"/>
                  <a:gd name="connsiteX74" fmla="*/ 1095756 w 3259932"/>
                  <a:gd name="connsiteY74" fmla="*/ 243269 h 335375"/>
                  <a:gd name="connsiteX75" fmla="*/ 1095756 w 3259932"/>
                  <a:gd name="connsiteY75" fmla="*/ 249460 h 335375"/>
                  <a:gd name="connsiteX76" fmla="*/ 1364933 w 3259932"/>
                  <a:gd name="connsiteY76" fmla="*/ 249460 h 335375"/>
                  <a:gd name="connsiteX77" fmla="*/ 1364933 w 3259932"/>
                  <a:gd name="connsiteY77" fmla="*/ 255746 h 335375"/>
                  <a:gd name="connsiteX78" fmla="*/ 1438561 w 3259932"/>
                  <a:gd name="connsiteY78" fmla="*/ 255746 h 335375"/>
                  <a:gd name="connsiteX79" fmla="*/ 1438561 w 3259932"/>
                  <a:gd name="connsiteY79" fmla="*/ 262033 h 335375"/>
                  <a:gd name="connsiteX80" fmla="*/ 1518476 w 3259932"/>
                  <a:gd name="connsiteY80" fmla="*/ 262033 h 335375"/>
                  <a:gd name="connsiteX81" fmla="*/ 1518476 w 3259932"/>
                  <a:gd name="connsiteY81" fmla="*/ 268319 h 335375"/>
                  <a:gd name="connsiteX82" fmla="*/ 1680401 w 3259932"/>
                  <a:gd name="connsiteY82" fmla="*/ 268319 h 335375"/>
                  <a:gd name="connsiteX83" fmla="*/ 1680401 w 3259932"/>
                  <a:gd name="connsiteY83" fmla="*/ 274796 h 335375"/>
                  <a:gd name="connsiteX84" fmla="*/ 1697260 w 3259932"/>
                  <a:gd name="connsiteY84" fmla="*/ 274796 h 335375"/>
                  <a:gd name="connsiteX85" fmla="*/ 1697260 w 3259932"/>
                  <a:gd name="connsiteY85" fmla="*/ 281178 h 335375"/>
                  <a:gd name="connsiteX86" fmla="*/ 1815084 w 3259932"/>
                  <a:gd name="connsiteY86" fmla="*/ 281178 h 335375"/>
                  <a:gd name="connsiteX87" fmla="*/ 1815084 w 3259932"/>
                  <a:gd name="connsiteY87" fmla="*/ 287655 h 335375"/>
                  <a:gd name="connsiteX88" fmla="*/ 1907572 w 3259932"/>
                  <a:gd name="connsiteY88" fmla="*/ 287655 h 335375"/>
                  <a:gd name="connsiteX89" fmla="*/ 1907572 w 3259932"/>
                  <a:gd name="connsiteY89" fmla="*/ 294037 h 335375"/>
                  <a:gd name="connsiteX90" fmla="*/ 1926527 w 3259932"/>
                  <a:gd name="connsiteY90" fmla="*/ 294037 h 335375"/>
                  <a:gd name="connsiteX91" fmla="*/ 1926527 w 3259932"/>
                  <a:gd name="connsiteY91" fmla="*/ 300514 h 335375"/>
                  <a:gd name="connsiteX92" fmla="*/ 2780348 w 3259932"/>
                  <a:gd name="connsiteY92" fmla="*/ 300514 h 335375"/>
                  <a:gd name="connsiteX93" fmla="*/ 2780348 w 3259932"/>
                  <a:gd name="connsiteY93" fmla="*/ 335375 h 335375"/>
                  <a:gd name="connsiteX94" fmla="*/ 3259932 w 3259932"/>
                  <a:gd name="connsiteY94" fmla="*/ 335375 h 335375"/>
                  <a:gd name="connsiteX0" fmla="*/ 0 w 3259932"/>
                  <a:gd name="connsiteY0" fmla="*/ 0 h 329374"/>
                  <a:gd name="connsiteX1" fmla="*/ 21051 w 3259932"/>
                  <a:gd name="connsiteY1" fmla="*/ 6096 h 329374"/>
                  <a:gd name="connsiteX2" fmla="*/ 21051 w 3259932"/>
                  <a:gd name="connsiteY2" fmla="*/ 12192 h 329374"/>
                  <a:gd name="connsiteX3" fmla="*/ 37910 w 3259932"/>
                  <a:gd name="connsiteY3" fmla="*/ 12192 h 329374"/>
                  <a:gd name="connsiteX4" fmla="*/ 37910 w 3259932"/>
                  <a:gd name="connsiteY4" fmla="*/ 18193 h 329374"/>
                  <a:gd name="connsiteX5" fmla="*/ 65247 w 3259932"/>
                  <a:gd name="connsiteY5" fmla="*/ 18193 h 329374"/>
                  <a:gd name="connsiteX6" fmla="*/ 65247 w 3259932"/>
                  <a:gd name="connsiteY6" fmla="*/ 24289 h 329374"/>
                  <a:gd name="connsiteX7" fmla="*/ 67342 w 3259932"/>
                  <a:gd name="connsiteY7" fmla="*/ 24289 h 329374"/>
                  <a:gd name="connsiteX8" fmla="*/ 67342 w 3259932"/>
                  <a:gd name="connsiteY8" fmla="*/ 30385 h 329374"/>
                  <a:gd name="connsiteX9" fmla="*/ 77819 w 3259932"/>
                  <a:gd name="connsiteY9" fmla="*/ 30385 h 329374"/>
                  <a:gd name="connsiteX10" fmla="*/ 77819 w 3259932"/>
                  <a:gd name="connsiteY10" fmla="*/ 36385 h 329374"/>
                  <a:gd name="connsiteX11" fmla="*/ 84106 w 3259932"/>
                  <a:gd name="connsiteY11" fmla="*/ 36385 h 329374"/>
                  <a:gd name="connsiteX12" fmla="*/ 84106 w 3259932"/>
                  <a:gd name="connsiteY12" fmla="*/ 48577 h 329374"/>
                  <a:gd name="connsiteX13" fmla="*/ 92583 w 3259932"/>
                  <a:gd name="connsiteY13" fmla="*/ 48577 h 329374"/>
                  <a:gd name="connsiteX14" fmla="*/ 92583 w 3259932"/>
                  <a:gd name="connsiteY14" fmla="*/ 54578 h 329374"/>
                  <a:gd name="connsiteX15" fmla="*/ 98870 w 3259932"/>
                  <a:gd name="connsiteY15" fmla="*/ 54578 h 329374"/>
                  <a:gd name="connsiteX16" fmla="*/ 98870 w 3259932"/>
                  <a:gd name="connsiteY16" fmla="*/ 66770 h 329374"/>
                  <a:gd name="connsiteX17" fmla="*/ 100965 w 3259932"/>
                  <a:gd name="connsiteY17" fmla="*/ 66770 h 329374"/>
                  <a:gd name="connsiteX18" fmla="*/ 100965 w 3259932"/>
                  <a:gd name="connsiteY18" fmla="*/ 72866 h 329374"/>
                  <a:gd name="connsiteX19" fmla="*/ 113538 w 3259932"/>
                  <a:gd name="connsiteY19" fmla="*/ 72866 h 329374"/>
                  <a:gd name="connsiteX20" fmla="*/ 113538 w 3259932"/>
                  <a:gd name="connsiteY20" fmla="*/ 78867 h 329374"/>
                  <a:gd name="connsiteX21" fmla="*/ 136684 w 3259932"/>
                  <a:gd name="connsiteY21" fmla="*/ 78867 h 329374"/>
                  <a:gd name="connsiteX22" fmla="*/ 136684 w 3259932"/>
                  <a:gd name="connsiteY22" fmla="*/ 84963 h 329374"/>
                  <a:gd name="connsiteX23" fmla="*/ 143066 w 3259932"/>
                  <a:gd name="connsiteY23" fmla="*/ 84963 h 329374"/>
                  <a:gd name="connsiteX24" fmla="*/ 143066 w 3259932"/>
                  <a:gd name="connsiteY24" fmla="*/ 91059 h 329374"/>
                  <a:gd name="connsiteX25" fmla="*/ 151448 w 3259932"/>
                  <a:gd name="connsiteY25" fmla="*/ 91059 h 329374"/>
                  <a:gd name="connsiteX26" fmla="*/ 151448 w 3259932"/>
                  <a:gd name="connsiteY26" fmla="*/ 97060 h 329374"/>
                  <a:gd name="connsiteX27" fmla="*/ 159830 w 3259932"/>
                  <a:gd name="connsiteY27" fmla="*/ 97060 h 329374"/>
                  <a:gd name="connsiteX28" fmla="*/ 159830 w 3259932"/>
                  <a:gd name="connsiteY28" fmla="*/ 103156 h 329374"/>
                  <a:gd name="connsiteX29" fmla="*/ 164021 w 3259932"/>
                  <a:gd name="connsiteY29" fmla="*/ 103156 h 329374"/>
                  <a:gd name="connsiteX30" fmla="*/ 164021 w 3259932"/>
                  <a:gd name="connsiteY30" fmla="*/ 109252 h 329374"/>
                  <a:gd name="connsiteX31" fmla="*/ 237649 w 3259932"/>
                  <a:gd name="connsiteY31" fmla="*/ 109252 h 329374"/>
                  <a:gd name="connsiteX32" fmla="*/ 237649 w 3259932"/>
                  <a:gd name="connsiteY32" fmla="*/ 115252 h 329374"/>
                  <a:gd name="connsiteX33" fmla="*/ 258699 w 3259932"/>
                  <a:gd name="connsiteY33" fmla="*/ 115252 h 329374"/>
                  <a:gd name="connsiteX34" fmla="*/ 258699 w 3259932"/>
                  <a:gd name="connsiteY34" fmla="*/ 121348 h 329374"/>
                  <a:gd name="connsiteX35" fmla="*/ 264986 w 3259932"/>
                  <a:gd name="connsiteY35" fmla="*/ 121348 h 329374"/>
                  <a:gd name="connsiteX36" fmla="*/ 264986 w 3259932"/>
                  <a:gd name="connsiteY36" fmla="*/ 127444 h 329374"/>
                  <a:gd name="connsiteX37" fmla="*/ 307086 w 3259932"/>
                  <a:gd name="connsiteY37" fmla="*/ 127444 h 329374"/>
                  <a:gd name="connsiteX38" fmla="*/ 307086 w 3259932"/>
                  <a:gd name="connsiteY38" fmla="*/ 133445 h 329374"/>
                  <a:gd name="connsiteX39" fmla="*/ 321755 w 3259932"/>
                  <a:gd name="connsiteY39" fmla="*/ 133445 h 329374"/>
                  <a:gd name="connsiteX40" fmla="*/ 321755 w 3259932"/>
                  <a:gd name="connsiteY40" fmla="*/ 139541 h 329374"/>
                  <a:gd name="connsiteX41" fmla="*/ 351282 w 3259932"/>
                  <a:gd name="connsiteY41" fmla="*/ 139541 h 329374"/>
                  <a:gd name="connsiteX42" fmla="*/ 351282 w 3259932"/>
                  <a:gd name="connsiteY42" fmla="*/ 145637 h 329374"/>
                  <a:gd name="connsiteX43" fmla="*/ 353378 w 3259932"/>
                  <a:gd name="connsiteY43" fmla="*/ 145637 h 329374"/>
                  <a:gd name="connsiteX44" fmla="*/ 353378 w 3259932"/>
                  <a:gd name="connsiteY44" fmla="*/ 151638 h 329374"/>
                  <a:gd name="connsiteX45" fmla="*/ 376428 w 3259932"/>
                  <a:gd name="connsiteY45" fmla="*/ 151638 h 329374"/>
                  <a:gd name="connsiteX46" fmla="*/ 376428 w 3259932"/>
                  <a:gd name="connsiteY46" fmla="*/ 157734 h 329374"/>
                  <a:gd name="connsiteX47" fmla="*/ 389097 w 3259932"/>
                  <a:gd name="connsiteY47" fmla="*/ 157734 h 329374"/>
                  <a:gd name="connsiteX48" fmla="*/ 389097 w 3259932"/>
                  <a:gd name="connsiteY48" fmla="*/ 163830 h 329374"/>
                  <a:gd name="connsiteX49" fmla="*/ 424815 w 3259932"/>
                  <a:gd name="connsiteY49" fmla="*/ 163830 h 329374"/>
                  <a:gd name="connsiteX50" fmla="*/ 424815 w 3259932"/>
                  <a:gd name="connsiteY50" fmla="*/ 169926 h 329374"/>
                  <a:gd name="connsiteX51" fmla="*/ 540544 w 3259932"/>
                  <a:gd name="connsiteY51" fmla="*/ 169926 h 329374"/>
                  <a:gd name="connsiteX52" fmla="*/ 540544 w 3259932"/>
                  <a:gd name="connsiteY52" fmla="*/ 175927 h 329374"/>
                  <a:gd name="connsiteX53" fmla="*/ 578358 w 3259932"/>
                  <a:gd name="connsiteY53" fmla="*/ 175927 h 329374"/>
                  <a:gd name="connsiteX54" fmla="*/ 578358 w 3259932"/>
                  <a:gd name="connsiteY54" fmla="*/ 182118 h 329374"/>
                  <a:gd name="connsiteX55" fmla="*/ 630936 w 3259932"/>
                  <a:gd name="connsiteY55" fmla="*/ 182118 h 329374"/>
                  <a:gd name="connsiteX56" fmla="*/ 630936 w 3259932"/>
                  <a:gd name="connsiteY56" fmla="*/ 188214 h 329374"/>
                  <a:gd name="connsiteX57" fmla="*/ 649891 w 3259932"/>
                  <a:gd name="connsiteY57" fmla="*/ 188214 h 329374"/>
                  <a:gd name="connsiteX58" fmla="*/ 649891 w 3259932"/>
                  <a:gd name="connsiteY58" fmla="*/ 194310 h 329374"/>
                  <a:gd name="connsiteX59" fmla="*/ 660369 w 3259932"/>
                  <a:gd name="connsiteY59" fmla="*/ 194310 h 329374"/>
                  <a:gd name="connsiteX60" fmla="*/ 660369 w 3259932"/>
                  <a:gd name="connsiteY60" fmla="*/ 200501 h 329374"/>
                  <a:gd name="connsiteX61" fmla="*/ 694087 w 3259932"/>
                  <a:gd name="connsiteY61" fmla="*/ 200501 h 329374"/>
                  <a:gd name="connsiteX62" fmla="*/ 694087 w 3259932"/>
                  <a:gd name="connsiteY62" fmla="*/ 206597 h 329374"/>
                  <a:gd name="connsiteX63" fmla="*/ 700374 w 3259932"/>
                  <a:gd name="connsiteY63" fmla="*/ 206597 h 329374"/>
                  <a:gd name="connsiteX64" fmla="*/ 700374 w 3259932"/>
                  <a:gd name="connsiteY64" fmla="*/ 212693 h 329374"/>
                  <a:gd name="connsiteX65" fmla="*/ 715042 w 3259932"/>
                  <a:gd name="connsiteY65" fmla="*/ 212693 h 329374"/>
                  <a:gd name="connsiteX66" fmla="*/ 715042 w 3259932"/>
                  <a:gd name="connsiteY66" fmla="*/ 218789 h 329374"/>
                  <a:gd name="connsiteX67" fmla="*/ 727710 w 3259932"/>
                  <a:gd name="connsiteY67" fmla="*/ 218789 h 329374"/>
                  <a:gd name="connsiteX68" fmla="*/ 727710 w 3259932"/>
                  <a:gd name="connsiteY68" fmla="*/ 224980 h 329374"/>
                  <a:gd name="connsiteX69" fmla="*/ 752952 w 3259932"/>
                  <a:gd name="connsiteY69" fmla="*/ 224980 h 329374"/>
                  <a:gd name="connsiteX70" fmla="*/ 752952 w 3259932"/>
                  <a:gd name="connsiteY70" fmla="*/ 231076 h 329374"/>
                  <a:gd name="connsiteX71" fmla="*/ 982218 w 3259932"/>
                  <a:gd name="connsiteY71" fmla="*/ 231076 h 329374"/>
                  <a:gd name="connsiteX72" fmla="*/ 982218 w 3259932"/>
                  <a:gd name="connsiteY72" fmla="*/ 237268 h 329374"/>
                  <a:gd name="connsiteX73" fmla="*/ 1095756 w 3259932"/>
                  <a:gd name="connsiteY73" fmla="*/ 237268 h 329374"/>
                  <a:gd name="connsiteX74" fmla="*/ 1095756 w 3259932"/>
                  <a:gd name="connsiteY74" fmla="*/ 243459 h 329374"/>
                  <a:gd name="connsiteX75" fmla="*/ 1364933 w 3259932"/>
                  <a:gd name="connsiteY75" fmla="*/ 243459 h 329374"/>
                  <a:gd name="connsiteX76" fmla="*/ 1364933 w 3259932"/>
                  <a:gd name="connsiteY76" fmla="*/ 249745 h 329374"/>
                  <a:gd name="connsiteX77" fmla="*/ 1438561 w 3259932"/>
                  <a:gd name="connsiteY77" fmla="*/ 249745 h 329374"/>
                  <a:gd name="connsiteX78" fmla="*/ 1438561 w 3259932"/>
                  <a:gd name="connsiteY78" fmla="*/ 256032 h 329374"/>
                  <a:gd name="connsiteX79" fmla="*/ 1518476 w 3259932"/>
                  <a:gd name="connsiteY79" fmla="*/ 256032 h 329374"/>
                  <a:gd name="connsiteX80" fmla="*/ 1518476 w 3259932"/>
                  <a:gd name="connsiteY80" fmla="*/ 262318 h 329374"/>
                  <a:gd name="connsiteX81" fmla="*/ 1680401 w 3259932"/>
                  <a:gd name="connsiteY81" fmla="*/ 262318 h 329374"/>
                  <a:gd name="connsiteX82" fmla="*/ 1680401 w 3259932"/>
                  <a:gd name="connsiteY82" fmla="*/ 268795 h 329374"/>
                  <a:gd name="connsiteX83" fmla="*/ 1697260 w 3259932"/>
                  <a:gd name="connsiteY83" fmla="*/ 268795 h 329374"/>
                  <a:gd name="connsiteX84" fmla="*/ 1697260 w 3259932"/>
                  <a:gd name="connsiteY84" fmla="*/ 275177 h 329374"/>
                  <a:gd name="connsiteX85" fmla="*/ 1815084 w 3259932"/>
                  <a:gd name="connsiteY85" fmla="*/ 275177 h 329374"/>
                  <a:gd name="connsiteX86" fmla="*/ 1815084 w 3259932"/>
                  <a:gd name="connsiteY86" fmla="*/ 281654 h 329374"/>
                  <a:gd name="connsiteX87" fmla="*/ 1907572 w 3259932"/>
                  <a:gd name="connsiteY87" fmla="*/ 281654 h 329374"/>
                  <a:gd name="connsiteX88" fmla="*/ 1907572 w 3259932"/>
                  <a:gd name="connsiteY88" fmla="*/ 288036 h 329374"/>
                  <a:gd name="connsiteX89" fmla="*/ 1926527 w 3259932"/>
                  <a:gd name="connsiteY89" fmla="*/ 288036 h 329374"/>
                  <a:gd name="connsiteX90" fmla="*/ 1926527 w 3259932"/>
                  <a:gd name="connsiteY90" fmla="*/ 294513 h 329374"/>
                  <a:gd name="connsiteX91" fmla="*/ 2780348 w 3259932"/>
                  <a:gd name="connsiteY91" fmla="*/ 294513 h 329374"/>
                  <a:gd name="connsiteX92" fmla="*/ 2780348 w 3259932"/>
                  <a:gd name="connsiteY92" fmla="*/ 329374 h 329374"/>
                  <a:gd name="connsiteX93" fmla="*/ 3259932 w 3259932"/>
                  <a:gd name="connsiteY93" fmla="*/ 329374 h 329374"/>
                  <a:gd name="connsiteX0" fmla="*/ 0 w 3238881"/>
                  <a:gd name="connsiteY0" fmla="*/ 0 h 323278"/>
                  <a:gd name="connsiteX1" fmla="*/ 0 w 3238881"/>
                  <a:gd name="connsiteY1" fmla="*/ 6096 h 323278"/>
                  <a:gd name="connsiteX2" fmla="*/ 16859 w 3238881"/>
                  <a:gd name="connsiteY2" fmla="*/ 6096 h 323278"/>
                  <a:gd name="connsiteX3" fmla="*/ 16859 w 3238881"/>
                  <a:gd name="connsiteY3" fmla="*/ 12097 h 323278"/>
                  <a:gd name="connsiteX4" fmla="*/ 44196 w 3238881"/>
                  <a:gd name="connsiteY4" fmla="*/ 12097 h 323278"/>
                  <a:gd name="connsiteX5" fmla="*/ 44196 w 3238881"/>
                  <a:gd name="connsiteY5" fmla="*/ 18193 h 323278"/>
                  <a:gd name="connsiteX6" fmla="*/ 46291 w 3238881"/>
                  <a:gd name="connsiteY6" fmla="*/ 18193 h 323278"/>
                  <a:gd name="connsiteX7" fmla="*/ 46291 w 3238881"/>
                  <a:gd name="connsiteY7" fmla="*/ 24289 h 323278"/>
                  <a:gd name="connsiteX8" fmla="*/ 56768 w 3238881"/>
                  <a:gd name="connsiteY8" fmla="*/ 24289 h 323278"/>
                  <a:gd name="connsiteX9" fmla="*/ 56768 w 3238881"/>
                  <a:gd name="connsiteY9" fmla="*/ 30289 h 323278"/>
                  <a:gd name="connsiteX10" fmla="*/ 63055 w 3238881"/>
                  <a:gd name="connsiteY10" fmla="*/ 30289 h 323278"/>
                  <a:gd name="connsiteX11" fmla="*/ 63055 w 3238881"/>
                  <a:gd name="connsiteY11" fmla="*/ 42481 h 323278"/>
                  <a:gd name="connsiteX12" fmla="*/ 71532 w 3238881"/>
                  <a:gd name="connsiteY12" fmla="*/ 42481 h 323278"/>
                  <a:gd name="connsiteX13" fmla="*/ 71532 w 3238881"/>
                  <a:gd name="connsiteY13" fmla="*/ 48482 h 323278"/>
                  <a:gd name="connsiteX14" fmla="*/ 77819 w 3238881"/>
                  <a:gd name="connsiteY14" fmla="*/ 48482 h 323278"/>
                  <a:gd name="connsiteX15" fmla="*/ 77819 w 3238881"/>
                  <a:gd name="connsiteY15" fmla="*/ 60674 h 323278"/>
                  <a:gd name="connsiteX16" fmla="*/ 79914 w 3238881"/>
                  <a:gd name="connsiteY16" fmla="*/ 60674 h 323278"/>
                  <a:gd name="connsiteX17" fmla="*/ 79914 w 3238881"/>
                  <a:gd name="connsiteY17" fmla="*/ 66770 h 323278"/>
                  <a:gd name="connsiteX18" fmla="*/ 92487 w 3238881"/>
                  <a:gd name="connsiteY18" fmla="*/ 66770 h 323278"/>
                  <a:gd name="connsiteX19" fmla="*/ 92487 w 3238881"/>
                  <a:gd name="connsiteY19" fmla="*/ 72771 h 323278"/>
                  <a:gd name="connsiteX20" fmla="*/ 115633 w 3238881"/>
                  <a:gd name="connsiteY20" fmla="*/ 72771 h 323278"/>
                  <a:gd name="connsiteX21" fmla="*/ 115633 w 3238881"/>
                  <a:gd name="connsiteY21" fmla="*/ 78867 h 323278"/>
                  <a:gd name="connsiteX22" fmla="*/ 122015 w 3238881"/>
                  <a:gd name="connsiteY22" fmla="*/ 78867 h 323278"/>
                  <a:gd name="connsiteX23" fmla="*/ 122015 w 3238881"/>
                  <a:gd name="connsiteY23" fmla="*/ 84963 h 323278"/>
                  <a:gd name="connsiteX24" fmla="*/ 130397 w 3238881"/>
                  <a:gd name="connsiteY24" fmla="*/ 84963 h 323278"/>
                  <a:gd name="connsiteX25" fmla="*/ 130397 w 3238881"/>
                  <a:gd name="connsiteY25" fmla="*/ 90964 h 323278"/>
                  <a:gd name="connsiteX26" fmla="*/ 138779 w 3238881"/>
                  <a:gd name="connsiteY26" fmla="*/ 90964 h 323278"/>
                  <a:gd name="connsiteX27" fmla="*/ 138779 w 3238881"/>
                  <a:gd name="connsiteY27" fmla="*/ 97060 h 323278"/>
                  <a:gd name="connsiteX28" fmla="*/ 142970 w 3238881"/>
                  <a:gd name="connsiteY28" fmla="*/ 97060 h 323278"/>
                  <a:gd name="connsiteX29" fmla="*/ 142970 w 3238881"/>
                  <a:gd name="connsiteY29" fmla="*/ 103156 h 323278"/>
                  <a:gd name="connsiteX30" fmla="*/ 216598 w 3238881"/>
                  <a:gd name="connsiteY30" fmla="*/ 103156 h 323278"/>
                  <a:gd name="connsiteX31" fmla="*/ 216598 w 3238881"/>
                  <a:gd name="connsiteY31" fmla="*/ 109156 h 323278"/>
                  <a:gd name="connsiteX32" fmla="*/ 237648 w 3238881"/>
                  <a:gd name="connsiteY32" fmla="*/ 109156 h 323278"/>
                  <a:gd name="connsiteX33" fmla="*/ 237648 w 3238881"/>
                  <a:gd name="connsiteY33" fmla="*/ 115252 h 323278"/>
                  <a:gd name="connsiteX34" fmla="*/ 243935 w 3238881"/>
                  <a:gd name="connsiteY34" fmla="*/ 115252 h 323278"/>
                  <a:gd name="connsiteX35" fmla="*/ 243935 w 3238881"/>
                  <a:gd name="connsiteY35" fmla="*/ 121348 h 323278"/>
                  <a:gd name="connsiteX36" fmla="*/ 286035 w 3238881"/>
                  <a:gd name="connsiteY36" fmla="*/ 121348 h 323278"/>
                  <a:gd name="connsiteX37" fmla="*/ 286035 w 3238881"/>
                  <a:gd name="connsiteY37" fmla="*/ 127349 h 323278"/>
                  <a:gd name="connsiteX38" fmla="*/ 300704 w 3238881"/>
                  <a:gd name="connsiteY38" fmla="*/ 127349 h 323278"/>
                  <a:gd name="connsiteX39" fmla="*/ 300704 w 3238881"/>
                  <a:gd name="connsiteY39" fmla="*/ 133445 h 323278"/>
                  <a:gd name="connsiteX40" fmla="*/ 330231 w 3238881"/>
                  <a:gd name="connsiteY40" fmla="*/ 133445 h 323278"/>
                  <a:gd name="connsiteX41" fmla="*/ 330231 w 3238881"/>
                  <a:gd name="connsiteY41" fmla="*/ 139541 h 323278"/>
                  <a:gd name="connsiteX42" fmla="*/ 332327 w 3238881"/>
                  <a:gd name="connsiteY42" fmla="*/ 139541 h 323278"/>
                  <a:gd name="connsiteX43" fmla="*/ 332327 w 3238881"/>
                  <a:gd name="connsiteY43" fmla="*/ 145542 h 323278"/>
                  <a:gd name="connsiteX44" fmla="*/ 355377 w 3238881"/>
                  <a:gd name="connsiteY44" fmla="*/ 145542 h 323278"/>
                  <a:gd name="connsiteX45" fmla="*/ 355377 w 3238881"/>
                  <a:gd name="connsiteY45" fmla="*/ 151638 h 323278"/>
                  <a:gd name="connsiteX46" fmla="*/ 368046 w 3238881"/>
                  <a:gd name="connsiteY46" fmla="*/ 151638 h 323278"/>
                  <a:gd name="connsiteX47" fmla="*/ 368046 w 3238881"/>
                  <a:gd name="connsiteY47" fmla="*/ 157734 h 323278"/>
                  <a:gd name="connsiteX48" fmla="*/ 403764 w 3238881"/>
                  <a:gd name="connsiteY48" fmla="*/ 157734 h 323278"/>
                  <a:gd name="connsiteX49" fmla="*/ 403764 w 3238881"/>
                  <a:gd name="connsiteY49" fmla="*/ 163830 h 323278"/>
                  <a:gd name="connsiteX50" fmla="*/ 519493 w 3238881"/>
                  <a:gd name="connsiteY50" fmla="*/ 163830 h 323278"/>
                  <a:gd name="connsiteX51" fmla="*/ 519493 w 3238881"/>
                  <a:gd name="connsiteY51" fmla="*/ 169831 h 323278"/>
                  <a:gd name="connsiteX52" fmla="*/ 557307 w 3238881"/>
                  <a:gd name="connsiteY52" fmla="*/ 169831 h 323278"/>
                  <a:gd name="connsiteX53" fmla="*/ 557307 w 3238881"/>
                  <a:gd name="connsiteY53" fmla="*/ 176022 h 323278"/>
                  <a:gd name="connsiteX54" fmla="*/ 609885 w 3238881"/>
                  <a:gd name="connsiteY54" fmla="*/ 176022 h 323278"/>
                  <a:gd name="connsiteX55" fmla="*/ 609885 w 3238881"/>
                  <a:gd name="connsiteY55" fmla="*/ 182118 h 323278"/>
                  <a:gd name="connsiteX56" fmla="*/ 628840 w 3238881"/>
                  <a:gd name="connsiteY56" fmla="*/ 182118 h 323278"/>
                  <a:gd name="connsiteX57" fmla="*/ 628840 w 3238881"/>
                  <a:gd name="connsiteY57" fmla="*/ 188214 h 323278"/>
                  <a:gd name="connsiteX58" fmla="*/ 639318 w 3238881"/>
                  <a:gd name="connsiteY58" fmla="*/ 188214 h 323278"/>
                  <a:gd name="connsiteX59" fmla="*/ 639318 w 3238881"/>
                  <a:gd name="connsiteY59" fmla="*/ 194405 h 323278"/>
                  <a:gd name="connsiteX60" fmla="*/ 673036 w 3238881"/>
                  <a:gd name="connsiteY60" fmla="*/ 194405 h 323278"/>
                  <a:gd name="connsiteX61" fmla="*/ 673036 w 3238881"/>
                  <a:gd name="connsiteY61" fmla="*/ 200501 h 323278"/>
                  <a:gd name="connsiteX62" fmla="*/ 679323 w 3238881"/>
                  <a:gd name="connsiteY62" fmla="*/ 200501 h 323278"/>
                  <a:gd name="connsiteX63" fmla="*/ 679323 w 3238881"/>
                  <a:gd name="connsiteY63" fmla="*/ 206597 h 323278"/>
                  <a:gd name="connsiteX64" fmla="*/ 693991 w 3238881"/>
                  <a:gd name="connsiteY64" fmla="*/ 206597 h 323278"/>
                  <a:gd name="connsiteX65" fmla="*/ 693991 w 3238881"/>
                  <a:gd name="connsiteY65" fmla="*/ 212693 h 323278"/>
                  <a:gd name="connsiteX66" fmla="*/ 706659 w 3238881"/>
                  <a:gd name="connsiteY66" fmla="*/ 212693 h 323278"/>
                  <a:gd name="connsiteX67" fmla="*/ 706659 w 3238881"/>
                  <a:gd name="connsiteY67" fmla="*/ 218884 h 323278"/>
                  <a:gd name="connsiteX68" fmla="*/ 731901 w 3238881"/>
                  <a:gd name="connsiteY68" fmla="*/ 218884 h 323278"/>
                  <a:gd name="connsiteX69" fmla="*/ 731901 w 3238881"/>
                  <a:gd name="connsiteY69" fmla="*/ 224980 h 323278"/>
                  <a:gd name="connsiteX70" fmla="*/ 961167 w 3238881"/>
                  <a:gd name="connsiteY70" fmla="*/ 224980 h 323278"/>
                  <a:gd name="connsiteX71" fmla="*/ 961167 w 3238881"/>
                  <a:gd name="connsiteY71" fmla="*/ 231172 h 323278"/>
                  <a:gd name="connsiteX72" fmla="*/ 1074705 w 3238881"/>
                  <a:gd name="connsiteY72" fmla="*/ 231172 h 323278"/>
                  <a:gd name="connsiteX73" fmla="*/ 1074705 w 3238881"/>
                  <a:gd name="connsiteY73" fmla="*/ 237363 h 323278"/>
                  <a:gd name="connsiteX74" fmla="*/ 1343882 w 3238881"/>
                  <a:gd name="connsiteY74" fmla="*/ 237363 h 323278"/>
                  <a:gd name="connsiteX75" fmla="*/ 1343882 w 3238881"/>
                  <a:gd name="connsiteY75" fmla="*/ 243649 h 323278"/>
                  <a:gd name="connsiteX76" fmla="*/ 1417510 w 3238881"/>
                  <a:gd name="connsiteY76" fmla="*/ 243649 h 323278"/>
                  <a:gd name="connsiteX77" fmla="*/ 1417510 w 3238881"/>
                  <a:gd name="connsiteY77" fmla="*/ 249936 h 323278"/>
                  <a:gd name="connsiteX78" fmla="*/ 1497425 w 3238881"/>
                  <a:gd name="connsiteY78" fmla="*/ 249936 h 323278"/>
                  <a:gd name="connsiteX79" fmla="*/ 1497425 w 3238881"/>
                  <a:gd name="connsiteY79" fmla="*/ 256222 h 323278"/>
                  <a:gd name="connsiteX80" fmla="*/ 1659350 w 3238881"/>
                  <a:gd name="connsiteY80" fmla="*/ 256222 h 323278"/>
                  <a:gd name="connsiteX81" fmla="*/ 1659350 w 3238881"/>
                  <a:gd name="connsiteY81" fmla="*/ 262699 h 323278"/>
                  <a:gd name="connsiteX82" fmla="*/ 1676209 w 3238881"/>
                  <a:gd name="connsiteY82" fmla="*/ 262699 h 323278"/>
                  <a:gd name="connsiteX83" fmla="*/ 1676209 w 3238881"/>
                  <a:gd name="connsiteY83" fmla="*/ 269081 h 323278"/>
                  <a:gd name="connsiteX84" fmla="*/ 1794033 w 3238881"/>
                  <a:gd name="connsiteY84" fmla="*/ 269081 h 323278"/>
                  <a:gd name="connsiteX85" fmla="*/ 1794033 w 3238881"/>
                  <a:gd name="connsiteY85" fmla="*/ 275558 h 323278"/>
                  <a:gd name="connsiteX86" fmla="*/ 1886521 w 3238881"/>
                  <a:gd name="connsiteY86" fmla="*/ 275558 h 323278"/>
                  <a:gd name="connsiteX87" fmla="*/ 1886521 w 3238881"/>
                  <a:gd name="connsiteY87" fmla="*/ 281940 h 323278"/>
                  <a:gd name="connsiteX88" fmla="*/ 1905476 w 3238881"/>
                  <a:gd name="connsiteY88" fmla="*/ 281940 h 323278"/>
                  <a:gd name="connsiteX89" fmla="*/ 1905476 w 3238881"/>
                  <a:gd name="connsiteY89" fmla="*/ 288417 h 323278"/>
                  <a:gd name="connsiteX90" fmla="*/ 2759297 w 3238881"/>
                  <a:gd name="connsiteY90" fmla="*/ 288417 h 323278"/>
                  <a:gd name="connsiteX91" fmla="*/ 2759297 w 3238881"/>
                  <a:gd name="connsiteY91" fmla="*/ 323278 h 323278"/>
                  <a:gd name="connsiteX92" fmla="*/ 3238881 w 3238881"/>
                  <a:gd name="connsiteY92" fmla="*/ 323278 h 323278"/>
                  <a:gd name="connsiteX0" fmla="*/ 0 w 3238881"/>
                  <a:gd name="connsiteY0" fmla="*/ 0 h 323278"/>
                  <a:gd name="connsiteX1" fmla="*/ 16859 w 3238881"/>
                  <a:gd name="connsiteY1" fmla="*/ 6096 h 323278"/>
                  <a:gd name="connsiteX2" fmla="*/ 16859 w 3238881"/>
                  <a:gd name="connsiteY2" fmla="*/ 12097 h 323278"/>
                  <a:gd name="connsiteX3" fmla="*/ 44196 w 3238881"/>
                  <a:gd name="connsiteY3" fmla="*/ 12097 h 323278"/>
                  <a:gd name="connsiteX4" fmla="*/ 44196 w 3238881"/>
                  <a:gd name="connsiteY4" fmla="*/ 18193 h 323278"/>
                  <a:gd name="connsiteX5" fmla="*/ 46291 w 3238881"/>
                  <a:gd name="connsiteY5" fmla="*/ 18193 h 323278"/>
                  <a:gd name="connsiteX6" fmla="*/ 46291 w 3238881"/>
                  <a:gd name="connsiteY6" fmla="*/ 24289 h 323278"/>
                  <a:gd name="connsiteX7" fmla="*/ 56768 w 3238881"/>
                  <a:gd name="connsiteY7" fmla="*/ 24289 h 323278"/>
                  <a:gd name="connsiteX8" fmla="*/ 56768 w 3238881"/>
                  <a:gd name="connsiteY8" fmla="*/ 30289 h 323278"/>
                  <a:gd name="connsiteX9" fmla="*/ 63055 w 3238881"/>
                  <a:gd name="connsiteY9" fmla="*/ 30289 h 323278"/>
                  <a:gd name="connsiteX10" fmla="*/ 63055 w 3238881"/>
                  <a:gd name="connsiteY10" fmla="*/ 42481 h 323278"/>
                  <a:gd name="connsiteX11" fmla="*/ 71532 w 3238881"/>
                  <a:gd name="connsiteY11" fmla="*/ 42481 h 323278"/>
                  <a:gd name="connsiteX12" fmla="*/ 71532 w 3238881"/>
                  <a:gd name="connsiteY12" fmla="*/ 48482 h 323278"/>
                  <a:gd name="connsiteX13" fmla="*/ 77819 w 3238881"/>
                  <a:gd name="connsiteY13" fmla="*/ 48482 h 323278"/>
                  <a:gd name="connsiteX14" fmla="*/ 77819 w 3238881"/>
                  <a:gd name="connsiteY14" fmla="*/ 60674 h 323278"/>
                  <a:gd name="connsiteX15" fmla="*/ 79914 w 3238881"/>
                  <a:gd name="connsiteY15" fmla="*/ 60674 h 323278"/>
                  <a:gd name="connsiteX16" fmla="*/ 79914 w 3238881"/>
                  <a:gd name="connsiteY16" fmla="*/ 66770 h 323278"/>
                  <a:gd name="connsiteX17" fmla="*/ 92487 w 3238881"/>
                  <a:gd name="connsiteY17" fmla="*/ 66770 h 323278"/>
                  <a:gd name="connsiteX18" fmla="*/ 92487 w 3238881"/>
                  <a:gd name="connsiteY18" fmla="*/ 72771 h 323278"/>
                  <a:gd name="connsiteX19" fmla="*/ 115633 w 3238881"/>
                  <a:gd name="connsiteY19" fmla="*/ 72771 h 323278"/>
                  <a:gd name="connsiteX20" fmla="*/ 115633 w 3238881"/>
                  <a:gd name="connsiteY20" fmla="*/ 78867 h 323278"/>
                  <a:gd name="connsiteX21" fmla="*/ 122015 w 3238881"/>
                  <a:gd name="connsiteY21" fmla="*/ 78867 h 323278"/>
                  <a:gd name="connsiteX22" fmla="*/ 122015 w 3238881"/>
                  <a:gd name="connsiteY22" fmla="*/ 84963 h 323278"/>
                  <a:gd name="connsiteX23" fmla="*/ 130397 w 3238881"/>
                  <a:gd name="connsiteY23" fmla="*/ 84963 h 323278"/>
                  <a:gd name="connsiteX24" fmla="*/ 130397 w 3238881"/>
                  <a:gd name="connsiteY24" fmla="*/ 90964 h 323278"/>
                  <a:gd name="connsiteX25" fmla="*/ 138779 w 3238881"/>
                  <a:gd name="connsiteY25" fmla="*/ 90964 h 323278"/>
                  <a:gd name="connsiteX26" fmla="*/ 138779 w 3238881"/>
                  <a:gd name="connsiteY26" fmla="*/ 97060 h 323278"/>
                  <a:gd name="connsiteX27" fmla="*/ 142970 w 3238881"/>
                  <a:gd name="connsiteY27" fmla="*/ 97060 h 323278"/>
                  <a:gd name="connsiteX28" fmla="*/ 142970 w 3238881"/>
                  <a:gd name="connsiteY28" fmla="*/ 103156 h 323278"/>
                  <a:gd name="connsiteX29" fmla="*/ 216598 w 3238881"/>
                  <a:gd name="connsiteY29" fmla="*/ 103156 h 323278"/>
                  <a:gd name="connsiteX30" fmla="*/ 216598 w 3238881"/>
                  <a:gd name="connsiteY30" fmla="*/ 109156 h 323278"/>
                  <a:gd name="connsiteX31" fmla="*/ 237648 w 3238881"/>
                  <a:gd name="connsiteY31" fmla="*/ 109156 h 323278"/>
                  <a:gd name="connsiteX32" fmla="*/ 237648 w 3238881"/>
                  <a:gd name="connsiteY32" fmla="*/ 115252 h 323278"/>
                  <a:gd name="connsiteX33" fmla="*/ 243935 w 3238881"/>
                  <a:gd name="connsiteY33" fmla="*/ 115252 h 323278"/>
                  <a:gd name="connsiteX34" fmla="*/ 243935 w 3238881"/>
                  <a:gd name="connsiteY34" fmla="*/ 121348 h 323278"/>
                  <a:gd name="connsiteX35" fmla="*/ 286035 w 3238881"/>
                  <a:gd name="connsiteY35" fmla="*/ 121348 h 323278"/>
                  <a:gd name="connsiteX36" fmla="*/ 286035 w 3238881"/>
                  <a:gd name="connsiteY36" fmla="*/ 127349 h 323278"/>
                  <a:gd name="connsiteX37" fmla="*/ 300704 w 3238881"/>
                  <a:gd name="connsiteY37" fmla="*/ 127349 h 323278"/>
                  <a:gd name="connsiteX38" fmla="*/ 300704 w 3238881"/>
                  <a:gd name="connsiteY38" fmla="*/ 133445 h 323278"/>
                  <a:gd name="connsiteX39" fmla="*/ 330231 w 3238881"/>
                  <a:gd name="connsiteY39" fmla="*/ 133445 h 323278"/>
                  <a:gd name="connsiteX40" fmla="*/ 330231 w 3238881"/>
                  <a:gd name="connsiteY40" fmla="*/ 139541 h 323278"/>
                  <a:gd name="connsiteX41" fmla="*/ 332327 w 3238881"/>
                  <a:gd name="connsiteY41" fmla="*/ 139541 h 323278"/>
                  <a:gd name="connsiteX42" fmla="*/ 332327 w 3238881"/>
                  <a:gd name="connsiteY42" fmla="*/ 145542 h 323278"/>
                  <a:gd name="connsiteX43" fmla="*/ 355377 w 3238881"/>
                  <a:gd name="connsiteY43" fmla="*/ 145542 h 323278"/>
                  <a:gd name="connsiteX44" fmla="*/ 355377 w 3238881"/>
                  <a:gd name="connsiteY44" fmla="*/ 151638 h 323278"/>
                  <a:gd name="connsiteX45" fmla="*/ 368046 w 3238881"/>
                  <a:gd name="connsiteY45" fmla="*/ 151638 h 323278"/>
                  <a:gd name="connsiteX46" fmla="*/ 368046 w 3238881"/>
                  <a:gd name="connsiteY46" fmla="*/ 157734 h 323278"/>
                  <a:gd name="connsiteX47" fmla="*/ 403764 w 3238881"/>
                  <a:gd name="connsiteY47" fmla="*/ 157734 h 323278"/>
                  <a:gd name="connsiteX48" fmla="*/ 403764 w 3238881"/>
                  <a:gd name="connsiteY48" fmla="*/ 163830 h 323278"/>
                  <a:gd name="connsiteX49" fmla="*/ 519493 w 3238881"/>
                  <a:gd name="connsiteY49" fmla="*/ 163830 h 323278"/>
                  <a:gd name="connsiteX50" fmla="*/ 519493 w 3238881"/>
                  <a:gd name="connsiteY50" fmla="*/ 169831 h 323278"/>
                  <a:gd name="connsiteX51" fmla="*/ 557307 w 3238881"/>
                  <a:gd name="connsiteY51" fmla="*/ 169831 h 323278"/>
                  <a:gd name="connsiteX52" fmla="*/ 557307 w 3238881"/>
                  <a:gd name="connsiteY52" fmla="*/ 176022 h 323278"/>
                  <a:gd name="connsiteX53" fmla="*/ 609885 w 3238881"/>
                  <a:gd name="connsiteY53" fmla="*/ 176022 h 323278"/>
                  <a:gd name="connsiteX54" fmla="*/ 609885 w 3238881"/>
                  <a:gd name="connsiteY54" fmla="*/ 182118 h 323278"/>
                  <a:gd name="connsiteX55" fmla="*/ 628840 w 3238881"/>
                  <a:gd name="connsiteY55" fmla="*/ 182118 h 323278"/>
                  <a:gd name="connsiteX56" fmla="*/ 628840 w 3238881"/>
                  <a:gd name="connsiteY56" fmla="*/ 188214 h 323278"/>
                  <a:gd name="connsiteX57" fmla="*/ 639318 w 3238881"/>
                  <a:gd name="connsiteY57" fmla="*/ 188214 h 323278"/>
                  <a:gd name="connsiteX58" fmla="*/ 639318 w 3238881"/>
                  <a:gd name="connsiteY58" fmla="*/ 194405 h 323278"/>
                  <a:gd name="connsiteX59" fmla="*/ 673036 w 3238881"/>
                  <a:gd name="connsiteY59" fmla="*/ 194405 h 323278"/>
                  <a:gd name="connsiteX60" fmla="*/ 673036 w 3238881"/>
                  <a:gd name="connsiteY60" fmla="*/ 200501 h 323278"/>
                  <a:gd name="connsiteX61" fmla="*/ 679323 w 3238881"/>
                  <a:gd name="connsiteY61" fmla="*/ 200501 h 323278"/>
                  <a:gd name="connsiteX62" fmla="*/ 679323 w 3238881"/>
                  <a:gd name="connsiteY62" fmla="*/ 206597 h 323278"/>
                  <a:gd name="connsiteX63" fmla="*/ 693991 w 3238881"/>
                  <a:gd name="connsiteY63" fmla="*/ 206597 h 323278"/>
                  <a:gd name="connsiteX64" fmla="*/ 693991 w 3238881"/>
                  <a:gd name="connsiteY64" fmla="*/ 212693 h 323278"/>
                  <a:gd name="connsiteX65" fmla="*/ 706659 w 3238881"/>
                  <a:gd name="connsiteY65" fmla="*/ 212693 h 323278"/>
                  <a:gd name="connsiteX66" fmla="*/ 706659 w 3238881"/>
                  <a:gd name="connsiteY66" fmla="*/ 218884 h 323278"/>
                  <a:gd name="connsiteX67" fmla="*/ 731901 w 3238881"/>
                  <a:gd name="connsiteY67" fmla="*/ 218884 h 323278"/>
                  <a:gd name="connsiteX68" fmla="*/ 731901 w 3238881"/>
                  <a:gd name="connsiteY68" fmla="*/ 224980 h 323278"/>
                  <a:gd name="connsiteX69" fmla="*/ 961167 w 3238881"/>
                  <a:gd name="connsiteY69" fmla="*/ 224980 h 323278"/>
                  <a:gd name="connsiteX70" fmla="*/ 961167 w 3238881"/>
                  <a:gd name="connsiteY70" fmla="*/ 231172 h 323278"/>
                  <a:gd name="connsiteX71" fmla="*/ 1074705 w 3238881"/>
                  <a:gd name="connsiteY71" fmla="*/ 231172 h 323278"/>
                  <a:gd name="connsiteX72" fmla="*/ 1074705 w 3238881"/>
                  <a:gd name="connsiteY72" fmla="*/ 237363 h 323278"/>
                  <a:gd name="connsiteX73" fmla="*/ 1343882 w 3238881"/>
                  <a:gd name="connsiteY73" fmla="*/ 237363 h 323278"/>
                  <a:gd name="connsiteX74" fmla="*/ 1343882 w 3238881"/>
                  <a:gd name="connsiteY74" fmla="*/ 243649 h 323278"/>
                  <a:gd name="connsiteX75" fmla="*/ 1417510 w 3238881"/>
                  <a:gd name="connsiteY75" fmla="*/ 243649 h 323278"/>
                  <a:gd name="connsiteX76" fmla="*/ 1417510 w 3238881"/>
                  <a:gd name="connsiteY76" fmla="*/ 249936 h 323278"/>
                  <a:gd name="connsiteX77" fmla="*/ 1497425 w 3238881"/>
                  <a:gd name="connsiteY77" fmla="*/ 249936 h 323278"/>
                  <a:gd name="connsiteX78" fmla="*/ 1497425 w 3238881"/>
                  <a:gd name="connsiteY78" fmla="*/ 256222 h 323278"/>
                  <a:gd name="connsiteX79" fmla="*/ 1659350 w 3238881"/>
                  <a:gd name="connsiteY79" fmla="*/ 256222 h 323278"/>
                  <a:gd name="connsiteX80" fmla="*/ 1659350 w 3238881"/>
                  <a:gd name="connsiteY80" fmla="*/ 262699 h 323278"/>
                  <a:gd name="connsiteX81" fmla="*/ 1676209 w 3238881"/>
                  <a:gd name="connsiteY81" fmla="*/ 262699 h 323278"/>
                  <a:gd name="connsiteX82" fmla="*/ 1676209 w 3238881"/>
                  <a:gd name="connsiteY82" fmla="*/ 269081 h 323278"/>
                  <a:gd name="connsiteX83" fmla="*/ 1794033 w 3238881"/>
                  <a:gd name="connsiteY83" fmla="*/ 269081 h 323278"/>
                  <a:gd name="connsiteX84" fmla="*/ 1794033 w 3238881"/>
                  <a:gd name="connsiteY84" fmla="*/ 275558 h 323278"/>
                  <a:gd name="connsiteX85" fmla="*/ 1886521 w 3238881"/>
                  <a:gd name="connsiteY85" fmla="*/ 275558 h 323278"/>
                  <a:gd name="connsiteX86" fmla="*/ 1886521 w 3238881"/>
                  <a:gd name="connsiteY86" fmla="*/ 281940 h 323278"/>
                  <a:gd name="connsiteX87" fmla="*/ 1905476 w 3238881"/>
                  <a:gd name="connsiteY87" fmla="*/ 281940 h 323278"/>
                  <a:gd name="connsiteX88" fmla="*/ 1905476 w 3238881"/>
                  <a:gd name="connsiteY88" fmla="*/ 288417 h 323278"/>
                  <a:gd name="connsiteX89" fmla="*/ 2759297 w 3238881"/>
                  <a:gd name="connsiteY89" fmla="*/ 288417 h 323278"/>
                  <a:gd name="connsiteX90" fmla="*/ 2759297 w 3238881"/>
                  <a:gd name="connsiteY90" fmla="*/ 323278 h 323278"/>
                  <a:gd name="connsiteX91" fmla="*/ 3238881 w 3238881"/>
                  <a:gd name="connsiteY91" fmla="*/ 323278 h 323278"/>
                  <a:gd name="connsiteX0" fmla="*/ 0 w 3222022"/>
                  <a:gd name="connsiteY0" fmla="*/ 0 h 317182"/>
                  <a:gd name="connsiteX1" fmla="*/ 0 w 3222022"/>
                  <a:gd name="connsiteY1" fmla="*/ 6001 h 317182"/>
                  <a:gd name="connsiteX2" fmla="*/ 27337 w 3222022"/>
                  <a:gd name="connsiteY2" fmla="*/ 6001 h 317182"/>
                  <a:gd name="connsiteX3" fmla="*/ 27337 w 3222022"/>
                  <a:gd name="connsiteY3" fmla="*/ 12097 h 317182"/>
                  <a:gd name="connsiteX4" fmla="*/ 29432 w 3222022"/>
                  <a:gd name="connsiteY4" fmla="*/ 12097 h 317182"/>
                  <a:gd name="connsiteX5" fmla="*/ 29432 w 3222022"/>
                  <a:gd name="connsiteY5" fmla="*/ 18193 h 317182"/>
                  <a:gd name="connsiteX6" fmla="*/ 39909 w 3222022"/>
                  <a:gd name="connsiteY6" fmla="*/ 18193 h 317182"/>
                  <a:gd name="connsiteX7" fmla="*/ 39909 w 3222022"/>
                  <a:gd name="connsiteY7" fmla="*/ 24193 h 317182"/>
                  <a:gd name="connsiteX8" fmla="*/ 46196 w 3222022"/>
                  <a:gd name="connsiteY8" fmla="*/ 24193 h 317182"/>
                  <a:gd name="connsiteX9" fmla="*/ 46196 w 3222022"/>
                  <a:gd name="connsiteY9" fmla="*/ 36385 h 317182"/>
                  <a:gd name="connsiteX10" fmla="*/ 54673 w 3222022"/>
                  <a:gd name="connsiteY10" fmla="*/ 36385 h 317182"/>
                  <a:gd name="connsiteX11" fmla="*/ 54673 w 3222022"/>
                  <a:gd name="connsiteY11" fmla="*/ 42386 h 317182"/>
                  <a:gd name="connsiteX12" fmla="*/ 60960 w 3222022"/>
                  <a:gd name="connsiteY12" fmla="*/ 42386 h 317182"/>
                  <a:gd name="connsiteX13" fmla="*/ 60960 w 3222022"/>
                  <a:gd name="connsiteY13" fmla="*/ 54578 h 317182"/>
                  <a:gd name="connsiteX14" fmla="*/ 63055 w 3222022"/>
                  <a:gd name="connsiteY14" fmla="*/ 54578 h 317182"/>
                  <a:gd name="connsiteX15" fmla="*/ 63055 w 3222022"/>
                  <a:gd name="connsiteY15" fmla="*/ 60674 h 317182"/>
                  <a:gd name="connsiteX16" fmla="*/ 75628 w 3222022"/>
                  <a:gd name="connsiteY16" fmla="*/ 60674 h 317182"/>
                  <a:gd name="connsiteX17" fmla="*/ 75628 w 3222022"/>
                  <a:gd name="connsiteY17" fmla="*/ 66675 h 317182"/>
                  <a:gd name="connsiteX18" fmla="*/ 98774 w 3222022"/>
                  <a:gd name="connsiteY18" fmla="*/ 66675 h 317182"/>
                  <a:gd name="connsiteX19" fmla="*/ 98774 w 3222022"/>
                  <a:gd name="connsiteY19" fmla="*/ 72771 h 317182"/>
                  <a:gd name="connsiteX20" fmla="*/ 105156 w 3222022"/>
                  <a:gd name="connsiteY20" fmla="*/ 72771 h 317182"/>
                  <a:gd name="connsiteX21" fmla="*/ 105156 w 3222022"/>
                  <a:gd name="connsiteY21" fmla="*/ 78867 h 317182"/>
                  <a:gd name="connsiteX22" fmla="*/ 113538 w 3222022"/>
                  <a:gd name="connsiteY22" fmla="*/ 78867 h 317182"/>
                  <a:gd name="connsiteX23" fmla="*/ 113538 w 3222022"/>
                  <a:gd name="connsiteY23" fmla="*/ 84868 h 317182"/>
                  <a:gd name="connsiteX24" fmla="*/ 121920 w 3222022"/>
                  <a:gd name="connsiteY24" fmla="*/ 84868 h 317182"/>
                  <a:gd name="connsiteX25" fmla="*/ 121920 w 3222022"/>
                  <a:gd name="connsiteY25" fmla="*/ 90964 h 317182"/>
                  <a:gd name="connsiteX26" fmla="*/ 126111 w 3222022"/>
                  <a:gd name="connsiteY26" fmla="*/ 90964 h 317182"/>
                  <a:gd name="connsiteX27" fmla="*/ 126111 w 3222022"/>
                  <a:gd name="connsiteY27" fmla="*/ 97060 h 317182"/>
                  <a:gd name="connsiteX28" fmla="*/ 199739 w 3222022"/>
                  <a:gd name="connsiteY28" fmla="*/ 97060 h 317182"/>
                  <a:gd name="connsiteX29" fmla="*/ 199739 w 3222022"/>
                  <a:gd name="connsiteY29" fmla="*/ 103060 h 317182"/>
                  <a:gd name="connsiteX30" fmla="*/ 220789 w 3222022"/>
                  <a:gd name="connsiteY30" fmla="*/ 103060 h 317182"/>
                  <a:gd name="connsiteX31" fmla="*/ 220789 w 3222022"/>
                  <a:gd name="connsiteY31" fmla="*/ 109156 h 317182"/>
                  <a:gd name="connsiteX32" fmla="*/ 227076 w 3222022"/>
                  <a:gd name="connsiteY32" fmla="*/ 109156 h 317182"/>
                  <a:gd name="connsiteX33" fmla="*/ 227076 w 3222022"/>
                  <a:gd name="connsiteY33" fmla="*/ 115252 h 317182"/>
                  <a:gd name="connsiteX34" fmla="*/ 269176 w 3222022"/>
                  <a:gd name="connsiteY34" fmla="*/ 115252 h 317182"/>
                  <a:gd name="connsiteX35" fmla="*/ 269176 w 3222022"/>
                  <a:gd name="connsiteY35" fmla="*/ 121253 h 317182"/>
                  <a:gd name="connsiteX36" fmla="*/ 283845 w 3222022"/>
                  <a:gd name="connsiteY36" fmla="*/ 121253 h 317182"/>
                  <a:gd name="connsiteX37" fmla="*/ 283845 w 3222022"/>
                  <a:gd name="connsiteY37" fmla="*/ 127349 h 317182"/>
                  <a:gd name="connsiteX38" fmla="*/ 313372 w 3222022"/>
                  <a:gd name="connsiteY38" fmla="*/ 127349 h 317182"/>
                  <a:gd name="connsiteX39" fmla="*/ 313372 w 3222022"/>
                  <a:gd name="connsiteY39" fmla="*/ 133445 h 317182"/>
                  <a:gd name="connsiteX40" fmla="*/ 315468 w 3222022"/>
                  <a:gd name="connsiteY40" fmla="*/ 133445 h 317182"/>
                  <a:gd name="connsiteX41" fmla="*/ 315468 w 3222022"/>
                  <a:gd name="connsiteY41" fmla="*/ 139446 h 317182"/>
                  <a:gd name="connsiteX42" fmla="*/ 338518 w 3222022"/>
                  <a:gd name="connsiteY42" fmla="*/ 139446 h 317182"/>
                  <a:gd name="connsiteX43" fmla="*/ 338518 w 3222022"/>
                  <a:gd name="connsiteY43" fmla="*/ 145542 h 317182"/>
                  <a:gd name="connsiteX44" fmla="*/ 351187 w 3222022"/>
                  <a:gd name="connsiteY44" fmla="*/ 145542 h 317182"/>
                  <a:gd name="connsiteX45" fmla="*/ 351187 w 3222022"/>
                  <a:gd name="connsiteY45" fmla="*/ 151638 h 317182"/>
                  <a:gd name="connsiteX46" fmla="*/ 386905 w 3222022"/>
                  <a:gd name="connsiteY46" fmla="*/ 151638 h 317182"/>
                  <a:gd name="connsiteX47" fmla="*/ 386905 w 3222022"/>
                  <a:gd name="connsiteY47" fmla="*/ 157734 h 317182"/>
                  <a:gd name="connsiteX48" fmla="*/ 502634 w 3222022"/>
                  <a:gd name="connsiteY48" fmla="*/ 157734 h 317182"/>
                  <a:gd name="connsiteX49" fmla="*/ 502634 w 3222022"/>
                  <a:gd name="connsiteY49" fmla="*/ 163735 h 317182"/>
                  <a:gd name="connsiteX50" fmla="*/ 540448 w 3222022"/>
                  <a:gd name="connsiteY50" fmla="*/ 163735 h 317182"/>
                  <a:gd name="connsiteX51" fmla="*/ 540448 w 3222022"/>
                  <a:gd name="connsiteY51" fmla="*/ 169926 h 317182"/>
                  <a:gd name="connsiteX52" fmla="*/ 593026 w 3222022"/>
                  <a:gd name="connsiteY52" fmla="*/ 169926 h 317182"/>
                  <a:gd name="connsiteX53" fmla="*/ 593026 w 3222022"/>
                  <a:gd name="connsiteY53" fmla="*/ 176022 h 317182"/>
                  <a:gd name="connsiteX54" fmla="*/ 611981 w 3222022"/>
                  <a:gd name="connsiteY54" fmla="*/ 176022 h 317182"/>
                  <a:gd name="connsiteX55" fmla="*/ 611981 w 3222022"/>
                  <a:gd name="connsiteY55" fmla="*/ 182118 h 317182"/>
                  <a:gd name="connsiteX56" fmla="*/ 622459 w 3222022"/>
                  <a:gd name="connsiteY56" fmla="*/ 182118 h 317182"/>
                  <a:gd name="connsiteX57" fmla="*/ 622459 w 3222022"/>
                  <a:gd name="connsiteY57" fmla="*/ 188309 h 317182"/>
                  <a:gd name="connsiteX58" fmla="*/ 656177 w 3222022"/>
                  <a:gd name="connsiteY58" fmla="*/ 188309 h 317182"/>
                  <a:gd name="connsiteX59" fmla="*/ 656177 w 3222022"/>
                  <a:gd name="connsiteY59" fmla="*/ 194405 h 317182"/>
                  <a:gd name="connsiteX60" fmla="*/ 662464 w 3222022"/>
                  <a:gd name="connsiteY60" fmla="*/ 194405 h 317182"/>
                  <a:gd name="connsiteX61" fmla="*/ 662464 w 3222022"/>
                  <a:gd name="connsiteY61" fmla="*/ 200501 h 317182"/>
                  <a:gd name="connsiteX62" fmla="*/ 677132 w 3222022"/>
                  <a:gd name="connsiteY62" fmla="*/ 200501 h 317182"/>
                  <a:gd name="connsiteX63" fmla="*/ 677132 w 3222022"/>
                  <a:gd name="connsiteY63" fmla="*/ 206597 h 317182"/>
                  <a:gd name="connsiteX64" fmla="*/ 689800 w 3222022"/>
                  <a:gd name="connsiteY64" fmla="*/ 206597 h 317182"/>
                  <a:gd name="connsiteX65" fmla="*/ 689800 w 3222022"/>
                  <a:gd name="connsiteY65" fmla="*/ 212788 h 317182"/>
                  <a:gd name="connsiteX66" fmla="*/ 715042 w 3222022"/>
                  <a:gd name="connsiteY66" fmla="*/ 212788 h 317182"/>
                  <a:gd name="connsiteX67" fmla="*/ 715042 w 3222022"/>
                  <a:gd name="connsiteY67" fmla="*/ 218884 h 317182"/>
                  <a:gd name="connsiteX68" fmla="*/ 944308 w 3222022"/>
                  <a:gd name="connsiteY68" fmla="*/ 218884 h 317182"/>
                  <a:gd name="connsiteX69" fmla="*/ 944308 w 3222022"/>
                  <a:gd name="connsiteY69" fmla="*/ 225076 h 317182"/>
                  <a:gd name="connsiteX70" fmla="*/ 1057846 w 3222022"/>
                  <a:gd name="connsiteY70" fmla="*/ 225076 h 317182"/>
                  <a:gd name="connsiteX71" fmla="*/ 1057846 w 3222022"/>
                  <a:gd name="connsiteY71" fmla="*/ 231267 h 317182"/>
                  <a:gd name="connsiteX72" fmla="*/ 1327023 w 3222022"/>
                  <a:gd name="connsiteY72" fmla="*/ 231267 h 317182"/>
                  <a:gd name="connsiteX73" fmla="*/ 1327023 w 3222022"/>
                  <a:gd name="connsiteY73" fmla="*/ 237553 h 317182"/>
                  <a:gd name="connsiteX74" fmla="*/ 1400651 w 3222022"/>
                  <a:gd name="connsiteY74" fmla="*/ 237553 h 317182"/>
                  <a:gd name="connsiteX75" fmla="*/ 1400651 w 3222022"/>
                  <a:gd name="connsiteY75" fmla="*/ 243840 h 317182"/>
                  <a:gd name="connsiteX76" fmla="*/ 1480566 w 3222022"/>
                  <a:gd name="connsiteY76" fmla="*/ 243840 h 317182"/>
                  <a:gd name="connsiteX77" fmla="*/ 1480566 w 3222022"/>
                  <a:gd name="connsiteY77" fmla="*/ 250126 h 317182"/>
                  <a:gd name="connsiteX78" fmla="*/ 1642491 w 3222022"/>
                  <a:gd name="connsiteY78" fmla="*/ 250126 h 317182"/>
                  <a:gd name="connsiteX79" fmla="*/ 1642491 w 3222022"/>
                  <a:gd name="connsiteY79" fmla="*/ 256603 h 317182"/>
                  <a:gd name="connsiteX80" fmla="*/ 1659350 w 3222022"/>
                  <a:gd name="connsiteY80" fmla="*/ 256603 h 317182"/>
                  <a:gd name="connsiteX81" fmla="*/ 1659350 w 3222022"/>
                  <a:gd name="connsiteY81" fmla="*/ 262985 h 317182"/>
                  <a:gd name="connsiteX82" fmla="*/ 1777174 w 3222022"/>
                  <a:gd name="connsiteY82" fmla="*/ 262985 h 317182"/>
                  <a:gd name="connsiteX83" fmla="*/ 1777174 w 3222022"/>
                  <a:gd name="connsiteY83" fmla="*/ 269462 h 317182"/>
                  <a:gd name="connsiteX84" fmla="*/ 1869662 w 3222022"/>
                  <a:gd name="connsiteY84" fmla="*/ 269462 h 317182"/>
                  <a:gd name="connsiteX85" fmla="*/ 1869662 w 3222022"/>
                  <a:gd name="connsiteY85" fmla="*/ 275844 h 317182"/>
                  <a:gd name="connsiteX86" fmla="*/ 1888617 w 3222022"/>
                  <a:gd name="connsiteY86" fmla="*/ 275844 h 317182"/>
                  <a:gd name="connsiteX87" fmla="*/ 1888617 w 3222022"/>
                  <a:gd name="connsiteY87" fmla="*/ 282321 h 317182"/>
                  <a:gd name="connsiteX88" fmla="*/ 2742438 w 3222022"/>
                  <a:gd name="connsiteY88" fmla="*/ 282321 h 317182"/>
                  <a:gd name="connsiteX89" fmla="*/ 2742438 w 3222022"/>
                  <a:gd name="connsiteY89" fmla="*/ 317182 h 317182"/>
                  <a:gd name="connsiteX90" fmla="*/ 3222022 w 3222022"/>
                  <a:gd name="connsiteY90" fmla="*/ 317182 h 317182"/>
                  <a:gd name="connsiteX0" fmla="*/ 0 w 3222022"/>
                  <a:gd name="connsiteY0" fmla="*/ 0 h 317182"/>
                  <a:gd name="connsiteX1" fmla="*/ 27337 w 3222022"/>
                  <a:gd name="connsiteY1" fmla="*/ 6001 h 317182"/>
                  <a:gd name="connsiteX2" fmla="*/ 27337 w 3222022"/>
                  <a:gd name="connsiteY2" fmla="*/ 12097 h 317182"/>
                  <a:gd name="connsiteX3" fmla="*/ 29432 w 3222022"/>
                  <a:gd name="connsiteY3" fmla="*/ 12097 h 317182"/>
                  <a:gd name="connsiteX4" fmla="*/ 29432 w 3222022"/>
                  <a:gd name="connsiteY4" fmla="*/ 18193 h 317182"/>
                  <a:gd name="connsiteX5" fmla="*/ 39909 w 3222022"/>
                  <a:gd name="connsiteY5" fmla="*/ 18193 h 317182"/>
                  <a:gd name="connsiteX6" fmla="*/ 39909 w 3222022"/>
                  <a:gd name="connsiteY6" fmla="*/ 24193 h 317182"/>
                  <a:gd name="connsiteX7" fmla="*/ 46196 w 3222022"/>
                  <a:gd name="connsiteY7" fmla="*/ 24193 h 317182"/>
                  <a:gd name="connsiteX8" fmla="*/ 46196 w 3222022"/>
                  <a:gd name="connsiteY8" fmla="*/ 36385 h 317182"/>
                  <a:gd name="connsiteX9" fmla="*/ 54673 w 3222022"/>
                  <a:gd name="connsiteY9" fmla="*/ 36385 h 317182"/>
                  <a:gd name="connsiteX10" fmla="*/ 54673 w 3222022"/>
                  <a:gd name="connsiteY10" fmla="*/ 42386 h 317182"/>
                  <a:gd name="connsiteX11" fmla="*/ 60960 w 3222022"/>
                  <a:gd name="connsiteY11" fmla="*/ 42386 h 317182"/>
                  <a:gd name="connsiteX12" fmla="*/ 60960 w 3222022"/>
                  <a:gd name="connsiteY12" fmla="*/ 54578 h 317182"/>
                  <a:gd name="connsiteX13" fmla="*/ 63055 w 3222022"/>
                  <a:gd name="connsiteY13" fmla="*/ 54578 h 317182"/>
                  <a:gd name="connsiteX14" fmla="*/ 63055 w 3222022"/>
                  <a:gd name="connsiteY14" fmla="*/ 60674 h 317182"/>
                  <a:gd name="connsiteX15" fmla="*/ 75628 w 3222022"/>
                  <a:gd name="connsiteY15" fmla="*/ 60674 h 317182"/>
                  <a:gd name="connsiteX16" fmla="*/ 75628 w 3222022"/>
                  <a:gd name="connsiteY16" fmla="*/ 66675 h 317182"/>
                  <a:gd name="connsiteX17" fmla="*/ 98774 w 3222022"/>
                  <a:gd name="connsiteY17" fmla="*/ 66675 h 317182"/>
                  <a:gd name="connsiteX18" fmla="*/ 98774 w 3222022"/>
                  <a:gd name="connsiteY18" fmla="*/ 72771 h 317182"/>
                  <a:gd name="connsiteX19" fmla="*/ 105156 w 3222022"/>
                  <a:gd name="connsiteY19" fmla="*/ 72771 h 317182"/>
                  <a:gd name="connsiteX20" fmla="*/ 105156 w 3222022"/>
                  <a:gd name="connsiteY20" fmla="*/ 78867 h 317182"/>
                  <a:gd name="connsiteX21" fmla="*/ 113538 w 3222022"/>
                  <a:gd name="connsiteY21" fmla="*/ 78867 h 317182"/>
                  <a:gd name="connsiteX22" fmla="*/ 113538 w 3222022"/>
                  <a:gd name="connsiteY22" fmla="*/ 84868 h 317182"/>
                  <a:gd name="connsiteX23" fmla="*/ 121920 w 3222022"/>
                  <a:gd name="connsiteY23" fmla="*/ 84868 h 317182"/>
                  <a:gd name="connsiteX24" fmla="*/ 121920 w 3222022"/>
                  <a:gd name="connsiteY24" fmla="*/ 90964 h 317182"/>
                  <a:gd name="connsiteX25" fmla="*/ 126111 w 3222022"/>
                  <a:gd name="connsiteY25" fmla="*/ 90964 h 317182"/>
                  <a:gd name="connsiteX26" fmla="*/ 126111 w 3222022"/>
                  <a:gd name="connsiteY26" fmla="*/ 97060 h 317182"/>
                  <a:gd name="connsiteX27" fmla="*/ 199739 w 3222022"/>
                  <a:gd name="connsiteY27" fmla="*/ 97060 h 317182"/>
                  <a:gd name="connsiteX28" fmla="*/ 199739 w 3222022"/>
                  <a:gd name="connsiteY28" fmla="*/ 103060 h 317182"/>
                  <a:gd name="connsiteX29" fmla="*/ 220789 w 3222022"/>
                  <a:gd name="connsiteY29" fmla="*/ 103060 h 317182"/>
                  <a:gd name="connsiteX30" fmla="*/ 220789 w 3222022"/>
                  <a:gd name="connsiteY30" fmla="*/ 109156 h 317182"/>
                  <a:gd name="connsiteX31" fmla="*/ 227076 w 3222022"/>
                  <a:gd name="connsiteY31" fmla="*/ 109156 h 317182"/>
                  <a:gd name="connsiteX32" fmla="*/ 227076 w 3222022"/>
                  <a:gd name="connsiteY32" fmla="*/ 115252 h 317182"/>
                  <a:gd name="connsiteX33" fmla="*/ 269176 w 3222022"/>
                  <a:gd name="connsiteY33" fmla="*/ 115252 h 317182"/>
                  <a:gd name="connsiteX34" fmla="*/ 269176 w 3222022"/>
                  <a:gd name="connsiteY34" fmla="*/ 121253 h 317182"/>
                  <a:gd name="connsiteX35" fmla="*/ 283845 w 3222022"/>
                  <a:gd name="connsiteY35" fmla="*/ 121253 h 317182"/>
                  <a:gd name="connsiteX36" fmla="*/ 283845 w 3222022"/>
                  <a:gd name="connsiteY36" fmla="*/ 127349 h 317182"/>
                  <a:gd name="connsiteX37" fmla="*/ 313372 w 3222022"/>
                  <a:gd name="connsiteY37" fmla="*/ 127349 h 317182"/>
                  <a:gd name="connsiteX38" fmla="*/ 313372 w 3222022"/>
                  <a:gd name="connsiteY38" fmla="*/ 133445 h 317182"/>
                  <a:gd name="connsiteX39" fmla="*/ 315468 w 3222022"/>
                  <a:gd name="connsiteY39" fmla="*/ 133445 h 317182"/>
                  <a:gd name="connsiteX40" fmla="*/ 315468 w 3222022"/>
                  <a:gd name="connsiteY40" fmla="*/ 139446 h 317182"/>
                  <a:gd name="connsiteX41" fmla="*/ 338518 w 3222022"/>
                  <a:gd name="connsiteY41" fmla="*/ 139446 h 317182"/>
                  <a:gd name="connsiteX42" fmla="*/ 338518 w 3222022"/>
                  <a:gd name="connsiteY42" fmla="*/ 145542 h 317182"/>
                  <a:gd name="connsiteX43" fmla="*/ 351187 w 3222022"/>
                  <a:gd name="connsiteY43" fmla="*/ 145542 h 317182"/>
                  <a:gd name="connsiteX44" fmla="*/ 351187 w 3222022"/>
                  <a:gd name="connsiteY44" fmla="*/ 151638 h 317182"/>
                  <a:gd name="connsiteX45" fmla="*/ 386905 w 3222022"/>
                  <a:gd name="connsiteY45" fmla="*/ 151638 h 317182"/>
                  <a:gd name="connsiteX46" fmla="*/ 386905 w 3222022"/>
                  <a:gd name="connsiteY46" fmla="*/ 157734 h 317182"/>
                  <a:gd name="connsiteX47" fmla="*/ 502634 w 3222022"/>
                  <a:gd name="connsiteY47" fmla="*/ 157734 h 317182"/>
                  <a:gd name="connsiteX48" fmla="*/ 502634 w 3222022"/>
                  <a:gd name="connsiteY48" fmla="*/ 163735 h 317182"/>
                  <a:gd name="connsiteX49" fmla="*/ 540448 w 3222022"/>
                  <a:gd name="connsiteY49" fmla="*/ 163735 h 317182"/>
                  <a:gd name="connsiteX50" fmla="*/ 540448 w 3222022"/>
                  <a:gd name="connsiteY50" fmla="*/ 169926 h 317182"/>
                  <a:gd name="connsiteX51" fmla="*/ 593026 w 3222022"/>
                  <a:gd name="connsiteY51" fmla="*/ 169926 h 317182"/>
                  <a:gd name="connsiteX52" fmla="*/ 593026 w 3222022"/>
                  <a:gd name="connsiteY52" fmla="*/ 176022 h 317182"/>
                  <a:gd name="connsiteX53" fmla="*/ 611981 w 3222022"/>
                  <a:gd name="connsiteY53" fmla="*/ 176022 h 317182"/>
                  <a:gd name="connsiteX54" fmla="*/ 611981 w 3222022"/>
                  <a:gd name="connsiteY54" fmla="*/ 182118 h 317182"/>
                  <a:gd name="connsiteX55" fmla="*/ 622459 w 3222022"/>
                  <a:gd name="connsiteY55" fmla="*/ 182118 h 317182"/>
                  <a:gd name="connsiteX56" fmla="*/ 622459 w 3222022"/>
                  <a:gd name="connsiteY56" fmla="*/ 188309 h 317182"/>
                  <a:gd name="connsiteX57" fmla="*/ 656177 w 3222022"/>
                  <a:gd name="connsiteY57" fmla="*/ 188309 h 317182"/>
                  <a:gd name="connsiteX58" fmla="*/ 656177 w 3222022"/>
                  <a:gd name="connsiteY58" fmla="*/ 194405 h 317182"/>
                  <a:gd name="connsiteX59" fmla="*/ 662464 w 3222022"/>
                  <a:gd name="connsiteY59" fmla="*/ 194405 h 317182"/>
                  <a:gd name="connsiteX60" fmla="*/ 662464 w 3222022"/>
                  <a:gd name="connsiteY60" fmla="*/ 200501 h 317182"/>
                  <a:gd name="connsiteX61" fmla="*/ 677132 w 3222022"/>
                  <a:gd name="connsiteY61" fmla="*/ 200501 h 317182"/>
                  <a:gd name="connsiteX62" fmla="*/ 677132 w 3222022"/>
                  <a:gd name="connsiteY62" fmla="*/ 206597 h 317182"/>
                  <a:gd name="connsiteX63" fmla="*/ 689800 w 3222022"/>
                  <a:gd name="connsiteY63" fmla="*/ 206597 h 317182"/>
                  <a:gd name="connsiteX64" fmla="*/ 689800 w 3222022"/>
                  <a:gd name="connsiteY64" fmla="*/ 212788 h 317182"/>
                  <a:gd name="connsiteX65" fmla="*/ 715042 w 3222022"/>
                  <a:gd name="connsiteY65" fmla="*/ 212788 h 317182"/>
                  <a:gd name="connsiteX66" fmla="*/ 715042 w 3222022"/>
                  <a:gd name="connsiteY66" fmla="*/ 218884 h 317182"/>
                  <a:gd name="connsiteX67" fmla="*/ 944308 w 3222022"/>
                  <a:gd name="connsiteY67" fmla="*/ 218884 h 317182"/>
                  <a:gd name="connsiteX68" fmla="*/ 944308 w 3222022"/>
                  <a:gd name="connsiteY68" fmla="*/ 225076 h 317182"/>
                  <a:gd name="connsiteX69" fmla="*/ 1057846 w 3222022"/>
                  <a:gd name="connsiteY69" fmla="*/ 225076 h 317182"/>
                  <a:gd name="connsiteX70" fmla="*/ 1057846 w 3222022"/>
                  <a:gd name="connsiteY70" fmla="*/ 231267 h 317182"/>
                  <a:gd name="connsiteX71" fmla="*/ 1327023 w 3222022"/>
                  <a:gd name="connsiteY71" fmla="*/ 231267 h 317182"/>
                  <a:gd name="connsiteX72" fmla="*/ 1327023 w 3222022"/>
                  <a:gd name="connsiteY72" fmla="*/ 237553 h 317182"/>
                  <a:gd name="connsiteX73" fmla="*/ 1400651 w 3222022"/>
                  <a:gd name="connsiteY73" fmla="*/ 237553 h 317182"/>
                  <a:gd name="connsiteX74" fmla="*/ 1400651 w 3222022"/>
                  <a:gd name="connsiteY74" fmla="*/ 243840 h 317182"/>
                  <a:gd name="connsiteX75" fmla="*/ 1480566 w 3222022"/>
                  <a:gd name="connsiteY75" fmla="*/ 243840 h 317182"/>
                  <a:gd name="connsiteX76" fmla="*/ 1480566 w 3222022"/>
                  <a:gd name="connsiteY76" fmla="*/ 250126 h 317182"/>
                  <a:gd name="connsiteX77" fmla="*/ 1642491 w 3222022"/>
                  <a:gd name="connsiteY77" fmla="*/ 250126 h 317182"/>
                  <a:gd name="connsiteX78" fmla="*/ 1642491 w 3222022"/>
                  <a:gd name="connsiteY78" fmla="*/ 256603 h 317182"/>
                  <a:gd name="connsiteX79" fmla="*/ 1659350 w 3222022"/>
                  <a:gd name="connsiteY79" fmla="*/ 256603 h 317182"/>
                  <a:gd name="connsiteX80" fmla="*/ 1659350 w 3222022"/>
                  <a:gd name="connsiteY80" fmla="*/ 262985 h 317182"/>
                  <a:gd name="connsiteX81" fmla="*/ 1777174 w 3222022"/>
                  <a:gd name="connsiteY81" fmla="*/ 262985 h 317182"/>
                  <a:gd name="connsiteX82" fmla="*/ 1777174 w 3222022"/>
                  <a:gd name="connsiteY82" fmla="*/ 269462 h 317182"/>
                  <a:gd name="connsiteX83" fmla="*/ 1869662 w 3222022"/>
                  <a:gd name="connsiteY83" fmla="*/ 269462 h 317182"/>
                  <a:gd name="connsiteX84" fmla="*/ 1869662 w 3222022"/>
                  <a:gd name="connsiteY84" fmla="*/ 275844 h 317182"/>
                  <a:gd name="connsiteX85" fmla="*/ 1888617 w 3222022"/>
                  <a:gd name="connsiteY85" fmla="*/ 275844 h 317182"/>
                  <a:gd name="connsiteX86" fmla="*/ 1888617 w 3222022"/>
                  <a:gd name="connsiteY86" fmla="*/ 282321 h 317182"/>
                  <a:gd name="connsiteX87" fmla="*/ 2742438 w 3222022"/>
                  <a:gd name="connsiteY87" fmla="*/ 282321 h 317182"/>
                  <a:gd name="connsiteX88" fmla="*/ 2742438 w 3222022"/>
                  <a:gd name="connsiteY88" fmla="*/ 317182 h 317182"/>
                  <a:gd name="connsiteX89" fmla="*/ 3222022 w 3222022"/>
                  <a:gd name="connsiteY89" fmla="*/ 317182 h 317182"/>
                  <a:gd name="connsiteX0" fmla="*/ 0 w 3194685"/>
                  <a:gd name="connsiteY0" fmla="*/ 0 h 311181"/>
                  <a:gd name="connsiteX1" fmla="*/ 0 w 3194685"/>
                  <a:gd name="connsiteY1" fmla="*/ 6096 h 311181"/>
                  <a:gd name="connsiteX2" fmla="*/ 2095 w 3194685"/>
                  <a:gd name="connsiteY2" fmla="*/ 6096 h 311181"/>
                  <a:gd name="connsiteX3" fmla="*/ 2095 w 3194685"/>
                  <a:gd name="connsiteY3" fmla="*/ 12192 h 311181"/>
                  <a:gd name="connsiteX4" fmla="*/ 12572 w 3194685"/>
                  <a:gd name="connsiteY4" fmla="*/ 12192 h 311181"/>
                  <a:gd name="connsiteX5" fmla="*/ 12572 w 3194685"/>
                  <a:gd name="connsiteY5" fmla="*/ 18192 h 311181"/>
                  <a:gd name="connsiteX6" fmla="*/ 18859 w 3194685"/>
                  <a:gd name="connsiteY6" fmla="*/ 18192 h 311181"/>
                  <a:gd name="connsiteX7" fmla="*/ 18859 w 3194685"/>
                  <a:gd name="connsiteY7" fmla="*/ 30384 h 311181"/>
                  <a:gd name="connsiteX8" fmla="*/ 27336 w 3194685"/>
                  <a:gd name="connsiteY8" fmla="*/ 30384 h 311181"/>
                  <a:gd name="connsiteX9" fmla="*/ 27336 w 3194685"/>
                  <a:gd name="connsiteY9" fmla="*/ 36385 h 311181"/>
                  <a:gd name="connsiteX10" fmla="*/ 33623 w 3194685"/>
                  <a:gd name="connsiteY10" fmla="*/ 36385 h 311181"/>
                  <a:gd name="connsiteX11" fmla="*/ 33623 w 3194685"/>
                  <a:gd name="connsiteY11" fmla="*/ 48577 h 311181"/>
                  <a:gd name="connsiteX12" fmla="*/ 35718 w 3194685"/>
                  <a:gd name="connsiteY12" fmla="*/ 48577 h 311181"/>
                  <a:gd name="connsiteX13" fmla="*/ 35718 w 3194685"/>
                  <a:gd name="connsiteY13" fmla="*/ 54673 h 311181"/>
                  <a:gd name="connsiteX14" fmla="*/ 48291 w 3194685"/>
                  <a:gd name="connsiteY14" fmla="*/ 54673 h 311181"/>
                  <a:gd name="connsiteX15" fmla="*/ 48291 w 3194685"/>
                  <a:gd name="connsiteY15" fmla="*/ 60674 h 311181"/>
                  <a:gd name="connsiteX16" fmla="*/ 71437 w 3194685"/>
                  <a:gd name="connsiteY16" fmla="*/ 60674 h 311181"/>
                  <a:gd name="connsiteX17" fmla="*/ 71437 w 3194685"/>
                  <a:gd name="connsiteY17" fmla="*/ 66770 h 311181"/>
                  <a:gd name="connsiteX18" fmla="*/ 77819 w 3194685"/>
                  <a:gd name="connsiteY18" fmla="*/ 66770 h 311181"/>
                  <a:gd name="connsiteX19" fmla="*/ 77819 w 3194685"/>
                  <a:gd name="connsiteY19" fmla="*/ 72866 h 311181"/>
                  <a:gd name="connsiteX20" fmla="*/ 86201 w 3194685"/>
                  <a:gd name="connsiteY20" fmla="*/ 72866 h 311181"/>
                  <a:gd name="connsiteX21" fmla="*/ 86201 w 3194685"/>
                  <a:gd name="connsiteY21" fmla="*/ 78867 h 311181"/>
                  <a:gd name="connsiteX22" fmla="*/ 94583 w 3194685"/>
                  <a:gd name="connsiteY22" fmla="*/ 78867 h 311181"/>
                  <a:gd name="connsiteX23" fmla="*/ 94583 w 3194685"/>
                  <a:gd name="connsiteY23" fmla="*/ 84963 h 311181"/>
                  <a:gd name="connsiteX24" fmla="*/ 98774 w 3194685"/>
                  <a:gd name="connsiteY24" fmla="*/ 84963 h 311181"/>
                  <a:gd name="connsiteX25" fmla="*/ 98774 w 3194685"/>
                  <a:gd name="connsiteY25" fmla="*/ 91059 h 311181"/>
                  <a:gd name="connsiteX26" fmla="*/ 172402 w 3194685"/>
                  <a:gd name="connsiteY26" fmla="*/ 91059 h 311181"/>
                  <a:gd name="connsiteX27" fmla="*/ 172402 w 3194685"/>
                  <a:gd name="connsiteY27" fmla="*/ 97059 h 311181"/>
                  <a:gd name="connsiteX28" fmla="*/ 193452 w 3194685"/>
                  <a:gd name="connsiteY28" fmla="*/ 97059 h 311181"/>
                  <a:gd name="connsiteX29" fmla="*/ 193452 w 3194685"/>
                  <a:gd name="connsiteY29" fmla="*/ 103155 h 311181"/>
                  <a:gd name="connsiteX30" fmla="*/ 199739 w 3194685"/>
                  <a:gd name="connsiteY30" fmla="*/ 103155 h 311181"/>
                  <a:gd name="connsiteX31" fmla="*/ 199739 w 3194685"/>
                  <a:gd name="connsiteY31" fmla="*/ 109251 h 311181"/>
                  <a:gd name="connsiteX32" fmla="*/ 241839 w 3194685"/>
                  <a:gd name="connsiteY32" fmla="*/ 109251 h 311181"/>
                  <a:gd name="connsiteX33" fmla="*/ 241839 w 3194685"/>
                  <a:gd name="connsiteY33" fmla="*/ 115252 h 311181"/>
                  <a:gd name="connsiteX34" fmla="*/ 256508 w 3194685"/>
                  <a:gd name="connsiteY34" fmla="*/ 115252 h 311181"/>
                  <a:gd name="connsiteX35" fmla="*/ 256508 w 3194685"/>
                  <a:gd name="connsiteY35" fmla="*/ 121348 h 311181"/>
                  <a:gd name="connsiteX36" fmla="*/ 286035 w 3194685"/>
                  <a:gd name="connsiteY36" fmla="*/ 121348 h 311181"/>
                  <a:gd name="connsiteX37" fmla="*/ 286035 w 3194685"/>
                  <a:gd name="connsiteY37" fmla="*/ 127444 h 311181"/>
                  <a:gd name="connsiteX38" fmla="*/ 288131 w 3194685"/>
                  <a:gd name="connsiteY38" fmla="*/ 127444 h 311181"/>
                  <a:gd name="connsiteX39" fmla="*/ 288131 w 3194685"/>
                  <a:gd name="connsiteY39" fmla="*/ 133445 h 311181"/>
                  <a:gd name="connsiteX40" fmla="*/ 311181 w 3194685"/>
                  <a:gd name="connsiteY40" fmla="*/ 133445 h 311181"/>
                  <a:gd name="connsiteX41" fmla="*/ 311181 w 3194685"/>
                  <a:gd name="connsiteY41" fmla="*/ 139541 h 311181"/>
                  <a:gd name="connsiteX42" fmla="*/ 323850 w 3194685"/>
                  <a:gd name="connsiteY42" fmla="*/ 139541 h 311181"/>
                  <a:gd name="connsiteX43" fmla="*/ 323850 w 3194685"/>
                  <a:gd name="connsiteY43" fmla="*/ 145637 h 311181"/>
                  <a:gd name="connsiteX44" fmla="*/ 359568 w 3194685"/>
                  <a:gd name="connsiteY44" fmla="*/ 145637 h 311181"/>
                  <a:gd name="connsiteX45" fmla="*/ 359568 w 3194685"/>
                  <a:gd name="connsiteY45" fmla="*/ 151733 h 311181"/>
                  <a:gd name="connsiteX46" fmla="*/ 475297 w 3194685"/>
                  <a:gd name="connsiteY46" fmla="*/ 151733 h 311181"/>
                  <a:gd name="connsiteX47" fmla="*/ 475297 w 3194685"/>
                  <a:gd name="connsiteY47" fmla="*/ 157734 h 311181"/>
                  <a:gd name="connsiteX48" fmla="*/ 513111 w 3194685"/>
                  <a:gd name="connsiteY48" fmla="*/ 157734 h 311181"/>
                  <a:gd name="connsiteX49" fmla="*/ 513111 w 3194685"/>
                  <a:gd name="connsiteY49" fmla="*/ 163925 h 311181"/>
                  <a:gd name="connsiteX50" fmla="*/ 565689 w 3194685"/>
                  <a:gd name="connsiteY50" fmla="*/ 163925 h 311181"/>
                  <a:gd name="connsiteX51" fmla="*/ 565689 w 3194685"/>
                  <a:gd name="connsiteY51" fmla="*/ 170021 h 311181"/>
                  <a:gd name="connsiteX52" fmla="*/ 584644 w 3194685"/>
                  <a:gd name="connsiteY52" fmla="*/ 170021 h 311181"/>
                  <a:gd name="connsiteX53" fmla="*/ 584644 w 3194685"/>
                  <a:gd name="connsiteY53" fmla="*/ 176117 h 311181"/>
                  <a:gd name="connsiteX54" fmla="*/ 595122 w 3194685"/>
                  <a:gd name="connsiteY54" fmla="*/ 176117 h 311181"/>
                  <a:gd name="connsiteX55" fmla="*/ 595122 w 3194685"/>
                  <a:gd name="connsiteY55" fmla="*/ 182308 h 311181"/>
                  <a:gd name="connsiteX56" fmla="*/ 628840 w 3194685"/>
                  <a:gd name="connsiteY56" fmla="*/ 182308 h 311181"/>
                  <a:gd name="connsiteX57" fmla="*/ 628840 w 3194685"/>
                  <a:gd name="connsiteY57" fmla="*/ 188404 h 311181"/>
                  <a:gd name="connsiteX58" fmla="*/ 635127 w 3194685"/>
                  <a:gd name="connsiteY58" fmla="*/ 188404 h 311181"/>
                  <a:gd name="connsiteX59" fmla="*/ 635127 w 3194685"/>
                  <a:gd name="connsiteY59" fmla="*/ 194500 h 311181"/>
                  <a:gd name="connsiteX60" fmla="*/ 649795 w 3194685"/>
                  <a:gd name="connsiteY60" fmla="*/ 194500 h 311181"/>
                  <a:gd name="connsiteX61" fmla="*/ 649795 w 3194685"/>
                  <a:gd name="connsiteY61" fmla="*/ 200596 h 311181"/>
                  <a:gd name="connsiteX62" fmla="*/ 662463 w 3194685"/>
                  <a:gd name="connsiteY62" fmla="*/ 200596 h 311181"/>
                  <a:gd name="connsiteX63" fmla="*/ 662463 w 3194685"/>
                  <a:gd name="connsiteY63" fmla="*/ 206787 h 311181"/>
                  <a:gd name="connsiteX64" fmla="*/ 687705 w 3194685"/>
                  <a:gd name="connsiteY64" fmla="*/ 206787 h 311181"/>
                  <a:gd name="connsiteX65" fmla="*/ 687705 w 3194685"/>
                  <a:gd name="connsiteY65" fmla="*/ 212883 h 311181"/>
                  <a:gd name="connsiteX66" fmla="*/ 916971 w 3194685"/>
                  <a:gd name="connsiteY66" fmla="*/ 212883 h 311181"/>
                  <a:gd name="connsiteX67" fmla="*/ 916971 w 3194685"/>
                  <a:gd name="connsiteY67" fmla="*/ 219075 h 311181"/>
                  <a:gd name="connsiteX68" fmla="*/ 1030509 w 3194685"/>
                  <a:gd name="connsiteY68" fmla="*/ 219075 h 311181"/>
                  <a:gd name="connsiteX69" fmla="*/ 1030509 w 3194685"/>
                  <a:gd name="connsiteY69" fmla="*/ 225266 h 311181"/>
                  <a:gd name="connsiteX70" fmla="*/ 1299686 w 3194685"/>
                  <a:gd name="connsiteY70" fmla="*/ 225266 h 311181"/>
                  <a:gd name="connsiteX71" fmla="*/ 1299686 w 3194685"/>
                  <a:gd name="connsiteY71" fmla="*/ 231552 h 311181"/>
                  <a:gd name="connsiteX72" fmla="*/ 1373314 w 3194685"/>
                  <a:gd name="connsiteY72" fmla="*/ 231552 h 311181"/>
                  <a:gd name="connsiteX73" fmla="*/ 1373314 w 3194685"/>
                  <a:gd name="connsiteY73" fmla="*/ 237839 h 311181"/>
                  <a:gd name="connsiteX74" fmla="*/ 1453229 w 3194685"/>
                  <a:gd name="connsiteY74" fmla="*/ 237839 h 311181"/>
                  <a:gd name="connsiteX75" fmla="*/ 1453229 w 3194685"/>
                  <a:gd name="connsiteY75" fmla="*/ 244125 h 311181"/>
                  <a:gd name="connsiteX76" fmla="*/ 1615154 w 3194685"/>
                  <a:gd name="connsiteY76" fmla="*/ 244125 h 311181"/>
                  <a:gd name="connsiteX77" fmla="*/ 1615154 w 3194685"/>
                  <a:gd name="connsiteY77" fmla="*/ 250602 h 311181"/>
                  <a:gd name="connsiteX78" fmla="*/ 1632013 w 3194685"/>
                  <a:gd name="connsiteY78" fmla="*/ 250602 h 311181"/>
                  <a:gd name="connsiteX79" fmla="*/ 1632013 w 3194685"/>
                  <a:gd name="connsiteY79" fmla="*/ 256984 h 311181"/>
                  <a:gd name="connsiteX80" fmla="*/ 1749837 w 3194685"/>
                  <a:gd name="connsiteY80" fmla="*/ 256984 h 311181"/>
                  <a:gd name="connsiteX81" fmla="*/ 1749837 w 3194685"/>
                  <a:gd name="connsiteY81" fmla="*/ 263461 h 311181"/>
                  <a:gd name="connsiteX82" fmla="*/ 1842325 w 3194685"/>
                  <a:gd name="connsiteY82" fmla="*/ 263461 h 311181"/>
                  <a:gd name="connsiteX83" fmla="*/ 1842325 w 3194685"/>
                  <a:gd name="connsiteY83" fmla="*/ 269843 h 311181"/>
                  <a:gd name="connsiteX84" fmla="*/ 1861280 w 3194685"/>
                  <a:gd name="connsiteY84" fmla="*/ 269843 h 311181"/>
                  <a:gd name="connsiteX85" fmla="*/ 1861280 w 3194685"/>
                  <a:gd name="connsiteY85" fmla="*/ 276320 h 311181"/>
                  <a:gd name="connsiteX86" fmla="*/ 2715101 w 3194685"/>
                  <a:gd name="connsiteY86" fmla="*/ 276320 h 311181"/>
                  <a:gd name="connsiteX87" fmla="*/ 2715101 w 3194685"/>
                  <a:gd name="connsiteY87" fmla="*/ 311181 h 311181"/>
                  <a:gd name="connsiteX88" fmla="*/ 3194685 w 3194685"/>
                  <a:gd name="connsiteY88" fmla="*/ 311181 h 311181"/>
                  <a:gd name="connsiteX0" fmla="*/ 0 w 3194685"/>
                  <a:gd name="connsiteY0" fmla="*/ 0 h 311181"/>
                  <a:gd name="connsiteX1" fmla="*/ 0 w 3194685"/>
                  <a:gd name="connsiteY1" fmla="*/ 6096 h 311181"/>
                  <a:gd name="connsiteX2" fmla="*/ 2095 w 3194685"/>
                  <a:gd name="connsiteY2" fmla="*/ 12192 h 311181"/>
                  <a:gd name="connsiteX3" fmla="*/ 12572 w 3194685"/>
                  <a:gd name="connsiteY3" fmla="*/ 12192 h 311181"/>
                  <a:gd name="connsiteX4" fmla="*/ 12572 w 3194685"/>
                  <a:gd name="connsiteY4" fmla="*/ 18192 h 311181"/>
                  <a:gd name="connsiteX5" fmla="*/ 18859 w 3194685"/>
                  <a:gd name="connsiteY5" fmla="*/ 18192 h 311181"/>
                  <a:gd name="connsiteX6" fmla="*/ 18859 w 3194685"/>
                  <a:gd name="connsiteY6" fmla="*/ 30384 h 311181"/>
                  <a:gd name="connsiteX7" fmla="*/ 27336 w 3194685"/>
                  <a:gd name="connsiteY7" fmla="*/ 30384 h 311181"/>
                  <a:gd name="connsiteX8" fmla="*/ 27336 w 3194685"/>
                  <a:gd name="connsiteY8" fmla="*/ 36385 h 311181"/>
                  <a:gd name="connsiteX9" fmla="*/ 33623 w 3194685"/>
                  <a:gd name="connsiteY9" fmla="*/ 36385 h 311181"/>
                  <a:gd name="connsiteX10" fmla="*/ 33623 w 3194685"/>
                  <a:gd name="connsiteY10" fmla="*/ 48577 h 311181"/>
                  <a:gd name="connsiteX11" fmla="*/ 35718 w 3194685"/>
                  <a:gd name="connsiteY11" fmla="*/ 48577 h 311181"/>
                  <a:gd name="connsiteX12" fmla="*/ 35718 w 3194685"/>
                  <a:gd name="connsiteY12" fmla="*/ 54673 h 311181"/>
                  <a:gd name="connsiteX13" fmla="*/ 48291 w 3194685"/>
                  <a:gd name="connsiteY13" fmla="*/ 54673 h 311181"/>
                  <a:gd name="connsiteX14" fmla="*/ 48291 w 3194685"/>
                  <a:gd name="connsiteY14" fmla="*/ 60674 h 311181"/>
                  <a:gd name="connsiteX15" fmla="*/ 71437 w 3194685"/>
                  <a:gd name="connsiteY15" fmla="*/ 60674 h 311181"/>
                  <a:gd name="connsiteX16" fmla="*/ 71437 w 3194685"/>
                  <a:gd name="connsiteY16" fmla="*/ 66770 h 311181"/>
                  <a:gd name="connsiteX17" fmla="*/ 77819 w 3194685"/>
                  <a:gd name="connsiteY17" fmla="*/ 66770 h 311181"/>
                  <a:gd name="connsiteX18" fmla="*/ 77819 w 3194685"/>
                  <a:gd name="connsiteY18" fmla="*/ 72866 h 311181"/>
                  <a:gd name="connsiteX19" fmla="*/ 86201 w 3194685"/>
                  <a:gd name="connsiteY19" fmla="*/ 72866 h 311181"/>
                  <a:gd name="connsiteX20" fmla="*/ 86201 w 3194685"/>
                  <a:gd name="connsiteY20" fmla="*/ 78867 h 311181"/>
                  <a:gd name="connsiteX21" fmla="*/ 94583 w 3194685"/>
                  <a:gd name="connsiteY21" fmla="*/ 78867 h 311181"/>
                  <a:gd name="connsiteX22" fmla="*/ 94583 w 3194685"/>
                  <a:gd name="connsiteY22" fmla="*/ 84963 h 311181"/>
                  <a:gd name="connsiteX23" fmla="*/ 98774 w 3194685"/>
                  <a:gd name="connsiteY23" fmla="*/ 84963 h 311181"/>
                  <a:gd name="connsiteX24" fmla="*/ 98774 w 3194685"/>
                  <a:gd name="connsiteY24" fmla="*/ 91059 h 311181"/>
                  <a:gd name="connsiteX25" fmla="*/ 172402 w 3194685"/>
                  <a:gd name="connsiteY25" fmla="*/ 91059 h 311181"/>
                  <a:gd name="connsiteX26" fmla="*/ 172402 w 3194685"/>
                  <a:gd name="connsiteY26" fmla="*/ 97059 h 311181"/>
                  <a:gd name="connsiteX27" fmla="*/ 193452 w 3194685"/>
                  <a:gd name="connsiteY27" fmla="*/ 97059 h 311181"/>
                  <a:gd name="connsiteX28" fmla="*/ 193452 w 3194685"/>
                  <a:gd name="connsiteY28" fmla="*/ 103155 h 311181"/>
                  <a:gd name="connsiteX29" fmla="*/ 199739 w 3194685"/>
                  <a:gd name="connsiteY29" fmla="*/ 103155 h 311181"/>
                  <a:gd name="connsiteX30" fmla="*/ 199739 w 3194685"/>
                  <a:gd name="connsiteY30" fmla="*/ 109251 h 311181"/>
                  <a:gd name="connsiteX31" fmla="*/ 241839 w 3194685"/>
                  <a:gd name="connsiteY31" fmla="*/ 109251 h 311181"/>
                  <a:gd name="connsiteX32" fmla="*/ 241839 w 3194685"/>
                  <a:gd name="connsiteY32" fmla="*/ 115252 h 311181"/>
                  <a:gd name="connsiteX33" fmla="*/ 256508 w 3194685"/>
                  <a:gd name="connsiteY33" fmla="*/ 115252 h 311181"/>
                  <a:gd name="connsiteX34" fmla="*/ 256508 w 3194685"/>
                  <a:gd name="connsiteY34" fmla="*/ 121348 h 311181"/>
                  <a:gd name="connsiteX35" fmla="*/ 286035 w 3194685"/>
                  <a:gd name="connsiteY35" fmla="*/ 121348 h 311181"/>
                  <a:gd name="connsiteX36" fmla="*/ 286035 w 3194685"/>
                  <a:gd name="connsiteY36" fmla="*/ 127444 h 311181"/>
                  <a:gd name="connsiteX37" fmla="*/ 288131 w 3194685"/>
                  <a:gd name="connsiteY37" fmla="*/ 127444 h 311181"/>
                  <a:gd name="connsiteX38" fmla="*/ 288131 w 3194685"/>
                  <a:gd name="connsiteY38" fmla="*/ 133445 h 311181"/>
                  <a:gd name="connsiteX39" fmla="*/ 311181 w 3194685"/>
                  <a:gd name="connsiteY39" fmla="*/ 133445 h 311181"/>
                  <a:gd name="connsiteX40" fmla="*/ 311181 w 3194685"/>
                  <a:gd name="connsiteY40" fmla="*/ 139541 h 311181"/>
                  <a:gd name="connsiteX41" fmla="*/ 323850 w 3194685"/>
                  <a:gd name="connsiteY41" fmla="*/ 139541 h 311181"/>
                  <a:gd name="connsiteX42" fmla="*/ 323850 w 3194685"/>
                  <a:gd name="connsiteY42" fmla="*/ 145637 h 311181"/>
                  <a:gd name="connsiteX43" fmla="*/ 359568 w 3194685"/>
                  <a:gd name="connsiteY43" fmla="*/ 145637 h 311181"/>
                  <a:gd name="connsiteX44" fmla="*/ 359568 w 3194685"/>
                  <a:gd name="connsiteY44" fmla="*/ 151733 h 311181"/>
                  <a:gd name="connsiteX45" fmla="*/ 475297 w 3194685"/>
                  <a:gd name="connsiteY45" fmla="*/ 151733 h 311181"/>
                  <a:gd name="connsiteX46" fmla="*/ 475297 w 3194685"/>
                  <a:gd name="connsiteY46" fmla="*/ 157734 h 311181"/>
                  <a:gd name="connsiteX47" fmla="*/ 513111 w 3194685"/>
                  <a:gd name="connsiteY47" fmla="*/ 157734 h 311181"/>
                  <a:gd name="connsiteX48" fmla="*/ 513111 w 3194685"/>
                  <a:gd name="connsiteY48" fmla="*/ 163925 h 311181"/>
                  <a:gd name="connsiteX49" fmla="*/ 565689 w 3194685"/>
                  <a:gd name="connsiteY49" fmla="*/ 163925 h 311181"/>
                  <a:gd name="connsiteX50" fmla="*/ 565689 w 3194685"/>
                  <a:gd name="connsiteY50" fmla="*/ 170021 h 311181"/>
                  <a:gd name="connsiteX51" fmla="*/ 584644 w 3194685"/>
                  <a:gd name="connsiteY51" fmla="*/ 170021 h 311181"/>
                  <a:gd name="connsiteX52" fmla="*/ 584644 w 3194685"/>
                  <a:gd name="connsiteY52" fmla="*/ 176117 h 311181"/>
                  <a:gd name="connsiteX53" fmla="*/ 595122 w 3194685"/>
                  <a:gd name="connsiteY53" fmla="*/ 176117 h 311181"/>
                  <a:gd name="connsiteX54" fmla="*/ 595122 w 3194685"/>
                  <a:gd name="connsiteY54" fmla="*/ 182308 h 311181"/>
                  <a:gd name="connsiteX55" fmla="*/ 628840 w 3194685"/>
                  <a:gd name="connsiteY55" fmla="*/ 182308 h 311181"/>
                  <a:gd name="connsiteX56" fmla="*/ 628840 w 3194685"/>
                  <a:gd name="connsiteY56" fmla="*/ 188404 h 311181"/>
                  <a:gd name="connsiteX57" fmla="*/ 635127 w 3194685"/>
                  <a:gd name="connsiteY57" fmla="*/ 188404 h 311181"/>
                  <a:gd name="connsiteX58" fmla="*/ 635127 w 3194685"/>
                  <a:gd name="connsiteY58" fmla="*/ 194500 h 311181"/>
                  <a:gd name="connsiteX59" fmla="*/ 649795 w 3194685"/>
                  <a:gd name="connsiteY59" fmla="*/ 194500 h 311181"/>
                  <a:gd name="connsiteX60" fmla="*/ 649795 w 3194685"/>
                  <a:gd name="connsiteY60" fmla="*/ 200596 h 311181"/>
                  <a:gd name="connsiteX61" fmla="*/ 662463 w 3194685"/>
                  <a:gd name="connsiteY61" fmla="*/ 200596 h 311181"/>
                  <a:gd name="connsiteX62" fmla="*/ 662463 w 3194685"/>
                  <a:gd name="connsiteY62" fmla="*/ 206787 h 311181"/>
                  <a:gd name="connsiteX63" fmla="*/ 687705 w 3194685"/>
                  <a:gd name="connsiteY63" fmla="*/ 206787 h 311181"/>
                  <a:gd name="connsiteX64" fmla="*/ 687705 w 3194685"/>
                  <a:gd name="connsiteY64" fmla="*/ 212883 h 311181"/>
                  <a:gd name="connsiteX65" fmla="*/ 916971 w 3194685"/>
                  <a:gd name="connsiteY65" fmla="*/ 212883 h 311181"/>
                  <a:gd name="connsiteX66" fmla="*/ 916971 w 3194685"/>
                  <a:gd name="connsiteY66" fmla="*/ 219075 h 311181"/>
                  <a:gd name="connsiteX67" fmla="*/ 1030509 w 3194685"/>
                  <a:gd name="connsiteY67" fmla="*/ 219075 h 311181"/>
                  <a:gd name="connsiteX68" fmla="*/ 1030509 w 3194685"/>
                  <a:gd name="connsiteY68" fmla="*/ 225266 h 311181"/>
                  <a:gd name="connsiteX69" fmla="*/ 1299686 w 3194685"/>
                  <a:gd name="connsiteY69" fmla="*/ 225266 h 311181"/>
                  <a:gd name="connsiteX70" fmla="*/ 1299686 w 3194685"/>
                  <a:gd name="connsiteY70" fmla="*/ 231552 h 311181"/>
                  <a:gd name="connsiteX71" fmla="*/ 1373314 w 3194685"/>
                  <a:gd name="connsiteY71" fmla="*/ 231552 h 311181"/>
                  <a:gd name="connsiteX72" fmla="*/ 1373314 w 3194685"/>
                  <a:gd name="connsiteY72" fmla="*/ 237839 h 311181"/>
                  <a:gd name="connsiteX73" fmla="*/ 1453229 w 3194685"/>
                  <a:gd name="connsiteY73" fmla="*/ 237839 h 311181"/>
                  <a:gd name="connsiteX74" fmla="*/ 1453229 w 3194685"/>
                  <a:gd name="connsiteY74" fmla="*/ 244125 h 311181"/>
                  <a:gd name="connsiteX75" fmla="*/ 1615154 w 3194685"/>
                  <a:gd name="connsiteY75" fmla="*/ 244125 h 311181"/>
                  <a:gd name="connsiteX76" fmla="*/ 1615154 w 3194685"/>
                  <a:gd name="connsiteY76" fmla="*/ 250602 h 311181"/>
                  <a:gd name="connsiteX77" fmla="*/ 1632013 w 3194685"/>
                  <a:gd name="connsiteY77" fmla="*/ 250602 h 311181"/>
                  <a:gd name="connsiteX78" fmla="*/ 1632013 w 3194685"/>
                  <a:gd name="connsiteY78" fmla="*/ 256984 h 311181"/>
                  <a:gd name="connsiteX79" fmla="*/ 1749837 w 3194685"/>
                  <a:gd name="connsiteY79" fmla="*/ 256984 h 311181"/>
                  <a:gd name="connsiteX80" fmla="*/ 1749837 w 3194685"/>
                  <a:gd name="connsiteY80" fmla="*/ 263461 h 311181"/>
                  <a:gd name="connsiteX81" fmla="*/ 1842325 w 3194685"/>
                  <a:gd name="connsiteY81" fmla="*/ 263461 h 311181"/>
                  <a:gd name="connsiteX82" fmla="*/ 1842325 w 3194685"/>
                  <a:gd name="connsiteY82" fmla="*/ 269843 h 311181"/>
                  <a:gd name="connsiteX83" fmla="*/ 1861280 w 3194685"/>
                  <a:gd name="connsiteY83" fmla="*/ 269843 h 311181"/>
                  <a:gd name="connsiteX84" fmla="*/ 1861280 w 3194685"/>
                  <a:gd name="connsiteY84" fmla="*/ 276320 h 311181"/>
                  <a:gd name="connsiteX85" fmla="*/ 2715101 w 3194685"/>
                  <a:gd name="connsiteY85" fmla="*/ 276320 h 311181"/>
                  <a:gd name="connsiteX86" fmla="*/ 2715101 w 3194685"/>
                  <a:gd name="connsiteY86" fmla="*/ 311181 h 311181"/>
                  <a:gd name="connsiteX87" fmla="*/ 3194685 w 3194685"/>
                  <a:gd name="connsiteY87" fmla="*/ 311181 h 311181"/>
                  <a:gd name="connsiteX0" fmla="*/ 0 w 3194685"/>
                  <a:gd name="connsiteY0" fmla="*/ 0 h 305085"/>
                  <a:gd name="connsiteX1" fmla="*/ 2095 w 3194685"/>
                  <a:gd name="connsiteY1" fmla="*/ 6096 h 305085"/>
                  <a:gd name="connsiteX2" fmla="*/ 12572 w 3194685"/>
                  <a:gd name="connsiteY2" fmla="*/ 6096 h 305085"/>
                  <a:gd name="connsiteX3" fmla="*/ 12572 w 3194685"/>
                  <a:gd name="connsiteY3" fmla="*/ 12096 h 305085"/>
                  <a:gd name="connsiteX4" fmla="*/ 18859 w 3194685"/>
                  <a:gd name="connsiteY4" fmla="*/ 12096 h 305085"/>
                  <a:gd name="connsiteX5" fmla="*/ 18859 w 3194685"/>
                  <a:gd name="connsiteY5" fmla="*/ 24288 h 305085"/>
                  <a:gd name="connsiteX6" fmla="*/ 27336 w 3194685"/>
                  <a:gd name="connsiteY6" fmla="*/ 24288 h 305085"/>
                  <a:gd name="connsiteX7" fmla="*/ 27336 w 3194685"/>
                  <a:gd name="connsiteY7" fmla="*/ 30289 h 305085"/>
                  <a:gd name="connsiteX8" fmla="*/ 33623 w 3194685"/>
                  <a:gd name="connsiteY8" fmla="*/ 30289 h 305085"/>
                  <a:gd name="connsiteX9" fmla="*/ 33623 w 3194685"/>
                  <a:gd name="connsiteY9" fmla="*/ 42481 h 305085"/>
                  <a:gd name="connsiteX10" fmla="*/ 35718 w 3194685"/>
                  <a:gd name="connsiteY10" fmla="*/ 42481 h 305085"/>
                  <a:gd name="connsiteX11" fmla="*/ 35718 w 3194685"/>
                  <a:gd name="connsiteY11" fmla="*/ 48577 h 305085"/>
                  <a:gd name="connsiteX12" fmla="*/ 48291 w 3194685"/>
                  <a:gd name="connsiteY12" fmla="*/ 48577 h 305085"/>
                  <a:gd name="connsiteX13" fmla="*/ 48291 w 3194685"/>
                  <a:gd name="connsiteY13" fmla="*/ 54578 h 305085"/>
                  <a:gd name="connsiteX14" fmla="*/ 71437 w 3194685"/>
                  <a:gd name="connsiteY14" fmla="*/ 54578 h 305085"/>
                  <a:gd name="connsiteX15" fmla="*/ 71437 w 3194685"/>
                  <a:gd name="connsiteY15" fmla="*/ 60674 h 305085"/>
                  <a:gd name="connsiteX16" fmla="*/ 77819 w 3194685"/>
                  <a:gd name="connsiteY16" fmla="*/ 60674 h 305085"/>
                  <a:gd name="connsiteX17" fmla="*/ 77819 w 3194685"/>
                  <a:gd name="connsiteY17" fmla="*/ 66770 h 305085"/>
                  <a:gd name="connsiteX18" fmla="*/ 86201 w 3194685"/>
                  <a:gd name="connsiteY18" fmla="*/ 66770 h 305085"/>
                  <a:gd name="connsiteX19" fmla="*/ 86201 w 3194685"/>
                  <a:gd name="connsiteY19" fmla="*/ 72771 h 305085"/>
                  <a:gd name="connsiteX20" fmla="*/ 94583 w 3194685"/>
                  <a:gd name="connsiteY20" fmla="*/ 72771 h 305085"/>
                  <a:gd name="connsiteX21" fmla="*/ 94583 w 3194685"/>
                  <a:gd name="connsiteY21" fmla="*/ 78867 h 305085"/>
                  <a:gd name="connsiteX22" fmla="*/ 98774 w 3194685"/>
                  <a:gd name="connsiteY22" fmla="*/ 78867 h 305085"/>
                  <a:gd name="connsiteX23" fmla="*/ 98774 w 3194685"/>
                  <a:gd name="connsiteY23" fmla="*/ 84963 h 305085"/>
                  <a:gd name="connsiteX24" fmla="*/ 172402 w 3194685"/>
                  <a:gd name="connsiteY24" fmla="*/ 84963 h 305085"/>
                  <a:gd name="connsiteX25" fmla="*/ 172402 w 3194685"/>
                  <a:gd name="connsiteY25" fmla="*/ 90963 h 305085"/>
                  <a:gd name="connsiteX26" fmla="*/ 193452 w 3194685"/>
                  <a:gd name="connsiteY26" fmla="*/ 90963 h 305085"/>
                  <a:gd name="connsiteX27" fmla="*/ 193452 w 3194685"/>
                  <a:gd name="connsiteY27" fmla="*/ 97059 h 305085"/>
                  <a:gd name="connsiteX28" fmla="*/ 199739 w 3194685"/>
                  <a:gd name="connsiteY28" fmla="*/ 97059 h 305085"/>
                  <a:gd name="connsiteX29" fmla="*/ 199739 w 3194685"/>
                  <a:gd name="connsiteY29" fmla="*/ 103155 h 305085"/>
                  <a:gd name="connsiteX30" fmla="*/ 241839 w 3194685"/>
                  <a:gd name="connsiteY30" fmla="*/ 103155 h 305085"/>
                  <a:gd name="connsiteX31" fmla="*/ 241839 w 3194685"/>
                  <a:gd name="connsiteY31" fmla="*/ 109156 h 305085"/>
                  <a:gd name="connsiteX32" fmla="*/ 256508 w 3194685"/>
                  <a:gd name="connsiteY32" fmla="*/ 109156 h 305085"/>
                  <a:gd name="connsiteX33" fmla="*/ 256508 w 3194685"/>
                  <a:gd name="connsiteY33" fmla="*/ 115252 h 305085"/>
                  <a:gd name="connsiteX34" fmla="*/ 286035 w 3194685"/>
                  <a:gd name="connsiteY34" fmla="*/ 115252 h 305085"/>
                  <a:gd name="connsiteX35" fmla="*/ 286035 w 3194685"/>
                  <a:gd name="connsiteY35" fmla="*/ 121348 h 305085"/>
                  <a:gd name="connsiteX36" fmla="*/ 288131 w 3194685"/>
                  <a:gd name="connsiteY36" fmla="*/ 121348 h 305085"/>
                  <a:gd name="connsiteX37" fmla="*/ 288131 w 3194685"/>
                  <a:gd name="connsiteY37" fmla="*/ 127349 h 305085"/>
                  <a:gd name="connsiteX38" fmla="*/ 311181 w 3194685"/>
                  <a:gd name="connsiteY38" fmla="*/ 127349 h 305085"/>
                  <a:gd name="connsiteX39" fmla="*/ 311181 w 3194685"/>
                  <a:gd name="connsiteY39" fmla="*/ 133445 h 305085"/>
                  <a:gd name="connsiteX40" fmla="*/ 323850 w 3194685"/>
                  <a:gd name="connsiteY40" fmla="*/ 133445 h 305085"/>
                  <a:gd name="connsiteX41" fmla="*/ 323850 w 3194685"/>
                  <a:gd name="connsiteY41" fmla="*/ 139541 h 305085"/>
                  <a:gd name="connsiteX42" fmla="*/ 359568 w 3194685"/>
                  <a:gd name="connsiteY42" fmla="*/ 139541 h 305085"/>
                  <a:gd name="connsiteX43" fmla="*/ 359568 w 3194685"/>
                  <a:gd name="connsiteY43" fmla="*/ 145637 h 305085"/>
                  <a:gd name="connsiteX44" fmla="*/ 475297 w 3194685"/>
                  <a:gd name="connsiteY44" fmla="*/ 145637 h 305085"/>
                  <a:gd name="connsiteX45" fmla="*/ 475297 w 3194685"/>
                  <a:gd name="connsiteY45" fmla="*/ 151638 h 305085"/>
                  <a:gd name="connsiteX46" fmla="*/ 513111 w 3194685"/>
                  <a:gd name="connsiteY46" fmla="*/ 151638 h 305085"/>
                  <a:gd name="connsiteX47" fmla="*/ 513111 w 3194685"/>
                  <a:gd name="connsiteY47" fmla="*/ 157829 h 305085"/>
                  <a:gd name="connsiteX48" fmla="*/ 565689 w 3194685"/>
                  <a:gd name="connsiteY48" fmla="*/ 157829 h 305085"/>
                  <a:gd name="connsiteX49" fmla="*/ 565689 w 3194685"/>
                  <a:gd name="connsiteY49" fmla="*/ 163925 h 305085"/>
                  <a:gd name="connsiteX50" fmla="*/ 584644 w 3194685"/>
                  <a:gd name="connsiteY50" fmla="*/ 163925 h 305085"/>
                  <a:gd name="connsiteX51" fmla="*/ 584644 w 3194685"/>
                  <a:gd name="connsiteY51" fmla="*/ 170021 h 305085"/>
                  <a:gd name="connsiteX52" fmla="*/ 595122 w 3194685"/>
                  <a:gd name="connsiteY52" fmla="*/ 170021 h 305085"/>
                  <a:gd name="connsiteX53" fmla="*/ 595122 w 3194685"/>
                  <a:gd name="connsiteY53" fmla="*/ 176212 h 305085"/>
                  <a:gd name="connsiteX54" fmla="*/ 628840 w 3194685"/>
                  <a:gd name="connsiteY54" fmla="*/ 176212 h 305085"/>
                  <a:gd name="connsiteX55" fmla="*/ 628840 w 3194685"/>
                  <a:gd name="connsiteY55" fmla="*/ 182308 h 305085"/>
                  <a:gd name="connsiteX56" fmla="*/ 635127 w 3194685"/>
                  <a:gd name="connsiteY56" fmla="*/ 182308 h 305085"/>
                  <a:gd name="connsiteX57" fmla="*/ 635127 w 3194685"/>
                  <a:gd name="connsiteY57" fmla="*/ 188404 h 305085"/>
                  <a:gd name="connsiteX58" fmla="*/ 649795 w 3194685"/>
                  <a:gd name="connsiteY58" fmla="*/ 188404 h 305085"/>
                  <a:gd name="connsiteX59" fmla="*/ 649795 w 3194685"/>
                  <a:gd name="connsiteY59" fmla="*/ 194500 h 305085"/>
                  <a:gd name="connsiteX60" fmla="*/ 662463 w 3194685"/>
                  <a:gd name="connsiteY60" fmla="*/ 194500 h 305085"/>
                  <a:gd name="connsiteX61" fmla="*/ 662463 w 3194685"/>
                  <a:gd name="connsiteY61" fmla="*/ 200691 h 305085"/>
                  <a:gd name="connsiteX62" fmla="*/ 687705 w 3194685"/>
                  <a:gd name="connsiteY62" fmla="*/ 200691 h 305085"/>
                  <a:gd name="connsiteX63" fmla="*/ 687705 w 3194685"/>
                  <a:gd name="connsiteY63" fmla="*/ 206787 h 305085"/>
                  <a:gd name="connsiteX64" fmla="*/ 916971 w 3194685"/>
                  <a:gd name="connsiteY64" fmla="*/ 206787 h 305085"/>
                  <a:gd name="connsiteX65" fmla="*/ 916971 w 3194685"/>
                  <a:gd name="connsiteY65" fmla="*/ 212979 h 305085"/>
                  <a:gd name="connsiteX66" fmla="*/ 1030509 w 3194685"/>
                  <a:gd name="connsiteY66" fmla="*/ 212979 h 305085"/>
                  <a:gd name="connsiteX67" fmla="*/ 1030509 w 3194685"/>
                  <a:gd name="connsiteY67" fmla="*/ 219170 h 305085"/>
                  <a:gd name="connsiteX68" fmla="*/ 1299686 w 3194685"/>
                  <a:gd name="connsiteY68" fmla="*/ 219170 h 305085"/>
                  <a:gd name="connsiteX69" fmla="*/ 1299686 w 3194685"/>
                  <a:gd name="connsiteY69" fmla="*/ 225456 h 305085"/>
                  <a:gd name="connsiteX70" fmla="*/ 1373314 w 3194685"/>
                  <a:gd name="connsiteY70" fmla="*/ 225456 h 305085"/>
                  <a:gd name="connsiteX71" fmla="*/ 1373314 w 3194685"/>
                  <a:gd name="connsiteY71" fmla="*/ 231743 h 305085"/>
                  <a:gd name="connsiteX72" fmla="*/ 1453229 w 3194685"/>
                  <a:gd name="connsiteY72" fmla="*/ 231743 h 305085"/>
                  <a:gd name="connsiteX73" fmla="*/ 1453229 w 3194685"/>
                  <a:gd name="connsiteY73" fmla="*/ 238029 h 305085"/>
                  <a:gd name="connsiteX74" fmla="*/ 1615154 w 3194685"/>
                  <a:gd name="connsiteY74" fmla="*/ 238029 h 305085"/>
                  <a:gd name="connsiteX75" fmla="*/ 1615154 w 3194685"/>
                  <a:gd name="connsiteY75" fmla="*/ 244506 h 305085"/>
                  <a:gd name="connsiteX76" fmla="*/ 1632013 w 3194685"/>
                  <a:gd name="connsiteY76" fmla="*/ 244506 h 305085"/>
                  <a:gd name="connsiteX77" fmla="*/ 1632013 w 3194685"/>
                  <a:gd name="connsiteY77" fmla="*/ 250888 h 305085"/>
                  <a:gd name="connsiteX78" fmla="*/ 1749837 w 3194685"/>
                  <a:gd name="connsiteY78" fmla="*/ 250888 h 305085"/>
                  <a:gd name="connsiteX79" fmla="*/ 1749837 w 3194685"/>
                  <a:gd name="connsiteY79" fmla="*/ 257365 h 305085"/>
                  <a:gd name="connsiteX80" fmla="*/ 1842325 w 3194685"/>
                  <a:gd name="connsiteY80" fmla="*/ 257365 h 305085"/>
                  <a:gd name="connsiteX81" fmla="*/ 1842325 w 3194685"/>
                  <a:gd name="connsiteY81" fmla="*/ 263747 h 305085"/>
                  <a:gd name="connsiteX82" fmla="*/ 1861280 w 3194685"/>
                  <a:gd name="connsiteY82" fmla="*/ 263747 h 305085"/>
                  <a:gd name="connsiteX83" fmla="*/ 1861280 w 3194685"/>
                  <a:gd name="connsiteY83" fmla="*/ 270224 h 305085"/>
                  <a:gd name="connsiteX84" fmla="*/ 2715101 w 3194685"/>
                  <a:gd name="connsiteY84" fmla="*/ 270224 h 305085"/>
                  <a:gd name="connsiteX85" fmla="*/ 2715101 w 3194685"/>
                  <a:gd name="connsiteY85" fmla="*/ 305085 h 305085"/>
                  <a:gd name="connsiteX86" fmla="*/ 3194685 w 3194685"/>
                  <a:gd name="connsiteY86" fmla="*/ 305085 h 305085"/>
                  <a:gd name="connsiteX0" fmla="*/ 0 w 3194685"/>
                  <a:gd name="connsiteY0" fmla="*/ 0 h 305085"/>
                  <a:gd name="connsiteX1" fmla="*/ 12572 w 3194685"/>
                  <a:gd name="connsiteY1" fmla="*/ 6096 h 305085"/>
                  <a:gd name="connsiteX2" fmla="*/ 12572 w 3194685"/>
                  <a:gd name="connsiteY2" fmla="*/ 12096 h 305085"/>
                  <a:gd name="connsiteX3" fmla="*/ 18859 w 3194685"/>
                  <a:gd name="connsiteY3" fmla="*/ 12096 h 305085"/>
                  <a:gd name="connsiteX4" fmla="*/ 18859 w 3194685"/>
                  <a:gd name="connsiteY4" fmla="*/ 24288 h 305085"/>
                  <a:gd name="connsiteX5" fmla="*/ 27336 w 3194685"/>
                  <a:gd name="connsiteY5" fmla="*/ 24288 h 305085"/>
                  <a:gd name="connsiteX6" fmla="*/ 27336 w 3194685"/>
                  <a:gd name="connsiteY6" fmla="*/ 30289 h 305085"/>
                  <a:gd name="connsiteX7" fmla="*/ 33623 w 3194685"/>
                  <a:gd name="connsiteY7" fmla="*/ 30289 h 305085"/>
                  <a:gd name="connsiteX8" fmla="*/ 33623 w 3194685"/>
                  <a:gd name="connsiteY8" fmla="*/ 42481 h 305085"/>
                  <a:gd name="connsiteX9" fmla="*/ 35718 w 3194685"/>
                  <a:gd name="connsiteY9" fmla="*/ 42481 h 305085"/>
                  <a:gd name="connsiteX10" fmla="*/ 35718 w 3194685"/>
                  <a:gd name="connsiteY10" fmla="*/ 48577 h 305085"/>
                  <a:gd name="connsiteX11" fmla="*/ 48291 w 3194685"/>
                  <a:gd name="connsiteY11" fmla="*/ 48577 h 305085"/>
                  <a:gd name="connsiteX12" fmla="*/ 48291 w 3194685"/>
                  <a:gd name="connsiteY12" fmla="*/ 54578 h 305085"/>
                  <a:gd name="connsiteX13" fmla="*/ 71437 w 3194685"/>
                  <a:gd name="connsiteY13" fmla="*/ 54578 h 305085"/>
                  <a:gd name="connsiteX14" fmla="*/ 71437 w 3194685"/>
                  <a:gd name="connsiteY14" fmla="*/ 60674 h 305085"/>
                  <a:gd name="connsiteX15" fmla="*/ 77819 w 3194685"/>
                  <a:gd name="connsiteY15" fmla="*/ 60674 h 305085"/>
                  <a:gd name="connsiteX16" fmla="*/ 77819 w 3194685"/>
                  <a:gd name="connsiteY16" fmla="*/ 66770 h 305085"/>
                  <a:gd name="connsiteX17" fmla="*/ 86201 w 3194685"/>
                  <a:gd name="connsiteY17" fmla="*/ 66770 h 305085"/>
                  <a:gd name="connsiteX18" fmla="*/ 86201 w 3194685"/>
                  <a:gd name="connsiteY18" fmla="*/ 72771 h 305085"/>
                  <a:gd name="connsiteX19" fmla="*/ 94583 w 3194685"/>
                  <a:gd name="connsiteY19" fmla="*/ 72771 h 305085"/>
                  <a:gd name="connsiteX20" fmla="*/ 94583 w 3194685"/>
                  <a:gd name="connsiteY20" fmla="*/ 78867 h 305085"/>
                  <a:gd name="connsiteX21" fmla="*/ 98774 w 3194685"/>
                  <a:gd name="connsiteY21" fmla="*/ 78867 h 305085"/>
                  <a:gd name="connsiteX22" fmla="*/ 98774 w 3194685"/>
                  <a:gd name="connsiteY22" fmla="*/ 84963 h 305085"/>
                  <a:gd name="connsiteX23" fmla="*/ 172402 w 3194685"/>
                  <a:gd name="connsiteY23" fmla="*/ 84963 h 305085"/>
                  <a:gd name="connsiteX24" fmla="*/ 172402 w 3194685"/>
                  <a:gd name="connsiteY24" fmla="*/ 90963 h 305085"/>
                  <a:gd name="connsiteX25" fmla="*/ 193452 w 3194685"/>
                  <a:gd name="connsiteY25" fmla="*/ 90963 h 305085"/>
                  <a:gd name="connsiteX26" fmla="*/ 193452 w 3194685"/>
                  <a:gd name="connsiteY26" fmla="*/ 97059 h 305085"/>
                  <a:gd name="connsiteX27" fmla="*/ 199739 w 3194685"/>
                  <a:gd name="connsiteY27" fmla="*/ 97059 h 305085"/>
                  <a:gd name="connsiteX28" fmla="*/ 199739 w 3194685"/>
                  <a:gd name="connsiteY28" fmla="*/ 103155 h 305085"/>
                  <a:gd name="connsiteX29" fmla="*/ 241839 w 3194685"/>
                  <a:gd name="connsiteY29" fmla="*/ 103155 h 305085"/>
                  <a:gd name="connsiteX30" fmla="*/ 241839 w 3194685"/>
                  <a:gd name="connsiteY30" fmla="*/ 109156 h 305085"/>
                  <a:gd name="connsiteX31" fmla="*/ 256508 w 3194685"/>
                  <a:gd name="connsiteY31" fmla="*/ 109156 h 305085"/>
                  <a:gd name="connsiteX32" fmla="*/ 256508 w 3194685"/>
                  <a:gd name="connsiteY32" fmla="*/ 115252 h 305085"/>
                  <a:gd name="connsiteX33" fmla="*/ 286035 w 3194685"/>
                  <a:gd name="connsiteY33" fmla="*/ 115252 h 305085"/>
                  <a:gd name="connsiteX34" fmla="*/ 286035 w 3194685"/>
                  <a:gd name="connsiteY34" fmla="*/ 121348 h 305085"/>
                  <a:gd name="connsiteX35" fmla="*/ 288131 w 3194685"/>
                  <a:gd name="connsiteY35" fmla="*/ 121348 h 305085"/>
                  <a:gd name="connsiteX36" fmla="*/ 288131 w 3194685"/>
                  <a:gd name="connsiteY36" fmla="*/ 127349 h 305085"/>
                  <a:gd name="connsiteX37" fmla="*/ 311181 w 3194685"/>
                  <a:gd name="connsiteY37" fmla="*/ 127349 h 305085"/>
                  <a:gd name="connsiteX38" fmla="*/ 311181 w 3194685"/>
                  <a:gd name="connsiteY38" fmla="*/ 133445 h 305085"/>
                  <a:gd name="connsiteX39" fmla="*/ 323850 w 3194685"/>
                  <a:gd name="connsiteY39" fmla="*/ 133445 h 305085"/>
                  <a:gd name="connsiteX40" fmla="*/ 323850 w 3194685"/>
                  <a:gd name="connsiteY40" fmla="*/ 139541 h 305085"/>
                  <a:gd name="connsiteX41" fmla="*/ 359568 w 3194685"/>
                  <a:gd name="connsiteY41" fmla="*/ 139541 h 305085"/>
                  <a:gd name="connsiteX42" fmla="*/ 359568 w 3194685"/>
                  <a:gd name="connsiteY42" fmla="*/ 145637 h 305085"/>
                  <a:gd name="connsiteX43" fmla="*/ 475297 w 3194685"/>
                  <a:gd name="connsiteY43" fmla="*/ 145637 h 305085"/>
                  <a:gd name="connsiteX44" fmla="*/ 475297 w 3194685"/>
                  <a:gd name="connsiteY44" fmla="*/ 151638 h 305085"/>
                  <a:gd name="connsiteX45" fmla="*/ 513111 w 3194685"/>
                  <a:gd name="connsiteY45" fmla="*/ 151638 h 305085"/>
                  <a:gd name="connsiteX46" fmla="*/ 513111 w 3194685"/>
                  <a:gd name="connsiteY46" fmla="*/ 157829 h 305085"/>
                  <a:gd name="connsiteX47" fmla="*/ 565689 w 3194685"/>
                  <a:gd name="connsiteY47" fmla="*/ 157829 h 305085"/>
                  <a:gd name="connsiteX48" fmla="*/ 565689 w 3194685"/>
                  <a:gd name="connsiteY48" fmla="*/ 163925 h 305085"/>
                  <a:gd name="connsiteX49" fmla="*/ 584644 w 3194685"/>
                  <a:gd name="connsiteY49" fmla="*/ 163925 h 305085"/>
                  <a:gd name="connsiteX50" fmla="*/ 584644 w 3194685"/>
                  <a:gd name="connsiteY50" fmla="*/ 170021 h 305085"/>
                  <a:gd name="connsiteX51" fmla="*/ 595122 w 3194685"/>
                  <a:gd name="connsiteY51" fmla="*/ 170021 h 305085"/>
                  <a:gd name="connsiteX52" fmla="*/ 595122 w 3194685"/>
                  <a:gd name="connsiteY52" fmla="*/ 176212 h 305085"/>
                  <a:gd name="connsiteX53" fmla="*/ 628840 w 3194685"/>
                  <a:gd name="connsiteY53" fmla="*/ 176212 h 305085"/>
                  <a:gd name="connsiteX54" fmla="*/ 628840 w 3194685"/>
                  <a:gd name="connsiteY54" fmla="*/ 182308 h 305085"/>
                  <a:gd name="connsiteX55" fmla="*/ 635127 w 3194685"/>
                  <a:gd name="connsiteY55" fmla="*/ 182308 h 305085"/>
                  <a:gd name="connsiteX56" fmla="*/ 635127 w 3194685"/>
                  <a:gd name="connsiteY56" fmla="*/ 188404 h 305085"/>
                  <a:gd name="connsiteX57" fmla="*/ 649795 w 3194685"/>
                  <a:gd name="connsiteY57" fmla="*/ 188404 h 305085"/>
                  <a:gd name="connsiteX58" fmla="*/ 649795 w 3194685"/>
                  <a:gd name="connsiteY58" fmla="*/ 194500 h 305085"/>
                  <a:gd name="connsiteX59" fmla="*/ 662463 w 3194685"/>
                  <a:gd name="connsiteY59" fmla="*/ 194500 h 305085"/>
                  <a:gd name="connsiteX60" fmla="*/ 662463 w 3194685"/>
                  <a:gd name="connsiteY60" fmla="*/ 200691 h 305085"/>
                  <a:gd name="connsiteX61" fmla="*/ 687705 w 3194685"/>
                  <a:gd name="connsiteY61" fmla="*/ 200691 h 305085"/>
                  <a:gd name="connsiteX62" fmla="*/ 687705 w 3194685"/>
                  <a:gd name="connsiteY62" fmla="*/ 206787 h 305085"/>
                  <a:gd name="connsiteX63" fmla="*/ 916971 w 3194685"/>
                  <a:gd name="connsiteY63" fmla="*/ 206787 h 305085"/>
                  <a:gd name="connsiteX64" fmla="*/ 916971 w 3194685"/>
                  <a:gd name="connsiteY64" fmla="*/ 212979 h 305085"/>
                  <a:gd name="connsiteX65" fmla="*/ 1030509 w 3194685"/>
                  <a:gd name="connsiteY65" fmla="*/ 212979 h 305085"/>
                  <a:gd name="connsiteX66" fmla="*/ 1030509 w 3194685"/>
                  <a:gd name="connsiteY66" fmla="*/ 219170 h 305085"/>
                  <a:gd name="connsiteX67" fmla="*/ 1299686 w 3194685"/>
                  <a:gd name="connsiteY67" fmla="*/ 219170 h 305085"/>
                  <a:gd name="connsiteX68" fmla="*/ 1299686 w 3194685"/>
                  <a:gd name="connsiteY68" fmla="*/ 225456 h 305085"/>
                  <a:gd name="connsiteX69" fmla="*/ 1373314 w 3194685"/>
                  <a:gd name="connsiteY69" fmla="*/ 225456 h 305085"/>
                  <a:gd name="connsiteX70" fmla="*/ 1373314 w 3194685"/>
                  <a:gd name="connsiteY70" fmla="*/ 231743 h 305085"/>
                  <a:gd name="connsiteX71" fmla="*/ 1453229 w 3194685"/>
                  <a:gd name="connsiteY71" fmla="*/ 231743 h 305085"/>
                  <a:gd name="connsiteX72" fmla="*/ 1453229 w 3194685"/>
                  <a:gd name="connsiteY72" fmla="*/ 238029 h 305085"/>
                  <a:gd name="connsiteX73" fmla="*/ 1615154 w 3194685"/>
                  <a:gd name="connsiteY73" fmla="*/ 238029 h 305085"/>
                  <a:gd name="connsiteX74" fmla="*/ 1615154 w 3194685"/>
                  <a:gd name="connsiteY74" fmla="*/ 244506 h 305085"/>
                  <a:gd name="connsiteX75" fmla="*/ 1632013 w 3194685"/>
                  <a:gd name="connsiteY75" fmla="*/ 244506 h 305085"/>
                  <a:gd name="connsiteX76" fmla="*/ 1632013 w 3194685"/>
                  <a:gd name="connsiteY76" fmla="*/ 250888 h 305085"/>
                  <a:gd name="connsiteX77" fmla="*/ 1749837 w 3194685"/>
                  <a:gd name="connsiteY77" fmla="*/ 250888 h 305085"/>
                  <a:gd name="connsiteX78" fmla="*/ 1749837 w 3194685"/>
                  <a:gd name="connsiteY78" fmla="*/ 257365 h 305085"/>
                  <a:gd name="connsiteX79" fmla="*/ 1842325 w 3194685"/>
                  <a:gd name="connsiteY79" fmla="*/ 257365 h 305085"/>
                  <a:gd name="connsiteX80" fmla="*/ 1842325 w 3194685"/>
                  <a:gd name="connsiteY80" fmla="*/ 263747 h 305085"/>
                  <a:gd name="connsiteX81" fmla="*/ 1861280 w 3194685"/>
                  <a:gd name="connsiteY81" fmla="*/ 263747 h 305085"/>
                  <a:gd name="connsiteX82" fmla="*/ 1861280 w 3194685"/>
                  <a:gd name="connsiteY82" fmla="*/ 270224 h 305085"/>
                  <a:gd name="connsiteX83" fmla="*/ 2715101 w 3194685"/>
                  <a:gd name="connsiteY83" fmla="*/ 270224 h 305085"/>
                  <a:gd name="connsiteX84" fmla="*/ 2715101 w 3194685"/>
                  <a:gd name="connsiteY84" fmla="*/ 305085 h 305085"/>
                  <a:gd name="connsiteX85" fmla="*/ 3194685 w 3194685"/>
                  <a:gd name="connsiteY85" fmla="*/ 305085 h 305085"/>
                  <a:gd name="connsiteX0" fmla="*/ 0 w 3182113"/>
                  <a:gd name="connsiteY0" fmla="*/ 0 h 298989"/>
                  <a:gd name="connsiteX1" fmla="*/ 0 w 3182113"/>
                  <a:gd name="connsiteY1" fmla="*/ 6000 h 298989"/>
                  <a:gd name="connsiteX2" fmla="*/ 6287 w 3182113"/>
                  <a:gd name="connsiteY2" fmla="*/ 6000 h 298989"/>
                  <a:gd name="connsiteX3" fmla="*/ 6287 w 3182113"/>
                  <a:gd name="connsiteY3" fmla="*/ 18192 h 298989"/>
                  <a:gd name="connsiteX4" fmla="*/ 14764 w 3182113"/>
                  <a:gd name="connsiteY4" fmla="*/ 18192 h 298989"/>
                  <a:gd name="connsiteX5" fmla="*/ 14764 w 3182113"/>
                  <a:gd name="connsiteY5" fmla="*/ 24193 h 298989"/>
                  <a:gd name="connsiteX6" fmla="*/ 21051 w 3182113"/>
                  <a:gd name="connsiteY6" fmla="*/ 24193 h 298989"/>
                  <a:gd name="connsiteX7" fmla="*/ 21051 w 3182113"/>
                  <a:gd name="connsiteY7" fmla="*/ 36385 h 298989"/>
                  <a:gd name="connsiteX8" fmla="*/ 23146 w 3182113"/>
                  <a:gd name="connsiteY8" fmla="*/ 36385 h 298989"/>
                  <a:gd name="connsiteX9" fmla="*/ 23146 w 3182113"/>
                  <a:gd name="connsiteY9" fmla="*/ 42481 h 298989"/>
                  <a:gd name="connsiteX10" fmla="*/ 35719 w 3182113"/>
                  <a:gd name="connsiteY10" fmla="*/ 42481 h 298989"/>
                  <a:gd name="connsiteX11" fmla="*/ 35719 w 3182113"/>
                  <a:gd name="connsiteY11" fmla="*/ 48482 h 298989"/>
                  <a:gd name="connsiteX12" fmla="*/ 58865 w 3182113"/>
                  <a:gd name="connsiteY12" fmla="*/ 48482 h 298989"/>
                  <a:gd name="connsiteX13" fmla="*/ 58865 w 3182113"/>
                  <a:gd name="connsiteY13" fmla="*/ 54578 h 298989"/>
                  <a:gd name="connsiteX14" fmla="*/ 65247 w 3182113"/>
                  <a:gd name="connsiteY14" fmla="*/ 54578 h 298989"/>
                  <a:gd name="connsiteX15" fmla="*/ 65247 w 3182113"/>
                  <a:gd name="connsiteY15" fmla="*/ 60674 h 298989"/>
                  <a:gd name="connsiteX16" fmla="*/ 73629 w 3182113"/>
                  <a:gd name="connsiteY16" fmla="*/ 60674 h 298989"/>
                  <a:gd name="connsiteX17" fmla="*/ 73629 w 3182113"/>
                  <a:gd name="connsiteY17" fmla="*/ 66675 h 298989"/>
                  <a:gd name="connsiteX18" fmla="*/ 82011 w 3182113"/>
                  <a:gd name="connsiteY18" fmla="*/ 66675 h 298989"/>
                  <a:gd name="connsiteX19" fmla="*/ 82011 w 3182113"/>
                  <a:gd name="connsiteY19" fmla="*/ 72771 h 298989"/>
                  <a:gd name="connsiteX20" fmla="*/ 86202 w 3182113"/>
                  <a:gd name="connsiteY20" fmla="*/ 72771 h 298989"/>
                  <a:gd name="connsiteX21" fmla="*/ 86202 w 3182113"/>
                  <a:gd name="connsiteY21" fmla="*/ 78867 h 298989"/>
                  <a:gd name="connsiteX22" fmla="*/ 159830 w 3182113"/>
                  <a:gd name="connsiteY22" fmla="*/ 78867 h 298989"/>
                  <a:gd name="connsiteX23" fmla="*/ 159830 w 3182113"/>
                  <a:gd name="connsiteY23" fmla="*/ 84867 h 298989"/>
                  <a:gd name="connsiteX24" fmla="*/ 180880 w 3182113"/>
                  <a:gd name="connsiteY24" fmla="*/ 84867 h 298989"/>
                  <a:gd name="connsiteX25" fmla="*/ 180880 w 3182113"/>
                  <a:gd name="connsiteY25" fmla="*/ 90963 h 298989"/>
                  <a:gd name="connsiteX26" fmla="*/ 187167 w 3182113"/>
                  <a:gd name="connsiteY26" fmla="*/ 90963 h 298989"/>
                  <a:gd name="connsiteX27" fmla="*/ 187167 w 3182113"/>
                  <a:gd name="connsiteY27" fmla="*/ 97059 h 298989"/>
                  <a:gd name="connsiteX28" fmla="*/ 229267 w 3182113"/>
                  <a:gd name="connsiteY28" fmla="*/ 97059 h 298989"/>
                  <a:gd name="connsiteX29" fmla="*/ 229267 w 3182113"/>
                  <a:gd name="connsiteY29" fmla="*/ 103060 h 298989"/>
                  <a:gd name="connsiteX30" fmla="*/ 243936 w 3182113"/>
                  <a:gd name="connsiteY30" fmla="*/ 103060 h 298989"/>
                  <a:gd name="connsiteX31" fmla="*/ 243936 w 3182113"/>
                  <a:gd name="connsiteY31" fmla="*/ 109156 h 298989"/>
                  <a:gd name="connsiteX32" fmla="*/ 273463 w 3182113"/>
                  <a:gd name="connsiteY32" fmla="*/ 109156 h 298989"/>
                  <a:gd name="connsiteX33" fmla="*/ 273463 w 3182113"/>
                  <a:gd name="connsiteY33" fmla="*/ 115252 h 298989"/>
                  <a:gd name="connsiteX34" fmla="*/ 275559 w 3182113"/>
                  <a:gd name="connsiteY34" fmla="*/ 115252 h 298989"/>
                  <a:gd name="connsiteX35" fmla="*/ 275559 w 3182113"/>
                  <a:gd name="connsiteY35" fmla="*/ 121253 h 298989"/>
                  <a:gd name="connsiteX36" fmla="*/ 298609 w 3182113"/>
                  <a:gd name="connsiteY36" fmla="*/ 121253 h 298989"/>
                  <a:gd name="connsiteX37" fmla="*/ 298609 w 3182113"/>
                  <a:gd name="connsiteY37" fmla="*/ 127349 h 298989"/>
                  <a:gd name="connsiteX38" fmla="*/ 311278 w 3182113"/>
                  <a:gd name="connsiteY38" fmla="*/ 127349 h 298989"/>
                  <a:gd name="connsiteX39" fmla="*/ 311278 w 3182113"/>
                  <a:gd name="connsiteY39" fmla="*/ 133445 h 298989"/>
                  <a:gd name="connsiteX40" fmla="*/ 346996 w 3182113"/>
                  <a:gd name="connsiteY40" fmla="*/ 133445 h 298989"/>
                  <a:gd name="connsiteX41" fmla="*/ 346996 w 3182113"/>
                  <a:gd name="connsiteY41" fmla="*/ 139541 h 298989"/>
                  <a:gd name="connsiteX42" fmla="*/ 462725 w 3182113"/>
                  <a:gd name="connsiteY42" fmla="*/ 139541 h 298989"/>
                  <a:gd name="connsiteX43" fmla="*/ 462725 w 3182113"/>
                  <a:gd name="connsiteY43" fmla="*/ 145542 h 298989"/>
                  <a:gd name="connsiteX44" fmla="*/ 500539 w 3182113"/>
                  <a:gd name="connsiteY44" fmla="*/ 145542 h 298989"/>
                  <a:gd name="connsiteX45" fmla="*/ 500539 w 3182113"/>
                  <a:gd name="connsiteY45" fmla="*/ 151733 h 298989"/>
                  <a:gd name="connsiteX46" fmla="*/ 553117 w 3182113"/>
                  <a:gd name="connsiteY46" fmla="*/ 151733 h 298989"/>
                  <a:gd name="connsiteX47" fmla="*/ 553117 w 3182113"/>
                  <a:gd name="connsiteY47" fmla="*/ 157829 h 298989"/>
                  <a:gd name="connsiteX48" fmla="*/ 572072 w 3182113"/>
                  <a:gd name="connsiteY48" fmla="*/ 157829 h 298989"/>
                  <a:gd name="connsiteX49" fmla="*/ 572072 w 3182113"/>
                  <a:gd name="connsiteY49" fmla="*/ 163925 h 298989"/>
                  <a:gd name="connsiteX50" fmla="*/ 582550 w 3182113"/>
                  <a:gd name="connsiteY50" fmla="*/ 163925 h 298989"/>
                  <a:gd name="connsiteX51" fmla="*/ 582550 w 3182113"/>
                  <a:gd name="connsiteY51" fmla="*/ 170116 h 298989"/>
                  <a:gd name="connsiteX52" fmla="*/ 616268 w 3182113"/>
                  <a:gd name="connsiteY52" fmla="*/ 170116 h 298989"/>
                  <a:gd name="connsiteX53" fmla="*/ 616268 w 3182113"/>
                  <a:gd name="connsiteY53" fmla="*/ 176212 h 298989"/>
                  <a:gd name="connsiteX54" fmla="*/ 622555 w 3182113"/>
                  <a:gd name="connsiteY54" fmla="*/ 176212 h 298989"/>
                  <a:gd name="connsiteX55" fmla="*/ 622555 w 3182113"/>
                  <a:gd name="connsiteY55" fmla="*/ 182308 h 298989"/>
                  <a:gd name="connsiteX56" fmla="*/ 637223 w 3182113"/>
                  <a:gd name="connsiteY56" fmla="*/ 182308 h 298989"/>
                  <a:gd name="connsiteX57" fmla="*/ 637223 w 3182113"/>
                  <a:gd name="connsiteY57" fmla="*/ 188404 h 298989"/>
                  <a:gd name="connsiteX58" fmla="*/ 649891 w 3182113"/>
                  <a:gd name="connsiteY58" fmla="*/ 188404 h 298989"/>
                  <a:gd name="connsiteX59" fmla="*/ 649891 w 3182113"/>
                  <a:gd name="connsiteY59" fmla="*/ 194595 h 298989"/>
                  <a:gd name="connsiteX60" fmla="*/ 675133 w 3182113"/>
                  <a:gd name="connsiteY60" fmla="*/ 194595 h 298989"/>
                  <a:gd name="connsiteX61" fmla="*/ 675133 w 3182113"/>
                  <a:gd name="connsiteY61" fmla="*/ 200691 h 298989"/>
                  <a:gd name="connsiteX62" fmla="*/ 904399 w 3182113"/>
                  <a:gd name="connsiteY62" fmla="*/ 200691 h 298989"/>
                  <a:gd name="connsiteX63" fmla="*/ 904399 w 3182113"/>
                  <a:gd name="connsiteY63" fmla="*/ 206883 h 298989"/>
                  <a:gd name="connsiteX64" fmla="*/ 1017937 w 3182113"/>
                  <a:gd name="connsiteY64" fmla="*/ 206883 h 298989"/>
                  <a:gd name="connsiteX65" fmla="*/ 1017937 w 3182113"/>
                  <a:gd name="connsiteY65" fmla="*/ 213074 h 298989"/>
                  <a:gd name="connsiteX66" fmla="*/ 1287114 w 3182113"/>
                  <a:gd name="connsiteY66" fmla="*/ 213074 h 298989"/>
                  <a:gd name="connsiteX67" fmla="*/ 1287114 w 3182113"/>
                  <a:gd name="connsiteY67" fmla="*/ 219360 h 298989"/>
                  <a:gd name="connsiteX68" fmla="*/ 1360742 w 3182113"/>
                  <a:gd name="connsiteY68" fmla="*/ 219360 h 298989"/>
                  <a:gd name="connsiteX69" fmla="*/ 1360742 w 3182113"/>
                  <a:gd name="connsiteY69" fmla="*/ 225647 h 298989"/>
                  <a:gd name="connsiteX70" fmla="*/ 1440657 w 3182113"/>
                  <a:gd name="connsiteY70" fmla="*/ 225647 h 298989"/>
                  <a:gd name="connsiteX71" fmla="*/ 1440657 w 3182113"/>
                  <a:gd name="connsiteY71" fmla="*/ 231933 h 298989"/>
                  <a:gd name="connsiteX72" fmla="*/ 1602582 w 3182113"/>
                  <a:gd name="connsiteY72" fmla="*/ 231933 h 298989"/>
                  <a:gd name="connsiteX73" fmla="*/ 1602582 w 3182113"/>
                  <a:gd name="connsiteY73" fmla="*/ 238410 h 298989"/>
                  <a:gd name="connsiteX74" fmla="*/ 1619441 w 3182113"/>
                  <a:gd name="connsiteY74" fmla="*/ 238410 h 298989"/>
                  <a:gd name="connsiteX75" fmla="*/ 1619441 w 3182113"/>
                  <a:gd name="connsiteY75" fmla="*/ 244792 h 298989"/>
                  <a:gd name="connsiteX76" fmla="*/ 1737265 w 3182113"/>
                  <a:gd name="connsiteY76" fmla="*/ 244792 h 298989"/>
                  <a:gd name="connsiteX77" fmla="*/ 1737265 w 3182113"/>
                  <a:gd name="connsiteY77" fmla="*/ 251269 h 298989"/>
                  <a:gd name="connsiteX78" fmla="*/ 1829753 w 3182113"/>
                  <a:gd name="connsiteY78" fmla="*/ 251269 h 298989"/>
                  <a:gd name="connsiteX79" fmla="*/ 1829753 w 3182113"/>
                  <a:gd name="connsiteY79" fmla="*/ 257651 h 298989"/>
                  <a:gd name="connsiteX80" fmla="*/ 1848708 w 3182113"/>
                  <a:gd name="connsiteY80" fmla="*/ 257651 h 298989"/>
                  <a:gd name="connsiteX81" fmla="*/ 1848708 w 3182113"/>
                  <a:gd name="connsiteY81" fmla="*/ 264128 h 298989"/>
                  <a:gd name="connsiteX82" fmla="*/ 2702529 w 3182113"/>
                  <a:gd name="connsiteY82" fmla="*/ 264128 h 298989"/>
                  <a:gd name="connsiteX83" fmla="*/ 2702529 w 3182113"/>
                  <a:gd name="connsiteY83" fmla="*/ 298989 h 298989"/>
                  <a:gd name="connsiteX84" fmla="*/ 3182113 w 3182113"/>
                  <a:gd name="connsiteY84" fmla="*/ 298989 h 298989"/>
                  <a:gd name="connsiteX0" fmla="*/ 0 w 3182113"/>
                  <a:gd name="connsiteY0" fmla="*/ 0 h 298989"/>
                  <a:gd name="connsiteX1" fmla="*/ 0 w 3182113"/>
                  <a:gd name="connsiteY1" fmla="*/ 6000 h 298989"/>
                  <a:gd name="connsiteX2" fmla="*/ 6287 w 3182113"/>
                  <a:gd name="connsiteY2" fmla="*/ 18192 h 298989"/>
                  <a:gd name="connsiteX3" fmla="*/ 14764 w 3182113"/>
                  <a:gd name="connsiteY3" fmla="*/ 18192 h 298989"/>
                  <a:gd name="connsiteX4" fmla="*/ 14764 w 3182113"/>
                  <a:gd name="connsiteY4" fmla="*/ 24193 h 298989"/>
                  <a:gd name="connsiteX5" fmla="*/ 21051 w 3182113"/>
                  <a:gd name="connsiteY5" fmla="*/ 24193 h 298989"/>
                  <a:gd name="connsiteX6" fmla="*/ 21051 w 3182113"/>
                  <a:gd name="connsiteY6" fmla="*/ 36385 h 298989"/>
                  <a:gd name="connsiteX7" fmla="*/ 23146 w 3182113"/>
                  <a:gd name="connsiteY7" fmla="*/ 36385 h 298989"/>
                  <a:gd name="connsiteX8" fmla="*/ 23146 w 3182113"/>
                  <a:gd name="connsiteY8" fmla="*/ 42481 h 298989"/>
                  <a:gd name="connsiteX9" fmla="*/ 35719 w 3182113"/>
                  <a:gd name="connsiteY9" fmla="*/ 42481 h 298989"/>
                  <a:gd name="connsiteX10" fmla="*/ 35719 w 3182113"/>
                  <a:gd name="connsiteY10" fmla="*/ 48482 h 298989"/>
                  <a:gd name="connsiteX11" fmla="*/ 58865 w 3182113"/>
                  <a:gd name="connsiteY11" fmla="*/ 48482 h 298989"/>
                  <a:gd name="connsiteX12" fmla="*/ 58865 w 3182113"/>
                  <a:gd name="connsiteY12" fmla="*/ 54578 h 298989"/>
                  <a:gd name="connsiteX13" fmla="*/ 65247 w 3182113"/>
                  <a:gd name="connsiteY13" fmla="*/ 54578 h 298989"/>
                  <a:gd name="connsiteX14" fmla="*/ 65247 w 3182113"/>
                  <a:gd name="connsiteY14" fmla="*/ 60674 h 298989"/>
                  <a:gd name="connsiteX15" fmla="*/ 73629 w 3182113"/>
                  <a:gd name="connsiteY15" fmla="*/ 60674 h 298989"/>
                  <a:gd name="connsiteX16" fmla="*/ 73629 w 3182113"/>
                  <a:gd name="connsiteY16" fmla="*/ 66675 h 298989"/>
                  <a:gd name="connsiteX17" fmla="*/ 82011 w 3182113"/>
                  <a:gd name="connsiteY17" fmla="*/ 66675 h 298989"/>
                  <a:gd name="connsiteX18" fmla="*/ 82011 w 3182113"/>
                  <a:gd name="connsiteY18" fmla="*/ 72771 h 298989"/>
                  <a:gd name="connsiteX19" fmla="*/ 86202 w 3182113"/>
                  <a:gd name="connsiteY19" fmla="*/ 72771 h 298989"/>
                  <a:gd name="connsiteX20" fmla="*/ 86202 w 3182113"/>
                  <a:gd name="connsiteY20" fmla="*/ 78867 h 298989"/>
                  <a:gd name="connsiteX21" fmla="*/ 159830 w 3182113"/>
                  <a:gd name="connsiteY21" fmla="*/ 78867 h 298989"/>
                  <a:gd name="connsiteX22" fmla="*/ 159830 w 3182113"/>
                  <a:gd name="connsiteY22" fmla="*/ 84867 h 298989"/>
                  <a:gd name="connsiteX23" fmla="*/ 180880 w 3182113"/>
                  <a:gd name="connsiteY23" fmla="*/ 84867 h 298989"/>
                  <a:gd name="connsiteX24" fmla="*/ 180880 w 3182113"/>
                  <a:gd name="connsiteY24" fmla="*/ 90963 h 298989"/>
                  <a:gd name="connsiteX25" fmla="*/ 187167 w 3182113"/>
                  <a:gd name="connsiteY25" fmla="*/ 90963 h 298989"/>
                  <a:gd name="connsiteX26" fmla="*/ 187167 w 3182113"/>
                  <a:gd name="connsiteY26" fmla="*/ 97059 h 298989"/>
                  <a:gd name="connsiteX27" fmla="*/ 229267 w 3182113"/>
                  <a:gd name="connsiteY27" fmla="*/ 97059 h 298989"/>
                  <a:gd name="connsiteX28" fmla="*/ 229267 w 3182113"/>
                  <a:gd name="connsiteY28" fmla="*/ 103060 h 298989"/>
                  <a:gd name="connsiteX29" fmla="*/ 243936 w 3182113"/>
                  <a:gd name="connsiteY29" fmla="*/ 103060 h 298989"/>
                  <a:gd name="connsiteX30" fmla="*/ 243936 w 3182113"/>
                  <a:gd name="connsiteY30" fmla="*/ 109156 h 298989"/>
                  <a:gd name="connsiteX31" fmla="*/ 273463 w 3182113"/>
                  <a:gd name="connsiteY31" fmla="*/ 109156 h 298989"/>
                  <a:gd name="connsiteX32" fmla="*/ 273463 w 3182113"/>
                  <a:gd name="connsiteY32" fmla="*/ 115252 h 298989"/>
                  <a:gd name="connsiteX33" fmla="*/ 275559 w 3182113"/>
                  <a:gd name="connsiteY33" fmla="*/ 115252 h 298989"/>
                  <a:gd name="connsiteX34" fmla="*/ 275559 w 3182113"/>
                  <a:gd name="connsiteY34" fmla="*/ 121253 h 298989"/>
                  <a:gd name="connsiteX35" fmla="*/ 298609 w 3182113"/>
                  <a:gd name="connsiteY35" fmla="*/ 121253 h 298989"/>
                  <a:gd name="connsiteX36" fmla="*/ 298609 w 3182113"/>
                  <a:gd name="connsiteY36" fmla="*/ 127349 h 298989"/>
                  <a:gd name="connsiteX37" fmla="*/ 311278 w 3182113"/>
                  <a:gd name="connsiteY37" fmla="*/ 127349 h 298989"/>
                  <a:gd name="connsiteX38" fmla="*/ 311278 w 3182113"/>
                  <a:gd name="connsiteY38" fmla="*/ 133445 h 298989"/>
                  <a:gd name="connsiteX39" fmla="*/ 346996 w 3182113"/>
                  <a:gd name="connsiteY39" fmla="*/ 133445 h 298989"/>
                  <a:gd name="connsiteX40" fmla="*/ 346996 w 3182113"/>
                  <a:gd name="connsiteY40" fmla="*/ 139541 h 298989"/>
                  <a:gd name="connsiteX41" fmla="*/ 462725 w 3182113"/>
                  <a:gd name="connsiteY41" fmla="*/ 139541 h 298989"/>
                  <a:gd name="connsiteX42" fmla="*/ 462725 w 3182113"/>
                  <a:gd name="connsiteY42" fmla="*/ 145542 h 298989"/>
                  <a:gd name="connsiteX43" fmla="*/ 500539 w 3182113"/>
                  <a:gd name="connsiteY43" fmla="*/ 145542 h 298989"/>
                  <a:gd name="connsiteX44" fmla="*/ 500539 w 3182113"/>
                  <a:gd name="connsiteY44" fmla="*/ 151733 h 298989"/>
                  <a:gd name="connsiteX45" fmla="*/ 553117 w 3182113"/>
                  <a:gd name="connsiteY45" fmla="*/ 151733 h 298989"/>
                  <a:gd name="connsiteX46" fmla="*/ 553117 w 3182113"/>
                  <a:gd name="connsiteY46" fmla="*/ 157829 h 298989"/>
                  <a:gd name="connsiteX47" fmla="*/ 572072 w 3182113"/>
                  <a:gd name="connsiteY47" fmla="*/ 157829 h 298989"/>
                  <a:gd name="connsiteX48" fmla="*/ 572072 w 3182113"/>
                  <a:gd name="connsiteY48" fmla="*/ 163925 h 298989"/>
                  <a:gd name="connsiteX49" fmla="*/ 582550 w 3182113"/>
                  <a:gd name="connsiteY49" fmla="*/ 163925 h 298989"/>
                  <a:gd name="connsiteX50" fmla="*/ 582550 w 3182113"/>
                  <a:gd name="connsiteY50" fmla="*/ 170116 h 298989"/>
                  <a:gd name="connsiteX51" fmla="*/ 616268 w 3182113"/>
                  <a:gd name="connsiteY51" fmla="*/ 170116 h 298989"/>
                  <a:gd name="connsiteX52" fmla="*/ 616268 w 3182113"/>
                  <a:gd name="connsiteY52" fmla="*/ 176212 h 298989"/>
                  <a:gd name="connsiteX53" fmla="*/ 622555 w 3182113"/>
                  <a:gd name="connsiteY53" fmla="*/ 176212 h 298989"/>
                  <a:gd name="connsiteX54" fmla="*/ 622555 w 3182113"/>
                  <a:gd name="connsiteY54" fmla="*/ 182308 h 298989"/>
                  <a:gd name="connsiteX55" fmla="*/ 637223 w 3182113"/>
                  <a:gd name="connsiteY55" fmla="*/ 182308 h 298989"/>
                  <a:gd name="connsiteX56" fmla="*/ 637223 w 3182113"/>
                  <a:gd name="connsiteY56" fmla="*/ 188404 h 298989"/>
                  <a:gd name="connsiteX57" fmla="*/ 649891 w 3182113"/>
                  <a:gd name="connsiteY57" fmla="*/ 188404 h 298989"/>
                  <a:gd name="connsiteX58" fmla="*/ 649891 w 3182113"/>
                  <a:gd name="connsiteY58" fmla="*/ 194595 h 298989"/>
                  <a:gd name="connsiteX59" fmla="*/ 675133 w 3182113"/>
                  <a:gd name="connsiteY59" fmla="*/ 194595 h 298989"/>
                  <a:gd name="connsiteX60" fmla="*/ 675133 w 3182113"/>
                  <a:gd name="connsiteY60" fmla="*/ 200691 h 298989"/>
                  <a:gd name="connsiteX61" fmla="*/ 904399 w 3182113"/>
                  <a:gd name="connsiteY61" fmla="*/ 200691 h 298989"/>
                  <a:gd name="connsiteX62" fmla="*/ 904399 w 3182113"/>
                  <a:gd name="connsiteY62" fmla="*/ 206883 h 298989"/>
                  <a:gd name="connsiteX63" fmla="*/ 1017937 w 3182113"/>
                  <a:gd name="connsiteY63" fmla="*/ 206883 h 298989"/>
                  <a:gd name="connsiteX64" fmla="*/ 1017937 w 3182113"/>
                  <a:gd name="connsiteY64" fmla="*/ 213074 h 298989"/>
                  <a:gd name="connsiteX65" fmla="*/ 1287114 w 3182113"/>
                  <a:gd name="connsiteY65" fmla="*/ 213074 h 298989"/>
                  <a:gd name="connsiteX66" fmla="*/ 1287114 w 3182113"/>
                  <a:gd name="connsiteY66" fmla="*/ 219360 h 298989"/>
                  <a:gd name="connsiteX67" fmla="*/ 1360742 w 3182113"/>
                  <a:gd name="connsiteY67" fmla="*/ 219360 h 298989"/>
                  <a:gd name="connsiteX68" fmla="*/ 1360742 w 3182113"/>
                  <a:gd name="connsiteY68" fmla="*/ 225647 h 298989"/>
                  <a:gd name="connsiteX69" fmla="*/ 1440657 w 3182113"/>
                  <a:gd name="connsiteY69" fmla="*/ 225647 h 298989"/>
                  <a:gd name="connsiteX70" fmla="*/ 1440657 w 3182113"/>
                  <a:gd name="connsiteY70" fmla="*/ 231933 h 298989"/>
                  <a:gd name="connsiteX71" fmla="*/ 1602582 w 3182113"/>
                  <a:gd name="connsiteY71" fmla="*/ 231933 h 298989"/>
                  <a:gd name="connsiteX72" fmla="*/ 1602582 w 3182113"/>
                  <a:gd name="connsiteY72" fmla="*/ 238410 h 298989"/>
                  <a:gd name="connsiteX73" fmla="*/ 1619441 w 3182113"/>
                  <a:gd name="connsiteY73" fmla="*/ 238410 h 298989"/>
                  <a:gd name="connsiteX74" fmla="*/ 1619441 w 3182113"/>
                  <a:gd name="connsiteY74" fmla="*/ 244792 h 298989"/>
                  <a:gd name="connsiteX75" fmla="*/ 1737265 w 3182113"/>
                  <a:gd name="connsiteY75" fmla="*/ 244792 h 298989"/>
                  <a:gd name="connsiteX76" fmla="*/ 1737265 w 3182113"/>
                  <a:gd name="connsiteY76" fmla="*/ 251269 h 298989"/>
                  <a:gd name="connsiteX77" fmla="*/ 1829753 w 3182113"/>
                  <a:gd name="connsiteY77" fmla="*/ 251269 h 298989"/>
                  <a:gd name="connsiteX78" fmla="*/ 1829753 w 3182113"/>
                  <a:gd name="connsiteY78" fmla="*/ 257651 h 298989"/>
                  <a:gd name="connsiteX79" fmla="*/ 1848708 w 3182113"/>
                  <a:gd name="connsiteY79" fmla="*/ 257651 h 298989"/>
                  <a:gd name="connsiteX80" fmla="*/ 1848708 w 3182113"/>
                  <a:gd name="connsiteY80" fmla="*/ 264128 h 298989"/>
                  <a:gd name="connsiteX81" fmla="*/ 2702529 w 3182113"/>
                  <a:gd name="connsiteY81" fmla="*/ 264128 h 298989"/>
                  <a:gd name="connsiteX82" fmla="*/ 2702529 w 3182113"/>
                  <a:gd name="connsiteY82" fmla="*/ 298989 h 298989"/>
                  <a:gd name="connsiteX83" fmla="*/ 3182113 w 3182113"/>
                  <a:gd name="connsiteY83" fmla="*/ 298989 h 298989"/>
                  <a:gd name="connsiteX0" fmla="*/ 0 w 3182113"/>
                  <a:gd name="connsiteY0" fmla="*/ 0 h 298989"/>
                  <a:gd name="connsiteX1" fmla="*/ 6287 w 3182113"/>
                  <a:gd name="connsiteY1" fmla="*/ 18192 h 298989"/>
                  <a:gd name="connsiteX2" fmla="*/ 14764 w 3182113"/>
                  <a:gd name="connsiteY2" fmla="*/ 18192 h 298989"/>
                  <a:gd name="connsiteX3" fmla="*/ 14764 w 3182113"/>
                  <a:gd name="connsiteY3" fmla="*/ 24193 h 298989"/>
                  <a:gd name="connsiteX4" fmla="*/ 21051 w 3182113"/>
                  <a:gd name="connsiteY4" fmla="*/ 24193 h 298989"/>
                  <a:gd name="connsiteX5" fmla="*/ 21051 w 3182113"/>
                  <a:gd name="connsiteY5" fmla="*/ 36385 h 298989"/>
                  <a:gd name="connsiteX6" fmla="*/ 23146 w 3182113"/>
                  <a:gd name="connsiteY6" fmla="*/ 36385 h 298989"/>
                  <a:gd name="connsiteX7" fmla="*/ 23146 w 3182113"/>
                  <a:gd name="connsiteY7" fmla="*/ 42481 h 298989"/>
                  <a:gd name="connsiteX8" fmla="*/ 35719 w 3182113"/>
                  <a:gd name="connsiteY8" fmla="*/ 42481 h 298989"/>
                  <a:gd name="connsiteX9" fmla="*/ 35719 w 3182113"/>
                  <a:gd name="connsiteY9" fmla="*/ 48482 h 298989"/>
                  <a:gd name="connsiteX10" fmla="*/ 58865 w 3182113"/>
                  <a:gd name="connsiteY10" fmla="*/ 48482 h 298989"/>
                  <a:gd name="connsiteX11" fmla="*/ 58865 w 3182113"/>
                  <a:gd name="connsiteY11" fmla="*/ 54578 h 298989"/>
                  <a:gd name="connsiteX12" fmla="*/ 65247 w 3182113"/>
                  <a:gd name="connsiteY12" fmla="*/ 54578 h 298989"/>
                  <a:gd name="connsiteX13" fmla="*/ 65247 w 3182113"/>
                  <a:gd name="connsiteY13" fmla="*/ 60674 h 298989"/>
                  <a:gd name="connsiteX14" fmla="*/ 73629 w 3182113"/>
                  <a:gd name="connsiteY14" fmla="*/ 60674 h 298989"/>
                  <a:gd name="connsiteX15" fmla="*/ 73629 w 3182113"/>
                  <a:gd name="connsiteY15" fmla="*/ 66675 h 298989"/>
                  <a:gd name="connsiteX16" fmla="*/ 82011 w 3182113"/>
                  <a:gd name="connsiteY16" fmla="*/ 66675 h 298989"/>
                  <a:gd name="connsiteX17" fmla="*/ 82011 w 3182113"/>
                  <a:gd name="connsiteY17" fmla="*/ 72771 h 298989"/>
                  <a:gd name="connsiteX18" fmla="*/ 86202 w 3182113"/>
                  <a:gd name="connsiteY18" fmla="*/ 72771 h 298989"/>
                  <a:gd name="connsiteX19" fmla="*/ 86202 w 3182113"/>
                  <a:gd name="connsiteY19" fmla="*/ 78867 h 298989"/>
                  <a:gd name="connsiteX20" fmla="*/ 159830 w 3182113"/>
                  <a:gd name="connsiteY20" fmla="*/ 78867 h 298989"/>
                  <a:gd name="connsiteX21" fmla="*/ 159830 w 3182113"/>
                  <a:gd name="connsiteY21" fmla="*/ 84867 h 298989"/>
                  <a:gd name="connsiteX22" fmla="*/ 180880 w 3182113"/>
                  <a:gd name="connsiteY22" fmla="*/ 84867 h 298989"/>
                  <a:gd name="connsiteX23" fmla="*/ 180880 w 3182113"/>
                  <a:gd name="connsiteY23" fmla="*/ 90963 h 298989"/>
                  <a:gd name="connsiteX24" fmla="*/ 187167 w 3182113"/>
                  <a:gd name="connsiteY24" fmla="*/ 90963 h 298989"/>
                  <a:gd name="connsiteX25" fmla="*/ 187167 w 3182113"/>
                  <a:gd name="connsiteY25" fmla="*/ 97059 h 298989"/>
                  <a:gd name="connsiteX26" fmla="*/ 229267 w 3182113"/>
                  <a:gd name="connsiteY26" fmla="*/ 97059 h 298989"/>
                  <a:gd name="connsiteX27" fmla="*/ 229267 w 3182113"/>
                  <a:gd name="connsiteY27" fmla="*/ 103060 h 298989"/>
                  <a:gd name="connsiteX28" fmla="*/ 243936 w 3182113"/>
                  <a:gd name="connsiteY28" fmla="*/ 103060 h 298989"/>
                  <a:gd name="connsiteX29" fmla="*/ 243936 w 3182113"/>
                  <a:gd name="connsiteY29" fmla="*/ 109156 h 298989"/>
                  <a:gd name="connsiteX30" fmla="*/ 273463 w 3182113"/>
                  <a:gd name="connsiteY30" fmla="*/ 109156 h 298989"/>
                  <a:gd name="connsiteX31" fmla="*/ 273463 w 3182113"/>
                  <a:gd name="connsiteY31" fmla="*/ 115252 h 298989"/>
                  <a:gd name="connsiteX32" fmla="*/ 275559 w 3182113"/>
                  <a:gd name="connsiteY32" fmla="*/ 115252 h 298989"/>
                  <a:gd name="connsiteX33" fmla="*/ 275559 w 3182113"/>
                  <a:gd name="connsiteY33" fmla="*/ 121253 h 298989"/>
                  <a:gd name="connsiteX34" fmla="*/ 298609 w 3182113"/>
                  <a:gd name="connsiteY34" fmla="*/ 121253 h 298989"/>
                  <a:gd name="connsiteX35" fmla="*/ 298609 w 3182113"/>
                  <a:gd name="connsiteY35" fmla="*/ 127349 h 298989"/>
                  <a:gd name="connsiteX36" fmla="*/ 311278 w 3182113"/>
                  <a:gd name="connsiteY36" fmla="*/ 127349 h 298989"/>
                  <a:gd name="connsiteX37" fmla="*/ 311278 w 3182113"/>
                  <a:gd name="connsiteY37" fmla="*/ 133445 h 298989"/>
                  <a:gd name="connsiteX38" fmla="*/ 346996 w 3182113"/>
                  <a:gd name="connsiteY38" fmla="*/ 133445 h 298989"/>
                  <a:gd name="connsiteX39" fmla="*/ 346996 w 3182113"/>
                  <a:gd name="connsiteY39" fmla="*/ 139541 h 298989"/>
                  <a:gd name="connsiteX40" fmla="*/ 462725 w 3182113"/>
                  <a:gd name="connsiteY40" fmla="*/ 139541 h 298989"/>
                  <a:gd name="connsiteX41" fmla="*/ 462725 w 3182113"/>
                  <a:gd name="connsiteY41" fmla="*/ 145542 h 298989"/>
                  <a:gd name="connsiteX42" fmla="*/ 500539 w 3182113"/>
                  <a:gd name="connsiteY42" fmla="*/ 145542 h 298989"/>
                  <a:gd name="connsiteX43" fmla="*/ 500539 w 3182113"/>
                  <a:gd name="connsiteY43" fmla="*/ 151733 h 298989"/>
                  <a:gd name="connsiteX44" fmla="*/ 553117 w 3182113"/>
                  <a:gd name="connsiteY44" fmla="*/ 151733 h 298989"/>
                  <a:gd name="connsiteX45" fmla="*/ 553117 w 3182113"/>
                  <a:gd name="connsiteY45" fmla="*/ 157829 h 298989"/>
                  <a:gd name="connsiteX46" fmla="*/ 572072 w 3182113"/>
                  <a:gd name="connsiteY46" fmla="*/ 157829 h 298989"/>
                  <a:gd name="connsiteX47" fmla="*/ 572072 w 3182113"/>
                  <a:gd name="connsiteY47" fmla="*/ 163925 h 298989"/>
                  <a:gd name="connsiteX48" fmla="*/ 582550 w 3182113"/>
                  <a:gd name="connsiteY48" fmla="*/ 163925 h 298989"/>
                  <a:gd name="connsiteX49" fmla="*/ 582550 w 3182113"/>
                  <a:gd name="connsiteY49" fmla="*/ 170116 h 298989"/>
                  <a:gd name="connsiteX50" fmla="*/ 616268 w 3182113"/>
                  <a:gd name="connsiteY50" fmla="*/ 170116 h 298989"/>
                  <a:gd name="connsiteX51" fmla="*/ 616268 w 3182113"/>
                  <a:gd name="connsiteY51" fmla="*/ 176212 h 298989"/>
                  <a:gd name="connsiteX52" fmla="*/ 622555 w 3182113"/>
                  <a:gd name="connsiteY52" fmla="*/ 176212 h 298989"/>
                  <a:gd name="connsiteX53" fmla="*/ 622555 w 3182113"/>
                  <a:gd name="connsiteY53" fmla="*/ 182308 h 298989"/>
                  <a:gd name="connsiteX54" fmla="*/ 637223 w 3182113"/>
                  <a:gd name="connsiteY54" fmla="*/ 182308 h 298989"/>
                  <a:gd name="connsiteX55" fmla="*/ 637223 w 3182113"/>
                  <a:gd name="connsiteY55" fmla="*/ 188404 h 298989"/>
                  <a:gd name="connsiteX56" fmla="*/ 649891 w 3182113"/>
                  <a:gd name="connsiteY56" fmla="*/ 188404 h 298989"/>
                  <a:gd name="connsiteX57" fmla="*/ 649891 w 3182113"/>
                  <a:gd name="connsiteY57" fmla="*/ 194595 h 298989"/>
                  <a:gd name="connsiteX58" fmla="*/ 675133 w 3182113"/>
                  <a:gd name="connsiteY58" fmla="*/ 194595 h 298989"/>
                  <a:gd name="connsiteX59" fmla="*/ 675133 w 3182113"/>
                  <a:gd name="connsiteY59" fmla="*/ 200691 h 298989"/>
                  <a:gd name="connsiteX60" fmla="*/ 904399 w 3182113"/>
                  <a:gd name="connsiteY60" fmla="*/ 200691 h 298989"/>
                  <a:gd name="connsiteX61" fmla="*/ 904399 w 3182113"/>
                  <a:gd name="connsiteY61" fmla="*/ 206883 h 298989"/>
                  <a:gd name="connsiteX62" fmla="*/ 1017937 w 3182113"/>
                  <a:gd name="connsiteY62" fmla="*/ 206883 h 298989"/>
                  <a:gd name="connsiteX63" fmla="*/ 1017937 w 3182113"/>
                  <a:gd name="connsiteY63" fmla="*/ 213074 h 298989"/>
                  <a:gd name="connsiteX64" fmla="*/ 1287114 w 3182113"/>
                  <a:gd name="connsiteY64" fmla="*/ 213074 h 298989"/>
                  <a:gd name="connsiteX65" fmla="*/ 1287114 w 3182113"/>
                  <a:gd name="connsiteY65" fmla="*/ 219360 h 298989"/>
                  <a:gd name="connsiteX66" fmla="*/ 1360742 w 3182113"/>
                  <a:gd name="connsiteY66" fmla="*/ 219360 h 298989"/>
                  <a:gd name="connsiteX67" fmla="*/ 1360742 w 3182113"/>
                  <a:gd name="connsiteY67" fmla="*/ 225647 h 298989"/>
                  <a:gd name="connsiteX68" fmla="*/ 1440657 w 3182113"/>
                  <a:gd name="connsiteY68" fmla="*/ 225647 h 298989"/>
                  <a:gd name="connsiteX69" fmla="*/ 1440657 w 3182113"/>
                  <a:gd name="connsiteY69" fmla="*/ 231933 h 298989"/>
                  <a:gd name="connsiteX70" fmla="*/ 1602582 w 3182113"/>
                  <a:gd name="connsiteY70" fmla="*/ 231933 h 298989"/>
                  <a:gd name="connsiteX71" fmla="*/ 1602582 w 3182113"/>
                  <a:gd name="connsiteY71" fmla="*/ 238410 h 298989"/>
                  <a:gd name="connsiteX72" fmla="*/ 1619441 w 3182113"/>
                  <a:gd name="connsiteY72" fmla="*/ 238410 h 298989"/>
                  <a:gd name="connsiteX73" fmla="*/ 1619441 w 3182113"/>
                  <a:gd name="connsiteY73" fmla="*/ 244792 h 298989"/>
                  <a:gd name="connsiteX74" fmla="*/ 1737265 w 3182113"/>
                  <a:gd name="connsiteY74" fmla="*/ 244792 h 298989"/>
                  <a:gd name="connsiteX75" fmla="*/ 1737265 w 3182113"/>
                  <a:gd name="connsiteY75" fmla="*/ 251269 h 298989"/>
                  <a:gd name="connsiteX76" fmla="*/ 1829753 w 3182113"/>
                  <a:gd name="connsiteY76" fmla="*/ 251269 h 298989"/>
                  <a:gd name="connsiteX77" fmla="*/ 1829753 w 3182113"/>
                  <a:gd name="connsiteY77" fmla="*/ 257651 h 298989"/>
                  <a:gd name="connsiteX78" fmla="*/ 1848708 w 3182113"/>
                  <a:gd name="connsiteY78" fmla="*/ 257651 h 298989"/>
                  <a:gd name="connsiteX79" fmla="*/ 1848708 w 3182113"/>
                  <a:gd name="connsiteY79" fmla="*/ 264128 h 298989"/>
                  <a:gd name="connsiteX80" fmla="*/ 2702529 w 3182113"/>
                  <a:gd name="connsiteY80" fmla="*/ 264128 h 298989"/>
                  <a:gd name="connsiteX81" fmla="*/ 2702529 w 3182113"/>
                  <a:gd name="connsiteY81" fmla="*/ 298989 h 298989"/>
                  <a:gd name="connsiteX82" fmla="*/ 3182113 w 3182113"/>
                  <a:gd name="connsiteY82" fmla="*/ 298989 h 298989"/>
                  <a:gd name="connsiteX0" fmla="*/ 0 w 3175826"/>
                  <a:gd name="connsiteY0" fmla="*/ 0 h 280797"/>
                  <a:gd name="connsiteX1" fmla="*/ 8477 w 3175826"/>
                  <a:gd name="connsiteY1" fmla="*/ 0 h 280797"/>
                  <a:gd name="connsiteX2" fmla="*/ 8477 w 3175826"/>
                  <a:gd name="connsiteY2" fmla="*/ 6001 h 280797"/>
                  <a:gd name="connsiteX3" fmla="*/ 14764 w 3175826"/>
                  <a:gd name="connsiteY3" fmla="*/ 6001 h 280797"/>
                  <a:gd name="connsiteX4" fmla="*/ 14764 w 3175826"/>
                  <a:gd name="connsiteY4" fmla="*/ 18193 h 280797"/>
                  <a:gd name="connsiteX5" fmla="*/ 16859 w 3175826"/>
                  <a:gd name="connsiteY5" fmla="*/ 18193 h 280797"/>
                  <a:gd name="connsiteX6" fmla="*/ 16859 w 3175826"/>
                  <a:gd name="connsiteY6" fmla="*/ 24289 h 280797"/>
                  <a:gd name="connsiteX7" fmla="*/ 29432 w 3175826"/>
                  <a:gd name="connsiteY7" fmla="*/ 24289 h 280797"/>
                  <a:gd name="connsiteX8" fmla="*/ 29432 w 3175826"/>
                  <a:gd name="connsiteY8" fmla="*/ 30290 h 280797"/>
                  <a:gd name="connsiteX9" fmla="*/ 52578 w 3175826"/>
                  <a:gd name="connsiteY9" fmla="*/ 30290 h 280797"/>
                  <a:gd name="connsiteX10" fmla="*/ 52578 w 3175826"/>
                  <a:gd name="connsiteY10" fmla="*/ 36386 h 280797"/>
                  <a:gd name="connsiteX11" fmla="*/ 58960 w 3175826"/>
                  <a:gd name="connsiteY11" fmla="*/ 36386 h 280797"/>
                  <a:gd name="connsiteX12" fmla="*/ 58960 w 3175826"/>
                  <a:gd name="connsiteY12" fmla="*/ 42482 h 280797"/>
                  <a:gd name="connsiteX13" fmla="*/ 67342 w 3175826"/>
                  <a:gd name="connsiteY13" fmla="*/ 42482 h 280797"/>
                  <a:gd name="connsiteX14" fmla="*/ 67342 w 3175826"/>
                  <a:gd name="connsiteY14" fmla="*/ 48483 h 280797"/>
                  <a:gd name="connsiteX15" fmla="*/ 75724 w 3175826"/>
                  <a:gd name="connsiteY15" fmla="*/ 48483 h 280797"/>
                  <a:gd name="connsiteX16" fmla="*/ 75724 w 3175826"/>
                  <a:gd name="connsiteY16" fmla="*/ 54579 h 280797"/>
                  <a:gd name="connsiteX17" fmla="*/ 79915 w 3175826"/>
                  <a:gd name="connsiteY17" fmla="*/ 54579 h 280797"/>
                  <a:gd name="connsiteX18" fmla="*/ 79915 w 3175826"/>
                  <a:gd name="connsiteY18" fmla="*/ 60675 h 280797"/>
                  <a:gd name="connsiteX19" fmla="*/ 153543 w 3175826"/>
                  <a:gd name="connsiteY19" fmla="*/ 60675 h 280797"/>
                  <a:gd name="connsiteX20" fmla="*/ 153543 w 3175826"/>
                  <a:gd name="connsiteY20" fmla="*/ 66675 h 280797"/>
                  <a:gd name="connsiteX21" fmla="*/ 174593 w 3175826"/>
                  <a:gd name="connsiteY21" fmla="*/ 66675 h 280797"/>
                  <a:gd name="connsiteX22" fmla="*/ 174593 w 3175826"/>
                  <a:gd name="connsiteY22" fmla="*/ 72771 h 280797"/>
                  <a:gd name="connsiteX23" fmla="*/ 180880 w 3175826"/>
                  <a:gd name="connsiteY23" fmla="*/ 72771 h 280797"/>
                  <a:gd name="connsiteX24" fmla="*/ 180880 w 3175826"/>
                  <a:gd name="connsiteY24" fmla="*/ 78867 h 280797"/>
                  <a:gd name="connsiteX25" fmla="*/ 222980 w 3175826"/>
                  <a:gd name="connsiteY25" fmla="*/ 78867 h 280797"/>
                  <a:gd name="connsiteX26" fmla="*/ 222980 w 3175826"/>
                  <a:gd name="connsiteY26" fmla="*/ 84868 h 280797"/>
                  <a:gd name="connsiteX27" fmla="*/ 237649 w 3175826"/>
                  <a:gd name="connsiteY27" fmla="*/ 84868 h 280797"/>
                  <a:gd name="connsiteX28" fmla="*/ 237649 w 3175826"/>
                  <a:gd name="connsiteY28" fmla="*/ 90964 h 280797"/>
                  <a:gd name="connsiteX29" fmla="*/ 267176 w 3175826"/>
                  <a:gd name="connsiteY29" fmla="*/ 90964 h 280797"/>
                  <a:gd name="connsiteX30" fmla="*/ 267176 w 3175826"/>
                  <a:gd name="connsiteY30" fmla="*/ 97060 h 280797"/>
                  <a:gd name="connsiteX31" fmla="*/ 269272 w 3175826"/>
                  <a:gd name="connsiteY31" fmla="*/ 97060 h 280797"/>
                  <a:gd name="connsiteX32" fmla="*/ 269272 w 3175826"/>
                  <a:gd name="connsiteY32" fmla="*/ 103061 h 280797"/>
                  <a:gd name="connsiteX33" fmla="*/ 292322 w 3175826"/>
                  <a:gd name="connsiteY33" fmla="*/ 103061 h 280797"/>
                  <a:gd name="connsiteX34" fmla="*/ 292322 w 3175826"/>
                  <a:gd name="connsiteY34" fmla="*/ 109157 h 280797"/>
                  <a:gd name="connsiteX35" fmla="*/ 304991 w 3175826"/>
                  <a:gd name="connsiteY35" fmla="*/ 109157 h 280797"/>
                  <a:gd name="connsiteX36" fmla="*/ 304991 w 3175826"/>
                  <a:gd name="connsiteY36" fmla="*/ 115253 h 280797"/>
                  <a:gd name="connsiteX37" fmla="*/ 340709 w 3175826"/>
                  <a:gd name="connsiteY37" fmla="*/ 115253 h 280797"/>
                  <a:gd name="connsiteX38" fmla="*/ 340709 w 3175826"/>
                  <a:gd name="connsiteY38" fmla="*/ 121349 h 280797"/>
                  <a:gd name="connsiteX39" fmla="*/ 456438 w 3175826"/>
                  <a:gd name="connsiteY39" fmla="*/ 121349 h 280797"/>
                  <a:gd name="connsiteX40" fmla="*/ 456438 w 3175826"/>
                  <a:gd name="connsiteY40" fmla="*/ 127350 h 280797"/>
                  <a:gd name="connsiteX41" fmla="*/ 494252 w 3175826"/>
                  <a:gd name="connsiteY41" fmla="*/ 127350 h 280797"/>
                  <a:gd name="connsiteX42" fmla="*/ 494252 w 3175826"/>
                  <a:gd name="connsiteY42" fmla="*/ 133541 h 280797"/>
                  <a:gd name="connsiteX43" fmla="*/ 546830 w 3175826"/>
                  <a:gd name="connsiteY43" fmla="*/ 133541 h 280797"/>
                  <a:gd name="connsiteX44" fmla="*/ 546830 w 3175826"/>
                  <a:gd name="connsiteY44" fmla="*/ 139637 h 280797"/>
                  <a:gd name="connsiteX45" fmla="*/ 565785 w 3175826"/>
                  <a:gd name="connsiteY45" fmla="*/ 139637 h 280797"/>
                  <a:gd name="connsiteX46" fmla="*/ 565785 w 3175826"/>
                  <a:gd name="connsiteY46" fmla="*/ 145733 h 280797"/>
                  <a:gd name="connsiteX47" fmla="*/ 576263 w 3175826"/>
                  <a:gd name="connsiteY47" fmla="*/ 145733 h 280797"/>
                  <a:gd name="connsiteX48" fmla="*/ 576263 w 3175826"/>
                  <a:gd name="connsiteY48" fmla="*/ 151924 h 280797"/>
                  <a:gd name="connsiteX49" fmla="*/ 609981 w 3175826"/>
                  <a:gd name="connsiteY49" fmla="*/ 151924 h 280797"/>
                  <a:gd name="connsiteX50" fmla="*/ 609981 w 3175826"/>
                  <a:gd name="connsiteY50" fmla="*/ 158020 h 280797"/>
                  <a:gd name="connsiteX51" fmla="*/ 616268 w 3175826"/>
                  <a:gd name="connsiteY51" fmla="*/ 158020 h 280797"/>
                  <a:gd name="connsiteX52" fmla="*/ 616268 w 3175826"/>
                  <a:gd name="connsiteY52" fmla="*/ 164116 h 280797"/>
                  <a:gd name="connsiteX53" fmla="*/ 630936 w 3175826"/>
                  <a:gd name="connsiteY53" fmla="*/ 164116 h 280797"/>
                  <a:gd name="connsiteX54" fmla="*/ 630936 w 3175826"/>
                  <a:gd name="connsiteY54" fmla="*/ 170212 h 280797"/>
                  <a:gd name="connsiteX55" fmla="*/ 643604 w 3175826"/>
                  <a:gd name="connsiteY55" fmla="*/ 170212 h 280797"/>
                  <a:gd name="connsiteX56" fmla="*/ 643604 w 3175826"/>
                  <a:gd name="connsiteY56" fmla="*/ 176403 h 280797"/>
                  <a:gd name="connsiteX57" fmla="*/ 668846 w 3175826"/>
                  <a:gd name="connsiteY57" fmla="*/ 176403 h 280797"/>
                  <a:gd name="connsiteX58" fmla="*/ 668846 w 3175826"/>
                  <a:gd name="connsiteY58" fmla="*/ 182499 h 280797"/>
                  <a:gd name="connsiteX59" fmla="*/ 898112 w 3175826"/>
                  <a:gd name="connsiteY59" fmla="*/ 182499 h 280797"/>
                  <a:gd name="connsiteX60" fmla="*/ 898112 w 3175826"/>
                  <a:gd name="connsiteY60" fmla="*/ 188691 h 280797"/>
                  <a:gd name="connsiteX61" fmla="*/ 1011650 w 3175826"/>
                  <a:gd name="connsiteY61" fmla="*/ 188691 h 280797"/>
                  <a:gd name="connsiteX62" fmla="*/ 1011650 w 3175826"/>
                  <a:gd name="connsiteY62" fmla="*/ 194882 h 280797"/>
                  <a:gd name="connsiteX63" fmla="*/ 1280827 w 3175826"/>
                  <a:gd name="connsiteY63" fmla="*/ 194882 h 280797"/>
                  <a:gd name="connsiteX64" fmla="*/ 1280827 w 3175826"/>
                  <a:gd name="connsiteY64" fmla="*/ 201168 h 280797"/>
                  <a:gd name="connsiteX65" fmla="*/ 1354455 w 3175826"/>
                  <a:gd name="connsiteY65" fmla="*/ 201168 h 280797"/>
                  <a:gd name="connsiteX66" fmla="*/ 1354455 w 3175826"/>
                  <a:gd name="connsiteY66" fmla="*/ 207455 h 280797"/>
                  <a:gd name="connsiteX67" fmla="*/ 1434370 w 3175826"/>
                  <a:gd name="connsiteY67" fmla="*/ 207455 h 280797"/>
                  <a:gd name="connsiteX68" fmla="*/ 1434370 w 3175826"/>
                  <a:gd name="connsiteY68" fmla="*/ 213741 h 280797"/>
                  <a:gd name="connsiteX69" fmla="*/ 1596295 w 3175826"/>
                  <a:gd name="connsiteY69" fmla="*/ 213741 h 280797"/>
                  <a:gd name="connsiteX70" fmla="*/ 1596295 w 3175826"/>
                  <a:gd name="connsiteY70" fmla="*/ 220218 h 280797"/>
                  <a:gd name="connsiteX71" fmla="*/ 1613154 w 3175826"/>
                  <a:gd name="connsiteY71" fmla="*/ 220218 h 280797"/>
                  <a:gd name="connsiteX72" fmla="*/ 1613154 w 3175826"/>
                  <a:gd name="connsiteY72" fmla="*/ 226600 h 280797"/>
                  <a:gd name="connsiteX73" fmla="*/ 1730978 w 3175826"/>
                  <a:gd name="connsiteY73" fmla="*/ 226600 h 280797"/>
                  <a:gd name="connsiteX74" fmla="*/ 1730978 w 3175826"/>
                  <a:gd name="connsiteY74" fmla="*/ 233077 h 280797"/>
                  <a:gd name="connsiteX75" fmla="*/ 1823466 w 3175826"/>
                  <a:gd name="connsiteY75" fmla="*/ 233077 h 280797"/>
                  <a:gd name="connsiteX76" fmla="*/ 1823466 w 3175826"/>
                  <a:gd name="connsiteY76" fmla="*/ 239459 h 280797"/>
                  <a:gd name="connsiteX77" fmla="*/ 1842421 w 3175826"/>
                  <a:gd name="connsiteY77" fmla="*/ 239459 h 280797"/>
                  <a:gd name="connsiteX78" fmla="*/ 1842421 w 3175826"/>
                  <a:gd name="connsiteY78" fmla="*/ 245936 h 280797"/>
                  <a:gd name="connsiteX79" fmla="*/ 2696242 w 3175826"/>
                  <a:gd name="connsiteY79" fmla="*/ 245936 h 280797"/>
                  <a:gd name="connsiteX80" fmla="*/ 2696242 w 3175826"/>
                  <a:gd name="connsiteY80" fmla="*/ 280797 h 280797"/>
                  <a:gd name="connsiteX81" fmla="*/ 3175826 w 3175826"/>
                  <a:gd name="connsiteY81" fmla="*/ 280797 h 280797"/>
                  <a:gd name="connsiteX0" fmla="*/ 0 w 3175826"/>
                  <a:gd name="connsiteY0" fmla="*/ 0 h 280797"/>
                  <a:gd name="connsiteX1" fmla="*/ 8477 w 3175826"/>
                  <a:gd name="connsiteY1" fmla="*/ 0 h 280797"/>
                  <a:gd name="connsiteX2" fmla="*/ 14764 w 3175826"/>
                  <a:gd name="connsiteY2" fmla="*/ 6001 h 280797"/>
                  <a:gd name="connsiteX3" fmla="*/ 14764 w 3175826"/>
                  <a:gd name="connsiteY3" fmla="*/ 18193 h 280797"/>
                  <a:gd name="connsiteX4" fmla="*/ 16859 w 3175826"/>
                  <a:gd name="connsiteY4" fmla="*/ 18193 h 280797"/>
                  <a:gd name="connsiteX5" fmla="*/ 16859 w 3175826"/>
                  <a:gd name="connsiteY5" fmla="*/ 24289 h 280797"/>
                  <a:gd name="connsiteX6" fmla="*/ 29432 w 3175826"/>
                  <a:gd name="connsiteY6" fmla="*/ 24289 h 280797"/>
                  <a:gd name="connsiteX7" fmla="*/ 29432 w 3175826"/>
                  <a:gd name="connsiteY7" fmla="*/ 30290 h 280797"/>
                  <a:gd name="connsiteX8" fmla="*/ 52578 w 3175826"/>
                  <a:gd name="connsiteY8" fmla="*/ 30290 h 280797"/>
                  <a:gd name="connsiteX9" fmla="*/ 52578 w 3175826"/>
                  <a:gd name="connsiteY9" fmla="*/ 36386 h 280797"/>
                  <a:gd name="connsiteX10" fmla="*/ 58960 w 3175826"/>
                  <a:gd name="connsiteY10" fmla="*/ 36386 h 280797"/>
                  <a:gd name="connsiteX11" fmla="*/ 58960 w 3175826"/>
                  <a:gd name="connsiteY11" fmla="*/ 42482 h 280797"/>
                  <a:gd name="connsiteX12" fmla="*/ 67342 w 3175826"/>
                  <a:gd name="connsiteY12" fmla="*/ 42482 h 280797"/>
                  <a:gd name="connsiteX13" fmla="*/ 67342 w 3175826"/>
                  <a:gd name="connsiteY13" fmla="*/ 48483 h 280797"/>
                  <a:gd name="connsiteX14" fmla="*/ 75724 w 3175826"/>
                  <a:gd name="connsiteY14" fmla="*/ 48483 h 280797"/>
                  <a:gd name="connsiteX15" fmla="*/ 75724 w 3175826"/>
                  <a:gd name="connsiteY15" fmla="*/ 54579 h 280797"/>
                  <a:gd name="connsiteX16" fmla="*/ 79915 w 3175826"/>
                  <a:gd name="connsiteY16" fmla="*/ 54579 h 280797"/>
                  <a:gd name="connsiteX17" fmla="*/ 79915 w 3175826"/>
                  <a:gd name="connsiteY17" fmla="*/ 60675 h 280797"/>
                  <a:gd name="connsiteX18" fmla="*/ 153543 w 3175826"/>
                  <a:gd name="connsiteY18" fmla="*/ 60675 h 280797"/>
                  <a:gd name="connsiteX19" fmla="*/ 153543 w 3175826"/>
                  <a:gd name="connsiteY19" fmla="*/ 66675 h 280797"/>
                  <a:gd name="connsiteX20" fmla="*/ 174593 w 3175826"/>
                  <a:gd name="connsiteY20" fmla="*/ 66675 h 280797"/>
                  <a:gd name="connsiteX21" fmla="*/ 174593 w 3175826"/>
                  <a:gd name="connsiteY21" fmla="*/ 72771 h 280797"/>
                  <a:gd name="connsiteX22" fmla="*/ 180880 w 3175826"/>
                  <a:gd name="connsiteY22" fmla="*/ 72771 h 280797"/>
                  <a:gd name="connsiteX23" fmla="*/ 180880 w 3175826"/>
                  <a:gd name="connsiteY23" fmla="*/ 78867 h 280797"/>
                  <a:gd name="connsiteX24" fmla="*/ 222980 w 3175826"/>
                  <a:gd name="connsiteY24" fmla="*/ 78867 h 280797"/>
                  <a:gd name="connsiteX25" fmla="*/ 222980 w 3175826"/>
                  <a:gd name="connsiteY25" fmla="*/ 84868 h 280797"/>
                  <a:gd name="connsiteX26" fmla="*/ 237649 w 3175826"/>
                  <a:gd name="connsiteY26" fmla="*/ 84868 h 280797"/>
                  <a:gd name="connsiteX27" fmla="*/ 237649 w 3175826"/>
                  <a:gd name="connsiteY27" fmla="*/ 90964 h 280797"/>
                  <a:gd name="connsiteX28" fmla="*/ 267176 w 3175826"/>
                  <a:gd name="connsiteY28" fmla="*/ 90964 h 280797"/>
                  <a:gd name="connsiteX29" fmla="*/ 267176 w 3175826"/>
                  <a:gd name="connsiteY29" fmla="*/ 97060 h 280797"/>
                  <a:gd name="connsiteX30" fmla="*/ 269272 w 3175826"/>
                  <a:gd name="connsiteY30" fmla="*/ 97060 h 280797"/>
                  <a:gd name="connsiteX31" fmla="*/ 269272 w 3175826"/>
                  <a:gd name="connsiteY31" fmla="*/ 103061 h 280797"/>
                  <a:gd name="connsiteX32" fmla="*/ 292322 w 3175826"/>
                  <a:gd name="connsiteY32" fmla="*/ 103061 h 280797"/>
                  <a:gd name="connsiteX33" fmla="*/ 292322 w 3175826"/>
                  <a:gd name="connsiteY33" fmla="*/ 109157 h 280797"/>
                  <a:gd name="connsiteX34" fmla="*/ 304991 w 3175826"/>
                  <a:gd name="connsiteY34" fmla="*/ 109157 h 280797"/>
                  <a:gd name="connsiteX35" fmla="*/ 304991 w 3175826"/>
                  <a:gd name="connsiteY35" fmla="*/ 115253 h 280797"/>
                  <a:gd name="connsiteX36" fmla="*/ 340709 w 3175826"/>
                  <a:gd name="connsiteY36" fmla="*/ 115253 h 280797"/>
                  <a:gd name="connsiteX37" fmla="*/ 340709 w 3175826"/>
                  <a:gd name="connsiteY37" fmla="*/ 121349 h 280797"/>
                  <a:gd name="connsiteX38" fmla="*/ 456438 w 3175826"/>
                  <a:gd name="connsiteY38" fmla="*/ 121349 h 280797"/>
                  <a:gd name="connsiteX39" fmla="*/ 456438 w 3175826"/>
                  <a:gd name="connsiteY39" fmla="*/ 127350 h 280797"/>
                  <a:gd name="connsiteX40" fmla="*/ 494252 w 3175826"/>
                  <a:gd name="connsiteY40" fmla="*/ 127350 h 280797"/>
                  <a:gd name="connsiteX41" fmla="*/ 494252 w 3175826"/>
                  <a:gd name="connsiteY41" fmla="*/ 133541 h 280797"/>
                  <a:gd name="connsiteX42" fmla="*/ 546830 w 3175826"/>
                  <a:gd name="connsiteY42" fmla="*/ 133541 h 280797"/>
                  <a:gd name="connsiteX43" fmla="*/ 546830 w 3175826"/>
                  <a:gd name="connsiteY43" fmla="*/ 139637 h 280797"/>
                  <a:gd name="connsiteX44" fmla="*/ 565785 w 3175826"/>
                  <a:gd name="connsiteY44" fmla="*/ 139637 h 280797"/>
                  <a:gd name="connsiteX45" fmla="*/ 565785 w 3175826"/>
                  <a:gd name="connsiteY45" fmla="*/ 145733 h 280797"/>
                  <a:gd name="connsiteX46" fmla="*/ 576263 w 3175826"/>
                  <a:gd name="connsiteY46" fmla="*/ 145733 h 280797"/>
                  <a:gd name="connsiteX47" fmla="*/ 576263 w 3175826"/>
                  <a:gd name="connsiteY47" fmla="*/ 151924 h 280797"/>
                  <a:gd name="connsiteX48" fmla="*/ 609981 w 3175826"/>
                  <a:gd name="connsiteY48" fmla="*/ 151924 h 280797"/>
                  <a:gd name="connsiteX49" fmla="*/ 609981 w 3175826"/>
                  <a:gd name="connsiteY49" fmla="*/ 158020 h 280797"/>
                  <a:gd name="connsiteX50" fmla="*/ 616268 w 3175826"/>
                  <a:gd name="connsiteY50" fmla="*/ 158020 h 280797"/>
                  <a:gd name="connsiteX51" fmla="*/ 616268 w 3175826"/>
                  <a:gd name="connsiteY51" fmla="*/ 164116 h 280797"/>
                  <a:gd name="connsiteX52" fmla="*/ 630936 w 3175826"/>
                  <a:gd name="connsiteY52" fmla="*/ 164116 h 280797"/>
                  <a:gd name="connsiteX53" fmla="*/ 630936 w 3175826"/>
                  <a:gd name="connsiteY53" fmla="*/ 170212 h 280797"/>
                  <a:gd name="connsiteX54" fmla="*/ 643604 w 3175826"/>
                  <a:gd name="connsiteY54" fmla="*/ 170212 h 280797"/>
                  <a:gd name="connsiteX55" fmla="*/ 643604 w 3175826"/>
                  <a:gd name="connsiteY55" fmla="*/ 176403 h 280797"/>
                  <a:gd name="connsiteX56" fmla="*/ 668846 w 3175826"/>
                  <a:gd name="connsiteY56" fmla="*/ 176403 h 280797"/>
                  <a:gd name="connsiteX57" fmla="*/ 668846 w 3175826"/>
                  <a:gd name="connsiteY57" fmla="*/ 182499 h 280797"/>
                  <a:gd name="connsiteX58" fmla="*/ 898112 w 3175826"/>
                  <a:gd name="connsiteY58" fmla="*/ 182499 h 280797"/>
                  <a:gd name="connsiteX59" fmla="*/ 898112 w 3175826"/>
                  <a:gd name="connsiteY59" fmla="*/ 188691 h 280797"/>
                  <a:gd name="connsiteX60" fmla="*/ 1011650 w 3175826"/>
                  <a:gd name="connsiteY60" fmla="*/ 188691 h 280797"/>
                  <a:gd name="connsiteX61" fmla="*/ 1011650 w 3175826"/>
                  <a:gd name="connsiteY61" fmla="*/ 194882 h 280797"/>
                  <a:gd name="connsiteX62" fmla="*/ 1280827 w 3175826"/>
                  <a:gd name="connsiteY62" fmla="*/ 194882 h 280797"/>
                  <a:gd name="connsiteX63" fmla="*/ 1280827 w 3175826"/>
                  <a:gd name="connsiteY63" fmla="*/ 201168 h 280797"/>
                  <a:gd name="connsiteX64" fmla="*/ 1354455 w 3175826"/>
                  <a:gd name="connsiteY64" fmla="*/ 201168 h 280797"/>
                  <a:gd name="connsiteX65" fmla="*/ 1354455 w 3175826"/>
                  <a:gd name="connsiteY65" fmla="*/ 207455 h 280797"/>
                  <a:gd name="connsiteX66" fmla="*/ 1434370 w 3175826"/>
                  <a:gd name="connsiteY66" fmla="*/ 207455 h 280797"/>
                  <a:gd name="connsiteX67" fmla="*/ 1434370 w 3175826"/>
                  <a:gd name="connsiteY67" fmla="*/ 213741 h 280797"/>
                  <a:gd name="connsiteX68" fmla="*/ 1596295 w 3175826"/>
                  <a:gd name="connsiteY68" fmla="*/ 213741 h 280797"/>
                  <a:gd name="connsiteX69" fmla="*/ 1596295 w 3175826"/>
                  <a:gd name="connsiteY69" fmla="*/ 220218 h 280797"/>
                  <a:gd name="connsiteX70" fmla="*/ 1613154 w 3175826"/>
                  <a:gd name="connsiteY70" fmla="*/ 220218 h 280797"/>
                  <a:gd name="connsiteX71" fmla="*/ 1613154 w 3175826"/>
                  <a:gd name="connsiteY71" fmla="*/ 226600 h 280797"/>
                  <a:gd name="connsiteX72" fmla="*/ 1730978 w 3175826"/>
                  <a:gd name="connsiteY72" fmla="*/ 226600 h 280797"/>
                  <a:gd name="connsiteX73" fmla="*/ 1730978 w 3175826"/>
                  <a:gd name="connsiteY73" fmla="*/ 233077 h 280797"/>
                  <a:gd name="connsiteX74" fmla="*/ 1823466 w 3175826"/>
                  <a:gd name="connsiteY74" fmla="*/ 233077 h 280797"/>
                  <a:gd name="connsiteX75" fmla="*/ 1823466 w 3175826"/>
                  <a:gd name="connsiteY75" fmla="*/ 239459 h 280797"/>
                  <a:gd name="connsiteX76" fmla="*/ 1842421 w 3175826"/>
                  <a:gd name="connsiteY76" fmla="*/ 239459 h 280797"/>
                  <a:gd name="connsiteX77" fmla="*/ 1842421 w 3175826"/>
                  <a:gd name="connsiteY77" fmla="*/ 245936 h 280797"/>
                  <a:gd name="connsiteX78" fmla="*/ 2696242 w 3175826"/>
                  <a:gd name="connsiteY78" fmla="*/ 245936 h 280797"/>
                  <a:gd name="connsiteX79" fmla="*/ 2696242 w 3175826"/>
                  <a:gd name="connsiteY79" fmla="*/ 280797 h 280797"/>
                  <a:gd name="connsiteX80" fmla="*/ 3175826 w 3175826"/>
                  <a:gd name="connsiteY80" fmla="*/ 280797 h 280797"/>
                  <a:gd name="connsiteX0" fmla="*/ 0 w 3175826"/>
                  <a:gd name="connsiteY0" fmla="*/ 0 h 280797"/>
                  <a:gd name="connsiteX1" fmla="*/ 14764 w 3175826"/>
                  <a:gd name="connsiteY1" fmla="*/ 6001 h 280797"/>
                  <a:gd name="connsiteX2" fmla="*/ 14764 w 3175826"/>
                  <a:gd name="connsiteY2" fmla="*/ 18193 h 280797"/>
                  <a:gd name="connsiteX3" fmla="*/ 16859 w 3175826"/>
                  <a:gd name="connsiteY3" fmla="*/ 18193 h 280797"/>
                  <a:gd name="connsiteX4" fmla="*/ 16859 w 3175826"/>
                  <a:gd name="connsiteY4" fmla="*/ 24289 h 280797"/>
                  <a:gd name="connsiteX5" fmla="*/ 29432 w 3175826"/>
                  <a:gd name="connsiteY5" fmla="*/ 24289 h 280797"/>
                  <a:gd name="connsiteX6" fmla="*/ 29432 w 3175826"/>
                  <a:gd name="connsiteY6" fmla="*/ 30290 h 280797"/>
                  <a:gd name="connsiteX7" fmla="*/ 52578 w 3175826"/>
                  <a:gd name="connsiteY7" fmla="*/ 30290 h 280797"/>
                  <a:gd name="connsiteX8" fmla="*/ 52578 w 3175826"/>
                  <a:gd name="connsiteY8" fmla="*/ 36386 h 280797"/>
                  <a:gd name="connsiteX9" fmla="*/ 58960 w 3175826"/>
                  <a:gd name="connsiteY9" fmla="*/ 36386 h 280797"/>
                  <a:gd name="connsiteX10" fmla="*/ 58960 w 3175826"/>
                  <a:gd name="connsiteY10" fmla="*/ 42482 h 280797"/>
                  <a:gd name="connsiteX11" fmla="*/ 67342 w 3175826"/>
                  <a:gd name="connsiteY11" fmla="*/ 42482 h 280797"/>
                  <a:gd name="connsiteX12" fmla="*/ 67342 w 3175826"/>
                  <a:gd name="connsiteY12" fmla="*/ 48483 h 280797"/>
                  <a:gd name="connsiteX13" fmla="*/ 75724 w 3175826"/>
                  <a:gd name="connsiteY13" fmla="*/ 48483 h 280797"/>
                  <a:gd name="connsiteX14" fmla="*/ 75724 w 3175826"/>
                  <a:gd name="connsiteY14" fmla="*/ 54579 h 280797"/>
                  <a:gd name="connsiteX15" fmla="*/ 79915 w 3175826"/>
                  <a:gd name="connsiteY15" fmla="*/ 54579 h 280797"/>
                  <a:gd name="connsiteX16" fmla="*/ 79915 w 3175826"/>
                  <a:gd name="connsiteY16" fmla="*/ 60675 h 280797"/>
                  <a:gd name="connsiteX17" fmla="*/ 153543 w 3175826"/>
                  <a:gd name="connsiteY17" fmla="*/ 60675 h 280797"/>
                  <a:gd name="connsiteX18" fmla="*/ 153543 w 3175826"/>
                  <a:gd name="connsiteY18" fmla="*/ 66675 h 280797"/>
                  <a:gd name="connsiteX19" fmla="*/ 174593 w 3175826"/>
                  <a:gd name="connsiteY19" fmla="*/ 66675 h 280797"/>
                  <a:gd name="connsiteX20" fmla="*/ 174593 w 3175826"/>
                  <a:gd name="connsiteY20" fmla="*/ 72771 h 280797"/>
                  <a:gd name="connsiteX21" fmla="*/ 180880 w 3175826"/>
                  <a:gd name="connsiteY21" fmla="*/ 72771 h 280797"/>
                  <a:gd name="connsiteX22" fmla="*/ 180880 w 3175826"/>
                  <a:gd name="connsiteY22" fmla="*/ 78867 h 280797"/>
                  <a:gd name="connsiteX23" fmla="*/ 222980 w 3175826"/>
                  <a:gd name="connsiteY23" fmla="*/ 78867 h 280797"/>
                  <a:gd name="connsiteX24" fmla="*/ 222980 w 3175826"/>
                  <a:gd name="connsiteY24" fmla="*/ 84868 h 280797"/>
                  <a:gd name="connsiteX25" fmla="*/ 237649 w 3175826"/>
                  <a:gd name="connsiteY25" fmla="*/ 84868 h 280797"/>
                  <a:gd name="connsiteX26" fmla="*/ 237649 w 3175826"/>
                  <a:gd name="connsiteY26" fmla="*/ 90964 h 280797"/>
                  <a:gd name="connsiteX27" fmla="*/ 267176 w 3175826"/>
                  <a:gd name="connsiteY27" fmla="*/ 90964 h 280797"/>
                  <a:gd name="connsiteX28" fmla="*/ 267176 w 3175826"/>
                  <a:gd name="connsiteY28" fmla="*/ 97060 h 280797"/>
                  <a:gd name="connsiteX29" fmla="*/ 269272 w 3175826"/>
                  <a:gd name="connsiteY29" fmla="*/ 97060 h 280797"/>
                  <a:gd name="connsiteX30" fmla="*/ 269272 w 3175826"/>
                  <a:gd name="connsiteY30" fmla="*/ 103061 h 280797"/>
                  <a:gd name="connsiteX31" fmla="*/ 292322 w 3175826"/>
                  <a:gd name="connsiteY31" fmla="*/ 103061 h 280797"/>
                  <a:gd name="connsiteX32" fmla="*/ 292322 w 3175826"/>
                  <a:gd name="connsiteY32" fmla="*/ 109157 h 280797"/>
                  <a:gd name="connsiteX33" fmla="*/ 304991 w 3175826"/>
                  <a:gd name="connsiteY33" fmla="*/ 109157 h 280797"/>
                  <a:gd name="connsiteX34" fmla="*/ 304991 w 3175826"/>
                  <a:gd name="connsiteY34" fmla="*/ 115253 h 280797"/>
                  <a:gd name="connsiteX35" fmla="*/ 340709 w 3175826"/>
                  <a:gd name="connsiteY35" fmla="*/ 115253 h 280797"/>
                  <a:gd name="connsiteX36" fmla="*/ 340709 w 3175826"/>
                  <a:gd name="connsiteY36" fmla="*/ 121349 h 280797"/>
                  <a:gd name="connsiteX37" fmla="*/ 456438 w 3175826"/>
                  <a:gd name="connsiteY37" fmla="*/ 121349 h 280797"/>
                  <a:gd name="connsiteX38" fmla="*/ 456438 w 3175826"/>
                  <a:gd name="connsiteY38" fmla="*/ 127350 h 280797"/>
                  <a:gd name="connsiteX39" fmla="*/ 494252 w 3175826"/>
                  <a:gd name="connsiteY39" fmla="*/ 127350 h 280797"/>
                  <a:gd name="connsiteX40" fmla="*/ 494252 w 3175826"/>
                  <a:gd name="connsiteY40" fmla="*/ 133541 h 280797"/>
                  <a:gd name="connsiteX41" fmla="*/ 546830 w 3175826"/>
                  <a:gd name="connsiteY41" fmla="*/ 133541 h 280797"/>
                  <a:gd name="connsiteX42" fmla="*/ 546830 w 3175826"/>
                  <a:gd name="connsiteY42" fmla="*/ 139637 h 280797"/>
                  <a:gd name="connsiteX43" fmla="*/ 565785 w 3175826"/>
                  <a:gd name="connsiteY43" fmla="*/ 139637 h 280797"/>
                  <a:gd name="connsiteX44" fmla="*/ 565785 w 3175826"/>
                  <a:gd name="connsiteY44" fmla="*/ 145733 h 280797"/>
                  <a:gd name="connsiteX45" fmla="*/ 576263 w 3175826"/>
                  <a:gd name="connsiteY45" fmla="*/ 145733 h 280797"/>
                  <a:gd name="connsiteX46" fmla="*/ 576263 w 3175826"/>
                  <a:gd name="connsiteY46" fmla="*/ 151924 h 280797"/>
                  <a:gd name="connsiteX47" fmla="*/ 609981 w 3175826"/>
                  <a:gd name="connsiteY47" fmla="*/ 151924 h 280797"/>
                  <a:gd name="connsiteX48" fmla="*/ 609981 w 3175826"/>
                  <a:gd name="connsiteY48" fmla="*/ 158020 h 280797"/>
                  <a:gd name="connsiteX49" fmla="*/ 616268 w 3175826"/>
                  <a:gd name="connsiteY49" fmla="*/ 158020 h 280797"/>
                  <a:gd name="connsiteX50" fmla="*/ 616268 w 3175826"/>
                  <a:gd name="connsiteY50" fmla="*/ 164116 h 280797"/>
                  <a:gd name="connsiteX51" fmla="*/ 630936 w 3175826"/>
                  <a:gd name="connsiteY51" fmla="*/ 164116 h 280797"/>
                  <a:gd name="connsiteX52" fmla="*/ 630936 w 3175826"/>
                  <a:gd name="connsiteY52" fmla="*/ 170212 h 280797"/>
                  <a:gd name="connsiteX53" fmla="*/ 643604 w 3175826"/>
                  <a:gd name="connsiteY53" fmla="*/ 170212 h 280797"/>
                  <a:gd name="connsiteX54" fmla="*/ 643604 w 3175826"/>
                  <a:gd name="connsiteY54" fmla="*/ 176403 h 280797"/>
                  <a:gd name="connsiteX55" fmla="*/ 668846 w 3175826"/>
                  <a:gd name="connsiteY55" fmla="*/ 176403 h 280797"/>
                  <a:gd name="connsiteX56" fmla="*/ 668846 w 3175826"/>
                  <a:gd name="connsiteY56" fmla="*/ 182499 h 280797"/>
                  <a:gd name="connsiteX57" fmla="*/ 898112 w 3175826"/>
                  <a:gd name="connsiteY57" fmla="*/ 182499 h 280797"/>
                  <a:gd name="connsiteX58" fmla="*/ 898112 w 3175826"/>
                  <a:gd name="connsiteY58" fmla="*/ 188691 h 280797"/>
                  <a:gd name="connsiteX59" fmla="*/ 1011650 w 3175826"/>
                  <a:gd name="connsiteY59" fmla="*/ 188691 h 280797"/>
                  <a:gd name="connsiteX60" fmla="*/ 1011650 w 3175826"/>
                  <a:gd name="connsiteY60" fmla="*/ 194882 h 280797"/>
                  <a:gd name="connsiteX61" fmla="*/ 1280827 w 3175826"/>
                  <a:gd name="connsiteY61" fmla="*/ 194882 h 280797"/>
                  <a:gd name="connsiteX62" fmla="*/ 1280827 w 3175826"/>
                  <a:gd name="connsiteY62" fmla="*/ 201168 h 280797"/>
                  <a:gd name="connsiteX63" fmla="*/ 1354455 w 3175826"/>
                  <a:gd name="connsiteY63" fmla="*/ 201168 h 280797"/>
                  <a:gd name="connsiteX64" fmla="*/ 1354455 w 3175826"/>
                  <a:gd name="connsiteY64" fmla="*/ 207455 h 280797"/>
                  <a:gd name="connsiteX65" fmla="*/ 1434370 w 3175826"/>
                  <a:gd name="connsiteY65" fmla="*/ 207455 h 280797"/>
                  <a:gd name="connsiteX66" fmla="*/ 1434370 w 3175826"/>
                  <a:gd name="connsiteY66" fmla="*/ 213741 h 280797"/>
                  <a:gd name="connsiteX67" fmla="*/ 1596295 w 3175826"/>
                  <a:gd name="connsiteY67" fmla="*/ 213741 h 280797"/>
                  <a:gd name="connsiteX68" fmla="*/ 1596295 w 3175826"/>
                  <a:gd name="connsiteY68" fmla="*/ 220218 h 280797"/>
                  <a:gd name="connsiteX69" fmla="*/ 1613154 w 3175826"/>
                  <a:gd name="connsiteY69" fmla="*/ 220218 h 280797"/>
                  <a:gd name="connsiteX70" fmla="*/ 1613154 w 3175826"/>
                  <a:gd name="connsiteY70" fmla="*/ 226600 h 280797"/>
                  <a:gd name="connsiteX71" fmla="*/ 1730978 w 3175826"/>
                  <a:gd name="connsiteY71" fmla="*/ 226600 h 280797"/>
                  <a:gd name="connsiteX72" fmla="*/ 1730978 w 3175826"/>
                  <a:gd name="connsiteY72" fmla="*/ 233077 h 280797"/>
                  <a:gd name="connsiteX73" fmla="*/ 1823466 w 3175826"/>
                  <a:gd name="connsiteY73" fmla="*/ 233077 h 280797"/>
                  <a:gd name="connsiteX74" fmla="*/ 1823466 w 3175826"/>
                  <a:gd name="connsiteY74" fmla="*/ 239459 h 280797"/>
                  <a:gd name="connsiteX75" fmla="*/ 1842421 w 3175826"/>
                  <a:gd name="connsiteY75" fmla="*/ 239459 h 280797"/>
                  <a:gd name="connsiteX76" fmla="*/ 1842421 w 3175826"/>
                  <a:gd name="connsiteY76" fmla="*/ 245936 h 280797"/>
                  <a:gd name="connsiteX77" fmla="*/ 2696242 w 3175826"/>
                  <a:gd name="connsiteY77" fmla="*/ 245936 h 280797"/>
                  <a:gd name="connsiteX78" fmla="*/ 2696242 w 3175826"/>
                  <a:gd name="connsiteY78" fmla="*/ 280797 h 280797"/>
                  <a:gd name="connsiteX79" fmla="*/ 3175826 w 3175826"/>
                  <a:gd name="connsiteY79" fmla="*/ 280797 h 280797"/>
                  <a:gd name="connsiteX0" fmla="*/ 0 w 3161062"/>
                  <a:gd name="connsiteY0" fmla="*/ 0 h 274796"/>
                  <a:gd name="connsiteX1" fmla="*/ 0 w 3161062"/>
                  <a:gd name="connsiteY1" fmla="*/ 12192 h 274796"/>
                  <a:gd name="connsiteX2" fmla="*/ 2095 w 3161062"/>
                  <a:gd name="connsiteY2" fmla="*/ 12192 h 274796"/>
                  <a:gd name="connsiteX3" fmla="*/ 2095 w 3161062"/>
                  <a:gd name="connsiteY3" fmla="*/ 18288 h 274796"/>
                  <a:gd name="connsiteX4" fmla="*/ 14668 w 3161062"/>
                  <a:gd name="connsiteY4" fmla="*/ 18288 h 274796"/>
                  <a:gd name="connsiteX5" fmla="*/ 14668 w 3161062"/>
                  <a:gd name="connsiteY5" fmla="*/ 24289 h 274796"/>
                  <a:gd name="connsiteX6" fmla="*/ 37814 w 3161062"/>
                  <a:gd name="connsiteY6" fmla="*/ 24289 h 274796"/>
                  <a:gd name="connsiteX7" fmla="*/ 37814 w 3161062"/>
                  <a:gd name="connsiteY7" fmla="*/ 30385 h 274796"/>
                  <a:gd name="connsiteX8" fmla="*/ 44196 w 3161062"/>
                  <a:gd name="connsiteY8" fmla="*/ 30385 h 274796"/>
                  <a:gd name="connsiteX9" fmla="*/ 44196 w 3161062"/>
                  <a:gd name="connsiteY9" fmla="*/ 36481 h 274796"/>
                  <a:gd name="connsiteX10" fmla="*/ 52578 w 3161062"/>
                  <a:gd name="connsiteY10" fmla="*/ 36481 h 274796"/>
                  <a:gd name="connsiteX11" fmla="*/ 52578 w 3161062"/>
                  <a:gd name="connsiteY11" fmla="*/ 42482 h 274796"/>
                  <a:gd name="connsiteX12" fmla="*/ 60960 w 3161062"/>
                  <a:gd name="connsiteY12" fmla="*/ 42482 h 274796"/>
                  <a:gd name="connsiteX13" fmla="*/ 60960 w 3161062"/>
                  <a:gd name="connsiteY13" fmla="*/ 48578 h 274796"/>
                  <a:gd name="connsiteX14" fmla="*/ 65151 w 3161062"/>
                  <a:gd name="connsiteY14" fmla="*/ 48578 h 274796"/>
                  <a:gd name="connsiteX15" fmla="*/ 65151 w 3161062"/>
                  <a:gd name="connsiteY15" fmla="*/ 54674 h 274796"/>
                  <a:gd name="connsiteX16" fmla="*/ 138779 w 3161062"/>
                  <a:gd name="connsiteY16" fmla="*/ 54674 h 274796"/>
                  <a:gd name="connsiteX17" fmla="*/ 138779 w 3161062"/>
                  <a:gd name="connsiteY17" fmla="*/ 60674 h 274796"/>
                  <a:gd name="connsiteX18" fmla="*/ 159829 w 3161062"/>
                  <a:gd name="connsiteY18" fmla="*/ 60674 h 274796"/>
                  <a:gd name="connsiteX19" fmla="*/ 159829 w 3161062"/>
                  <a:gd name="connsiteY19" fmla="*/ 66770 h 274796"/>
                  <a:gd name="connsiteX20" fmla="*/ 166116 w 3161062"/>
                  <a:gd name="connsiteY20" fmla="*/ 66770 h 274796"/>
                  <a:gd name="connsiteX21" fmla="*/ 166116 w 3161062"/>
                  <a:gd name="connsiteY21" fmla="*/ 72866 h 274796"/>
                  <a:gd name="connsiteX22" fmla="*/ 208216 w 3161062"/>
                  <a:gd name="connsiteY22" fmla="*/ 72866 h 274796"/>
                  <a:gd name="connsiteX23" fmla="*/ 208216 w 3161062"/>
                  <a:gd name="connsiteY23" fmla="*/ 78867 h 274796"/>
                  <a:gd name="connsiteX24" fmla="*/ 222885 w 3161062"/>
                  <a:gd name="connsiteY24" fmla="*/ 78867 h 274796"/>
                  <a:gd name="connsiteX25" fmla="*/ 222885 w 3161062"/>
                  <a:gd name="connsiteY25" fmla="*/ 84963 h 274796"/>
                  <a:gd name="connsiteX26" fmla="*/ 252412 w 3161062"/>
                  <a:gd name="connsiteY26" fmla="*/ 84963 h 274796"/>
                  <a:gd name="connsiteX27" fmla="*/ 252412 w 3161062"/>
                  <a:gd name="connsiteY27" fmla="*/ 91059 h 274796"/>
                  <a:gd name="connsiteX28" fmla="*/ 254508 w 3161062"/>
                  <a:gd name="connsiteY28" fmla="*/ 91059 h 274796"/>
                  <a:gd name="connsiteX29" fmla="*/ 254508 w 3161062"/>
                  <a:gd name="connsiteY29" fmla="*/ 97060 h 274796"/>
                  <a:gd name="connsiteX30" fmla="*/ 277558 w 3161062"/>
                  <a:gd name="connsiteY30" fmla="*/ 97060 h 274796"/>
                  <a:gd name="connsiteX31" fmla="*/ 277558 w 3161062"/>
                  <a:gd name="connsiteY31" fmla="*/ 103156 h 274796"/>
                  <a:gd name="connsiteX32" fmla="*/ 290227 w 3161062"/>
                  <a:gd name="connsiteY32" fmla="*/ 103156 h 274796"/>
                  <a:gd name="connsiteX33" fmla="*/ 290227 w 3161062"/>
                  <a:gd name="connsiteY33" fmla="*/ 109252 h 274796"/>
                  <a:gd name="connsiteX34" fmla="*/ 325945 w 3161062"/>
                  <a:gd name="connsiteY34" fmla="*/ 109252 h 274796"/>
                  <a:gd name="connsiteX35" fmla="*/ 325945 w 3161062"/>
                  <a:gd name="connsiteY35" fmla="*/ 115348 h 274796"/>
                  <a:gd name="connsiteX36" fmla="*/ 441674 w 3161062"/>
                  <a:gd name="connsiteY36" fmla="*/ 115348 h 274796"/>
                  <a:gd name="connsiteX37" fmla="*/ 441674 w 3161062"/>
                  <a:gd name="connsiteY37" fmla="*/ 121349 h 274796"/>
                  <a:gd name="connsiteX38" fmla="*/ 479488 w 3161062"/>
                  <a:gd name="connsiteY38" fmla="*/ 121349 h 274796"/>
                  <a:gd name="connsiteX39" fmla="*/ 479488 w 3161062"/>
                  <a:gd name="connsiteY39" fmla="*/ 127540 h 274796"/>
                  <a:gd name="connsiteX40" fmla="*/ 532066 w 3161062"/>
                  <a:gd name="connsiteY40" fmla="*/ 127540 h 274796"/>
                  <a:gd name="connsiteX41" fmla="*/ 532066 w 3161062"/>
                  <a:gd name="connsiteY41" fmla="*/ 133636 h 274796"/>
                  <a:gd name="connsiteX42" fmla="*/ 551021 w 3161062"/>
                  <a:gd name="connsiteY42" fmla="*/ 133636 h 274796"/>
                  <a:gd name="connsiteX43" fmla="*/ 551021 w 3161062"/>
                  <a:gd name="connsiteY43" fmla="*/ 139732 h 274796"/>
                  <a:gd name="connsiteX44" fmla="*/ 561499 w 3161062"/>
                  <a:gd name="connsiteY44" fmla="*/ 139732 h 274796"/>
                  <a:gd name="connsiteX45" fmla="*/ 561499 w 3161062"/>
                  <a:gd name="connsiteY45" fmla="*/ 145923 h 274796"/>
                  <a:gd name="connsiteX46" fmla="*/ 595217 w 3161062"/>
                  <a:gd name="connsiteY46" fmla="*/ 145923 h 274796"/>
                  <a:gd name="connsiteX47" fmla="*/ 595217 w 3161062"/>
                  <a:gd name="connsiteY47" fmla="*/ 152019 h 274796"/>
                  <a:gd name="connsiteX48" fmla="*/ 601504 w 3161062"/>
                  <a:gd name="connsiteY48" fmla="*/ 152019 h 274796"/>
                  <a:gd name="connsiteX49" fmla="*/ 601504 w 3161062"/>
                  <a:gd name="connsiteY49" fmla="*/ 158115 h 274796"/>
                  <a:gd name="connsiteX50" fmla="*/ 616172 w 3161062"/>
                  <a:gd name="connsiteY50" fmla="*/ 158115 h 274796"/>
                  <a:gd name="connsiteX51" fmla="*/ 616172 w 3161062"/>
                  <a:gd name="connsiteY51" fmla="*/ 164211 h 274796"/>
                  <a:gd name="connsiteX52" fmla="*/ 628840 w 3161062"/>
                  <a:gd name="connsiteY52" fmla="*/ 164211 h 274796"/>
                  <a:gd name="connsiteX53" fmla="*/ 628840 w 3161062"/>
                  <a:gd name="connsiteY53" fmla="*/ 170402 h 274796"/>
                  <a:gd name="connsiteX54" fmla="*/ 654082 w 3161062"/>
                  <a:gd name="connsiteY54" fmla="*/ 170402 h 274796"/>
                  <a:gd name="connsiteX55" fmla="*/ 654082 w 3161062"/>
                  <a:gd name="connsiteY55" fmla="*/ 176498 h 274796"/>
                  <a:gd name="connsiteX56" fmla="*/ 883348 w 3161062"/>
                  <a:gd name="connsiteY56" fmla="*/ 176498 h 274796"/>
                  <a:gd name="connsiteX57" fmla="*/ 883348 w 3161062"/>
                  <a:gd name="connsiteY57" fmla="*/ 182690 h 274796"/>
                  <a:gd name="connsiteX58" fmla="*/ 996886 w 3161062"/>
                  <a:gd name="connsiteY58" fmla="*/ 182690 h 274796"/>
                  <a:gd name="connsiteX59" fmla="*/ 996886 w 3161062"/>
                  <a:gd name="connsiteY59" fmla="*/ 188881 h 274796"/>
                  <a:gd name="connsiteX60" fmla="*/ 1266063 w 3161062"/>
                  <a:gd name="connsiteY60" fmla="*/ 188881 h 274796"/>
                  <a:gd name="connsiteX61" fmla="*/ 1266063 w 3161062"/>
                  <a:gd name="connsiteY61" fmla="*/ 195167 h 274796"/>
                  <a:gd name="connsiteX62" fmla="*/ 1339691 w 3161062"/>
                  <a:gd name="connsiteY62" fmla="*/ 195167 h 274796"/>
                  <a:gd name="connsiteX63" fmla="*/ 1339691 w 3161062"/>
                  <a:gd name="connsiteY63" fmla="*/ 201454 h 274796"/>
                  <a:gd name="connsiteX64" fmla="*/ 1419606 w 3161062"/>
                  <a:gd name="connsiteY64" fmla="*/ 201454 h 274796"/>
                  <a:gd name="connsiteX65" fmla="*/ 1419606 w 3161062"/>
                  <a:gd name="connsiteY65" fmla="*/ 207740 h 274796"/>
                  <a:gd name="connsiteX66" fmla="*/ 1581531 w 3161062"/>
                  <a:gd name="connsiteY66" fmla="*/ 207740 h 274796"/>
                  <a:gd name="connsiteX67" fmla="*/ 1581531 w 3161062"/>
                  <a:gd name="connsiteY67" fmla="*/ 214217 h 274796"/>
                  <a:gd name="connsiteX68" fmla="*/ 1598390 w 3161062"/>
                  <a:gd name="connsiteY68" fmla="*/ 214217 h 274796"/>
                  <a:gd name="connsiteX69" fmla="*/ 1598390 w 3161062"/>
                  <a:gd name="connsiteY69" fmla="*/ 220599 h 274796"/>
                  <a:gd name="connsiteX70" fmla="*/ 1716214 w 3161062"/>
                  <a:gd name="connsiteY70" fmla="*/ 220599 h 274796"/>
                  <a:gd name="connsiteX71" fmla="*/ 1716214 w 3161062"/>
                  <a:gd name="connsiteY71" fmla="*/ 227076 h 274796"/>
                  <a:gd name="connsiteX72" fmla="*/ 1808702 w 3161062"/>
                  <a:gd name="connsiteY72" fmla="*/ 227076 h 274796"/>
                  <a:gd name="connsiteX73" fmla="*/ 1808702 w 3161062"/>
                  <a:gd name="connsiteY73" fmla="*/ 233458 h 274796"/>
                  <a:gd name="connsiteX74" fmla="*/ 1827657 w 3161062"/>
                  <a:gd name="connsiteY74" fmla="*/ 233458 h 274796"/>
                  <a:gd name="connsiteX75" fmla="*/ 1827657 w 3161062"/>
                  <a:gd name="connsiteY75" fmla="*/ 239935 h 274796"/>
                  <a:gd name="connsiteX76" fmla="*/ 2681478 w 3161062"/>
                  <a:gd name="connsiteY76" fmla="*/ 239935 h 274796"/>
                  <a:gd name="connsiteX77" fmla="*/ 2681478 w 3161062"/>
                  <a:gd name="connsiteY77" fmla="*/ 274796 h 274796"/>
                  <a:gd name="connsiteX78" fmla="*/ 3161062 w 3161062"/>
                  <a:gd name="connsiteY78" fmla="*/ 274796 h 274796"/>
                  <a:gd name="connsiteX0" fmla="*/ 0 w 3161062"/>
                  <a:gd name="connsiteY0" fmla="*/ 0 h 262604"/>
                  <a:gd name="connsiteX1" fmla="*/ 2095 w 3161062"/>
                  <a:gd name="connsiteY1" fmla="*/ 0 h 262604"/>
                  <a:gd name="connsiteX2" fmla="*/ 2095 w 3161062"/>
                  <a:gd name="connsiteY2" fmla="*/ 6096 h 262604"/>
                  <a:gd name="connsiteX3" fmla="*/ 14668 w 3161062"/>
                  <a:gd name="connsiteY3" fmla="*/ 6096 h 262604"/>
                  <a:gd name="connsiteX4" fmla="*/ 14668 w 3161062"/>
                  <a:gd name="connsiteY4" fmla="*/ 12097 h 262604"/>
                  <a:gd name="connsiteX5" fmla="*/ 37814 w 3161062"/>
                  <a:gd name="connsiteY5" fmla="*/ 12097 h 262604"/>
                  <a:gd name="connsiteX6" fmla="*/ 37814 w 3161062"/>
                  <a:gd name="connsiteY6" fmla="*/ 18193 h 262604"/>
                  <a:gd name="connsiteX7" fmla="*/ 44196 w 3161062"/>
                  <a:gd name="connsiteY7" fmla="*/ 18193 h 262604"/>
                  <a:gd name="connsiteX8" fmla="*/ 44196 w 3161062"/>
                  <a:gd name="connsiteY8" fmla="*/ 24289 h 262604"/>
                  <a:gd name="connsiteX9" fmla="*/ 52578 w 3161062"/>
                  <a:gd name="connsiteY9" fmla="*/ 24289 h 262604"/>
                  <a:gd name="connsiteX10" fmla="*/ 52578 w 3161062"/>
                  <a:gd name="connsiteY10" fmla="*/ 30290 h 262604"/>
                  <a:gd name="connsiteX11" fmla="*/ 60960 w 3161062"/>
                  <a:gd name="connsiteY11" fmla="*/ 30290 h 262604"/>
                  <a:gd name="connsiteX12" fmla="*/ 60960 w 3161062"/>
                  <a:gd name="connsiteY12" fmla="*/ 36386 h 262604"/>
                  <a:gd name="connsiteX13" fmla="*/ 65151 w 3161062"/>
                  <a:gd name="connsiteY13" fmla="*/ 36386 h 262604"/>
                  <a:gd name="connsiteX14" fmla="*/ 65151 w 3161062"/>
                  <a:gd name="connsiteY14" fmla="*/ 42482 h 262604"/>
                  <a:gd name="connsiteX15" fmla="*/ 138779 w 3161062"/>
                  <a:gd name="connsiteY15" fmla="*/ 42482 h 262604"/>
                  <a:gd name="connsiteX16" fmla="*/ 138779 w 3161062"/>
                  <a:gd name="connsiteY16" fmla="*/ 48482 h 262604"/>
                  <a:gd name="connsiteX17" fmla="*/ 159829 w 3161062"/>
                  <a:gd name="connsiteY17" fmla="*/ 48482 h 262604"/>
                  <a:gd name="connsiteX18" fmla="*/ 159829 w 3161062"/>
                  <a:gd name="connsiteY18" fmla="*/ 54578 h 262604"/>
                  <a:gd name="connsiteX19" fmla="*/ 166116 w 3161062"/>
                  <a:gd name="connsiteY19" fmla="*/ 54578 h 262604"/>
                  <a:gd name="connsiteX20" fmla="*/ 166116 w 3161062"/>
                  <a:gd name="connsiteY20" fmla="*/ 60674 h 262604"/>
                  <a:gd name="connsiteX21" fmla="*/ 208216 w 3161062"/>
                  <a:gd name="connsiteY21" fmla="*/ 60674 h 262604"/>
                  <a:gd name="connsiteX22" fmla="*/ 208216 w 3161062"/>
                  <a:gd name="connsiteY22" fmla="*/ 66675 h 262604"/>
                  <a:gd name="connsiteX23" fmla="*/ 222885 w 3161062"/>
                  <a:gd name="connsiteY23" fmla="*/ 66675 h 262604"/>
                  <a:gd name="connsiteX24" fmla="*/ 222885 w 3161062"/>
                  <a:gd name="connsiteY24" fmla="*/ 72771 h 262604"/>
                  <a:gd name="connsiteX25" fmla="*/ 252412 w 3161062"/>
                  <a:gd name="connsiteY25" fmla="*/ 72771 h 262604"/>
                  <a:gd name="connsiteX26" fmla="*/ 252412 w 3161062"/>
                  <a:gd name="connsiteY26" fmla="*/ 78867 h 262604"/>
                  <a:gd name="connsiteX27" fmla="*/ 254508 w 3161062"/>
                  <a:gd name="connsiteY27" fmla="*/ 78867 h 262604"/>
                  <a:gd name="connsiteX28" fmla="*/ 254508 w 3161062"/>
                  <a:gd name="connsiteY28" fmla="*/ 84868 h 262604"/>
                  <a:gd name="connsiteX29" fmla="*/ 277558 w 3161062"/>
                  <a:gd name="connsiteY29" fmla="*/ 84868 h 262604"/>
                  <a:gd name="connsiteX30" fmla="*/ 277558 w 3161062"/>
                  <a:gd name="connsiteY30" fmla="*/ 90964 h 262604"/>
                  <a:gd name="connsiteX31" fmla="*/ 290227 w 3161062"/>
                  <a:gd name="connsiteY31" fmla="*/ 90964 h 262604"/>
                  <a:gd name="connsiteX32" fmla="*/ 290227 w 3161062"/>
                  <a:gd name="connsiteY32" fmla="*/ 97060 h 262604"/>
                  <a:gd name="connsiteX33" fmla="*/ 325945 w 3161062"/>
                  <a:gd name="connsiteY33" fmla="*/ 97060 h 262604"/>
                  <a:gd name="connsiteX34" fmla="*/ 325945 w 3161062"/>
                  <a:gd name="connsiteY34" fmla="*/ 103156 h 262604"/>
                  <a:gd name="connsiteX35" fmla="*/ 441674 w 3161062"/>
                  <a:gd name="connsiteY35" fmla="*/ 103156 h 262604"/>
                  <a:gd name="connsiteX36" fmla="*/ 441674 w 3161062"/>
                  <a:gd name="connsiteY36" fmla="*/ 109157 h 262604"/>
                  <a:gd name="connsiteX37" fmla="*/ 479488 w 3161062"/>
                  <a:gd name="connsiteY37" fmla="*/ 109157 h 262604"/>
                  <a:gd name="connsiteX38" fmla="*/ 479488 w 3161062"/>
                  <a:gd name="connsiteY38" fmla="*/ 115348 h 262604"/>
                  <a:gd name="connsiteX39" fmla="*/ 532066 w 3161062"/>
                  <a:gd name="connsiteY39" fmla="*/ 115348 h 262604"/>
                  <a:gd name="connsiteX40" fmla="*/ 532066 w 3161062"/>
                  <a:gd name="connsiteY40" fmla="*/ 121444 h 262604"/>
                  <a:gd name="connsiteX41" fmla="*/ 551021 w 3161062"/>
                  <a:gd name="connsiteY41" fmla="*/ 121444 h 262604"/>
                  <a:gd name="connsiteX42" fmla="*/ 551021 w 3161062"/>
                  <a:gd name="connsiteY42" fmla="*/ 127540 h 262604"/>
                  <a:gd name="connsiteX43" fmla="*/ 561499 w 3161062"/>
                  <a:gd name="connsiteY43" fmla="*/ 127540 h 262604"/>
                  <a:gd name="connsiteX44" fmla="*/ 561499 w 3161062"/>
                  <a:gd name="connsiteY44" fmla="*/ 133731 h 262604"/>
                  <a:gd name="connsiteX45" fmla="*/ 595217 w 3161062"/>
                  <a:gd name="connsiteY45" fmla="*/ 133731 h 262604"/>
                  <a:gd name="connsiteX46" fmla="*/ 595217 w 3161062"/>
                  <a:gd name="connsiteY46" fmla="*/ 139827 h 262604"/>
                  <a:gd name="connsiteX47" fmla="*/ 601504 w 3161062"/>
                  <a:gd name="connsiteY47" fmla="*/ 139827 h 262604"/>
                  <a:gd name="connsiteX48" fmla="*/ 601504 w 3161062"/>
                  <a:gd name="connsiteY48" fmla="*/ 145923 h 262604"/>
                  <a:gd name="connsiteX49" fmla="*/ 616172 w 3161062"/>
                  <a:gd name="connsiteY49" fmla="*/ 145923 h 262604"/>
                  <a:gd name="connsiteX50" fmla="*/ 616172 w 3161062"/>
                  <a:gd name="connsiteY50" fmla="*/ 152019 h 262604"/>
                  <a:gd name="connsiteX51" fmla="*/ 628840 w 3161062"/>
                  <a:gd name="connsiteY51" fmla="*/ 152019 h 262604"/>
                  <a:gd name="connsiteX52" fmla="*/ 628840 w 3161062"/>
                  <a:gd name="connsiteY52" fmla="*/ 158210 h 262604"/>
                  <a:gd name="connsiteX53" fmla="*/ 654082 w 3161062"/>
                  <a:gd name="connsiteY53" fmla="*/ 158210 h 262604"/>
                  <a:gd name="connsiteX54" fmla="*/ 654082 w 3161062"/>
                  <a:gd name="connsiteY54" fmla="*/ 164306 h 262604"/>
                  <a:gd name="connsiteX55" fmla="*/ 883348 w 3161062"/>
                  <a:gd name="connsiteY55" fmla="*/ 164306 h 262604"/>
                  <a:gd name="connsiteX56" fmla="*/ 883348 w 3161062"/>
                  <a:gd name="connsiteY56" fmla="*/ 170498 h 262604"/>
                  <a:gd name="connsiteX57" fmla="*/ 996886 w 3161062"/>
                  <a:gd name="connsiteY57" fmla="*/ 170498 h 262604"/>
                  <a:gd name="connsiteX58" fmla="*/ 996886 w 3161062"/>
                  <a:gd name="connsiteY58" fmla="*/ 176689 h 262604"/>
                  <a:gd name="connsiteX59" fmla="*/ 1266063 w 3161062"/>
                  <a:gd name="connsiteY59" fmla="*/ 176689 h 262604"/>
                  <a:gd name="connsiteX60" fmla="*/ 1266063 w 3161062"/>
                  <a:gd name="connsiteY60" fmla="*/ 182975 h 262604"/>
                  <a:gd name="connsiteX61" fmla="*/ 1339691 w 3161062"/>
                  <a:gd name="connsiteY61" fmla="*/ 182975 h 262604"/>
                  <a:gd name="connsiteX62" fmla="*/ 1339691 w 3161062"/>
                  <a:gd name="connsiteY62" fmla="*/ 189262 h 262604"/>
                  <a:gd name="connsiteX63" fmla="*/ 1419606 w 3161062"/>
                  <a:gd name="connsiteY63" fmla="*/ 189262 h 262604"/>
                  <a:gd name="connsiteX64" fmla="*/ 1419606 w 3161062"/>
                  <a:gd name="connsiteY64" fmla="*/ 195548 h 262604"/>
                  <a:gd name="connsiteX65" fmla="*/ 1581531 w 3161062"/>
                  <a:gd name="connsiteY65" fmla="*/ 195548 h 262604"/>
                  <a:gd name="connsiteX66" fmla="*/ 1581531 w 3161062"/>
                  <a:gd name="connsiteY66" fmla="*/ 202025 h 262604"/>
                  <a:gd name="connsiteX67" fmla="*/ 1598390 w 3161062"/>
                  <a:gd name="connsiteY67" fmla="*/ 202025 h 262604"/>
                  <a:gd name="connsiteX68" fmla="*/ 1598390 w 3161062"/>
                  <a:gd name="connsiteY68" fmla="*/ 208407 h 262604"/>
                  <a:gd name="connsiteX69" fmla="*/ 1716214 w 3161062"/>
                  <a:gd name="connsiteY69" fmla="*/ 208407 h 262604"/>
                  <a:gd name="connsiteX70" fmla="*/ 1716214 w 3161062"/>
                  <a:gd name="connsiteY70" fmla="*/ 214884 h 262604"/>
                  <a:gd name="connsiteX71" fmla="*/ 1808702 w 3161062"/>
                  <a:gd name="connsiteY71" fmla="*/ 214884 h 262604"/>
                  <a:gd name="connsiteX72" fmla="*/ 1808702 w 3161062"/>
                  <a:gd name="connsiteY72" fmla="*/ 221266 h 262604"/>
                  <a:gd name="connsiteX73" fmla="*/ 1827657 w 3161062"/>
                  <a:gd name="connsiteY73" fmla="*/ 221266 h 262604"/>
                  <a:gd name="connsiteX74" fmla="*/ 1827657 w 3161062"/>
                  <a:gd name="connsiteY74" fmla="*/ 227743 h 262604"/>
                  <a:gd name="connsiteX75" fmla="*/ 2681478 w 3161062"/>
                  <a:gd name="connsiteY75" fmla="*/ 227743 h 262604"/>
                  <a:gd name="connsiteX76" fmla="*/ 2681478 w 3161062"/>
                  <a:gd name="connsiteY76" fmla="*/ 262604 h 262604"/>
                  <a:gd name="connsiteX77" fmla="*/ 3161062 w 3161062"/>
                  <a:gd name="connsiteY77" fmla="*/ 262604 h 262604"/>
                  <a:gd name="connsiteX0" fmla="*/ 0 w 3161062"/>
                  <a:gd name="connsiteY0" fmla="*/ 0 h 262604"/>
                  <a:gd name="connsiteX1" fmla="*/ 2095 w 3161062"/>
                  <a:gd name="connsiteY1" fmla="*/ 0 h 262604"/>
                  <a:gd name="connsiteX2" fmla="*/ 14668 w 3161062"/>
                  <a:gd name="connsiteY2" fmla="*/ 6096 h 262604"/>
                  <a:gd name="connsiteX3" fmla="*/ 14668 w 3161062"/>
                  <a:gd name="connsiteY3" fmla="*/ 12097 h 262604"/>
                  <a:gd name="connsiteX4" fmla="*/ 37814 w 3161062"/>
                  <a:gd name="connsiteY4" fmla="*/ 12097 h 262604"/>
                  <a:gd name="connsiteX5" fmla="*/ 37814 w 3161062"/>
                  <a:gd name="connsiteY5" fmla="*/ 18193 h 262604"/>
                  <a:gd name="connsiteX6" fmla="*/ 44196 w 3161062"/>
                  <a:gd name="connsiteY6" fmla="*/ 18193 h 262604"/>
                  <a:gd name="connsiteX7" fmla="*/ 44196 w 3161062"/>
                  <a:gd name="connsiteY7" fmla="*/ 24289 h 262604"/>
                  <a:gd name="connsiteX8" fmla="*/ 52578 w 3161062"/>
                  <a:gd name="connsiteY8" fmla="*/ 24289 h 262604"/>
                  <a:gd name="connsiteX9" fmla="*/ 52578 w 3161062"/>
                  <a:gd name="connsiteY9" fmla="*/ 30290 h 262604"/>
                  <a:gd name="connsiteX10" fmla="*/ 60960 w 3161062"/>
                  <a:gd name="connsiteY10" fmla="*/ 30290 h 262604"/>
                  <a:gd name="connsiteX11" fmla="*/ 60960 w 3161062"/>
                  <a:gd name="connsiteY11" fmla="*/ 36386 h 262604"/>
                  <a:gd name="connsiteX12" fmla="*/ 65151 w 3161062"/>
                  <a:gd name="connsiteY12" fmla="*/ 36386 h 262604"/>
                  <a:gd name="connsiteX13" fmla="*/ 65151 w 3161062"/>
                  <a:gd name="connsiteY13" fmla="*/ 42482 h 262604"/>
                  <a:gd name="connsiteX14" fmla="*/ 138779 w 3161062"/>
                  <a:gd name="connsiteY14" fmla="*/ 42482 h 262604"/>
                  <a:gd name="connsiteX15" fmla="*/ 138779 w 3161062"/>
                  <a:gd name="connsiteY15" fmla="*/ 48482 h 262604"/>
                  <a:gd name="connsiteX16" fmla="*/ 159829 w 3161062"/>
                  <a:gd name="connsiteY16" fmla="*/ 48482 h 262604"/>
                  <a:gd name="connsiteX17" fmla="*/ 159829 w 3161062"/>
                  <a:gd name="connsiteY17" fmla="*/ 54578 h 262604"/>
                  <a:gd name="connsiteX18" fmla="*/ 166116 w 3161062"/>
                  <a:gd name="connsiteY18" fmla="*/ 54578 h 262604"/>
                  <a:gd name="connsiteX19" fmla="*/ 166116 w 3161062"/>
                  <a:gd name="connsiteY19" fmla="*/ 60674 h 262604"/>
                  <a:gd name="connsiteX20" fmla="*/ 208216 w 3161062"/>
                  <a:gd name="connsiteY20" fmla="*/ 60674 h 262604"/>
                  <a:gd name="connsiteX21" fmla="*/ 208216 w 3161062"/>
                  <a:gd name="connsiteY21" fmla="*/ 66675 h 262604"/>
                  <a:gd name="connsiteX22" fmla="*/ 222885 w 3161062"/>
                  <a:gd name="connsiteY22" fmla="*/ 66675 h 262604"/>
                  <a:gd name="connsiteX23" fmla="*/ 222885 w 3161062"/>
                  <a:gd name="connsiteY23" fmla="*/ 72771 h 262604"/>
                  <a:gd name="connsiteX24" fmla="*/ 252412 w 3161062"/>
                  <a:gd name="connsiteY24" fmla="*/ 72771 h 262604"/>
                  <a:gd name="connsiteX25" fmla="*/ 252412 w 3161062"/>
                  <a:gd name="connsiteY25" fmla="*/ 78867 h 262604"/>
                  <a:gd name="connsiteX26" fmla="*/ 254508 w 3161062"/>
                  <a:gd name="connsiteY26" fmla="*/ 78867 h 262604"/>
                  <a:gd name="connsiteX27" fmla="*/ 254508 w 3161062"/>
                  <a:gd name="connsiteY27" fmla="*/ 84868 h 262604"/>
                  <a:gd name="connsiteX28" fmla="*/ 277558 w 3161062"/>
                  <a:gd name="connsiteY28" fmla="*/ 84868 h 262604"/>
                  <a:gd name="connsiteX29" fmla="*/ 277558 w 3161062"/>
                  <a:gd name="connsiteY29" fmla="*/ 90964 h 262604"/>
                  <a:gd name="connsiteX30" fmla="*/ 290227 w 3161062"/>
                  <a:gd name="connsiteY30" fmla="*/ 90964 h 262604"/>
                  <a:gd name="connsiteX31" fmla="*/ 290227 w 3161062"/>
                  <a:gd name="connsiteY31" fmla="*/ 97060 h 262604"/>
                  <a:gd name="connsiteX32" fmla="*/ 325945 w 3161062"/>
                  <a:gd name="connsiteY32" fmla="*/ 97060 h 262604"/>
                  <a:gd name="connsiteX33" fmla="*/ 325945 w 3161062"/>
                  <a:gd name="connsiteY33" fmla="*/ 103156 h 262604"/>
                  <a:gd name="connsiteX34" fmla="*/ 441674 w 3161062"/>
                  <a:gd name="connsiteY34" fmla="*/ 103156 h 262604"/>
                  <a:gd name="connsiteX35" fmla="*/ 441674 w 3161062"/>
                  <a:gd name="connsiteY35" fmla="*/ 109157 h 262604"/>
                  <a:gd name="connsiteX36" fmla="*/ 479488 w 3161062"/>
                  <a:gd name="connsiteY36" fmla="*/ 109157 h 262604"/>
                  <a:gd name="connsiteX37" fmla="*/ 479488 w 3161062"/>
                  <a:gd name="connsiteY37" fmla="*/ 115348 h 262604"/>
                  <a:gd name="connsiteX38" fmla="*/ 532066 w 3161062"/>
                  <a:gd name="connsiteY38" fmla="*/ 115348 h 262604"/>
                  <a:gd name="connsiteX39" fmla="*/ 532066 w 3161062"/>
                  <a:gd name="connsiteY39" fmla="*/ 121444 h 262604"/>
                  <a:gd name="connsiteX40" fmla="*/ 551021 w 3161062"/>
                  <a:gd name="connsiteY40" fmla="*/ 121444 h 262604"/>
                  <a:gd name="connsiteX41" fmla="*/ 551021 w 3161062"/>
                  <a:gd name="connsiteY41" fmla="*/ 127540 h 262604"/>
                  <a:gd name="connsiteX42" fmla="*/ 561499 w 3161062"/>
                  <a:gd name="connsiteY42" fmla="*/ 127540 h 262604"/>
                  <a:gd name="connsiteX43" fmla="*/ 561499 w 3161062"/>
                  <a:gd name="connsiteY43" fmla="*/ 133731 h 262604"/>
                  <a:gd name="connsiteX44" fmla="*/ 595217 w 3161062"/>
                  <a:gd name="connsiteY44" fmla="*/ 133731 h 262604"/>
                  <a:gd name="connsiteX45" fmla="*/ 595217 w 3161062"/>
                  <a:gd name="connsiteY45" fmla="*/ 139827 h 262604"/>
                  <a:gd name="connsiteX46" fmla="*/ 601504 w 3161062"/>
                  <a:gd name="connsiteY46" fmla="*/ 139827 h 262604"/>
                  <a:gd name="connsiteX47" fmla="*/ 601504 w 3161062"/>
                  <a:gd name="connsiteY47" fmla="*/ 145923 h 262604"/>
                  <a:gd name="connsiteX48" fmla="*/ 616172 w 3161062"/>
                  <a:gd name="connsiteY48" fmla="*/ 145923 h 262604"/>
                  <a:gd name="connsiteX49" fmla="*/ 616172 w 3161062"/>
                  <a:gd name="connsiteY49" fmla="*/ 152019 h 262604"/>
                  <a:gd name="connsiteX50" fmla="*/ 628840 w 3161062"/>
                  <a:gd name="connsiteY50" fmla="*/ 152019 h 262604"/>
                  <a:gd name="connsiteX51" fmla="*/ 628840 w 3161062"/>
                  <a:gd name="connsiteY51" fmla="*/ 158210 h 262604"/>
                  <a:gd name="connsiteX52" fmla="*/ 654082 w 3161062"/>
                  <a:gd name="connsiteY52" fmla="*/ 158210 h 262604"/>
                  <a:gd name="connsiteX53" fmla="*/ 654082 w 3161062"/>
                  <a:gd name="connsiteY53" fmla="*/ 164306 h 262604"/>
                  <a:gd name="connsiteX54" fmla="*/ 883348 w 3161062"/>
                  <a:gd name="connsiteY54" fmla="*/ 164306 h 262604"/>
                  <a:gd name="connsiteX55" fmla="*/ 883348 w 3161062"/>
                  <a:gd name="connsiteY55" fmla="*/ 170498 h 262604"/>
                  <a:gd name="connsiteX56" fmla="*/ 996886 w 3161062"/>
                  <a:gd name="connsiteY56" fmla="*/ 170498 h 262604"/>
                  <a:gd name="connsiteX57" fmla="*/ 996886 w 3161062"/>
                  <a:gd name="connsiteY57" fmla="*/ 176689 h 262604"/>
                  <a:gd name="connsiteX58" fmla="*/ 1266063 w 3161062"/>
                  <a:gd name="connsiteY58" fmla="*/ 176689 h 262604"/>
                  <a:gd name="connsiteX59" fmla="*/ 1266063 w 3161062"/>
                  <a:gd name="connsiteY59" fmla="*/ 182975 h 262604"/>
                  <a:gd name="connsiteX60" fmla="*/ 1339691 w 3161062"/>
                  <a:gd name="connsiteY60" fmla="*/ 182975 h 262604"/>
                  <a:gd name="connsiteX61" fmla="*/ 1339691 w 3161062"/>
                  <a:gd name="connsiteY61" fmla="*/ 189262 h 262604"/>
                  <a:gd name="connsiteX62" fmla="*/ 1419606 w 3161062"/>
                  <a:gd name="connsiteY62" fmla="*/ 189262 h 262604"/>
                  <a:gd name="connsiteX63" fmla="*/ 1419606 w 3161062"/>
                  <a:gd name="connsiteY63" fmla="*/ 195548 h 262604"/>
                  <a:gd name="connsiteX64" fmla="*/ 1581531 w 3161062"/>
                  <a:gd name="connsiteY64" fmla="*/ 195548 h 262604"/>
                  <a:gd name="connsiteX65" fmla="*/ 1581531 w 3161062"/>
                  <a:gd name="connsiteY65" fmla="*/ 202025 h 262604"/>
                  <a:gd name="connsiteX66" fmla="*/ 1598390 w 3161062"/>
                  <a:gd name="connsiteY66" fmla="*/ 202025 h 262604"/>
                  <a:gd name="connsiteX67" fmla="*/ 1598390 w 3161062"/>
                  <a:gd name="connsiteY67" fmla="*/ 208407 h 262604"/>
                  <a:gd name="connsiteX68" fmla="*/ 1716214 w 3161062"/>
                  <a:gd name="connsiteY68" fmla="*/ 208407 h 262604"/>
                  <a:gd name="connsiteX69" fmla="*/ 1716214 w 3161062"/>
                  <a:gd name="connsiteY69" fmla="*/ 214884 h 262604"/>
                  <a:gd name="connsiteX70" fmla="*/ 1808702 w 3161062"/>
                  <a:gd name="connsiteY70" fmla="*/ 214884 h 262604"/>
                  <a:gd name="connsiteX71" fmla="*/ 1808702 w 3161062"/>
                  <a:gd name="connsiteY71" fmla="*/ 221266 h 262604"/>
                  <a:gd name="connsiteX72" fmla="*/ 1827657 w 3161062"/>
                  <a:gd name="connsiteY72" fmla="*/ 221266 h 262604"/>
                  <a:gd name="connsiteX73" fmla="*/ 1827657 w 3161062"/>
                  <a:gd name="connsiteY73" fmla="*/ 227743 h 262604"/>
                  <a:gd name="connsiteX74" fmla="*/ 2681478 w 3161062"/>
                  <a:gd name="connsiteY74" fmla="*/ 227743 h 262604"/>
                  <a:gd name="connsiteX75" fmla="*/ 2681478 w 3161062"/>
                  <a:gd name="connsiteY75" fmla="*/ 262604 h 262604"/>
                  <a:gd name="connsiteX76" fmla="*/ 3161062 w 3161062"/>
                  <a:gd name="connsiteY76" fmla="*/ 262604 h 262604"/>
                  <a:gd name="connsiteX0" fmla="*/ 0 w 3161062"/>
                  <a:gd name="connsiteY0" fmla="*/ 0 h 262604"/>
                  <a:gd name="connsiteX1" fmla="*/ 14668 w 3161062"/>
                  <a:gd name="connsiteY1" fmla="*/ 6096 h 262604"/>
                  <a:gd name="connsiteX2" fmla="*/ 14668 w 3161062"/>
                  <a:gd name="connsiteY2" fmla="*/ 12097 h 262604"/>
                  <a:gd name="connsiteX3" fmla="*/ 37814 w 3161062"/>
                  <a:gd name="connsiteY3" fmla="*/ 12097 h 262604"/>
                  <a:gd name="connsiteX4" fmla="*/ 37814 w 3161062"/>
                  <a:gd name="connsiteY4" fmla="*/ 18193 h 262604"/>
                  <a:gd name="connsiteX5" fmla="*/ 44196 w 3161062"/>
                  <a:gd name="connsiteY5" fmla="*/ 18193 h 262604"/>
                  <a:gd name="connsiteX6" fmla="*/ 44196 w 3161062"/>
                  <a:gd name="connsiteY6" fmla="*/ 24289 h 262604"/>
                  <a:gd name="connsiteX7" fmla="*/ 52578 w 3161062"/>
                  <a:gd name="connsiteY7" fmla="*/ 24289 h 262604"/>
                  <a:gd name="connsiteX8" fmla="*/ 52578 w 3161062"/>
                  <a:gd name="connsiteY8" fmla="*/ 30290 h 262604"/>
                  <a:gd name="connsiteX9" fmla="*/ 60960 w 3161062"/>
                  <a:gd name="connsiteY9" fmla="*/ 30290 h 262604"/>
                  <a:gd name="connsiteX10" fmla="*/ 60960 w 3161062"/>
                  <a:gd name="connsiteY10" fmla="*/ 36386 h 262604"/>
                  <a:gd name="connsiteX11" fmla="*/ 65151 w 3161062"/>
                  <a:gd name="connsiteY11" fmla="*/ 36386 h 262604"/>
                  <a:gd name="connsiteX12" fmla="*/ 65151 w 3161062"/>
                  <a:gd name="connsiteY12" fmla="*/ 42482 h 262604"/>
                  <a:gd name="connsiteX13" fmla="*/ 138779 w 3161062"/>
                  <a:gd name="connsiteY13" fmla="*/ 42482 h 262604"/>
                  <a:gd name="connsiteX14" fmla="*/ 138779 w 3161062"/>
                  <a:gd name="connsiteY14" fmla="*/ 48482 h 262604"/>
                  <a:gd name="connsiteX15" fmla="*/ 159829 w 3161062"/>
                  <a:gd name="connsiteY15" fmla="*/ 48482 h 262604"/>
                  <a:gd name="connsiteX16" fmla="*/ 159829 w 3161062"/>
                  <a:gd name="connsiteY16" fmla="*/ 54578 h 262604"/>
                  <a:gd name="connsiteX17" fmla="*/ 166116 w 3161062"/>
                  <a:gd name="connsiteY17" fmla="*/ 54578 h 262604"/>
                  <a:gd name="connsiteX18" fmla="*/ 166116 w 3161062"/>
                  <a:gd name="connsiteY18" fmla="*/ 60674 h 262604"/>
                  <a:gd name="connsiteX19" fmla="*/ 208216 w 3161062"/>
                  <a:gd name="connsiteY19" fmla="*/ 60674 h 262604"/>
                  <a:gd name="connsiteX20" fmla="*/ 208216 w 3161062"/>
                  <a:gd name="connsiteY20" fmla="*/ 66675 h 262604"/>
                  <a:gd name="connsiteX21" fmla="*/ 222885 w 3161062"/>
                  <a:gd name="connsiteY21" fmla="*/ 66675 h 262604"/>
                  <a:gd name="connsiteX22" fmla="*/ 222885 w 3161062"/>
                  <a:gd name="connsiteY22" fmla="*/ 72771 h 262604"/>
                  <a:gd name="connsiteX23" fmla="*/ 252412 w 3161062"/>
                  <a:gd name="connsiteY23" fmla="*/ 72771 h 262604"/>
                  <a:gd name="connsiteX24" fmla="*/ 252412 w 3161062"/>
                  <a:gd name="connsiteY24" fmla="*/ 78867 h 262604"/>
                  <a:gd name="connsiteX25" fmla="*/ 254508 w 3161062"/>
                  <a:gd name="connsiteY25" fmla="*/ 78867 h 262604"/>
                  <a:gd name="connsiteX26" fmla="*/ 254508 w 3161062"/>
                  <a:gd name="connsiteY26" fmla="*/ 84868 h 262604"/>
                  <a:gd name="connsiteX27" fmla="*/ 277558 w 3161062"/>
                  <a:gd name="connsiteY27" fmla="*/ 84868 h 262604"/>
                  <a:gd name="connsiteX28" fmla="*/ 277558 w 3161062"/>
                  <a:gd name="connsiteY28" fmla="*/ 90964 h 262604"/>
                  <a:gd name="connsiteX29" fmla="*/ 290227 w 3161062"/>
                  <a:gd name="connsiteY29" fmla="*/ 90964 h 262604"/>
                  <a:gd name="connsiteX30" fmla="*/ 290227 w 3161062"/>
                  <a:gd name="connsiteY30" fmla="*/ 97060 h 262604"/>
                  <a:gd name="connsiteX31" fmla="*/ 325945 w 3161062"/>
                  <a:gd name="connsiteY31" fmla="*/ 97060 h 262604"/>
                  <a:gd name="connsiteX32" fmla="*/ 325945 w 3161062"/>
                  <a:gd name="connsiteY32" fmla="*/ 103156 h 262604"/>
                  <a:gd name="connsiteX33" fmla="*/ 441674 w 3161062"/>
                  <a:gd name="connsiteY33" fmla="*/ 103156 h 262604"/>
                  <a:gd name="connsiteX34" fmla="*/ 441674 w 3161062"/>
                  <a:gd name="connsiteY34" fmla="*/ 109157 h 262604"/>
                  <a:gd name="connsiteX35" fmla="*/ 479488 w 3161062"/>
                  <a:gd name="connsiteY35" fmla="*/ 109157 h 262604"/>
                  <a:gd name="connsiteX36" fmla="*/ 479488 w 3161062"/>
                  <a:gd name="connsiteY36" fmla="*/ 115348 h 262604"/>
                  <a:gd name="connsiteX37" fmla="*/ 532066 w 3161062"/>
                  <a:gd name="connsiteY37" fmla="*/ 115348 h 262604"/>
                  <a:gd name="connsiteX38" fmla="*/ 532066 w 3161062"/>
                  <a:gd name="connsiteY38" fmla="*/ 121444 h 262604"/>
                  <a:gd name="connsiteX39" fmla="*/ 551021 w 3161062"/>
                  <a:gd name="connsiteY39" fmla="*/ 121444 h 262604"/>
                  <a:gd name="connsiteX40" fmla="*/ 551021 w 3161062"/>
                  <a:gd name="connsiteY40" fmla="*/ 127540 h 262604"/>
                  <a:gd name="connsiteX41" fmla="*/ 561499 w 3161062"/>
                  <a:gd name="connsiteY41" fmla="*/ 127540 h 262604"/>
                  <a:gd name="connsiteX42" fmla="*/ 561499 w 3161062"/>
                  <a:gd name="connsiteY42" fmla="*/ 133731 h 262604"/>
                  <a:gd name="connsiteX43" fmla="*/ 595217 w 3161062"/>
                  <a:gd name="connsiteY43" fmla="*/ 133731 h 262604"/>
                  <a:gd name="connsiteX44" fmla="*/ 595217 w 3161062"/>
                  <a:gd name="connsiteY44" fmla="*/ 139827 h 262604"/>
                  <a:gd name="connsiteX45" fmla="*/ 601504 w 3161062"/>
                  <a:gd name="connsiteY45" fmla="*/ 139827 h 262604"/>
                  <a:gd name="connsiteX46" fmla="*/ 601504 w 3161062"/>
                  <a:gd name="connsiteY46" fmla="*/ 145923 h 262604"/>
                  <a:gd name="connsiteX47" fmla="*/ 616172 w 3161062"/>
                  <a:gd name="connsiteY47" fmla="*/ 145923 h 262604"/>
                  <a:gd name="connsiteX48" fmla="*/ 616172 w 3161062"/>
                  <a:gd name="connsiteY48" fmla="*/ 152019 h 262604"/>
                  <a:gd name="connsiteX49" fmla="*/ 628840 w 3161062"/>
                  <a:gd name="connsiteY49" fmla="*/ 152019 h 262604"/>
                  <a:gd name="connsiteX50" fmla="*/ 628840 w 3161062"/>
                  <a:gd name="connsiteY50" fmla="*/ 158210 h 262604"/>
                  <a:gd name="connsiteX51" fmla="*/ 654082 w 3161062"/>
                  <a:gd name="connsiteY51" fmla="*/ 158210 h 262604"/>
                  <a:gd name="connsiteX52" fmla="*/ 654082 w 3161062"/>
                  <a:gd name="connsiteY52" fmla="*/ 164306 h 262604"/>
                  <a:gd name="connsiteX53" fmla="*/ 883348 w 3161062"/>
                  <a:gd name="connsiteY53" fmla="*/ 164306 h 262604"/>
                  <a:gd name="connsiteX54" fmla="*/ 883348 w 3161062"/>
                  <a:gd name="connsiteY54" fmla="*/ 170498 h 262604"/>
                  <a:gd name="connsiteX55" fmla="*/ 996886 w 3161062"/>
                  <a:gd name="connsiteY55" fmla="*/ 170498 h 262604"/>
                  <a:gd name="connsiteX56" fmla="*/ 996886 w 3161062"/>
                  <a:gd name="connsiteY56" fmla="*/ 176689 h 262604"/>
                  <a:gd name="connsiteX57" fmla="*/ 1266063 w 3161062"/>
                  <a:gd name="connsiteY57" fmla="*/ 176689 h 262604"/>
                  <a:gd name="connsiteX58" fmla="*/ 1266063 w 3161062"/>
                  <a:gd name="connsiteY58" fmla="*/ 182975 h 262604"/>
                  <a:gd name="connsiteX59" fmla="*/ 1339691 w 3161062"/>
                  <a:gd name="connsiteY59" fmla="*/ 182975 h 262604"/>
                  <a:gd name="connsiteX60" fmla="*/ 1339691 w 3161062"/>
                  <a:gd name="connsiteY60" fmla="*/ 189262 h 262604"/>
                  <a:gd name="connsiteX61" fmla="*/ 1419606 w 3161062"/>
                  <a:gd name="connsiteY61" fmla="*/ 189262 h 262604"/>
                  <a:gd name="connsiteX62" fmla="*/ 1419606 w 3161062"/>
                  <a:gd name="connsiteY62" fmla="*/ 195548 h 262604"/>
                  <a:gd name="connsiteX63" fmla="*/ 1581531 w 3161062"/>
                  <a:gd name="connsiteY63" fmla="*/ 195548 h 262604"/>
                  <a:gd name="connsiteX64" fmla="*/ 1581531 w 3161062"/>
                  <a:gd name="connsiteY64" fmla="*/ 202025 h 262604"/>
                  <a:gd name="connsiteX65" fmla="*/ 1598390 w 3161062"/>
                  <a:gd name="connsiteY65" fmla="*/ 202025 h 262604"/>
                  <a:gd name="connsiteX66" fmla="*/ 1598390 w 3161062"/>
                  <a:gd name="connsiteY66" fmla="*/ 208407 h 262604"/>
                  <a:gd name="connsiteX67" fmla="*/ 1716214 w 3161062"/>
                  <a:gd name="connsiteY67" fmla="*/ 208407 h 262604"/>
                  <a:gd name="connsiteX68" fmla="*/ 1716214 w 3161062"/>
                  <a:gd name="connsiteY68" fmla="*/ 214884 h 262604"/>
                  <a:gd name="connsiteX69" fmla="*/ 1808702 w 3161062"/>
                  <a:gd name="connsiteY69" fmla="*/ 214884 h 262604"/>
                  <a:gd name="connsiteX70" fmla="*/ 1808702 w 3161062"/>
                  <a:gd name="connsiteY70" fmla="*/ 221266 h 262604"/>
                  <a:gd name="connsiteX71" fmla="*/ 1827657 w 3161062"/>
                  <a:gd name="connsiteY71" fmla="*/ 221266 h 262604"/>
                  <a:gd name="connsiteX72" fmla="*/ 1827657 w 3161062"/>
                  <a:gd name="connsiteY72" fmla="*/ 227743 h 262604"/>
                  <a:gd name="connsiteX73" fmla="*/ 2681478 w 3161062"/>
                  <a:gd name="connsiteY73" fmla="*/ 227743 h 262604"/>
                  <a:gd name="connsiteX74" fmla="*/ 2681478 w 3161062"/>
                  <a:gd name="connsiteY74" fmla="*/ 262604 h 262604"/>
                  <a:gd name="connsiteX75" fmla="*/ 3161062 w 3161062"/>
                  <a:gd name="connsiteY75" fmla="*/ 262604 h 262604"/>
                  <a:gd name="connsiteX0" fmla="*/ 0 w 3161062"/>
                  <a:gd name="connsiteY0" fmla="*/ 0 h 262604"/>
                  <a:gd name="connsiteX1" fmla="*/ 14668 w 3161062"/>
                  <a:gd name="connsiteY1" fmla="*/ 12097 h 262604"/>
                  <a:gd name="connsiteX2" fmla="*/ 37814 w 3161062"/>
                  <a:gd name="connsiteY2" fmla="*/ 12097 h 262604"/>
                  <a:gd name="connsiteX3" fmla="*/ 37814 w 3161062"/>
                  <a:gd name="connsiteY3" fmla="*/ 18193 h 262604"/>
                  <a:gd name="connsiteX4" fmla="*/ 44196 w 3161062"/>
                  <a:gd name="connsiteY4" fmla="*/ 18193 h 262604"/>
                  <a:gd name="connsiteX5" fmla="*/ 44196 w 3161062"/>
                  <a:gd name="connsiteY5" fmla="*/ 24289 h 262604"/>
                  <a:gd name="connsiteX6" fmla="*/ 52578 w 3161062"/>
                  <a:gd name="connsiteY6" fmla="*/ 24289 h 262604"/>
                  <a:gd name="connsiteX7" fmla="*/ 52578 w 3161062"/>
                  <a:gd name="connsiteY7" fmla="*/ 30290 h 262604"/>
                  <a:gd name="connsiteX8" fmla="*/ 60960 w 3161062"/>
                  <a:gd name="connsiteY8" fmla="*/ 30290 h 262604"/>
                  <a:gd name="connsiteX9" fmla="*/ 60960 w 3161062"/>
                  <a:gd name="connsiteY9" fmla="*/ 36386 h 262604"/>
                  <a:gd name="connsiteX10" fmla="*/ 65151 w 3161062"/>
                  <a:gd name="connsiteY10" fmla="*/ 36386 h 262604"/>
                  <a:gd name="connsiteX11" fmla="*/ 65151 w 3161062"/>
                  <a:gd name="connsiteY11" fmla="*/ 42482 h 262604"/>
                  <a:gd name="connsiteX12" fmla="*/ 138779 w 3161062"/>
                  <a:gd name="connsiteY12" fmla="*/ 42482 h 262604"/>
                  <a:gd name="connsiteX13" fmla="*/ 138779 w 3161062"/>
                  <a:gd name="connsiteY13" fmla="*/ 48482 h 262604"/>
                  <a:gd name="connsiteX14" fmla="*/ 159829 w 3161062"/>
                  <a:gd name="connsiteY14" fmla="*/ 48482 h 262604"/>
                  <a:gd name="connsiteX15" fmla="*/ 159829 w 3161062"/>
                  <a:gd name="connsiteY15" fmla="*/ 54578 h 262604"/>
                  <a:gd name="connsiteX16" fmla="*/ 166116 w 3161062"/>
                  <a:gd name="connsiteY16" fmla="*/ 54578 h 262604"/>
                  <a:gd name="connsiteX17" fmla="*/ 166116 w 3161062"/>
                  <a:gd name="connsiteY17" fmla="*/ 60674 h 262604"/>
                  <a:gd name="connsiteX18" fmla="*/ 208216 w 3161062"/>
                  <a:gd name="connsiteY18" fmla="*/ 60674 h 262604"/>
                  <a:gd name="connsiteX19" fmla="*/ 208216 w 3161062"/>
                  <a:gd name="connsiteY19" fmla="*/ 66675 h 262604"/>
                  <a:gd name="connsiteX20" fmla="*/ 222885 w 3161062"/>
                  <a:gd name="connsiteY20" fmla="*/ 66675 h 262604"/>
                  <a:gd name="connsiteX21" fmla="*/ 222885 w 3161062"/>
                  <a:gd name="connsiteY21" fmla="*/ 72771 h 262604"/>
                  <a:gd name="connsiteX22" fmla="*/ 252412 w 3161062"/>
                  <a:gd name="connsiteY22" fmla="*/ 72771 h 262604"/>
                  <a:gd name="connsiteX23" fmla="*/ 252412 w 3161062"/>
                  <a:gd name="connsiteY23" fmla="*/ 78867 h 262604"/>
                  <a:gd name="connsiteX24" fmla="*/ 254508 w 3161062"/>
                  <a:gd name="connsiteY24" fmla="*/ 78867 h 262604"/>
                  <a:gd name="connsiteX25" fmla="*/ 254508 w 3161062"/>
                  <a:gd name="connsiteY25" fmla="*/ 84868 h 262604"/>
                  <a:gd name="connsiteX26" fmla="*/ 277558 w 3161062"/>
                  <a:gd name="connsiteY26" fmla="*/ 84868 h 262604"/>
                  <a:gd name="connsiteX27" fmla="*/ 277558 w 3161062"/>
                  <a:gd name="connsiteY27" fmla="*/ 90964 h 262604"/>
                  <a:gd name="connsiteX28" fmla="*/ 290227 w 3161062"/>
                  <a:gd name="connsiteY28" fmla="*/ 90964 h 262604"/>
                  <a:gd name="connsiteX29" fmla="*/ 290227 w 3161062"/>
                  <a:gd name="connsiteY29" fmla="*/ 97060 h 262604"/>
                  <a:gd name="connsiteX30" fmla="*/ 325945 w 3161062"/>
                  <a:gd name="connsiteY30" fmla="*/ 97060 h 262604"/>
                  <a:gd name="connsiteX31" fmla="*/ 325945 w 3161062"/>
                  <a:gd name="connsiteY31" fmla="*/ 103156 h 262604"/>
                  <a:gd name="connsiteX32" fmla="*/ 441674 w 3161062"/>
                  <a:gd name="connsiteY32" fmla="*/ 103156 h 262604"/>
                  <a:gd name="connsiteX33" fmla="*/ 441674 w 3161062"/>
                  <a:gd name="connsiteY33" fmla="*/ 109157 h 262604"/>
                  <a:gd name="connsiteX34" fmla="*/ 479488 w 3161062"/>
                  <a:gd name="connsiteY34" fmla="*/ 109157 h 262604"/>
                  <a:gd name="connsiteX35" fmla="*/ 479488 w 3161062"/>
                  <a:gd name="connsiteY35" fmla="*/ 115348 h 262604"/>
                  <a:gd name="connsiteX36" fmla="*/ 532066 w 3161062"/>
                  <a:gd name="connsiteY36" fmla="*/ 115348 h 262604"/>
                  <a:gd name="connsiteX37" fmla="*/ 532066 w 3161062"/>
                  <a:gd name="connsiteY37" fmla="*/ 121444 h 262604"/>
                  <a:gd name="connsiteX38" fmla="*/ 551021 w 3161062"/>
                  <a:gd name="connsiteY38" fmla="*/ 121444 h 262604"/>
                  <a:gd name="connsiteX39" fmla="*/ 551021 w 3161062"/>
                  <a:gd name="connsiteY39" fmla="*/ 127540 h 262604"/>
                  <a:gd name="connsiteX40" fmla="*/ 561499 w 3161062"/>
                  <a:gd name="connsiteY40" fmla="*/ 127540 h 262604"/>
                  <a:gd name="connsiteX41" fmla="*/ 561499 w 3161062"/>
                  <a:gd name="connsiteY41" fmla="*/ 133731 h 262604"/>
                  <a:gd name="connsiteX42" fmla="*/ 595217 w 3161062"/>
                  <a:gd name="connsiteY42" fmla="*/ 133731 h 262604"/>
                  <a:gd name="connsiteX43" fmla="*/ 595217 w 3161062"/>
                  <a:gd name="connsiteY43" fmla="*/ 139827 h 262604"/>
                  <a:gd name="connsiteX44" fmla="*/ 601504 w 3161062"/>
                  <a:gd name="connsiteY44" fmla="*/ 139827 h 262604"/>
                  <a:gd name="connsiteX45" fmla="*/ 601504 w 3161062"/>
                  <a:gd name="connsiteY45" fmla="*/ 145923 h 262604"/>
                  <a:gd name="connsiteX46" fmla="*/ 616172 w 3161062"/>
                  <a:gd name="connsiteY46" fmla="*/ 145923 h 262604"/>
                  <a:gd name="connsiteX47" fmla="*/ 616172 w 3161062"/>
                  <a:gd name="connsiteY47" fmla="*/ 152019 h 262604"/>
                  <a:gd name="connsiteX48" fmla="*/ 628840 w 3161062"/>
                  <a:gd name="connsiteY48" fmla="*/ 152019 h 262604"/>
                  <a:gd name="connsiteX49" fmla="*/ 628840 w 3161062"/>
                  <a:gd name="connsiteY49" fmla="*/ 158210 h 262604"/>
                  <a:gd name="connsiteX50" fmla="*/ 654082 w 3161062"/>
                  <a:gd name="connsiteY50" fmla="*/ 158210 h 262604"/>
                  <a:gd name="connsiteX51" fmla="*/ 654082 w 3161062"/>
                  <a:gd name="connsiteY51" fmla="*/ 164306 h 262604"/>
                  <a:gd name="connsiteX52" fmla="*/ 883348 w 3161062"/>
                  <a:gd name="connsiteY52" fmla="*/ 164306 h 262604"/>
                  <a:gd name="connsiteX53" fmla="*/ 883348 w 3161062"/>
                  <a:gd name="connsiteY53" fmla="*/ 170498 h 262604"/>
                  <a:gd name="connsiteX54" fmla="*/ 996886 w 3161062"/>
                  <a:gd name="connsiteY54" fmla="*/ 170498 h 262604"/>
                  <a:gd name="connsiteX55" fmla="*/ 996886 w 3161062"/>
                  <a:gd name="connsiteY55" fmla="*/ 176689 h 262604"/>
                  <a:gd name="connsiteX56" fmla="*/ 1266063 w 3161062"/>
                  <a:gd name="connsiteY56" fmla="*/ 176689 h 262604"/>
                  <a:gd name="connsiteX57" fmla="*/ 1266063 w 3161062"/>
                  <a:gd name="connsiteY57" fmla="*/ 182975 h 262604"/>
                  <a:gd name="connsiteX58" fmla="*/ 1339691 w 3161062"/>
                  <a:gd name="connsiteY58" fmla="*/ 182975 h 262604"/>
                  <a:gd name="connsiteX59" fmla="*/ 1339691 w 3161062"/>
                  <a:gd name="connsiteY59" fmla="*/ 189262 h 262604"/>
                  <a:gd name="connsiteX60" fmla="*/ 1419606 w 3161062"/>
                  <a:gd name="connsiteY60" fmla="*/ 189262 h 262604"/>
                  <a:gd name="connsiteX61" fmla="*/ 1419606 w 3161062"/>
                  <a:gd name="connsiteY61" fmla="*/ 195548 h 262604"/>
                  <a:gd name="connsiteX62" fmla="*/ 1581531 w 3161062"/>
                  <a:gd name="connsiteY62" fmla="*/ 195548 h 262604"/>
                  <a:gd name="connsiteX63" fmla="*/ 1581531 w 3161062"/>
                  <a:gd name="connsiteY63" fmla="*/ 202025 h 262604"/>
                  <a:gd name="connsiteX64" fmla="*/ 1598390 w 3161062"/>
                  <a:gd name="connsiteY64" fmla="*/ 202025 h 262604"/>
                  <a:gd name="connsiteX65" fmla="*/ 1598390 w 3161062"/>
                  <a:gd name="connsiteY65" fmla="*/ 208407 h 262604"/>
                  <a:gd name="connsiteX66" fmla="*/ 1716214 w 3161062"/>
                  <a:gd name="connsiteY66" fmla="*/ 208407 h 262604"/>
                  <a:gd name="connsiteX67" fmla="*/ 1716214 w 3161062"/>
                  <a:gd name="connsiteY67" fmla="*/ 214884 h 262604"/>
                  <a:gd name="connsiteX68" fmla="*/ 1808702 w 3161062"/>
                  <a:gd name="connsiteY68" fmla="*/ 214884 h 262604"/>
                  <a:gd name="connsiteX69" fmla="*/ 1808702 w 3161062"/>
                  <a:gd name="connsiteY69" fmla="*/ 221266 h 262604"/>
                  <a:gd name="connsiteX70" fmla="*/ 1827657 w 3161062"/>
                  <a:gd name="connsiteY70" fmla="*/ 221266 h 262604"/>
                  <a:gd name="connsiteX71" fmla="*/ 1827657 w 3161062"/>
                  <a:gd name="connsiteY71" fmla="*/ 227743 h 262604"/>
                  <a:gd name="connsiteX72" fmla="*/ 2681478 w 3161062"/>
                  <a:gd name="connsiteY72" fmla="*/ 227743 h 262604"/>
                  <a:gd name="connsiteX73" fmla="*/ 2681478 w 3161062"/>
                  <a:gd name="connsiteY73" fmla="*/ 262604 h 262604"/>
                  <a:gd name="connsiteX74" fmla="*/ 3161062 w 3161062"/>
                  <a:gd name="connsiteY74" fmla="*/ 262604 h 262604"/>
                  <a:gd name="connsiteX0" fmla="*/ 0 w 3146394"/>
                  <a:gd name="connsiteY0" fmla="*/ 0 h 250507"/>
                  <a:gd name="connsiteX1" fmla="*/ 23146 w 3146394"/>
                  <a:gd name="connsiteY1" fmla="*/ 0 h 250507"/>
                  <a:gd name="connsiteX2" fmla="*/ 23146 w 3146394"/>
                  <a:gd name="connsiteY2" fmla="*/ 6096 h 250507"/>
                  <a:gd name="connsiteX3" fmla="*/ 29528 w 3146394"/>
                  <a:gd name="connsiteY3" fmla="*/ 6096 h 250507"/>
                  <a:gd name="connsiteX4" fmla="*/ 29528 w 3146394"/>
                  <a:gd name="connsiteY4" fmla="*/ 12192 h 250507"/>
                  <a:gd name="connsiteX5" fmla="*/ 37910 w 3146394"/>
                  <a:gd name="connsiteY5" fmla="*/ 12192 h 250507"/>
                  <a:gd name="connsiteX6" fmla="*/ 37910 w 3146394"/>
                  <a:gd name="connsiteY6" fmla="*/ 18193 h 250507"/>
                  <a:gd name="connsiteX7" fmla="*/ 46292 w 3146394"/>
                  <a:gd name="connsiteY7" fmla="*/ 18193 h 250507"/>
                  <a:gd name="connsiteX8" fmla="*/ 46292 w 3146394"/>
                  <a:gd name="connsiteY8" fmla="*/ 24289 h 250507"/>
                  <a:gd name="connsiteX9" fmla="*/ 50483 w 3146394"/>
                  <a:gd name="connsiteY9" fmla="*/ 24289 h 250507"/>
                  <a:gd name="connsiteX10" fmla="*/ 50483 w 3146394"/>
                  <a:gd name="connsiteY10" fmla="*/ 30385 h 250507"/>
                  <a:gd name="connsiteX11" fmla="*/ 124111 w 3146394"/>
                  <a:gd name="connsiteY11" fmla="*/ 30385 h 250507"/>
                  <a:gd name="connsiteX12" fmla="*/ 124111 w 3146394"/>
                  <a:gd name="connsiteY12" fmla="*/ 36385 h 250507"/>
                  <a:gd name="connsiteX13" fmla="*/ 145161 w 3146394"/>
                  <a:gd name="connsiteY13" fmla="*/ 36385 h 250507"/>
                  <a:gd name="connsiteX14" fmla="*/ 145161 w 3146394"/>
                  <a:gd name="connsiteY14" fmla="*/ 42481 h 250507"/>
                  <a:gd name="connsiteX15" fmla="*/ 151448 w 3146394"/>
                  <a:gd name="connsiteY15" fmla="*/ 42481 h 250507"/>
                  <a:gd name="connsiteX16" fmla="*/ 151448 w 3146394"/>
                  <a:gd name="connsiteY16" fmla="*/ 48577 h 250507"/>
                  <a:gd name="connsiteX17" fmla="*/ 193548 w 3146394"/>
                  <a:gd name="connsiteY17" fmla="*/ 48577 h 250507"/>
                  <a:gd name="connsiteX18" fmla="*/ 193548 w 3146394"/>
                  <a:gd name="connsiteY18" fmla="*/ 54578 h 250507"/>
                  <a:gd name="connsiteX19" fmla="*/ 208217 w 3146394"/>
                  <a:gd name="connsiteY19" fmla="*/ 54578 h 250507"/>
                  <a:gd name="connsiteX20" fmla="*/ 208217 w 3146394"/>
                  <a:gd name="connsiteY20" fmla="*/ 60674 h 250507"/>
                  <a:gd name="connsiteX21" fmla="*/ 237744 w 3146394"/>
                  <a:gd name="connsiteY21" fmla="*/ 60674 h 250507"/>
                  <a:gd name="connsiteX22" fmla="*/ 237744 w 3146394"/>
                  <a:gd name="connsiteY22" fmla="*/ 66770 h 250507"/>
                  <a:gd name="connsiteX23" fmla="*/ 239840 w 3146394"/>
                  <a:gd name="connsiteY23" fmla="*/ 66770 h 250507"/>
                  <a:gd name="connsiteX24" fmla="*/ 239840 w 3146394"/>
                  <a:gd name="connsiteY24" fmla="*/ 72771 h 250507"/>
                  <a:gd name="connsiteX25" fmla="*/ 262890 w 3146394"/>
                  <a:gd name="connsiteY25" fmla="*/ 72771 h 250507"/>
                  <a:gd name="connsiteX26" fmla="*/ 262890 w 3146394"/>
                  <a:gd name="connsiteY26" fmla="*/ 78867 h 250507"/>
                  <a:gd name="connsiteX27" fmla="*/ 275559 w 3146394"/>
                  <a:gd name="connsiteY27" fmla="*/ 78867 h 250507"/>
                  <a:gd name="connsiteX28" fmla="*/ 275559 w 3146394"/>
                  <a:gd name="connsiteY28" fmla="*/ 84963 h 250507"/>
                  <a:gd name="connsiteX29" fmla="*/ 311277 w 3146394"/>
                  <a:gd name="connsiteY29" fmla="*/ 84963 h 250507"/>
                  <a:gd name="connsiteX30" fmla="*/ 311277 w 3146394"/>
                  <a:gd name="connsiteY30" fmla="*/ 91059 h 250507"/>
                  <a:gd name="connsiteX31" fmla="*/ 427006 w 3146394"/>
                  <a:gd name="connsiteY31" fmla="*/ 91059 h 250507"/>
                  <a:gd name="connsiteX32" fmla="*/ 427006 w 3146394"/>
                  <a:gd name="connsiteY32" fmla="*/ 97060 h 250507"/>
                  <a:gd name="connsiteX33" fmla="*/ 464820 w 3146394"/>
                  <a:gd name="connsiteY33" fmla="*/ 97060 h 250507"/>
                  <a:gd name="connsiteX34" fmla="*/ 464820 w 3146394"/>
                  <a:gd name="connsiteY34" fmla="*/ 103251 h 250507"/>
                  <a:gd name="connsiteX35" fmla="*/ 517398 w 3146394"/>
                  <a:gd name="connsiteY35" fmla="*/ 103251 h 250507"/>
                  <a:gd name="connsiteX36" fmla="*/ 517398 w 3146394"/>
                  <a:gd name="connsiteY36" fmla="*/ 109347 h 250507"/>
                  <a:gd name="connsiteX37" fmla="*/ 536353 w 3146394"/>
                  <a:gd name="connsiteY37" fmla="*/ 109347 h 250507"/>
                  <a:gd name="connsiteX38" fmla="*/ 536353 w 3146394"/>
                  <a:gd name="connsiteY38" fmla="*/ 115443 h 250507"/>
                  <a:gd name="connsiteX39" fmla="*/ 546831 w 3146394"/>
                  <a:gd name="connsiteY39" fmla="*/ 115443 h 250507"/>
                  <a:gd name="connsiteX40" fmla="*/ 546831 w 3146394"/>
                  <a:gd name="connsiteY40" fmla="*/ 121634 h 250507"/>
                  <a:gd name="connsiteX41" fmla="*/ 580549 w 3146394"/>
                  <a:gd name="connsiteY41" fmla="*/ 121634 h 250507"/>
                  <a:gd name="connsiteX42" fmla="*/ 580549 w 3146394"/>
                  <a:gd name="connsiteY42" fmla="*/ 127730 h 250507"/>
                  <a:gd name="connsiteX43" fmla="*/ 586836 w 3146394"/>
                  <a:gd name="connsiteY43" fmla="*/ 127730 h 250507"/>
                  <a:gd name="connsiteX44" fmla="*/ 586836 w 3146394"/>
                  <a:gd name="connsiteY44" fmla="*/ 133826 h 250507"/>
                  <a:gd name="connsiteX45" fmla="*/ 601504 w 3146394"/>
                  <a:gd name="connsiteY45" fmla="*/ 133826 h 250507"/>
                  <a:gd name="connsiteX46" fmla="*/ 601504 w 3146394"/>
                  <a:gd name="connsiteY46" fmla="*/ 139922 h 250507"/>
                  <a:gd name="connsiteX47" fmla="*/ 614172 w 3146394"/>
                  <a:gd name="connsiteY47" fmla="*/ 139922 h 250507"/>
                  <a:gd name="connsiteX48" fmla="*/ 614172 w 3146394"/>
                  <a:gd name="connsiteY48" fmla="*/ 146113 h 250507"/>
                  <a:gd name="connsiteX49" fmla="*/ 639414 w 3146394"/>
                  <a:gd name="connsiteY49" fmla="*/ 146113 h 250507"/>
                  <a:gd name="connsiteX50" fmla="*/ 639414 w 3146394"/>
                  <a:gd name="connsiteY50" fmla="*/ 152209 h 250507"/>
                  <a:gd name="connsiteX51" fmla="*/ 868680 w 3146394"/>
                  <a:gd name="connsiteY51" fmla="*/ 152209 h 250507"/>
                  <a:gd name="connsiteX52" fmla="*/ 868680 w 3146394"/>
                  <a:gd name="connsiteY52" fmla="*/ 158401 h 250507"/>
                  <a:gd name="connsiteX53" fmla="*/ 982218 w 3146394"/>
                  <a:gd name="connsiteY53" fmla="*/ 158401 h 250507"/>
                  <a:gd name="connsiteX54" fmla="*/ 982218 w 3146394"/>
                  <a:gd name="connsiteY54" fmla="*/ 164592 h 250507"/>
                  <a:gd name="connsiteX55" fmla="*/ 1251395 w 3146394"/>
                  <a:gd name="connsiteY55" fmla="*/ 164592 h 250507"/>
                  <a:gd name="connsiteX56" fmla="*/ 1251395 w 3146394"/>
                  <a:gd name="connsiteY56" fmla="*/ 170878 h 250507"/>
                  <a:gd name="connsiteX57" fmla="*/ 1325023 w 3146394"/>
                  <a:gd name="connsiteY57" fmla="*/ 170878 h 250507"/>
                  <a:gd name="connsiteX58" fmla="*/ 1325023 w 3146394"/>
                  <a:gd name="connsiteY58" fmla="*/ 177165 h 250507"/>
                  <a:gd name="connsiteX59" fmla="*/ 1404938 w 3146394"/>
                  <a:gd name="connsiteY59" fmla="*/ 177165 h 250507"/>
                  <a:gd name="connsiteX60" fmla="*/ 1404938 w 3146394"/>
                  <a:gd name="connsiteY60" fmla="*/ 183451 h 250507"/>
                  <a:gd name="connsiteX61" fmla="*/ 1566863 w 3146394"/>
                  <a:gd name="connsiteY61" fmla="*/ 183451 h 250507"/>
                  <a:gd name="connsiteX62" fmla="*/ 1566863 w 3146394"/>
                  <a:gd name="connsiteY62" fmla="*/ 189928 h 250507"/>
                  <a:gd name="connsiteX63" fmla="*/ 1583722 w 3146394"/>
                  <a:gd name="connsiteY63" fmla="*/ 189928 h 250507"/>
                  <a:gd name="connsiteX64" fmla="*/ 1583722 w 3146394"/>
                  <a:gd name="connsiteY64" fmla="*/ 196310 h 250507"/>
                  <a:gd name="connsiteX65" fmla="*/ 1701546 w 3146394"/>
                  <a:gd name="connsiteY65" fmla="*/ 196310 h 250507"/>
                  <a:gd name="connsiteX66" fmla="*/ 1701546 w 3146394"/>
                  <a:gd name="connsiteY66" fmla="*/ 202787 h 250507"/>
                  <a:gd name="connsiteX67" fmla="*/ 1794034 w 3146394"/>
                  <a:gd name="connsiteY67" fmla="*/ 202787 h 250507"/>
                  <a:gd name="connsiteX68" fmla="*/ 1794034 w 3146394"/>
                  <a:gd name="connsiteY68" fmla="*/ 209169 h 250507"/>
                  <a:gd name="connsiteX69" fmla="*/ 1812989 w 3146394"/>
                  <a:gd name="connsiteY69" fmla="*/ 209169 h 250507"/>
                  <a:gd name="connsiteX70" fmla="*/ 1812989 w 3146394"/>
                  <a:gd name="connsiteY70" fmla="*/ 215646 h 250507"/>
                  <a:gd name="connsiteX71" fmla="*/ 2666810 w 3146394"/>
                  <a:gd name="connsiteY71" fmla="*/ 215646 h 250507"/>
                  <a:gd name="connsiteX72" fmla="*/ 2666810 w 3146394"/>
                  <a:gd name="connsiteY72" fmla="*/ 250507 h 250507"/>
                  <a:gd name="connsiteX73" fmla="*/ 3146394 w 3146394"/>
                  <a:gd name="connsiteY73" fmla="*/ 250507 h 250507"/>
                  <a:gd name="connsiteX0" fmla="*/ 0 w 3123248"/>
                  <a:gd name="connsiteY0" fmla="*/ 0 h 250507"/>
                  <a:gd name="connsiteX1" fmla="*/ 0 w 3123248"/>
                  <a:gd name="connsiteY1" fmla="*/ 6096 h 250507"/>
                  <a:gd name="connsiteX2" fmla="*/ 6382 w 3123248"/>
                  <a:gd name="connsiteY2" fmla="*/ 6096 h 250507"/>
                  <a:gd name="connsiteX3" fmla="*/ 6382 w 3123248"/>
                  <a:gd name="connsiteY3" fmla="*/ 12192 h 250507"/>
                  <a:gd name="connsiteX4" fmla="*/ 14764 w 3123248"/>
                  <a:gd name="connsiteY4" fmla="*/ 12192 h 250507"/>
                  <a:gd name="connsiteX5" fmla="*/ 14764 w 3123248"/>
                  <a:gd name="connsiteY5" fmla="*/ 18193 h 250507"/>
                  <a:gd name="connsiteX6" fmla="*/ 23146 w 3123248"/>
                  <a:gd name="connsiteY6" fmla="*/ 18193 h 250507"/>
                  <a:gd name="connsiteX7" fmla="*/ 23146 w 3123248"/>
                  <a:gd name="connsiteY7" fmla="*/ 24289 h 250507"/>
                  <a:gd name="connsiteX8" fmla="*/ 27337 w 3123248"/>
                  <a:gd name="connsiteY8" fmla="*/ 24289 h 250507"/>
                  <a:gd name="connsiteX9" fmla="*/ 27337 w 3123248"/>
                  <a:gd name="connsiteY9" fmla="*/ 30385 h 250507"/>
                  <a:gd name="connsiteX10" fmla="*/ 100965 w 3123248"/>
                  <a:gd name="connsiteY10" fmla="*/ 30385 h 250507"/>
                  <a:gd name="connsiteX11" fmla="*/ 100965 w 3123248"/>
                  <a:gd name="connsiteY11" fmla="*/ 36385 h 250507"/>
                  <a:gd name="connsiteX12" fmla="*/ 122015 w 3123248"/>
                  <a:gd name="connsiteY12" fmla="*/ 36385 h 250507"/>
                  <a:gd name="connsiteX13" fmla="*/ 122015 w 3123248"/>
                  <a:gd name="connsiteY13" fmla="*/ 42481 h 250507"/>
                  <a:gd name="connsiteX14" fmla="*/ 128302 w 3123248"/>
                  <a:gd name="connsiteY14" fmla="*/ 42481 h 250507"/>
                  <a:gd name="connsiteX15" fmla="*/ 128302 w 3123248"/>
                  <a:gd name="connsiteY15" fmla="*/ 48577 h 250507"/>
                  <a:gd name="connsiteX16" fmla="*/ 170402 w 3123248"/>
                  <a:gd name="connsiteY16" fmla="*/ 48577 h 250507"/>
                  <a:gd name="connsiteX17" fmla="*/ 170402 w 3123248"/>
                  <a:gd name="connsiteY17" fmla="*/ 54578 h 250507"/>
                  <a:gd name="connsiteX18" fmla="*/ 185071 w 3123248"/>
                  <a:gd name="connsiteY18" fmla="*/ 54578 h 250507"/>
                  <a:gd name="connsiteX19" fmla="*/ 185071 w 3123248"/>
                  <a:gd name="connsiteY19" fmla="*/ 60674 h 250507"/>
                  <a:gd name="connsiteX20" fmla="*/ 214598 w 3123248"/>
                  <a:gd name="connsiteY20" fmla="*/ 60674 h 250507"/>
                  <a:gd name="connsiteX21" fmla="*/ 214598 w 3123248"/>
                  <a:gd name="connsiteY21" fmla="*/ 66770 h 250507"/>
                  <a:gd name="connsiteX22" fmla="*/ 216694 w 3123248"/>
                  <a:gd name="connsiteY22" fmla="*/ 66770 h 250507"/>
                  <a:gd name="connsiteX23" fmla="*/ 216694 w 3123248"/>
                  <a:gd name="connsiteY23" fmla="*/ 72771 h 250507"/>
                  <a:gd name="connsiteX24" fmla="*/ 239744 w 3123248"/>
                  <a:gd name="connsiteY24" fmla="*/ 72771 h 250507"/>
                  <a:gd name="connsiteX25" fmla="*/ 239744 w 3123248"/>
                  <a:gd name="connsiteY25" fmla="*/ 78867 h 250507"/>
                  <a:gd name="connsiteX26" fmla="*/ 252413 w 3123248"/>
                  <a:gd name="connsiteY26" fmla="*/ 78867 h 250507"/>
                  <a:gd name="connsiteX27" fmla="*/ 252413 w 3123248"/>
                  <a:gd name="connsiteY27" fmla="*/ 84963 h 250507"/>
                  <a:gd name="connsiteX28" fmla="*/ 288131 w 3123248"/>
                  <a:gd name="connsiteY28" fmla="*/ 84963 h 250507"/>
                  <a:gd name="connsiteX29" fmla="*/ 288131 w 3123248"/>
                  <a:gd name="connsiteY29" fmla="*/ 91059 h 250507"/>
                  <a:gd name="connsiteX30" fmla="*/ 403860 w 3123248"/>
                  <a:gd name="connsiteY30" fmla="*/ 91059 h 250507"/>
                  <a:gd name="connsiteX31" fmla="*/ 403860 w 3123248"/>
                  <a:gd name="connsiteY31" fmla="*/ 97060 h 250507"/>
                  <a:gd name="connsiteX32" fmla="*/ 441674 w 3123248"/>
                  <a:gd name="connsiteY32" fmla="*/ 97060 h 250507"/>
                  <a:gd name="connsiteX33" fmla="*/ 441674 w 3123248"/>
                  <a:gd name="connsiteY33" fmla="*/ 103251 h 250507"/>
                  <a:gd name="connsiteX34" fmla="*/ 494252 w 3123248"/>
                  <a:gd name="connsiteY34" fmla="*/ 103251 h 250507"/>
                  <a:gd name="connsiteX35" fmla="*/ 494252 w 3123248"/>
                  <a:gd name="connsiteY35" fmla="*/ 109347 h 250507"/>
                  <a:gd name="connsiteX36" fmla="*/ 513207 w 3123248"/>
                  <a:gd name="connsiteY36" fmla="*/ 109347 h 250507"/>
                  <a:gd name="connsiteX37" fmla="*/ 513207 w 3123248"/>
                  <a:gd name="connsiteY37" fmla="*/ 115443 h 250507"/>
                  <a:gd name="connsiteX38" fmla="*/ 523685 w 3123248"/>
                  <a:gd name="connsiteY38" fmla="*/ 115443 h 250507"/>
                  <a:gd name="connsiteX39" fmla="*/ 523685 w 3123248"/>
                  <a:gd name="connsiteY39" fmla="*/ 121634 h 250507"/>
                  <a:gd name="connsiteX40" fmla="*/ 557403 w 3123248"/>
                  <a:gd name="connsiteY40" fmla="*/ 121634 h 250507"/>
                  <a:gd name="connsiteX41" fmla="*/ 557403 w 3123248"/>
                  <a:gd name="connsiteY41" fmla="*/ 127730 h 250507"/>
                  <a:gd name="connsiteX42" fmla="*/ 563690 w 3123248"/>
                  <a:gd name="connsiteY42" fmla="*/ 127730 h 250507"/>
                  <a:gd name="connsiteX43" fmla="*/ 563690 w 3123248"/>
                  <a:gd name="connsiteY43" fmla="*/ 133826 h 250507"/>
                  <a:gd name="connsiteX44" fmla="*/ 578358 w 3123248"/>
                  <a:gd name="connsiteY44" fmla="*/ 133826 h 250507"/>
                  <a:gd name="connsiteX45" fmla="*/ 578358 w 3123248"/>
                  <a:gd name="connsiteY45" fmla="*/ 139922 h 250507"/>
                  <a:gd name="connsiteX46" fmla="*/ 591026 w 3123248"/>
                  <a:gd name="connsiteY46" fmla="*/ 139922 h 250507"/>
                  <a:gd name="connsiteX47" fmla="*/ 591026 w 3123248"/>
                  <a:gd name="connsiteY47" fmla="*/ 146113 h 250507"/>
                  <a:gd name="connsiteX48" fmla="*/ 616268 w 3123248"/>
                  <a:gd name="connsiteY48" fmla="*/ 146113 h 250507"/>
                  <a:gd name="connsiteX49" fmla="*/ 616268 w 3123248"/>
                  <a:gd name="connsiteY49" fmla="*/ 152209 h 250507"/>
                  <a:gd name="connsiteX50" fmla="*/ 845534 w 3123248"/>
                  <a:gd name="connsiteY50" fmla="*/ 152209 h 250507"/>
                  <a:gd name="connsiteX51" fmla="*/ 845534 w 3123248"/>
                  <a:gd name="connsiteY51" fmla="*/ 158401 h 250507"/>
                  <a:gd name="connsiteX52" fmla="*/ 959072 w 3123248"/>
                  <a:gd name="connsiteY52" fmla="*/ 158401 h 250507"/>
                  <a:gd name="connsiteX53" fmla="*/ 959072 w 3123248"/>
                  <a:gd name="connsiteY53" fmla="*/ 164592 h 250507"/>
                  <a:gd name="connsiteX54" fmla="*/ 1228249 w 3123248"/>
                  <a:gd name="connsiteY54" fmla="*/ 164592 h 250507"/>
                  <a:gd name="connsiteX55" fmla="*/ 1228249 w 3123248"/>
                  <a:gd name="connsiteY55" fmla="*/ 170878 h 250507"/>
                  <a:gd name="connsiteX56" fmla="*/ 1301877 w 3123248"/>
                  <a:gd name="connsiteY56" fmla="*/ 170878 h 250507"/>
                  <a:gd name="connsiteX57" fmla="*/ 1301877 w 3123248"/>
                  <a:gd name="connsiteY57" fmla="*/ 177165 h 250507"/>
                  <a:gd name="connsiteX58" fmla="*/ 1381792 w 3123248"/>
                  <a:gd name="connsiteY58" fmla="*/ 177165 h 250507"/>
                  <a:gd name="connsiteX59" fmla="*/ 1381792 w 3123248"/>
                  <a:gd name="connsiteY59" fmla="*/ 183451 h 250507"/>
                  <a:gd name="connsiteX60" fmla="*/ 1543717 w 3123248"/>
                  <a:gd name="connsiteY60" fmla="*/ 183451 h 250507"/>
                  <a:gd name="connsiteX61" fmla="*/ 1543717 w 3123248"/>
                  <a:gd name="connsiteY61" fmla="*/ 189928 h 250507"/>
                  <a:gd name="connsiteX62" fmla="*/ 1560576 w 3123248"/>
                  <a:gd name="connsiteY62" fmla="*/ 189928 h 250507"/>
                  <a:gd name="connsiteX63" fmla="*/ 1560576 w 3123248"/>
                  <a:gd name="connsiteY63" fmla="*/ 196310 h 250507"/>
                  <a:gd name="connsiteX64" fmla="*/ 1678400 w 3123248"/>
                  <a:gd name="connsiteY64" fmla="*/ 196310 h 250507"/>
                  <a:gd name="connsiteX65" fmla="*/ 1678400 w 3123248"/>
                  <a:gd name="connsiteY65" fmla="*/ 202787 h 250507"/>
                  <a:gd name="connsiteX66" fmla="*/ 1770888 w 3123248"/>
                  <a:gd name="connsiteY66" fmla="*/ 202787 h 250507"/>
                  <a:gd name="connsiteX67" fmla="*/ 1770888 w 3123248"/>
                  <a:gd name="connsiteY67" fmla="*/ 209169 h 250507"/>
                  <a:gd name="connsiteX68" fmla="*/ 1789843 w 3123248"/>
                  <a:gd name="connsiteY68" fmla="*/ 209169 h 250507"/>
                  <a:gd name="connsiteX69" fmla="*/ 1789843 w 3123248"/>
                  <a:gd name="connsiteY69" fmla="*/ 215646 h 250507"/>
                  <a:gd name="connsiteX70" fmla="*/ 2643664 w 3123248"/>
                  <a:gd name="connsiteY70" fmla="*/ 215646 h 250507"/>
                  <a:gd name="connsiteX71" fmla="*/ 2643664 w 3123248"/>
                  <a:gd name="connsiteY71" fmla="*/ 250507 h 250507"/>
                  <a:gd name="connsiteX72" fmla="*/ 3123248 w 3123248"/>
                  <a:gd name="connsiteY72" fmla="*/ 250507 h 250507"/>
                  <a:gd name="connsiteX0" fmla="*/ 0 w 3123248"/>
                  <a:gd name="connsiteY0" fmla="*/ 0 h 250507"/>
                  <a:gd name="connsiteX1" fmla="*/ 0 w 3123248"/>
                  <a:gd name="connsiteY1" fmla="*/ 6096 h 250507"/>
                  <a:gd name="connsiteX2" fmla="*/ 6382 w 3123248"/>
                  <a:gd name="connsiteY2" fmla="*/ 12192 h 250507"/>
                  <a:gd name="connsiteX3" fmla="*/ 14764 w 3123248"/>
                  <a:gd name="connsiteY3" fmla="*/ 12192 h 250507"/>
                  <a:gd name="connsiteX4" fmla="*/ 14764 w 3123248"/>
                  <a:gd name="connsiteY4" fmla="*/ 18193 h 250507"/>
                  <a:gd name="connsiteX5" fmla="*/ 23146 w 3123248"/>
                  <a:gd name="connsiteY5" fmla="*/ 18193 h 250507"/>
                  <a:gd name="connsiteX6" fmla="*/ 23146 w 3123248"/>
                  <a:gd name="connsiteY6" fmla="*/ 24289 h 250507"/>
                  <a:gd name="connsiteX7" fmla="*/ 27337 w 3123248"/>
                  <a:gd name="connsiteY7" fmla="*/ 24289 h 250507"/>
                  <a:gd name="connsiteX8" fmla="*/ 27337 w 3123248"/>
                  <a:gd name="connsiteY8" fmla="*/ 30385 h 250507"/>
                  <a:gd name="connsiteX9" fmla="*/ 100965 w 3123248"/>
                  <a:gd name="connsiteY9" fmla="*/ 30385 h 250507"/>
                  <a:gd name="connsiteX10" fmla="*/ 100965 w 3123248"/>
                  <a:gd name="connsiteY10" fmla="*/ 36385 h 250507"/>
                  <a:gd name="connsiteX11" fmla="*/ 122015 w 3123248"/>
                  <a:gd name="connsiteY11" fmla="*/ 36385 h 250507"/>
                  <a:gd name="connsiteX12" fmla="*/ 122015 w 3123248"/>
                  <a:gd name="connsiteY12" fmla="*/ 42481 h 250507"/>
                  <a:gd name="connsiteX13" fmla="*/ 128302 w 3123248"/>
                  <a:gd name="connsiteY13" fmla="*/ 42481 h 250507"/>
                  <a:gd name="connsiteX14" fmla="*/ 128302 w 3123248"/>
                  <a:gd name="connsiteY14" fmla="*/ 48577 h 250507"/>
                  <a:gd name="connsiteX15" fmla="*/ 170402 w 3123248"/>
                  <a:gd name="connsiteY15" fmla="*/ 48577 h 250507"/>
                  <a:gd name="connsiteX16" fmla="*/ 170402 w 3123248"/>
                  <a:gd name="connsiteY16" fmla="*/ 54578 h 250507"/>
                  <a:gd name="connsiteX17" fmla="*/ 185071 w 3123248"/>
                  <a:gd name="connsiteY17" fmla="*/ 54578 h 250507"/>
                  <a:gd name="connsiteX18" fmla="*/ 185071 w 3123248"/>
                  <a:gd name="connsiteY18" fmla="*/ 60674 h 250507"/>
                  <a:gd name="connsiteX19" fmla="*/ 214598 w 3123248"/>
                  <a:gd name="connsiteY19" fmla="*/ 60674 h 250507"/>
                  <a:gd name="connsiteX20" fmla="*/ 214598 w 3123248"/>
                  <a:gd name="connsiteY20" fmla="*/ 66770 h 250507"/>
                  <a:gd name="connsiteX21" fmla="*/ 216694 w 3123248"/>
                  <a:gd name="connsiteY21" fmla="*/ 66770 h 250507"/>
                  <a:gd name="connsiteX22" fmla="*/ 216694 w 3123248"/>
                  <a:gd name="connsiteY22" fmla="*/ 72771 h 250507"/>
                  <a:gd name="connsiteX23" fmla="*/ 239744 w 3123248"/>
                  <a:gd name="connsiteY23" fmla="*/ 72771 h 250507"/>
                  <a:gd name="connsiteX24" fmla="*/ 239744 w 3123248"/>
                  <a:gd name="connsiteY24" fmla="*/ 78867 h 250507"/>
                  <a:gd name="connsiteX25" fmla="*/ 252413 w 3123248"/>
                  <a:gd name="connsiteY25" fmla="*/ 78867 h 250507"/>
                  <a:gd name="connsiteX26" fmla="*/ 252413 w 3123248"/>
                  <a:gd name="connsiteY26" fmla="*/ 84963 h 250507"/>
                  <a:gd name="connsiteX27" fmla="*/ 288131 w 3123248"/>
                  <a:gd name="connsiteY27" fmla="*/ 84963 h 250507"/>
                  <a:gd name="connsiteX28" fmla="*/ 288131 w 3123248"/>
                  <a:gd name="connsiteY28" fmla="*/ 91059 h 250507"/>
                  <a:gd name="connsiteX29" fmla="*/ 403860 w 3123248"/>
                  <a:gd name="connsiteY29" fmla="*/ 91059 h 250507"/>
                  <a:gd name="connsiteX30" fmla="*/ 403860 w 3123248"/>
                  <a:gd name="connsiteY30" fmla="*/ 97060 h 250507"/>
                  <a:gd name="connsiteX31" fmla="*/ 441674 w 3123248"/>
                  <a:gd name="connsiteY31" fmla="*/ 97060 h 250507"/>
                  <a:gd name="connsiteX32" fmla="*/ 441674 w 3123248"/>
                  <a:gd name="connsiteY32" fmla="*/ 103251 h 250507"/>
                  <a:gd name="connsiteX33" fmla="*/ 494252 w 3123248"/>
                  <a:gd name="connsiteY33" fmla="*/ 103251 h 250507"/>
                  <a:gd name="connsiteX34" fmla="*/ 494252 w 3123248"/>
                  <a:gd name="connsiteY34" fmla="*/ 109347 h 250507"/>
                  <a:gd name="connsiteX35" fmla="*/ 513207 w 3123248"/>
                  <a:gd name="connsiteY35" fmla="*/ 109347 h 250507"/>
                  <a:gd name="connsiteX36" fmla="*/ 513207 w 3123248"/>
                  <a:gd name="connsiteY36" fmla="*/ 115443 h 250507"/>
                  <a:gd name="connsiteX37" fmla="*/ 523685 w 3123248"/>
                  <a:gd name="connsiteY37" fmla="*/ 115443 h 250507"/>
                  <a:gd name="connsiteX38" fmla="*/ 523685 w 3123248"/>
                  <a:gd name="connsiteY38" fmla="*/ 121634 h 250507"/>
                  <a:gd name="connsiteX39" fmla="*/ 557403 w 3123248"/>
                  <a:gd name="connsiteY39" fmla="*/ 121634 h 250507"/>
                  <a:gd name="connsiteX40" fmla="*/ 557403 w 3123248"/>
                  <a:gd name="connsiteY40" fmla="*/ 127730 h 250507"/>
                  <a:gd name="connsiteX41" fmla="*/ 563690 w 3123248"/>
                  <a:gd name="connsiteY41" fmla="*/ 127730 h 250507"/>
                  <a:gd name="connsiteX42" fmla="*/ 563690 w 3123248"/>
                  <a:gd name="connsiteY42" fmla="*/ 133826 h 250507"/>
                  <a:gd name="connsiteX43" fmla="*/ 578358 w 3123248"/>
                  <a:gd name="connsiteY43" fmla="*/ 133826 h 250507"/>
                  <a:gd name="connsiteX44" fmla="*/ 578358 w 3123248"/>
                  <a:gd name="connsiteY44" fmla="*/ 139922 h 250507"/>
                  <a:gd name="connsiteX45" fmla="*/ 591026 w 3123248"/>
                  <a:gd name="connsiteY45" fmla="*/ 139922 h 250507"/>
                  <a:gd name="connsiteX46" fmla="*/ 591026 w 3123248"/>
                  <a:gd name="connsiteY46" fmla="*/ 146113 h 250507"/>
                  <a:gd name="connsiteX47" fmla="*/ 616268 w 3123248"/>
                  <a:gd name="connsiteY47" fmla="*/ 146113 h 250507"/>
                  <a:gd name="connsiteX48" fmla="*/ 616268 w 3123248"/>
                  <a:gd name="connsiteY48" fmla="*/ 152209 h 250507"/>
                  <a:gd name="connsiteX49" fmla="*/ 845534 w 3123248"/>
                  <a:gd name="connsiteY49" fmla="*/ 152209 h 250507"/>
                  <a:gd name="connsiteX50" fmla="*/ 845534 w 3123248"/>
                  <a:gd name="connsiteY50" fmla="*/ 158401 h 250507"/>
                  <a:gd name="connsiteX51" fmla="*/ 959072 w 3123248"/>
                  <a:gd name="connsiteY51" fmla="*/ 158401 h 250507"/>
                  <a:gd name="connsiteX52" fmla="*/ 959072 w 3123248"/>
                  <a:gd name="connsiteY52" fmla="*/ 164592 h 250507"/>
                  <a:gd name="connsiteX53" fmla="*/ 1228249 w 3123248"/>
                  <a:gd name="connsiteY53" fmla="*/ 164592 h 250507"/>
                  <a:gd name="connsiteX54" fmla="*/ 1228249 w 3123248"/>
                  <a:gd name="connsiteY54" fmla="*/ 170878 h 250507"/>
                  <a:gd name="connsiteX55" fmla="*/ 1301877 w 3123248"/>
                  <a:gd name="connsiteY55" fmla="*/ 170878 h 250507"/>
                  <a:gd name="connsiteX56" fmla="*/ 1301877 w 3123248"/>
                  <a:gd name="connsiteY56" fmla="*/ 177165 h 250507"/>
                  <a:gd name="connsiteX57" fmla="*/ 1381792 w 3123248"/>
                  <a:gd name="connsiteY57" fmla="*/ 177165 h 250507"/>
                  <a:gd name="connsiteX58" fmla="*/ 1381792 w 3123248"/>
                  <a:gd name="connsiteY58" fmla="*/ 183451 h 250507"/>
                  <a:gd name="connsiteX59" fmla="*/ 1543717 w 3123248"/>
                  <a:gd name="connsiteY59" fmla="*/ 183451 h 250507"/>
                  <a:gd name="connsiteX60" fmla="*/ 1543717 w 3123248"/>
                  <a:gd name="connsiteY60" fmla="*/ 189928 h 250507"/>
                  <a:gd name="connsiteX61" fmla="*/ 1560576 w 3123248"/>
                  <a:gd name="connsiteY61" fmla="*/ 189928 h 250507"/>
                  <a:gd name="connsiteX62" fmla="*/ 1560576 w 3123248"/>
                  <a:gd name="connsiteY62" fmla="*/ 196310 h 250507"/>
                  <a:gd name="connsiteX63" fmla="*/ 1678400 w 3123248"/>
                  <a:gd name="connsiteY63" fmla="*/ 196310 h 250507"/>
                  <a:gd name="connsiteX64" fmla="*/ 1678400 w 3123248"/>
                  <a:gd name="connsiteY64" fmla="*/ 202787 h 250507"/>
                  <a:gd name="connsiteX65" fmla="*/ 1770888 w 3123248"/>
                  <a:gd name="connsiteY65" fmla="*/ 202787 h 250507"/>
                  <a:gd name="connsiteX66" fmla="*/ 1770888 w 3123248"/>
                  <a:gd name="connsiteY66" fmla="*/ 209169 h 250507"/>
                  <a:gd name="connsiteX67" fmla="*/ 1789843 w 3123248"/>
                  <a:gd name="connsiteY67" fmla="*/ 209169 h 250507"/>
                  <a:gd name="connsiteX68" fmla="*/ 1789843 w 3123248"/>
                  <a:gd name="connsiteY68" fmla="*/ 215646 h 250507"/>
                  <a:gd name="connsiteX69" fmla="*/ 2643664 w 3123248"/>
                  <a:gd name="connsiteY69" fmla="*/ 215646 h 250507"/>
                  <a:gd name="connsiteX70" fmla="*/ 2643664 w 3123248"/>
                  <a:gd name="connsiteY70" fmla="*/ 250507 h 250507"/>
                  <a:gd name="connsiteX71" fmla="*/ 3123248 w 3123248"/>
                  <a:gd name="connsiteY71" fmla="*/ 250507 h 250507"/>
                  <a:gd name="connsiteX0" fmla="*/ 0 w 3123248"/>
                  <a:gd name="connsiteY0" fmla="*/ 0 h 250507"/>
                  <a:gd name="connsiteX1" fmla="*/ 6382 w 3123248"/>
                  <a:gd name="connsiteY1" fmla="*/ 12192 h 250507"/>
                  <a:gd name="connsiteX2" fmla="*/ 14764 w 3123248"/>
                  <a:gd name="connsiteY2" fmla="*/ 12192 h 250507"/>
                  <a:gd name="connsiteX3" fmla="*/ 14764 w 3123248"/>
                  <a:gd name="connsiteY3" fmla="*/ 18193 h 250507"/>
                  <a:gd name="connsiteX4" fmla="*/ 23146 w 3123248"/>
                  <a:gd name="connsiteY4" fmla="*/ 18193 h 250507"/>
                  <a:gd name="connsiteX5" fmla="*/ 23146 w 3123248"/>
                  <a:gd name="connsiteY5" fmla="*/ 24289 h 250507"/>
                  <a:gd name="connsiteX6" fmla="*/ 27337 w 3123248"/>
                  <a:gd name="connsiteY6" fmla="*/ 24289 h 250507"/>
                  <a:gd name="connsiteX7" fmla="*/ 27337 w 3123248"/>
                  <a:gd name="connsiteY7" fmla="*/ 30385 h 250507"/>
                  <a:gd name="connsiteX8" fmla="*/ 100965 w 3123248"/>
                  <a:gd name="connsiteY8" fmla="*/ 30385 h 250507"/>
                  <a:gd name="connsiteX9" fmla="*/ 100965 w 3123248"/>
                  <a:gd name="connsiteY9" fmla="*/ 36385 h 250507"/>
                  <a:gd name="connsiteX10" fmla="*/ 122015 w 3123248"/>
                  <a:gd name="connsiteY10" fmla="*/ 36385 h 250507"/>
                  <a:gd name="connsiteX11" fmla="*/ 122015 w 3123248"/>
                  <a:gd name="connsiteY11" fmla="*/ 42481 h 250507"/>
                  <a:gd name="connsiteX12" fmla="*/ 128302 w 3123248"/>
                  <a:gd name="connsiteY12" fmla="*/ 42481 h 250507"/>
                  <a:gd name="connsiteX13" fmla="*/ 128302 w 3123248"/>
                  <a:gd name="connsiteY13" fmla="*/ 48577 h 250507"/>
                  <a:gd name="connsiteX14" fmla="*/ 170402 w 3123248"/>
                  <a:gd name="connsiteY14" fmla="*/ 48577 h 250507"/>
                  <a:gd name="connsiteX15" fmla="*/ 170402 w 3123248"/>
                  <a:gd name="connsiteY15" fmla="*/ 54578 h 250507"/>
                  <a:gd name="connsiteX16" fmla="*/ 185071 w 3123248"/>
                  <a:gd name="connsiteY16" fmla="*/ 54578 h 250507"/>
                  <a:gd name="connsiteX17" fmla="*/ 185071 w 3123248"/>
                  <a:gd name="connsiteY17" fmla="*/ 60674 h 250507"/>
                  <a:gd name="connsiteX18" fmla="*/ 214598 w 3123248"/>
                  <a:gd name="connsiteY18" fmla="*/ 60674 h 250507"/>
                  <a:gd name="connsiteX19" fmla="*/ 214598 w 3123248"/>
                  <a:gd name="connsiteY19" fmla="*/ 66770 h 250507"/>
                  <a:gd name="connsiteX20" fmla="*/ 216694 w 3123248"/>
                  <a:gd name="connsiteY20" fmla="*/ 66770 h 250507"/>
                  <a:gd name="connsiteX21" fmla="*/ 216694 w 3123248"/>
                  <a:gd name="connsiteY21" fmla="*/ 72771 h 250507"/>
                  <a:gd name="connsiteX22" fmla="*/ 239744 w 3123248"/>
                  <a:gd name="connsiteY22" fmla="*/ 72771 h 250507"/>
                  <a:gd name="connsiteX23" fmla="*/ 239744 w 3123248"/>
                  <a:gd name="connsiteY23" fmla="*/ 78867 h 250507"/>
                  <a:gd name="connsiteX24" fmla="*/ 252413 w 3123248"/>
                  <a:gd name="connsiteY24" fmla="*/ 78867 h 250507"/>
                  <a:gd name="connsiteX25" fmla="*/ 252413 w 3123248"/>
                  <a:gd name="connsiteY25" fmla="*/ 84963 h 250507"/>
                  <a:gd name="connsiteX26" fmla="*/ 288131 w 3123248"/>
                  <a:gd name="connsiteY26" fmla="*/ 84963 h 250507"/>
                  <a:gd name="connsiteX27" fmla="*/ 288131 w 3123248"/>
                  <a:gd name="connsiteY27" fmla="*/ 91059 h 250507"/>
                  <a:gd name="connsiteX28" fmla="*/ 403860 w 3123248"/>
                  <a:gd name="connsiteY28" fmla="*/ 91059 h 250507"/>
                  <a:gd name="connsiteX29" fmla="*/ 403860 w 3123248"/>
                  <a:gd name="connsiteY29" fmla="*/ 97060 h 250507"/>
                  <a:gd name="connsiteX30" fmla="*/ 441674 w 3123248"/>
                  <a:gd name="connsiteY30" fmla="*/ 97060 h 250507"/>
                  <a:gd name="connsiteX31" fmla="*/ 441674 w 3123248"/>
                  <a:gd name="connsiteY31" fmla="*/ 103251 h 250507"/>
                  <a:gd name="connsiteX32" fmla="*/ 494252 w 3123248"/>
                  <a:gd name="connsiteY32" fmla="*/ 103251 h 250507"/>
                  <a:gd name="connsiteX33" fmla="*/ 494252 w 3123248"/>
                  <a:gd name="connsiteY33" fmla="*/ 109347 h 250507"/>
                  <a:gd name="connsiteX34" fmla="*/ 513207 w 3123248"/>
                  <a:gd name="connsiteY34" fmla="*/ 109347 h 250507"/>
                  <a:gd name="connsiteX35" fmla="*/ 513207 w 3123248"/>
                  <a:gd name="connsiteY35" fmla="*/ 115443 h 250507"/>
                  <a:gd name="connsiteX36" fmla="*/ 523685 w 3123248"/>
                  <a:gd name="connsiteY36" fmla="*/ 115443 h 250507"/>
                  <a:gd name="connsiteX37" fmla="*/ 523685 w 3123248"/>
                  <a:gd name="connsiteY37" fmla="*/ 121634 h 250507"/>
                  <a:gd name="connsiteX38" fmla="*/ 557403 w 3123248"/>
                  <a:gd name="connsiteY38" fmla="*/ 121634 h 250507"/>
                  <a:gd name="connsiteX39" fmla="*/ 557403 w 3123248"/>
                  <a:gd name="connsiteY39" fmla="*/ 127730 h 250507"/>
                  <a:gd name="connsiteX40" fmla="*/ 563690 w 3123248"/>
                  <a:gd name="connsiteY40" fmla="*/ 127730 h 250507"/>
                  <a:gd name="connsiteX41" fmla="*/ 563690 w 3123248"/>
                  <a:gd name="connsiteY41" fmla="*/ 133826 h 250507"/>
                  <a:gd name="connsiteX42" fmla="*/ 578358 w 3123248"/>
                  <a:gd name="connsiteY42" fmla="*/ 133826 h 250507"/>
                  <a:gd name="connsiteX43" fmla="*/ 578358 w 3123248"/>
                  <a:gd name="connsiteY43" fmla="*/ 139922 h 250507"/>
                  <a:gd name="connsiteX44" fmla="*/ 591026 w 3123248"/>
                  <a:gd name="connsiteY44" fmla="*/ 139922 h 250507"/>
                  <a:gd name="connsiteX45" fmla="*/ 591026 w 3123248"/>
                  <a:gd name="connsiteY45" fmla="*/ 146113 h 250507"/>
                  <a:gd name="connsiteX46" fmla="*/ 616268 w 3123248"/>
                  <a:gd name="connsiteY46" fmla="*/ 146113 h 250507"/>
                  <a:gd name="connsiteX47" fmla="*/ 616268 w 3123248"/>
                  <a:gd name="connsiteY47" fmla="*/ 152209 h 250507"/>
                  <a:gd name="connsiteX48" fmla="*/ 845534 w 3123248"/>
                  <a:gd name="connsiteY48" fmla="*/ 152209 h 250507"/>
                  <a:gd name="connsiteX49" fmla="*/ 845534 w 3123248"/>
                  <a:gd name="connsiteY49" fmla="*/ 158401 h 250507"/>
                  <a:gd name="connsiteX50" fmla="*/ 959072 w 3123248"/>
                  <a:gd name="connsiteY50" fmla="*/ 158401 h 250507"/>
                  <a:gd name="connsiteX51" fmla="*/ 959072 w 3123248"/>
                  <a:gd name="connsiteY51" fmla="*/ 164592 h 250507"/>
                  <a:gd name="connsiteX52" fmla="*/ 1228249 w 3123248"/>
                  <a:gd name="connsiteY52" fmla="*/ 164592 h 250507"/>
                  <a:gd name="connsiteX53" fmla="*/ 1228249 w 3123248"/>
                  <a:gd name="connsiteY53" fmla="*/ 170878 h 250507"/>
                  <a:gd name="connsiteX54" fmla="*/ 1301877 w 3123248"/>
                  <a:gd name="connsiteY54" fmla="*/ 170878 h 250507"/>
                  <a:gd name="connsiteX55" fmla="*/ 1301877 w 3123248"/>
                  <a:gd name="connsiteY55" fmla="*/ 177165 h 250507"/>
                  <a:gd name="connsiteX56" fmla="*/ 1381792 w 3123248"/>
                  <a:gd name="connsiteY56" fmla="*/ 177165 h 250507"/>
                  <a:gd name="connsiteX57" fmla="*/ 1381792 w 3123248"/>
                  <a:gd name="connsiteY57" fmla="*/ 183451 h 250507"/>
                  <a:gd name="connsiteX58" fmla="*/ 1543717 w 3123248"/>
                  <a:gd name="connsiteY58" fmla="*/ 183451 h 250507"/>
                  <a:gd name="connsiteX59" fmla="*/ 1543717 w 3123248"/>
                  <a:gd name="connsiteY59" fmla="*/ 189928 h 250507"/>
                  <a:gd name="connsiteX60" fmla="*/ 1560576 w 3123248"/>
                  <a:gd name="connsiteY60" fmla="*/ 189928 h 250507"/>
                  <a:gd name="connsiteX61" fmla="*/ 1560576 w 3123248"/>
                  <a:gd name="connsiteY61" fmla="*/ 196310 h 250507"/>
                  <a:gd name="connsiteX62" fmla="*/ 1678400 w 3123248"/>
                  <a:gd name="connsiteY62" fmla="*/ 196310 h 250507"/>
                  <a:gd name="connsiteX63" fmla="*/ 1678400 w 3123248"/>
                  <a:gd name="connsiteY63" fmla="*/ 202787 h 250507"/>
                  <a:gd name="connsiteX64" fmla="*/ 1770888 w 3123248"/>
                  <a:gd name="connsiteY64" fmla="*/ 202787 h 250507"/>
                  <a:gd name="connsiteX65" fmla="*/ 1770888 w 3123248"/>
                  <a:gd name="connsiteY65" fmla="*/ 209169 h 250507"/>
                  <a:gd name="connsiteX66" fmla="*/ 1789843 w 3123248"/>
                  <a:gd name="connsiteY66" fmla="*/ 209169 h 250507"/>
                  <a:gd name="connsiteX67" fmla="*/ 1789843 w 3123248"/>
                  <a:gd name="connsiteY67" fmla="*/ 215646 h 250507"/>
                  <a:gd name="connsiteX68" fmla="*/ 2643664 w 3123248"/>
                  <a:gd name="connsiteY68" fmla="*/ 215646 h 250507"/>
                  <a:gd name="connsiteX69" fmla="*/ 2643664 w 3123248"/>
                  <a:gd name="connsiteY69" fmla="*/ 250507 h 250507"/>
                  <a:gd name="connsiteX70" fmla="*/ 3123248 w 3123248"/>
                  <a:gd name="connsiteY70" fmla="*/ 250507 h 250507"/>
                  <a:gd name="connsiteX0" fmla="*/ 0 w 3116866"/>
                  <a:gd name="connsiteY0" fmla="*/ 0 h 238315"/>
                  <a:gd name="connsiteX1" fmla="*/ 8382 w 3116866"/>
                  <a:gd name="connsiteY1" fmla="*/ 0 h 238315"/>
                  <a:gd name="connsiteX2" fmla="*/ 8382 w 3116866"/>
                  <a:gd name="connsiteY2" fmla="*/ 6001 h 238315"/>
                  <a:gd name="connsiteX3" fmla="*/ 16764 w 3116866"/>
                  <a:gd name="connsiteY3" fmla="*/ 6001 h 238315"/>
                  <a:gd name="connsiteX4" fmla="*/ 16764 w 3116866"/>
                  <a:gd name="connsiteY4" fmla="*/ 12097 h 238315"/>
                  <a:gd name="connsiteX5" fmla="*/ 20955 w 3116866"/>
                  <a:gd name="connsiteY5" fmla="*/ 12097 h 238315"/>
                  <a:gd name="connsiteX6" fmla="*/ 20955 w 3116866"/>
                  <a:gd name="connsiteY6" fmla="*/ 18193 h 238315"/>
                  <a:gd name="connsiteX7" fmla="*/ 94583 w 3116866"/>
                  <a:gd name="connsiteY7" fmla="*/ 18193 h 238315"/>
                  <a:gd name="connsiteX8" fmla="*/ 94583 w 3116866"/>
                  <a:gd name="connsiteY8" fmla="*/ 24193 h 238315"/>
                  <a:gd name="connsiteX9" fmla="*/ 115633 w 3116866"/>
                  <a:gd name="connsiteY9" fmla="*/ 24193 h 238315"/>
                  <a:gd name="connsiteX10" fmla="*/ 115633 w 3116866"/>
                  <a:gd name="connsiteY10" fmla="*/ 30289 h 238315"/>
                  <a:gd name="connsiteX11" fmla="*/ 121920 w 3116866"/>
                  <a:gd name="connsiteY11" fmla="*/ 30289 h 238315"/>
                  <a:gd name="connsiteX12" fmla="*/ 121920 w 3116866"/>
                  <a:gd name="connsiteY12" fmla="*/ 36385 h 238315"/>
                  <a:gd name="connsiteX13" fmla="*/ 164020 w 3116866"/>
                  <a:gd name="connsiteY13" fmla="*/ 36385 h 238315"/>
                  <a:gd name="connsiteX14" fmla="*/ 164020 w 3116866"/>
                  <a:gd name="connsiteY14" fmla="*/ 42386 h 238315"/>
                  <a:gd name="connsiteX15" fmla="*/ 178689 w 3116866"/>
                  <a:gd name="connsiteY15" fmla="*/ 42386 h 238315"/>
                  <a:gd name="connsiteX16" fmla="*/ 178689 w 3116866"/>
                  <a:gd name="connsiteY16" fmla="*/ 48482 h 238315"/>
                  <a:gd name="connsiteX17" fmla="*/ 208216 w 3116866"/>
                  <a:gd name="connsiteY17" fmla="*/ 48482 h 238315"/>
                  <a:gd name="connsiteX18" fmla="*/ 208216 w 3116866"/>
                  <a:gd name="connsiteY18" fmla="*/ 54578 h 238315"/>
                  <a:gd name="connsiteX19" fmla="*/ 210312 w 3116866"/>
                  <a:gd name="connsiteY19" fmla="*/ 54578 h 238315"/>
                  <a:gd name="connsiteX20" fmla="*/ 210312 w 3116866"/>
                  <a:gd name="connsiteY20" fmla="*/ 60579 h 238315"/>
                  <a:gd name="connsiteX21" fmla="*/ 233362 w 3116866"/>
                  <a:gd name="connsiteY21" fmla="*/ 60579 h 238315"/>
                  <a:gd name="connsiteX22" fmla="*/ 233362 w 3116866"/>
                  <a:gd name="connsiteY22" fmla="*/ 66675 h 238315"/>
                  <a:gd name="connsiteX23" fmla="*/ 246031 w 3116866"/>
                  <a:gd name="connsiteY23" fmla="*/ 66675 h 238315"/>
                  <a:gd name="connsiteX24" fmla="*/ 246031 w 3116866"/>
                  <a:gd name="connsiteY24" fmla="*/ 72771 h 238315"/>
                  <a:gd name="connsiteX25" fmla="*/ 281749 w 3116866"/>
                  <a:gd name="connsiteY25" fmla="*/ 72771 h 238315"/>
                  <a:gd name="connsiteX26" fmla="*/ 281749 w 3116866"/>
                  <a:gd name="connsiteY26" fmla="*/ 78867 h 238315"/>
                  <a:gd name="connsiteX27" fmla="*/ 397478 w 3116866"/>
                  <a:gd name="connsiteY27" fmla="*/ 78867 h 238315"/>
                  <a:gd name="connsiteX28" fmla="*/ 397478 w 3116866"/>
                  <a:gd name="connsiteY28" fmla="*/ 84868 h 238315"/>
                  <a:gd name="connsiteX29" fmla="*/ 435292 w 3116866"/>
                  <a:gd name="connsiteY29" fmla="*/ 84868 h 238315"/>
                  <a:gd name="connsiteX30" fmla="*/ 435292 w 3116866"/>
                  <a:gd name="connsiteY30" fmla="*/ 91059 h 238315"/>
                  <a:gd name="connsiteX31" fmla="*/ 487870 w 3116866"/>
                  <a:gd name="connsiteY31" fmla="*/ 91059 h 238315"/>
                  <a:gd name="connsiteX32" fmla="*/ 487870 w 3116866"/>
                  <a:gd name="connsiteY32" fmla="*/ 97155 h 238315"/>
                  <a:gd name="connsiteX33" fmla="*/ 506825 w 3116866"/>
                  <a:gd name="connsiteY33" fmla="*/ 97155 h 238315"/>
                  <a:gd name="connsiteX34" fmla="*/ 506825 w 3116866"/>
                  <a:gd name="connsiteY34" fmla="*/ 103251 h 238315"/>
                  <a:gd name="connsiteX35" fmla="*/ 517303 w 3116866"/>
                  <a:gd name="connsiteY35" fmla="*/ 103251 h 238315"/>
                  <a:gd name="connsiteX36" fmla="*/ 517303 w 3116866"/>
                  <a:gd name="connsiteY36" fmla="*/ 109442 h 238315"/>
                  <a:gd name="connsiteX37" fmla="*/ 551021 w 3116866"/>
                  <a:gd name="connsiteY37" fmla="*/ 109442 h 238315"/>
                  <a:gd name="connsiteX38" fmla="*/ 551021 w 3116866"/>
                  <a:gd name="connsiteY38" fmla="*/ 115538 h 238315"/>
                  <a:gd name="connsiteX39" fmla="*/ 557308 w 3116866"/>
                  <a:gd name="connsiteY39" fmla="*/ 115538 h 238315"/>
                  <a:gd name="connsiteX40" fmla="*/ 557308 w 3116866"/>
                  <a:gd name="connsiteY40" fmla="*/ 121634 h 238315"/>
                  <a:gd name="connsiteX41" fmla="*/ 571976 w 3116866"/>
                  <a:gd name="connsiteY41" fmla="*/ 121634 h 238315"/>
                  <a:gd name="connsiteX42" fmla="*/ 571976 w 3116866"/>
                  <a:gd name="connsiteY42" fmla="*/ 127730 h 238315"/>
                  <a:gd name="connsiteX43" fmla="*/ 584644 w 3116866"/>
                  <a:gd name="connsiteY43" fmla="*/ 127730 h 238315"/>
                  <a:gd name="connsiteX44" fmla="*/ 584644 w 3116866"/>
                  <a:gd name="connsiteY44" fmla="*/ 133921 h 238315"/>
                  <a:gd name="connsiteX45" fmla="*/ 609886 w 3116866"/>
                  <a:gd name="connsiteY45" fmla="*/ 133921 h 238315"/>
                  <a:gd name="connsiteX46" fmla="*/ 609886 w 3116866"/>
                  <a:gd name="connsiteY46" fmla="*/ 140017 h 238315"/>
                  <a:gd name="connsiteX47" fmla="*/ 839152 w 3116866"/>
                  <a:gd name="connsiteY47" fmla="*/ 140017 h 238315"/>
                  <a:gd name="connsiteX48" fmla="*/ 839152 w 3116866"/>
                  <a:gd name="connsiteY48" fmla="*/ 146209 h 238315"/>
                  <a:gd name="connsiteX49" fmla="*/ 952690 w 3116866"/>
                  <a:gd name="connsiteY49" fmla="*/ 146209 h 238315"/>
                  <a:gd name="connsiteX50" fmla="*/ 952690 w 3116866"/>
                  <a:gd name="connsiteY50" fmla="*/ 152400 h 238315"/>
                  <a:gd name="connsiteX51" fmla="*/ 1221867 w 3116866"/>
                  <a:gd name="connsiteY51" fmla="*/ 152400 h 238315"/>
                  <a:gd name="connsiteX52" fmla="*/ 1221867 w 3116866"/>
                  <a:gd name="connsiteY52" fmla="*/ 158686 h 238315"/>
                  <a:gd name="connsiteX53" fmla="*/ 1295495 w 3116866"/>
                  <a:gd name="connsiteY53" fmla="*/ 158686 h 238315"/>
                  <a:gd name="connsiteX54" fmla="*/ 1295495 w 3116866"/>
                  <a:gd name="connsiteY54" fmla="*/ 164973 h 238315"/>
                  <a:gd name="connsiteX55" fmla="*/ 1375410 w 3116866"/>
                  <a:gd name="connsiteY55" fmla="*/ 164973 h 238315"/>
                  <a:gd name="connsiteX56" fmla="*/ 1375410 w 3116866"/>
                  <a:gd name="connsiteY56" fmla="*/ 171259 h 238315"/>
                  <a:gd name="connsiteX57" fmla="*/ 1537335 w 3116866"/>
                  <a:gd name="connsiteY57" fmla="*/ 171259 h 238315"/>
                  <a:gd name="connsiteX58" fmla="*/ 1537335 w 3116866"/>
                  <a:gd name="connsiteY58" fmla="*/ 177736 h 238315"/>
                  <a:gd name="connsiteX59" fmla="*/ 1554194 w 3116866"/>
                  <a:gd name="connsiteY59" fmla="*/ 177736 h 238315"/>
                  <a:gd name="connsiteX60" fmla="*/ 1554194 w 3116866"/>
                  <a:gd name="connsiteY60" fmla="*/ 184118 h 238315"/>
                  <a:gd name="connsiteX61" fmla="*/ 1672018 w 3116866"/>
                  <a:gd name="connsiteY61" fmla="*/ 184118 h 238315"/>
                  <a:gd name="connsiteX62" fmla="*/ 1672018 w 3116866"/>
                  <a:gd name="connsiteY62" fmla="*/ 190595 h 238315"/>
                  <a:gd name="connsiteX63" fmla="*/ 1764506 w 3116866"/>
                  <a:gd name="connsiteY63" fmla="*/ 190595 h 238315"/>
                  <a:gd name="connsiteX64" fmla="*/ 1764506 w 3116866"/>
                  <a:gd name="connsiteY64" fmla="*/ 196977 h 238315"/>
                  <a:gd name="connsiteX65" fmla="*/ 1783461 w 3116866"/>
                  <a:gd name="connsiteY65" fmla="*/ 196977 h 238315"/>
                  <a:gd name="connsiteX66" fmla="*/ 1783461 w 3116866"/>
                  <a:gd name="connsiteY66" fmla="*/ 203454 h 238315"/>
                  <a:gd name="connsiteX67" fmla="*/ 2637282 w 3116866"/>
                  <a:gd name="connsiteY67" fmla="*/ 203454 h 238315"/>
                  <a:gd name="connsiteX68" fmla="*/ 2637282 w 3116866"/>
                  <a:gd name="connsiteY68" fmla="*/ 238315 h 238315"/>
                  <a:gd name="connsiteX69" fmla="*/ 3116866 w 3116866"/>
                  <a:gd name="connsiteY69" fmla="*/ 238315 h 238315"/>
                  <a:gd name="connsiteX0" fmla="*/ 0 w 3116866"/>
                  <a:gd name="connsiteY0" fmla="*/ 0 h 238315"/>
                  <a:gd name="connsiteX1" fmla="*/ 8382 w 3116866"/>
                  <a:gd name="connsiteY1" fmla="*/ 6001 h 238315"/>
                  <a:gd name="connsiteX2" fmla="*/ 16764 w 3116866"/>
                  <a:gd name="connsiteY2" fmla="*/ 6001 h 238315"/>
                  <a:gd name="connsiteX3" fmla="*/ 16764 w 3116866"/>
                  <a:gd name="connsiteY3" fmla="*/ 12097 h 238315"/>
                  <a:gd name="connsiteX4" fmla="*/ 20955 w 3116866"/>
                  <a:gd name="connsiteY4" fmla="*/ 12097 h 238315"/>
                  <a:gd name="connsiteX5" fmla="*/ 20955 w 3116866"/>
                  <a:gd name="connsiteY5" fmla="*/ 18193 h 238315"/>
                  <a:gd name="connsiteX6" fmla="*/ 94583 w 3116866"/>
                  <a:gd name="connsiteY6" fmla="*/ 18193 h 238315"/>
                  <a:gd name="connsiteX7" fmla="*/ 94583 w 3116866"/>
                  <a:gd name="connsiteY7" fmla="*/ 24193 h 238315"/>
                  <a:gd name="connsiteX8" fmla="*/ 115633 w 3116866"/>
                  <a:gd name="connsiteY8" fmla="*/ 24193 h 238315"/>
                  <a:gd name="connsiteX9" fmla="*/ 115633 w 3116866"/>
                  <a:gd name="connsiteY9" fmla="*/ 30289 h 238315"/>
                  <a:gd name="connsiteX10" fmla="*/ 121920 w 3116866"/>
                  <a:gd name="connsiteY10" fmla="*/ 30289 h 238315"/>
                  <a:gd name="connsiteX11" fmla="*/ 121920 w 3116866"/>
                  <a:gd name="connsiteY11" fmla="*/ 36385 h 238315"/>
                  <a:gd name="connsiteX12" fmla="*/ 164020 w 3116866"/>
                  <a:gd name="connsiteY12" fmla="*/ 36385 h 238315"/>
                  <a:gd name="connsiteX13" fmla="*/ 164020 w 3116866"/>
                  <a:gd name="connsiteY13" fmla="*/ 42386 h 238315"/>
                  <a:gd name="connsiteX14" fmla="*/ 178689 w 3116866"/>
                  <a:gd name="connsiteY14" fmla="*/ 42386 h 238315"/>
                  <a:gd name="connsiteX15" fmla="*/ 178689 w 3116866"/>
                  <a:gd name="connsiteY15" fmla="*/ 48482 h 238315"/>
                  <a:gd name="connsiteX16" fmla="*/ 208216 w 3116866"/>
                  <a:gd name="connsiteY16" fmla="*/ 48482 h 238315"/>
                  <a:gd name="connsiteX17" fmla="*/ 208216 w 3116866"/>
                  <a:gd name="connsiteY17" fmla="*/ 54578 h 238315"/>
                  <a:gd name="connsiteX18" fmla="*/ 210312 w 3116866"/>
                  <a:gd name="connsiteY18" fmla="*/ 54578 h 238315"/>
                  <a:gd name="connsiteX19" fmla="*/ 210312 w 3116866"/>
                  <a:gd name="connsiteY19" fmla="*/ 60579 h 238315"/>
                  <a:gd name="connsiteX20" fmla="*/ 233362 w 3116866"/>
                  <a:gd name="connsiteY20" fmla="*/ 60579 h 238315"/>
                  <a:gd name="connsiteX21" fmla="*/ 233362 w 3116866"/>
                  <a:gd name="connsiteY21" fmla="*/ 66675 h 238315"/>
                  <a:gd name="connsiteX22" fmla="*/ 246031 w 3116866"/>
                  <a:gd name="connsiteY22" fmla="*/ 66675 h 238315"/>
                  <a:gd name="connsiteX23" fmla="*/ 246031 w 3116866"/>
                  <a:gd name="connsiteY23" fmla="*/ 72771 h 238315"/>
                  <a:gd name="connsiteX24" fmla="*/ 281749 w 3116866"/>
                  <a:gd name="connsiteY24" fmla="*/ 72771 h 238315"/>
                  <a:gd name="connsiteX25" fmla="*/ 281749 w 3116866"/>
                  <a:gd name="connsiteY25" fmla="*/ 78867 h 238315"/>
                  <a:gd name="connsiteX26" fmla="*/ 397478 w 3116866"/>
                  <a:gd name="connsiteY26" fmla="*/ 78867 h 238315"/>
                  <a:gd name="connsiteX27" fmla="*/ 397478 w 3116866"/>
                  <a:gd name="connsiteY27" fmla="*/ 84868 h 238315"/>
                  <a:gd name="connsiteX28" fmla="*/ 435292 w 3116866"/>
                  <a:gd name="connsiteY28" fmla="*/ 84868 h 238315"/>
                  <a:gd name="connsiteX29" fmla="*/ 435292 w 3116866"/>
                  <a:gd name="connsiteY29" fmla="*/ 91059 h 238315"/>
                  <a:gd name="connsiteX30" fmla="*/ 487870 w 3116866"/>
                  <a:gd name="connsiteY30" fmla="*/ 91059 h 238315"/>
                  <a:gd name="connsiteX31" fmla="*/ 487870 w 3116866"/>
                  <a:gd name="connsiteY31" fmla="*/ 97155 h 238315"/>
                  <a:gd name="connsiteX32" fmla="*/ 506825 w 3116866"/>
                  <a:gd name="connsiteY32" fmla="*/ 97155 h 238315"/>
                  <a:gd name="connsiteX33" fmla="*/ 506825 w 3116866"/>
                  <a:gd name="connsiteY33" fmla="*/ 103251 h 238315"/>
                  <a:gd name="connsiteX34" fmla="*/ 517303 w 3116866"/>
                  <a:gd name="connsiteY34" fmla="*/ 103251 h 238315"/>
                  <a:gd name="connsiteX35" fmla="*/ 517303 w 3116866"/>
                  <a:gd name="connsiteY35" fmla="*/ 109442 h 238315"/>
                  <a:gd name="connsiteX36" fmla="*/ 551021 w 3116866"/>
                  <a:gd name="connsiteY36" fmla="*/ 109442 h 238315"/>
                  <a:gd name="connsiteX37" fmla="*/ 551021 w 3116866"/>
                  <a:gd name="connsiteY37" fmla="*/ 115538 h 238315"/>
                  <a:gd name="connsiteX38" fmla="*/ 557308 w 3116866"/>
                  <a:gd name="connsiteY38" fmla="*/ 115538 h 238315"/>
                  <a:gd name="connsiteX39" fmla="*/ 557308 w 3116866"/>
                  <a:gd name="connsiteY39" fmla="*/ 121634 h 238315"/>
                  <a:gd name="connsiteX40" fmla="*/ 571976 w 3116866"/>
                  <a:gd name="connsiteY40" fmla="*/ 121634 h 238315"/>
                  <a:gd name="connsiteX41" fmla="*/ 571976 w 3116866"/>
                  <a:gd name="connsiteY41" fmla="*/ 127730 h 238315"/>
                  <a:gd name="connsiteX42" fmla="*/ 584644 w 3116866"/>
                  <a:gd name="connsiteY42" fmla="*/ 127730 h 238315"/>
                  <a:gd name="connsiteX43" fmla="*/ 584644 w 3116866"/>
                  <a:gd name="connsiteY43" fmla="*/ 133921 h 238315"/>
                  <a:gd name="connsiteX44" fmla="*/ 609886 w 3116866"/>
                  <a:gd name="connsiteY44" fmla="*/ 133921 h 238315"/>
                  <a:gd name="connsiteX45" fmla="*/ 609886 w 3116866"/>
                  <a:gd name="connsiteY45" fmla="*/ 140017 h 238315"/>
                  <a:gd name="connsiteX46" fmla="*/ 839152 w 3116866"/>
                  <a:gd name="connsiteY46" fmla="*/ 140017 h 238315"/>
                  <a:gd name="connsiteX47" fmla="*/ 839152 w 3116866"/>
                  <a:gd name="connsiteY47" fmla="*/ 146209 h 238315"/>
                  <a:gd name="connsiteX48" fmla="*/ 952690 w 3116866"/>
                  <a:gd name="connsiteY48" fmla="*/ 146209 h 238315"/>
                  <a:gd name="connsiteX49" fmla="*/ 952690 w 3116866"/>
                  <a:gd name="connsiteY49" fmla="*/ 152400 h 238315"/>
                  <a:gd name="connsiteX50" fmla="*/ 1221867 w 3116866"/>
                  <a:gd name="connsiteY50" fmla="*/ 152400 h 238315"/>
                  <a:gd name="connsiteX51" fmla="*/ 1221867 w 3116866"/>
                  <a:gd name="connsiteY51" fmla="*/ 158686 h 238315"/>
                  <a:gd name="connsiteX52" fmla="*/ 1295495 w 3116866"/>
                  <a:gd name="connsiteY52" fmla="*/ 158686 h 238315"/>
                  <a:gd name="connsiteX53" fmla="*/ 1295495 w 3116866"/>
                  <a:gd name="connsiteY53" fmla="*/ 164973 h 238315"/>
                  <a:gd name="connsiteX54" fmla="*/ 1375410 w 3116866"/>
                  <a:gd name="connsiteY54" fmla="*/ 164973 h 238315"/>
                  <a:gd name="connsiteX55" fmla="*/ 1375410 w 3116866"/>
                  <a:gd name="connsiteY55" fmla="*/ 171259 h 238315"/>
                  <a:gd name="connsiteX56" fmla="*/ 1537335 w 3116866"/>
                  <a:gd name="connsiteY56" fmla="*/ 171259 h 238315"/>
                  <a:gd name="connsiteX57" fmla="*/ 1537335 w 3116866"/>
                  <a:gd name="connsiteY57" fmla="*/ 177736 h 238315"/>
                  <a:gd name="connsiteX58" fmla="*/ 1554194 w 3116866"/>
                  <a:gd name="connsiteY58" fmla="*/ 177736 h 238315"/>
                  <a:gd name="connsiteX59" fmla="*/ 1554194 w 3116866"/>
                  <a:gd name="connsiteY59" fmla="*/ 184118 h 238315"/>
                  <a:gd name="connsiteX60" fmla="*/ 1672018 w 3116866"/>
                  <a:gd name="connsiteY60" fmla="*/ 184118 h 238315"/>
                  <a:gd name="connsiteX61" fmla="*/ 1672018 w 3116866"/>
                  <a:gd name="connsiteY61" fmla="*/ 190595 h 238315"/>
                  <a:gd name="connsiteX62" fmla="*/ 1764506 w 3116866"/>
                  <a:gd name="connsiteY62" fmla="*/ 190595 h 238315"/>
                  <a:gd name="connsiteX63" fmla="*/ 1764506 w 3116866"/>
                  <a:gd name="connsiteY63" fmla="*/ 196977 h 238315"/>
                  <a:gd name="connsiteX64" fmla="*/ 1783461 w 3116866"/>
                  <a:gd name="connsiteY64" fmla="*/ 196977 h 238315"/>
                  <a:gd name="connsiteX65" fmla="*/ 1783461 w 3116866"/>
                  <a:gd name="connsiteY65" fmla="*/ 203454 h 238315"/>
                  <a:gd name="connsiteX66" fmla="*/ 2637282 w 3116866"/>
                  <a:gd name="connsiteY66" fmla="*/ 203454 h 238315"/>
                  <a:gd name="connsiteX67" fmla="*/ 2637282 w 3116866"/>
                  <a:gd name="connsiteY67" fmla="*/ 238315 h 238315"/>
                  <a:gd name="connsiteX68" fmla="*/ 3116866 w 3116866"/>
                  <a:gd name="connsiteY68" fmla="*/ 238315 h 238315"/>
                  <a:gd name="connsiteX0" fmla="*/ 0 w 3116866"/>
                  <a:gd name="connsiteY0" fmla="*/ 0 h 238315"/>
                  <a:gd name="connsiteX1" fmla="*/ 8382 w 3116866"/>
                  <a:gd name="connsiteY1" fmla="*/ 6001 h 238315"/>
                  <a:gd name="connsiteX2" fmla="*/ 16764 w 3116866"/>
                  <a:gd name="connsiteY2" fmla="*/ 6001 h 238315"/>
                  <a:gd name="connsiteX3" fmla="*/ 20955 w 3116866"/>
                  <a:gd name="connsiteY3" fmla="*/ 12097 h 238315"/>
                  <a:gd name="connsiteX4" fmla="*/ 20955 w 3116866"/>
                  <a:gd name="connsiteY4" fmla="*/ 18193 h 238315"/>
                  <a:gd name="connsiteX5" fmla="*/ 94583 w 3116866"/>
                  <a:gd name="connsiteY5" fmla="*/ 18193 h 238315"/>
                  <a:gd name="connsiteX6" fmla="*/ 94583 w 3116866"/>
                  <a:gd name="connsiteY6" fmla="*/ 24193 h 238315"/>
                  <a:gd name="connsiteX7" fmla="*/ 115633 w 3116866"/>
                  <a:gd name="connsiteY7" fmla="*/ 24193 h 238315"/>
                  <a:gd name="connsiteX8" fmla="*/ 115633 w 3116866"/>
                  <a:gd name="connsiteY8" fmla="*/ 30289 h 238315"/>
                  <a:gd name="connsiteX9" fmla="*/ 121920 w 3116866"/>
                  <a:gd name="connsiteY9" fmla="*/ 30289 h 238315"/>
                  <a:gd name="connsiteX10" fmla="*/ 121920 w 3116866"/>
                  <a:gd name="connsiteY10" fmla="*/ 36385 h 238315"/>
                  <a:gd name="connsiteX11" fmla="*/ 164020 w 3116866"/>
                  <a:gd name="connsiteY11" fmla="*/ 36385 h 238315"/>
                  <a:gd name="connsiteX12" fmla="*/ 164020 w 3116866"/>
                  <a:gd name="connsiteY12" fmla="*/ 42386 h 238315"/>
                  <a:gd name="connsiteX13" fmla="*/ 178689 w 3116866"/>
                  <a:gd name="connsiteY13" fmla="*/ 42386 h 238315"/>
                  <a:gd name="connsiteX14" fmla="*/ 178689 w 3116866"/>
                  <a:gd name="connsiteY14" fmla="*/ 48482 h 238315"/>
                  <a:gd name="connsiteX15" fmla="*/ 208216 w 3116866"/>
                  <a:gd name="connsiteY15" fmla="*/ 48482 h 238315"/>
                  <a:gd name="connsiteX16" fmla="*/ 208216 w 3116866"/>
                  <a:gd name="connsiteY16" fmla="*/ 54578 h 238315"/>
                  <a:gd name="connsiteX17" fmla="*/ 210312 w 3116866"/>
                  <a:gd name="connsiteY17" fmla="*/ 54578 h 238315"/>
                  <a:gd name="connsiteX18" fmla="*/ 210312 w 3116866"/>
                  <a:gd name="connsiteY18" fmla="*/ 60579 h 238315"/>
                  <a:gd name="connsiteX19" fmla="*/ 233362 w 3116866"/>
                  <a:gd name="connsiteY19" fmla="*/ 60579 h 238315"/>
                  <a:gd name="connsiteX20" fmla="*/ 233362 w 3116866"/>
                  <a:gd name="connsiteY20" fmla="*/ 66675 h 238315"/>
                  <a:gd name="connsiteX21" fmla="*/ 246031 w 3116866"/>
                  <a:gd name="connsiteY21" fmla="*/ 66675 h 238315"/>
                  <a:gd name="connsiteX22" fmla="*/ 246031 w 3116866"/>
                  <a:gd name="connsiteY22" fmla="*/ 72771 h 238315"/>
                  <a:gd name="connsiteX23" fmla="*/ 281749 w 3116866"/>
                  <a:gd name="connsiteY23" fmla="*/ 72771 h 238315"/>
                  <a:gd name="connsiteX24" fmla="*/ 281749 w 3116866"/>
                  <a:gd name="connsiteY24" fmla="*/ 78867 h 238315"/>
                  <a:gd name="connsiteX25" fmla="*/ 397478 w 3116866"/>
                  <a:gd name="connsiteY25" fmla="*/ 78867 h 238315"/>
                  <a:gd name="connsiteX26" fmla="*/ 397478 w 3116866"/>
                  <a:gd name="connsiteY26" fmla="*/ 84868 h 238315"/>
                  <a:gd name="connsiteX27" fmla="*/ 435292 w 3116866"/>
                  <a:gd name="connsiteY27" fmla="*/ 84868 h 238315"/>
                  <a:gd name="connsiteX28" fmla="*/ 435292 w 3116866"/>
                  <a:gd name="connsiteY28" fmla="*/ 91059 h 238315"/>
                  <a:gd name="connsiteX29" fmla="*/ 487870 w 3116866"/>
                  <a:gd name="connsiteY29" fmla="*/ 91059 h 238315"/>
                  <a:gd name="connsiteX30" fmla="*/ 487870 w 3116866"/>
                  <a:gd name="connsiteY30" fmla="*/ 97155 h 238315"/>
                  <a:gd name="connsiteX31" fmla="*/ 506825 w 3116866"/>
                  <a:gd name="connsiteY31" fmla="*/ 97155 h 238315"/>
                  <a:gd name="connsiteX32" fmla="*/ 506825 w 3116866"/>
                  <a:gd name="connsiteY32" fmla="*/ 103251 h 238315"/>
                  <a:gd name="connsiteX33" fmla="*/ 517303 w 3116866"/>
                  <a:gd name="connsiteY33" fmla="*/ 103251 h 238315"/>
                  <a:gd name="connsiteX34" fmla="*/ 517303 w 3116866"/>
                  <a:gd name="connsiteY34" fmla="*/ 109442 h 238315"/>
                  <a:gd name="connsiteX35" fmla="*/ 551021 w 3116866"/>
                  <a:gd name="connsiteY35" fmla="*/ 109442 h 238315"/>
                  <a:gd name="connsiteX36" fmla="*/ 551021 w 3116866"/>
                  <a:gd name="connsiteY36" fmla="*/ 115538 h 238315"/>
                  <a:gd name="connsiteX37" fmla="*/ 557308 w 3116866"/>
                  <a:gd name="connsiteY37" fmla="*/ 115538 h 238315"/>
                  <a:gd name="connsiteX38" fmla="*/ 557308 w 3116866"/>
                  <a:gd name="connsiteY38" fmla="*/ 121634 h 238315"/>
                  <a:gd name="connsiteX39" fmla="*/ 571976 w 3116866"/>
                  <a:gd name="connsiteY39" fmla="*/ 121634 h 238315"/>
                  <a:gd name="connsiteX40" fmla="*/ 571976 w 3116866"/>
                  <a:gd name="connsiteY40" fmla="*/ 127730 h 238315"/>
                  <a:gd name="connsiteX41" fmla="*/ 584644 w 3116866"/>
                  <a:gd name="connsiteY41" fmla="*/ 127730 h 238315"/>
                  <a:gd name="connsiteX42" fmla="*/ 584644 w 3116866"/>
                  <a:gd name="connsiteY42" fmla="*/ 133921 h 238315"/>
                  <a:gd name="connsiteX43" fmla="*/ 609886 w 3116866"/>
                  <a:gd name="connsiteY43" fmla="*/ 133921 h 238315"/>
                  <a:gd name="connsiteX44" fmla="*/ 609886 w 3116866"/>
                  <a:gd name="connsiteY44" fmla="*/ 140017 h 238315"/>
                  <a:gd name="connsiteX45" fmla="*/ 839152 w 3116866"/>
                  <a:gd name="connsiteY45" fmla="*/ 140017 h 238315"/>
                  <a:gd name="connsiteX46" fmla="*/ 839152 w 3116866"/>
                  <a:gd name="connsiteY46" fmla="*/ 146209 h 238315"/>
                  <a:gd name="connsiteX47" fmla="*/ 952690 w 3116866"/>
                  <a:gd name="connsiteY47" fmla="*/ 146209 h 238315"/>
                  <a:gd name="connsiteX48" fmla="*/ 952690 w 3116866"/>
                  <a:gd name="connsiteY48" fmla="*/ 152400 h 238315"/>
                  <a:gd name="connsiteX49" fmla="*/ 1221867 w 3116866"/>
                  <a:gd name="connsiteY49" fmla="*/ 152400 h 238315"/>
                  <a:gd name="connsiteX50" fmla="*/ 1221867 w 3116866"/>
                  <a:gd name="connsiteY50" fmla="*/ 158686 h 238315"/>
                  <a:gd name="connsiteX51" fmla="*/ 1295495 w 3116866"/>
                  <a:gd name="connsiteY51" fmla="*/ 158686 h 238315"/>
                  <a:gd name="connsiteX52" fmla="*/ 1295495 w 3116866"/>
                  <a:gd name="connsiteY52" fmla="*/ 164973 h 238315"/>
                  <a:gd name="connsiteX53" fmla="*/ 1375410 w 3116866"/>
                  <a:gd name="connsiteY53" fmla="*/ 164973 h 238315"/>
                  <a:gd name="connsiteX54" fmla="*/ 1375410 w 3116866"/>
                  <a:gd name="connsiteY54" fmla="*/ 171259 h 238315"/>
                  <a:gd name="connsiteX55" fmla="*/ 1537335 w 3116866"/>
                  <a:gd name="connsiteY55" fmla="*/ 171259 h 238315"/>
                  <a:gd name="connsiteX56" fmla="*/ 1537335 w 3116866"/>
                  <a:gd name="connsiteY56" fmla="*/ 177736 h 238315"/>
                  <a:gd name="connsiteX57" fmla="*/ 1554194 w 3116866"/>
                  <a:gd name="connsiteY57" fmla="*/ 177736 h 238315"/>
                  <a:gd name="connsiteX58" fmla="*/ 1554194 w 3116866"/>
                  <a:gd name="connsiteY58" fmla="*/ 184118 h 238315"/>
                  <a:gd name="connsiteX59" fmla="*/ 1672018 w 3116866"/>
                  <a:gd name="connsiteY59" fmla="*/ 184118 h 238315"/>
                  <a:gd name="connsiteX60" fmla="*/ 1672018 w 3116866"/>
                  <a:gd name="connsiteY60" fmla="*/ 190595 h 238315"/>
                  <a:gd name="connsiteX61" fmla="*/ 1764506 w 3116866"/>
                  <a:gd name="connsiteY61" fmla="*/ 190595 h 238315"/>
                  <a:gd name="connsiteX62" fmla="*/ 1764506 w 3116866"/>
                  <a:gd name="connsiteY62" fmla="*/ 196977 h 238315"/>
                  <a:gd name="connsiteX63" fmla="*/ 1783461 w 3116866"/>
                  <a:gd name="connsiteY63" fmla="*/ 196977 h 238315"/>
                  <a:gd name="connsiteX64" fmla="*/ 1783461 w 3116866"/>
                  <a:gd name="connsiteY64" fmla="*/ 203454 h 238315"/>
                  <a:gd name="connsiteX65" fmla="*/ 2637282 w 3116866"/>
                  <a:gd name="connsiteY65" fmla="*/ 203454 h 238315"/>
                  <a:gd name="connsiteX66" fmla="*/ 2637282 w 3116866"/>
                  <a:gd name="connsiteY66" fmla="*/ 238315 h 238315"/>
                  <a:gd name="connsiteX67" fmla="*/ 3116866 w 3116866"/>
                  <a:gd name="connsiteY67" fmla="*/ 238315 h 238315"/>
                  <a:gd name="connsiteX0" fmla="*/ 0 w 3116866"/>
                  <a:gd name="connsiteY0" fmla="*/ 0 h 238315"/>
                  <a:gd name="connsiteX1" fmla="*/ 16764 w 3116866"/>
                  <a:gd name="connsiteY1" fmla="*/ 6001 h 238315"/>
                  <a:gd name="connsiteX2" fmla="*/ 20955 w 3116866"/>
                  <a:gd name="connsiteY2" fmla="*/ 12097 h 238315"/>
                  <a:gd name="connsiteX3" fmla="*/ 20955 w 3116866"/>
                  <a:gd name="connsiteY3" fmla="*/ 18193 h 238315"/>
                  <a:gd name="connsiteX4" fmla="*/ 94583 w 3116866"/>
                  <a:gd name="connsiteY4" fmla="*/ 18193 h 238315"/>
                  <a:gd name="connsiteX5" fmla="*/ 94583 w 3116866"/>
                  <a:gd name="connsiteY5" fmla="*/ 24193 h 238315"/>
                  <a:gd name="connsiteX6" fmla="*/ 115633 w 3116866"/>
                  <a:gd name="connsiteY6" fmla="*/ 24193 h 238315"/>
                  <a:gd name="connsiteX7" fmla="*/ 115633 w 3116866"/>
                  <a:gd name="connsiteY7" fmla="*/ 30289 h 238315"/>
                  <a:gd name="connsiteX8" fmla="*/ 121920 w 3116866"/>
                  <a:gd name="connsiteY8" fmla="*/ 30289 h 238315"/>
                  <a:gd name="connsiteX9" fmla="*/ 121920 w 3116866"/>
                  <a:gd name="connsiteY9" fmla="*/ 36385 h 238315"/>
                  <a:gd name="connsiteX10" fmla="*/ 164020 w 3116866"/>
                  <a:gd name="connsiteY10" fmla="*/ 36385 h 238315"/>
                  <a:gd name="connsiteX11" fmla="*/ 164020 w 3116866"/>
                  <a:gd name="connsiteY11" fmla="*/ 42386 h 238315"/>
                  <a:gd name="connsiteX12" fmla="*/ 178689 w 3116866"/>
                  <a:gd name="connsiteY12" fmla="*/ 42386 h 238315"/>
                  <a:gd name="connsiteX13" fmla="*/ 178689 w 3116866"/>
                  <a:gd name="connsiteY13" fmla="*/ 48482 h 238315"/>
                  <a:gd name="connsiteX14" fmla="*/ 208216 w 3116866"/>
                  <a:gd name="connsiteY14" fmla="*/ 48482 h 238315"/>
                  <a:gd name="connsiteX15" fmla="*/ 208216 w 3116866"/>
                  <a:gd name="connsiteY15" fmla="*/ 54578 h 238315"/>
                  <a:gd name="connsiteX16" fmla="*/ 210312 w 3116866"/>
                  <a:gd name="connsiteY16" fmla="*/ 54578 h 238315"/>
                  <a:gd name="connsiteX17" fmla="*/ 210312 w 3116866"/>
                  <a:gd name="connsiteY17" fmla="*/ 60579 h 238315"/>
                  <a:gd name="connsiteX18" fmla="*/ 233362 w 3116866"/>
                  <a:gd name="connsiteY18" fmla="*/ 60579 h 238315"/>
                  <a:gd name="connsiteX19" fmla="*/ 233362 w 3116866"/>
                  <a:gd name="connsiteY19" fmla="*/ 66675 h 238315"/>
                  <a:gd name="connsiteX20" fmla="*/ 246031 w 3116866"/>
                  <a:gd name="connsiteY20" fmla="*/ 66675 h 238315"/>
                  <a:gd name="connsiteX21" fmla="*/ 246031 w 3116866"/>
                  <a:gd name="connsiteY21" fmla="*/ 72771 h 238315"/>
                  <a:gd name="connsiteX22" fmla="*/ 281749 w 3116866"/>
                  <a:gd name="connsiteY22" fmla="*/ 72771 h 238315"/>
                  <a:gd name="connsiteX23" fmla="*/ 281749 w 3116866"/>
                  <a:gd name="connsiteY23" fmla="*/ 78867 h 238315"/>
                  <a:gd name="connsiteX24" fmla="*/ 397478 w 3116866"/>
                  <a:gd name="connsiteY24" fmla="*/ 78867 h 238315"/>
                  <a:gd name="connsiteX25" fmla="*/ 397478 w 3116866"/>
                  <a:gd name="connsiteY25" fmla="*/ 84868 h 238315"/>
                  <a:gd name="connsiteX26" fmla="*/ 435292 w 3116866"/>
                  <a:gd name="connsiteY26" fmla="*/ 84868 h 238315"/>
                  <a:gd name="connsiteX27" fmla="*/ 435292 w 3116866"/>
                  <a:gd name="connsiteY27" fmla="*/ 91059 h 238315"/>
                  <a:gd name="connsiteX28" fmla="*/ 487870 w 3116866"/>
                  <a:gd name="connsiteY28" fmla="*/ 91059 h 238315"/>
                  <a:gd name="connsiteX29" fmla="*/ 487870 w 3116866"/>
                  <a:gd name="connsiteY29" fmla="*/ 97155 h 238315"/>
                  <a:gd name="connsiteX30" fmla="*/ 506825 w 3116866"/>
                  <a:gd name="connsiteY30" fmla="*/ 97155 h 238315"/>
                  <a:gd name="connsiteX31" fmla="*/ 506825 w 3116866"/>
                  <a:gd name="connsiteY31" fmla="*/ 103251 h 238315"/>
                  <a:gd name="connsiteX32" fmla="*/ 517303 w 3116866"/>
                  <a:gd name="connsiteY32" fmla="*/ 103251 h 238315"/>
                  <a:gd name="connsiteX33" fmla="*/ 517303 w 3116866"/>
                  <a:gd name="connsiteY33" fmla="*/ 109442 h 238315"/>
                  <a:gd name="connsiteX34" fmla="*/ 551021 w 3116866"/>
                  <a:gd name="connsiteY34" fmla="*/ 109442 h 238315"/>
                  <a:gd name="connsiteX35" fmla="*/ 551021 w 3116866"/>
                  <a:gd name="connsiteY35" fmla="*/ 115538 h 238315"/>
                  <a:gd name="connsiteX36" fmla="*/ 557308 w 3116866"/>
                  <a:gd name="connsiteY36" fmla="*/ 115538 h 238315"/>
                  <a:gd name="connsiteX37" fmla="*/ 557308 w 3116866"/>
                  <a:gd name="connsiteY37" fmla="*/ 121634 h 238315"/>
                  <a:gd name="connsiteX38" fmla="*/ 571976 w 3116866"/>
                  <a:gd name="connsiteY38" fmla="*/ 121634 h 238315"/>
                  <a:gd name="connsiteX39" fmla="*/ 571976 w 3116866"/>
                  <a:gd name="connsiteY39" fmla="*/ 127730 h 238315"/>
                  <a:gd name="connsiteX40" fmla="*/ 584644 w 3116866"/>
                  <a:gd name="connsiteY40" fmla="*/ 127730 h 238315"/>
                  <a:gd name="connsiteX41" fmla="*/ 584644 w 3116866"/>
                  <a:gd name="connsiteY41" fmla="*/ 133921 h 238315"/>
                  <a:gd name="connsiteX42" fmla="*/ 609886 w 3116866"/>
                  <a:gd name="connsiteY42" fmla="*/ 133921 h 238315"/>
                  <a:gd name="connsiteX43" fmla="*/ 609886 w 3116866"/>
                  <a:gd name="connsiteY43" fmla="*/ 140017 h 238315"/>
                  <a:gd name="connsiteX44" fmla="*/ 839152 w 3116866"/>
                  <a:gd name="connsiteY44" fmla="*/ 140017 h 238315"/>
                  <a:gd name="connsiteX45" fmla="*/ 839152 w 3116866"/>
                  <a:gd name="connsiteY45" fmla="*/ 146209 h 238315"/>
                  <a:gd name="connsiteX46" fmla="*/ 952690 w 3116866"/>
                  <a:gd name="connsiteY46" fmla="*/ 146209 h 238315"/>
                  <a:gd name="connsiteX47" fmla="*/ 952690 w 3116866"/>
                  <a:gd name="connsiteY47" fmla="*/ 152400 h 238315"/>
                  <a:gd name="connsiteX48" fmla="*/ 1221867 w 3116866"/>
                  <a:gd name="connsiteY48" fmla="*/ 152400 h 238315"/>
                  <a:gd name="connsiteX49" fmla="*/ 1221867 w 3116866"/>
                  <a:gd name="connsiteY49" fmla="*/ 158686 h 238315"/>
                  <a:gd name="connsiteX50" fmla="*/ 1295495 w 3116866"/>
                  <a:gd name="connsiteY50" fmla="*/ 158686 h 238315"/>
                  <a:gd name="connsiteX51" fmla="*/ 1295495 w 3116866"/>
                  <a:gd name="connsiteY51" fmla="*/ 164973 h 238315"/>
                  <a:gd name="connsiteX52" fmla="*/ 1375410 w 3116866"/>
                  <a:gd name="connsiteY52" fmla="*/ 164973 h 238315"/>
                  <a:gd name="connsiteX53" fmla="*/ 1375410 w 3116866"/>
                  <a:gd name="connsiteY53" fmla="*/ 171259 h 238315"/>
                  <a:gd name="connsiteX54" fmla="*/ 1537335 w 3116866"/>
                  <a:gd name="connsiteY54" fmla="*/ 171259 h 238315"/>
                  <a:gd name="connsiteX55" fmla="*/ 1537335 w 3116866"/>
                  <a:gd name="connsiteY55" fmla="*/ 177736 h 238315"/>
                  <a:gd name="connsiteX56" fmla="*/ 1554194 w 3116866"/>
                  <a:gd name="connsiteY56" fmla="*/ 177736 h 238315"/>
                  <a:gd name="connsiteX57" fmla="*/ 1554194 w 3116866"/>
                  <a:gd name="connsiteY57" fmla="*/ 184118 h 238315"/>
                  <a:gd name="connsiteX58" fmla="*/ 1672018 w 3116866"/>
                  <a:gd name="connsiteY58" fmla="*/ 184118 h 238315"/>
                  <a:gd name="connsiteX59" fmla="*/ 1672018 w 3116866"/>
                  <a:gd name="connsiteY59" fmla="*/ 190595 h 238315"/>
                  <a:gd name="connsiteX60" fmla="*/ 1764506 w 3116866"/>
                  <a:gd name="connsiteY60" fmla="*/ 190595 h 238315"/>
                  <a:gd name="connsiteX61" fmla="*/ 1764506 w 3116866"/>
                  <a:gd name="connsiteY61" fmla="*/ 196977 h 238315"/>
                  <a:gd name="connsiteX62" fmla="*/ 1783461 w 3116866"/>
                  <a:gd name="connsiteY62" fmla="*/ 196977 h 238315"/>
                  <a:gd name="connsiteX63" fmla="*/ 1783461 w 3116866"/>
                  <a:gd name="connsiteY63" fmla="*/ 203454 h 238315"/>
                  <a:gd name="connsiteX64" fmla="*/ 2637282 w 3116866"/>
                  <a:gd name="connsiteY64" fmla="*/ 203454 h 238315"/>
                  <a:gd name="connsiteX65" fmla="*/ 2637282 w 3116866"/>
                  <a:gd name="connsiteY65" fmla="*/ 238315 h 238315"/>
                  <a:gd name="connsiteX66" fmla="*/ 3116866 w 3116866"/>
                  <a:gd name="connsiteY66" fmla="*/ 238315 h 238315"/>
                  <a:gd name="connsiteX0" fmla="*/ 0 w 3100102"/>
                  <a:gd name="connsiteY0" fmla="*/ 0 h 232314"/>
                  <a:gd name="connsiteX1" fmla="*/ 4191 w 3100102"/>
                  <a:gd name="connsiteY1" fmla="*/ 6096 h 232314"/>
                  <a:gd name="connsiteX2" fmla="*/ 4191 w 3100102"/>
                  <a:gd name="connsiteY2" fmla="*/ 12192 h 232314"/>
                  <a:gd name="connsiteX3" fmla="*/ 77819 w 3100102"/>
                  <a:gd name="connsiteY3" fmla="*/ 12192 h 232314"/>
                  <a:gd name="connsiteX4" fmla="*/ 77819 w 3100102"/>
                  <a:gd name="connsiteY4" fmla="*/ 18192 h 232314"/>
                  <a:gd name="connsiteX5" fmla="*/ 98869 w 3100102"/>
                  <a:gd name="connsiteY5" fmla="*/ 18192 h 232314"/>
                  <a:gd name="connsiteX6" fmla="*/ 98869 w 3100102"/>
                  <a:gd name="connsiteY6" fmla="*/ 24288 h 232314"/>
                  <a:gd name="connsiteX7" fmla="*/ 105156 w 3100102"/>
                  <a:gd name="connsiteY7" fmla="*/ 24288 h 232314"/>
                  <a:gd name="connsiteX8" fmla="*/ 105156 w 3100102"/>
                  <a:gd name="connsiteY8" fmla="*/ 30384 h 232314"/>
                  <a:gd name="connsiteX9" fmla="*/ 147256 w 3100102"/>
                  <a:gd name="connsiteY9" fmla="*/ 30384 h 232314"/>
                  <a:gd name="connsiteX10" fmla="*/ 147256 w 3100102"/>
                  <a:gd name="connsiteY10" fmla="*/ 36385 h 232314"/>
                  <a:gd name="connsiteX11" fmla="*/ 161925 w 3100102"/>
                  <a:gd name="connsiteY11" fmla="*/ 36385 h 232314"/>
                  <a:gd name="connsiteX12" fmla="*/ 161925 w 3100102"/>
                  <a:gd name="connsiteY12" fmla="*/ 42481 h 232314"/>
                  <a:gd name="connsiteX13" fmla="*/ 191452 w 3100102"/>
                  <a:gd name="connsiteY13" fmla="*/ 42481 h 232314"/>
                  <a:gd name="connsiteX14" fmla="*/ 191452 w 3100102"/>
                  <a:gd name="connsiteY14" fmla="*/ 48577 h 232314"/>
                  <a:gd name="connsiteX15" fmla="*/ 193548 w 3100102"/>
                  <a:gd name="connsiteY15" fmla="*/ 48577 h 232314"/>
                  <a:gd name="connsiteX16" fmla="*/ 193548 w 3100102"/>
                  <a:gd name="connsiteY16" fmla="*/ 54578 h 232314"/>
                  <a:gd name="connsiteX17" fmla="*/ 216598 w 3100102"/>
                  <a:gd name="connsiteY17" fmla="*/ 54578 h 232314"/>
                  <a:gd name="connsiteX18" fmla="*/ 216598 w 3100102"/>
                  <a:gd name="connsiteY18" fmla="*/ 60674 h 232314"/>
                  <a:gd name="connsiteX19" fmla="*/ 229267 w 3100102"/>
                  <a:gd name="connsiteY19" fmla="*/ 60674 h 232314"/>
                  <a:gd name="connsiteX20" fmla="*/ 229267 w 3100102"/>
                  <a:gd name="connsiteY20" fmla="*/ 66770 h 232314"/>
                  <a:gd name="connsiteX21" fmla="*/ 264985 w 3100102"/>
                  <a:gd name="connsiteY21" fmla="*/ 66770 h 232314"/>
                  <a:gd name="connsiteX22" fmla="*/ 264985 w 3100102"/>
                  <a:gd name="connsiteY22" fmla="*/ 72866 h 232314"/>
                  <a:gd name="connsiteX23" fmla="*/ 380714 w 3100102"/>
                  <a:gd name="connsiteY23" fmla="*/ 72866 h 232314"/>
                  <a:gd name="connsiteX24" fmla="*/ 380714 w 3100102"/>
                  <a:gd name="connsiteY24" fmla="*/ 78867 h 232314"/>
                  <a:gd name="connsiteX25" fmla="*/ 418528 w 3100102"/>
                  <a:gd name="connsiteY25" fmla="*/ 78867 h 232314"/>
                  <a:gd name="connsiteX26" fmla="*/ 418528 w 3100102"/>
                  <a:gd name="connsiteY26" fmla="*/ 85058 h 232314"/>
                  <a:gd name="connsiteX27" fmla="*/ 471106 w 3100102"/>
                  <a:gd name="connsiteY27" fmla="*/ 85058 h 232314"/>
                  <a:gd name="connsiteX28" fmla="*/ 471106 w 3100102"/>
                  <a:gd name="connsiteY28" fmla="*/ 91154 h 232314"/>
                  <a:gd name="connsiteX29" fmla="*/ 490061 w 3100102"/>
                  <a:gd name="connsiteY29" fmla="*/ 91154 h 232314"/>
                  <a:gd name="connsiteX30" fmla="*/ 490061 w 3100102"/>
                  <a:gd name="connsiteY30" fmla="*/ 97250 h 232314"/>
                  <a:gd name="connsiteX31" fmla="*/ 500539 w 3100102"/>
                  <a:gd name="connsiteY31" fmla="*/ 97250 h 232314"/>
                  <a:gd name="connsiteX32" fmla="*/ 500539 w 3100102"/>
                  <a:gd name="connsiteY32" fmla="*/ 103441 h 232314"/>
                  <a:gd name="connsiteX33" fmla="*/ 534257 w 3100102"/>
                  <a:gd name="connsiteY33" fmla="*/ 103441 h 232314"/>
                  <a:gd name="connsiteX34" fmla="*/ 534257 w 3100102"/>
                  <a:gd name="connsiteY34" fmla="*/ 109537 h 232314"/>
                  <a:gd name="connsiteX35" fmla="*/ 540544 w 3100102"/>
                  <a:gd name="connsiteY35" fmla="*/ 109537 h 232314"/>
                  <a:gd name="connsiteX36" fmla="*/ 540544 w 3100102"/>
                  <a:gd name="connsiteY36" fmla="*/ 115633 h 232314"/>
                  <a:gd name="connsiteX37" fmla="*/ 555212 w 3100102"/>
                  <a:gd name="connsiteY37" fmla="*/ 115633 h 232314"/>
                  <a:gd name="connsiteX38" fmla="*/ 555212 w 3100102"/>
                  <a:gd name="connsiteY38" fmla="*/ 121729 h 232314"/>
                  <a:gd name="connsiteX39" fmla="*/ 567880 w 3100102"/>
                  <a:gd name="connsiteY39" fmla="*/ 121729 h 232314"/>
                  <a:gd name="connsiteX40" fmla="*/ 567880 w 3100102"/>
                  <a:gd name="connsiteY40" fmla="*/ 127920 h 232314"/>
                  <a:gd name="connsiteX41" fmla="*/ 593122 w 3100102"/>
                  <a:gd name="connsiteY41" fmla="*/ 127920 h 232314"/>
                  <a:gd name="connsiteX42" fmla="*/ 593122 w 3100102"/>
                  <a:gd name="connsiteY42" fmla="*/ 134016 h 232314"/>
                  <a:gd name="connsiteX43" fmla="*/ 822388 w 3100102"/>
                  <a:gd name="connsiteY43" fmla="*/ 134016 h 232314"/>
                  <a:gd name="connsiteX44" fmla="*/ 822388 w 3100102"/>
                  <a:gd name="connsiteY44" fmla="*/ 140208 h 232314"/>
                  <a:gd name="connsiteX45" fmla="*/ 935926 w 3100102"/>
                  <a:gd name="connsiteY45" fmla="*/ 140208 h 232314"/>
                  <a:gd name="connsiteX46" fmla="*/ 935926 w 3100102"/>
                  <a:gd name="connsiteY46" fmla="*/ 146399 h 232314"/>
                  <a:gd name="connsiteX47" fmla="*/ 1205103 w 3100102"/>
                  <a:gd name="connsiteY47" fmla="*/ 146399 h 232314"/>
                  <a:gd name="connsiteX48" fmla="*/ 1205103 w 3100102"/>
                  <a:gd name="connsiteY48" fmla="*/ 152685 h 232314"/>
                  <a:gd name="connsiteX49" fmla="*/ 1278731 w 3100102"/>
                  <a:gd name="connsiteY49" fmla="*/ 152685 h 232314"/>
                  <a:gd name="connsiteX50" fmla="*/ 1278731 w 3100102"/>
                  <a:gd name="connsiteY50" fmla="*/ 158972 h 232314"/>
                  <a:gd name="connsiteX51" fmla="*/ 1358646 w 3100102"/>
                  <a:gd name="connsiteY51" fmla="*/ 158972 h 232314"/>
                  <a:gd name="connsiteX52" fmla="*/ 1358646 w 3100102"/>
                  <a:gd name="connsiteY52" fmla="*/ 165258 h 232314"/>
                  <a:gd name="connsiteX53" fmla="*/ 1520571 w 3100102"/>
                  <a:gd name="connsiteY53" fmla="*/ 165258 h 232314"/>
                  <a:gd name="connsiteX54" fmla="*/ 1520571 w 3100102"/>
                  <a:gd name="connsiteY54" fmla="*/ 171735 h 232314"/>
                  <a:gd name="connsiteX55" fmla="*/ 1537430 w 3100102"/>
                  <a:gd name="connsiteY55" fmla="*/ 171735 h 232314"/>
                  <a:gd name="connsiteX56" fmla="*/ 1537430 w 3100102"/>
                  <a:gd name="connsiteY56" fmla="*/ 178117 h 232314"/>
                  <a:gd name="connsiteX57" fmla="*/ 1655254 w 3100102"/>
                  <a:gd name="connsiteY57" fmla="*/ 178117 h 232314"/>
                  <a:gd name="connsiteX58" fmla="*/ 1655254 w 3100102"/>
                  <a:gd name="connsiteY58" fmla="*/ 184594 h 232314"/>
                  <a:gd name="connsiteX59" fmla="*/ 1747742 w 3100102"/>
                  <a:gd name="connsiteY59" fmla="*/ 184594 h 232314"/>
                  <a:gd name="connsiteX60" fmla="*/ 1747742 w 3100102"/>
                  <a:gd name="connsiteY60" fmla="*/ 190976 h 232314"/>
                  <a:gd name="connsiteX61" fmla="*/ 1766697 w 3100102"/>
                  <a:gd name="connsiteY61" fmla="*/ 190976 h 232314"/>
                  <a:gd name="connsiteX62" fmla="*/ 1766697 w 3100102"/>
                  <a:gd name="connsiteY62" fmla="*/ 197453 h 232314"/>
                  <a:gd name="connsiteX63" fmla="*/ 2620518 w 3100102"/>
                  <a:gd name="connsiteY63" fmla="*/ 197453 h 232314"/>
                  <a:gd name="connsiteX64" fmla="*/ 2620518 w 3100102"/>
                  <a:gd name="connsiteY64" fmla="*/ 232314 h 232314"/>
                  <a:gd name="connsiteX65" fmla="*/ 3100102 w 3100102"/>
                  <a:gd name="connsiteY65" fmla="*/ 232314 h 232314"/>
                  <a:gd name="connsiteX0" fmla="*/ 0 w 3100102"/>
                  <a:gd name="connsiteY0" fmla="*/ 0 h 232314"/>
                  <a:gd name="connsiteX1" fmla="*/ 4191 w 3100102"/>
                  <a:gd name="connsiteY1" fmla="*/ 12192 h 232314"/>
                  <a:gd name="connsiteX2" fmla="*/ 77819 w 3100102"/>
                  <a:gd name="connsiteY2" fmla="*/ 12192 h 232314"/>
                  <a:gd name="connsiteX3" fmla="*/ 77819 w 3100102"/>
                  <a:gd name="connsiteY3" fmla="*/ 18192 h 232314"/>
                  <a:gd name="connsiteX4" fmla="*/ 98869 w 3100102"/>
                  <a:gd name="connsiteY4" fmla="*/ 18192 h 232314"/>
                  <a:gd name="connsiteX5" fmla="*/ 98869 w 3100102"/>
                  <a:gd name="connsiteY5" fmla="*/ 24288 h 232314"/>
                  <a:gd name="connsiteX6" fmla="*/ 105156 w 3100102"/>
                  <a:gd name="connsiteY6" fmla="*/ 24288 h 232314"/>
                  <a:gd name="connsiteX7" fmla="*/ 105156 w 3100102"/>
                  <a:gd name="connsiteY7" fmla="*/ 30384 h 232314"/>
                  <a:gd name="connsiteX8" fmla="*/ 147256 w 3100102"/>
                  <a:gd name="connsiteY8" fmla="*/ 30384 h 232314"/>
                  <a:gd name="connsiteX9" fmla="*/ 147256 w 3100102"/>
                  <a:gd name="connsiteY9" fmla="*/ 36385 h 232314"/>
                  <a:gd name="connsiteX10" fmla="*/ 161925 w 3100102"/>
                  <a:gd name="connsiteY10" fmla="*/ 36385 h 232314"/>
                  <a:gd name="connsiteX11" fmla="*/ 161925 w 3100102"/>
                  <a:gd name="connsiteY11" fmla="*/ 42481 h 232314"/>
                  <a:gd name="connsiteX12" fmla="*/ 191452 w 3100102"/>
                  <a:gd name="connsiteY12" fmla="*/ 42481 h 232314"/>
                  <a:gd name="connsiteX13" fmla="*/ 191452 w 3100102"/>
                  <a:gd name="connsiteY13" fmla="*/ 48577 h 232314"/>
                  <a:gd name="connsiteX14" fmla="*/ 193548 w 3100102"/>
                  <a:gd name="connsiteY14" fmla="*/ 48577 h 232314"/>
                  <a:gd name="connsiteX15" fmla="*/ 193548 w 3100102"/>
                  <a:gd name="connsiteY15" fmla="*/ 54578 h 232314"/>
                  <a:gd name="connsiteX16" fmla="*/ 216598 w 3100102"/>
                  <a:gd name="connsiteY16" fmla="*/ 54578 h 232314"/>
                  <a:gd name="connsiteX17" fmla="*/ 216598 w 3100102"/>
                  <a:gd name="connsiteY17" fmla="*/ 60674 h 232314"/>
                  <a:gd name="connsiteX18" fmla="*/ 229267 w 3100102"/>
                  <a:gd name="connsiteY18" fmla="*/ 60674 h 232314"/>
                  <a:gd name="connsiteX19" fmla="*/ 229267 w 3100102"/>
                  <a:gd name="connsiteY19" fmla="*/ 66770 h 232314"/>
                  <a:gd name="connsiteX20" fmla="*/ 264985 w 3100102"/>
                  <a:gd name="connsiteY20" fmla="*/ 66770 h 232314"/>
                  <a:gd name="connsiteX21" fmla="*/ 264985 w 3100102"/>
                  <a:gd name="connsiteY21" fmla="*/ 72866 h 232314"/>
                  <a:gd name="connsiteX22" fmla="*/ 380714 w 3100102"/>
                  <a:gd name="connsiteY22" fmla="*/ 72866 h 232314"/>
                  <a:gd name="connsiteX23" fmla="*/ 380714 w 3100102"/>
                  <a:gd name="connsiteY23" fmla="*/ 78867 h 232314"/>
                  <a:gd name="connsiteX24" fmla="*/ 418528 w 3100102"/>
                  <a:gd name="connsiteY24" fmla="*/ 78867 h 232314"/>
                  <a:gd name="connsiteX25" fmla="*/ 418528 w 3100102"/>
                  <a:gd name="connsiteY25" fmla="*/ 85058 h 232314"/>
                  <a:gd name="connsiteX26" fmla="*/ 471106 w 3100102"/>
                  <a:gd name="connsiteY26" fmla="*/ 85058 h 232314"/>
                  <a:gd name="connsiteX27" fmla="*/ 471106 w 3100102"/>
                  <a:gd name="connsiteY27" fmla="*/ 91154 h 232314"/>
                  <a:gd name="connsiteX28" fmla="*/ 490061 w 3100102"/>
                  <a:gd name="connsiteY28" fmla="*/ 91154 h 232314"/>
                  <a:gd name="connsiteX29" fmla="*/ 490061 w 3100102"/>
                  <a:gd name="connsiteY29" fmla="*/ 97250 h 232314"/>
                  <a:gd name="connsiteX30" fmla="*/ 500539 w 3100102"/>
                  <a:gd name="connsiteY30" fmla="*/ 97250 h 232314"/>
                  <a:gd name="connsiteX31" fmla="*/ 500539 w 3100102"/>
                  <a:gd name="connsiteY31" fmla="*/ 103441 h 232314"/>
                  <a:gd name="connsiteX32" fmla="*/ 534257 w 3100102"/>
                  <a:gd name="connsiteY32" fmla="*/ 103441 h 232314"/>
                  <a:gd name="connsiteX33" fmla="*/ 534257 w 3100102"/>
                  <a:gd name="connsiteY33" fmla="*/ 109537 h 232314"/>
                  <a:gd name="connsiteX34" fmla="*/ 540544 w 3100102"/>
                  <a:gd name="connsiteY34" fmla="*/ 109537 h 232314"/>
                  <a:gd name="connsiteX35" fmla="*/ 540544 w 3100102"/>
                  <a:gd name="connsiteY35" fmla="*/ 115633 h 232314"/>
                  <a:gd name="connsiteX36" fmla="*/ 555212 w 3100102"/>
                  <a:gd name="connsiteY36" fmla="*/ 115633 h 232314"/>
                  <a:gd name="connsiteX37" fmla="*/ 555212 w 3100102"/>
                  <a:gd name="connsiteY37" fmla="*/ 121729 h 232314"/>
                  <a:gd name="connsiteX38" fmla="*/ 567880 w 3100102"/>
                  <a:gd name="connsiteY38" fmla="*/ 121729 h 232314"/>
                  <a:gd name="connsiteX39" fmla="*/ 567880 w 3100102"/>
                  <a:gd name="connsiteY39" fmla="*/ 127920 h 232314"/>
                  <a:gd name="connsiteX40" fmla="*/ 593122 w 3100102"/>
                  <a:gd name="connsiteY40" fmla="*/ 127920 h 232314"/>
                  <a:gd name="connsiteX41" fmla="*/ 593122 w 3100102"/>
                  <a:gd name="connsiteY41" fmla="*/ 134016 h 232314"/>
                  <a:gd name="connsiteX42" fmla="*/ 822388 w 3100102"/>
                  <a:gd name="connsiteY42" fmla="*/ 134016 h 232314"/>
                  <a:gd name="connsiteX43" fmla="*/ 822388 w 3100102"/>
                  <a:gd name="connsiteY43" fmla="*/ 140208 h 232314"/>
                  <a:gd name="connsiteX44" fmla="*/ 935926 w 3100102"/>
                  <a:gd name="connsiteY44" fmla="*/ 140208 h 232314"/>
                  <a:gd name="connsiteX45" fmla="*/ 935926 w 3100102"/>
                  <a:gd name="connsiteY45" fmla="*/ 146399 h 232314"/>
                  <a:gd name="connsiteX46" fmla="*/ 1205103 w 3100102"/>
                  <a:gd name="connsiteY46" fmla="*/ 146399 h 232314"/>
                  <a:gd name="connsiteX47" fmla="*/ 1205103 w 3100102"/>
                  <a:gd name="connsiteY47" fmla="*/ 152685 h 232314"/>
                  <a:gd name="connsiteX48" fmla="*/ 1278731 w 3100102"/>
                  <a:gd name="connsiteY48" fmla="*/ 152685 h 232314"/>
                  <a:gd name="connsiteX49" fmla="*/ 1278731 w 3100102"/>
                  <a:gd name="connsiteY49" fmla="*/ 158972 h 232314"/>
                  <a:gd name="connsiteX50" fmla="*/ 1358646 w 3100102"/>
                  <a:gd name="connsiteY50" fmla="*/ 158972 h 232314"/>
                  <a:gd name="connsiteX51" fmla="*/ 1358646 w 3100102"/>
                  <a:gd name="connsiteY51" fmla="*/ 165258 h 232314"/>
                  <a:gd name="connsiteX52" fmla="*/ 1520571 w 3100102"/>
                  <a:gd name="connsiteY52" fmla="*/ 165258 h 232314"/>
                  <a:gd name="connsiteX53" fmla="*/ 1520571 w 3100102"/>
                  <a:gd name="connsiteY53" fmla="*/ 171735 h 232314"/>
                  <a:gd name="connsiteX54" fmla="*/ 1537430 w 3100102"/>
                  <a:gd name="connsiteY54" fmla="*/ 171735 h 232314"/>
                  <a:gd name="connsiteX55" fmla="*/ 1537430 w 3100102"/>
                  <a:gd name="connsiteY55" fmla="*/ 178117 h 232314"/>
                  <a:gd name="connsiteX56" fmla="*/ 1655254 w 3100102"/>
                  <a:gd name="connsiteY56" fmla="*/ 178117 h 232314"/>
                  <a:gd name="connsiteX57" fmla="*/ 1655254 w 3100102"/>
                  <a:gd name="connsiteY57" fmla="*/ 184594 h 232314"/>
                  <a:gd name="connsiteX58" fmla="*/ 1747742 w 3100102"/>
                  <a:gd name="connsiteY58" fmla="*/ 184594 h 232314"/>
                  <a:gd name="connsiteX59" fmla="*/ 1747742 w 3100102"/>
                  <a:gd name="connsiteY59" fmla="*/ 190976 h 232314"/>
                  <a:gd name="connsiteX60" fmla="*/ 1766697 w 3100102"/>
                  <a:gd name="connsiteY60" fmla="*/ 190976 h 232314"/>
                  <a:gd name="connsiteX61" fmla="*/ 1766697 w 3100102"/>
                  <a:gd name="connsiteY61" fmla="*/ 197453 h 232314"/>
                  <a:gd name="connsiteX62" fmla="*/ 2620518 w 3100102"/>
                  <a:gd name="connsiteY62" fmla="*/ 197453 h 232314"/>
                  <a:gd name="connsiteX63" fmla="*/ 2620518 w 3100102"/>
                  <a:gd name="connsiteY63" fmla="*/ 232314 h 232314"/>
                  <a:gd name="connsiteX64" fmla="*/ 3100102 w 3100102"/>
                  <a:gd name="connsiteY64" fmla="*/ 232314 h 232314"/>
                  <a:gd name="connsiteX0" fmla="*/ 0 w 3095911"/>
                  <a:gd name="connsiteY0" fmla="*/ 0 h 220122"/>
                  <a:gd name="connsiteX1" fmla="*/ 73628 w 3095911"/>
                  <a:gd name="connsiteY1" fmla="*/ 0 h 220122"/>
                  <a:gd name="connsiteX2" fmla="*/ 73628 w 3095911"/>
                  <a:gd name="connsiteY2" fmla="*/ 6000 h 220122"/>
                  <a:gd name="connsiteX3" fmla="*/ 94678 w 3095911"/>
                  <a:gd name="connsiteY3" fmla="*/ 6000 h 220122"/>
                  <a:gd name="connsiteX4" fmla="*/ 94678 w 3095911"/>
                  <a:gd name="connsiteY4" fmla="*/ 12096 h 220122"/>
                  <a:gd name="connsiteX5" fmla="*/ 100965 w 3095911"/>
                  <a:gd name="connsiteY5" fmla="*/ 12096 h 220122"/>
                  <a:gd name="connsiteX6" fmla="*/ 100965 w 3095911"/>
                  <a:gd name="connsiteY6" fmla="*/ 18192 h 220122"/>
                  <a:gd name="connsiteX7" fmla="*/ 143065 w 3095911"/>
                  <a:gd name="connsiteY7" fmla="*/ 18192 h 220122"/>
                  <a:gd name="connsiteX8" fmla="*/ 143065 w 3095911"/>
                  <a:gd name="connsiteY8" fmla="*/ 24193 h 220122"/>
                  <a:gd name="connsiteX9" fmla="*/ 157734 w 3095911"/>
                  <a:gd name="connsiteY9" fmla="*/ 24193 h 220122"/>
                  <a:gd name="connsiteX10" fmla="*/ 157734 w 3095911"/>
                  <a:gd name="connsiteY10" fmla="*/ 30289 h 220122"/>
                  <a:gd name="connsiteX11" fmla="*/ 187261 w 3095911"/>
                  <a:gd name="connsiteY11" fmla="*/ 30289 h 220122"/>
                  <a:gd name="connsiteX12" fmla="*/ 187261 w 3095911"/>
                  <a:gd name="connsiteY12" fmla="*/ 36385 h 220122"/>
                  <a:gd name="connsiteX13" fmla="*/ 189357 w 3095911"/>
                  <a:gd name="connsiteY13" fmla="*/ 36385 h 220122"/>
                  <a:gd name="connsiteX14" fmla="*/ 189357 w 3095911"/>
                  <a:gd name="connsiteY14" fmla="*/ 42386 h 220122"/>
                  <a:gd name="connsiteX15" fmla="*/ 212407 w 3095911"/>
                  <a:gd name="connsiteY15" fmla="*/ 42386 h 220122"/>
                  <a:gd name="connsiteX16" fmla="*/ 212407 w 3095911"/>
                  <a:gd name="connsiteY16" fmla="*/ 48482 h 220122"/>
                  <a:gd name="connsiteX17" fmla="*/ 225076 w 3095911"/>
                  <a:gd name="connsiteY17" fmla="*/ 48482 h 220122"/>
                  <a:gd name="connsiteX18" fmla="*/ 225076 w 3095911"/>
                  <a:gd name="connsiteY18" fmla="*/ 54578 h 220122"/>
                  <a:gd name="connsiteX19" fmla="*/ 260794 w 3095911"/>
                  <a:gd name="connsiteY19" fmla="*/ 54578 h 220122"/>
                  <a:gd name="connsiteX20" fmla="*/ 260794 w 3095911"/>
                  <a:gd name="connsiteY20" fmla="*/ 60674 h 220122"/>
                  <a:gd name="connsiteX21" fmla="*/ 376523 w 3095911"/>
                  <a:gd name="connsiteY21" fmla="*/ 60674 h 220122"/>
                  <a:gd name="connsiteX22" fmla="*/ 376523 w 3095911"/>
                  <a:gd name="connsiteY22" fmla="*/ 66675 h 220122"/>
                  <a:gd name="connsiteX23" fmla="*/ 414337 w 3095911"/>
                  <a:gd name="connsiteY23" fmla="*/ 66675 h 220122"/>
                  <a:gd name="connsiteX24" fmla="*/ 414337 w 3095911"/>
                  <a:gd name="connsiteY24" fmla="*/ 72866 h 220122"/>
                  <a:gd name="connsiteX25" fmla="*/ 466915 w 3095911"/>
                  <a:gd name="connsiteY25" fmla="*/ 72866 h 220122"/>
                  <a:gd name="connsiteX26" fmla="*/ 466915 w 3095911"/>
                  <a:gd name="connsiteY26" fmla="*/ 78962 h 220122"/>
                  <a:gd name="connsiteX27" fmla="*/ 485870 w 3095911"/>
                  <a:gd name="connsiteY27" fmla="*/ 78962 h 220122"/>
                  <a:gd name="connsiteX28" fmla="*/ 485870 w 3095911"/>
                  <a:gd name="connsiteY28" fmla="*/ 85058 h 220122"/>
                  <a:gd name="connsiteX29" fmla="*/ 496348 w 3095911"/>
                  <a:gd name="connsiteY29" fmla="*/ 85058 h 220122"/>
                  <a:gd name="connsiteX30" fmla="*/ 496348 w 3095911"/>
                  <a:gd name="connsiteY30" fmla="*/ 91249 h 220122"/>
                  <a:gd name="connsiteX31" fmla="*/ 530066 w 3095911"/>
                  <a:gd name="connsiteY31" fmla="*/ 91249 h 220122"/>
                  <a:gd name="connsiteX32" fmla="*/ 530066 w 3095911"/>
                  <a:gd name="connsiteY32" fmla="*/ 97345 h 220122"/>
                  <a:gd name="connsiteX33" fmla="*/ 536353 w 3095911"/>
                  <a:gd name="connsiteY33" fmla="*/ 97345 h 220122"/>
                  <a:gd name="connsiteX34" fmla="*/ 536353 w 3095911"/>
                  <a:gd name="connsiteY34" fmla="*/ 103441 h 220122"/>
                  <a:gd name="connsiteX35" fmla="*/ 551021 w 3095911"/>
                  <a:gd name="connsiteY35" fmla="*/ 103441 h 220122"/>
                  <a:gd name="connsiteX36" fmla="*/ 551021 w 3095911"/>
                  <a:gd name="connsiteY36" fmla="*/ 109537 h 220122"/>
                  <a:gd name="connsiteX37" fmla="*/ 563689 w 3095911"/>
                  <a:gd name="connsiteY37" fmla="*/ 109537 h 220122"/>
                  <a:gd name="connsiteX38" fmla="*/ 563689 w 3095911"/>
                  <a:gd name="connsiteY38" fmla="*/ 115728 h 220122"/>
                  <a:gd name="connsiteX39" fmla="*/ 588931 w 3095911"/>
                  <a:gd name="connsiteY39" fmla="*/ 115728 h 220122"/>
                  <a:gd name="connsiteX40" fmla="*/ 588931 w 3095911"/>
                  <a:gd name="connsiteY40" fmla="*/ 121824 h 220122"/>
                  <a:gd name="connsiteX41" fmla="*/ 818197 w 3095911"/>
                  <a:gd name="connsiteY41" fmla="*/ 121824 h 220122"/>
                  <a:gd name="connsiteX42" fmla="*/ 818197 w 3095911"/>
                  <a:gd name="connsiteY42" fmla="*/ 128016 h 220122"/>
                  <a:gd name="connsiteX43" fmla="*/ 931735 w 3095911"/>
                  <a:gd name="connsiteY43" fmla="*/ 128016 h 220122"/>
                  <a:gd name="connsiteX44" fmla="*/ 931735 w 3095911"/>
                  <a:gd name="connsiteY44" fmla="*/ 134207 h 220122"/>
                  <a:gd name="connsiteX45" fmla="*/ 1200912 w 3095911"/>
                  <a:gd name="connsiteY45" fmla="*/ 134207 h 220122"/>
                  <a:gd name="connsiteX46" fmla="*/ 1200912 w 3095911"/>
                  <a:gd name="connsiteY46" fmla="*/ 140493 h 220122"/>
                  <a:gd name="connsiteX47" fmla="*/ 1274540 w 3095911"/>
                  <a:gd name="connsiteY47" fmla="*/ 140493 h 220122"/>
                  <a:gd name="connsiteX48" fmla="*/ 1274540 w 3095911"/>
                  <a:gd name="connsiteY48" fmla="*/ 146780 h 220122"/>
                  <a:gd name="connsiteX49" fmla="*/ 1354455 w 3095911"/>
                  <a:gd name="connsiteY49" fmla="*/ 146780 h 220122"/>
                  <a:gd name="connsiteX50" fmla="*/ 1354455 w 3095911"/>
                  <a:gd name="connsiteY50" fmla="*/ 153066 h 220122"/>
                  <a:gd name="connsiteX51" fmla="*/ 1516380 w 3095911"/>
                  <a:gd name="connsiteY51" fmla="*/ 153066 h 220122"/>
                  <a:gd name="connsiteX52" fmla="*/ 1516380 w 3095911"/>
                  <a:gd name="connsiteY52" fmla="*/ 159543 h 220122"/>
                  <a:gd name="connsiteX53" fmla="*/ 1533239 w 3095911"/>
                  <a:gd name="connsiteY53" fmla="*/ 159543 h 220122"/>
                  <a:gd name="connsiteX54" fmla="*/ 1533239 w 3095911"/>
                  <a:gd name="connsiteY54" fmla="*/ 165925 h 220122"/>
                  <a:gd name="connsiteX55" fmla="*/ 1651063 w 3095911"/>
                  <a:gd name="connsiteY55" fmla="*/ 165925 h 220122"/>
                  <a:gd name="connsiteX56" fmla="*/ 1651063 w 3095911"/>
                  <a:gd name="connsiteY56" fmla="*/ 172402 h 220122"/>
                  <a:gd name="connsiteX57" fmla="*/ 1743551 w 3095911"/>
                  <a:gd name="connsiteY57" fmla="*/ 172402 h 220122"/>
                  <a:gd name="connsiteX58" fmla="*/ 1743551 w 3095911"/>
                  <a:gd name="connsiteY58" fmla="*/ 178784 h 220122"/>
                  <a:gd name="connsiteX59" fmla="*/ 1762506 w 3095911"/>
                  <a:gd name="connsiteY59" fmla="*/ 178784 h 220122"/>
                  <a:gd name="connsiteX60" fmla="*/ 1762506 w 3095911"/>
                  <a:gd name="connsiteY60" fmla="*/ 185261 h 220122"/>
                  <a:gd name="connsiteX61" fmla="*/ 2616327 w 3095911"/>
                  <a:gd name="connsiteY61" fmla="*/ 185261 h 220122"/>
                  <a:gd name="connsiteX62" fmla="*/ 2616327 w 3095911"/>
                  <a:gd name="connsiteY62" fmla="*/ 220122 h 220122"/>
                  <a:gd name="connsiteX63" fmla="*/ 3095911 w 3095911"/>
                  <a:gd name="connsiteY63" fmla="*/ 220122 h 220122"/>
                  <a:gd name="connsiteX0" fmla="*/ 0 w 3022283"/>
                  <a:gd name="connsiteY0" fmla="*/ 0 h 220122"/>
                  <a:gd name="connsiteX1" fmla="*/ 0 w 3022283"/>
                  <a:gd name="connsiteY1" fmla="*/ 6000 h 220122"/>
                  <a:gd name="connsiteX2" fmla="*/ 21050 w 3022283"/>
                  <a:gd name="connsiteY2" fmla="*/ 6000 h 220122"/>
                  <a:gd name="connsiteX3" fmla="*/ 21050 w 3022283"/>
                  <a:gd name="connsiteY3" fmla="*/ 12096 h 220122"/>
                  <a:gd name="connsiteX4" fmla="*/ 27337 w 3022283"/>
                  <a:gd name="connsiteY4" fmla="*/ 12096 h 220122"/>
                  <a:gd name="connsiteX5" fmla="*/ 27337 w 3022283"/>
                  <a:gd name="connsiteY5" fmla="*/ 18192 h 220122"/>
                  <a:gd name="connsiteX6" fmla="*/ 69437 w 3022283"/>
                  <a:gd name="connsiteY6" fmla="*/ 18192 h 220122"/>
                  <a:gd name="connsiteX7" fmla="*/ 69437 w 3022283"/>
                  <a:gd name="connsiteY7" fmla="*/ 24193 h 220122"/>
                  <a:gd name="connsiteX8" fmla="*/ 84106 w 3022283"/>
                  <a:gd name="connsiteY8" fmla="*/ 24193 h 220122"/>
                  <a:gd name="connsiteX9" fmla="*/ 84106 w 3022283"/>
                  <a:gd name="connsiteY9" fmla="*/ 30289 h 220122"/>
                  <a:gd name="connsiteX10" fmla="*/ 113633 w 3022283"/>
                  <a:gd name="connsiteY10" fmla="*/ 30289 h 220122"/>
                  <a:gd name="connsiteX11" fmla="*/ 113633 w 3022283"/>
                  <a:gd name="connsiteY11" fmla="*/ 36385 h 220122"/>
                  <a:gd name="connsiteX12" fmla="*/ 115729 w 3022283"/>
                  <a:gd name="connsiteY12" fmla="*/ 36385 h 220122"/>
                  <a:gd name="connsiteX13" fmla="*/ 115729 w 3022283"/>
                  <a:gd name="connsiteY13" fmla="*/ 42386 h 220122"/>
                  <a:gd name="connsiteX14" fmla="*/ 138779 w 3022283"/>
                  <a:gd name="connsiteY14" fmla="*/ 42386 h 220122"/>
                  <a:gd name="connsiteX15" fmla="*/ 138779 w 3022283"/>
                  <a:gd name="connsiteY15" fmla="*/ 48482 h 220122"/>
                  <a:gd name="connsiteX16" fmla="*/ 151448 w 3022283"/>
                  <a:gd name="connsiteY16" fmla="*/ 48482 h 220122"/>
                  <a:gd name="connsiteX17" fmla="*/ 151448 w 3022283"/>
                  <a:gd name="connsiteY17" fmla="*/ 54578 h 220122"/>
                  <a:gd name="connsiteX18" fmla="*/ 187166 w 3022283"/>
                  <a:gd name="connsiteY18" fmla="*/ 54578 h 220122"/>
                  <a:gd name="connsiteX19" fmla="*/ 187166 w 3022283"/>
                  <a:gd name="connsiteY19" fmla="*/ 60674 h 220122"/>
                  <a:gd name="connsiteX20" fmla="*/ 302895 w 3022283"/>
                  <a:gd name="connsiteY20" fmla="*/ 60674 h 220122"/>
                  <a:gd name="connsiteX21" fmla="*/ 302895 w 3022283"/>
                  <a:gd name="connsiteY21" fmla="*/ 66675 h 220122"/>
                  <a:gd name="connsiteX22" fmla="*/ 340709 w 3022283"/>
                  <a:gd name="connsiteY22" fmla="*/ 66675 h 220122"/>
                  <a:gd name="connsiteX23" fmla="*/ 340709 w 3022283"/>
                  <a:gd name="connsiteY23" fmla="*/ 72866 h 220122"/>
                  <a:gd name="connsiteX24" fmla="*/ 393287 w 3022283"/>
                  <a:gd name="connsiteY24" fmla="*/ 72866 h 220122"/>
                  <a:gd name="connsiteX25" fmla="*/ 393287 w 3022283"/>
                  <a:gd name="connsiteY25" fmla="*/ 78962 h 220122"/>
                  <a:gd name="connsiteX26" fmla="*/ 412242 w 3022283"/>
                  <a:gd name="connsiteY26" fmla="*/ 78962 h 220122"/>
                  <a:gd name="connsiteX27" fmla="*/ 412242 w 3022283"/>
                  <a:gd name="connsiteY27" fmla="*/ 85058 h 220122"/>
                  <a:gd name="connsiteX28" fmla="*/ 422720 w 3022283"/>
                  <a:gd name="connsiteY28" fmla="*/ 85058 h 220122"/>
                  <a:gd name="connsiteX29" fmla="*/ 422720 w 3022283"/>
                  <a:gd name="connsiteY29" fmla="*/ 91249 h 220122"/>
                  <a:gd name="connsiteX30" fmla="*/ 456438 w 3022283"/>
                  <a:gd name="connsiteY30" fmla="*/ 91249 h 220122"/>
                  <a:gd name="connsiteX31" fmla="*/ 456438 w 3022283"/>
                  <a:gd name="connsiteY31" fmla="*/ 97345 h 220122"/>
                  <a:gd name="connsiteX32" fmla="*/ 462725 w 3022283"/>
                  <a:gd name="connsiteY32" fmla="*/ 97345 h 220122"/>
                  <a:gd name="connsiteX33" fmla="*/ 462725 w 3022283"/>
                  <a:gd name="connsiteY33" fmla="*/ 103441 h 220122"/>
                  <a:gd name="connsiteX34" fmla="*/ 477393 w 3022283"/>
                  <a:gd name="connsiteY34" fmla="*/ 103441 h 220122"/>
                  <a:gd name="connsiteX35" fmla="*/ 477393 w 3022283"/>
                  <a:gd name="connsiteY35" fmla="*/ 109537 h 220122"/>
                  <a:gd name="connsiteX36" fmla="*/ 490061 w 3022283"/>
                  <a:gd name="connsiteY36" fmla="*/ 109537 h 220122"/>
                  <a:gd name="connsiteX37" fmla="*/ 490061 w 3022283"/>
                  <a:gd name="connsiteY37" fmla="*/ 115728 h 220122"/>
                  <a:gd name="connsiteX38" fmla="*/ 515303 w 3022283"/>
                  <a:gd name="connsiteY38" fmla="*/ 115728 h 220122"/>
                  <a:gd name="connsiteX39" fmla="*/ 515303 w 3022283"/>
                  <a:gd name="connsiteY39" fmla="*/ 121824 h 220122"/>
                  <a:gd name="connsiteX40" fmla="*/ 744569 w 3022283"/>
                  <a:gd name="connsiteY40" fmla="*/ 121824 h 220122"/>
                  <a:gd name="connsiteX41" fmla="*/ 744569 w 3022283"/>
                  <a:gd name="connsiteY41" fmla="*/ 128016 h 220122"/>
                  <a:gd name="connsiteX42" fmla="*/ 858107 w 3022283"/>
                  <a:gd name="connsiteY42" fmla="*/ 128016 h 220122"/>
                  <a:gd name="connsiteX43" fmla="*/ 858107 w 3022283"/>
                  <a:gd name="connsiteY43" fmla="*/ 134207 h 220122"/>
                  <a:gd name="connsiteX44" fmla="*/ 1127284 w 3022283"/>
                  <a:gd name="connsiteY44" fmla="*/ 134207 h 220122"/>
                  <a:gd name="connsiteX45" fmla="*/ 1127284 w 3022283"/>
                  <a:gd name="connsiteY45" fmla="*/ 140493 h 220122"/>
                  <a:gd name="connsiteX46" fmla="*/ 1200912 w 3022283"/>
                  <a:gd name="connsiteY46" fmla="*/ 140493 h 220122"/>
                  <a:gd name="connsiteX47" fmla="*/ 1200912 w 3022283"/>
                  <a:gd name="connsiteY47" fmla="*/ 146780 h 220122"/>
                  <a:gd name="connsiteX48" fmla="*/ 1280827 w 3022283"/>
                  <a:gd name="connsiteY48" fmla="*/ 146780 h 220122"/>
                  <a:gd name="connsiteX49" fmla="*/ 1280827 w 3022283"/>
                  <a:gd name="connsiteY49" fmla="*/ 153066 h 220122"/>
                  <a:gd name="connsiteX50" fmla="*/ 1442752 w 3022283"/>
                  <a:gd name="connsiteY50" fmla="*/ 153066 h 220122"/>
                  <a:gd name="connsiteX51" fmla="*/ 1442752 w 3022283"/>
                  <a:gd name="connsiteY51" fmla="*/ 159543 h 220122"/>
                  <a:gd name="connsiteX52" fmla="*/ 1459611 w 3022283"/>
                  <a:gd name="connsiteY52" fmla="*/ 159543 h 220122"/>
                  <a:gd name="connsiteX53" fmla="*/ 1459611 w 3022283"/>
                  <a:gd name="connsiteY53" fmla="*/ 165925 h 220122"/>
                  <a:gd name="connsiteX54" fmla="*/ 1577435 w 3022283"/>
                  <a:gd name="connsiteY54" fmla="*/ 165925 h 220122"/>
                  <a:gd name="connsiteX55" fmla="*/ 1577435 w 3022283"/>
                  <a:gd name="connsiteY55" fmla="*/ 172402 h 220122"/>
                  <a:gd name="connsiteX56" fmla="*/ 1669923 w 3022283"/>
                  <a:gd name="connsiteY56" fmla="*/ 172402 h 220122"/>
                  <a:gd name="connsiteX57" fmla="*/ 1669923 w 3022283"/>
                  <a:gd name="connsiteY57" fmla="*/ 178784 h 220122"/>
                  <a:gd name="connsiteX58" fmla="*/ 1688878 w 3022283"/>
                  <a:gd name="connsiteY58" fmla="*/ 178784 h 220122"/>
                  <a:gd name="connsiteX59" fmla="*/ 1688878 w 3022283"/>
                  <a:gd name="connsiteY59" fmla="*/ 185261 h 220122"/>
                  <a:gd name="connsiteX60" fmla="*/ 2542699 w 3022283"/>
                  <a:gd name="connsiteY60" fmla="*/ 185261 h 220122"/>
                  <a:gd name="connsiteX61" fmla="*/ 2542699 w 3022283"/>
                  <a:gd name="connsiteY61" fmla="*/ 220122 h 220122"/>
                  <a:gd name="connsiteX62" fmla="*/ 3022283 w 3022283"/>
                  <a:gd name="connsiteY62" fmla="*/ 220122 h 220122"/>
                  <a:gd name="connsiteX0" fmla="*/ 0 w 3022283"/>
                  <a:gd name="connsiteY0" fmla="*/ 0 h 214122"/>
                  <a:gd name="connsiteX1" fmla="*/ 21050 w 3022283"/>
                  <a:gd name="connsiteY1" fmla="*/ 0 h 214122"/>
                  <a:gd name="connsiteX2" fmla="*/ 21050 w 3022283"/>
                  <a:gd name="connsiteY2" fmla="*/ 6096 h 214122"/>
                  <a:gd name="connsiteX3" fmla="*/ 27337 w 3022283"/>
                  <a:gd name="connsiteY3" fmla="*/ 6096 h 214122"/>
                  <a:gd name="connsiteX4" fmla="*/ 27337 w 3022283"/>
                  <a:gd name="connsiteY4" fmla="*/ 12192 h 214122"/>
                  <a:gd name="connsiteX5" fmla="*/ 69437 w 3022283"/>
                  <a:gd name="connsiteY5" fmla="*/ 12192 h 214122"/>
                  <a:gd name="connsiteX6" fmla="*/ 69437 w 3022283"/>
                  <a:gd name="connsiteY6" fmla="*/ 18193 h 214122"/>
                  <a:gd name="connsiteX7" fmla="*/ 84106 w 3022283"/>
                  <a:gd name="connsiteY7" fmla="*/ 18193 h 214122"/>
                  <a:gd name="connsiteX8" fmla="*/ 84106 w 3022283"/>
                  <a:gd name="connsiteY8" fmla="*/ 24289 h 214122"/>
                  <a:gd name="connsiteX9" fmla="*/ 113633 w 3022283"/>
                  <a:gd name="connsiteY9" fmla="*/ 24289 h 214122"/>
                  <a:gd name="connsiteX10" fmla="*/ 113633 w 3022283"/>
                  <a:gd name="connsiteY10" fmla="*/ 30385 h 214122"/>
                  <a:gd name="connsiteX11" fmla="*/ 115729 w 3022283"/>
                  <a:gd name="connsiteY11" fmla="*/ 30385 h 214122"/>
                  <a:gd name="connsiteX12" fmla="*/ 115729 w 3022283"/>
                  <a:gd name="connsiteY12" fmla="*/ 36386 h 214122"/>
                  <a:gd name="connsiteX13" fmla="*/ 138779 w 3022283"/>
                  <a:gd name="connsiteY13" fmla="*/ 36386 h 214122"/>
                  <a:gd name="connsiteX14" fmla="*/ 138779 w 3022283"/>
                  <a:gd name="connsiteY14" fmla="*/ 42482 h 214122"/>
                  <a:gd name="connsiteX15" fmla="*/ 151448 w 3022283"/>
                  <a:gd name="connsiteY15" fmla="*/ 42482 h 214122"/>
                  <a:gd name="connsiteX16" fmla="*/ 151448 w 3022283"/>
                  <a:gd name="connsiteY16" fmla="*/ 48578 h 214122"/>
                  <a:gd name="connsiteX17" fmla="*/ 187166 w 3022283"/>
                  <a:gd name="connsiteY17" fmla="*/ 48578 h 214122"/>
                  <a:gd name="connsiteX18" fmla="*/ 187166 w 3022283"/>
                  <a:gd name="connsiteY18" fmla="*/ 54674 h 214122"/>
                  <a:gd name="connsiteX19" fmla="*/ 302895 w 3022283"/>
                  <a:gd name="connsiteY19" fmla="*/ 54674 h 214122"/>
                  <a:gd name="connsiteX20" fmla="*/ 302895 w 3022283"/>
                  <a:gd name="connsiteY20" fmla="*/ 60675 h 214122"/>
                  <a:gd name="connsiteX21" fmla="*/ 340709 w 3022283"/>
                  <a:gd name="connsiteY21" fmla="*/ 60675 h 214122"/>
                  <a:gd name="connsiteX22" fmla="*/ 340709 w 3022283"/>
                  <a:gd name="connsiteY22" fmla="*/ 66866 h 214122"/>
                  <a:gd name="connsiteX23" fmla="*/ 393287 w 3022283"/>
                  <a:gd name="connsiteY23" fmla="*/ 66866 h 214122"/>
                  <a:gd name="connsiteX24" fmla="*/ 393287 w 3022283"/>
                  <a:gd name="connsiteY24" fmla="*/ 72962 h 214122"/>
                  <a:gd name="connsiteX25" fmla="*/ 412242 w 3022283"/>
                  <a:gd name="connsiteY25" fmla="*/ 72962 h 214122"/>
                  <a:gd name="connsiteX26" fmla="*/ 412242 w 3022283"/>
                  <a:gd name="connsiteY26" fmla="*/ 79058 h 214122"/>
                  <a:gd name="connsiteX27" fmla="*/ 422720 w 3022283"/>
                  <a:gd name="connsiteY27" fmla="*/ 79058 h 214122"/>
                  <a:gd name="connsiteX28" fmla="*/ 422720 w 3022283"/>
                  <a:gd name="connsiteY28" fmla="*/ 85249 h 214122"/>
                  <a:gd name="connsiteX29" fmla="*/ 456438 w 3022283"/>
                  <a:gd name="connsiteY29" fmla="*/ 85249 h 214122"/>
                  <a:gd name="connsiteX30" fmla="*/ 456438 w 3022283"/>
                  <a:gd name="connsiteY30" fmla="*/ 91345 h 214122"/>
                  <a:gd name="connsiteX31" fmla="*/ 462725 w 3022283"/>
                  <a:gd name="connsiteY31" fmla="*/ 91345 h 214122"/>
                  <a:gd name="connsiteX32" fmla="*/ 462725 w 3022283"/>
                  <a:gd name="connsiteY32" fmla="*/ 97441 h 214122"/>
                  <a:gd name="connsiteX33" fmla="*/ 477393 w 3022283"/>
                  <a:gd name="connsiteY33" fmla="*/ 97441 h 214122"/>
                  <a:gd name="connsiteX34" fmla="*/ 477393 w 3022283"/>
                  <a:gd name="connsiteY34" fmla="*/ 103537 h 214122"/>
                  <a:gd name="connsiteX35" fmla="*/ 490061 w 3022283"/>
                  <a:gd name="connsiteY35" fmla="*/ 103537 h 214122"/>
                  <a:gd name="connsiteX36" fmla="*/ 490061 w 3022283"/>
                  <a:gd name="connsiteY36" fmla="*/ 109728 h 214122"/>
                  <a:gd name="connsiteX37" fmla="*/ 515303 w 3022283"/>
                  <a:gd name="connsiteY37" fmla="*/ 109728 h 214122"/>
                  <a:gd name="connsiteX38" fmla="*/ 515303 w 3022283"/>
                  <a:gd name="connsiteY38" fmla="*/ 115824 h 214122"/>
                  <a:gd name="connsiteX39" fmla="*/ 744569 w 3022283"/>
                  <a:gd name="connsiteY39" fmla="*/ 115824 h 214122"/>
                  <a:gd name="connsiteX40" fmla="*/ 744569 w 3022283"/>
                  <a:gd name="connsiteY40" fmla="*/ 122016 h 214122"/>
                  <a:gd name="connsiteX41" fmla="*/ 858107 w 3022283"/>
                  <a:gd name="connsiteY41" fmla="*/ 122016 h 214122"/>
                  <a:gd name="connsiteX42" fmla="*/ 858107 w 3022283"/>
                  <a:gd name="connsiteY42" fmla="*/ 128207 h 214122"/>
                  <a:gd name="connsiteX43" fmla="*/ 1127284 w 3022283"/>
                  <a:gd name="connsiteY43" fmla="*/ 128207 h 214122"/>
                  <a:gd name="connsiteX44" fmla="*/ 1127284 w 3022283"/>
                  <a:gd name="connsiteY44" fmla="*/ 134493 h 214122"/>
                  <a:gd name="connsiteX45" fmla="*/ 1200912 w 3022283"/>
                  <a:gd name="connsiteY45" fmla="*/ 134493 h 214122"/>
                  <a:gd name="connsiteX46" fmla="*/ 1200912 w 3022283"/>
                  <a:gd name="connsiteY46" fmla="*/ 140780 h 214122"/>
                  <a:gd name="connsiteX47" fmla="*/ 1280827 w 3022283"/>
                  <a:gd name="connsiteY47" fmla="*/ 140780 h 214122"/>
                  <a:gd name="connsiteX48" fmla="*/ 1280827 w 3022283"/>
                  <a:gd name="connsiteY48" fmla="*/ 147066 h 214122"/>
                  <a:gd name="connsiteX49" fmla="*/ 1442752 w 3022283"/>
                  <a:gd name="connsiteY49" fmla="*/ 147066 h 214122"/>
                  <a:gd name="connsiteX50" fmla="*/ 1442752 w 3022283"/>
                  <a:gd name="connsiteY50" fmla="*/ 153543 h 214122"/>
                  <a:gd name="connsiteX51" fmla="*/ 1459611 w 3022283"/>
                  <a:gd name="connsiteY51" fmla="*/ 153543 h 214122"/>
                  <a:gd name="connsiteX52" fmla="*/ 1459611 w 3022283"/>
                  <a:gd name="connsiteY52" fmla="*/ 159925 h 214122"/>
                  <a:gd name="connsiteX53" fmla="*/ 1577435 w 3022283"/>
                  <a:gd name="connsiteY53" fmla="*/ 159925 h 214122"/>
                  <a:gd name="connsiteX54" fmla="*/ 1577435 w 3022283"/>
                  <a:gd name="connsiteY54" fmla="*/ 166402 h 214122"/>
                  <a:gd name="connsiteX55" fmla="*/ 1669923 w 3022283"/>
                  <a:gd name="connsiteY55" fmla="*/ 166402 h 214122"/>
                  <a:gd name="connsiteX56" fmla="*/ 1669923 w 3022283"/>
                  <a:gd name="connsiteY56" fmla="*/ 172784 h 214122"/>
                  <a:gd name="connsiteX57" fmla="*/ 1688878 w 3022283"/>
                  <a:gd name="connsiteY57" fmla="*/ 172784 h 214122"/>
                  <a:gd name="connsiteX58" fmla="*/ 1688878 w 3022283"/>
                  <a:gd name="connsiteY58" fmla="*/ 179261 h 214122"/>
                  <a:gd name="connsiteX59" fmla="*/ 2542699 w 3022283"/>
                  <a:gd name="connsiteY59" fmla="*/ 179261 h 214122"/>
                  <a:gd name="connsiteX60" fmla="*/ 2542699 w 3022283"/>
                  <a:gd name="connsiteY60" fmla="*/ 214122 h 214122"/>
                  <a:gd name="connsiteX61" fmla="*/ 3022283 w 3022283"/>
                  <a:gd name="connsiteY61" fmla="*/ 214122 h 214122"/>
                  <a:gd name="connsiteX0" fmla="*/ 0 w 3001233"/>
                  <a:gd name="connsiteY0" fmla="*/ 0 h 214122"/>
                  <a:gd name="connsiteX1" fmla="*/ 0 w 3001233"/>
                  <a:gd name="connsiteY1" fmla="*/ 6096 h 214122"/>
                  <a:gd name="connsiteX2" fmla="*/ 6287 w 3001233"/>
                  <a:gd name="connsiteY2" fmla="*/ 6096 h 214122"/>
                  <a:gd name="connsiteX3" fmla="*/ 6287 w 3001233"/>
                  <a:gd name="connsiteY3" fmla="*/ 12192 h 214122"/>
                  <a:gd name="connsiteX4" fmla="*/ 48387 w 3001233"/>
                  <a:gd name="connsiteY4" fmla="*/ 12192 h 214122"/>
                  <a:gd name="connsiteX5" fmla="*/ 48387 w 3001233"/>
                  <a:gd name="connsiteY5" fmla="*/ 18193 h 214122"/>
                  <a:gd name="connsiteX6" fmla="*/ 63056 w 3001233"/>
                  <a:gd name="connsiteY6" fmla="*/ 18193 h 214122"/>
                  <a:gd name="connsiteX7" fmla="*/ 63056 w 3001233"/>
                  <a:gd name="connsiteY7" fmla="*/ 24289 h 214122"/>
                  <a:gd name="connsiteX8" fmla="*/ 92583 w 3001233"/>
                  <a:gd name="connsiteY8" fmla="*/ 24289 h 214122"/>
                  <a:gd name="connsiteX9" fmla="*/ 92583 w 3001233"/>
                  <a:gd name="connsiteY9" fmla="*/ 30385 h 214122"/>
                  <a:gd name="connsiteX10" fmla="*/ 94679 w 3001233"/>
                  <a:gd name="connsiteY10" fmla="*/ 30385 h 214122"/>
                  <a:gd name="connsiteX11" fmla="*/ 94679 w 3001233"/>
                  <a:gd name="connsiteY11" fmla="*/ 36386 h 214122"/>
                  <a:gd name="connsiteX12" fmla="*/ 117729 w 3001233"/>
                  <a:gd name="connsiteY12" fmla="*/ 36386 h 214122"/>
                  <a:gd name="connsiteX13" fmla="*/ 117729 w 3001233"/>
                  <a:gd name="connsiteY13" fmla="*/ 42482 h 214122"/>
                  <a:gd name="connsiteX14" fmla="*/ 130398 w 3001233"/>
                  <a:gd name="connsiteY14" fmla="*/ 42482 h 214122"/>
                  <a:gd name="connsiteX15" fmla="*/ 130398 w 3001233"/>
                  <a:gd name="connsiteY15" fmla="*/ 48578 h 214122"/>
                  <a:gd name="connsiteX16" fmla="*/ 166116 w 3001233"/>
                  <a:gd name="connsiteY16" fmla="*/ 48578 h 214122"/>
                  <a:gd name="connsiteX17" fmla="*/ 166116 w 3001233"/>
                  <a:gd name="connsiteY17" fmla="*/ 54674 h 214122"/>
                  <a:gd name="connsiteX18" fmla="*/ 281845 w 3001233"/>
                  <a:gd name="connsiteY18" fmla="*/ 54674 h 214122"/>
                  <a:gd name="connsiteX19" fmla="*/ 281845 w 3001233"/>
                  <a:gd name="connsiteY19" fmla="*/ 60675 h 214122"/>
                  <a:gd name="connsiteX20" fmla="*/ 319659 w 3001233"/>
                  <a:gd name="connsiteY20" fmla="*/ 60675 h 214122"/>
                  <a:gd name="connsiteX21" fmla="*/ 319659 w 3001233"/>
                  <a:gd name="connsiteY21" fmla="*/ 66866 h 214122"/>
                  <a:gd name="connsiteX22" fmla="*/ 372237 w 3001233"/>
                  <a:gd name="connsiteY22" fmla="*/ 66866 h 214122"/>
                  <a:gd name="connsiteX23" fmla="*/ 372237 w 3001233"/>
                  <a:gd name="connsiteY23" fmla="*/ 72962 h 214122"/>
                  <a:gd name="connsiteX24" fmla="*/ 391192 w 3001233"/>
                  <a:gd name="connsiteY24" fmla="*/ 72962 h 214122"/>
                  <a:gd name="connsiteX25" fmla="*/ 391192 w 3001233"/>
                  <a:gd name="connsiteY25" fmla="*/ 79058 h 214122"/>
                  <a:gd name="connsiteX26" fmla="*/ 401670 w 3001233"/>
                  <a:gd name="connsiteY26" fmla="*/ 79058 h 214122"/>
                  <a:gd name="connsiteX27" fmla="*/ 401670 w 3001233"/>
                  <a:gd name="connsiteY27" fmla="*/ 85249 h 214122"/>
                  <a:gd name="connsiteX28" fmla="*/ 435388 w 3001233"/>
                  <a:gd name="connsiteY28" fmla="*/ 85249 h 214122"/>
                  <a:gd name="connsiteX29" fmla="*/ 435388 w 3001233"/>
                  <a:gd name="connsiteY29" fmla="*/ 91345 h 214122"/>
                  <a:gd name="connsiteX30" fmla="*/ 441675 w 3001233"/>
                  <a:gd name="connsiteY30" fmla="*/ 91345 h 214122"/>
                  <a:gd name="connsiteX31" fmla="*/ 441675 w 3001233"/>
                  <a:gd name="connsiteY31" fmla="*/ 97441 h 214122"/>
                  <a:gd name="connsiteX32" fmla="*/ 456343 w 3001233"/>
                  <a:gd name="connsiteY32" fmla="*/ 97441 h 214122"/>
                  <a:gd name="connsiteX33" fmla="*/ 456343 w 3001233"/>
                  <a:gd name="connsiteY33" fmla="*/ 103537 h 214122"/>
                  <a:gd name="connsiteX34" fmla="*/ 469011 w 3001233"/>
                  <a:gd name="connsiteY34" fmla="*/ 103537 h 214122"/>
                  <a:gd name="connsiteX35" fmla="*/ 469011 w 3001233"/>
                  <a:gd name="connsiteY35" fmla="*/ 109728 h 214122"/>
                  <a:gd name="connsiteX36" fmla="*/ 494253 w 3001233"/>
                  <a:gd name="connsiteY36" fmla="*/ 109728 h 214122"/>
                  <a:gd name="connsiteX37" fmla="*/ 494253 w 3001233"/>
                  <a:gd name="connsiteY37" fmla="*/ 115824 h 214122"/>
                  <a:gd name="connsiteX38" fmla="*/ 723519 w 3001233"/>
                  <a:gd name="connsiteY38" fmla="*/ 115824 h 214122"/>
                  <a:gd name="connsiteX39" fmla="*/ 723519 w 3001233"/>
                  <a:gd name="connsiteY39" fmla="*/ 122016 h 214122"/>
                  <a:gd name="connsiteX40" fmla="*/ 837057 w 3001233"/>
                  <a:gd name="connsiteY40" fmla="*/ 122016 h 214122"/>
                  <a:gd name="connsiteX41" fmla="*/ 837057 w 3001233"/>
                  <a:gd name="connsiteY41" fmla="*/ 128207 h 214122"/>
                  <a:gd name="connsiteX42" fmla="*/ 1106234 w 3001233"/>
                  <a:gd name="connsiteY42" fmla="*/ 128207 h 214122"/>
                  <a:gd name="connsiteX43" fmla="*/ 1106234 w 3001233"/>
                  <a:gd name="connsiteY43" fmla="*/ 134493 h 214122"/>
                  <a:gd name="connsiteX44" fmla="*/ 1179862 w 3001233"/>
                  <a:gd name="connsiteY44" fmla="*/ 134493 h 214122"/>
                  <a:gd name="connsiteX45" fmla="*/ 1179862 w 3001233"/>
                  <a:gd name="connsiteY45" fmla="*/ 140780 h 214122"/>
                  <a:gd name="connsiteX46" fmla="*/ 1259777 w 3001233"/>
                  <a:gd name="connsiteY46" fmla="*/ 140780 h 214122"/>
                  <a:gd name="connsiteX47" fmla="*/ 1259777 w 3001233"/>
                  <a:gd name="connsiteY47" fmla="*/ 147066 h 214122"/>
                  <a:gd name="connsiteX48" fmla="*/ 1421702 w 3001233"/>
                  <a:gd name="connsiteY48" fmla="*/ 147066 h 214122"/>
                  <a:gd name="connsiteX49" fmla="*/ 1421702 w 3001233"/>
                  <a:gd name="connsiteY49" fmla="*/ 153543 h 214122"/>
                  <a:gd name="connsiteX50" fmla="*/ 1438561 w 3001233"/>
                  <a:gd name="connsiteY50" fmla="*/ 153543 h 214122"/>
                  <a:gd name="connsiteX51" fmla="*/ 1438561 w 3001233"/>
                  <a:gd name="connsiteY51" fmla="*/ 159925 h 214122"/>
                  <a:gd name="connsiteX52" fmla="*/ 1556385 w 3001233"/>
                  <a:gd name="connsiteY52" fmla="*/ 159925 h 214122"/>
                  <a:gd name="connsiteX53" fmla="*/ 1556385 w 3001233"/>
                  <a:gd name="connsiteY53" fmla="*/ 166402 h 214122"/>
                  <a:gd name="connsiteX54" fmla="*/ 1648873 w 3001233"/>
                  <a:gd name="connsiteY54" fmla="*/ 166402 h 214122"/>
                  <a:gd name="connsiteX55" fmla="*/ 1648873 w 3001233"/>
                  <a:gd name="connsiteY55" fmla="*/ 172784 h 214122"/>
                  <a:gd name="connsiteX56" fmla="*/ 1667828 w 3001233"/>
                  <a:gd name="connsiteY56" fmla="*/ 172784 h 214122"/>
                  <a:gd name="connsiteX57" fmla="*/ 1667828 w 3001233"/>
                  <a:gd name="connsiteY57" fmla="*/ 179261 h 214122"/>
                  <a:gd name="connsiteX58" fmla="*/ 2521649 w 3001233"/>
                  <a:gd name="connsiteY58" fmla="*/ 179261 h 214122"/>
                  <a:gd name="connsiteX59" fmla="*/ 2521649 w 3001233"/>
                  <a:gd name="connsiteY59" fmla="*/ 214122 h 214122"/>
                  <a:gd name="connsiteX60" fmla="*/ 3001233 w 3001233"/>
                  <a:gd name="connsiteY60" fmla="*/ 214122 h 214122"/>
                  <a:gd name="connsiteX0" fmla="*/ 0 w 3001233"/>
                  <a:gd name="connsiteY0" fmla="*/ 0 h 208026"/>
                  <a:gd name="connsiteX1" fmla="*/ 6287 w 3001233"/>
                  <a:gd name="connsiteY1" fmla="*/ 0 h 208026"/>
                  <a:gd name="connsiteX2" fmla="*/ 6287 w 3001233"/>
                  <a:gd name="connsiteY2" fmla="*/ 6096 h 208026"/>
                  <a:gd name="connsiteX3" fmla="*/ 48387 w 3001233"/>
                  <a:gd name="connsiteY3" fmla="*/ 6096 h 208026"/>
                  <a:gd name="connsiteX4" fmla="*/ 48387 w 3001233"/>
                  <a:gd name="connsiteY4" fmla="*/ 12097 h 208026"/>
                  <a:gd name="connsiteX5" fmla="*/ 63056 w 3001233"/>
                  <a:gd name="connsiteY5" fmla="*/ 12097 h 208026"/>
                  <a:gd name="connsiteX6" fmla="*/ 63056 w 3001233"/>
                  <a:gd name="connsiteY6" fmla="*/ 18193 h 208026"/>
                  <a:gd name="connsiteX7" fmla="*/ 92583 w 3001233"/>
                  <a:gd name="connsiteY7" fmla="*/ 18193 h 208026"/>
                  <a:gd name="connsiteX8" fmla="*/ 92583 w 3001233"/>
                  <a:gd name="connsiteY8" fmla="*/ 24289 h 208026"/>
                  <a:gd name="connsiteX9" fmla="*/ 94679 w 3001233"/>
                  <a:gd name="connsiteY9" fmla="*/ 24289 h 208026"/>
                  <a:gd name="connsiteX10" fmla="*/ 94679 w 3001233"/>
                  <a:gd name="connsiteY10" fmla="*/ 30290 h 208026"/>
                  <a:gd name="connsiteX11" fmla="*/ 117729 w 3001233"/>
                  <a:gd name="connsiteY11" fmla="*/ 30290 h 208026"/>
                  <a:gd name="connsiteX12" fmla="*/ 117729 w 3001233"/>
                  <a:gd name="connsiteY12" fmla="*/ 36386 h 208026"/>
                  <a:gd name="connsiteX13" fmla="*/ 130398 w 3001233"/>
                  <a:gd name="connsiteY13" fmla="*/ 36386 h 208026"/>
                  <a:gd name="connsiteX14" fmla="*/ 130398 w 3001233"/>
                  <a:gd name="connsiteY14" fmla="*/ 42482 h 208026"/>
                  <a:gd name="connsiteX15" fmla="*/ 166116 w 3001233"/>
                  <a:gd name="connsiteY15" fmla="*/ 42482 h 208026"/>
                  <a:gd name="connsiteX16" fmla="*/ 166116 w 3001233"/>
                  <a:gd name="connsiteY16" fmla="*/ 48578 h 208026"/>
                  <a:gd name="connsiteX17" fmla="*/ 281845 w 3001233"/>
                  <a:gd name="connsiteY17" fmla="*/ 48578 h 208026"/>
                  <a:gd name="connsiteX18" fmla="*/ 281845 w 3001233"/>
                  <a:gd name="connsiteY18" fmla="*/ 54579 h 208026"/>
                  <a:gd name="connsiteX19" fmla="*/ 319659 w 3001233"/>
                  <a:gd name="connsiteY19" fmla="*/ 54579 h 208026"/>
                  <a:gd name="connsiteX20" fmla="*/ 319659 w 3001233"/>
                  <a:gd name="connsiteY20" fmla="*/ 60770 h 208026"/>
                  <a:gd name="connsiteX21" fmla="*/ 372237 w 3001233"/>
                  <a:gd name="connsiteY21" fmla="*/ 60770 h 208026"/>
                  <a:gd name="connsiteX22" fmla="*/ 372237 w 3001233"/>
                  <a:gd name="connsiteY22" fmla="*/ 66866 h 208026"/>
                  <a:gd name="connsiteX23" fmla="*/ 391192 w 3001233"/>
                  <a:gd name="connsiteY23" fmla="*/ 66866 h 208026"/>
                  <a:gd name="connsiteX24" fmla="*/ 391192 w 3001233"/>
                  <a:gd name="connsiteY24" fmla="*/ 72962 h 208026"/>
                  <a:gd name="connsiteX25" fmla="*/ 401670 w 3001233"/>
                  <a:gd name="connsiteY25" fmla="*/ 72962 h 208026"/>
                  <a:gd name="connsiteX26" fmla="*/ 401670 w 3001233"/>
                  <a:gd name="connsiteY26" fmla="*/ 79153 h 208026"/>
                  <a:gd name="connsiteX27" fmla="*/ 435388 w 3001233"/>
                  <a:gd name="connsiteY27" fmla="*/ 79153 h 208026"/>
                  <a:gd name="connsiteX28" fmla="*/ 435388 w 3001233"/>
                  <a:gd name="connsiteY28" fmla="*/ 85249 h 208026"/>
                  <a:gd name="connsiteX29" fmla="*/ 441675 w 3001233"/>
                  <a:gd name="connsiteY29" fmla="*/ 85249 h 208026"/>
                  <a:gd name="connsiteX30" fmla="*/ 441675 w 3001233"/>
                  <a:gd name="connsiteY30" fmla="*/ 91345 h 208026"/>
                  <a:gd name="connsiteX31" fmla="*/ 456343 w 3001233"/>
                  <a:gd name="connsiteY31" fmla="*/ 91345 h 208026"/>
                  <a:gd name="connsiteX32" fmla="*/ 456343 w 3001233"/>
                  <a:gd name="connsiteY32" fmla="*/ 97441 h 208026"/>
                  <a:gd name="connsiteX33" fmla="*/ 469011 w 3001233"/>
                  <a:gd name="connsiteY33" fmla="*/ 97441 h 208026"/>
                  <a:gd name="connsiteX34" fmla="*/ 469011 w 3001233"/>
                  <a:gd name="connsiteY34" fmla="*/ 103632 h 208026"/>
                  <a:gd name="connsiteX35" fmla="*/ 494253 w 3001233"/>
                  <a:gd name="connsiteY35" fmla="*/ 103632 h 208026"/>
                  <a:gd name="connsiteX36" fmla="*/ 494253 w 3001233"/>
                  <a:gd name="connsiteY36" fmla="*/ 109728 h 208026"/>
                  <a:gd name="connsiteX37" fmla="*/ 723519 w 3001233"/>
                  <a:gd name="connsiteY37" fmla="*/ 109728 h 208026"/>
                  <a:gd name="connsiteX38" fmla="*/ 723519 w 3001233"/>
                  <a:gd name="connsiteY38" fmla="*/ 115920 h 208026"/>
                  <a:gd name="connsiteX39" fmla="*/ 837057 w 3001233"/>
                  <a:gd name="connsiteY39" fmla="*/ 115920 h 208026"/>
                  <a:gd name="connsiteX40" fmla="*/ 837057 w 3001233"/>
                  <a:gd name="connsiteY40" fmla="*/ 122111 h 208026"/>
                  <a:gd name="connsiteX41" fmla="*/ 1106234 w 3001233"/>
                  <a:gd name="connsiteY41" fmla="*/ 122111 h 208026"/>
                  <a:gd name="connsiteX42" fmla="*/ 1106234 w 3001233"/>
                  <a:gd name="connsiteY42" fmla="*/ 128397 h 208026"/>
                  <a:gd name="connsiteX43" fmla="*/ 1179862 w 3001233"/>
                  <a:gd name="connsiteY43" fmla="*/ 128397 h 208026"/>
                  <a:gd name="connsiteX44" fmla="*/ 1179862 w 3001233"/>
                  <a:gd name="connsiteY44" fmla="*/ 134684 h 208026"/>
                  <a:gd name="connsiteX45" fmla="*/ 1259777 w 3001233"/>
                  <a:gd name="connsiteY45" fmla="*/ 134684 h 208026"/>
                  <a:gd name="connsiteX46" fmla="*/ 1259777 w 3001233"/>
                  <a:gd name="connsiteY46" fmla="*/ 140970 h 208026"/>
                  <a:gd name="connsiteX47" fmla="*/ 1421702 w 3001233"/>
                  <a:gd name="connsiteY47" fmla="*/ 140970 h 208026"/>
                  <a:gd name="connsiteX48" fmla="*/ 1421702 w 3001233"/>
                  <a:gd name="connsiteY48" fmla="*/ 147447 h 208026"/>
                  <a:gd name="connsiteX49" fmla="*/ 1438561 w 3001233"/>
                  <a:gd name="connsiteY49" fmla="*/ 147447 h 208026"/>
                  <a:gd name="connsiteX50" fmla="*/ 1438561 w 3001233"/>
                  <a:gd name="connsiteY50" fmla="*/ 153829 h 208026"/>
                  <a:gd name="connsiteX51" fmla="*/ 1556385 w 3001233"/>
                  <a:gd name="connsiteY51" fmla="*/ 153829 h 208026"/>
                  <a:gd name="connsiteX52" fmla="*/ 1556385 w 3001233"/>
                  <a:gd name="connsiteY52" fmla="*/ 160306 h 208026"/>
                  <a:gd name="connsiteX53" fmla="*/ 1648873 w 3001233"/>
                  <a:gd name="connsiteY53" fmla="*/ 160306 h 208026"/>
                  <a:gd name="connsiteX54" fmla="*/ 1648873 w 3001233"/>
                  <a:gd name="connsiteY54" fmla="*/ 166688 h 208026"/>
                  <a:gd name="connsiteX55" fmla="*/ 1667828 w 3001233"/>
                  <a:gd name="connsiteY55" fmla="*/ 166688 h 208026"/>
                  <a:gd name="connsiteX56" fmla="*/ 1667828 w 3001233"/>
                  <a:gd name="connsiteY56" fmla="*/ 173165 h 208026"/>
                  <a:gd name="connsiteX57" fmla="*/ 2521649 w 3001233"/>
                  <a:gd name="connsiteY57" fmla="*/ 173165 h 208026"/>
                  <a:gd name="connsiteX58" fmla="*/ 2521649 w 3001233"/>
                  <a:gd name="connsiteY58" fmla="*/ 208026 h 208026"/>
                  <a:gd name="connsiteX59" fmla="*/ 3001233 w 3001233"/>
                  <a:gd name="connsiteY59" fmla="*/ 208026 h 208026"/>
                  <a:gd name="connsiteX0" fmla="*/ 0 w 3001233"/>
                  <a:gd name="connsiteY0" fmla="*/ 0 h 208026"/>
                  <a:gd name="connsiteX1" fmla="*/ 6287 w 3001233"/>
                  <a:gd name="connsiteY1" fmla="*/ 0 h 208026"/>
                  <a:gd name="connsiteX2" fmla="*/ 48387 w 3001233"/>
                  <a:gd name="connsiteY2" fmla="*/ 6096 h 208026"/>
                  <a:gd name="connsiteX3" fmla="*/ 48387 w 3001233"/>
                  <a:gd name="connsiteY3" fmla="*/ 12097 h 208026"/>
                  <a:gd name="connsiteX4" fmla="*/ 63056 w 3001233"/>
                  <a:gd name="connsiteY4" fmla="*/ 12097 h 208026"/>
                  <a:gd name="connsiteX5" fmla="*/ 63056 w 3001233"/>
                  <a:gd name="connsiteY5" fmla="*/ 18193 h 208026"/>
                  <a:gd name="connsiteX6" fmla="*/ 92583 w 3001233"/>
                  <a:gd name="connsiteY6" fmla="*/ 18193 h 208026"/>
                  <a:gd name="connsiteX7" fmla="*/ 92583 w 3001233"/>
                  <a:gd name="connsiteY7" fmla="*/ 24289 h 208026"/>
                  <a:gd name="connsiteX8" fmla="*/ 94679 w 3001233"/>
                  <a:gd name="connsiteY8" fmla="*/ 24289 h 208026"/>
                  <a:gd name="connsiteX9" fmla="*/ 94679 w 3001233"/>
                  <a:gd name="connsiteY9" fmla="*/ 30290 h 208026"/>
                  <a:gd name="connsiteX10" fmla="*/ 117729 w 3001233"/>
                  <a:gd name="connsiteY10" fmla="*/ 30290 h 208026"/>
                  <a:gd name="connsiteX11" fmla="*/ 117729 w 3001233"/>
                  <a:gd name="connsiteY11" fmla="*/ 36386 h 208026"/>
                  <a:gd name="connsiteX12" fmla="*/ 130398 w 3001233"/>
                  <a:gd name="connsiteY12" fmla="*/ 36386 h 208026"/>
                  <a:gd name="connsiteX13" fmla="*/ 130398 w 3001233"/>
                  <a:gd name="connsiteY13" fmla="*/ 42482 h 208026"/>
                  <a:gd name="connsiteX14" fmla="*/ 166116 w 3001233"/>
                  <a:gd name="connsiteY14" fmla="*/ 42482 h 208026"/>
                  <a:gd name="connsiteX15" fmla="*/ 166116 w 3001233"/>
                  <a:gd name="connsiteY15" fmla="*/ 48578 h 208026"/>
                  <a:gd name="connsiteX16" fmla="*/ 281845 w 3001233"/>
                  <a:gd name="connsiteY16" fmla="*/ 48578 h 208026"/>
                  <a:gd name="connsiteX17" fmla="*/ 281845 w 3001233"/>
                  <a:gd name="connsiteY17" fmla="*/ 54579 h 208026"/>
                  <a:gd name="connsiteX18" fmla="*/ 319659 w 3001233"/>
                  <a:gd name="connsiteY18" fmla="*/ 54579 h 208026"/>
                  <a:gd name="connsiteX19" fmla="*/ 319659 w 3001233"/>
                  <a:gd name="connsiteY19" fmla="*/ 60770 h 208026"/>
                  <a:gd name="connsiteX20" fmla="*/ 372237 w 3001233"/>
                  <a:gd name="connsiteY20" fmla="*/ 60770 h 208026"/>
                  <a:gd name="connsiteX21" fmla="*/ 372237 w 3001233"/>
                  <a:gd name="connsiteY21" fmla="*/ 66866 h 208026"/>
                  <a:gd name="connsiteX22" fmla="*/ 391192 w 3001233"/>
                  <a:gd name="connsiteY22" fmla="*/ 66866 h 208026"/>
                  <a:gd name="connsiteX23" fmla="*/ 391192 w 3001233"/>
                  <a:gd name="connsiteY23" fmla="*/ 72962 h 208026"/>
                  <a:gd name="connsiteX24" fmla="*/ 401670 w 3001233"/>
                  <a:gd name="connsiteY24" fmla="*/ 72962 h 208026"/>
                  <a:gd name="connsiteX25" fmla="*/ 401670 w 3001233"/>
                  <a:gd name="connsiteY25" fmla="*/ 79153 h 208026"/>
                  <a:gd name="connsiteX26" fmla="*/ 435388 w 3001233"/>
                  <a:gd name="connsiteY26" fmla="*/ 79153 h 208026"/>
                  <a:gd name="connsiteX27" fmla="*/ 435388 w 3001233"/>
                  <a:gd name="connsiteY27" fmla="*/ 85249 h 208026"/>
                  <a:gd name="connsiteX28" fmla="*/ 441675 w 3001233"/>
                  <a:gd name="connsiteY28" fmla="*/ 85249 h 208026"/>
                  <a:gd name="connsiteX29" fmla="*/ 441675 w 3001233"/>
                  <a:gd name="connsiteY29" fmla="*/ 91345 h 208026"/>
                  <a:gd name="connsiteX30" fmla="*/ 456343 w 3001233"/>
                  <a:gd name="connsiteY30" fmla="*/ 91345 h 208026"/>
                  <a:gd name="connsiteX31" fmla="*/ 456343 w 3001233"/>
                  <a:gd name="connsiteY31" fmla="*/ 97441 h 208026"/>
                  <a:gd name="connsiteX32" fmla="*/ 469011 w 3001233"/>
                  <a:gd name="connsiteY32" fmla="*/ 97441 h 208026"/>
                  <a:gd name="connsiteX33" fmla="*/ 469011 w 3001233"/>
                  <a:gd name="connsiteY33" fmla="*/ 103632 h 208026"/>
                  <a:gd name="connsiteX34" fmla="*/ 494253 w 3001233"/>
                  <a:gd name="connsiteY34" fmla="*/ 103632 h 208026"/>
                  <a:gd name="connsiteX35" fmla="*/ 494253 w 3001233"/>
                  <a:gd name="connsiteY35" fmla="*/ 109728 h 208026"/>
                  <a:gd name="connsiteX36" fmla="*/ 723519 w 3001233"/>
                  <a:gd name="connsiteY36" fmla="*/ 109728 h 208026"/>
                  <a:gd name="connsiteX37" fmla="*/ 723519 w 3001233"/>
                  <a:gd name="connsiteY37" fmla="*/ 115920 h 208026"/>
                  <a:gd name="connsiteX38" fmla="*/ 837057 w 3001233"/>
                  <a:gd name="connsiteY38" fmla="*/ 115920 h 208026"/>
                  <a:gd name="connsiteX39" fmla="*/ 837057 w 3001233"/>
                  <a:gd name="connsiteY39" fmla="*/ 122111 h 208026"/>
                  <a:gd name="connsiteX40" fmla="*/ 1106234 w 3001233"/>
                  <a:gd name="connsiteY40" fmla="*/ 122111 h 208026"/>
                  <a:gd name="connsiteX41" fmla="*/ 1106234 w 3001233"/>
                  <a:gd name="connsiteY41" fmla="*/ 128397 h 208026"/>
                  <a:gd name="connsiteX42" fmla="*/ 1179862 w 3001233"/>
                  <a:gd name="connsiteY42" fmla="*/ 128397 h 208026"/>
                  <a:gd name="connsiteX43" fmla="*/ 1179862 w 3001233"/>
                  <a:gd name="connsiteY43" fmla="*/ 134684 h 208026"/>
                  <a:gd name="connsiteX44" fmla="*/ 1259777 w 3001233"/>
                  <a:gd name="connsiteY44" fmla="*/ 134684 h 208026"/>
                  <a:gd name="connsiteX45" fmla="*/ 1259777 w 3001233"/>
                  <a:gd name="connsiteY45" fmla="*/ 140970 h 208026"/>
                  <a:gd name="connsiteX46" fmla="*/ 1421702 w 3001233"/>
                  <a:gd name="connsiteY46" fmla="*/ 140970 h 208026"/>
                  <a:gd name="connsiteX47" fmla="*/ 1421702 w 3001233"/>
                  <a:gd name="connsiteY47" fmla="*/ 147447 h 208026"/>
                  <a:gd name="connsiteX48" fmla="*/ 1438561 w 3001233"/>
                  <a:gd name="connsiteY48" fmla="*/ 147447 h 208026"/>
                  <a:gd name="connsiteX49" fmla="*/ 1438561 w 3001233"/>
                  <a:gd name="connsiteY49" fmla="*/ 153829 h 208026"/>
                  <a:gd name="connsiteX50" fmla="*/ 1556385 w 3001233"/>
                  <a:gd name="connsiteY50" fmla="*/ 153829 h 208026"/>
                  <a:gd name="connsiteX51" fmla="*/ 1556385 w 3001233"/>
                  <a:gd name="connsiteY51" fmla="*/ 160306 h 208026"/>
                  <a:gd name="connsiteX52" fmla="*/ 1648873 w 3001233"/>
                  <a:gd name="connsiteY52" fmla="*/ 160306 h 208026"/>
                  <a:gd name="connsiteX53" fmla="*/ 1648873 w 3001233"/>
                  <a:gd name="connsiteY53" fmla="*/ 166688 h 208026"/>
                  <a:gd name="connsiteX54" fmla="*/ 1667828 w 3001233"/>
                  <a:gd name="connsiteY54" fmla="*/ 166688 h 208026"/>
                  <a:gd name="connsiteX55" fmla="*/ 1667828 w 3001233"/>
                  <a:gd name="connsiteY55" fmla="*/ 173165 h 208026"/>
                  <a:gd name="connsiteX56" fmla="*/ 2521649 w 3001233"/>
                  <a:gd name="connsiteY56" fmla="*/ 173165 h 208026"/>
                  <a:gd name="connsiteX57" fmla="*/ 2521649 w 3001233"/>
                  <a:gd name="connsiteY57" fmla="*/ 208026 h 208026"/>
                  <a:gd name="connsiteX58" fmla="*/ 3001233 w 3001233"/>
                  <a:gd name="connsiteY58" fmla="*/ 208026 h 208026"/>
                  <a:gd name="connsiteX0" fmla="*/ 0 w 3001233"/>
                  <a:gd name="connsiteY0" fmla="*/ 0 h 208026"/>
                  <a:gd name="connsiteX1" fmla="*/ 48387 w 3001233"/>
                  <a:gd name="connsiteY1" fmla="*/ 6096 h 208026"/>
                  <a:gd name="connsiteX2" fmla="*/ 48387 w 3001233"/>
                  <a:gd name="connsiteY2" fmla="*/ 12097 h 208026"/>
                  <a:gd name="connsiteX3" fmla="*/ 63056 w 3001233"/>
                  <a:gd name="connsiteY3" fmla="*/ 12097 h 208026"/>
                  <a:gd name="connsiteX4" fmla="*/ 63056 w 3001233"/>
                  <a:gd name="connsiteY4" fmla="*/ 18193 h 208026"/>
                  <a:gd name="connsiteX5" fmla="*/ 92583 w 3001233"/>
                  <a:gd name="connsiteY5" fmla="*/ 18193 h 208026"/>
                  <a:gd name="connsiteX6" fmla="*/ 92583 w 3001233"/>
                  <a:gd name="connsiteY6" fmla="*/ 24289 h 208026"/>
                  <a:gd name="connsiteX7" fmla="*/ 94679 w 3001233"/>
                  <a:gd name="connsiteY7" fmla="*/ 24289 h 208026"/>
                  <a:gd name="connsiteX8" fmla="*/ 94679 w 3001233"/>
                  <a:gd name="connsiteY8" fmla="*/ 30290 h 208026"/>
                  <a:gd name="connsiteX9" fmla="*/ 117729 w 3001233"/>
                  <a:gd name="connsiteY9" fmla="*/ 30290 h 208026"/>
                  <a:gd name="connsiteX10" fmla="*/ 117729 w 3001233"/>
                  <a:gd name="connsiteY10" fmla="*/ 36386 h 208026"/>
                  <a:gd name="connsiteX11" fmla="*/ 130398 w 3001233"/>
                  <a:gd name="connsiteY11" fmla="*/ 36386 h 208026"/>
                  <a:gd name="connsiteX12" fmla="*/ 130398 w 3001233"/>
                  <a:gd name="connsiteY12" fmla="*/ 42482 h 208026"/>
                  <a:gd name="connsiteX13" fmla="*/ 166116 w 3001233"/>
                  <a:gd name="connsiteY13" fmla="*/ 42482 h 208026"/>
                  <a:gd name="connsiteX14" fmla="*/ 166116 w 3001233"/>
                  <a:gd name="connsiteY14" fmla="*/ 48578 h 208026"/>
                  <a:gd name="connsiteX15" fmla="*/ 281845 w 3001233"/>
                  <a:gd name="connsiteY15" fmla="*/ 48578 h 208026"/>
                  <a:gd name="connsiteX16" fmla="*/ 281845 w 3001233"/>
                  <a:gd name="connsiteY16" fmla="*/ 54579 h 208026"/>
                  <a:gd name="connsiteX17" fmla="*/ 319659 w 3001233"/>
                  <a:gd name="connsiteY17" fmla="*/ 54579 h 208026"/>
                  <a:gd name="connsiteX18" fmla="*/ 319659 w 3001233"/>
                  <a:gd name="connsiteY18" fmla="*/ 60770 h 208026"/>
                  <a:gd name="connsiteX19" fmla="*/ 372237 w 3001233"/>
                  <a:gd name="connsiteY19" fmla="*/ 60770 h 208026"/>
                  <a:gd name="connsiteX20" fmla="*/ 372237 w 3001233"/>
                  <a:gd name="connsiteY20" fmla="*/ 66866 h 208026"/>
                  <a:gd name="connsiteX21" fmla="*/ 391192 w 3001233"/>
                  <a:gd name="connsiteY21" fmla="*/ 66866 h 208026"/>
                  <a:gd name="connsiteX22" fmla="*/ 391192 w 3001233"/>
                  <a:gd name="connsiteY22" fmla="*/ 72962 h 208026"/>
                  <a:gd name="connsiteX23" fmla="*/ 401670 w 3001233"/>
                  <a:gd name="connsiteY23" fmla="*/ 72962 h 208026"/>
                  <a:gd name="connsiteX24" fmla="*/ 401670 w 3001233"/>
                  <a:gd name="connsiteY24" fmla="*/ 79153 h 208026"/>
                  <a:gd name="connsiteX25" fmla="*/ 435388 w 3001233"/>
                  <a:gd name="connsiteY25" fmla="*/ 79153 h 208026"/>
                  <a:gd name="connsiteX26" fmla="*/ 435388 w 3001233"/>
                  <a:gd name="connsiteY26" fmla="*/ 85249 h 208026"/>
                  <a:gd name="connsiteX27" fmla="*/ 441675 w 3001233"/>
                  <a:gd name="connsiteY27" fmla="*/ 85249 h 208026"/>
                  <a:gd name="connsiteX28" fmla="*/ 441675 w 3001233"/>
                  <a:gd name="connsiteY28" fmla="*/ 91345 h 208026"/>
                  <a:gd name="connsiteX29" fmla="*/ 456343 w 3001233"/>
                  <a:gd name="connsiteY29" fmla="*/ 91345 h 208026"/>
                  <a:gd name="connsiteX30" fmla="*/ 456343 w 3001233"/>
                  <a:gd name="connsiteY30" fmla="*/ 97441 h 208026"/>
                  <a:gd name="connsiteX31" fmla="*/ 469011 w 3001233"/>
                  <a:gd name="connsiteY31" fmla="*/ 97441 h 208026"/>
                  <a:gd name="connsiteX32" fmla="*/ 469011 w 3001233"/>
                  <a:gd name="connsiteY32" fmla="*/ 103632 h 208026"/>
                  <a:gd name="connsiteX33" fmla="*/ 494253 w 3001233"/>
                  <a:gd name="connsiteY33" fmla="*/ 103632 h 208026"/>
                  <a:gd name="connsiteX34" fmla="*/ 494253 w 3001233"/>
                  <a:gd name="connsiteY34" fmla="*/ 109728 h 208026"/>
                  <a:gd name="connsiteX35" fmla="*/ 723519 w 3001233"/>
                  <a:gd name="connsiteY35" fmla="*/ 109728 h 208026"/>
                  <a:gd name="connsiteX36" fmla="*/ 723519 w 3001233"/>
                  <a:gd name="connsiteY36" fmla="*/ 115920 h 208026"/>
                  <a:gd name="connsiteX37" fmla="*/ 837057 w 3001233"/>
                  <a:gd name="connsiteY37" fmla="*/ 115920 h 208026"/>
                  <a:gd name="connsiteX38" fmla="*/ 837057 w 3001233"/>
                  <a:gd name="connsiteY38" fmla="*/ 122111 h 208026"/>
                  <a:gd name="connsiteX39" fmla="*/ 1106234 w 3001233"/>
                  <a:gd name="connsiteY39" fmla="*/ 122111 h 208026"/>
                  <a:gd name="connsiteX40" fmla="*/ 1106234 w 3001233"/>
                  <a:gd name="connsiteY40" fmla="*/ 128397 h 208026"/>
                  <a:gd name="connsiteX41" fmla="*/ 1179862 w 3001233"/>
                  <a:gd name="connsiteY41" fmla="*/ 128397 h 208026"/>
                  <a:gd name="connsiteX42" fmla="*/ 1179862 w 3001233"/>
                  <a:gd name="connsiteY42" fmla="*/ 134684 h 208026"/>
                  <a:gd name="connsiteX43" fmla="*/ 1259777 w 3001233"/>
                  <a:gd name="connsiteY43" fmla="*/ 134684 h 208026"/>
                  <a:gd name="connsiteX44" fmla="*/ 1259777 w 3001233"/>
                  <a:gd name="connsiteY44" fmla="*/ 140970 h 208026"/>
                  <a:gd name="connsiteX45" fmla="*/ 1421702 w 3001233"/>
                  <a:gd name="connsiteY45" fmla="*/ 140970 h 208026"/>
                  <a:gd name="connsiteX46" fmla="*/ 1421702 w 3001233"/>
                  <a:gd name="connsiteY46" fmla="*/ 147447 h 208026"/>
                  <a:gd name="connsiteX47" fmla="*/ 1438561 w 3001233"/>
                  <a:gd name="connsiteY47" fmla="*/ 147447 h 208026"/>
                  <a:gd name="connsiteX48" fmla="*/ 1438561 w 3001233"/>
                  <a:gd name="connsiteY48" fmla="*/ 153829 h 208026"/>
                  <a:gd name="connsiteX49" fmla="*/ 1556385 w 3001233"/>
                  <a:gd name="connsiteY49" fmla="*/ 153829 h 208026"/>
                  <a:gd name="connsiteX50" fmla="*/ 1556385 w 3001233"/>
                  <a:gd name="connsiteY50" fmla="*/ 160306 h 208026"/>
                  <a:gd name="connsiteX51" fmla="*/ 1648873 w 3001233"/>
                  <a:gd name="connsiteY51" fmla="*/ 160306 h 208026"/>
                  <a:gd name="connsiteX52" fmla="*/ 1648873 w 3001233"/>
                  <a:gd name="connsiteY52" fmla="*/ 166688 h 208026"/>
                  <a:gd name="connsiteX53" fmla="*/ 1667828 w 3001233"/>
                  <a:gd name="connsiteY53" fmla="*/ 166688 h 208026"/>
                  <a:gd name="connsiteX54" fmla="*/ 1667828 w 3001233"/>
                  <a:gd name="connsiteY54" fmla="*/ 173165 h 208026"/>
                  <a:gd name="connsiteX55" fmla="*/ 2521649 w 3001233"/>
                  <a:gd name="connsiteY55" fmla="*/ 173165 h 208026"/>
                  <a:gd name="connsiteX56" fmla="*/ 2521649 w 3001233"/>
                  <a:gd name="connsiteY56" fmla="*/ 208026 h 208026"/>
                  <a:gd name="connsiteX57" fmla="*/ 3001233 w 3001233"/>
                  <a:gd name="connsiteY57" fmla="*/ 208026 h 208026"/>
                  <a:gd name="connsiteX0" fmla="*/ 0 w 2952846"/>
                  <a:gd name="connsiteY0" fmla="*/ 0 h 201930"/>
                  <a:gd name="connsiteX1" fmla="*/ 0 w 2952846"/>
                  <a:gd name="connsiteY1" fmla="*/ 6001 h 201930"/>
                  <a:gd name="connsiteX2" fmla="*/ 14669 w 2952846"/>
                  <a:gd name="connsiteY2" fmla="*/ 6001 h 201930"/>
                  <a:gd name="connsiteX3" fmla="*/ 14669 w 2952846"/>
                  <a:gd name="connsiteY3" fmla="*/ 12097 h 201930"/>
                  <a:gd name="connsiteX4" fmla="*/ 44196 w 2952846"/>
                  <a:gd name="connsiteY4" fmla="*/ 12097 h 201930"/>
                  <a:gd name="connsiteX5" fmla="*/ 44196 w 2952846"/>
                  <a:gd name="connsiteY5" fmla="*/ 18193 h 201930"/>
                  <a:gd name="connsiteX6" fmla="*/ 46292 w 2952846"/>
                  <a:gd name="connsiteY6" fmla="*/ 18193 h 201930"/>
                  <a:gd name="connsiteX7" fmla="*/ 46292 w 2952846"/>
                  <a:gd name="connsiteY7" fmla="*/ 24194 h 201930"/>
                  <a:gd name="connsiteX8" fmla="*/ 69342 w 2952846"/>
                  <a:gd name="connsiteY8" fmla="*/ 24194 h 201930"/>
                  <a:gd name="connsiteX9" fmla="*/ 69342 w 2952846"/>
                  <a:gd name="connsiteY9" fmla="*/ 30290 h 201930"/>
                  <a:gd name="connsiteX10" fmla="*/ 82011 w 2952846"/>
                  <a:gd name="connsiteY10" fmla="*/ 30290 h 201930"/>
                  <a:gd name="connsiteX11" fmla="*/ 82011 w 2952846"/>
                  <a:gd name="connsiteY11" fmla="*/ 36386 h 201930"/>
                  <a:gd name="connsiteX12" fmla="*/ 117729 w 2952846"/>
                  <a:gd name="connsiteY12" fmla="*/ 36386 h 201930"/>
                  <a:gd name="connsiteX13" fmla="*/ 117729 w 2952846"/>
                  <a:gd name="connsiteY13" fmla="*/ 42482 h 201930"/>
                  <a:gd name="connsiteX14" fmla="*/ 233458 w 2952846"/>
                  <a:gd name="connsiteY14" fmla="*/ 42482 h 201930"/>
                  <a:gd name="connsiteX15" fmla="*/ 233458 w 2952846"/>
                  <a:gd name="connsiteY15" fmla="*/ 48483 h 201930"/>
                  <a:gd name="connsiteX16" fmla="*/ 271272 w 2952846"/>
                  <a:gd name="connsiteY16" fmla="*/ 48483 h 201930"/>
                  <a:gd name="connsiteX17" fmla="*/ 271272 w 2952846"/>
                  <a:gd name="connsiteY17" fmla="*/ 54674 h 201930"/>
                  <a:gd name="connsiteX18" fmla="*/ 323850 w 2952846"/>
                  <a:gd name="connsiteY18" fmla="*/ 54674 h 201930"/>
                  <a:gd name="connsiteX19" fmla="*/ 323850 w 2952846"/>
                  <a:gd name="connsiteY19" fmla="*/ 60770 h 201930"/>
                  <a:gd name="connsiteX20" fmla="*/ 342805 w 2952846"/>
                  <a:gd name="connsiteY20" fmla="*/ 60770 h 201930"/>
                  <a:gd name="connsiteX21" fmla="*/ 342805 w 2952846"/>
                  <a:gd name="connsiteY21" fmla="*/ 66866 h 201930"/>
                  <a:gd name="connsiteX22" fmla="*/ 353283 w 2952846"/>
                  <a:gd name="connsiteY22" fmla="*/ 66866 h 201930"/>
                  <a:gd name="connsiteX23" fmla="*/ 353283 w 2952846"/>
                  <a:gd name="connsiteY23" fmla="*/ 73057 h 201930"/>
                  <a:gd name="connsiteX24" fmla="*/ 387001 w 2952846"/>
                  <a:gd name="connsiteY24" fmla="*/ 73057 h 201930"/>
                  <a:gd name="connsiteX25" fmla="*/ 387001 w 2952846"/>
                  <a:gd name="connsiteY25" fmla="*/ 79153 h 201930"/>
                  <a:gd name="connsiteX26" fmla="*/ 393288 w 2952846"/>
                  <a:gd name="connsiteY26" fmla="*/ 79153 h 201930"/>
                  <a:gd name="connsiteX27" fmla="*/ 393288 w 2952846"/>
                  <a:gd name="connsiteY27" fmla="*/ 85249 h 201930"/>
                  <a:gd name="connsiteX28" fmla="*/ 407956 w 2952846"/>
                  <a:gd name="connsiteY28" fmla="*/ 85249 h 201930"/>
                  <a:gd name="connsiteX29" fmla="*/ 407956 w 2952846"/>
                  <a:gd name="connsiteY29" fmla="*/ 91345 h 201930"/>
                  <a:gd name="connsiteX30" fmla="*/ 420624 w 2952846"/>
                  <a:gd name="connsiteY30" fmla="*/ 91345 h 201930"/>
                  <a:gd name="connsiteX31" fmla="*/ 420624 w 2952846"/>
                  <a:gd name="connsiteY31" fmla="*/ 97536 h 201930"/>
                  <a:gd name="connsiteX32" fmla="*/ 445866 w 2952846"/>
                  <a:gd name="connsiteY32" fmla="*/ 97536 h 201930"/>
                  <a:gd name="connsiteX33" fmla="*/ 445866 w 2952846"/>
                  <a:gd name="connsiteY33" fmla="*/ 103632 h 201930"/>
                  <a:gd name="connsiteX34" fmla="*/ 675132 w 2952846"/>
                  <a:gd name="connsiteY34" fmla="*/ 103632 h 201930"/>
                  <a:gd name="connsiteX35" fmla="*/ 675132 w 2952846"/>
                  <a:gd name="connsiteY35" fmla="*/ 109824 h 201930"/>
                  <a:gd name="connsiteX36" fmla="*/ 788670 w 2952846"/>
                  <a:gd name="connsiteY36" fmla="*/ 109824 h 201930"/>
                  <a:gd name="connsiteX37" fmla="*/ 788670 w 2952846"/>
                  <a:gd name="connsiteY37" fmla="*/ 116015 h 201930"/>
                  <a:gd name="connsiteX38" fmla="*/ 1057847 w 2952846"/>
                  <a:gd name="connsiteY38" fmla="*/ 116015 h 201930"/>
                  <a:gd name="connsiteX39" fmla="*/ 1057847 w 2952846"/>
                  <a:gd name="connsiteY39" fmla="*/ 122301 h 201930"/>
                  <a:gd name="connsiteX40" fmla="*/ 1131475 w 2952846"/>
                  <a:gd name="connsiteY40" fmla="*/ 122301 h 201930"/>
                  <a:gd name="connsiteX41" fmla="*/ 1131475 w 2952846"/>
                  <a:gd name="connsiteY41" fmla="*/ 128588 h 201930"/>
                  <a:gd name="connsiteX42" fmla="*/ 1211390 w 2952846"/>
                  <a:gd name="connsiteY42" fmla="*/ 128588 h 201930"/>
                  <a:gd name="connsiteX43" fmla="*/ 1211390 w 2952846"/>
                  <a:gd name="connsiteY43" fmla="*/ 134874 h 201930"/>
                  <a:gd name="connsiteX44" fmla="*/ 1373315 w 2952846"/>
                  <a:gd name="connsiteY44" fmla="*/ 134874 h 201930"/>
                  <a:gd name="connsiteX45" fmla="*/ 1373315 w 2952846"/>
                  <a:gd name="connsiteY45" fmla="*/ 141351 h 201930"/>
                  <a:gd name="connsiteX46" fmla="*/ 1390174 w 2952846"/>
                  <a:gd name="connsiteY46" fmla="*/ 141351 h 201930"/>
                  <a:gd name="connsiteX47" fmla="*/ 1390174 w 2952846"/>
                  <a:gd name="connsiteY47" fmla="*/ 147733 h 201930"/>
                  <a:gd name="connsiteX48" fmla="*/ 1507998 w 2952846"/>
                  <a:gd name="connsiteY48" fmla="*/ 147733 h 201930"/>
                  <a:gd name="connsiteX49" fmla="*/ 1507998 w 2952846"/>
                  <a:gd name="connsiteY49" fmla="*/ 154210 h 201930"/>
                  <a:gd name="connsiteX50" fmla="*/ 1600486 w 2952846"/>
                  <a:gd name="connsiteY50" fmla="*/ 154210 h 201930"/>
                  <a:gd name="connsiteX51" fmla="*/ 1600486 w 2952846"/>
                  <a:gd name="connsiteY51" fmla="*/ 160592 h 201930"/>
                  <a:gd name="connsiteX52" fmla="*/ 1619441 w 2952846"/>
                  <a:gd name="connsiteY52" fmla="*/ 160592 h 201930"/>
                  <a:gd name="connsiteX53" fmla="*/ 1619441 w 2952846"/>
                  <a:gd name="connsiteY53" fmla="*/ 167069 h 201930"/>
                  <a:gd name="connsiteX54" fmla="*/ 2473262 w 2952846"/>
                  <a:gd name="connsiteY54" fmla="*/ 167069 h 201930"/>
                  <a:gd name="connsiteX55" fmla="*/ 2473262 w 2952846"/>
                  <a:gd name="connsiteY55" fmla="*/ 201930 h 201930"/>
                  <a:gd name="connsiteX56" fmla="*/ 2952846 w 2952846"/>
                  <a:gd name="connsiteY56" fmla="*/ 201930 h 201930"/>
                  <a:gd name="connsiteX0" fmla="*/ 0 w 2952846"/>
                  <a:gd name="connsiteY0" fmla="*/ 0 h 201930"/>
                  <a:gd name="connsiteX1" fmla="*/ 14669 w 2952846"/>
                  <a:gd name="connsiteY1" fmla="*/ 6001 h 201930"/>
                  <a:gd name="connsiteX2" fmla="*/ 14669 w 2952846"/>
                  <a:gd name="connsiteY2" fmla="*/ 12097 h 201930"/>
                  <a:gd name="connsiteX3" fmla="*/ 44196 w 2952846"/>
                  <a:gd name="connsiteY3" fmla="*/ 12097 h 201930"/>
                  <a:gd name="connsiteX4" fmla="*/ 44196 w 2952846"/>
                  <a:gd name="connsiteY4" fmla="*/ 18193 h 201930"/>
                  <a:gd name="connsiteX5" fmla="*/ 46292 w 2952846"/>
                  <a:gd name="connsiteY5" fmla="*/ 18193 h 201930"/>
                  <a:gd name="connsiteX6" fmla="*/ 46292 w 2952846"/>
                  <a:gd name="connsiteY6" fmla="*/ 24194 h 201930"/>
                  <a:gd name="connsiteX7" fmla="*/ 69342 w 2952846"/>
                  <a:gd name="connsiteY7" fmla="*/ 24194 h 201930"/>
                  <a:gd name="connsiteX8" fmla="*/ 69342 w 2952846"/>
                  <a:gd name="connsiteY8" fmla="*/ 30290 h 201930"/>
                  <a:gd name="connsiteX9" fmla="*/ 82011 w 2952846"/>
                  <a:gd name="connsiteY9" fmla="*/ 30290 h 201930"/>
                  <a:gd name="connsiteX10" fmla="*/ 82011 w 2952846"/>
                  <a:gd name="connsiteY10" fmla="*/ 36386 h 201930"/>
                  <a:gd name="connsiteX11" fmla="*/ 117729 w 2952846"/>
                  <a:gd name="connsiteY11" fmla="*/ 36386 h 201930"/>
                  <a:gd name="connsiteX12" fmla="*/ 117729 w 2952846"/>
                  <a:gd name="connsiteY12" fmla="*/ 42482 h 201930"/>
                  <a:gd name="connsiteX13" fmla="*/ 233458 w 2952846"/>
                  <a:gd name="connsiteY13" fmla="*/ 42482 h 201930"/>
                  <a:gd name="connsiteX14" fmla="*/ 233458 w 2952846"/>
                  <a:gd name="connsiteY14" fmla="*/ 48483 h 201930"/>
                  <a:gd name="connsiteX15" fmla="*/ 271272 w 2952846"/>
                  <a:gd name="connsiteY15" fmla="*/ 48483 h 201930"/>
                  <a:gd name="connsiteX16" fmla="*/ 271272 w 2952846"/>
                  <a:gd name="connsiteY16" fmla="*/ 54674 h 201930"/>
                  <a:gd name="connsiteX17" fmla="*/ 323850 w 2952846"/>
                  <a:gd name="connsiteY17" fmla="*/ 54674 h 201930"/>
                  <a:gd name="connsiteX18" fmla="*/ 323850 w 2952846"/>
                  <a:gd name="connsiteY18" fmla="*/ 60770 h 201930"/>
                  <a:gd name="connsiteX19" fmla="*/ 342805 w 2952846"/>
                  <a:gd name="connsiteY19" fmla="*/ 60770 h 201930"/>
                  <a:gd name="connsiteX20" fmla="*/ 342805 w 2952846"/>
                  <a:gd name="connsiteY20" fmla="*/ 66866 h 201930"/>
                  <a:gd name="connsiteX21" fmla="*/ 353283 w 2952846"/>
                  <a:gd name="connsiteY21" fmla="*/ 66866 h 201930"/>
                  <a:gd name="connsiteX22" fmla="*/ 353283 w 2952846"/>
                  <a:gd name="connsiteY22" fmla="*/ 73057 h 201930"/>
                  <a:gd name="connsiteX23" fmla="*/ 387001 w 2952846"/>
                  <a:gd name="connsiteY23" fmla="*/ 73057 h 201930"/>
                  <a:gd name="connsiteX24" fmla="*/ 387001 w 2952846"/>
                  <a:gd name="connsiteY24" fmla="*/ 79153 h 201930"/>
                  <a:gd name="connsiteX25" fmla="*/ 393288 w 2952846"/>
                  <a:gd name="connsiteY25" fmla="*/ 79153 h 201930"/>
                  <a:gd name="connsiteX26" fmla="*/ 393288 w 2952846"/>
                  <a:gd name="connsiteY26" fmla="*/ 85249 h 201930"/>
                  <a:gd name="connsiteX27" fmla="*/ 407956 w 2952846"/>
                  <a:gd name="connsiteY27" fmla="*/ 85249 h 201930"/>
                  <a:gd name="connsiteX28" fmla="*/ 407956 w 2952846"/>
                  <a:gd name="connsiteY28" fmla="*/ 91345 h 201930"/>
                  <a:gd name="connsiteX29" fmla="*/ 420624 w 2952846"/>
                  <a:gd name="connsiteY29" fmla="*/ 91345 h 201930"/>
                  <a:gd name="connsiteX30" fmla="*/ 420624 w 2952846"/>
                  <a:gd name="connsiteY30" fmla="*/ 97536 h 201930"/>
                  <a:gd name="connsiteX31" fmla="*/ 445866 w 2952846"/>
                  <a:gd name="connsiteY31" fmla="*/ 97536 h 201930"/>
                  <a:gd name="connsiteX32" fmla="*/ 445866 w 2952846"/>
                  <a:gd name="connsiteY32" fmla="*/ 103632 h 201930"/>
                  <a:gd name="connsiteX33" fmla="*/ 675132 w 2952846"/>
                  <a:gd name="connsiteY33" fmla="*/ 103632 h 201930"/>
                  <a:gd name="connsiteX34" fmla="*/ 675132 w 2952846"/>
                  <a:gd name="connsiteY34" fmla="*/ 109824 h 201930"/>
                  <a:gd name="connsiteX35" fmla="*/ 788670 w 2952846"/>
                  <a:gd name="connsiteY35" fmla="*/ 109824 h 201930"/>
                  <a:gd name="connsiteX36" fmla="*/ 788670 w 2952846"/>
                  <a:gd name="connsiteY36" fmla="*/ 116015 h 201930"/>
                  <a:gd name="connsiteX37" fmla="*/ 1057847 w 2952846"/>
                  <a:gd name="connsiteY37" fmla="*/ 116015 h 201930"/>
                  <a:gd name="connsiteX38" fmla="*/ 1057847 w 2952846"/>
                  <a:gd name="connsiteY38" fmla="*/ 122301 h 201930"/>
                  <a:gd name="connsiteX39" fmla="*/ 1131475 w 2952846"/>
                  <a:gd name="connsiteY39" fmla="*/ 122301 h 201930"/>
                  <a:gd name="connsiteX40" fmla="*/ 1131475 w 2952846"/>
                  <a:gd name="connsiteY40" fmla="*/ 128588 h 201930"/>
                  <a:gd name="connsiteX41" fmla="*/ 1211390 w 2952846"/>
                  <a:gd name="connsiteY41" fmla="*/ 128588 h 201930"/>
                  <a:gd name="connsiteX42" fmla="*/ 1211390 w 2952846"/>
                  <a:gd name="connsiteY42" fmla="*/ 134874 h 201930"/>
                  <a:gd name="connsiteX43" fmla="*/ 1373315 w 2952846"/>
                  <a:gd name="connsiteY43" fmla="*/ 134874 h 201930"/>
                  <a:gd name="connsiteX44" fmla="*/ 1373315 w 2952846"/>
                  <a:gd name="connsiteY44" fmla="*/ 141351 h 201930"/>
                  <a:gd name="connsiteX45" fmla="*/ 1390174 w 2952846"/>
                  <a:gd name="connsiteY45" fmla="*/ 141351 h 201930"/>
                  <a:gd name="connsiteX46" fmla="*/ 1390174 w 2952846"/>
                  <a:gd name="connsiteY46" fmla="*/ 147733 h 201930"/>
                  <a:gd name="connsiteX47" fmla="*/ 1507998 w 2952846"/>
                  <a:gd name="connsiteY47" fmla="*/ 147733 h 201930"/>
                  <a:gd name="connsiteX48" fmla="*/ 1507998 w 2952846"/>
                  <a:gd name="connsiteY48" fmla="*/ 154210 h 201930"/>
                  <a:gd name="connsiteX49" fmla="*/ 1600486 w 2952846"/>
                  <a:gd name="connsiteY49" fmla="*/ 154210 h 201930"/>
                  <a:gd name="connsiteX50" fmla="*/ 1600486 w 2952846"/>
                  <a:gd name="connsiteY50" fmla="*/ 160592 h 201930"/>
                  <a:gd name="connsiteX51" fmla="*/ 1619441 w 2952846"/>
                  <a:gd name="connsiteY51" fmla="*/ 160592 h 201930"/>
                  <a:gd name="connsiteX52" fmla="*/ 1619441 w 2952846"/>
                  <a:gd name="connsiteY52" fmla="*/ 167069 h 201930"/>
                  <a:gd name="connsiteX53" fmla="*/ 2473262 w 2952846"/>
                  <a:gd name="connsiteY53" fmla="*/ 167069 h 201930"/>
                  <a:gd name="connsiteX54" fmla="*/ 2473262 w 2952846"/>
                  <a:gd name="connsiteY54" fmla="*/ 201930 h 201930"/>
                  <a:gd name="connsiteX55" fmla="*/ 2952846 w 2952846"/>
                  <a:gd name="connsiteY55" fmla="*/ 201930 h 201930"/>
                  <a:gd name="connsiteX0" fmla="*/ 0 w 2938177"/>
                  <a:gd name="connsiteY0" fmla="*/ 0 h 195929"/>
                  <a:gd name="connsiteX1" fmla="*/ 0 w 2938177"/>
                  <a:gd name="connsiteY1" fmla="*/ 6096 h 195929"/>
                  <a:gd name="connsiteX2" fmla="*/ 29527 w 2938177"/>
                  <a:gd name="connsiteY2" fmla="*/ 6096 h 195929"/>
                  <a:gd name="connsiteX3" fmla="*/ 29527 w 2938177"/>
                  <a:gd name="connsiteY3" fmla="*/ 12192 h 195929"/>
                  <a:gd name="connsiteX4" fmla="*/ 31623 w 2938177"/>
                  <a:gd name="connsiteY4" fmla="*/ 12192 h 195929"/>
                  <a:gd name="connsiteX5" fmla="*/ 31623 w 2938177"/>
                  <a:gd name="connsiteY5" fmla="*/ 18193 h 195929"/>
                  <a:gd name="connsiteX6" fmla="*/ 54673 w 2938177"/>
                  <a:gd name="connsiteY6" fmla="*/ 18193 h 195929"/>
                  <a:gd name="connsiteX7" fmla="*/ 54673 w 2938177"/>
                  <a:gd name="connsiteY7" fmla="*/ 24289 h 195929"/>
                  <a:gd name="connsiteX8" fmla="*/ 67342 w 2938177"/>
                  <a:gd name="connsiteY8" fmla="*/ 24289 h 195929"/>
                  <a:gd name="connsiteX9" fmla="*/ 67342 w 2938177"/>
                  <a:gd name="connsiteY9" fmla="*/ 30385 h 195929"/>
                  <a:gd name="connsiteX10" fmla="*/ 103060 w 2938177"/>
                  <a:gd name="connsiteY10" fmla="*/ 30385 h 195929"/>
                  <a:gd name="connsiteX11" fmla="*/ 103060 w 2938177"/>
                  <a:gd name="connsiteY11" fmla="*/ 36481 h 195929"/>
                  <a:gd name="connsiteX12" fmla="*/ 218789 w 2938177"/>
                  <a:gd name="connsiteY12" fmla="*/ 36481 h 195929"/>
                  <a:gd name="connsiteX13" fmla="*/ 218789 w 2938177"/>
                  <a:gd name="connsiteY13" fmla="*/ 42482 h 195929"/>
                  <a:gd name="connsiteX14" fmla="*/ 256603 w 2938177"/>
                  <a:gd name="connsiteY14" fmla="*/ 42482 h 195929"/>
                  <a:gd name="connsiteX15" fmla="*/ 256603 w 2938177"/>
                  <a:gd name="connsiteY15" fmla="*/ 48673 h 195929"/>
                  <a:gd name="connsiteX16" fmla="*/ 309181 w 2938177"/>
                  <a:gd name="connsiteY16" fmla="*/ 48673 h 195929"/>
                  <a:gd name="connsiteX17" fmla="*/ 309181 w 2938177"/>
                  <a:gd name="connsiteY17" fmla="*/ 54769 h 195929"/>
                  <a:gd name="connsiteX18" fmla="*/ 328136 w 2938177"/>
                  <a:gd name="connsiteY18" fmla="*/ 54769 h 195929"/>
                  <a:gd name="connsiteX19" fmla="*/ 328136 w 2938177"/>
                  <a:gd name="connsiteY19" fmla="*/ 60865 h 195929"/>
                  <a:gd name="connsiteX20" fmla="*/ 338614 w 2938177"/>
                  <a:gd name="connsiteY20" fmla="*/ 60865 h 195929"/>
                  <a:gd name="connsiteX21" fmla="*/ 338614 w 2938177"/>
                  <a:gd name="connsiteY21" fmla="*/ 67056 h 195929"/>
                  <a:gd name="connsiteX22" fmla="*/ 372332 w 2938177"/>
                  <a:gd name="connsiteY22" fmla="*/ 67056 h 195929"/>
                  <a:gd name="connsiteX23" fmla="*/ 372332 w 2938177"/>
                  <a:gd name="connsiteY23" fmla="*/ 73152 h 195929"/>
                  <a:gd name="connsiteX24" fmla="*/ 378619 w 2938177"/>
                  <a:gd name="connsiteY24" fmla="*/ 73152 h 195929"/>
                  <a:gd name="connsiteX25" fmla="*/ 378619 w 2938177"/>
                  <a:gd name="connsiteY25" fmla="*/ 79248 h 195929"/>
                  <a:gd name="connsiteX26" fmla="*/ 393287 w 2938177"/>
                  <a:gd name="connsiteY26" fmla="*/ 79248 h 195929"/>
                  <a:gd name="connsiteX27" fmla="*/ 393287 w 2938177"/>
                  <a:gd name="connsiteY27" fmla="*/ 85344 h 195929"/>
                  <a:gd name="connsiteX28" fmla="*/ 405955 w 2938177"/>
                  <a:gd name="connsiteY28" fmla="*/ 85344 h 195929"/>
                  <a:gd name="connsiteX29" fmla="*/ 405955 w 2938177"/>
                  <a:gd name="connsiteY29" fmla="*/ 91535 h 195929"/>
                  <a:gd name="connsiteX30" fmla="*/ 431197 w 2938177"/>
                  <a:gd name="connsiteY30" fmla="*/ 91535 h 195929"/>
                  <a:gd name="connsiteX31" fmla="*/ 431197 w 2938177"/>
                  <a:gd name="connsiteY31" fmla="*/ 97631 h 195929"/>
                  <a:gd name="connsiteX32" fmla="*/ 660463 w 2938177"/>
                  <a:gd name="connsiteY32" fmla="*/ 97631 h 195929"/>
                  <a:gd name="connsiteX33" fmla="*/ 660463 w 2938177"/>
                  <a:gd name="connsiteY33" fmla="*/ 103823 h 195929"/>
                  <a:gd name="connsiteX34" fmla="*/ 774001 w 2938177"/>
                  <a:gd name="connsiteY34" fmla="*/ 103823 h 195929"/>
                  <a:gd name="connsiteX35" fmla="*/ 774001 w 2938177"/>
                  <a:gd name="connsiteY35" fmla="*/ 110014 h 195929"/>
                  <a:gd name="connsiteX36" fmla="*/ 1043178 w 2938177"/>
                  <a:gd name="connsiteY36" fmla="*/ 110014 h 195929"/>
                  <a:gd name="connsiteX37" fmla="*/ 1043178 w 2938177"/>
                  <a:gd name="connsiteY37" fmla="*/ 116300 h 195929"/>
                  <a:gd name="connsiteX38" fmla="*/ 1116806 w 2938177"/>
                  <a:gd name="connsiteY38" fmla="*/ 116300 h 195929"/>
                  <a:gd name="connsiteX39" fmla="*/ 1116806 w 2938177"/>
                  <a:gd name="connsiteY39" fmla="*/ 122587 h 195929"/>
                  <a:gd name="connsiteX40" fmla="*/ 1196721 w 2938177"/>
                  <a:gd name="connsiteY40" fmla="*/ 122587 h 195929"/>
                  <a:gd name="connsiteX41" fmla="*/ 1196721 w 2938177"/>
                  <a:gd name="connsiteY41" fmla="*/ 128873 h 195929"/>
                  <a:gd name="connsiteX42" fmla="*/ 1358646 w 2938177"/>
                  <a:gd name="connsiteY42" fmla="*/ 128873 h 195929"/>
                  <a:gd name="connsiteX43" fmla="*/ 1358646 w 2938177"/>
                  <a:gd name="connsiteY43" fmla="*/ 135350 h 195929"/>
                  <a:gd name="connsiteX44" fmla="*/ 1375505 w 2938177"/>
                  <a:gd name="connsiteY44" fmla="*/ 135350 h 195929"/>
                  <a:gd name="connsiteX45" fmla="*/ 1375505 w 2938177"/>
                  <a:gd name="connsiteY45" fmla="*/ 141732 h 195929"/>
                  <a:gd name="connsiteX46" fmla="*/ 1493329 w 2938177"/>
                  <a:gd name="connsiteY46" fmla="*/ 141732 h 195929"/>
                  <a:gd name="connsiteX47" fmla="*/ 1493329 w 2938177"/>
                  <a:gd name="connsiteY47" fmla="*/ 148209 h 195929"/>
                  <a:gd name="connsiteX48" fmla="*/ 1585817 w 2938177"/>
                  <a:gd name="connsiteY48" fmla="*/ 148209 h 195929"/>
                  <a:gd name="connsiteX49" fmla="*/ 1585817 w 2938177"/>
                  <a:gd name="connsiteY49" fmla="*/ 154591 h 195929"/>
                  <a:gd name="connsiteX50" fmla="*/ 1604772 w 2938177"/>
                  <a:gd name="connsiteY50" fmla="*/ 154591 h 195929"/>
                  <a:gd name="connsiteX51" fmla="*/ 1604772 w 2938177"/>
                  <a:gd name="connsiteY51" fmla="*/ 161068 h 195929"/>
                  <a:gd name="connsiteX52" fmla="*/ 2458593 w 2938177"/>
                  <a:gd name="connsiteY52" fmla="*/ 161068 h 195929"/>
                  <a:gd name="connsiteX53" fmla="*/ 2458593 w 2938177"/>
                  <a:gd name="connsiteY53" fmla="*/ 195929 h 195929"/>
                  <a:gd name="connsiteX54" fmla="*/ 2938177 w 2938177"/>
                  <a:gd name="connsiteY54" fmla="*/ 195929 h 195929"/>
                  <a:gd name="connsiteX0" fmla="*/ 0 w 2938177"/>
                  <a:gd name="connsiteY0" fmla="*/ 0 h 195929"/>
                  <a:gd name="connsiteX1" fmla="*/ 29527 w 2938177"/>
                  <a:gd name="connsiteY1" fmla="*/ 6096 h 195929"/>
                  <a:gd name="connsiteX2" fmla="*/ 29527 w 2938177"/>
                  <a:gd name="connsiteY2" fmla="*/ 12192 h 195929"/>
                  <a:gd name="connsiteX3" fmla="*/ 31623 w 2938177"/>
                  <a:gd name="connsiteY3" fmla="*/ 12192 h 195929"/>
                  <a:gd name="connsiteX4" fmla="*/ 31623 w 2938177"/>
                  <a:gd name="connsiteY4" fmla="*/ 18193 h 195929"/>
                  <a:gd name="connsiteX5" fmla="*/ 54673 w 2938177"/>
                  <a:gd name="connsiteY5" fmla="*/ 18193 h 195929"/>
                  <a:gd name="connsiteX6" fmla="*/ 54673 w 2938177"/>
                  <a:gd name="connsiteY6" fmla="*/ 24289 h 195929"/>
                  <a:gd name="connsiteX7" fmla="*/ 67342 w 2938177"/>
                  <a:gd name="connsiteY7" fmla="*/ 24289 h 195929"/>
                  <a:gd name="connsiteX8" fmla="*/ 67342 w 2938177"/>
                  <a:gd name="connsiteY8" fmla="*/ 30385 h 195929"/>
                  <a:gd name="connsiteX9" fmla="*/ 103060 w 2938177"/>
                  <a:gd name="connsiteY9" fmla="*/ 30385 h 195929"/>
                  <a:gd name="connsiteX10" fmla="*/ 103060 w 2938177"/>
                  <a:gd name="connsiteY10" fmla="*/ 36481 h 195929"/>
                  <a:gd name="connsiteX11" fmla="*/ 218789 w 2938177"/>
                  <a:gd name="connsiteY11" fmla="*/ 36481 h 195929"/>
                  <a:gd name="connsiteX12" fmla="*/ 218789 w 2938177"/>
                  <a:gd name="connsiteY12" fmla="*/ 42482 h 195929"/>
                  <a:gd name="connsiteX13" fmla="*/ 256603 w 2938177"/>
                  <a:gd name="connsiteY13" fmla="*/ 42482 h 195929"/>
                  <a:gd name="connsiteX14" fmla="*/ 256603 w 2938177"/>
                  <a:gd name="connsiteY14" fmla="*/ 48673 h 195929"/>
                  <a:gd name="connsiteX15" fmla="*/ 309181 w 2938177"/>
                  <a:gd name="connsiteY15" fmla="*/ 48673 h 195929"/>
                  <a:gd name="connsiteX16" fmla="*/ 309181 w 2938177"/>
                  <a:gd name="connsiteY16" fmla="*/ 54769 h 195929"/>
                  <a:gd name="connsiteX17" fmla="*/ 328136 w 2938177"/>
                  <a:gd name="connsiteY17" fmla="*/ 54769 h 195929"/>
                  <a:gd name="connsiteX18" fmla="*/ 328136 w 2938177"/>
                  <a:gd name="connsiteY18" fmla="*/ 60865 h 195929"/>
                  <a:gd name="connsiteX19" fmla="*/ 338614 w 2938177"/>
                  <a:gd name="connsiteY19" fmla="*/ 60865 h 195929"/>
                  <a:gd name="connsiteX20" fmla="*/ 338614 w 2938177"/>
                  <a:gd name="connsiteY20" fmla="*/ 67056 h 195929"/>
                  <a:gd name="connsiteX21" fmla="*/ 372332 w 2938177"/>
                  <a:gd name="connsiteY21" fmla="*/ 67056 h 195929"/>
                  <a:gd name="connsiteX22" fmla="*/ 372332 w 2938177"/>
                  <a:gd name="connsiteY22" fmla="*/ 73152 h 195929"/>
                  <a:gd name="connsiteX23" fmla="*/ 378619 w 2938177"/>
                  <a:gd name="connsiteY23" fmla="*/ 73152 h 195929"/>
                  <a:gd name="connsiteX24" fmla="*/ 378619 w 2938177"/>
                  <a:gd name="connsiteY24" fmla="*/ 79248 h 195929"/>
                  <a:gd name="connsiteX25" fmla="*/ 393287 w 2938177"/>
                  <a:gd name="connsiteY25" fmla="*/ 79248 h 195929"/>
                  <a:gd name="connsiteX26" fmla="*/ 393287 w 2938177"/>
                  <a:gd name="connsiteY26" fmla="*/ 85344 h 195929"/>
                  <a:gd name="connsiteX27" fmla="*/ 405955 w 2938177"/>
                  <a:gd name="connsiteY27" fmla="*/ 85344 h 195929"/>
                  <a:gd name="connsiteX28" fmla="*/ 405955 w 2938177"/>
                  <a:gd name="connsiteY28" fmla="*/ 91535 h 195929"/>
                  <a:gd name="connsiteX29" fmla="*/ 431197 w 2938177"/>
                  <a:gd name="connsiteY29" fmla="*/ 91535 h 195929"/>
                  <a:gd name="connsiteX30" fmla="*/ 431197 w 2938177"/>
                  <a:gd name="connsiteY30" fmla="*/ 97631 h 195929"/>
                  <a:gd name="connsiteX31" fmla="*/ 660463 w 2938177"/>
                  <a:gd name="connsiteY31" fmla="*/ 97631 h 195929"/>
                  <a:gd name="connsiteX32" fmla="*/ 660463 w 2938177"/>
                  <a:gd name="connsiteY32" fmla="*/ 103823 h 195929"/>
                  <a:gd name="connsiteX33" fmla="*/ 774001 w 2938177"/>
                  <a:gd name="connsiteY33" fmla="*/ 103823 h 195929"/>
                  <a:gd name="connsiteX34" fmla="*/ 774001 w 2938177"/>
                  <a:gd name="connsiteY34" fmla="*/ 110014 h 195929"/>
                  <a:gd name="connsiteX35" fmla="*/ 1043178 w 2938177"/>
                  <a:gd name="connsiteY35" fmla="*/ 110014 h 195929"/>
                  <a:gd name="connsiteX36" fmla="*/ 1043178 w 2938177"/>
                  <a:gd name="connsiteY36" fmla="*/ 116300 h 195929"/>
                  <a:gd name="connsiteX37" fmla="*/ 1116806 w 2938177"/>
                  <a:gd name="connsiteY37" fmla="*/ 116300 h 195929"/>
                  <a:gd name="connsiteX38" fmla="*/ 1116806 w 2938177"/>
                  <a:gd name="connsiteY38" fmla="*/ 122587 h 195929"/>
                  <a:gd name="connsiteX39" fmla="*/ 1196721 w 2938177"/>
                  <a:gd name="connsiteY39" fmla="*/ 122587 h 195929"/>
                  <a:gd name="connsiteX40" fmla="*/ 1196721 w 2938177"/>
                  <a:gd name="connsiteY40" fmla="*/ 128873 h 195929"/>
                  <a:gd name="connsiteX41" fmla="*/ 1358646 w 2938177"/>
                  <a:gd name="connsiteY41" fmla="*/ 128873 h 195929"/>
                  <a:gd name="connsiteX42" fmla="*/ 1358646 w 2938177"/>
                  <a:gd name="connsiteY42" fmla="*/ 135350 h 195929"/>
                  <a:gd name="connsiteX43" fmla="*/ 1375505 w 2938177"/>
                  <a:gd name="connsiteY43" fmla="*/ 135350 h 195929"/>
                  <a:gd name="connsiteX44" fmla="*/ 1375505 w 2938177"/>
                  <a:gd name="connsiteY44" fmla="*/ 141732 h 195929"/>
                  <a:gd name="connsiteX45" fmla="*/ 1493329 w 2938177"/>
                  <a:gd name="connsiteY45" fmla="*/ 141732 h 195929"/>
                  <a:gd name="connsiteX46" fmla="*/ 1493329 w 2938177"/>
                  <a:gd name="connsiteY46" fmla="*/ 148209 h 195929"/>
                  <a:gd name="connsiteX47" fmla="*/ 1585817 w 2938177"/>
                  <a:gd name="connsiteY47" fmla="*/ 148209 h 195929"/>
                  <a:gd name="connsiteX48" fmla="*/ 1585817 w 2938177"/>
                  <a:gd name="connsiteY48" fmla="*/ 154591 h 195929"/>
                  <a:gd name="connsiteX49" fmla="*/ 1604772 w 2938177"/>
                  <a:gd name="connsiteY49" fmla="*/ 154591 h 195929"/>
                  <a:gd name="connsiteX50" fmla="*/ 1604772 w 2938177"/>
                  <a:gd name="connsiteY50" fmla="*/ 161068 h 195929"/>
                  <a:gd name="connsiteX51" fmla="*/ 2458593 w 2938177"/>
                  <a:gd name="connsiteY51" fmla="*/ 161068 h 195929"/>
                  <a:gd name="connsiteX52" fmla="*/ 2458593 w 2938177"/>
                  <a:gd name="connsiteY52" fmla="*/ 195929 h 195929"/>
                  <a:gd name="connsiteX53" fmla="*/ 2938177 w 2938177"/>
                  <a:gd name="connsiteY53" fmla="*/ 195929 h 195929"/>
                  <a:gd name="connsiteX0" fmla="*/ 0 w 2908650"/>
                  <a:gd name="connsiteY0" fmla="*/ 0 h 189833"/>
                  <a:gd name="connsiteX1" fmla="*/ 0 w 2908650"/>
                  <a:gd name="connsiteY1" fmla="*/ 6096 h 189833"/>
                  <a:gd name="connsiteX2" fmla="*/ 2096 w 2908650"/>
                  <a:gd name="connsiteY2" fmla="*/ 6096 h 189833"/>
                  <a:gd name="connsiteX3" fmla="*/ 2096 w 2908650"/>
                  <a:gd name="connsiteY3" fmla="*/ 12097 h 189833"/>
                  <a:gd name="connsiteX4" fmla="*/ 25146 w 2908650"/>
                  <a:gd name="connsiteY4" fmla="*/ 12097 h 189833"/>
                  <a:gd name="connsiteX5" fmla="*/ 25146 w 2908650"/>
                  <a:gd name="connsiteY5" fmla="*/ 18193 h 189833"/>
                  <a:gd name="connsiteX6" fmla="*/ 37815 w 2908650"/>
                  <a:gd name="connsiteY6" fmla="*/ 18193 h 189833"/>
                  <a:gd name="connsiteX7" fmla="*/ 37815 w 2908650"/>
                  <a:gd name="connsiteY7" fmla="*/ 24289 h 189833"/>
                  <a:gd name="connsiteX8" fmla="*/ 73533 w 2908650"/>
                  <a:gd name="connsiteY8" fmla="*/ 24289 h 189833"/>
                  <a:gd name="connsiteX9" fmla="*/ 73533 w 2908650"/>
                  <a:gd name="connsiteY9" fmla="*/ 30385 h 189833"/>
                  <a:gd name="connsiteX10" fmla="*/ 189262 w 2908650"/>
                  <a:gd name="connsiteY10" fmla="*/ 30385 h 189833"/>
                  <a:gd name="connsiteX11" fmla="*/ 189262 w 2908650"/>
                  <a:gd name="connsiteY11" fmla="*/ 36386 h 189833"/>
                  <a:gd name="connsiteX12" fmla="*/ 227076 w 2908650"/>
                  <a:gd name="connsiteY12" fmla="*/ 36386 h 189833"/>
                  <a:gd name="connsiteX13" fmla="*/ 227076 w 2908650"/>
                  <a:gd name="connsiteY13" fmla="*/ 42577 h 189833"/>
                  <a:gd name="connsiteX14" fmla="*/ 279654 w 2908650"/>
                  <a:gd name="connsiteY14" fmla="*/ 42577 h 189833"/>
                  <a:gd name="connsiteX15" fmla="*/ 279654 w 2908650"/>
                  <a:gd name="connsiteY15" fmla="*/ 48673 h 189833"/>
                  <a:gd name="connsiteX16" fmla="*/ 298609 w 2908650"/>
                  <a:gd name="connsiteY16" fmla="*/ 48673 h 189833"/>
                  <a:gd name="connsiteX17" fmla="*/ 298609 w 2908650"/>
                  <a:gd name="connsiteY17" fmla="*/ 54769 h 189833"/>
                  <a:gd name="connsiteX18" fmla="*/ 309087 w 2908650"/>
                  <a:gd name="connsiteY18" fmla="*/ 54769 h 189833"/>
                  <a:gd name="connsiteX19" fmla="*/ 309087 w 2908650"/>
                  <a:gd name="connsiteY19" fmla="*/ 60960 h 189833"/>
                  <a:gd name="connsiteX20" fmla="*/ 342805 w 2908650"/>
                  <a:gd name="connsiteY20" fmla="*/ 60960 h 189833"/>
                  <a:gd name="connsiteX21" fmla="*/ 342805 w 2908650"/>
                  <a:gd name="connsiteY21" fmla="*/ 67056 h 189833"/>
                  <a:gd name="connsiteX22" fmla="*/ 349092 w 2908650"/>
                  <a:gd name="connsiteY22" fmla="*/ 67056 h 189833"/>
                  <a:gd name="connsiteX23" fmla="*/ 349092 w 2908650"/>
                  <a:gd name="connsiteY23" fmla="*/ 73152 h 189833"/>
                  <a:gd name="connsiteX24" fmla="*/ 363760 w 2908650"/>
                  <a:gd name="connsiteY24" fmla="*/ 73152 h 189833"/>
                  <a:gd name="connsiteX25" fmla="*/ 363760 w 2908650"/>
                  <a:gd name="connsiteY25" fmla="*/ 79248 h 189833"/>
                  <a:gd name="connsiteX26" fmla="*/ 376428 w 2908650"/>
                  <a:gd name="connsiteY26" fmla="*/ 79248 h 189833"/>
                  <a:gd name="connsiteX27" fmla="*/ 376428 w 2908650"/>
                  <a:gd name="connsiteY27" fmla="*/ 85439 h 189833"/>
                  <a:gd name="connsiteX28" fmla="*/ 401670 w 2908650"/>
                  <a:gd name="connsiteY28" fmla="*/ 85439 h 189833"/>
                  <a:gd name="connsiteX29" fmla="*/ 401670 w 2908650"/>
                  <a:gd name="connsiteY29" fmla="*/ 91535 h 189833"/>
                  <a:gd name="connsiteX30" fmla="*/ 630936 w 2908650"/>
                  <a:gd name="connsiteY30" fmla="*/ 91535 h 189833"/>
                  <a:gd name="connsiteX31" fmla="*/ 630936 w 2908650"/>
                  <a:gd name="connsiteY31" fmla="*/ 97727 h 189833"/>
                  <a:gd name="connsiteX32" fmla="*/ 744474 w 2908650"/>
                  <a:gd name="connsiteY32" fmla="*/ 97727 h 189833"/>
                  <a:gd name="connsiteX33" fmla="*/ 744474 w 2908650"/>
                  <a:gd name="connsiteY33" fmla="*/ 103918 h 189833"/>
                  <a:gd name="connsiteX34" fmla="*/ 1013651 w 2908650"/>
                  <a:gd name="connsiteY34" fmla="*/ 103918 h 189833"/>
                  <a:gd name="connsiteX35" fmla="*/ 1013651 w 2908650"/>
                  <a:gd name="connsiteY35" fmla="*/ 110204 h 189833"/>
                  <a:gd name="connsiteX36" fmla="*/ 1087279 w 2908650"/>
                  <a:gd name="connsiteY36" fmla="*/ 110204 h 189833"/>
                  <a:gd name="connsiteX37" fmla="*/ 1087279 w 2908650"/>
                  <a:gd name="connsiteY37" fmla="*/ 116491 h 189833"/>
                  <a:gd name="connsiteX38" fmla="*/ 1167194 w 2908650"/>
                  <a:gd name="connsiteY38" fmla="*/ 116491 h 189833"/>
                  <a:gd name="connsiteX39" fmla="*/ 1167194 w 2908650"/>
                  <a:gd name="connsiteY39" fmla="*/ 122777 h 189833"/>
                  <a:gd name="connsiteX40" fmla="*/ 1329119 w 2908650"/>
                  <a:gd name="connsiteY40" fmla="*/ 122777 h 189833"/>
                  <a:gd name="connsiteX41" fmla="*/ 1329119 w 2908650"/>
                  <a:gd name="connsiteY41" fmla="*/ 129254 h 189833"/>
                  <a:gd name="connsiteX42" fmla="*/ 1345978 w 2908650"/>
                  <a:gd name="connsiteY42" fmla="*/ 129254 h 189833"/>
                  <a:gd name="connsiteX43" fmla="*/ 1345978 w 2908650"/>
                  <a:gd name="connsiteY43" fmla="*/ 135636 h 189833"/>
                  <a:gd name="connsiteX44" fmla="*/ 1463802 w 2908650"/>
                  <a:gd name="connsiteY44" fmla="*/ 135636 h 189833"/>
                  <a:gd name="connsiteX45" fmla="*/ 1463802 w 2908650"/>
                  <a:gd name="connsiteY45" fmla="*/ 142113 h 189833"/>
                  <a:gd name="connsiteX46" fmla="*/ 1556290 w 2908650"/>
                  <a:gd name="connsiteY46" fmla="*/ 142113 h 189833"/>
                  <a:gd name="connsiteX47" fmla="*/ 1556290 w 2908650"/>
                  <a:gd name="connsiteY47" fmla="*/ 148495 h 189833"/>
                  <a:gd name="connsiteX48" fmla="*/ 1575245 w 2908650"/>
                  <a:gd name="connsiteY48" fmla="*/ 148495 h 189833"/>
                  <a:gd name="connsiteX49" fmla="*/ 1575245 w 2908650"/>
                  <a:gd name="connsiteY49" fmla="*/ 154972 h 189833"/>
                  <a:gd name="connsiteX50" fmla="*/ 2429066 w 2908650"/>
                  <a:gd name="connsiteY50" fmla="*/ 154972 h 189833"/>
                  <a:gd name="connsiteX51" fmla="*/ 2429066 w 2908650"/>
                  <a:gd name="connsiteY51" fmla="*/ 189833 h 189833"/>
                  <a:gd name="connsiteX52" fmla="*/ 2908650 w 2908650"/>
                  <a:gd name="connsiteY52" fmla="*/ 189833 h 189833"/>
                  <a:gd name="connsiteX0" fmla="*/ 0 w 2908650"/>
                  <a:gd name="connsiteY0" fmla="*/ 0 h 189833"/>
                  <a:gd name="connsiteX1" fmla="*/ 0 w 2908650"/>
                  <a:gd name="connsiteY1" fmla="*/ 6096 h 189833"/>
                  <a:gd name="connsiteX2" fmla="*/ 2096 w 2908650"/>
                  <a:gd name="connsiteY2" fmla="*/ 12097 h 189833"/>
                  <a:gd name="connsiteX3" fmla="*/ 25146 w 2908650"/>
                  <a:gd name="connsiteY3" fmla="*/ 12097 h 189833"/>
                  <a:gd name="connsiteX4" fmla="*/ 25146 w 2908650"/>
                  <a:gd name="connsiteY4" fmla="*/ 18193 h 189833"/>
                  <a:gd name="connsiteX5" fmla="*/ 37815 w 2908650"/>
                  <a:gd name="connsiteY5" fmla="*/ 18193 h 189833"/>
                  <a:gd name="connsiteX6" fmla="*/ 37815 w 2908650"/>
                  <a:gd name="connsiteY6" fmla="*/ 24289 h 189833"/>
                  <a:gd name="connsiteX7" fmla="*/ 73533 w 2908650"/>
                  <a:gd name="connsiteY7" fmla="*/ 24289 h 189833"/>
                  <a:gd name="connsiteX8" fmla="*/ 73533 w 2908650"/>
                  <a:gd name="connsiteY8" fmla="*/ 30385 h 189833"/>
                  <a:gd name="connsiteX9" fmla="*/ 189262 w 2908650"/>
                  <a:gd name="connsiteY9" fmla="*/ 30385 h 189833"/>
                  <a:gd name="connsiteX10" fmla="*/ 189262 w 2908650"/>
                  <a:gd name="connsiteY10" fmla="*/ 36386 h 189833"/>
                  <a:gd name="connsiteX11" fmla="*/ 227076 w 2908650"/>
                  <a:gd name="connsiteY11" fmla="*/ 36386 h 189833"/>
                  <a:gd name="connsiteX12" fmla="*/ 227076 w 2908650"/>
                  <a:gd name="connsiteY12" fmla="*/ 42577 h 189833"/>
                  <a:gd name="connsiteX13" fmla="*/ 279654 w 2908650"/>
                  <a:gd name="connsiteY13" fmla="*/ 42577 h 189833"/>
                  <a:gd name="connsiteX14" fmla="*/ 279654 w 2908650"/>
                  <a:gd name="connsiteY14" fmla="*/ 48673 h 189833"/>
                  <a:gd name="connsiteX15" fmla="*/ 298609 w 2908650"/>
                  <a:gd name="connsiteY15" fmla="*/ 48673 h 189833"/>
                  <a:gd name="connsiteX16" fmla="*/ 298609 w 2908650"/>
                  <a:gd name="connsiteY16" fmla="*/ 54769 h 189833"/>
                  <a:gd name="connsiteX17" fmla="*/ 309087 w 2908650"/>
                  <a:gd name="connsiteY17" fmla="*/ 54769 h 189833"/>
                  <a:gd name="connsiteX18" fmla="*/ 309087 w 2908650"/>
                  <a:gd name="connsiteY18" fmla="*/ 60960 h 189833"/>
                  <a:gd name="connsiteX19" fmla="*/ 342805 w 2908650"/>
                  <a:gd name="connsiteY19" fmla="*/ 60960 h 189833"/>
                  <a:gd name="connsiteX20" fmla="*/ 342805 w 2908650"/>
                  <a:gd name="connsiteY20" fmla="*/ 67056 h 189833"/>
                  <a:gd name="connsiteX21" fmla="*/ 349092 w 2908650"/>
                  <a:gd name="connsiteY21" fmla="*/ 67056 h 189833"/>
                  <a:gd name="connsiteX22" fmla="*/ 349092 w 2908650"/>
                  <a:gd name="connsiteY22" fmla="*/ 73152 h 189833"/>
                  <a:gd name="connsiteX23" fmla="*/ 363760 w 2908650"/>
                  <a:gd name="connsiteY23" fmla="*/ 73152 h 189833"/>
                  <a:gd name="connsiteX24" fmla="*/ 363760 w 2908650"/>
                  <a:gd name="connsiteY24" fmla="*/ 79248 h 189833"/>
                  <a:gd name="connsiteX25" fmla="*/ 376428 w 2908650"/>
                  <a:gd name="connsiteY25" fmla="*/ 79248 h 189833"/>
                  <a:gd name="connsiteX26" fmla="*/ 376428 w 2908650"/>
                  <a:gd name="connsiteY26" fmla="*/ 85439 h 189833"/>
                  <a:gd name="connsiteX27" fmla="*/ 401670 w 2908650"/>
                  <a:gd name="connsiteY27" fmla="*/ 85439 h 189833"/>
                  <a:gd name="connsiteX28" fmla="*/ 401670 w 2908650"/>
                  <a:gd name="connsiteY28" fmla="*/ 91535 h 189833"/>
                  <a:gd name="connsiteX29" fmla="*/ 630936 w 2908650"/>
                  <a:gd name="connsiteY29" fmla="*/ 91535 h 189833"/>
                  <a:gd name="connsiteX30" fmla="*/ 630936 w 2908650"/>
                  <a:gd name="connsiteY30" fmla="*/ 97727 h 189833"/>
                  <a:gd name="connsiteX31" fmla="*/ 744474 w 2908650"/>
                  <a:gd name="connsiteY31" fmla="*/ 97727 h 189833"/>
                  <a:gd name="connsiteX32" fmla="*/ 744474 w 2908650"/>
                  <a:gd name="connsiteY32" fmla="*/ 103918 h 189833"/>
                  <a:gd name="connsiteX33" fmla="*/ 1013651 w 2908650"/>
                  <a:gd name="connsiteY33" fmla="*/ 103918 h 189833"/>
                  <a:gd name="connsiteX34" fmla="*/ 1013651 w 2908650"/>
                  <a:gd name="connsiteY34" fmla="*/ 110204 h 189833"/>
                  <a:gd name="connsiteX35" fmla="*/ 1087279 w 2908650"/>
                  <a:gd name="connsiteY35" fmla="*/ 110204 h 189833"/>
                  <a:gd name="connsiteX36" fmla="*/ 1087279 w 2908650"/>
                  <a:gd name="connsiteY36" fmla="*/ 116491 h 189833"/>
                  <a:gd name="connsiteX37" fmla="*/ 1167194 w 2908650"/>
                  <a:gd name="connsiteY37" fmla="*/ 116491 h 189833"/>
                  <a:gd name="connsiteX38" fmla="*/ 1167194 w 2908650"/>
                  <a:gd name="connsiteY38" fmla="*/ 122777 h 189833"/>
                  <a:gd name="connsiteX39" fmla="*/ 1329119 w 2908650"/>
                  <a:gd name="connsiteY39" fmla="*/ 122777 h 189833"/>
                  <a:gd name="connsiteX40" fmla="*/ 1329119 w 2908650"/>
                  <a:gd name="connsiteY40" fmla="*/ 129254 h 189833"/>
                  <a:gd name="connsiteX41" fmla="*/ 1345978 w 2908650"/>
                  <a:gd name="connsiteY41" fmla="*/ 129254 h 189833"/>
                  <a:gd name="connsiteX42" fmla="*/ 1345978 w 2908650"/>
                  <a:gd name="connsiteY42" fmla="*/ 135636 h 189833"/>
                  <a:gd name="connsiteX43" fmla="*/ 1463802 w 2908650"/>
                  <a:gd name="connsiteY43" fmla="*/ 135636 h 189833"/>
                  <a:gd name="connsiteX44" fmla="*/ 1463802 w 2908650"/>
                  <a:gd name="connsiteY44" fmla="*/ 142113 h 189833"/>
                  <a:gd name="connsiteX45" fmla="*/ 1556290 w 2908650"/>
                  <a:gd name="connsiteY45" fmla="*/ 142113 h 189833"/>
                  <a:gd name="connsiteX46" fmla="*/ 1556290 w 2908650"/>
                  <a:gd name="connsiteY46" fmla="*/ 148495 h 189833"/>
                  <a:gd name="connsiteX47" fmla="*/ 1575245 w 2908650"/>
                  <a:gd name="connsiteY47" fmla="*/ 148495 h 189833"/>
                  <a:gd name="connsiteX48" fmla="*/ 1575245 w 2908650"/>
                  <a:gd name="connsiteY48" fmla="*/ 154972 h 189833"/>
                  <a:gd name="connsiteX49" fmla="*/ 2429066 w 2908650"/>
                  <a:gd name="connsiteY49" fmla="*/ 154972 h 189833"/>
                  <a:gd name="connsiteX50" fmla="*/ 2429066 w 2908650"/>
                  <a:gd name="connsiteY50" fmla="*/ 189833 h 189833"/>
                  <a:gd name="connsiteX51" fmla="*/ 2908650 w 2908650"/>
                  <a:gd name="connsiteY51" fmla="*/ 189833 h 189833"/>
                  <a:gd name="connsiteX0" fmla="*/ 0 w 2908650"/>
                  <a:gd name="connsiteY0" fmla="*/ 0 h 189833"/>
                  <a:gd name="connsiteX1" fmla="*/ 2096 w 2908650"/>
                  <a:gd name="connsiteY1" fmla="*/ 12097 h 189833"/>
                  <a:gd name="connsiteX2" fmla="*/ 25146 w 2908650"/>
                  <a:gd name="connsiteY2" fmla="*/ 12097 h 189833"/>
                  <a:gd name="connsiteX3" fmla="*/ 25146 w 2908650"/>
                  <a:gd name="connsiteY3" fmla="*/ 18193 h 189833"/>
                  <a:gd name="connsiteX4" fmla="*/ 37815 w 2908650"/>
                  <a:gd name="connsiteY4" fmla="*/ 18193 h 189833"/>
                  <a:gd name="connsiteX5" fmla="*/ 37815 w 2908650"/>
                  <a:gd name="connsiteY5" fmla="*/ 24289 h 189833"/>
                  <a:gd name="connsiteX6" fmla="*/ 73533 w 2908650"/>
                  <a:gd name="connsiteY6" fmla="*/ 24289 h 189833"/>
                  <a:gd name="connsiteX7" fmla="*/ 73533 w 2908650"/>
                  <a:gd name="connsiteY7" fmla="*/ 30385 h 189833"/>
                  <a:gd name="connsiteX8" fmla="*/ 189262 w 2908650"/>
                  <a:gd name="connsiteY8" fmla="*/ 30385 h 189833"/>
                  <a:gd name="connsiteX9" fmla="*/ 189262 w 2908650"/>
                  <a:gd name="connsiteY9" fmla="*/ 36386 h 189833"/>
                  <a:gd name="connsiteX10" fmla="*/ 227076 w 2908650"/>
                  <a:gd name="connsiteY10" fmla="*/ 36386 h 189833"/>
                  <a:gd name="connsiteX11" fmla="*/ 227076 w 2908650"/>
                  <a:gd name="connsiteY11" fmla="*/ 42577 h 189833"/>
                  <a:gd name="connsiteX12" fmla="*/ 279654 w 2908650"/>
                  <a:gd name="connsiteY12" fmla="*/ 42577 h 189833"/>
                  <a:gd name="connsiteX13" fmla="*/ 279654 w 2908650"/>
                  <a:gd name="connsiteY13" fmla="*/ 48673 h 189833"/>
                  <a:gd name="connsiteX14" fmla="*/ 298609 w 2908650"/>
                  <a:gd name="connsiteY14" fmla="*/ 48673 h 189833"/>
                  <a:gd name="connsiteX15" fmla="*/ 298609 w 2908650"/>
                  <a:gd name="connsiteY15" fmla="*/ 54769 h 189833"/>
                  <a:gd name="connsiteX16" fmla="*/ 309087 w 2908650"/>
                  <a:gd name="connsiteY16" fmla="*/ 54769 h 189833"/>
                  <a:gd name="connsiteX17" fmla="*/ 309087 w 2908650"/>
                  <a:gd name="connsiteY17" fmla="*/ 60960 h 189833"/>
                  <a:gd name="connsiteX18" fmla="*/ 342805 w 2908650"/>
                  <a:gd name="connsiteY18" fmla="*/ 60960 h 189833"/>
                  <a:gd name="connsiteX19" fmla="*/ 342805 w 2908650"/>
                  <a:gd name="connsiteY19" fmla="*/ 67056 h 189833"/>
                  <a:gd name="connsiteX20" fmla="*/ 349092 w 2908650"/>
                  <a:gd name="connsiteY20" fmla="*/ 67056 h 189833"/>
                  <a:gd name="connsiteX21" fmla="*/ 349092 w 2908650"/>
                  <a:gd name="connsiteY21" fmla="*/ 73152 h 189833"/>
                  <a:gd name="connsiteX22" fmla="*/ 363760 w 2908650"/>
                  <a:gd name="connsiteY22" fmla="*/ 73152 h 189833"/>
                  <a:gd name="connsiteX23" fmla="*/ 363760 w 2908650"/>
                  <a:gd name="connsiteY23" fmla="*/ 79248 h 189833"/>
                  <a:gd name="connsiteX24" fmla="*/ 376428 w 2908650"/>
                  <a:gd name="connsiteY24" fmla="*/ 79248 h 189833"/>
                  <a:gd name="connsiteX25" fmla="*/ 376428 w 2908650"/>
                  <a:gd name="connsiteY25" fmla="*/ 85439 h 189833"/>
                  <a:gd name="connsiteX26" fmla="*/ 401670 w 2908650"/>
                  <a:gd name="connsiteY26" fmla="*/ 85439 h 189833"/>
                  <a:gd name="connsiteX27" fmla="*/ 401670 w 2908650"/>
                  <a:gd name="connsiteY27" fmla="*/ 91535 h 189833"/>
                  <a:gd name="connsiteX28" fmla="*/ 630936 w 2908650"/>
                  <a:gd name="connsiteY28" fmla="*/ 91535 h 189833"/>
                  <a:gd name="connsiteX29" fmla="*/ 630936 w 2908650"/>
                  <a:gd name="connsiteY29" fmla="*/ 97727 h 189833"/>
                  <a:gd name="connsiteX30" fmla="*/ 744474 w 2908650"/>
                  <a:gd name="connsiteY30" fmla="*/ 97727 h 189833"/>
                  <a:gd name="connsiteX31" fmla="*/ 744474 w 2908650"/>
                  <a:gd name="connsiteY31" fmla="*/ 103918 h 189833"/>
                  <a:gd name="connsiteX32" fmla="*/ 1013651 w 2908650"/>
                  <a:gd name="connsiteY32" fmla="*/ 103918 h 189833"/>
                  <a:gd name="connsiteX33" fmla="*/ 1013651 w 2908650"/>
                  <a:gd name="connsiteY33" fmla="*/ 110204 h 189833"/>
                  <a:gd name="connsiteX34" fmla="*/ 1087279 w 2908650"/>
                  <a:gd name="connsiteY34" fmla="*/ 110204 h 189833"/>
                  <a:gd name="connsiteX35" fmla="*/ 1087279 w 2908650"/>
                  <a:gd name="connsiteY35" fmla="*/ 116491 h 189833"/>
                  <a:gd name="connsiteX36" fmla="*/ 1167194 w 2908650"/>
                  <a:gd name="connsiteY36" fmla="*/ 116491 h 189833"/>
                  <a:gd name="connsiteX37" fmla="*/ 1167194 w 2908650"/>
                  <a:gd name="connsiteY37" fmla="*/ 122777 h 189833"/>
                  <a:gd name="connsiteX38" fmla="*/ 1329119 w 2908650"/>
                  <a:gd name="connsiteY38" fmla="*/ 122777 h 189833"/>
                  <a:gd name="connsiteX39" fmla="*/ 1329119 w 2908650"/>
                  <a:gd name="connsiteY39" fmla="*/ 129254 h 189833"/>
                  <a:gd name="connsiteX40" fmla="*/ 1345978 w 2908650"/>
                  <a:gd name="connsiteY40" fmla="*/ 129254 h 189833"/>
                  <a:gd name="connsiteX41" fmla="*/ 1345978 w 2908650"/>
                  <a:gd name="connsiteY41" fmla="*/ 135636 h 189833"/>
                  <a:gd name="connsiteX42" fmla="*/ 1463802 w 2908650"/>
                  <a:gd name="connsiteY42" fmla="*/ 135636 h 189833"/>
                  <a:gd name="connsiteX43" fmla="*/ 1463802 w 2908650"/>
                  <a:gd name="connsiteY43" fmla="*/ 142113 h 189833"/>
                  <a:gd name="connsiteX44" fmla="*/ 1556290 w 2908650"/>
                  <a:gd name="connsiteY44" fmla="*/ 142113 h 189833"/>
                  <a:gd name="connsiteX45" fmla="*/ 1556290 w 2908650"/>
                  <a:gd name="connsiteY45" fmla="*/ 148495 h 189833"/>
                  <a:gd name="connsiteX46" fmla="*/ 1575245 w 2908650"/>
                  <a:gd name="connsiteY46" fmla="*/ 148495 h 189833"/>
                  <a:gd name="connsiteX47" fmla="*/ 1575245 w 2908650"/>
                  <a:gd name="connsiteY47" fmla="*/ 154972 h 189833"/>
                  <a:gd name="connsiteX48" fmla="*/ 2429066 w 2908650"/>
                  <a:gd name="connsiteY48" fmla="*/ 154972 h 189833"/>
                  <a:gd name="connsiteX49" fmla="*/ 2429066 w 2908650"/>
                  <a:gd name="connsiteY49" fmla="*/ 189833 h 189833"/>
                  <a:gd name="connsiteX50" fmla="*/ 2908650 w 2908650"/>
                  <a:gd name="connsiteY50" fmla="*/ 189833 h 189833"/>
                  <a:gd name="connsiteX0" fmla="*/ 0 w 2906554"/>
                  <a:gd name="connsiteY0" fmla="*/ 0 h 177736"/>
                  <a:gd name="connsiteX1" fmla="*/ 23050 w 2906554"/>
                  <a:gd name="connsiteY1" fmla="*/ 0 h 177736"/>
                  <a:gd name="connsiteX2" fmla="*/ 23050 w 2906554"/>
                  <a:gd name="connsiteY2" fmla="*/ 6096 h 177736"/>
                  <a:gd name="connsiteX3" fmla="*/ 35719 w 2906554"/>
                  <a:gd name="connsiteY3" fmla="*/ 6096 h 177736"/>
                  <a:gd name="connsiteX4" fmla="*/ 35719 w 2906554"/>
                  <a:gd name="connsiteY4" fmla="*/ 12192 h 177736"/>
                  <a:gd name="connsiteX5" fmla="*/ 71437 w 2906554"/>
                  <a:gd name="connsiteY5" fmla="*/ 12192 h 177736"/>
                  <a:gd name="connsiteX6" fmla="*/ 71437 w 2906554"/>
                  <a:gd name="connsiteY6" fmla="*/ 18288 h 177736"/>
                  <a:gd name="connsiteX7" fmla="*/ 187166 w 2906554"/>
                  <a:gd name="connsiteY7" fmla="*/ 18288 h 177736"/>
                  <a:gd name="connsiteX8" fmla="*/ 187166 w 2906554"/>
                  <a:gd name="connsiteY8" fmla="*/ 24289 h 177736"/>
                  <a:gd name="connsiteX9" fmla="*/ 224980 w 2906554"/>
                  <a:gd name="connsiteY9" fmla="*/ 24289 h 177736"/>
                  <a:gd name="connsiteX10" fmla="*/ 224980 w 2906554"/>
                  <a:gd name="connsiteY10" fmla="*/ 30480 h 177736"/>
                  <a:gd name="connsiteX11" fmla="*/ 277558 w 2906554"/>
                  <a:gd name="connsiteY11" fmla="*/ 30480 h 177736"/>
                  <a:gd name="connsiteX12" fmla="*/ 277558 w 2906554"/>
                  <a:gd name="connsiteY12" fmla="*/ 36576 h 177736"/>
                  <a:gd name="connsiteX13" fmla="*/ 296513 w 2906554"/>
                  <a:gd name="connsiteY13" fmla="*/ 36576 h 177736"/>
                  <a:gd name="connsiteX14" fmla="*/ 296513 w 2906554"/>
                  <a:gd name="connsiteY14" fmla="*/ 42672 h 177736"/>
                  <a:gd name="connsiteX15" fmla="*/ 306991 w 2906554"/>
                  <a:gd name="connsiteY15" fmla="*/ 42672 h 177736"/>
                  <a:gd name="connsiteX16" fmla="*/ 306991 w 2906554"/>
                  <a:gd name="connsiteY16" fmla="*/ 48863 h 177736"/>
                  <a:gd name="connsiteX17" fmla="*/ 340709 w 2906554"/>
                  <a:gd name="connsiteY17" fmla="*/ 48863 h 177736"/>
                  <a:gd name="connsiteX18" fmla="*/ 340709 w 2906554"/>
                  <a:gd name="connsiteY18" fmla="*/ 54959 h 177736"/>
                  <a:gd name="connsiteX19" fmla="*/ 346996 w 2906554"/>
                  <a:gd name="connsiteY19" fmla="*/ 54959 h 177736"/>
                  <a:gd name="connsiteX20" fmla="*/ 346996 w 2906554"/>
                  <a:gd name="connsiteY20" fmla="*/ 61055 h 177736"/>
                  <a:gd name="connsiteX21" fmla="*/ 361664 w 2906554"/>
                  <a:gd name="connsiteY21" fmla="*/ 61055 h 177736"/>
                  <a:gd name="connsiteX22" fmla="*/ 361664 w 2906554"/>
                  <a:gd name="connsiteY22" fmla="*/ 67151 h 177736"/>
                  <a:gd name="connsiteX23" fmla="*/ 374332 w 2906554"/>
                  <a:gd name="connsiteY23" fmla="*/ 67151 h 177736"/>
                  <a:gd name="connsiteX24" fmla="*/ 374332 w 2906554"/>
                  <a:gd name="connsiteY24" fmla="*/ 73342 h 177736"/>
                  <a:gd name="connsiteX25" fmla="*/ 399574 w 2906554"/>
                  <a:gd name="connsiteY25" fmla="*/ 73342 h 177736"/>
                  <a:gd name="connsiteX26" fmla="*/ 399574 w 2906554"/>
                  <a:gd name="connsiteY26" fmla="*/ 79438 h 177736"/>
                  <a:gd name="connsiteX27" fmla="*/ 628840 w 2906554"/>
                  <a:gd name="connsiteY27" fmla="*/ 79438 h 177736"/>
                  <a:gd name="connsiteX28" fmla="*/ 628840 w 2906554"/>
                  <a:gd name="connsiteY28" fmla="*/ 85630 h 177736"/>
                  <a:gd name="connsiteX29" fmla="*/ 742378 w 2906554"/>
                  <a:gd name="connsiteY29" fmla="*/ 85630 h 177736"/>
                  <a:gd name="connsiteX30" fmla="*/ 742378 w 2906554"/>
                  <a:gd name="connsiteY30" fmla="*/ 91821 h 177736"/>
                  <a:gd name="connsiteX31" fmla="*/ 1011555 w 2906554"/>
                  <a:gd name="connsiteY31" fmla="*/ 91821 h 177736"/>
                  <a:gd name="connsiteX32" fmla="*/ 1011555 w 2906554"/>
                  <a:gd name="connsiteY32" fmla="*/ 98107 h 177736"/>
                  <a:gd name="connsiteX33" fmla="*/ 1085183 w 2906554"/>
                  <a:gd name="connsiteY33" fmla="*/ 98107 h 177736"/>
                  <a:gd name="connsiteX34" fmla="*/ 1085183 w 2906554"/>
                  <a:gd name="connsiteY34" fmla="*/ 104394 h 177736"/>
                  <a:gd name="connsiteX35" fmla="*/ 1165098 w 2906554"/>
                  <a:gd name="connsiteY35" fmla="*/ 104394 h 177736"/>
                  <a:gd name="connsiteX36" fmla="*/ 1165098 w 2906554"/>
                  <a:gd name="connsiteY36" fmla="*/ 110680 h 177736"/>
                  <a:gd name="connsiteX37" fmla="*/ 1327023 w 2906554"/>
                  <a:gd name="connsiteY37" fmla="*/ 110680 h 177736"/>
                  <a:gd name="connsiteX38" fmla="*/ 1327023 w 2906554"/>
                  <a:gd name="connsiteY38" fmla="*/ 117157 h 177736"/>
                  <a:gd name="connsiteX39" fmla="*/ 1343882 w 2906554"/>
                  <a:gd name="connsiteY39" fmla="*/ 117157 h 177736"/>
                  <a:gd name="connsiteX40" fmla="*/ 1343882 w 2906554"/>
                  <a:gd name="connsiteY40" fmla="*/ 123539 h 177736"/>
                  <a:gd name="connsiteX41" fmla="*/ 1461706 w 2906554"/>
                  <a:gd name="connsiteY41" fmla="*/ 123539 h 177736"/>
                  <a:gd name="connsiteX42" fmla="*/ 1461706 w 2906554"/>
                  <a:gd name="connsiteY42" fmla="*/ 130016 h 177736"/>
                  <a:gd name="connsiteX43" fmla="*/ 1554194 w 2906554"/>
                  <a:gd name="connsiteY43" fmla="*/ 130016 h 177736"/>
                  <a:gd name="connsiteX44" fmla="*/ 1554194 w 2906554"/>
                  <a:gd name="connsiteY44" fmla="*/ 136398 h 177736"/>
                  <a:gd name="connsiteX45" fmla="*/ 1573149 w 2906554"/>
                  <a:gd name="connsiteY45" fmla="*/ 136398 h 177736"/>
                  <a:gd name="connsiteX46" fmla="*/ 1573149 w 2906554"/>
                  <a:gd name="connsiteY46" fmla="*/ 142875 h 177736"/>
                  <a:gd name="connsiteX47" fmla="*/ 2426970 w 2906554"/>
                  <a:gd name="connsiteY47" fmla="*/ 142875 h 177736"/>
                  <a:gd name="connsiteX48" fmla="*/ 2426970 w 2906554"/>
                  <a:gd name="connsiteY48" fmla="*/ 177736 h 177736"/>
                  <a:gd name="connsiteX49" fmla="*/ 2906554 w 2906554"/>
                  <a:gd name="connsiteY49" fmla="*/ 177736 h 177736"/>
                  <a:gd name="connsiteX0" fmla="*/ 0 w 2883504"/>
                  <a:gd name="connsiteY0" fmla="*/ 0 h 177736"/>
                  <a:gd name="connsiteX1" fmla="*/ 0 w 2883504"/>
                  <a:gd name="connsiteY1" fmla="*/ 6096 h 177736"/>
                  <a:gd name="connsiteX2" fmla="*/ 12669 w 2883504"/>
                  <a:gd name="connsiteY2" fmla="*/ 6096 h 177736"/>
                  <a:gd name="connsiteX3" fmla="*/ 12669 w 2883504"/>
                  <a:gd name="connsiteY3" fmla="*/ 12192 h 177736"/>
                  <a:gd name="connsiteX4" fmla="*/ 48387 w 2883504"/>
                  <a:gd name="connsiteY4" fmla="*/ 12192 h 177736"/>
                  <a:gd name="connsiteX5" fmla="*/ 48387 w 2883504"/>
                  <a:gd name="connsiteY5" fmla="*/ 18288 h 177736"/>
                  <a:gd name="connsiteX6" fmla="*/ 164116 w 2883504"/>
                  <a:gd name="connsiteY6" fmla="*/ 18288 h 177736"/>
                  <a:gd name="connsiteX7" fmla="*/ 164116 w 2883504"/>
                  <a:gd name="connsiteY7" fmla="*/ 24289 h 177736"/>
                  <a:gd name="connsiteX8" fmla="*/ 201930 w 2883504"/>
                  <a:gd name="connsiteY8" fmla="*/ 24289 h 177736"/>
                  <a:gd name="connsiteX9" fmla="*/ 201930 w 2883504"/>
                  <a:gd name="connsiteY9" fmla="*/ 30480 h 177736"/>
                  <a:gd name="connsiteX10" fmla="*/ 254508 w 2883504"/>
                  <a:gd name="connsiteY10" fmla="*/ 30480 h 177736"/>
                  <a:gd name="connsiteX11" fmla="*/ 254508 w 2883504"/>
                  <a:gd name="connsiteY11" fmla="*/ 36576 h 177736"/>
                  <a:gd name="connsiteX12" fmla="*/ 273463 w 2883504"/>
                  <a:gd name="connsiteY12" fmla="*/ 36576 h 177736"/>
                  <a:gd name="connsiteX13" fmla="*/ 273463 w 2883504"/>
                  <a:gd name="connsiteY13" fmla="*/ 42672 h 177736"/>
                  <a:gd name="connsiteX14" fmla="*/ 283941 w 2883504"/>
                  <a:gd name="connsiteY14" fmla="*/ 42672 h 177736"/>
                  <a:gd name="connsiteX15" fmla="*/ 283941 w 2883504"/>
                  <a:gd name="connsiteY15" fmla="*/ 48863 h 177736"/>
                  <a:gd name="connsiteX16" fmla="*/ 317659 w 2883504"/>
                  <a:gd name="connsiteY16" fmla="*/ 48863 h 177736"/>
                  <a:gd name="connsiteX17" fmla="*/ 317659 w 2883504"/>
                  <a:gd name="connsiteY17" fmla="*/ 54959 h 177736"/>
                  <a:gd name="connsiteX18" fmla="*/ 323946 w 2883504"/>
                  <a:gd name="connsiteY18" fmla="*/ 54959 h 177736"/>
                  <a:gd name="connsiteX19" fmla="*/ 323946 w 2883504"/>
                  <a:gd name="connsiteY19" fmla="*/ 61055 h 177736"/>
                  <a:gd name="connsiteX20" fmla="*/ 338614 w 2883504"/>
                  <a:gd name="connsiteY20" fmla="*/ 61055 h 177736"/>
                  <a:gd name="connsiteX21" fmla="*/ 338614 w 2883504"/>
                  <a:gd name="connsiteY21" fmla="*/ 67151 h 177736"/>
                  <a:gd name="connsiteX22" fmla="*/ 351282 w 2883504"/>
                  <a:gd name="connsiteY22" fmla="*/ 67151 h 177736"/>
                  <a:gd name="connsiteX23" fmla="*/ 351282 w 2883504"/>
                  <a:gd name="connsiteY23" fmla="*/ 73342 h 177736"/>
                  <a:gd name="connsiteX24" fmla="*/ 376524 w 2883504"/>
                  <a:gd name="connsiteY24" fmla="*/ 73342 h 177736"/>
                  <a:gd name="connsiteX25" fmla="*/ 376524 w 2883504"/>
                  <a:gd name="connsiteY25" fmla="*/ 79438 h 177736"/>
                  <a:gd name="connsiteX26" fmla="*/ 605790 w 2883504"/>
                  <a:gd name="connsiteY26" fmla="*/ 79438 h 177736"/>
                  <a:gd name="connsiteX27" fmla="*/ 605790 w 2883504"/>
                  <a:gd name="connsiteY27" fmla="*/ 85630 h 177736"/>
                  <a:gd name="connsiteX28" fmla="*/ 719328 w 2883504"/>
                  <a:gd name="connsiteY28" fmla="*/ 85630 h 177736"/>
                  <a:gd name="connsiteX29" fmla="*/ 719328 w 2883504"/>
                  <a:gd name="connsiteY29" fmla="*/ 91821 h 177736"/>
                  <a:gd name="connsiteX30" fmla="*/ 988505 w 2883504"/>
                  <a:gd name="connsiteY30" fmla="*/ 91821 h 177736"/>
                  <a:gd name="connsiteX31" fmla="*/ 988505 w 2883504"/>
                  <a:gd name="connsiteY31" fmla="*/ 98107 h 177736"/>
                  <a:gd name="connsiteX32" fmla="*/ 1062133 w 2883504"/>
                  <a:gd name="connsiteY32" fmla="*/ 98107 h 177736"/>
                  <a:gd name="connsiteX33" fmla="*/ 1062133 w 2883504"/>
                  <a:gd name="connsiteY33" fmla="*/ 104394 h 177736"/>
                  <a:gd name="connsiteX34" fmla="*/ 1142048 w 2883504"/>
                  <a:gd name="connsiteY34" fmla="*/ 104394 h 177736"/>
                  <a:gd name="connsiteX35" fmla="*/ 1142048 w 2883504"/>
                  <a:gd name="connsiteY35" fmla="*/ 110680 h 177736"/>
                  <a:gd name="connsiteX36" fmla="*/ 1303973 w 2883504"/>
                  <a:gd name="connsiteY36" fmla="*/ 110680 h 177736"/>
                  <a:gd name="connsiteX37" fmla="*/ 1303973 w 2883504"/>
                  <a:gd name="connsiteY37" fmla="*/ 117157 h 177736"/>
                  <a:gd name="connsiteX38" fmla="*/ 1320832 w 2883504"/>
                  <a:gd name="connsiteY38" fmla="*/ 117157 h 177736"/>
                  <a:gd name="connsiteX39" fmla="*/ 1320832 w 2883504"/>
                  <a:gd name="connsiteY39" fmla="*/ 123539 h 177736"/>
                  <a:gd name="connsiteX40" fmla="*/ 1438656 w 2883504"/>
                  <a:gd name="connsiteY40" fmla="*/ 123539 h 177736"/>
                  <a:gd name="connsiteX41" fmla="*/ 1438656 w 2883504"/>
                  <a:gd name="connsiteY41" fmla="*/ 130016 h 177736"/>
                  <a:gd name="connsiteX42" fmla="*/ 1531144 w 2883504"/>
                  <a:gd name="connsiteY42" fmla="*/ 130016 h 177736"/>
                  <a:gd name="connsiteX43" fmla="*/ 1531144 w 2883504"/>
                  <a:gd name="connsiteY43" fmla="*/ 136398 h 177736"/>
                  <a:gd name="connsiteX44" fmla="*/ 1550099 w 2883504"/>
                  <a:gd name="connsiteY44" fmla="*/ 136398 h 177736"/>
                  <a:gd name="connsiteX45" fmla="*/ 1550099 w 2883504"/>
                  <a:gd name="connsiteY45" fmla="*/ 142875 h 177736"/>
                  <a:gd name="connsiteX46" fmla="*/ 2403920 w 2883504"/>
                  <a:gd name="connsiteY46" fmla="*/ 142875 h 177736"/>
                  <a:gd name="connsiteX47" fmla="*/ 2403920 w 2883504"/>
                  <a:gd name="connsiteY47" fmla="*/ 177736 h 177736"/>
                  <a:gd name="connsiteX48" fmla="*/ 2883504 w 2883504"/>
                  <a:gd name="connsiteY48" fmla="*/ 177736 h 177736"/>
                  <a:gd name="connsiteX0" fmla="*/ 0 w 2883504"/>
                  <a:gd name="connsiteY0" fmla="*/ 0 h 177736"/>
                  <a:gd name="connsiteX1" fmla="*/ 12669 w 2883504"/>
                  <a:gd name="connsiteY1" fmla="*/ 6096 h 177736"/>
                  <a:gd name="connsiteX2" fmla="*/ 12669 w 2883504"/>
                  <a:gd name="connsiteY2" fmla="*/ 12192 h 177736"/>
                  <a:gd name="connsiteX3" fmla="*/ 48387 w 2883504"/>
                  <a:gd name="connsiteY3" fmla="*/ 12192 h 177736"/>
                  <a:gd name="connsiteX4" fmla="*/ 48387 w 2883504"/>
                  <a:gd name="connsiteY4" fmla="*/ 18288 h 177736"/>
                  <a:gd name="connsiteX5" fmla="*/ 164116 w 2883504"/>
                  <a:gd name="connsiteY5" fmla="*/ 18288 h 177736"/>
                  <a:gd name="connsiteX6" fmla="*/ 164116 w 2883504"/>
                  <a:gd name="connsiteY6" fmla="*/ 24289 h 177736"/>
                  <a:gd name="connsiteX7" fmla="*/ 201930 w 2883504"/>
                  <a:gd name="connsiteY7" fmla="*/ 24289 h 177736"/>
                  <a:gd name="connsiteX8" fmla="*/ 201930 w 2883504"/>
                  <a:gd name="connsiteY8" fmla="*/ 30480 h 177736"/>
                  <a:gd name="connsiteX9" fmla="*/ 254508 w 2883504"/>
                  <a:gd name="connsiteY9" fmla="*/ 30480 h 177736"/>
                  <a:gd name="connsiteX10" fmla="*/ 254508 w 2883504"/>
                  <a:gd name="connsiteY10" fmla="*/ 36576 h 177736"/>
                  <a:gd name="connsiteX11" fmla="*/ 273463 w 2883504"/>
                  <a:gd name="connsiteY11" fmla="*/ 36576 h 177736"/>
                  <a:gd name="connsiteX12" fmla="*/ 273463 w 2883504"/>
                  <a:gd name="connsiteY12" fmla="*/ 42672 h 177736"/>
                  <a:gd name="connsiteX13" fmla="*/ 283941 w 2883504"/>
                  <a:gd name="connsiteY13" fmla="*/ 42672 h 177736"/>
                  <a:gd name="connsiteX14" fmla="*/ 283941 w 2883504"/>
                  <a:gd name="connsiteY14" fmla="*/ 48863 h 177736"/>
                  <a:gd name="connsiteX15" fmla="*/ 317659 w 2883504"/>
                  <a:gd name="connsiteY15" fmla="*/ 48863 h 177736"/>
                  <a:gd name="connsiteX16" fmla="*/ 317659 w 2883504"/>
                  <a:gd name="connsiteY16" fmla="*/ 54959 h 177736"/>
                  <a:gd name="connsiteX17" fmla="*/ 323946 w 2883504"/>
                  <a:gd name="connsiteY17" fmla="*/ 54959 h 177736"/>
                  <a:gd name="connsiteX18" fmla="*/ 323946 w 2883504"/>
                  <a:gd name="connsiteY18" fmla="*/ 61055 h 177736"/>
                  <a:gd name="connsiteX19" fmla="*/ 338614 w 2883504"/>
                  <a:gd name="connsiteY19" fmla="*/ 61055 h 177736"/>
                  <a:gd name="connsiteX20" fmla="*/ 338614 w 2883504"/>
                  <a:gd name="connsiteY20" fmla="*/ 67151 h 177736"/>
                  <a:gd name="connsiteX21" fmla="*/ 351282 w 2883504"/>
                  <a:gd name="connsiteY21" fmla="*/ 67151 h 177736"/>
                  <a:gd name="connsiteX22" fmla="*/ 351282 w 2883504"/>
                  <a:gd name="connsiteY22" fmla="*/ 73342 h 177736"/>
                  <a:gd name="connsiteX23" fmla="*/ 376524 w 2883504"/>
                  <a:gd name="connsiteY23" fmla="*/ 73342 h 177736"/>
                  <a:gd name="connsiteX24" fmla="*/ 376524 w 2883504"/>
                  <a:gd name="connsiteY24" fmla="*/ 79438 h 177736"/>
                  <a:gd name="connsiteX25" fmla="*/ 605790 w 2883504"/>
                  <a:gd name="connsiteY25" fmla="*/ 79438 h 177736"/>
                  <a:gd name="connsiteX26" fmla="*/ 605790 w 2883504"/>
                  <a:gd name="connsiteY26" fmla="*/ 85630 h 177736"/>
                  <a:gd name="connsiteX27" fmla="*/ 719328 w 2883504"/>
                  <a:gd name="connsiteY27" fmla="*/ 85630 h 177736"/>
                  <a:gd name="connsiteX28" fmla="*/ 719328 w 2883504"/>
                  <a:gd name="connsiteY28" fmla="*/ 91821 h 177736"/>
                  <a:gd name="connsiteX29" fmla="*/ 988505 w 2883504"/>
                  <a:gd name="connsiteY29" fmla="*/ 91821 h 177736"/>
                  <a:gd name="connsiteX30" fmla="*/ 988505 w 2883504"/>
                  <a:gd name="connsiteY30" fmla="*/ 98107 h 177736"/>
                  <a:gd name="connsiteX31" fmla="*/ 1062133 w 2883504"/>
                  <a:gd name="connsiteY31" fmla="*/ 98107 h 177736"/>
                  <a:gd name="connsiteX32" fmla="*/ 1062133 w 2883504"/>
                  <a:gd name="connsiteY32" fmla="*/ 104394 h 177736"/>
                  <a:gd name="connsiteX33" fmla="*/ 1142048 w 2883504"/>
                  <a:gd name="connsiteY33" fmla="*/ 104394 h 177736"/>
                  <a:gd name="connsiteX34" fmla="*/ 1142048 w 2883504"/>
                  <a:gd name="connsiteY34" fmla="*/ 110680 h 177736"/>
                  <a:gd name="connsiteX35" fmla="*/ 1303973 w 2883504"/>
                  <a:gd name="connsiteY35" fmla="*/ 110680 h 177736"/>
                  <a:gd name="connsiteX36" fmla="*/ 1303973 w 2883504"/>
                  <a:gd name="connsiteY36" fmla="*/ 117157 h 177736"/>
                  <a:gd name="connsiteX37" fmla="*/ 1320832 w 2883504"/>
                  <a:gd name="connsiteY37" fmla="*/ 117157 h 177736"/>
                  <a:gd name="connsiteX38" fmla="*/ 1320832 w 2883504"/>
                  <a:gd name="connsiteY38" fmla="*/ 123539 h 177736"/>
                  <a:gd name="connsiteX39" fmla="*/ 1438656 w 2883504"/>
                  <a:gd name="connsiteY39" fmla="*/ 123539 h 177736"/>
                  <a:gd name="connsiteX40" fmla="*/ 1438656 w 2883504"/>
                  <a:gd name="connsiteY40" fmla="*/ 130016 h 177736"/>
                  <a:gd name="connsiteX41" fmla="*/ 1531144 w 2883504"/>
                  <a:gd name="connsiteY41" fmla="*/ 130016 h 177736"/>
                  <a:gd name="connsiteX42" fmla="*/ 1531144 w 2883504"/>
                  <a:gd name="connsiteY42" fmla="*/ 136398 h 177736"/>
                  <a:gd name="connsiteX43" fmla="*/ 1550099 w 2883504"/>
                  <a:gd name="connsiteY43" fmla="*/ 136398 h 177736"/>
                  <a:gd name="connsiteX44" fmla="*/ 1550099 w 2883504"/>
                  <a:gd name="connsiteY44" fmla="*/ 142875 h 177736"/>
                  <a:gd name="connsiteX45" fmla="*/ 2403920 w 2883504"/>
                  <a:gd name="connsiteY45" fmla="*/ 142875 h 177736"/>
                  <a:gd name="connsiteX46" fmla="*/ 2403920 w 2883504"/>
                  <a:gd name="connsiteY46" fmla="*/ 177736 h 177736"/>
                  <a:gd name="connsiteX47" fmla="*/ 2883504 w 2883504"/>
                  <a:gd name="connsiteY47" fmla="*/ 177736 h 177736"/>
                  <a:gd name="connsiteX0" fmla="*/ 0 w 2870835"/>
                  <a:gd name="connsiteY0" fmla="*/ 0 h 171640"/>
                  <a:gd name="connsiteX1" fmla="*/ 0 w 2870835"/>
                  <a:gd name="connsiteY1" fmla="*/ 6096 h 171640"/>
                  <a:gd name="connsiteX2" fmla="*/ 35718 w 2870835"/>
                  <a:gd name="connsiteY2" fmla="*/ 6096 h 171640"/>
                  <a:gd name="connsiteX3" fmla="*/ 35718 w 2870835"/>
                  <a:gd name="connsiteY3" fmla="*/ 12192 h 171640"/>
                  <a:gd name="connsiteX4" fmla="*/ 151447 w 2870835"/>
                  <a:gd name="connsiteY4" fmla="*/ 12192 h 171640"/>
                  <a:gd name="connsiteX5" fmla="*/ 151447 w 2870835"/>
                  <a:gd name="connsiteY5" fmla="*/ 18193 h 171640"/>
                  <a:gd name="connsiteX6" fmla="*/ 189261 w 2870835"/>
                  <a:gd name="connsiteY6" fmla="*/ 18193 h 171640"/>
                  <a:gd name="connsiteX7" fmla="*/ 189261 w 2870835"/>
                  <a:gd name="connsiteY7" fmla="*/ 24384 h 171640"/>
                  <a:gd name="connsiteX8" fmla="*/ 241839 w 2870835"/>
                  <a:gd name="connsiteY8" fmla="*/ 24384 h 171640"/>
                  <a:gd name="connsiteX9" fmla="*/ 241839 w 2870835"/>
                  <a:gd name="connsiteY9" fmla="*/ 30480 h 171640"/>
                  <a:gd name="connsiteX10" fmla="*/ 260794 w 2870835"/>
                  <a:gd name="connsiteY10" fmla="*/ 30480 h 171640"/>
                  <a:gd name="connsiteX11" fmla="*/ 260794 w 2870835"/>
                  <a:gd name="connsiteY11" fmla="*/ 36576 h 171640"/>
                  <a:gd name="connsiteX12" fmla="*/ 271272 w 2870835"/>
                  <a:gd name="connsiteY12" fmla="*/ 36576 h 171640"/>
                  <a:gd name="connsiteX13" fmla="*/ 271272 w 2870835"/>
                  <a:gd name="connsiteY13" fmla="*/ 42767 h 171640"/>
                  <a:gd name="connsiteX14" fmla="*/ 304990 w 2870835"/>
                  <a:gd name="connsiteY14" fmla="*/ 42767 h 171640"/>
                  <a:gd name="connsiteX15" fmla="*/ 304990 w 2870835"/>
                  <a:gd name="connsiteY15" fmla="*/ 48863 h 171640"/>
                  <a:gd name="connsiteX16" fmla="*/ 311277 w 2870835"/>
                  <a:gd name="connsiteY16" fmla="*/ 48863 h 171640"/>
                  <a:gd name="connsiteX17" fmla="*/ 311277 w 2870835"/>
                  <a:gd name="connsiteY17" fmla="*/ 54959 h 171640"/>
                  <a:gd name="connsiteX18" fmla="*/ 325945 w 2870835"/>
                  <a:gd name="connsiteY18" fmla="*/ 54959 h 171640"/>
                  <a:gd name="connsiteX19" fmla="*/ 325945 w 2870835"/>
                  <a:gd name="connsiteY19" fmla="*/ 61055 h 171640"/>
                  <a:gd name="connsiteX20" fmla="*/ 338613 w 2870835"/>
                  <a:gd name="connsiteY20" fmla="*/ 61055 h 171640"/>
                  <a:gd name="connsiteX21" fmla="*/ 338613 w 2870835"/>
                  <a:gd name="connsiteY21" fmla="*/ 67246 h 171640"/>
                  <a:gd name="connsiteX22" fmla="*/ 363855 w 2870835"/>
                  <a:gd name="connsiteY22" fmla="*/ 67246 h 171640"/>
                  <a:gd name="connsiteX23" fmla="*/ 363855 w 2870835"/>
                  <a:gd name="connsiteY23" fmla="*/ 73342 h 171640"/>
                  <a:gd name="connsiteX24" fmla="*/ 593121 w 2870835"/>
                  <a:gd name="connsiteY24" fmla="*/ 73342 h 171640"/>
                  <a:gd name="connsiteX25" fmla="*/ 593121 w 2870835"/>
                  <a:gd name="connsiteY25" fmla="*/ 79534 h 171640"/>
                  <a:gd name="connsiteX26" fmla="*/ 706659 w 2870835"/>
                  <a:gd name="connsiteY26" fmla="*/ 79534 h 171640"/>
                  <a:gd name="connsiteX27" fmla="*/ 706659 w 2870835"/>
                  <a:gd name="connsiteY27" fmla="*/ 85725 h 171640"/>
                  <a:gd name="connsiteX28" fmla="*/ 975836 w 2870835"/>
                  <a:gd name="connsiteY28" fmla="*/ 85725 h 171640"/>
                  <a:gd name="connsiteX29" fmla="*/ 975836 w 2870835"/>
                  <a:gd name="connsiteY29" fmla="*/ 92011 h 171640"/>
                  <a:gd name="connsiteX30" fmla="*/ 1049464 w 2870835"/>
                  <a:gd name="connsiteY30" fmla="*/ 92011 h 171640"/>
                  <a:gd name="connsiteX31" fmla="*/ 1049464 w 2870835"/>
                  <a:gd name="connsiteY31" fmla="*/ 98298 h 171640"/>
                  <a:gd name="connsiteX32" fmla="*/ 1129379 w 2870835"/>
                  <a:gd name="connsiteY32" fmla="*/ 98298 h 171640"/>
                  <a:gd name="connsiteX33" fmla="*/ 1129379 w 2870835"/>
                  <a:gd name="connsiteY33" fmla="*/ 104584 h 171640"/>
                  <a:gd name="connsiteX34" fmla="*/ 1291304 w 2870835"/>
                  <a:gd name="connsiteY34" fmla="*/ 104584 h 171640"/>
                  <a:gd name="connsiteX35" fmla="*/ 1291304 w 2870835"/>
                  <a:gd name="connsiteY35" fmla="*/ 111061 h 171640"/>
                  <a:gd name="connsiteX36" fmla="*/ 1308163 w 2870835"/>
                  <a:gd name="connsiteY36" fmla="*/ 111061 h 171640"/>
                  <a:gd name="connsiteX37" fmla="*/ 1308163 w 2870835"/>
                  <a:gd name="connsiteY37" fmla="*/ 117443 h 171640"/>
                  <a:gd name="connsiteX38" fmla="*/ 1425987 w 2870835"/>
                  <a:gd name="connsiteY38" fmla="*/ 117443 h 171640"/>
                  <a:gd name="connsiteX39" fmla="*/ 1425987 w 2870835"/>
                  <a:gd name="connsiteY39" fmla="*/ 123920 h 171640"/>
                  <a:gd name="connsiteX40" fmla="*/ 1518475 w 2870835"/>
                  <a:gd name="connsiteY40" fmla="*/ 123920 h 171640"/>
                  <a:gd name="connsiteX41" fmla="*/ 1518475 w 2870835"/>
                  <a:gd name="connsiteY41" fmla="*/ 130302 h 171640"/>
                  <a:gd name="connsiteX42" fmla="*/ 1537430 w 2870835"/>
                  <a:gd name="connsiteY42" fmla="*/ 130302 h 171640"/>
                  <a:gd name="connsiteX43" fmla="*/ 1537430 w 2870835"/>
                  <a:gd name="connsiteY43" fmla="*/ 136779 h 171640"/>
                  <a:gd name="connsiteX44" fmla="*/ 2391251 w 2870835"/>
                  <a:gd name="connsiteY44" fmla="*/ 136779 h 171640"/>
                  <a:gd name="connsiteX45" fmla="*/ 2391251 w 2870835"/>
                  <a:gd name="connsiteY45" fmla="*/ 171640 h 171640"/>
                  <a:gd name="connsiteX46" fmla="*/ 2870835 w 2870835"/>
                  <a:gd name="connsiteY46" fmla="*/ 171640 h 171640"/>
                  <a:gd name="connsiteX0" fmla="*/ 0 w 2870835"/>
                  <a:gd name="connsiteY0" fmla="*/ 0 h 171640"/>
                  <a:gd name="connsiteX1" fmla="*/ 35718 w 2870835"/>
                  <a:gd name="connsiteY1" fmla="*/ 6096 h 171640"/>
                  <a:gd name="connsiteX2" fmla="*/ 35718 w 2870835"/>
                  <a:gd name="connsiteY2" fmla="*/ 12192 h 171640"/>
                  <a:gd name="connsiteX3" fmla="*/ 151447 w 2870835"/>
                  <a:gd name="connsiteY3" fmla="*/ 12192 h 171640"/>
                  <a:gd name="connsiteX4" fmla="*/ 151447 w 2870835"/>
                  <a:gd name="connsiteY4" fmla="*/ 18193 h 171640"/>
                  <a:gd name="connsiteX5" fmla="*/ 189261 w 2870835"/>
                  <a:gd name="connsiteY5" fmla="*/ 18193 h 171640"/>
                  <a:gd name="connsiteX6" fmla="*/ 189261 w 2870835"/>
                  <a:gd name="connsiteY6" fmla="*/ 24384 h 171640"/>
                  <a:gd name="connsiteX7" fmla="*/ 241839 w 2870835"/>
                  <a:gd name="connsiteY7" fmla="*/ 24384 h 171640"/>
                  <a:gd name="connsiteX8" fmla="*/ 241839 w 2870835"/>
                  <a:gd name="connsiteY8" fmla="*/ 30480 h 171640"/>
                  <a:gd name="connsiteX9" fmla="*/ 260794 w 2870835"/>
                  <a:gd name="connsiteY9" fmla="*/ 30480 h 171640"/>
                  <a:gd name="connsiteX10" fmla="*/ 260794 w 2870835"/>
                  <a:gd name="connsiteY10" fmla="*/ 36576 h 171640"/>
                  <a:gd name="connsiteX11" fmla="*/ 271272 w 2870835"/>
                  <a:gd name="connsiteY11" fmla="*/ 36576 h 171640"/>
                  <a:gd name="connsiteX12" fmla="*/ 271272 w 2870835"/>
                  <a:gd name="connsiteY12" fmla="*/ 42767 h 171640"/>
                  <a:gd name="connsiteX13" fmla="*/ 304990 w 2870835"/>
                  <a:gd name="connsiteY13" fmla="*/ 42767 h 171640"/>
                  <a:gd name="connsiteX14" fmla="*/ 304990 w 2870835"/>
                  <a:gd name="connsiteY14" fmla="*/ 48863 h 171640"/>
                  <a:gd name="connsiteX15" fmla="*/ 311277 w 2870835"/>
                  <a:gd name="connsiteY15" fmla="*/ 48863 h 171640"/>
                  <a:gd name="connsiteX16" fmla="*/ 311277 w 2870835"/>
                  <a:gd name="connsiteY16" fmla="*/ 54959 h 171640"/>
                  <a:gd name="connsiteX17" fmla="*/ 325945 w 2870835"/>
                  <a:gd name="connsiteY17" fmla="*/ 54959 h 171640"/>
                  <a:gd name="connsiteX18" fmla="*/ 325945 w 2870835"/>
                  <a:gd name="connsiteY18" fmla="*/ 61055 h 171640"/>
                  <a:gd name="connsiteX19" fmla="*/ 338613 w 2870835"/>
                  <a:gd name="connsiteY19" fmla="*/ 61055 h 171640"/>
                  <a:gd name="connsiteX20" fmla="*/ 338613 w 2870835"/>
                  <a:gd name="connsiteY20" fmla="*/ 67246 h 171640"/>
                  <a:gd name="connsiteX21" fmla="*/ 363855 w 2870835"/>
                  <a:gd name="connsiteY21" fmla="*/ 67246 h 171640"/>
                  <a:gd name="connsiteX22" fmla="*/ 363855 w 2870835"/>
                  <a:gd name="connsiteY22" fmla="*/ 73342 h 171640"/>
                  <a:gd name="connsiteX23" fmla="*/ 593121 w 2870835"/>
                  <a:gd name="connsiteY23" fmla="*/ 73342 h 171640"/>
                  <a:gd name="connsiteX24" fmla="*/ 593121 w 2870835"/>
                  <a:gd name="connsiteY24" fmla="*/ 79534 h 171640"/>
                  <a:gd name="connsiteX25" fmla="*/ 706659 w 2870835"/>
                  <a:gd name="connsiteY25" fmla="*/ 79534 h 171640"/>
                  <a:gd name="connsiteX26" fmla="*/ 706659 w 2870835"/>
                  <a:gd name="connsiteY26" fmla="*/ 85725 h 171640"/>
                  <a:gd name="connsiteX27" fmla="*/ 975836 w 2870835"/>
                  <a:gd name="connsiteY27" fmla="*/ 85725 h 171640"/>
                  <a:gd name="connsiteX28" fmla="*/ 975836 w 2870835"/>
                  <a:gd name="connsiteY28" fmla="*/ 92011 h 171640"/>
                  <a:gd name="connsiteX29" fmla="*/ 1049464 w 2870835"/>
                  <a:gd name="connsiteY29" fmla="*/ 92011 h 171640"/>
                  <a:gd name="connsiteX30" fmla="*/ 1049464 w 2870835"/>
                  <a:gd name="connsiteY30" fmla="*/ 98298 h 171640"/>
                  <a:gd name="connsiteX31" fmla="*/ 1129379 w 2870835"/>
                  <a:gd name="connsiteY31" fmla="*/ 98298 h 171640"/>
                  <a:gd name="connsiteX32" fmla="*/ 1129379 w 2870835"/>
                  <a:gd name="connsiteY32" fmla="*/ 104584 h 171640"/>
                  <a:gd name="connsiteX33" fmla="*/ 1291304 w 2870835"/>
                  <a:gd name="connsiteY33" fmla="*/ 104584 h 171640"/>
                  <a:gd name="connsiteX34" fmla="*/ 1291304 w 2870835"/>
                  <a:gd name="connsiteY34" fmla="*/ 111061 h 171640"/>
                  <a:gd name="connsiteX35" fmla="*/ 1308163 w 2870835"/>
                  <a:gd name="connsiteY35" fmla="*/ 111061 h 171640"/>
                  <a:gd name="connsiteX36" fmla="*/ 1308163 w 2870835"/>
                  <a:gd name="connsiteY36" fmla="*/ 117443 h 171640"/>
                  <a:gd name="connsiteX37" fmla="*/ 1425987 w 2870835"/>
                  <a:gd name="connsiteY37" fmla="*/ 117443 h 171640"/>
                  <a:gd name="connsiteX38" fmla="*/ 1425987 w 2870835"/>
                  <a:gd name="connsiteY38" fmla="*/ 123920 h 171640"/>
                  <a:gd name="connsiteX39" fmla="*/ 1518475 w 2870835"/>
                  <a:gd name="connsiteY39" fmla="*/ 123920 h 171640"/>
                  <a:gd name="connsiteX40" fmla="*/ 1518475 w 2870835"/>
                  <a:gd name="connsiteY40" fmla="*/ 130302 h 171640"/>
                  <a:gd name="connsiteX41" fmla="*/ 1537430 w 2870835"/>
                  <a:gd name="connsiteY41" fmla="*/ 130302 h 171640"/>
                  <a:gd name="connsiteX42" fmla="*/ 1537430 w 2870835"/>
                  <a:gd name="connsiteY42" fmla="*/ 136779 h 171640"/>
                  <a:gd name="connsiteX43" fmla="*/ 2391251 w 2870835"/>
                  <a:gd name="connsiteY43" fmla="*/ 136779 h 171640"/>
                  <a:gd name="connsiteX44" fmla="*/ 2391251 w 2870835"/>
                  <a:gd name="connsiteY44" fmla="*/ 171640 h 171640"/>
                  <a:gd name="connsiteX45" fmla="*/ 2870835 w 2870835"/>
                  <a:gd name="connsiteY45" fmla="*/ 171640 h 171640"/>
                  <a:gd name="connsiteX0" fmla="*/ 0 w 2835117"/>
                  <a:gd name="connsiteY0" fmla="*/ 0 h 165544"/>
                  <a:gd name="connsiteX1" fmla="*/ 0 w 2835117"/>
                  <a:gd name="connsiteY1" fmla="*/ 6096 h 165544"/>
                  <a:gd name="connsiteX2" fmla="*/ 115729 w 2835117"/>
                  <a:gd name="connsiteY2" fmla="*/ 6096 h 165544"/>
                  <a:gd name="connsiteX3" fmla="*/ 115729 w 2835117"/>
                  <a:gd name="connsiteY3" fmla="*/ 12097 h 165544"/>
                  <a:gd name="connsiteX4" fmla="*/ 153543 w 2835117"/>
                  <a:gd name="connsiteY4" fmla="*/ 12097 h 165544"/>
                  <a:gd name="connsiteX5" fmla="*/ 153543 w 2835117"/>
                  <a:gd name="connsiteY5" fmla="*/ 18288 h 165544"/>
                  <a:gd name="connsiteX6" fmla="*/ 206121 w 2835117"/>
                  <a:gd name="connsiteY6" fmla="*/ 18288 h 165544"/>
                  <a:gd name="connsiteX7" fmla="*/ 206121 w 2835117"/>
                  <a:gd name="connsiteY7" fmla="*/ 24384 h 165544"/>
                  <a:gd name="connsiteX8" fmla="*/ 225076 w 2835117"/>
                  <a:gd name="connsiteY8" fmla="*/ 24384 h 165544"/>
                  <a:gd name="connsiteX9" fmla="*/ 225076 w 2835117"/>
                  <a:gd name="connsiteY9" fmla="*/ 30480 h 165544"/>
                  <a:gd name="connsiteX10" fmla="*/ 235554 w 2835117"/>
                  <a:gd name="connsiteY10" fmla="*/ 30480 h 165544"/>
                  <a:gd name="connsiteX11" fmla="*/ 235554 w 2835117"/>
                  <a:gd name="connsiteY11" fmla="*/ 36671 h 165544"/>
                  <a:gd name="connsiteX12" fmla="*/ 269272 w 2835117"/>
                  <a:gd name="connsiteY12" fmla="*/ 36671 h 165544"/>
                  <a:gd name="connsiteX13" fmla="*/ 269272 w 2835117"/>
                  <a:gd name="connsiteY13" fmla="*/ 42767 h 165544"/>
                  <a:gd name="connsiteX14" fmla="*/ 275559 w 2835117"/>
                  <a:gd name="connsiteY14" fmla="*/ 42767 h 165544"/>
                  <a:gd name="connsiteX15" fmla="*/ 275559 w 2835117"/>
                  <a:gd name="connsiteY15" fmla="*/ 48863 h 165544"/>
                  <a:gd name="connsiteX16" fmla="*/ 290227 w 2835117"/>
                  <a:gd name="connsiteY16" fmla="*/ 48863 h 165544"/>
                  <a:gd name="connsiteX17" fmla="*/ 290227 w 2835117"/>
                  <a:gd name="connsiteY17" fmla="*/ 54959 h 165544"/>
                  <a:gd name="connsiteX18" fmla="*/ 302895 w 2835117"/>
                  <a:gd name="connsiteY18" fmla="*/ 54959 h 165544"/>
                  <a:gd name="connsiteX19" fmla="*/ 302895 w 2835117"/>
                  <a:gd name="connsiteY19" fmla="*/ 61150 h 165544"/>
                  <a:gd name="connsiteX20" fmla="*/ 328137 w 2835117"/>
                  <a:gd name="connsiteY20" fmla="*/ 61150 h 165544"/>
                  <a:gd name="connsiteX21" fmla="*/ 328137 w 2835117"/>
                  <a:gd name="connsiteY21" fmla="*/ 67246 h 165544"/>
                  <a:gd name="connsiteX22" fmla="*/ 557403 w 2835117"/>
                  <a:gd name="connsiteY22" fmla="*/ 67246 h 165544"/>
                  <a:gd name="connsiteX23" fmla="*/ 557403 w 2835117"/>
                  <a:gd name="connsiteY23" fmla="*/ 73438 h 165544"/>
                  <a:gd name="connsiteX24" fmla="*/ 670941 w 2835117"/>
                  <a:gd name="connsiteY24" fmla="*/ 73438 h 165544"/>
                  <a:gd name="connsiteX25" fmla="*/ 670941 w 2835117"/>
                  <a:gd name="connsiteY25" fmla="*/ 79629 h 165544"/>
                  <a:gd name="connsiteX26" fmla="*/ 940118 w 2835117"/>
                  <a:gd name="connsiteY26" fmla="*/ 79629 h 165544"/>
                  <a:gd name="connsiteX27" fmla="*/ 940118 w 2835117"/>
                  <a:gd name="connsiteY27" fmla="*/ 85915 h 165544"/>
                  <a:gd name="connsiteX28" fmla="*/ 1013746 w 2835117"/>
                  <a:gd name="connsiteY28" fmla="*/ 85915 h 165544"/>
                  <a:gd name="connsiteX29" fmla="*/ 1013746 w 2835117"/>
                  <a:gd name="connsiteY29" fmla="*/ 92202 h 165544"/>
                  <a:gd name="connsiteX30" fmla="*/ 1093661 w 2835117"/>
                  <a:gd name="connsiteY30" fmla="*/ 92202 h 165544"/>
                  <a:gd name="connsiteX31" fmla="*/ 1093661 w 2835117"/>
                  <a:gd name="connsiteY31" fmla="*/ 98488 h 165544"/>
                  <a:gd name="connsiteX32" fmla="*/ 1255586 w 2835117"/>
                  <a:gd name="connsiteY32" fmla="*/ 98488 h 165544"/>
                  <a:gd name="connsiteX33" fmla="*/ 1255586 w 2835117"/>
                  <a:gd name="connsiteY33" fmla="*/ 104965 h 165544"/>
                  <a:gd name="connsiteX34" fmla="*/ 1272445 w 2835117"/>
                  <a:gd name="connsiteY34" fmla="*/ 104965 h 165544"/>
                  <a:gd name="connsiteX35" fmla="*/ 1272445 w 2835117"/>
                  <a:gd name="connsiteY35" fmla="*/ 111347 h 165544"/>
                  <a:gd name="connsiteX36" fmla="*/ 1390269 w 2835117"/>
                  <a:gd name="connsiteY36" fmla="*/ 111347 h 165544"/>
                  <a:gd name="connsiteX37" fmla="*/ 1390269 w 2835117"/>
                  <a:gd name="connsiteY37" fmla="*/ 117824 h 165544"/>
                  <a:gd name="connsiteX38" fmla="*/ 1482757 w 2835117"/>
                  <a:gd name="connsiteY38" fmla="*/ 117824 h 165544"/>
                  <a:gd name="connsiteX39" fmla="*/ 1482757 w 2835117"/>
                  <a:gd name="connsiteY39" fmla="*/ 124206 h 165544"/>
                  <a:gd name="connsiteX40" fmla="*/ 1501712 w 2835117"/>
                  <a:gd name="connsiteY40" fmla="*/ 124206 h 165544"/>
                  <a:gd name="connsiteX41" fmla="*/ 1501712 w 2835117"/>
                  <a:gd name="connsiteY41" fmla="*/ 130683 h 165544"/>
                  <a:gd name="connsiteX42" fmla="*/ 2355533 w 2835117"/>
                  <a:gd name="connsiteY42" fmla="*/ 130683 h 165544"/>
                  <a:gd name="connsiteX43" fmla="*/ 2355533 w 2835117"/>
                  <a:gd name="connsiteY43" fmla="*/ 165544 h 165544"/>
                  <a:gd name="connsiteX44" fmla="*/ 2835117 w 2835117"/>
                  <a:gd name="connsiteY44" fmla="*/ 165544 h 165544"/>
                  <a:gd name="connsiteX0" fmla="*/ 0 w 2835117"/>
                  <a:gd name="connsiteY0" fmla="*/ 0 h 165544"/>
                  <a:gd name="connsiteX1" fmla="*/ 115729 w 2835117"/>
                  <a:gd name="connsiteY1" fmla="*/ 6096 h 165544"/>
                  <a:gd name="connsiteX2" fmla="*/ 115729 w 2835117"/>
                  <a:gd name="connsiteY2" fmla="*/ 12097 h 165544"/>
                  <a:gd name="connsiteX3" fmla="*/ 153543 w 2835117"/>
                  <a:gd name="connsiteY3" fmla="*/ 12097 h 165544"/>
                  <a:gd name="connsiteX4" fmla="*/ 153543 w 2835117"/>
                  <a:gd name="connsiteY4" fmla="*/ 18288 h 165544"/>
                  <a:gd name="connsiteX5" fmla="*/ 206121 w 2835117"/>
                  <a:gd name="connsiteY5" fmla="*/ 18288 h 165544"/>
                  <a:gd name="connsiteX6" fmla="*/ 206121 w 2835117"/>
                  <a:gd name="connsiteY6" fmla="*/ 24384 h 165544"/>
                  <a:gd name="connsiteX7" fmla="*/ 225076 w 2835117"/>
                  <a:gd name="connsiteY7" fmla="*/ 24384 h 165544"/>
                  <a:gd name="connsiteX8" fmla="*/ 225076 w 2835117"/>
                  <a:gd name="connsiteY8" fmla="*/ 30480 h 165544"/>
                  <a:gd name="connsiteX9" fmla="*/ 235554 w 2835117"/>
                  <a:gd name="connsiteY9" fmla="*/ 30480 h 165544"/>
                  <a:gd name="connsiteX10" fmla="*/ 235554 w 2835117"/>
                  <a:gd name="connsiteY10" fmla="*/ 36671 h 165544"/>
                  <a:gd name="connsiteX11" fmla="*/ 269272 w 2835117"/>
                  <a:gd name="connsiteY11" fmla="*/ 36671 h 165544"/>
                  <a:gd name="connsiteX12" fmla="*/ 269272 w 2835117"/>
                  <a:gd name="connsiteY12" fmla="*/ 42767 h 165544"/>
                  <a:gd name="connsiteX13" fmla="*/ 275559 w 2835117"/>
                  <a:gd name="connsiteY13" fmla="*/ 42767 h 165544"/>
                  <a:gd name="connsiteX14" fmla="*/ 275559 w 2835117"/>
                  <a:gd name="connsiteY14" fmla="*/ 48863 h 165544"/>
                  <a:gd name="connsiteX15" fmla="*/ 290227 w 2835117"/>
                  <a:gd name="connsiteY15" fmla="*/ 48863 h 165544"/>
                  <a:gd name="connsiteX16" fmla="*/ 290227 w 2835117"/>
                  <a:gd name="connsiteY16" fmla="*/ 54959 h 165544"/>
                  <a:gd name="connsiteX17" fmla="*/ 302895 w 2835117"/>
                  <a:gd name="connsiteY17" fmla="*/ 54959 h 165544"/>
                  <a:gd name="connsiteX18" fmla="*/ 302895 w 2835117"/>
                  <a:gd name="connsiteY18" fmla="*/ 61150 h 165544"/>
                  <a:gd name="connsiteX19" fmla="*/ 328137 w 2835117"/>
                  <a:gd name="connsiteY19" fmla="*/ 61150 h 165544"/>
                  <a:gd name="connsiteX20" fmla="*/ 328137 w 2835117"/>
                  <a:gd name="connsiteY20" fmla="*/ 67246 h 165544"/>
                  <a:gd name="connsiteX21" fmla="*/ 557403 w 2835117"/>
                  <a:gd name="connsiteY21" fmla="*/ 67246 h 165544"/>
                  <a:gd name="connsiteX22" fmla="*/ 557403 w 2835117"/>
                  <a:gd name="connsiteY22" fmla="*/ 73438 h 165544"/>
                  <a:gd name="connsiteX23" fmla="*/ 670941 w 2835117"/>
                  <a:gd name="connsiteY23" fmla="*/ 73438 h 165544"/>
                  <a:gd name="connsiteX24" fmla="*/ 670941 w 2835117"/>
                  <a:gd name="connsiteY24" fmla="*/ 79629 h 165544"/>
                  <a:gd name="connsiteX25" fmla="*/ 940118 w 2835117"/>
                  <a:gd name="connsiteY25" fmla="*/ 79629 h 165544"/>
                  <a:gd name="connsiteX26" fmla="*/ 940118 w 2835117"/>
                  <a:gd name="connsiteY26" fmla="*/ 85915 h 165544"/>
                  <a:gd name="connsiteX27" fmla="*/ 1013746 w 2835117"/>
                  <a:gd name="connsiteY27" fmla="*/ 85915 h 165544"/>
                  <a:gd name="connsiteX28" fmla="*/ 1013746 w 2835117"/>
                  <a:gd name="connsiteY28" fmla="*/ 92202 h 165544"/>
                  <a:gd name="connsiteX29" fmla="*/ 1093661 w 2835117"/>
                  <a:gd name="connsiteY29" fmla="*/ 92202 h 165544"/>
                  <a:gd name="connsiteX30" fmla="*/ 1093661 w 2835117"/>
                  <a:gd name="connsiteY30" fmla="*/ 98488 h 165544"/>
                  <a:gd name="connsiteX31" fmla="*/ 1255586 w 2835117"/>
                  <a:gd name="connsiteY31" fmla="*/ 98488 h 165544"/>
                  <a:gd name="connsiteX32" fmla="*/ 1255586 w 2835117"/>
                  <a:gd name="connsiteY32" fmla="*/ 104965 h 165544"/>
                  <a:gd name="connsiteX33" fmla="*/ 1272445 w 2835117"/>
                  <a:gd name="connsiteY33" fmla="*/ 104965 h 165544"/>
                  <a:gd name="connsiteX34" fmla="*/ 1272445 w 2835117"/>
                  <a:gd name="connsiteY34" fmla="*/ 111347 h 165544"/>
                  <a:gd name="connsiteX35" fmla="*/ 1390269 w 2835117"/>
                  <a:gd name="connsiteY35" fmla="*/ 111347 h 165544"/>
                  <a:gd name="connsiteX36" fmla="*/ 1390269 w 2835117"/>
                  <a:gd name="connsiteY36" fmla="*/ 117824 h 165544"/>
                  <a:gd name="connsiteX37" fmla="*/ 1482757 w 2835117"/>
                  <a:gd name="connsiteY37" fmla="*/ 117824 h 165544"/>
                  <a:gd name="connsiteX38" fmla="*/ 1482757 w 2835117"/>
                  <a:gd name="connsiteY38" fmla="*/ 124206 h 165544"/>
                  <a:gd name="connsiteX39" fmla="*/ 1501712 w 2835117"/>
                  <a:gd name="connsiteY39" fmla="*/ 124206 h 165544"/>
                  <a:gd name="connsiteX40" fmla="*/ 1501712 w 2835117"/>
                  <a:gd name="connsiteY40" fmla="*/ 130683 h 165544"/>
                  <a:gd name="connsiteX41" fmla="*/ 2355533 w 2835117"/>
                  <a:gd name="connsiteY41" fmla="*/ 130683 h 165544"/>
                  <a:gd name="connsiteX42" fmla="*/ 2355533 w 2835117"/>
                  <a:gd name="connsiteY42" fmla="*/ 165544 h 165544"/>
                  <a:gd name="connsiteX43" fmla="*/ 2835117 w 2835117"/>
                  <a:gd name="connsiteY43" fmla="*/ 165544 h 165544"/>
                  <a:gd name="connsiteX0" fmla="*/ 0 w 2719388"/>
                  <a:gd name="connsiteY0" fmla="*/ 0 h 159448"/>
                  <a:gd name="connsiteX1" fmla="*/ 0 w 2719388"/>
                  <a:gd name="connsiteY1" fmla="*/ 6001 h 159448"/>
                  <a:gd name="connsiteX2" fmla="*/ 37814 w 2719388"/>
                  <a:gd name="connsiteY2" fmla="*/ 6001 h 159448"/>
                  <a:gd name="connsiteX3" fmla="*/ 37814 w 2719388"/>
                  <a:gd name="connsiteY3" fmla="*/ 12192 h 159448"/>
                  <a:gd name="connsiteX4" fmla="*/ 90392 w 2719388"/>
                  <a:gd name="connsiteY4" fmla="*/ 12192 h 159448"/>
                  <a:gd name="connsiteX5" fmla="*/ 90392 w 2719388"/>
                  <a:gd name="connsiteY5" fmla="*/ 18288 h 159448"/>
                  <a:gd name="connsiteX6" fmla="*/ 109347 w 2719388"/>
                  <a:gd name="connsiteY6" fmla="*/ 18288 h 159448"/>
                  <a:gd name="connsiteX7" fmla="*/ 109347 w 2719388"/>
                  <a:gd name="connsiteY7" fmla="*/ 24384 h 159448"/>
                  <a:gd name="connsiteX8" fmla="*/ 119825 w 2719388"/>
                  <a:gd name="connsiteY8" fmla="*/ 24384 h 159448"/>
                  <a:gd name="connsiteX9" fmla="*/ 119825 w 2719388"/>
                  <a:gd name="connsiteY9" fmla="*/ 30575 h 159448"/>
                  <a:gd name="connsiteX10" fmla="*/ 153543 w 2719388"/>
                  <a:gd name="connsiteY10" fmla="*/ 30575 h 159448"/>
                  <a:gd name="connsiteX11" fmla="*/ 153543 w 2719388"/>
                  <a:gd name="connsiteY11" fmla="*/ 36671 h 159448"/>
                  <a:gd name="connsiteX12" fmla="*/ 159830 w 2719388"/>
                  <a:gd name="connsiteY12" fmla="*/ 36671 h 159448"/>
                  <a:gd name="connsiteX13" fmla="*/ 159830 w 2719388"/>
                  <a:gd name="connsiteY13" fmla="*/ 42767 h 159448"/>
                  <a:gd name="connsiteX14" fmla="*/ 174498 w 2719388"/>
                  <a:gd name="connsiteY14" fmla="*/ 42767 h 159448"/>
                  <a:gd name="connsiteX15" fmla="*/ 174498 w 2719388"/>
                  <a:gd name="connsiteY15" fmla="*/ 48863 h 159448"/>
                  <a:gd name="connsiteX16" fmla="*/ 187166 w 2719388"/>
                  <a:gd name="connsiteY16" fmla="*/ 48863 h 159448"/>
                  <a:gd name="connsiteX17" fmla="*/ 187166 w 2719388"/>
                  <a:gd name="connsiteY17" fmla="*/ 55054 h 159448"/>
                  <a:gd name="connsiteX18" fmla="*/ 212408 w 2719388"/>
                  <a:gd name="connsiteY18" fmla="*/ 55054 h 159448"/>
                  <a:gd name="connsiteX19" fmla="*/ 212408 w 2719388"/>
                  <a:gd name="connsiteY19" fmla="*/ 61150 h 159448"/>
                  <a:gd name="connsiteX20" fmla="*/ 441674 w 2719388"/>
                  <a:gd name="connsiteY20" fmla="*/ 61150 h 159448"/>
                  <a:gd name="connsiteX21" fmla="*/ 441674 w 2719388"/>
                  <a:gd name="connsiteY21" fmla="*/ 67342 h 159448"/>
                  <a:gd name="connsiteX22" fmla="*/ 555212 w 2719388"/>
                  <a:gd name="connsiteY22" fmla="*/ 67342 h 159448"/>
                  <a:gd name="connsiteX23" fmla="*/ 555212 w 2719388"/>
                  <a:gd name="connsiteY23" fmla="*/ 73533 h 159448"/>
                  <a:gd name="connsiteX24" fmla="*/ 824389 w 2719388"/>
                  <a:gd name="connsiteY24" fmla="*/ 73533 h 159448"/>
                  <a:gd name="connsiteX25" fmla="*/ 824389 w 2719388"/>
                  <a:gd name="connsiteY25" fmla="*/ 79819 h 159448"/>
                  <a:gd name="connsiteX26" fmla="*/ 898017 w 2719388"/>
                  <a:gd name="connsiteY26" fmla="*/ 79819 h 159448"/>
                  <a:gd name="connsiteX27" fmla="*/ 898017 w 2719388"/>
                  <a:gd name="connsiteY27" fmla="*/ 86106 h 159448"/>
                  <a:gd name="connsiteX28" fmla="*/ 977932 w 2719388"/>
                  <a:gd name="connsiteY28" fmla="*/ 86106 h 159448"/>
                  <a:gd name="connsiteX29" fmla="*/ 977932 w 2719388"/>
                  <a:gd name="connsiteY29" fmla="*/ 92392 h 159448"/>
                  <a:gd name="connsiteX30" fmla="*/ 1139857 w 2719388"/>
                  <a:gd name="connsiteY30" fmla="*/ 92392 h 159448"/>
                  <a:gd name="connsiteX31" fmla="*/ 1139857 w 2719388"/>
                  <a:gd name="connsiteY31" fmla="*/ 98869 h 159448"/>
                  <a:gd name="connsiteX32" fmla="*/ 1156716 w 2719388"/>
                  <a:gd name="connsiteY32" fmla="*/ 98869 h 159448"/>
                  <a:gd name="connsiteX33" fmla="*/ 1156716 w 2719388"/>
                  <a:gd name="connsiteY33" fmla="*/ 105251 h 159448"/>
                  <a:gd name="connsiteX34" fmla="*/ 1274540 w 2719388"/>
                  <a:gd name="connsiteY34" fmla="*/ 105251 h 159448"/>
                  <a:gd name="connsiteX35" fmla="*/ 1274540 w 2719388"/>
                  <a:gd name="connsiteY35" fmla="*/ 111728 h 159448"/>
                  <a:gd name="connsiteX36" fmla="*/ 1367028 w 2719388"/>
                  <a:gd name="connsiteY36" fmla="*/ 111728 h 159448"/>
                  <a:gd name="connsiteX37" fmla="*/ 1367028 w 2719388"/>
                  <a:gd name="connsiteY37" fmla="*/ 118110 h 159448"/>
                  <a:gd name="connsiteX38" fmla="*/ 1385983 w 2719388"/>
                  <a:gd name="connsiteY38" fmla="*/ 118110 h 159448"/>
                  <a:gd name="connsiteX39" fmla="*/ 1385983 w 2719388"/>
                  <a:gd name="connsiteY39" fmla="*/ 124587 h 159448"/>
                  <a:gd name="connsiteX40" fmla="*/ 2239804 w 2719388"/>
                  <a:gd name="connsiteY40" fmla="*/ 124587 h 159448"/>
                  <a:gd name="connsiteX41" fmla="*/ 2239804 w 2719388"/>
                  <a:gd name="connsiteY41" fmla="*/ 159448 h 159448"/>
                  <a:gd name="connsiteX42" fmla="*/ 2719388 w 2719388"/>
                  <a:gd name="connsiteY42" fmla="*/ 159448 h 159448"/>
                  <a:gd name="connsiteX0" fmla="*/ 0 w 2719388"/>
                  <a:gd name="connsiteY0" fmla="*/ 0 h 159448"/>
                  <a:gd name="connsiteX1" fmla="*/ 37814 w 2719388"/>
                  <a:gd name="connsiteY1" fmla="*/ 6001 h 159448"/>
                  <a:gd name="connsiteX2" fmla="*/ 37814 w 2719388"/>
                  <a:gd name="connsiteY2" fmla="*/ 12192 h 159448"/>
                  <a:gd name="connsiteX3" fmla="*/ 90392 w 2719388"/>
                  <a:gd name="connsiteY3" fmla="*/ 12192 h 159448"/>
                  <a:gd name="connsiteX4" fmla="*/ 90392 w 2719388"/>
                  <a:gd name="connsiteY4" fmla="*/ 18288 h 159448"/>
                  <a:gd name="connsiteX5" fmla="*/ 109347 w 2719388"/>
                  <a:gd name="connsiteY5" fmla="*/ 18288 h 159448"/>
                  <a:gd name="connsiteX6" fmla="*/ 109347 w 2719388"/>
                  <a:gd name="connsiteY6" fmla="*/ 24384 h 159448"/>
                  <a:gd name="connsiteX7" fmla="*/ 119825 w 2719388"/>
                  <a:gd name="connsiteY7" fmla="*/ 24384 h 159448"/>
                  <a:gd name="connsiteX8" fmla="*/ 119825 w 2719388"/>
                  <a:gd name="connsiteY8" fmla="*/ 30575 h 159448"/>
                  <a:gd name="connsiteX9" fmla="*/ 153543 w 2719388"/>
                  <a:gd name="connsiteY9" fmla="*/ 30575 h 159448"/>
                  <a:gd name="connsiteX10" fmla="*/ 153543 w 2719388"/>
                  <a:gd name="connsiteY10" fmla="*/ 36671 h 159448"/>
                  <a:gd name="connsiteX11" fmla="*/ 159830 w 2719388"/>
                  <a:gd name="connsiteY11" fmla="*/ 36671 h 159448"/>
                  <a:gd name="connsiteX12" fmla="*/ 159830 w 2719388"/>
                  <a:gd name="connsiteY12" fmla="*/ 42767 h 159448"/>
                  <a:gd name="connsiteX13" fmla="*/ 174498 w 2719388"/>
                  <a:gd name="connsiteY13" fmla="*/ 42767 h 159448"/>
                  <a:gd name="connsiteX14" fmla="*/ 174498 w 2719388"/>
                  <a:gd name="connsiteY14" fmla="*/ 48863 h 159448"/>
                  <a:gd name="connsiteX15" fmla="*/ 187166 w 2719388"/>
                  <a:gd name="connsiteY15" fmla="*/ 48863 h 159448"/>
                  <a:gd name="connsiteX16" fmla="*/ 187166 w 2719388"/>
                  <a:gd name="connsiteY16" fmla="*/ 55054 h 159448"/>
                  <a:gd name="connsiteX17" fmla="*/ 212408 w 2719388"/>
                  <a:gd name="connsiteY17" fmla="*/ 55054 h 159448"/>
                  <a:gd name="connsiteX18" fmla="*/ 212408 w 2719388"/>
                  <a:gd name="connsiteY18" fmla="*/ 61150 h 159448"/>
                  <a:gd name="connsiteX19" fmla="*/ 441674 w 2719388"/>
                  <a:gd name="connsiteY19" fmla="*/ 61150 h 159448"/>
                  <a:gd name="connsiteX20" fmla="*/ 441674 w 2719388"/>
                  <a:gd name="connsiteY20" fmla="*/ 67342 h 159448"/>
                  <a:gd name="connsiteX21" fmla="*/ 555212 w 2719388"/>
                  <a:gd name="connsiteY21" fmla="*/ 67342 h 159448"/>
                  <a:gd name="connsiteX22" fmla="*/ 555212 w 2719388"/>
                  <a:gd name="connsiteY22" fmla="*/ 73533 h 159448"/>
                  <a:gd name="connsiteX23" fmla="*/ 824389 w 2719388"/>
                  <a:gd name="connsiteY23" fmla="*/ 73533 h 159448"/>
                  <a:gd name="connsiteX24" fmla="*/ 824389 w 2719388"/>
                  <a:gd name="connsiteY24" fmla="*/ 79819 h 159448"/>
                  <a:gd name="connsiteX25" fmla="*/ 898017 w 2719388"/>
                  <a:gd name="connsiteY25" fmla="*/ 79819 h 159448"/>
                  <a:gd name="connsiteX26" fmla="*/ 898017 w 2719388"/>
                  <a:gd name="connsiteY26" fmla="*/ 86106 h 159448"/>
                  <a:gd name="connsiteX27" fmla="*/ 977932 w 2719388"/>
                  <a:gd name="connsiteY27" fmla="*/ 86106 h 159448"/>
                  <a:gd name="connsiteX28" fmla="*/ 977932 w 2719388"/>
                  <a:gd name="connsiteY28" fmla="*/ 92392 h 159448"/>
                  <a:gd name="connsiteX29" fmla="*/ 1139857 w 2719388"/>
                  <a:gd name="connsiteY29" fmla="*/ 92392 h 159448"/>
                  <a:gd name="connsiteX30" fmla="*/ 1139857 w 2719388"/>
                  <a:gd name="connsiteY30" fmla="*/ 98869 h 159448"/>
                  <a:gd name="connsiteX31" fmla="*/ 1156716 w 2719388"/>
                  <a:gd name="connsiteY31" fmla="*/ 98869 h 159448"/>
                  <a:gd name="connsiteX32" fmla="*/ 1156716 w 2719388"/>
                  <a:gd name="connsiteY32" fmla="*/ 105251 h 159448"/>
                  <a:gd name="connsiteX33" fmla="*/ 1274540 w 2719388"/>
                  <a:gd name="connsiteY33" fmla="*/ 105251 h 159448"/>
                  <a:gd name="connsiteX34" fmla="*/ 1274540 w 2719388"/>
                  <a:gd name="connsiteY34" fmla="*/ 111728 h 159448"/>
                  <a:gd name="connsiteX35" fmla="*/ 1367028 w 2719388"/>
                  <a:gd name="connsiteY35" fmla="*/ 111728 h 159448"/>
                  <a:gd name="connsiteX36" fmla="*/ 1367028 w 2719388"/>
                  <a:gd name="connsiteY36" fmla="*/ 118110 h 159448"/>
                  <a:gd name="connsiteX37" fmla="*/ 1385983 w 2719388"/>
                  <a:gd name="connsiteY37" fmla="*/ 118110 h 159448"/>
                  <a:gd name="connsiteX38" fmla="*/ 1385983 w 2719388"/>
                  <a:gd name="connsiteY38" fmla="*/ 124587 h 159448"/>
                  <a:gd name="connsiteX39" fmla="*/ 2239804 w 2719388"/>
                  <a:gd name="connsiteY39" fmla="*/ 124587 h 159448"/>
                  <a:gd name="connsiteX40" fmla="*/ 2239804 w 2719388"/>
                  <a:gd name="connsiteY40" fmla="*/ 159448 h 159448"/>
                  <a:gd name="connsiteX41" fmla="*/ 2719388 w 2719388"/>
                  <a:gd name="connsiteY41" fmla="*/ 159448 h 159448"/>
                  <a:gd name="connsiteX0" fmla="*/ 0 w 2681574"/>
                  <a:gd name="connsiteY0" fmla="*/ 0 h 153447"/>
                  <a:gd name="connsiteX1" fmla="*/ 0 w 2681574"/>
                  <a:gd name="connsiteY1" fmla="*/ 6191 h 153447"/>
                  <a:gd name="connsiteX2" fmla="*/ 52578 w 2681574"/>
                  <a:gd name="connsiteY2" fmla="*/ 6191 h 153447"/>
                  <a:gd name="connsiteX3" fmla="*/ 52578 w 2681574"/>
                  <a:gd name="connsiteY3" fmla="*/ 12287 h 153447"/>
                  <a:gd name="connsiteX4" fmla="*/ 71533 w 2681574"/>
                  <a:gd name="connsiteY4" fmla="*/ 12287 h 153447"/>
                  <a:gd name="connsiteX5" fmla="*/ 71533 w 2681574"/>
                  <a:gd name="connsiteY5" fmla="*/ 18383 h 153447"/>
                  <a:gd name="connsiteX6" fmla="*/ 82011 w 2681574"/>
                  <a:gd name="connsiteY6" fmla="*/ 18383 h 153447"/>
                  <a:gd name="connsiteX7" fmla="*/ 82011 w 2681574"/>
                  <a:gd name="connsiteY7" fmla="*/ 24574 h 153447"/>
                  <a:gd name="connsiteX8" fmla="*/ 115729 w 2681574"/>
                  <a:gd name="connsiteY8" fmla="*/ 24574 h 153447"/>
                  <a:gd name="connsiteX9" fmla="*/ 115729 w 2681574"/>
                  <a:gd name="connsiteY9" fmla="*/ 30670 h 153447"/>
                  <a:gd name="connsiteX10" fmla="*/ 122016 w 2681574"/>
                  <a:gd name="connsiteY10" fmla="*/ 30670 h 153447"/>
                  <a:gd name="connsiteX11" fmla="*/ 122016 w 2681574"/>
                  <a:gd name="connsiteY11" fmla="*/ 36766 h 153447"/>
                  <a:gd name="connsiteX12" fmla="*/ 136684 w 2681574"/>
                  <a:gd name="connsiteY12" fmla="*/ 36766 h 153447"/>
                  <a:gd name="connsiteX13" fmla="*/ 136684 w 2681574"/>
                  <a:gd name="connsiteY13" fmla="*/ 42862 h 153447"/>
                  <a:gd name="connsiteX14" fmla="*/ 149352 w 2681574"/>
                  <a:gd name="connsiteY14" fmla="*/ 42862 h 153447"/>
                  <a:gd name="connsiteX15" fmla="*/ 149352 w 2681574"/>
                  <a:gd name="connsiteY15" fmla="*/ 49053 h 153447"/>
                  <a:gd name="connsiteX16" fmla="*/ 174594 w 2681574"/>
                  <a:gd name="connsiteY16" fmla="*/ 49053 h 153447"/>
                  <a:gd name="connsiteX17" fmla="*/ 174594 w 2681574"/>
                  <a:gd name="connsiteY17" fmla="*/ 55149 h 153447"/>
                  <a:gd name="connsiteX18" fmla="*/ 403860 w 2681574"/>
                  <a:gd name="connsiteY18" fmla="*/ 55149 h 153447"/>
                  <a:gd name="connsiteX19" fmla="*/ 403860 w 2681574"/>
                  <a:gd name="connsiteY19" fmla="*/ 61341 h 153447"/>
                  <a:gd name="connsiteX20" fmla="*/ 517398 w 2681574"/>
                  <a:gd name="connsiteY20" fmla="*/ 61341 h 153447"/>
                  <a:gd name="connsiteX21" fmla="*/ 517398 w 2681574"/>
                  <a:gd name="connsiteY21" fmla="*/ 67532 h 153447"/>
                  <a:gd name="connsiteX22" fmla="*/ 786575 w 2681574"/>
                  <a:gd name="connsiteY22" fmla="*/ 67532 h 153447"/>
                  <a:gd name="connsiteX23" fmla="*/ 786575 w 2681574"/>
                  <a:gd name="connsiteY23" fmla="*/ 73818 h 153447"/>
                  <a:gd name="connsiteX24" fmla="*/ 860203 w 2681574"/>
                  <a:gd name="connsiteY24" fmla="*/ 73818 h 153447"/>
                  <a:gd name="connsiteX25" fmla="*/ 860203 w 2681574"/>
                  <a:gd name="connsiteY25" fmla="*/ 80105 h 153447"/>
                  <a:gd name="connsiteX26" fmla="*/ 940118 w 2681574"/>
                  <a:gd name="connsiteY26" fmla="*/ 80105 h 153447"/>
                  <a:gd name="connsiteX27" fmla="*/ 940118 w 2681574"/>
                  <a:gd name="connsiteY27" fmla="*/ 86391 h 153447"/>
                  <a:gd name="connsiteX28" fmla="*/ 1102043 w 2681574"/>
                  <a:gd name="connsiteY28" fmla="*/ 86391 h 153447"/>
                  <a:gd name="connsiteX29" fmla="*/ 1102043 w 2681574"/>
                  <a:gd name="connsiteY29" fmla="*/ 92868 h 153447"/>
                  <a:gd name="connsiteX30" fmla="*/ 1118902 w 2681574"/>
                  <a:gd name="connsiteY30" fmla="*/ 92868 h 153447"/>
                  <a:gd name="connsiteX31" fmla="*/ 1118902 w 2681574"/>
                  <a:gd name="connsiteY31" fmla="*/ 99250 h 153447"/>
                  <a:gd name="connsiteX32" fmla="*/ 1236726 w 2681574"/>
                  <a:gd name="connsiteY32" fmla="*/ 99250 h 153447"/>
                  <a:gd name="connsiteX33" fmla="*/ 1236726 w 2681574"/>
                  <a:gd name="connsiteY33" fmla="*/ 105727 h 153447"/>
                  <a:gd name="connsiteX34" fmla="*/ 1329214 w 2681574"/>
                  <a:gd name="connsiteY34" fmla="*/ 105727 h 153447"/>
                  <a:gd name="connsiteX35" fmla="*/ 1329214 w 2681574"/>
                  <a:gd name="connsiteY35" fmla="*/ 112109 h 153447"/>
                  <a:gd name="connsiteX36" fmla="*/ 1348169 w 2681574"/>
                  <a:gd name="connsiteY36" fmla="*/ 112109 h 153447"/>
                  <a:gd name="connsiteX37" fmla="*/ 1348169 w 2681574"/>
                  <a:gd name="connsiteY37" fmla="*/ 118586 h 153447"/>
                  <a:gd name="connsiteX38" fmla="*/ 2201990 w 2681574"/>
                  <a:gd name="connsiteY38" fmla="*/ 118586 h 153447"/>
                  <a:gd name="connsiteX39" fmla="*/ 2201990 w 2681574"/>
                  <a:gd name="connsiteY39" fmla="*/ 153447 h 153447"/>
                  <a:gd name="connsiteX40" fmla="*/ 2681574 w 2681574"/>
                  <a:gd name="connsiteY40" fmla="*/ 153447 h 153447"/>
                  <a:gd name="connsiteX0" fmla="*/ 0 w 2681574"/>
                  <a:gd name="connsiteY0" fmla="*/ 0 h 147256"/>
                  <a:gd name="connsiteX1" fmla="*/ 52578 w 2681574"/>
                  <a:gd name="connsiteY1" fmla="*/ 0 h 147256"/>
                  <a:gd name="connsiteX2" fmla="*/ 52578 w 2681574"/>
                  <a:gd name="connsiteY2" fmla="*/ 6096 h 147256"/>
                  <a:gd name="connsiteX3" fmla="*/ 71533 w 2681574"/>
                  <a:gd name="connsiteY3" fmla="*/ 6096 h 147256"/>
                  <a:gd name="connsiteX4" fmla="*/ 71533 w 2681574"/>
                  <a:gd name="connsiteY4" fmla="*/ 12192 h 147256"/>
                  <a:gd name="connsiteX5" fmla="*/ 82011 w 2681574"/>
                  <a:gd name="connsiteY5" fmla="*/ 12192 h 147256"/>
                  <a:gd name="connsiteX6" fmla="*/ 82011 w 2681574"/>
                  <a:gd name="connsiteY6" fmla="*/ 18383 h 147256"/>
                  <a:gd name="connsiteX7" fmla="*/ 115729 w 2681574"/>
                  <a:gd name="connsiteY7" fmla="*/ 18383 h 147256"/>
                  <a:gd name="connsiteX8" fmla="*/ 115729 w 2681574"/>
                  <a:gd name="connsiteY8" fmla="*/ 24479 h 147256"/>
                  <a:gd name="connsiteX9" fmla="*/ 122016 w 2681574"/>
                  <a:gd name="connsiteY9" fmla="*/ 24479 h 147256"/>
                  <a:gd name="connsiteX10" fmla="*/ 122016 w 2681574"/>
                  <a:gd name="connsiteY10" fmla="*/ 30575 h 147256"/>
                  <a:gd name="connsiteX11" fmla="*/ 136684 w 2681574"/>
                  <a:gd name="connsiteY11" fmla="*/ 30575 h 147256"/>
                  <a:gd name="connsiteX12" fmla="*/ 136684 w 2681574"/>
                  <a:gd name="connsiteY12" fmla="*/ 36671 h 147256"/>
                  <a:gd name="connsiteX13" fmla="*/ 149352 w 2681574"/>
                  <a:gd name="connsiteY13" fmla="*/ 36671 h 147256"/>
                  <a:gd name="connsiteX14" fmla="*/ 149352 w 2681574"/>
                  <a:gd name="connsiteY14" fmla="*/ 42862 h 147256"/>
                  <a:gd name="connsiteX15" fmla="*/ 174594 w 2681574"/>
                  <a:gd name="connsiteY15" fmla="*/ 42862 h 147256"/>
                  <a:gd name="connsiteX16" fmla="*/ 174594 w 2681574"/>
                  <a:gd name="connsiteY16" fmla="*/ 48958 h 147256"/>
                  <a:gd name="connsiteX17" fmla="*/ 403860 w 2681574"/>
                  <a:gd name="connsiteY17" fmla="*/ 48958 h 147256"/>
                  <a:gd name="connsiteX18" fmla="*/ 403860 w 2681574"/>
                  <a:gd name="connsiteY18" fmla="*/ 55150 h 147256"/>
                  <a:gd name="connsiteX19" fmla="*/ 517398 w 2681574"/>
                  <a:gd name="connsiteY19" fmla="*/ 55150 h 147256"/>
                  <a:gd name="connsiteX20" fmla="*/ 517398 w 2681574"/>
                  <a:gd name="connsiteY20" fmla="*/ 61341 h 147256"/>
                  <a:gd name="connsiteX21" fmla="*/ 786575 w 2681574"/>
                  <a:gd name="connsiteY21" fmla="*/ 61341 h 147256"/>
                  <a:gd name="connsiteX22" fmla="*/ 786575 w 2681574"/>
                  <a:gd name="connsiteY22" fmla="*/ 67627 h 147256"/>
                  <a:gd name="connsiteX23" fmla="*/ 860203 w 2681574"/>
                  <a:gd name="connsiteY23" fmla="*/ 67627 h 147256"/>
                  <a:gd name="connsiteX24" fmla="*/ 860203 w 2681574"/>
                  <a:gd name="connsiteY24" fmla="*/ 73914 h 147256"/>
                  <a:gd name="connsiteX25" fmla="*/ 940118 w 2681574"/>
                  <a:gd name="connsiteY25" fmla="*/ 73914 h 147256"/>
                  <a:gd name="connsiteX26" fmla="*/ 940118 w 2681574"/>
                  <a:gd name="connsiteY26" fmla="*/ 80200 h 147256"/>
                  <a:gd name="connsiteX27" fmla="*/ 1102043 w 2681574"/>
                  <a:gd name="connsiteY27" fmla="*/ 80200 h 147256"/>
                  <a:gd name="connsiteX28" fmla="*/ 1102043 w 2681574"/>
                  <a:gd name="connsiteY28" fmla="*/ 86677 h 147256"/>
                  <a:gd name="connsiteX29" fmla="*/ 1118902 w 2681574"/>
                  <a:gd name="connsiteY29" fmla="*/ 86677 h 147256"/>
                  <a:gd name="connsiteX30" fmla="*/ 1118902 w 2681574"/>
                  <a:gd name="connsiteY30" fmla="*/ 93059 h 147256"/>
                  <a:gd name="connsiteX31" fmla="*/ 1236726 w 2681574"/>
                  <a:gd name="connsiteY31" fmla="*/ 93059 h 147256"/>
                  <a:gd name="connsiteX32" fmla="*/ 1236726 w 2681574"/>
                  <a:gd name="connsiteY32" fmla="*/ 99536 h 147256"/>
                  <a:gd name="connsiteX33" fmla="*/ 1329214 w 2681574"/>
                  <a:gd name="connsiteY33" fmla="*/ 99536 h 147256"/>
                  <a:gd name="connsiteX34" fmla="*/ 1329214 w 2681574"/>
                  <a:gd name="connsiteY34" fmla="*/ 105918 h 147256"/>
                  <a:gd name="connsiteX35" fmla="*/ 1348169 w 2681574"/>
                  <a:gd name="connsiteY35" fmla="*/ 105918 h 147256"/>
                  <a:gd name="connsiteX36" fmla="*/ 1348169 w 2681574"/>
                  <a:gd name="connsiteY36" fmla="*/ 112395 h 147256"/>
                  <a:gd name="connsiteX37" fmla="*/ 2201990 w 2681574"/>
                  <a:gd name="connsiteY37" fmla="*/ 112395 h 147256"/>
                  <a:gd name="connsiteX38" fmla="*/ 2201990 w 2681574"/>
                  <a:gd name="connsiteY38" fmla="*/ 147256 h 147256"/>
                  <a:gd name="connsiteX39" fmla="*/ 2681574 w 2681574"/>
                  <a:gd name="connsiteY39" fmla="*/ 147256 h 147256"/>
                  <a:gd name="connsiteX0" fmla="*/ 0 w 2628996"/>
                  <a:gd name="connsiteY0" fmla="*/ 0 h 147256"/>
                  <a:gd name="connsiteX1" fmla="*/ 0 w 2628996"/>
                  <a:gd name="connsiteY1" fmla="*/ 6096 h 147256"/>
                  <a:gd name="connsiteX2" fmla="*/ 18955 w 2628996"/>
                  <a:gd name="connsiteY2" fmla="*/ 6096 h 147256"/>
                  <a:gd name="connsiteX3" fmla="*/ 18955 w 2628996"/>
                  <a:gd name="connsiteY3" fmla="*/ 12192 h 147256"/>
                  <a:gd name="connsiteX4" fmla="*/ 29433 w 2628996"/>
                  <a:gd name="connsiteY4" fmla="*/ 12192 h 147256"/>
                  <a:gd name="connsiteX5" fmla="*/ 29433 w 2628996"/>
                  <a:gd name="connsiteY5" fmla="*/ 18383 h 147256"/>
                  <a:gd name="connsiteX6" fmla="*/ 63151 w 2628996"/>
                  <a:gd name="connsiteY6" fmla="*/ 18383 h 147256"/>
                  <a:gd name="connsiteX7" fmla="*/ 63151 w 2628996"/>
                  <a:gd name="connsiteY7" fmla="*/ 24479 h 147256"/>
                  <a:gd name="connsiteX8" fmla="*/ 69438 w 2628996"/>
                  <a:gd name="connsiteY8" fmla="*/ 24479 h 147256"/>
                  <a:gd name="connsiteX9" fmla="*/ 69438 w 2628996"/>
                  <a:gd name="connsiteY9" fmla="*/ 30575 h 147256"/>
                  <a:gd name="connsiteX10" fmla="*/ 84106 w 2628996"/>
                  <a:gd name="connsiteY10" fmla="*/ 30575 h 147256"/>
                  <a:gd name="connsiteX11" fmla="*/ 84106 w 2628996"/>
                  <a:gd name="connsiteY11" fmla="*/ 36671 h 147256"/>
                  <a:gd name="connsiteX12" fmla="*/ 96774 w 2628996"/>
                  <a:gd name="connsiteY12" fmla="*/ 36671 h 147256"/>
                  <a:gd name="connsiteX13" fmla="*/ 96774 w 2628996"/>
                  <a:gd name="connsiteY13" fmla="*/ 42862 h 147256"/>
                  <a:gd name="connsiteX14" fmla="*/ 122016 w 2628996"/>
                  <a:gd name="connsiteY14" fmla="*/ 42862 h 147256"/>
                  <a:gd name="connsiteX15" fmla="*/ 122016 w 2628996"/>
                  <a:gd name="connsiteY15" fmla="*/ 48958 h 147256"/>
                  <a:gd name="connsiteX16" fmla="*/ 351282 w 2628996"/>
                  <a:gd name="connsiteY16" fmla="*/ 48958 h 147256"/>
                  <a:gd name="connsiteX17" fmla="*/ 351282 w 2628996"/>
                  <a:gd name="connsiteY17" fmla="*/ 55150 h 147256"/>
                  <a:gd name="connsiteX18" fmla="*/ 464820 w 2628996"/>
                  <a:gd name="connsiteY18" fmla="*/ 55150 h 147256"/>
                  <a:gd name="connsiteX19" fmla="*/ 464820 w 2628996"/>
                  <a:gd name="connsiteY19" fmla="*/ 61341 h 147256"/>
                  <a:gd name="connsiteX20" fmla="*/ 733997 w 2628996"/>
                  <a:gd name="connsiteY20" fmla="*/ 61341 h 147256"/>
                  <a:gd name="connsiteX21" fmla="*/ 733997 w 2628996"/>
                  <a:gd name="connsiteY21" fmla="*/ 67627 h 147256"/>
                  <a:gd name="connsiteX22" fmla="*/ 807625 w 2628996"/>
                  <a:gd name="connsiteY22" fmla="*/ 67627 h 147256"/>
                  <a:gd name="connsiteX23" fmla="*/ 807625 w 2628996"/>
                  <a:gd name="connsiteY23" fmla="*/ 73914 h 147256"/>
                  <a:gd name="connsiteX24" fmla="*/ 887540 w 2628996"/>
                  <a:gd name="connsiteY24" fmla="*/ 73914 h 147256"/>
                  <a:gd name="connsiteX25" fmla="*/ 887540 w 2628996"/>
                  <a:gd name="connsiteY25" fmla="*/ 80200 h 147256"/>
                  <a:gd name="connsiteX26" fmla="*/ 1049465 w 2628996"/>
                  <a:gd name="connsiteY26" fmla="*/ 80200 h 147256"/>
                  <a:gd name="connsiteX27" fmla="*/ 1049465 w 2628996"/>
                  <a:gd name="connsiteY27" fmla="*/ 86677 h 147256"/>
                  <a:gd name="connsiteX28" fmla="*/ 1066324 w 2628996"/>
                  <a:gd name="connsiteY28" fmla="*/ 86677 h 147256"/>
                  <a:gd name="connsiteX29" fmla="*/ 1066324 w 2628996"/>
                  <a:gd name="connsiteY29" fmla="*/ 93059 h 147256"/>
                  <a:gd name="connsiteX30" fmla="*/ 1184148 w 2628996"/>
                  <a:gd name="connsiteY30" fmla="*/ 93059 h 147256"/>
                  <a:gd name="connsiteX31" fmla="*/ 1184148 w 2628996"/>
                  <a:gd name="connsiteY31" fmla="*/ 99536 h 147256"/>
                  <a:gd name="connsiteX32" fmla="*/ 1276636 w 2628996"/>
                  <a:gd name="connsiteY32" fmla="*/ 99536 h 147256"/>
                  <a:gd name="connsiteX33" fmla="*/ 1276636 w 2628996"/>
                  <a:gd name="connsiteY33" fmla="*/ 105918 h 147256"/>
                  <a:gd name="connsiteX34" fmla="*/ 1295591 w 2628996"/>
                  <a:gd name="connsiteY34" fmla="*/ 105918 h 147256"/>
                  <a:gd name="connsiteX35" fmla="*/ 1295591 w 2628996"/>
                  <a:gd name="connsiteY35" fmla="*/ 112395 h 147256"/>
                  <a:gd name="connsiteX36" fmla="*/ 2149412 w 2628996"/>
                  <a:gd name="connsiteY36" fmla="*/ 112395 h 147256"/>
                  <a:gd name="connsiteX37" fmla="*/ 2149412 w 2628996"/>
                  <a:gd name="connsiteY37" fmla="*/ 147256 h 147256"/>
                  <a:gd name="connsiteX38" fmla="*/ 2628996 w 2628996"/>
                  <a:gd name="connsiteY38" fmla="*/ 147256 h 147256"/>
                  <a:gd name="connsiteX0" fmla="*/ 0 w 2628996"/>
                  <a:gd name="connsiteY0" fmla="*/ 0 h 147256"/>
                  <a:gd name="connsiteX1" fmla="*/ 18955 w 2628996"/>
                  <a:gd name="connsiteY1" fmla="*/ 6096 h 147256"/>
                  <a:gd name="connsiteX2" fmla="*/ 18955 w 2628996"/>
                  <a:gd name="connsiteY2" fmla="*/ 12192 h 147256"/>
                  <a:gd name="connsiteX3" fmla="*/ 29433 w 2628996"/>
                  <a:gd name="connsiteY3" fmla="*/ 12192 h 147256"/>
                  <a:gd name="connsiteX4" fmla="*/ 29433 w 2628996"/>
                  <a:gd name="connsiteY4" fmla="*/ 18383 h 147256"/>
                  <a:gd name="connsiteX5" fmla="*/ 63151 w 2628996"/>
                  <a:gd name="connsiteY5" fmla="*/ 18383 h 147256"/>
                  <a:gd name="connsiteX6" fmla="*/ 63151 w 2628996"/>
                  <a:gd name="connsiteY6" fmla="*/ 24479 h 147256"/>
                  <a:gd name="connsiteX7" fmla="*/ 69438 w 2628996"/>
                  <a:gd name="connsiteY7" fmla="*/ 24479 h 147256"/>
                  <a:gd name="connsiteX8" fmla="*/ 69438 w 2628996"/>
                  <a:gd name="connsiteY8" fmla="*/ 30575 h 147256"/>
                  <a:gd name="connsiteX9" fmla="*/ 84106 w 2628996"/>
                  <a:gd name="connsiteY9" fmla="*/ 30575 h 147256"/>
                  <a:gd name="connsiteX10" fmla="*/ 84106 w 2628996"/>
                  <a:gd name="connsiteY10" fmla="*/ 36671 h 147256"/>
                  <a:gd name="connsiteX11" fmla="*/ 96774 w 2628996"/>
                  <a:gd name="connsiteY11" fmla="*/ 36671 h 147256"/>
                  <a:gd name="connsiteX12" fmla="*/ 96774 w 2628996"/>
                  <a:gd name="connsiteY12" fmla="*/ 42862 h 147256"/>
                  <a:gd name="connsiteX13" fmla="*/ 122016 w 2628996"/>
                  <a:gd name="connsiteY13" fmla="*/ 42862 h 147256"/>
                  <a:gd name="connsiteX14" fmla="*/ 122016 w 2628996"/>
                  <a:gd name="connsiteY14" fmla="*/ 48958 h 147256"/>
                  <a:gd name="connsiteX15" fmla="*/ 351282 w 2628996"/>
                  <a:gd name="connsiteY15" fmla="*/ 48958 h 147256"/>
                  <a:gd name="connsiteX16" fmla="*/ 351282 w 2628996"/>
                  <a:gd name="connsiteY16" fmla="*/ 55150 h 147256"/>
                  <a:gd name="connsiteX17" fmla="*/ 464820 w 2628996"/>
                  <a:gd name="connsiteY17" fmla="*/ 55150 h 147256"/>
                  <a:gd name="connsiteX18" fmla="*/ 464820 w 2628996"/>
                  <a:gd name="connsiteY18" fmla="*/ 61341 h 147256"/>
                  <a:gd name="connsiteX19" fmla="*/ 733997 w 2628996"/>
                  <a:gd name="connsiteY19" fmla="*/ 61341 h 147256"/>
                  <a:gd name="connsiteX20" fmla="*/ 733997 w 2628996"/>
                  <a:gd name="connsiteY20" fmla="*/ 67627 h 147256"/>
                  <a:gd name="connsiteX21" fmla="*/ 807625 w 2628996"/>
                  <a:gd name="connsiteY21" fmla="*/ 67627 h 147256"/>
                  <a:gd name="connsiteX22" fmla="*/ 807625 w 2628996"/>
                  <a:gd name="connsiteY22" fmla="*/ 73914 h 147256"/>
                  <a:gd name="connsiteX23" fmla="*/ 887540 w 2628996"/>
                  <a:gd name="connsiteY23" fmla="*/ 73914 h 147256"/>
                  <a:gd name="connsiteX24" fmla="*/ 887540 w 2628996"/>
                  <a:gd name="connsiteY24" fmla="*/ 80200 h 147256"/>
                  <a:gd name="connsiteX25" fmla="*/ 1049465 w 2628996"/>
                  <a:gd name="connsiteY25" fmla="*/ 80200 h 147256"/>
                  <a:gd name="connsiteX26" fmla="*/ 1049465 w 2628996"/>
                  <a:gd name="connsiteY26" fmla="*/ 86677 h 147256"/>
                  <a:gd name="connsiteX27" fmla="*/ 1066324 w 2628996"/>
                  <a:gd name="connsiteY27" fmla="*/ 86677 h 147256"/>
                  <a:gd name="connsiteX28" fmla="*/ 1066324 w 2628996"/>
                  <a:gd name="connsiteY28" fmla="*/ 93059 h 147256"/>
                  <a:gd name="connsiteX29" fmla="*/ 1184148 w 2628996"/>
                  <a:gd name="connsiteY29" fmla="*/ 93059 h 147256"/>
                  <a:gd name="connsiteX30" fmla="*/ 1184148 w 2628996"/>
                  <a:gd name="connsiteY30" fmla="*/ 99536 h 147256"/>
                  <a:gd name="connsiteX31" fmla="*/ 1276636 w 2628996"/>
                  <a:gd name="connsiteY31" fmla="*/ 99536 h 147256"/>
                  <a:gd name="connsiteX32" fmla="*/ 1276636 w 2628996"/>
                  <a:gd name="connsiteY32" fmla="*/ 105918 h 147256"/>
                  <a:gd name="connsiteX33" fmla="*/ 1295591 w 2628996"/>
                  <a:gd name="connsiteY33" fmla="*/ 105918 h 147256"/>
                  <a:gd name="connsiteX34" fmla="*/ 1295591 w 2628996"/>
                  <a:gd name="connsiteY34" fmla="*/ 112395 h 147256"/>
                  <a:gd name="connsiteX35" fmla="*/ 2149412 w 2628996"/>
                  <a:gd name="connsiteY35" fmla="*/ 112395 h 147256"/>
                  <a:gd name="connsiteX36" fmla="*/ 2149412 w 2628996"/>
                  <a:gd name="connsiteY36" fmla="*/ 147256 h 147256"/>
                  <a:gd name="connsiteX37" fmla="*/ 2628996 w 2628996"/>
                  <a:gd name="connsiteY37" fmla="*/ 147256 h 147256"/>
                  <a:gd name="connsiteX0" fmla="*/ 0 w 2610041"/>
                  <a:gd name="connsiteY0" fmla="*/ 0 h 141160"/>
                  <a:gd name="connsiteX1" fmla="*/ 0 w 2610041"/>
                  <a:gd name="connsiteY1" fmla="*/ 6096 h 141160"/>
                  <a:gd name="connsiteX2" fmla="*/ 10478 w 2610041"/>
                  <a:gd name="connsiteY2" fmla="*/ 6096 h 141160"/>
                  <a:gd name="connsiteX3" fmla="*/ 10478 w 2610041"/>
                  <a:gd name="connsiteY3" fmla="*/ 12287 h 141160"/>
                  <a:gd name="connsiteX4" fmla="*/ 44196 w 2610041"/>
                  <a:gd name="connsiteY4" fmla="*/ 12287 h 141160"/>
                  <a:gd name="connsiteX5" fmla="*/ 44196 w 2610041"/>
                  <a:gd name="connsiteY5" fmla="*/ 18383 h 141160"/>
                  <a:gd name="connsiteX6" fmla="*/ 50483 w 2610041"/>
                  <a:gd name="connsiteY6" fmla="*/ 18383 h 141160"/>
                  <a:gd name="connsiteX7" fmla="*/ 50483 w 2610041"/>
                  <a:gd name="connsiteY7" fmla="*/ 24479 h 141160"/>
                  <a:gd name="connsiteX8" fmla="*/ 65151 w 2610041"/>
                  <a:gd name="connsiteY8" fmla="*/ 24479 h 141160"/>
                  <a:gd name="connsiteX9" fmla="*/ 65151 w 2610041"/>
                  <a:gd name="connsiteY9" fmla="*/ 30575 h 141160"/>
                  <a:gd name="connsiteX10" fmla="*/ 77819 w 2610041"/>
                  <a:gd name="connsiteY10" fmla="*/ 30575 h 141160"/>
                  <a:gd name="connsiteX11" fmla="*/ 77819 w 2610041"/>
                  <a:gd name="connsiteY11" fmla="*/ 36766 h 141160"/>
                  <a:gd name="connsiteX12" fmla="*/ 103061 w 2610041"/>
                  <a:gd name="connsiteY12" fmla="*/ 36766 h 141160"/>
                  <a:gd name="connsiteX13" fmla="*/ 103061 w 2610041"/>
                  <a:gd name="connsiteY13" fmla="*/ 42862 h 141160"/>
                  <a:gd name="connsiteX14" fmla="*/ 332327 w 2610041"/>
                  <a:gd name="connsiteY14" fmla="*/ 42862 h 141160"/>
                  <a:gd name="connsiteX15" fmla="*/ 332327 w 2610041"/>
                  <a:gd name="connsiteY15" fmla="*/ 49054 h 141160"/>
                  <a:gd name="connsiteX16" fmla="*/ 445865 w 2610041"/>
                  <a:gd name="connsiteY16" fmla="*/ 49054 h 141160"/>
                  <a:gd name="connsiteX17" fmla="*/ 445865 w 2610041"/>
                  <a:gd name="connsiteY17" fmla="*/ 55245 h 141160"/>
                  <a:gd name="connsiteX18" fmla="*/ 715042 w 2610041"/>
                  <a:gd name="connsiteY18" fmla="*/ 55245 h 141160"/>
                  <a:gd name="connsiteX19" fmla="*/ 715042 w 2610041"/>
                  <a:gd name="connsiteY19" fmla="*/ 61531 h 141160"/>
                  <a:gd name="connsiteX20" fmla="*/ 788670 w 2610041"/>
                  <a:gd name="connsiteY20" fmla="*/ 61531 h 141160"/>
                  <a:gd name="connsiteX21" fmla="*/ 788670 w 2610041"/>
                  <a:gd name="connsiteY21" fmla="*/ 67818 h 141160"/>
                  <a:gd name="connsiteX22" fmla="*/ 868585 w 2610041"/>
                  <a:gd name="connsiteY22" fmla="*/ 67818 h 141160"/>
                  <a:gd name="connsiteX23" fmla="*/ 868585 w 2610041"/>
                  <a:gd name="connsiteY23" fmla="*/ 74104 h 141160"/>
                  <a:gd name="connsiteX24" fmla="*/ 1030510 w 2610041"/>
                  <a:gd name="connsiteY24" fmla="*/ 74104 h 141160"/>
                  <a:gd name="connsiteX25" fmla="*/ 1030510 w 2610041"/>
                  <a:gd name="connsiteY25" fmla="*/ 80581 h 141160"/>
                  <a:gd name="connsiteX26" fmla="*/ 1047369 w 2610041"/>
                  <a:gd name="connsiteY26" fmla="*/ 80581 h 141160"/>
                  <a:gd name="connsiteX27" fmla="*/ 1047369 w 2610041"/>
                  <a:gd name="connsiteY27" fmla="*/ 86963 h 141160"/>
                  <a:gd name="connsiteX28" fmla="*/ 1165193 w 2610041"/>
                  <a:gd name="connsiteY28" fmla="*/ 86963 h 141160"/>
                  <a:gd name="connsiteX29" fmla="*/ 1165193 w 2610041"/>
                  <a:gd name="connsiteY29" fmla="*/ 93440 h 141160"/>
                  <a:gd name="connsiteX30" fmla="*/ 1257681 w 2610041"/>
                  <a:gd name="connsiteY30" fmla="*/ 93440 h 141160"/>
                  <a:gd name="connsiteX31" fmla="*/ 1257681 w 2610041"/>
                  <a:gd name="connsiteY31" fmla="*/ 99822 h 141160"/>
                  <a:gd name="connsiteX32" fmla="*/ 1276636 w 2610041"/>
                  <a:gd name="connsiteY32" fmla="*/ 99822 h 141160"/>
                  <a:gd name="connsiteX33" fmla="*/ 1276636 w 2610041"/>
                  <a:gd name="connsiteY33" fmla="*/ 106299 h 141160"/>
                  <a:gd name="connsiteX34" fmla="*/ 2130457 w 2610041"/>
                  <a:gd name="connsiteY34" fmla="*/ 106299 h 141160"/>
                  <a:gd name="connsiteX35" fmla="*/ 2130457 w 2610041"/>
                  <a:gd name="connsiteY35" fmla="*/ 141160 h 141160"/>
                  <a:gd name="connsiteX36" fmla="*/ 2610041 w 2610041"/>
                  <a:gd name="connsiteY36" fmla="*/ 141160 h 141160"/>
                  <a:gd name="connsiteX0" fmla="*/ 0 w 2610041"/>
                  <a:gd name="connsiteY0" fmla="*/ 0 h 141160"/>
                  <a:gd name="connsiteX1" fmla="*/ 10478 w 2610041"/>
                  <a:gd name="connsiteY1" fmla="*/ 6096 h 141160"/>
                  <a:gd name="connsiteX2" fmla="*/ 10478 w 2610041"/>
                  <a:gd name="connsiteY2" fmla="*/ 12287 h 141160"/>
                  <a:gd name="connsiteX3" fmla="*/ 44196 w 2610041"/>
                  <a:gd name="connsiteY3" fmla="*/ 12287 h 141160"/>
                  <a:gd name="connsiteX4" fmla="*/ 44196 w 2610041"/>
                  <a:gd name="connsiteY4" fmla="*/ 18383 h 141160"/>
                  <a:gd name="connsiteX5" fmla="*/ 50483 w 2610041"/>
                  <a:gd name="connsiteY5" fmla="*/ 18383 h 141160"/>
                  <a:gd name="connsiteX6" fmla="*/ 50483 w 2610041"/>
                  <a:gd name="connsiteY6" fmla="*/ 24479 h 141160"/>
                  <a:gd name="connsiteX7" fmla="*/ 65151 w 2610041"/>
                  <a:gd name="connsiteY7" fmla="*/ 24479 h 141160"/>
                  <a:gd name="connsiteX8" fmla="*/ 65151 w 2610041"/>
                  <a:gd name="connsiteY8" fmla="*/ 30575 h 141160"/>
                  <a:gd name="connsiteX9" fmla="*/ 77819 w 2610041"/>
                  <a:gd name="connsiteY9" fmla="*/ 30575 h 141160"/>
                  <a:gd name="connsiteX10" fmla="*/ 77819 w 2610041"/>
                  <a:gd name="connsiteY10" fmla="*/ 36766 h 141160"/>
                  <a:gd name="connsiteX11" fmla="*/ 103061 w 2610041"/>
                  <a:gd name="connsiteY11" fmla="*/ 36766 h 141160"/>
                  <a:gd name="connsiteX12" fmla="*/ 103061 w 2610041"/>
                  <a:gd name="connsiteY12" fmla="*/ 42862 h 141160"/>
                  <a:gd name="connsiteX13" fmla="*/ 332327 w 2610041"/>
                  <a:gd name="connsiteY13" fmla="*/ 42862 h 141160"/>
                  <a:gd name="connsiteX14" fmla="*/ 332327 w 2610041"/>
                  <a:gd name="connsiteY14" fmla="*/ 49054 h 141160"/>
                  <a:gd name="connsiteX15" fmla="*/ 445865 w 2610041"/>
                  <a:gd name="connsiteY15" fmla="*/ 49054 h 141160"/>
                  <a:gd name="connsiteX16" fmla="*/ 445865 w 2610041"/>
                  <a:gd name="connsiteY16" fmla="*/ 55245 h 141160"/>
                  <a:gd name="connsiteX17" fmla="*/ 715042 w 2610041"/>
                  <a:gd name="connsiteY17" fmla="*/ 55245 h 141160"/>
                  <a:gd name="connsiteX18" fmla="*/ 715042 w 2610041"/>
                  <a:gd name="connsiteY18" fmla="*/ 61531 h 141160"/>
                  <a:gd name="connsiteX19" fmla="*/ 788670 w 2610041"/>
                  <a:gd name="connsiteY19" fmla="*/ 61531 h 141160"/>
                  <a:gd name="connsiteX20" fmla="*/ 788670 w 2610041"/>
                  <a:gd name="connsiteY20" fmla="*/ 67818 h 141160"/>
                  <a:gd name="connsiteX21" fmla="*/ 868585 w 2610041"/>
                  <a:gd name="connsiteY21" fmla="*/ 67818 h 141160"/>
                  <a:gd name="connsiteX22" fmla="*/ 868585 w 2610041"/>
                  <a:gd name="connsiteY22" fmla="*/ 74104 h 141160"/>
                  <a:gd name="connsiteX23" fmla="*/ 1030510 w 2610041"/>
                  <a:gd name="connsiteY23" fmla="*/ 74104 h 141160"/>
                  <a:gd name="connsiteX24" fmla="*/ 1030510 w 2610041"/>
                  <a:gd name="connsiteY24" fmla="*/ 80581 h 141160"/>
                  <a:gd name="connsiteX25" fmla="*/ 1047369 w 2610041"/>
                  <a:gd name="connsiteY25" fmla="*/ 80581 h 141160"/>
                  <a:gd name="connsiteX26" fmla="*/ 1047369 w 2610041"/>
                  <a:gd name="connsiteY26" fmla="*/ 86963 h 141160"/>
                  <a:gd name="connsiteX27" fmla="*/ 1165193 w 2610041"/>
                  <a:gd name="connsiteY27" fmla="*/ 86963 h 141160"/>
                  <a:gd name="connsiteX28" fmla="*/ 1165193 w 2610041"/>
                  <a:gd name="connsiteY28" fmla="*/ 93440 h 141160"/>
                  <a:gd name="connsiteX29" fmla="*/ 1257681 w 2610041"/>
                  <a:gd name="connsiteY29" fmla="*/ 93440 h 141160"/>
                  <a:gd name="connsiteX30" fmla="*/ 1257681 w 2610041"/>
                  <a:gd name="connsiteY30" fmla="*/ 99822 h 141160"/>
                  <a:gd name="connsiteX31" fmla="*/ 1276636 w 2610041"/>
                  <a:gd name="connsiteY31" fmla="*/ 99822 h 141160"/>
                  <a:gd name="connsiteX32" fmla="*/ 1276636 w 2610041"/>
                  <a:gd name="connsiteY32" fmla="*/ 106299 h 141160"/>
                  <a:gd name="connsiteX33" fmla="*/ 2130457 w 2610041"/>
                  <a:gd name="connsiteY33" fmla="*/ 106299 h 141160"/>
                  <a:gd name="connsiteX34" fmla="*/ 2130457 w 2610041"/>
                  <a:gd name="connsiteY34" fmla="*/ 141160 h 141160"/>
                  <a:gd name="connsiteX35" fmla="*/ 2610041 w 2610041"/>
                  <a:gd name="connsiteY35" fmla="*/ 141160 h 141160"/>
                  <a:gd name="connsiteX0" fmla="*/ 0 w 2599563"/>
                  <a:gd name="connsiteY0" fmla="*/ 0 h 135064"/>
                  <a:gd name="connsiteX1" fmla="*/ 0 w 2599563"/>
                  <a:gd name="connsiteY1" fmla="*/ 6191 h 135064"/>
                  <a:gd name="connsiteX2" fmla="*/ 33718 w 2599563"/>
                  <a:gd name="connsiteY2" fmla="*/ 6191 h 135064"/>
                  <a:gd name="connsiteX3" fmla="*/ 33718 w 2599563"/>
                  <a:gd name="connsiteY3" fmla="*/ 12287 h 135064"/>
                  <a:gd name="connsiteX4" fmla="*/ 40005 w 2599563"/>
                  <a:gd name="connsiteY4" fmla="*/ 12287 h 135064"/>
                  <a:gd name="connsiteX5" fmla="*/ 40005 w 2599563"/>
                  <a:gd name="connsiteY5" fmla="*/ 18383 h 135064"/>
                  <a:gd name="connsiteX6" fmla="*/ 54673 w 2599563"/>
                  <a:gd name="connsiteY6" fmla="*/ 18383 h 135064"/>
                  <a:gd name="connsiteX7" fmla="*/ 54673 w 2599563"/>
                  <a:gd name="connsiteY7" fmla="*/ 24479 h 135064"/>
                  <a:gd name="connsiteX8" fmla="*/ 67341 w 2599563"/>
                  <a:gd name="connsiteY8" fmla="*/ 24479 h 135064"/>
                  <a:gd name="connsiteX9" fmla="*/ 67341 w 2599563"/>
                  <a:gd name="connsiteY9" fmla="*/ 30670 h 135064"/>
                  <a:gd name="connsiteX10" fmla="*/ 92583 w 2599563"/>
                  <a:gd name="connsiteY10" fmla="*/ 30670 h 135064"/>
                  <a:gd name="connsiteX11" fmla="*/ 92583 w 2599563"/>
                  <a:gd name="connsiteY11" fmla="*/ 36766 h 135064"/>
                  <a:gd name="connsiteX12" fmla="*/ 321849 w 2599563"/>
                  <a:gd name="connsiteY12" fmla="*/ 36766 h 135064"/>
                  <a:gd name="connsiteX13" fmla="*/ 321849 w 2599563"/>
                  <a:gd name="connsiteY13" fmla="*/ 42958 h 135064"/>
                  <a:gd name="connsiteX14" fmla="*/ 435387 w 2599563"/>
                  <a:gd name="connsiteY14" fmla="*/ 42958 h 135064"/>
                  <a:gd name="connsiteX15" fmla="*/ 435387 w 2599563"/>
                  <a:gd name="connsiteY15" fmla="*/ 49149 h 135064"/>
                  <a:gd name="connsiteX16" fmla="*/ 704564 w 2599563"/>
                  <a:gd name="connsiteY16" fmla="*/ 49149 h 135064"/>
                  <a:gd name="connsiteX17" fmla="*/ 704564 w 2599563"/>
                  <a:gd name="connsiteY17" fmla="*/ 55435 h 135064"/>
                  <a:gd name="connsiteX18" fmla="*/ 778192 w 2599563"/>
                  <a:gd name="connsiteY18" fmla="*/ 55435 h 135064"/>
                  <a:gd name="connsiteX19" fmla="*/ 778192 w 2599563"/>
                  <a:gd name="connsiteY19" fmla="*/ 61722 h 135064"/>
                  <a:gd name="connsiteX20" fmla="*/ 858107 w 2599563"/>
                  <a:gd name="connsiteY20" fmla="*/ 61722 h 135064"/>
                  <a:gd name="connsiteX21" fmla="*/ 858107 w 2599563"/>
                  <a:gd name="connsiteY21" fmla="*/ 68008 h 135064"/>
                  <a:gd name="connsiteX22" fmla="*/ 1020032 w 2599563"/>
                  <a:gd name="connsiteY22" fmla="*/ 68008 h 135064"/>
                  <a:gd name="connsiteX23" fmla="*/ 1020032 w 2599563"/>
                  <a:gd name="connsiteY23" fmla="*/ 74485 h 135064"/>
                  <a:gd name="connsiteX24" fmla="*/ 1036891 w 2599563"/>
                  <a:gd name="connsiteY24" fmla="*/ 74485 h 135064"/>
                  <a:gd name="connsiteX25" fmla="*/ 1036891 w 2599563"/>
                  <a:gd name="connsiteY25" fmla="*/ 80867 h 135064"/>
                  <a:gd name="connsiteX26" fmla="*/ 1154715 w 2599563"/>
                  <a:gd name="connsiteY26" fmla="*/ 80867 h 135064"/>
                  <a:gd name="connsiteX27" fmla="*/ 1154715 w 2599563"/>
                  <a:gd name="connsiteY27" fmla="*/ 87344 h 135064"/>
                  <a:gd name="connsiteX28" fmla="*/ 1247203 w 2599563"/>
                  <a:gd name="connsiteY28" fmla="*/ 87344 h 135064"/>
                  <a:gd name="connsiteX29" fmla="*/ 1247203 w 2599563"/>
                  <a:gd name="connsiteY29" fmla="*/ 93726 h 135064"/>
                  <a:gd name="connsiteX30" fmla="*/ 1266158 w 2599563"/>
                  <a:gd name="connsiteY30" fmla="*/ 93726 h 135064"/>
                  <a:gd name="connsiteX31" fmla="*/ 1266158 w 2599563"/>
                  <a:gd name="connsiteY31" fmla="*/ 100203 h 135064"/>
                  <a:gd name="connsiteX32" fmla="*/ 2119979 w 2599563"/>
                  <a:gd name="connsiteY32" fmla="*/ 100203 h 135064"/>
                  <a:gd name="connsiteX33" fmla="*/ 2119979 w 2599563"/>
                  <a:gd name="connsiteY33" fmla="*/ 135064 h 135064"/>
                  <a:gd name="connsiteX34" fmla="*/ 2599563 w 2599563"/>
                  <a:gd name="connsiteY34" fmla="*/ 135064 h 135064"/>
                  <a:gd name="connsiteX0" fmla="*/ 0 w 2599563"/>
                  <a:gd name="connsiteY0" fmla="*/ 0 h 135064"/>
                  <a:gd name="connsiteX1" fmla="*/ 33718 w 2599563"/>
                  <a:gd name="connsiteY1" fmla="*/ 6191 h 135064"/>
                  <a:gd name="connsiteX2" fmla="*/ 33718 w 2599563"/>
                  <a:gd name="connsiteY2" fmla="*/ 12287 h 135064"/>
                  <a:gd name="connsiteX3" fmla="*/ 40005 w 2599563"/>
                  <a:gd name="connsiteY3" fmla="*/ 12287 h 135064"/>
                  <a:gd name="connsiteX4" fmla="*/ 40005 w 2599563"/>
                  <a:gd name="connsiteY4" fmla="*/ 18383 h 135064"/>
                  <a:gd name="connsiteX5" fmla="*/ 54673 w 2599563"/>
                  <a:gd name="connsiteY5" fmla="*/ 18383 h 135064"/>
                  <a:gd name="connsiteX6" fmla="*/ 54673 w 2599563"/>
                  <a:gd name="connsiteY6" fmla="*/ 24479 h 135064"/>
                  <a:gd name="connsiteX7" fmla="*/ 67341 w 2599563"/>
                  <a:gd name="connsiteY7" fmla="*/ 24479 h 135064"/>
                  <a:gd name="connsiteX8" fmla="*/ 67341 w 2599563"/>
                  <a:gd name="connsiteY8" fmla="*/ 30670 h 135064"/>
                  <a:gd name="connsiteX9" fmla="*/ 92583 w 2599563"/>
                  <a:gd name="connsiteY9" fmla="*/ 30670 h 135064"/>
                  <a:gd name="connsiteX10" fmla="*/ 92583 w 2599563"/>
                  <a:gd name="connsiteY10" fmla="*/ 36766 h 135064"/>
                  <a:gd name="connsiteX11" fmla="*/ 321849 w 2599563"/>
                  <a:gd name="connsiteY11" fmla="*/ 36766 h 135064"/>
                  <a:gd name="connsiteX12" fmla="*/ 321849 w 2599563"/>
                  <a:gd name="connsiteY12" fmla="*/ 42958 h 135064"/>
                  <a:gd name="connsiteX13" fmla="*/ 435387 w 2599563"/>
                  <a:gd name="connsiteY13" fmla="*/ 42958 h 135064"/>
                  <a:gd name="connsiteX14" fmla="*/ 435387 w 2599563"/>
                  <a:gd name="connsiteY14" fmla="*/ 49149 h 135064"/>
                  <a:gd name="connsiteX15" fmla="*/ 704564 w 2599563"/>
                  <a:gd name="connsiteY15" fmla="*/ 49149 h 135064"/>
                  <a:gd name="connsiteX16" fmla="*/ 704564 w 2599563"/>
                  <a:gd name="connsiteY16" fmla="*/ 55435 h 135064"/>
                  <a:gd name="connsiteX17" fmla="*/ 778192 w 2599563"/>
                  <a:gd name="connsiteY17" fmla="*/ 55435 h 135064"/>
                  <a:gd name="connsiteX18" fmla="*/ 778192 w 2599563"/>
                  <a:gd name="connsiteY18" fmla="*/ 61722 h 135064"/>
                  <a:gd name="connsiteX19" fmla="*/ 858107 w 2599563"/>
                  <a:gd name="connsiteY19" fmla="*/ 61722 h 135064"/>
                  <a:gd name="connsiteX20" fmla="*/ 858107 w 2599563"/>
                  <a:gd name="connsiteY20" fmla="*/ 68008 h 135064"/>
                  <a:gd name="connsiteX21" fmla="*/ 1020032 w 2599563"/>
                  <a:gd name="connsiteY21" fmla="*/ 68008 h 135064"/>
                  <a:gd name="connsiteX22" fmla="*/ 1020032 w 2599563"/>
                  <a:gd name="connsiteY22" fmla="*/ 74485 h 135064"/>
                  <a:gd name="connsiteX23" fmla="*/ 1036891 w 2599563"/>
                  <a:gd name="connsiteY23" fmla="*/ 74485 h 135064"/>
                  <a:gd name="connsiteX24" fmla="*/ 1036891 w 2599563"/>
                  <a:gd name="connsiteY24" fmla="*/ 80867 h 135064"/>
                  <a:gd name="connsiteX25" fmla="*/ 1154715 w 2599563"/>
                  <a:gd name="connsiteY25" fmla="*/ 80867 h 135064"/>
                  <a:gd name="connsiteX26" fmla="*/ 1154715 w 2599563"/>
                  <a:gd name="connsiteY26" fmla="*/ 87344 h 135064"/>
                  <a:gd name="connsiteX27" fmla="*/ 1247203 w 2599563"/>
                  <a:gd name="connsiteY27" fmla="*/ 87344 h 135064"/>
                  <a:gd name="connsiteX28" fmla="*/ 1247203 w 2599563"/>
                  <a:gd name="connsiteY28" fmla="*/ 93726 h 135064"/>
                  <a:gd name="connsiteX29" fmla="*/ 1266158 w 2599563"/>
                  <a:gd name="connsiteY29" fmla="*/ 93726 h 135064"/>
                  <a:gd name="connsiteX30" fmla="*/ 1266158 w 2599563"/>
                  <a:gd name="connsiteY30" fmla="*/ 100203 h 135064"/>
                  <a:gd name="connsiteX31" fmla="*/ 2119979 w 2599563"/>
                  <a:gd name="connsiteY31" fmla="*/ 100203 h 135064"/>
                  <a:gd name="connsiteX32" fmla="*/ 2119979 w 2599563"/>
                  <a:gd name="connsiteY32" fmla="*/ 135064 h 135064"/>
                  <a:gd name="connsiteX33" fmla="*/ 2599563 w 2599563"/>
                  <a:gd name="connsiteY33" fmla="*/ 135064 h 135064"/>
                  <a:gd name="connsiteX0" fmla="*/ 0 w 2565845"/>
                  <a:gd name="connsiteY0" fmla="*/ 0 h 128873"/>
                  <a:gd name="connsiteX1" fmla="*/ 0 w 2565845"/>
                  <a:gd name="connsiteY1" fmla="*/ 6096 h 128873"/>
                  <a:gd name="connsiteX2" fmla="*/ 6287 w 2565845"/>
                  <a:gd name="connsiteY2" fmla="*/ 6096 h 128873"/>
                  <a:gd name="connsiteX3" fmla="*/ 6287 w 2565845"/>
                  <a:gd name="connsiteY3" fmla="*/ 12192 h 128873"/>
                  <a:gd name="connsiteX4" fmla="*/ 20955 w 2565845"/>
                  <a:gd name="connsiteY4" fmla="*/ 12192 h 128873"/>
                  <a:gd name="connsiteX5" fmla="*/ 20955 w 2565845"/>
                  <a:gd name="connsiteY5" fmla="*/ 18288 h 128873"/>
                  <a:gd name="connsiteX6" fmla="*/ 33623 w 2565845"/>
                  <a:gd name="connsiteY6" fmla="*/ 18288 h 128873"/>
                  <a:gd name="connsiteX7" fmla="*/ 33623 w 2565845"/>
                  <a:gd name="connsiteY7" fmla="*/ 24479 h 128873"/>
                  <a:gd name="connsiteX8" fmla="*/ 58865 w 2565845"/>
                  <a:gd name="connsiteY8" fmla="*/ 24479 h 128873"/>
                  <a:gd name="connsiteX9" fmla="*/ 58865 w 2565845"/>
                  <a:gd name="connsiteY9" fmla="*/ 30575 h 128873"/>
                  <a:gd name="connsiteX10" fmla="*/ 288131 w 2565845"/>
                  <a:gd name="connsiteY10" fmla="*/ 30575 h 128873"/>
                  <a:gd name="connsiteX11" fmla="*/ 288131 w 2565845"/>
                  <a:gd name="connsiteY11" fmla="*/ 36767 h 128873"/>
                  <a:gd name="connsiteX12" fmla="*/ 401669 w 2565845"/>
                  <a:gd name="connsiteY12" fmla="*/ 36767 h 128873"/>
                  <a:gd name="connsiteX13" fmla="*/ 401669 w 2565845"/>
                  <a:gd name="connsiteY13" fmla="*/ 42958 h 128873"/>
                  <a:gd name="connsiteX14" fmla="*/ 670846 w 2565845"/>
                  <a:gd name="connsiteY14" fmla="*/ 42958 h 128873"/>
                  <a:gd name="connsiteX15" fmla="*/ 670846 w 2565845"/>
                  <a:gd name="connsiteY15" fmla="*/ 49244 h 128873"/>
                  <a:gd name="connsiteX16" fmla="*/ 744474 w 2565845"/>
                  <a:gd name="connsiteY16" fmla="*/ 49244 h 128873"/>
                  <a:gd name="connsiteX17" fmla="*/ 744474 w 2565845"/>
                  <a:gd name="connsiteY17" fmla="*/ 55531 h 128873"/>
                  <a:gd name="connsiteX18" fmla="*/ 824389 w 2565845"/>
                  <a:gd name="connsiteY18" fmla="*/ 55531 h 128873"/>
                  <a:gd name="connsiteX19" fmla="*/ 824389 w 2565845"/>
                  <a:gd name="connsiteY19" fmla="*/ 61817 h 128873"/>
                  <a:gd name="connsiteX20" fmla="*/ 986314 w 2565845"/>
                  <a:gd name="connsiteY20" fmla="*/ 61817 h 128873"/>
                  <a:gd name="connsiteX21" fmla="*/ 986314 w 2565845"/>
                  <a:gd name="connsiteY21" fmla="*/ 68294 h 128873"/>
                  <a:gd name="connsiteX22" fmla="*/ 1003173 w 2565845"/>
                  <a:gd name="connsiteY22" fmla="*/ 68294 h 128873"/>
                  <a:gd name="connsiteX23" fmla="*/ 1003173 w 2565845"/>
                  <a:gd name="connsiteY23" fmla="*/ 74676 h 128873"/>
                  <a:gd name="connsiteX24" fmla="*/ 1120997 w 2565845"/>
                  <a:gd name="connsiteY24" fmla="*/ 74676 h 128873"/>
                  <a:gd name="connsiteX25" fmla="*/ 1120997 w 2565845"/>
                  <a:gd name="connsiteY25" fmla="*/ 81153 h 128873"/>
                  <a:gd name="connsiteX26" fmla="*/ 1213485 w 2565845"/>
                  <a:gd name="connsiteY26" fmla="*/ 81153 h 128873"/>
                  <a:gd name="connsiteX27" fmla="*/ 1213485 w 2565845"/>
                  <a:gd name="connsiteY27" fmla="*/ 87535 h 128873"/>
                  <a:gd name="connsiteX28" fmla="*/ 1232440 w 2565845"/>
                  <a:gd name="connsiteY28" fmla="*/ 87535 h 128873"/>
                  <a:gd name="connsiteX29" fmla="*/ 1232440 w 2565845"/>
                  <a:gd name="connsiteY29" fmla="*/ 94012 h 128873"/>
                  <a:gd name="connsiteX30" fmla="*/ 2086261 w 2565845"/>
                  <a:gd name="connsiteY30" fmla="*/ 94012 h 128873"/>
                  <a:gd name="connsiteX31" fmla="*/ 2086261 w 2565845"/>
                  <a:gd name="connsiteY31" fmla="*/ 128873 h 128873"/>
                  <a:gd name="connsiteX32" fmla="*/ 2565845 w 2565845"/>
                  <a:gd name="connsiteY32" fmla="*/ 128873 h 128873"/>
                  <a:gd name="connsiteX0" fmla="*/ 0 w 2565845"/>
                  <a:gd name="connsiteY0" fmla="*/ 0 h 128873"/>
                  <a:gd name="connsiteX1" fmla="*/ 6287 w 2565845"/>
                  <a:gd name="connsiteY1" fmla="*/ 6096 h 128873"/>
                  <a:gd name="connsiteX2" fmla="*/ 6287 w 2565845"/>
                  <a:gd name="connsiteY2" fmla="*/ 12192 h 128873"/>
                  <a:gd name="connsiteX3" fmla="*/ 20955 w 2565845"/>
                  <a:gd name="connsiteY3" fmla="*/ 12192 h 128873"/>
                  <a:gd name="connsiteX4" fmla="*/ 20955 w 2565845"/>
                  <a:gd name="connsiteY4" fmla="*/ 18288 h 128873"/>
                  <a:gd name="connsiteX5" fmla="*/ 33623 w 2565845"/>
                  <a:gd name="connsiteY5" fmla="*/ 18288 h 128873"/>
                  <a:gd name="connsiteX6" fmla="*/ 33623 w 2565845"/>
                  <a:gd name="connsiteY6" fmla="*/ 24479 h 128873"/>
                  <a:gd name="connsiteX7" fmla="*/ 58865 w 2565845"/>
                  <a:gd name="connsiteY7" fmla="*/ 24479 h 128873"/>
                  <a:gd name="connsiteX8" fmla="*/ 58865 w 2565845"/>
                  <a:gd name="connsiteY8" fmla="*/ 30575 h 128873"/>
                  <a:gd name="connsiteX9" fmla="*/ 288131 w 2565845"/>
                  <a:gd name="connsiteY9" fmla="*/ 30575 h 128873"/>
                  <a:gd name="connsiteX10" fmla="*/ 288131 w 2565845"/>
                  <a:gd name="connsiteY10" fmla="*/ 36767 h 128873"/>
                  <a:gd name="connsiteX11" fmla="*/ 401669 w 2565845"/>
                  <a:gd name="connsiteY11" fmla="*/ 36767 h 128873"/>
                  <a:gd name="connsiteX12" fmla="*/ 401669 w 2565845"/>
                  <a:gd name="connsiteY12" fmla="*/ 42958 h 128873"/>
                  <a:gd name="connsiteX13" fmla="*/ 670846 w 2565845"/>
                  <a:gd name="connsiteY13" fmla="*/ 42958 h 128873"/>
                  <a:gd name="connsiteX14" fmla="*/ 670846 w 2565845"/>
                  <a:gd name="connsiteY14" fmla="*/ 49244 h 128873"/>
                  <a:gd name="connsiteX15" fmla="*/ 744474 w 2565845"/>
                  <a:gd name="connsiteY15" fmla="*/ 49244 h 128873"/>
                  <a:gd name="connsiteX16" fmla="*/ 744474 w 2565845"/>
                  <a:gd name="connsiteY16" fmla="*/ 55531 h 128873"/>
                  <a:gd name="connsiteX17" fmla="*/ 824389 w 2565845"/>
                  <a:gd name="connsiteY17" fmla="*/ 55531 h 128873"/>
                  <a:gd name="connsiteX18" fmla="*/ 824389 w 2565845"/>
                  <a:gd name="connsiteY18" fmla="*/ 61817 h 128873"/>
                  <a:gd name="connsiteX19" fmla="*/ 986314 w 2565845"/>
                  <a:gd name="connsiteY19" fmla="*/ 61817 h 128873"/>
                  <a:gd name="connsiteX20" fmla="*/ 986314 w 2565845"/>
                  <a:gd name="connsiteY20" fmla="*/ 68294 h 128873"/>
                  <a:gd name="connsiteX21" fmla="*/ 1003173 w 2565845"/>
                  <a:gd name="connsiteY21" fmla="*/ 68294 h 128873"/>
                  <a:gd name="connsiteX22" fmla="*/ 1003173 w 2565845"/>
                  <a:gd name="connsiteY22" fmla="*/ 74676 h 128873"/>
                  <a:gd name="connsiteX23" fmla="*/ 1120997 w 2565845"/>
                  <a:gd name="connsiteY23" fmla="*/ 74676 h 128873"/>
                  <a:gd name="connsiteX24" fmla="*/ 1120997 w 2565845"/>
                  <a:gd name="connsiteY24" fmla="*/ 81153 h 128873"/>
                  <a:gd name="connsiteX25" fmla="*/ 1213485 w 2565845"/>
                  <a:gd name="connsiteY25" fmla="*/ 81153 h 128873"/>
                  <a:gd name="connsiteX26" fmla="*/ 1213485 w 2565845"/>
                  <a:gd name="connsiteY26" fmla="*/ 87535 h 128873"/>
                  <a:gd name="connsiteX27" fmla="*/ 1232440 w 2565845"/>
                  <a:gd name="connsiteY27" fmla="*/ 87535 h 128873"/>
                  <a:gd name="connsiteX28" fmla="*/ 1232440 w 2565845"/>
                  <a:gd name="connsiteY28" fmla="*/ 94012 h 128873"/>
                  <a:gd name="connsiteX29" fmla="*/ 2086261 w 2565845"/>
                  <a:gd name="connsiteY29" fmla="*/ 94012 h 128873"/>
                  <a:gd name="connsiteX30" fmla="*/ 2086261 w 2565845"/>
                  <a:gd name="connsiteY30" fmla="*/ 128873 h 128873"/>
                  <a:gd name="connsiteX31" fmla="*/ 2565845 w 2565845"/>
                  <a:gd name="connsiteY31" fmla="*/ 128873 h 128873"/>
                  <a:gd name="connsiteX0" fmla="*/ 0 w 2565845"/>
                  <a:gd name="connsiteY0" fmla="*/ 0 h 128873"/>
                  <a:gd name="connsiteX1" fmla="*/ 6287 w 2565845"/>
                  <a:gd name="connsiteY1" fmla="*/ 12192 h 128873"/>
                  <a:gd name="connsiteX2" fmla="*/ 20955 w 2565845"/>
                  <a:gd name="connsiteY2" fmla="*/ 12192 h 128873"/>
                  <a:gd name="connsiteX3" fmla="*/ 20955 w 2565845"/>
                  <a:gd name="connsiteY3" fmla="*/ 18288 h 128873"/>
                  <a:gd name="connsiteX4" fmla="*/ 33623 w 2565845"/>
                  <a:gd name="connsiteY4" fmla="*/ 18288 h 128873"/>
                  <a:gd name="connsiteX5" fmla="*/ 33623 w 2565845"/>
                  <a:gd name="connsiteY5" fmla="*/ 24479 h 128873"/>
                  <a:gd name="connsiteX6" fmla="*/ 58865 w 2565845"/>
                  <a:gd name="connsiteY6" fmla="*/ 24479 h 128873"/>
                  <a:gd name="connsiteX7" fmla="*/ 58865 w 2565845"/>
                  <a:gd name="connsiteY7" fmla="*/ 30575 h 128873"/>
                  <a:gd name="connsiteX8" fmla="*/ 288131 w 2565845"/>
                  <a:gd name="connsiteY8" fmla="*/ 30575 h 128873"/>
                  <a:gd name="connsiteX9" fmla="*/ 288131 w 2565845"/>
                  <a:gd name="connsiteY9" fmla="*/ 36767 h 128873"/>
                  <a:gd name="connsiteX10" fmla="*/ 401669 w 2565845"/>
                  <a:gd name="connsiteY10" fmla="*/ 36767 h 128873"/>
                  <a:gd name="connsiteX11" fmla="*/ 401669 w 2565845"/>
                  <a:gd name="connsiteY11" fmla="*/ 42958 h 128873"/>
                  <a:gd name="connsiteX12" fmla="*/ 670846 w 2565845"/>
                  <a:gd name="connsiteY12" fmla="*/ 42958 h 128873"/>
                  <a:gd name="connsiteX13" fmla="*/ 670846 w 2565845"/>
                  <a:gd name="connsiteY13" fmla="*/ 49244 h 128873"/>
                  <a:gd name="connsiteX14" fmla="*/ 744474 w 2565845"/>
                  <a:gd name="connsiteY14" fmla="*/ 49244 h 128873"/>
                  <a:gd name="connsiteX15" fmla="*/ 744474 w 2565845"/>
                  <a:gd name="connsiteY15" fmla="*/ 55531 h 128873"/>
                  <a:gd name="connsiteX16" fmla="*/ 824389 w 2565845"/>
                  <a:gd name="connsiteY16" fmla="*/ 55531 h 128873"/>
                  <a:gd name="connsiteX17" fmla="*/ 824389 w 2565845"/>
                  <a:gd name="connsiteY17" fmla="*/ 61817 h 128873"/>
                  <a:gd name="connsiteX18" fmla="*/ 986314 w 2565845"/>
                  <a:gd name="connsiteY18" fmla="*/ 61817 h 128873"/>
                  <a:gd name="connsiteX19" fmla="*/ 986314 w 2565845"/>
                  <a:gd name="connsiteY19" fmla="*/ 68294 h 128873"/>
                  <a:gd name="connsiteX20" fmla="*/ 1003173 w 2565845"/>
                  <a:gd name="connsiteY20" fmla="*/ 68294 h 128873"/>
                  <a:gd name="connsiteX21" fmla="*/ 1003173 w 2565845"/>
                  <a:gd name="connsiteY21" fmla="*/ 74676 h 128873"/>
                  <a:gd name="connsiteX22" fmla="*/ 1120997 w 2565845"/>
                  <a:gd name="connsiteY22" fmla="*/ 74676 h 128873"/>
                  <a:gd name="connsiteX23" fmla="*/ 1120997 w 2565845"/>
                  <a:gd name="connsiteY23" fmla="*/ 81153 h 128873"/>
                  <a:gd name="connsiteX24" fmla="*/ 1213485 w 2565845"/>
                  <a:gd name="connsiteY24" fmla="*/ 81153 h 128873"/>
                  <a:gd name="connsiteX25" fmla="*/ 1213485 w 2565845"/>
                  <a:gd name="connsiteY25" fmla="*/ 87535 h 128873"/>
                  <a:gd name="connsiteX26" fmla="*/ 1232440 w 2565845"/>
                  <a:gd name="connsiteY26" fmla="*/ 87535 h 128873"/>
                  <a:gd name="connsiteX27" fmla="*/ 1232440 w 2565845"/>
                  <a:gd name="connsiteY27" fmla="*/ 94012 h 128873"/>
                  <a:gd name="connsiteX28" fmla="*/ 2086261 w 2565845"/>
                  <a:gd name="connsiteY28" fmla="*/ 94012 h 128873"/>
                  <a:gd name="connsiteX29" fmla="*/ 2086261 w 2565845"/>
                  <a:gd name="connsiteY29" fmla="*/ 128873 h 128873"/>
                  <a:gd name="connsiteX30" fmla="*/ 2565845 w 2565845"/>
                  <a:gd name="connsiteY30" fmla="*/ 128873 h 128873"/>
                  <a:gd name="connsiteX0" fmla="*/ 0 w 2559558"/>
                  <a:gd name="connsiteY0" fmla="*/ 0 h 116681"/>
                  <a:gd name="connsiteX1" fmla="*/ 14668 w 2559558"/>
                  <a:gd name="connsiteY1" fmla="*/ 0 h 116681"/>
                  <a:gd name="connsiteX2" fmla="*/ 14668 w 2559558"/>
                  <a:gd name="connsiteY2" fmla="*/ 6096 h 116681"/>
                  <a:gd name="connsiteX3" fmla="*/ 27336 w 2559558"/>
                  <a:gd name="connsiteY3" fmla="*/ 6096 h 116681"/>
                  <a:gd name="connsiteX4" fmla="*/ 27336 w 2559558"/>
                  <a:gd name="connsiteY4" fmla="*/ 12287 h 116681"/>
                  <a:gd name="connsiteX5" fmla="*/ 52578 w 2559558"/>
                  <a:gd name="connsiteY5" fmla="*/ 12287 h 116681"/>
                  <a:gd name="connsiteX6" fmla="*/ 52578 w 2559558"/>
                  <a:gd name="connsiteY6" fmla="*/ 18383 h 116681"/>
                  <a:gd name="connsiteX7" fmla="*/ 281844 w 2559558"/>
                  <a:gd name="connsiteY7" fmla="*/ 18383 h 116681"/>
                  <a:gd name="connsiteX8" fmla="*/ 281844 w 2559558"/>
                  <a:gd name="connsiteY8" fmla="*/ 24575 h 116681"/>
                  <a:gd name="connsiteX9" fmla="*/ 395382 w 2559558"/>
                  <a:gd name="connsiteY9" fmla="*/ 24575 h 116681"/>
                  <a:gd name="connsiteX10" fmla="*/ 395382 w 2559558"/>
                  <a:gd name="connsiteY10" fmla="*/ 30766 h 116681"/>
                  <a:gd name="connsiteX11" fmla="*/ 664559 w 2559558"/>
                  <a:gd name="connsiteY11" fmla="*/ 30766 h 116681"/>
                  <a:gd name="connsiteX12" fmla="*/ 664559 w 2559558"/>
                  <a:gd name="connsiteY12" fmla="*/ 37052 h 116681"/>
                  <a:gd name="connsiteX13" fmla="*/ 738187 w 2559558"/>
                  <a:gd name="connsiteY13" fmla="*/ 37052 h 116681"/>
                  <a:gd name="connsiteX14" fmla="*/ 738187 w 2559558"/>
                  <a:gd name="connsiteY14" fmla="*/ 43339 h 116681"/>
                  <a:gd name="connsiteX15" fmla="*/ 818102 w 2559558"/>
                  <a:gd name="connsiteY15" fmla="*/ 43339 h 116681"/>
                  <a:gd name="connsiteX16" fmla="*/ 818102 w 2559558"/>
                  <a:gd name="connsiteY16" fmla="*/ 49625 h 116681"/>
                  <a:gd name="connsiteX17" fmla="*/ 980027 w 2559558"/>
                  <a:gd name="connsiteY17" fmla="*/ 49625 h 116681"/>
                  <a:gd name="connsiteX18" fmla="*/ 980027 w 2559558"/>
                  <a:gd name="connsiteY18" fmla="*/ 56102 h 116681"/>
                  <a:gd name="connsiteX19" fmla="*/ 996886 w 2559558"/>
                  <a:gd name="connsiteY19" fmla="*/ 56102 h 116681"/>
                  <a:gd name="connsiteX20" fmla="*/ 996886 w 2559558"/>
                  <a:gd name="connsiteY20" fmla="*/ 62484 h 116681"/>
                  <a:gd name="connsiteX21" fmla="*/ 1114710 w 2559558"/>
                  <a:gd name="connsiteY21" fmla="*/ 62484 h 116681"/>
                  <a:gd name="connsiteX22" fmla="*/ 1114710 w 2559558"/>
                  <a:gd name="connsiteY22" fmla="*/ 68961 h 116681"/>
                  <a:gd name="connsiteX23" fmla="*/ 1207198 w 2559558"/>
                  <a:gd name="connsiteY23" fmla="*/ 68961 h 116681"/>
                  <a:gd name="connsiteX24" fmla="*/ 1207198 w 2559558"/>
                  <a:gd name="connsiteY24" fmla="*/ 75343 h 116681"/>
                  <a:gd name="connsiteX25" fmla="*/ 1226153 w 2559558"/>
                  <a:gd name="connsiteY25" fmla="*/ 75343 h 116681"/>
                  <a:gd name="connsiteX26" fmla="*/ 1226153 w 2559558"/>
                  <a:gd name="connsiteY26" fmla="*/ 81820 h 116681"/>
                  <a:gd name="connsiteX27" fmla="*/ 2079974 w 2559558"/>
                  <a:gd name="connsiteY27" fmla="*/ 81820 h 116681"/>
                  <a:gd name="connsiteX28" fmla="*/ 2079974 w 2559558"/>
                  <a:gd name="connsiteY28" fmla="*/ 116681 h 116681"/>
                  <a:gd name="connsiteX29" fmla="*/ 2559558 w 2559558"/>
                  <a:gd name="connsiteY29" fmla="*/ 116681 h 116681"/>
                  <a:gd name="connsiteX0" fmla="*/ 0 w 2544890"/>
                  <a:gd name="connsiteY0" fmla="*/ 0 h 116681"/>
                  <a:gd name="connsiteX1" fmla="*/ 0 w 2544890"/>
                  <a:gd name="connsiteY1" fmla="*/ 6096 h 116681"/>
                  <a:gd name="connsiteX2" fmla="*/ 12668 w 2544890"/>
                  <a:gd name="connsiteY2" fmla="*/ 6096 h 116681"/>
                  <a:gd name="connsiteX3" fmla="*/ 12668 w 2544890"/>
                  <a:gd name="connsiteY3" fmla="*/ 12287 h 116681"/>
                  <a:gd name="connsiteX4" fmla="*/ 37910 w 2544890"/>
                  <a:gd name="connsiteY4" fmla="*/ 12287 h 116681"/>
                  <a:gd name="connsiteX5" fmla="*/ 37910 w 2544890"/>
                  <a:gd name="connsiteY5" fmla="*/ 18383 h 116681"/>
                  <a:gd name="connsiteX6" fmla="*/ 267176 w 2544890"/>
                  <a:gd name="connsiteY6" fmla="*/ 18383 h 116681"/>
                  <a:gd name="connsiteX7" fmla="*/ 267176 w 2544890"/>
                  <a:gd name="connsiteY7" fmla="*/ 24575 h 116681"/>
                  <a:gd name="connsiteX8" fmla="*/ 380714 w 2544890"/>
                  <a:gd name="connsiteY8" fmla="*/ 24575 h 116681"/>
                  <a:gd name="connsiteX9" fmla="*/ 380714 w 2544890"/>
                  <a:gd name="connsiteY9" fmla="*/ 30766 h 116681"/>
                  <a:gd name="connsiteX10" fmla="*/ 649891 w 2544890"/>
                  <a:gd name="connsiteY10" fmla="*/ 30766 h 116681"/>
                  <a:gd name="connsiteX11" fmla="*/ 649891 w 2544890"/>
                  <a:gd name="connsiteY11" fmla="*/ 37052 h 116681"/>
                  <a:gd name="connsiteX12" fmla="*/ 723519 w 2544890"/>
                  <a:gd name="connsiteY12" fmla="*/ 37052 h 116681"/>
                  <a:gd name="connsiteX13" fmla="*/ 723519 w 2544890"/>
                  <a:gd name="connsiteY13" fmla="*/ 43339 h 116681"/>
                  <a:gd name="connsiteX14" fmla="*/ 803434 w 2544890"/>
                  <a:gd name="connsiteY14" fmla="*/ 43339 h 116681"/>
                  <a:gd name="connsiteX15" fmla="*/ 803434 w 2544890"/>
                  <a:gd name="connsiteY15" fmla="*/ 49625 h 116681"/>
                  <a:gd name="connsiteX16" fmla="*/ 965359 w 2544890"/>
                  <a:gd name="connsiteY16" fmla="*/ 49625 h 116681"/>
                  <a:gd name="connsiteX17" fmla="*/ 965359 w 2544890"/>
                  <a:gd name="connsiteY17" fmla="*/ 56102 h 116681"/>
                  <a:gd name="connsiteX18" fmla="*/ 982218 w 2544890"/>
                  <a:gd name="connsiteY18" fmla="*/ 56102 h 116681"/>
                  <a:gd name="connsiteX19" fmla="*/ 982218 w 2544890"/>
                  <a:gd name="connsiteY19" fmla="*/ 62484 h 116681"/>
                  <a:gd name="connsiteX20" fmla="*/ 1100042 w 2544890"/>
                  <a:gd name="connsiteY20" fmla="*/ 62484 h 116681"/>
                  <a:gd name="connsiteX21" fmla="*/ 1100042 w 2544890"/>
                  <a:gd name="connsiteY21" fmla="*/ 68961 h 116681"/>
                  <a:gd name="connsiteX22" fmla="*/ 1192530 w 2544890"/>
                  <a:gd name="connsiteY22" fmla="*/ 68961 h 116681"/>
                  <a:gd name="connsiteX23" fmla="*/ 1192530 w 2544890"/>
                  <a:gd name="connsiteY23" fmla="*/ 75343 h 116681"/>
                  <a:gd name="connsiteX24" fmla="*/ 1211485 w 2544890"/>
                  <a:gd name="connsiteY24" fmla="*/ 75343 h 116681"/>
                  <a:gd name="connsiteX25" fmla="*/ 1211485 w 2544890"/>
                  <a:gd name="connsiteY25" fmla="*/ 81820 h 116681"/>
                  <a:gd name="connsiteX26" fmla="*/ 2065306 w 2544890"/>
                  <a:gd name="connsiteY26" fmla="*/ 81820 h 116681"/>
                  <a:gd name="connsiteX27" fmla="*/ 2065306 w 2544890"/>
                  <a:gd name="connsiteY27" fmla="*/ 116681 h 116681"/>
                  <a:gd name="connsiteX28" fmla="*/ 2544890 w 2544890"/>
                  <a:gd name="connsiteY28" fmla="*/ 116681 h 116681"/>
                  <a:gd name="connsiteX0" fmla="*/ 0 w 2544890"/>
                  <a:gd name="connsiteY0" fmla="*/ 0 h 110585"/>
                  <a:gd name="connsiteX1" fmla="*/ 12668 w 2544890"/>
                  <a:gd name="connsiteY1" fmla="*/ 0 h 110585"/>
                  <a:gd name="connsiteX2" fmla="*/ 12668 w 2544890"/>
                  <a:gd name="connsiteY2" fmla="*/ 6191 h 110585"/>
                  <a:gd name="connsiteX3" fmla="*/ 37910 w 2544890"/>
                  <a:gd name="connsiteY3" fmla="*/ 6191 h 110585"/>
                  <a:gd name="connsiteX4" fmla="*/ 37910 w 2544890"/>
                  <a:gd name="connsiteY4" fmla="*/ 12287 h 110585"/>
                  <a:gd name="connsiteX5" fmla="*/ 267176 w 2544890"/>
                  <a:gd name="connsiteY5" fmla="*/ 12287 h 110585"/>
                  <a:gd name="connsiteX6" fmla="*/ 267176 w 2544890"/>
                  <a:gd name="connsiteY6" fmla="*/ 18479 h 110585"/>
                  <a:gd name="connsiteX7" fmla="*/ 380714 w 2544890"/>
                  <a:gd name="connsiteY7" fmla="*/ 18479 h 110585"/>
                  <a:gd name="connsiteX8" fmla="*/ 380714 w 2544890"/>
                  <a:gd name="connsiteY8" fmla="*/ 24670 h 110585"/>
                  <a:gd name="connsiteX9" fmla="*/ 649891 w 2544890"/>
                  <a:gd name="connsiteY9" fmla="*/ 24670 h 110585"/>
                  <a:gd name="connsiteX10" fmla="*/ 649891 w 2544890"/>
                  <a:gd name="connsiteY10" fmla="*/ 30956 h 110585"/>
                  <a:gd name="connsiteX11" fmla="*/ 723519 w 2544890"/>
                  <a:gd name="connsiteY11" fmla="*/ 30956 h 110585"/>
                  <a:gd name="connsiteX12" fmla="*/ 723519 w 2544890"/>
                  <a:gd name="connsiteY12" fmla="*/ 37243 h 110585"/>
                  <a:gd name="connsiteX13" fmla="*/ 803434 w 2544890"/>
                  <a:gd name="connsiteY13" fmla="*/ 37243 h 110585"/>
                  <a:gd name="connsiteX14" fmla="*/ 803434 w 2544890"/>
                  <a:gd name="connsiteY14" fmla="*/ 43529 h 110585"/>
                  <a:gd name="connsiteX15" fmla="*/ 965359 w 2544890"/>
                  <a:gd name="connsiteY15" fmla="*/ 43529 h 110585"/>
                  <a:gd name="connsiteX16" fmla="*/ 965359 w 2544890"/>
                  <a:gd name="connsiteY16" fmla="*/ 50006 h 110585"/>
                  <a:gd name="connsiteX17" fmla="*/ 982218 w 2544890"/>
                  <a:gd name="connsiteY17" fmla="*/ 50006 h 110585"/>
                  <a:gd name="connsiteX18" fmla="*/ 982218 w 2544890"/>
                  <a:gd name="connsiteY18" fmla="*/ 56388 h 110585"/>
                  <a:gd name="connsiteX19" fmla="*/ 1100042 w 2544890"/>
                  <a:gd name="connsiteY19" fmla="*/ 56388 h 110585"/>
                  <a:gd name="connsiteX20" fmla="*/ 1100042 w 2544890"/>
                  <a:gd name="connsiteY20" fmla="*/ 62865 h 110585"/>
                  <a:gd name="connsiteX21" fmla="*/ 1192530 w 2544890"/>
                  <a:gd name="connsiteY21" fmla="*/ 62865 h 110585"/>
                  <a:gd name="connsiteX22" fmla="*/ 1192530 w 2544890"/>
                  <a:gd name="connsiteY22" fmla="*/ 69247 h 110585"/>
                  <a:gd name="connsiteX23" fmla="*/ 1211485 w 2544890"/>
                  <a:gd name="connsiteY23" fmla="*/ 69247 h 110585"/>
                  <a:gd name="connsiteX24" fmla="*/ 1211485 w 2544890"/>
                  <a:gd name="connsiteY24" fmla="*/ 75724 h 110585"/>
                  <a:gd name="connsiteX25" fmla="*/ 2065306 w 2544890"/>
                  <a:gd name="connsiteY25" fmla="*/ 75724 h 110585"/>
                  <a:gd name="connsiteX26" fmla="*/ 2065306 w 2544890"/>
                  <a:gd name="connsiteY26" fmla="*/ 110585 h 110585"/>
                  <a:gd name="connsiteX27" fmla="*/ 2544890 w 2544890"/>
                  <a:gd name="connsiteY27" fmla="*/ 110585 h 110585"/>
                  <a:gd name="connsiteX0" fmla="*/ 0 w 2532222"/>
                  <a:gd name="connsiteY0" fmla="*/ 0 h 110585"/>
                  <a:gd name="connsiteX1" fmla="*/ 0 w 2532222"/>
                  <a:gd name="connsiteY1" fmla="*/ 6191 h 110585"/>
                  <a:gd name="connsiteX2" fmla="*/ 25242 w 2532222"/>
                  <a:gd name="connsiteY2" fmla="*/ 6191 h 110585"/>
                  <a:gd name="connsiteX3" fmla="*/ 25242 w 2532222"/>
                  <a:gd name="connsiteY3" fmla="*/ 12287 h 110585"/>
                  <a:gd name="connsiteX4" fmla="*/ 254508 w 2532222"/>
                  <a:gd name="connsiteY4" fmla="*/ 12287 h 110585"/>
                  <a:gd name="connsiteX5" fmla="*/ 254508 w 2532222"/>
                  <a:gd name="connsiteY5" fmla="*/ 18479 h 110585"/>
                  <a:gd name="connsiteX6" fmla="*/ 368046 w 2532222"/>
                  <a:gd name="connsiteY6" fmla="*/ 18479 h 110585"/>
                  <a:gd name="connsiteX7" fmla="*/ 368046 w 2532222"/>
                  <a:gd name="connsiteY7" fmla="*/ 24670 h 110585"/>
                  <a:gd name="connsiteX8" fmla="*/ 637223 w 2532222"/>
                  <a:gd name="connsiteY8" fmla="*/ 24670 h 110585"/>
                  <a:gd name="connsiteX9" fmla="*/ 637223 w 2532222"/>
                  <a:gd name="connsiteY9" fmla="*/ 30956 h 110585"/>
                  <a:gd name="connsiteX10" fmla="*/ 710851 w 2532222"/>
                  <a:gd name="connsiteY10" fmla="*/ 30956 h 110585"/>
                  <a:gd name="connsiteX11" fmla="*/ 710851 w 2532222"/>
                  <a:gd name="connsiteY11" fmla="*/ 37243 h 110585"/>
                  <a:gd name="connsiteX12" fmla="*/ 790766 w 2532222"/>
                  <a:gd name="connsiteY12" fmla="*/ 37243 h 110585"/>
                  <a:gd name="connsiteX13" fmla="*/ 790766 w 2532222"/>
                  <a:gd name="connsiteY13" fmla="*/ 43529 h 110585"/>
                  <a:gd name="connsiteX14" fmla="*/ 952691 w 2532222"/>
                  <a:gd name="connsiteY14" fmla="*/ 43529 h 110585"/>
                  <a:gd name="connsiteX15" fmla="*/ 952691 w 2532222"/>
                  <a:gd name="connsiteY15" fmla="*/ 50006 h 110585"/>
                  <a:gd name="connsiteX16" fmla="*/ 969550 w 2532222"/>
                  <a:gd name="connsiteY16" fmla="*/ 50006 h 110585"/>
                  <a:gd name="connsiteX17" fmla="*/ 969550 w 2532222"/>
                  <a:gd name="connsiteY17" fmla="*/ 56388 h 110585"/>
                  <a:gd name="connsiteX18" fmla="*/ 1087374 w 2532222"/>
                  <a:gd name="connsiteY18" fmla="*/ 56388 h 110585"/>
                  <a:gd name="connsiteX19" fmla="*/ 1087374 w 2532222"/>
                  <a:gd name="connsiteY19" fmla="*/ 62865 h 110585"/>
                  <a:gd name="connsiteX20" fmla="*/ 1179862 w 2532222"/>
                  <a:gd name="connsiteY20" fmla="*/ 62865 h 110585"/>
                  <a:gd name="connsiteX21" fmla="*/ 1179862 w 2532222"/>
                  <a:gd name="connsiteY21" fmla="*/ 69247 h 110585"/>
                  <a:gd name="connsiteX22" fmla="*/ 1198817 w 2532222"/>
                  <a:gd name="connsiteY22" fmla="*/ 69247 h 110585"/>
                  <a:gd name="connsiteX23" fmla="*/ 1198817 w 2532222"/>
                  <a:gd name="connsiteY23" fmla="*/ 75724 h 110585"/>
                  <a:gd name="connsiteX24" fmla="*/ 2052638 w 2532222"/>
                  <a:gd name="connsiteY24" fmla="*/ 75724 h 110585"/>
                  <a:gd name="connsiteX25" fmla="*/ 2052638 w 2532222"/>
                  <a:gd name="connsiteY25" fmla="*/ 110585 h 110585"/>
                  <a:gd name="connsiteX26" fmla="*/ 2532222 w 2532222"/>
                  <a:gd name="connsiteY26" fmla="*/ 110585 h 110585"/>
                  <a:gd name="connsiteX0" fmla="*/ 0 w 2532222"/>
                  <a:gd name="connsiteY0" fmla="*/ 0 h 110585"/>
                  <a:gd name="connsiteX1" fmla="*/ 25242 w 2532222"/>
                  <a:gd name="connsiteY1" fmla="*/ 6191 h 110585"/>
                  <a:gd name="connsiteX2" fmla="*/ 25242 w 2532222"/>
                  <a:gd name="connsiteY2" fmla="*/ 12287 h 110585"/>
                  <a:gd name="connsiteX3" fmla="*/ 254508 w 2532222"/>
                  <a:gd name="connsiteY3" fmla="*/ 12287 h 110585"/>
                  <a:gd name="connsiteX4" fmla="*/ 254508 w 2532222"/>
                  <a:gd name="connsiteY4" fmla="*/ 18479 h 110585"/>
                  <a:gd name="connsiteX5" fmla="*/ 368046 w 2532222"/>
                  <a:gd name="connsiteY5" fmla="*/ 18479 h 110585"/>
                  <a:gd name="connsiteX6" fmla="*/ 368046 w 2532222"/>
                  <a:gd name="connsiteY6" fmla="*/ 24670 h 110585"/>
                  <a:gd name="connsiteX7" fmla="*/ 637223 w 2532222"/>
                  <a:gd name="connsiteY7" fmla="*/ 24670 h 110585"/>
                  <a:gd name="connsiteX8" fmla="*/ 637223 w 2532222"/>
                  <a:gd name="connsiteY8" fmla="*/ 30956 h 110585"/>
                  <a:gd name="connsiteX9" fmla="*/ 710851 w 2532222"/>
                  <a:gd name="connsiteY9" fmla="*/ 30956 h 110585"/>
                  <a:gd name="connsiteX10" fmla="*/ 710851 w 2532222"/>
                  <a:gd name="connsiteY10" fmla="*/ 37243 h 110585"/>
                  <a:gd name="connsiteX11" fmla="*/ 790766 w 2532222"/>
                  <a:gd name="connsiteY11" fmla="*/ 37243 h 110585"/>
                  <a:gd name="connsiteX12" fmla="*/ 790766 w 2532222"/>
                  <a:gd name="connsiteY12" fmla="*/ 43529 h 110585"/>
                  <a:gd name="connsiteX13" fmla="*/ 952691 w 2532222"/>
                  <a:gd name="connsiteY13" fmla="*/ 43529 h 110585"/>
                  <a:gd name="connsiteX14" fmla="*/ 952691 w 2532222"/>
                  <a:gd name="connsiteY14" fmla="*/ 50006 h 110585"/>
                  <a:gd name="connsiteX15" fmla="*/ 969550 w 2532222"/>
                  <a:gd name="connsiteY15" fmla="*/ 50006 h 110585"/>
                  <a:gd name="connsiteX16" fmla="*/ 969550 w 2532222"/>
                  <a:gd name="connsiteY16" fmla="*/ 56388 h 110585"/>
                  <a:gd name="connsiteX17" fmla="*/ 1087374 w 2532222"/>
                  <a:gd name="connsiteY17" fmla="*/ 56388 h 110585"/>
                  <a:gd name="connsiteX18" fmla="*/ 1087374 w 2532222"/>
                  <a:gd name="connsiteY18" fmla="*/ 62865 h 110585"/>
                  <a:gd name="connsiteX19" fmla="*/ 1179862 w 2532222"/>
                  <a:gd name="connsiteY19" fmla="*/ 62865 h 110585"/>
                  <a:gd name="connsiteX20" fmla="*/ 1179862 w 2532222"/>
                  <a:gd name="connsiteY20" fmla="*/ 69247 h 110585"/>
                  <a:gd name="connsiteX21" fmla="*/ 1198817 w 2532222"/>
                  <a:gd name="connsiteY21" fmla="*/ 69247 h 110585"/>
                  <a:gd name="connsiteX22" fmla="*/ 1198817 w 2532222"/>
                  <a:gd name="connsiteY22" fmla="*/ 75724 h 110585"/>
                  <a:gd name="connsiteX23" fmla="*/ 2052638 w 2532222"/>
                  <a:gd name="connsiteY23" fmla="*/ 75724 h 110585"/>
                  <a:gd name="connsiteX24" fmla="*/ 2052638 w 2532222"/>
                  <a:gd name="connsiteY24" fmla="*/ 110585 h 110585"/>
                  <a:gd name="connsiteX25" fmla="*/ 2532222 w 2532222"/>
                  <a:gd name="connsiteY25" fmla="*/ 110585 h 110585"/>
                  <a:gd name="connsiteX0" fmla="*/ 0 w 2506980"/>
                  <a:gd name="connsiteY0" fmla="*/ 0 h 104394"/>
                  <a:gd name="connsiteX1" fmla="*/ 0 w 2506980"/>
                  <a:gd name="connsiteY1" fmla="*/ 6096 h 104394"/>
                  <a:gd name="connsiteX2" fmla="*/ 229266 w 2506980"/>
                  <a:gd name="connsiteY2" fmla="*/ 6096 h 104394"/>
                  <a:gd name="connsiteX3" fmla="*/ 229266 w 2506980"/>
                  <a:gd name="connsiteY3" fmla="*/ 12288 h 104394"/>
                  <a:gd name="connsiteX4" fmla="*/ 342804 w 2506980"/>
                  <a:gd name="connsiteY4" fmla="*/ 12288 h 104394"/>
                  <a:gd name="connsiteX5" fmla="*/ 342804 w 2506980"/>
                  <a:gd name="connsiteY5" fmla="*/ 18479 h 104394"/>
                  <a:gd name="connsiteX6" fmla="*/ 611981 w 2506980"/>
                  <a:gd name="connsiteY6" fmla="*/ 18479 h 104394"/>
                  <a:gd name="connsiteX7" fmla="*/ 611981 w 2506980"/>
                  <a:gd name="connsiteY7" fmla="*/ 24765 h 104394"/>
                  <a:gd name="connsiteX8" fmla="*/ 685609 w 2506980"/>
                  <a:gd name="connsiteY8" fmla="*/ 24765 h 104394"/>
                  <a:gd name="connsiteX9" fmla="*/ 685609 w 2506980"/>
                  <a:gd name="connsiteY9" fmla="*/ 31052 h 104394"/>
                  <a:gd name="connsiteX10" fmla="*/ 765524 w 2506980"/>
                  <a:gd name="connsiteY10" fmla="*/ 31052 h 104394"/>
                  <a:gd name="connsiteX11" fmla="*/ 765524 w 2506980"/>
                  <a:gd name="connsiteY11" fmla="*/ 37338 h 104394"/>
                  <a:gd name="connsiteX12" fmla="*/ 927449 w 2506980"/>
                  <a:gd name="connsiteY12" fmla="*/ 37338 h 104394"/>
                  <a:gd name="connsiteX13" fmla="*/ 927449 w 2506980"/>
                  <a:gd name="connsiteY13" fmla="*/ 43815 h 104394"/>
                  <a:gd name="connsiteX14" fmla="*/ 944308 w 2506980"/>
                  <a:gd name="connsiteY14" fmla="*/ 43815 h 104394"/>
                  <a:gd name="connsiteX15" fmla="*/ 944308 w 2506980"/>
                  <a:gd name="connsiteY15" fmla="*/ 50197 h 104394"/>
                  <a:gd name="connsiteX16" fmla="*/ 1062132 w 2506980"/>
                  <a:gd name="connsiteY16" fmla="*/ 50197 h 104394"/>
                  <a:gd name="connsiteX17" fmla="*/ 1062132 w 2506980"/>
                  <a:gd name="connsiteY17" fmla="*/ 56674 h 104394"/>
                  <a:gd name="connsiteX18" fmla="*/ 1154620 w 2506980"/>
                  <a:gd name="connsiteY18" fmla="*/ 56674 h 104394"/>
                  <a:gd name="connsiteX19" fmla="*/ 1154620 w 2506980"/>
                  <a:gd name="connsiteY19" fmla="*/ 63056 h 104394"/>
                  <a:gd name="connsiteX20" fmla="*/ 1173575 w 2506980"/>
                  <a:gd name="connsiteY20" fmla="*/ 63056 h 104394"/>
                  <a:gd name="connsiteX21" fmla="*/ 1173575 w 2506980"/>
                  <a:gd name="connsiteY21" fmla="*/ 69533 h 104394"/>
                  <a:gd name="connsiteX22" fmla="*/ 2027396 w 2506980"/>
                  <a:gd name="connsiteY22" fmla="*/ 69533 h 104394"/>
                  <a:gd name="connsiteX23" fmla="*/ 2027396 w 2506980"/>
                  <a:gd name="connsiteY23" fmla="*/ 104394 h 104394"/>
                  <a:gd name="connsiteX24" fmla="*/ 2506980 w 2506980"/>
                  <a:gd name="connsiteY24" fmla="*/ 104394 h 104394"/>
                  <a:gd name="connsiteX0" fmla="*/ 0 w 2506980"/>
                  <a:gd name="connsiteY0" fmla="*/ 0 h 104394"/>
                  <a:gd name="connsiteX1" fmla="*/ 229266 w 2506980"/>
                  <a:gd name="connsiteY1" fmla="*/ 6096 h 104394"/>
                  <a:gd name="connsiteX2" fmla="*/ 229266 w 2506980"/>
                  <a:gd name="connsiteY2" fmla="*/ 12288 h 104394"/>
                  <a:gd name="connsiteX3" fmla="*/ 342804 w 2506980"/>
                  <a:gd name="connsiteY3" fmla="*/ 12288 h 104394"/>
                  <a:gd name="connsiteX4" fmla="*/ 342804 w 2506980"/>
                  <a:gd name="connsiteY4" fmla="*/ 18479 h 104394"/>
                  <a:gd name="connsiteX5" fmla="*/ 611981 w 2506980"/>
                  <a:gd name="connsiteY5" fmla="*/ 18479 h 104394"/>
                  <a:gd name="connsiteX6" fmla="*/ 611981 w 2506980"/>
                  <a:gd name="connsiteY6" fmla="*/ 24765 h 104394"/>
                  <a:gd name="connsiteX7" fmla="*/ 685609 w 2506980"/>
                  <a:gd name="connsiteY7" fmla="*/ 24765 h 104394"/>
                  <a:gd name="connsiteX8" fmla="*/ 685609 w 2506980"/>
                  <a:gd name="connsiteY8" fmla="*/ 31052 h 104394"/>
                  <a:gd name="connsiteX9" fmla="*/ 765524 w 2506980"/>
                  <a:gd name="connsiteY9" fmla="*/ 31052 h 104394"/>
                  <a:gd name="connsiteX10" fmla="*/ 765524 w 2506980"/>
                  <a:gd name="connsiteY10" fmla="*/ 37338 h 104394"/>
                  <a:gd name="connsiteX11" fmla="*/ 927449 w 2506980"/>
                  <a:gd name="connsiteY11" fmla="*/ 37338 h 104394"/>
                  <a:gd name="connsiteX12" fmla="*/ 927449 w 2506980"/>
                  <a:gd name="connsiteY12" fmla="*/ 43815 h 104394"/>
                  <a:gd name="connsiteX13" fmla="*/ 944308 w 2506980"/>
                  <a:gd name="connsiteY13" fmla="*/ 43815 h 104394"/>
                  <a:gd name="connsiteX14" fmla="*/ 944308 w 2506980"/>
                  <a:gd name="connsiteY14" fmla="*/ 50197 h 104394"/>
                  <a:gd name="connsiteX15" fmla="*/ 1062132 w 2506980"/>
                  <a:gd name="connsiteY15" fmla="*/ 50197 h 104394"/>
                  <a:gd name="connsiteX16" fmla="*/ 1062132 w 2506980"/>
                  <a:gd name="connsiteY16" fmla="*/ 56674 h 104394"/>
                  <a:gd name="connsiteX17" fmla="*/ 1154620 w 2506980"/>
                  <a:gd name="connsiteY17" fmla="*/ 56674 h 104394"/>
                  <a:gd name="connsiteX18" fmla="*/ 1154620 w 2506980"/>
                  <a:gd name="connsiteY18" fmla="*/ 63056 h 104394"/>
                  <a:gd name="connsiteX19" fmla="*/ 1173575 w 2506980"/>
                  <a:gd name="connsiteY19" fmla="*/ 63056 h 104394"/>
                  <a:gd name="connsiteX20" fmla="*/ 1173575 w 2506980"/>
                  <a:gd name="connsiteY20" fmla="*/ 69533 h 104394"/>
                  <a:gd name="connsiteX21" fmla="*/ 2027396 w 2506980"/>
                  <a:gd name="connsiteY21" fmla="*/ 69533 h 104394"/>
                  <a:gd name="connsiteX22" fmla="*/ 2027396 w 2506980"/>
                  <a:gd name="connsiteY22" fmla="*/ 104394 h 104394"/>
                  <a:gd name="connsiteX23" fmla="*/ 2506980 w 2506980"/>
                  <a:gd name="connsiteY23" fmla="*/ 104394 h 104394"/>
                  <a:gd name="connsiteX0" fmla="*/ 0 w 2277714"/>
                  <a:gd name="connsiteY0" fmla="*/ 0 h 98298"/>
                  <a:gd name="connsiteX1" fmla="*/ 0 w 2277714"/>
                  <a:gd name="connsiteY1" fmla="*/ 6192 h 98298"/>
                  <a:gd name="connsiteX2" fmla="*/ 113538 w 2277714"/>
                  <a:gd name="connsiteY2" fmla="*/ 6192 h 98298"/>
                  <a:gd name="connsiteX3" fmla="*/ 113538 w 2277714"/>
                  <a:gd name="connsiteY3" fmla="*/ 12383 h 98298"/>
                  <a:gd name="connsiteX4" fmla="*/ 382715 w 2277714"/>
                  <a:gd name="connsiteY4" fmla="*/ 12383 h 98298"/>
                  <a:gd name="connsiteX5" fmla="*/ 382715 w 2277714"/>
                  <a:gd name="connsiteY5" fmla="*/ 18669 h 98298"/>
                  <a:gd name="connsiteX6" fmla="*/ 456343 w 2277714"/>
                  <a:gd name="connsiteY6" fmla="*/ 18669 h 98298"/>
                  <a:gd name="connsiteX7" fmla="*/ 456343 w 2277714"/>
                  <a:gd name="connsiteY7" fmla="*/ 24956 h 98298"/>
                  <a:gd name="connsiteX8" fmla="*/ 536258 w 2277714"/>
                  <a:gd name="connsiteY8" fmla="*/ 24956 h 98298"/>
                  <a:gd name="connsiteX9" fmla="*/ 536258 w 2277714"/>
                  <a:gd name="connsiteY9" fmla="*/ 31242 h 98298"/>
                  <a:gd name="connsiteX10" fmla="*/ 698183 w 2277714"/>
                  <a:gd name="connsiteY10" fmla="*/ 31242 h 98298"/>
                  <a:gd name="connsiteX11" fmla="*/ 698183 w 2277714"/>
                  <a:gd name="connsiteY11" fmla="*/ 37719 h 98298"/>
                  <a:gd name="connsiteX12" fmla="*/ 715042 w 2277714"/>
                  <a:gd name="connsiteY12" fmla="*/ 37719 h 98298"/>
                  <a:gd name="connsiteX13" fmla="*/ 715042 w 2277714"/>
                  <a:gd name="connsiteY13" fmla="*/ 44101 h 98298"/>
                  <a:gd name="connsiteX14" fmla="*/ 832866 w 2277714"/>
                  <a:gd name="connsiteY14" fmla="*/ 44101 h 98298"/>
                  <a:gd name="connsiteX15" fmla="*/ 832866 w 2277714"/>
                  <a:gd name="connsiteY15" fmla="*/ 50578 h 98298"/>
                  <a:gd name="connsiteX16" fmla="*/ 925354 w 2277714"/>
                  <a:gd name="connsiteY16" fmla="*/ 50578 h 98298"/>
                  <a:gd name="connsiteX17" fmla="*/ 925354 w 2277714"/>
                  <a:gd name="connsiteY17" fmla="*/ 56960 h 98298"/>
                  <a:gd name="connsiteX18" fmla="*/ 944309 w 2277714"/>
                  <a:gd name="connsiteY18" fmla="*/ 56960 h 98298"/>
                  <a:gd name="connsiteX19" fmla="*/ 944309 w 2277714"/>
                  <a:gd name="connsiteY19" fmla="*/ 63437 h 98298"/>
                  <a:gd name="connsiteX20" fmla="*/ 1798130 w 2277714"/>
                  <a:gd name="connsiteY20" fmla="*/ 63437 h 98298"/>
                  <a:gd name="connsiteX21" fmla="*/ 1798130 w 2277714"/>
                  <a:gd name="connsiteY21" fmla="*/ 98298 h 98298"/>
                  <a:gd name="connsiteX22" fmla="*/ 2277714 w 2277714"/>
                  <a:gd name="connsiteY22" fmla="*/ 98298 h 98298"/>
                  <a:gd name="connsiteX0" fmla="*/ 0 w 2277714"/>
                  <a:gd name="connsiteY0" fmla="*/ 0 h 98298"/>
                  <a:gd name="connsiteX1" fmla="*/ 113538 w 2277714"/>
                  <a:gd name="connsiteY1" fmla="*/ 6192 h 98298"/>
                  <a:gd name="connsiteX2" fmla="*/ 113538 w 2277714"/>
                  <a:gd name="connsiteY2" fmla="*/ 12383 h 98298"/>
                  <a:gd name="connsiteX3" fmla="*/ 382715 w 2277714"/>
                  <a:gd name="connsiteY3" fmla="*/ 12383 h 98298"/>
                  <a:gd name="connsiteX4" fmla="*/ 382715 w 2277714"/>
                  <a:gd name="connsiteY4" fmla="*/ 18669 h 98298"/>
                  <a:gd name="connsiteX5" fmla="*/ 456343 w 2277714"/>
                  <a:gd name="connsiteY5" fmla="*/ 18669 h 98298"/>
                  <a:gd name="connsiteX6" fmla="*/ 456343 w 2277714"/>
                  <a:gd name="connsiteY6" fmla="*/ 24956 h 98298"/>
                  <a:gd name="connsiteX7" fmla="*/ 536258 w 2277714"/>
                  <a:gd name="connsiteY7" fmla="*/ 24956 h 98298"/>
                  <a:gd name="connsiteX8" fmla="*/ 536258 w 2277714"/>
                  <a:gd name="connsiteY8" fmla="*/ 31242 h 98298"/>
                  <a:gd name="connsiteX9" fmla="*/ 698183 w 2277714"/>
                  <a:gd name="connsiteY9" fmla="*/ 31242 h 98298"/>
                  <a:gd name="connsiteX10" fmla="*/ 698183 w 2277714"/>
                  <a:gd name="connsiteY10" fmla="*/ 37719 h 98298"/>
                  <a:gd name="connsiteX11" fmla="*/ 715042 w 2277714"/>
                  <a:gd name="connsiteY11" fmla="*/ 37719 h 98298"/>
                  <a:gd name="connsiteX12" fmla="*/ 715042 w 2277714"/>
                  <a:gd name="connsiteY12" fmla="*/ 44101 h 98298"/>
                  <a:gd name="connsiteX13" fmla="*/ 832866 w 2277714"/>
                  <a:gd name="connsiteY13" fmla="*/ 44101 h 98298"/>
                  <a:gd name="connsiteX14" fmla="*/ 832866 w 2277714"/>
                  <a:gd name="connsiteY14" fmla="*/ 50578 h 98298"/>
                  <a:gd name="connsiteX15" fmla="*/ 925354 w 2277714"/>
                  <a:gd name="connsiteY15" fmla="*/ 50578 h 98298"/>
                  <a:gd name="connsiteX16" fmla="*/ 925354 w 2277714"/>
                  <a:gd name="connsiteY16" fmla="*/ 56960 h 98298"/>
                  <a:gd name="connsiteX17" fmla="*/ 944309 w 2277714"/>
                  <a:gd name="connsiteY17" fmla="*/ 56960 h 98298"/>
                  <a:gd name="connsiteX18" fmla="*/ 944309 w 2277714"/>
                  <a:gd name="connsiteY18" fmla="*/ 63437 h 98298"/>
                  <a:gd name="connsiteX19" fmla="*/ 1798130 w 2277714"/>
                  <a:gd name="connsiteY19" fmla="*/ 63437 h 98298"/>
                  <a:gd name="connsiteX20" fmla="*/ 1798130 w 2277714"/>
                  <a:gd name="connsiteY20" fmla="*/ 98298 h 98298"/>
                  <a:gd name="connsiteX21" fmla="*/ 2277714 w 2277714"/>
                  <a:gd name="connsiteY21" fmla="*/ 98298 h 98298"/>
                  <a:gd name="connsiteX0" fmla="*/ 0 w 2164176"/>
                  <a:gd name="connsiteY0" fmla="*/ 0 h 92106"/>
                  <a:gd name="connsiteX1" fmla="*/ 0 w 2164176"/>
                  <a:gd name="connsiteY1" fmla="*/ 6191 h 92106"/>
                  <a:gd name="connsiteX2" fmla="*/ 269177 w 2164176"/>
                  <a:gd name="connsiteY2" fmla="*/ 6191 h 92106"/>
                  <a:gd name="connsiteX3" fmla="*/ 269177 w 2164176"/>
                  <a:gd name="connsiteY3" fmla="*/ 12477 h 92106"/>
                  <a:gd name="connsiteX4" fmla="*/ 342805 w 2164176"/>
                  <a:gd name="connsiteY4" fmla="*/ 12477 h 92106"/>
                  <a:gd name="connsiteX5" fmla="*/ 342805 w 2164176"/>
                  <a:gd name="connsiteY5" fmla="*/ 18764 h 92106"/>
                  <a:gd name="connsiteX6" fmla="*/ 422720 w 2164176"/>
                  <a:gd name="connsiteY6" fmla="*/ 18764 h 92106"/>
                  <a:gd name="connsiteX7" fmla="*/ 422720 w 2164176"/>
                  <a:gd name="connsiteY7" fmla="*/ 25050 h 92106"/>
                  <a:gd name="connsiteX8" fmla="*/ 584645 w 2164176"/>
                  <a:gd name="connsiteY8" fmla="*/ 25050 h 92106"/>
                  <a:gd name="connsiteX9" fmla="*/ 584645 w 2164176"/>
                  <a:gd name="connsiteY9" fmla="*/ 31527 h 92106"/>
                  <a:gd name="connsiteX10" fmla="*/ 601504 w 2164176"/>
                  <a:gd name="connsiteY10" fmla="*/ 31527 h 92106"/>
                  <a:gd name="connsiteX11" fmla="*/ 601504 w 2164176"/>
                  <a:gd name="connsiteY11" fmla="*/ 37909 h 92106"/>
                  <a:gd name="connsiteX12" fmla="*/ 719328 w 2164176"/>
                  <a:gd name="connsiteY12" fmla="*/ 37909 h 92106"/>
                  <a:gd name="connsiteX13" fmla="*/ 719328 w 2164176"/>
                  <a:gd name="connsiteY13" fmla="*/ 44386 h 92106"/>
                  <a:gd name="connsiteX14" fmla="*/ 811816 w 2164176"/>
                  <a:gd name="connsiteY14" fmla="*/ 44386 h 92106"/>
                  <a:gd name="connsiteX15" fmla="*/ 811816 w 2164176"/>
                  <a:gd name="connsiteY15" fmla="*/ 50768 h 92106"/>
                  <a:gd name="connsiteX16" fmla="*/ 830771 w 2164176"/>
                  <a:gd name="connsiteY16" fmla="*/ 50768 h 92106"/>
                  <a:gd name="connsiteX17" fmla="*/ 830771 w 2164176"/>
                  <a:gd name="connsiteY17" fmla="*/ 57245 h 92106"/>
                  <a:gd name="connsiteX18" fmla="*/ 1684592 w 2164176"/>
                  <a:gd name="connsiteY18" fmla="*/ 57245 h 92106"/>
                  <a:gd name="connsiteX19" fmla="*/ 1684592 w 2164176"/>
                  <a:gd name="connsiteY19" fmla="*/ 92106 h 92106"/>
                  <a:gd name="connsiteX20" fmla="*/ 2164176 w 2164176"/>
                  <a:gd name="connsiteY20" fmla="*/ 92106 h 92106"/>
                  <a:gd name="connsiteX0" fmla="*/ 0 w 2164176"/>
                  <a:gd name="connsiteY0" fmla="*/ 0 h 92106"/>
                  <a:gd name="connsiteX1" fmla="*/ 269177 w 2164176"/>
                  <a:gd name="connsiteY1" fmla="*/ 6191 h 92106"/>
                  <a:gd name="connsiteX2" fmla="*/ 269177 w 2164176"/>
                  <a:gd name="connsiteY2" fmla="*/ 12477 h 92106"/>
                  <a:gd name="connsiteX3" fmla="*/ 342805 w 2164176"/>
                  <a:gd name="connsiteY3" fmla="*/ 12477 h 92106"/>
                  <a:gd name="connsiteX4" fmla="*/ 342805 w 2164176"/>
                  <a:gd name="connsiteY4" fmla="*/ 18764 h 92106"/>
                  <a:gd name="connsiteX5" fmla="*/ 422720 w 2164176"/>
                  <a:gd name="connsiteY5" fmla="*/ 18764 h 92106"/>
                  <a:gd name="connsiteX6" fmla="*/ 422720 w 2164176"/>
                  <a:gd name="connsiteY6" fmla="*/ 25050 h 92106"/>
                  <a:gd name="connsiteX7" fmla="*/ 584645 w 2164176"/>
                  <a:gd name="connsiteY7" fmla="*/ 25050 h 92106"/>
                  <a:gd name="connsiteX8" fmla="*/ 584645 w 2164176"/>
                  <a:gd name="connsiteY8" fmla="*/ 31527 h 92106"/>
                  <a:gd name="connsiteX9" fmla="*/ 601504 w 2164176"/>
                  <a:gd name="connsiteY9" fmla="*/ 31527 h 92106"/>
                  <a:gd name="connsiteX10" fmla="*/ 601504 w 2164176"/>
                  <a:gd name="connsiteY10" fmla="*/ 37909 h 92106"/>
                  <a:gd name="connsiteX11" fmla="*/ 719328 w 2164176"/>
                  <a:gd name="connsiteY11" fmla="*/ 37909 h 92106"/>
                  <a:gd name="connsiteX12" fmla="*/ 719328 w 2164176"/>
                  <a:gd name="connsiteY12" fmla="*/ 44386 h 92106"/>
                  <a:gd name="connsiteX13" fmla="*/ 811816 w 2164176"/>
                  <a:gd name="connsiteY13" fmla="*/ 44386 h 92106"/>
                  <a:gd name="connsiteX14" fmla="*/ 811816 w 2164176"/>
                  <a:gd name="connsiteY14" fmla="*/ 50768 h 92106"/>
                  <a:gd name="connsiteX15" fmla="*/ 830771 w 2164176"/>
                  <a:gd name="connsiteY15" fmla="*/ 50768 h 92106"/>
                  <a:gd name="connsiteX16" fmla="*/ 830771 w 2164176"/>
                  <a:gd name="connsiteY16" fmla="*/ 57245 h 92106"/>
                  <a:gd name="connsiteX17" fmla="*/ 1684592 w 2164176"/>
                  <a:gd name="connsiteY17" fmla="*/ 57245 h 92106"/>
                  <a:gd name="connsiteX18" fmla="*/ 1684592 w 2164176"/>
                  <a:gd name="connsiteY18" fmla="*/ 92106 h 92106"/>
                  <a:gd name="connsiteX19" fmla="*/ 2164176 w 2164176"/>
                  <a:gd name="connsiteY19" fmla="*/ 92106 h 92106"/>
                  <a:gd name="connsiteX0" fmla="*/ 0 w 1894999"/>
                  <a:gd name="connsiteY0" fmla="*/ 0 h 85915"/>
                  <a:gd name="connsiteX1" fmla="*/ 0 w 1894999"/>
                  <a:gd name="connsiteY1" fmla="*/ 6286 h 85915"/>
                  <a:gd name="connsiteX2" fmla="*/ 73628 w 1894999"/>
                  <a:gd name="connsiteY2" fmla="*/ 6286 h 85915"/>
                  <a:gd name="connsiteX3" fmla="*/ 73628 w 1894999"/>
                  <a:gd name="connsiteY3" fmla="*/ 12573 h 85915"/>
                  <a:gd name="connsiteX4" fmla="*/ 153543 w 1894999"/>
                  <a:gd name="connsiteY4" fmla="*/ 12573 h 85915"/>
                  <a:gd name="connsiteX5" fmla="*/ 153543 w 1894999"/>
                  <a:gd name="connsiteY5" fmla="*/ 18859 h 85915"/>
                  <a:gd name="connsiteX6" fmla="*/ 315468 w 1894999"/>
                  <a:gd name="connsiteY6" fmla="*/ 18859 h 85915"/>
                  <a:gd name="connsiteX7" fmla="*/ 315468 w 1894999"/>
                  <a:gd name="connsiteY7" fmla="*/ 25336 h 85915"/>
                  <a:gd name="connsiteX8" fmla="*/ 332327 w 1894999"/>
                  <a:gd name="connsiteY8" fmla="*/ 25336 h 85915"/>
                  <a:gd name="connsiteX9" fmla="*/ 332327 w 1894999"/>
                  <a:gd name="connsiteY9" fmla="*/ 31718 h 85915"/>
                  <a:gd name="connsiteX10" fmla="*/ 450151 w 1894999"/>
                  <a:gd name="connsiteY10" fmla="*/ 31718 h 85915"/>
                  <a:gd name="connsiteX11" fmla="*/ 450151 w 1894999"/>
                  <a:gd name="connsiteY11" fmla="*/ 38195 h 85915"/>
                  <a:gd name="connsiteX12" fmla="*/ 542639 w 1894999"/>
                  <a:gd name="connsiteY12" fmla="*/ 38195 h 85915"/>
                  <a:gd name="connsiteX13" fmla="*/ 542639 w 1894999"/>
                  <a:gd name="connsiteY13" fmla="*/ 44577 h 85915"/>
                  <a:gd name="connsiteX14" fmla="*/ 561594 w 1894999"/>
                  <a:gd name="connsiteY14" fmla="*/ 44577 h 85915"/>
                  <a:gd name="connsiteX15" fmla="*/ 561594 w 1894999"/>
                  <a:gd name="connsiteY15" fmla="*/ 51054 h 85915"/>
                  <a:gd name="connsiteX16" fmla="*/ 1415415 w 1894999"/>
                  <a:gd name="connsiteY16" fmla="*/ 51054 h 85915"/>
                  <a:gd name="connsiteX17" fmla="*/ 1415415 w 1894999"/>
                  <a:gd name="connsiteY17" fmla="*/ 85915 h 85915"/>
                  <a:gd name="connsiteX18" fmla="*/ 1894999 w 1894999"/>
                  <a:gd name="connsiteY18" fmla="*/ 85915 h 85915"/>
                  <a:gd name="connsiteX0" fmla="*/ 0 w 1894999"/>
                  <a:gd name="connsiteY0" fmla="*/ 0 h 85915"/>
                  <a:gd name="connsiteX1" fmla="*/ 73628 w 1894999"/>
                  <a:gd name="connsiteY1" fmla="*/ 6286 h 85915"/>
                  <a:gd name="connsiteX2" fmla="*/ 73628 w 1894999"/>
                  <a:gd name="connsiteY2" fmla="*/ 12573 h 85915"/>
                  <a:gd name="connsiteX3" fmla="*/ 153543 w 1894999"/>
                  <a:gd name="connsiteY3" fmla="*/ 12573 h 85915"/>
                  <a:gd name="connsiteX4" fmla="*/ 153543 w 1894999"/>
                  <a:gd name="connsiteY4" fmla="*/ 18859 h 85915"/>
                  <a:gd name="connsiteX5" fmla="*/ 315468 w 1894999"/>
                  <a:gd name="connsiteY5" fmla="*/ 18859 h 85915"/>
                  <a:gd name="connsiteX6" fmla="*/ 315468 w 1894999"/>
                  <a:gd name="connsiteY6" fmla="*/ 25336 h 85915"/>
                  <a:gd name="connsiteX7" fmla="*/ 332327 w 1894999"/>
                  <a:gd name="connsiteY7" fmla="*/ 25336 h 85915"/>
                  <a:gd name="connsiteX8" fmla="*/ 332327 w 1894999"/>
                  <a:gd name="connsiteY8" fmla="*/ 31718 h 85915"/>
                  <a:gd name="connsiteX9" fmla="*/ 450151 w 1894999"/>
                  <a:gd name="connsiteY9" fmla="*/ 31718 h 85915"/>
                  <a:gd name="connsiteX10" fmla="*/ 450151 w 1894999"/>
                  <a:gd name="connsiteY10" fmla="*/ 38195 h 85915"/>
                  <a:gd name="connsiteX11" fmla="*/ 542639 w 1894999"/>
                  <a:gd name="connsiteY11" fmla="*/ 38195 h 85915"/>
                  <a:gd name="connsiteX12" fmla="*/ 542639 w 1894999"/>
                  <a:gd name="connsiteY12" fmla="*/ 44577 h 85915"/>
                  <a:gd name="connsiteX13" fmla="*/ 561594 w 1894999"/>
                  <a:gd name="connsiteY13" fmla="*/ 44577 h 85915"/>
                  <a:gd name="connsiteX14" fmla="*/ 561594 w 1894999"/>
                  <a:gd name="connsiteY14" fmla="*/ 51054 h 85915"/>
                  <a:gd name="connsiteX15" fmla="*/ 1415415 w 1894999"/>
                  <a:gd name="connsiteY15" fmla="*/ 51054 h 85915"/>
                  <a:gd name="connsiteX16" fmla="*/ 1415415 w 1894999"/>
                  <a:gd name="connsiteY16" fmla="*/ 85915 h 85915"/>
                  <a:gd name="connsiteX17" fmla="*/ 1894999 w 1894999"/>
                  <a:gd name="connsiteY17" fmla="*/ 85915 h 85915"/>
                  <a:gd name="connsiteX0" fmla="*/ 0 w 1821371"/>
                  <a:gd name="connsiteY0" fmla="*/ 0 h 79629"/>
                  <a:gd name="connsiteX1" fmla="*/ 0 w 1821371"/>
                  <a:gd name="connsiteY1" fmla="*/ 6287 h 79629"/>
                  <a:gd name="connsiteX2" fmla="*/ 79915 w 1821371"/>
                  <a:gd name="connsiteY2" fmla="*/ 6287 h 79629"/>
                  <a:gd name="connsiteX3" fmla="*/ 79915 w 1821371"/>
                  <a:gd name="connsiteY3" fmla="*/ 12573 h 79629"/>
                  <a:gd name="connsiteX4" fmla="*/ 241840 w 1821371"/>
                  <a:gd name="connsiteY4" fmla="*/ 12573 h 79629"/>
                  <a:gd name="connsiteX5" fmla="*/ 241840 w 1821371"/>
                  <a:gd name="connsiteY5" fmla="*/ 19050 h 79629"/>
                  <a:gd name="connsiteX6" fmla="*/ 258699 w 1821371"/>
                  <a:gd name="connsiteY6" fmla="*/ 19050 h 79629"/>
                  <a:gd name="connsiteX7" fmla="*/ 258699 w 1821371"/>
                  <a:gd name="connsiteY7" fmla="*/ 25432 h 79629"/>
                  <a:gd name="connsiteX8" fmla="*/ 376523 w 1821371"/>
                  <a:gd name="connsiteY8" fmla="*/ 25432 h 79629"/>
                  <a:gd name="connsiteX9" fmla="*/ 376523 w 1821371"/>
                  <a:gd name="connsiteY9" fmla="*/ 31909 h 79629"/>
                  <a:gd name="connsiteX10" fmla="*/ 469011 w 1821371"/>
                  <a:gd name="connsiteY10" fmla="*/ 31909 h 79629"/>
                  <a:gd name="connsiteX11" fmla="*/ 469011 w 1821371"/>
                  <a:gd name="connsiteY11" fmla="*/ 38291 h 79629"/>
                  <a:gd name="connsiteX12" fmla="*/ 487966 w 1821371"/>
                  <a:gd name="connsiteY12" fmla="*/ 38291 h 79629"/>
                  <a:gd name="connsiteX13" fmla="*/ 487966 w 1821371"/>
                  <a:gd name="connsiteY13" fmla="*/ 44768 h 79629"/>
                  <a:gd name="connsiteX14" fmla="*/ 1341787 w 1821371"/>
                  <a:gd name="connsiteY14" fmla="*/ 44768 h 79629"/>
                  <a:gd name="connsiteX15" fmla="*/ 1341787 w 1821371"/>
                  <a:gd name="connsiteY15" fmla="*/ 79629 h 79629"/>
                  <a:gd name="connsiteX16" fmla="*/ 1821371 w 1821371"/>
                  <a:gd name="connsiteY16" fmla="*/ 79629 h 79629"/>
                  <a:gd name="connsiteX0" fmla="*/ 0 w 1821371"/>
                  <a:gd name="connsiteY0" fmla="*/ 0 h 79629"/>
                  <a:gd name="connsiteX1" fmla="*/ 79915 w 1821371"/>
                  <a:gd name="connsiteY1" fmla="*/ 6287 h 79629"/>
                  <a:gd name="connsiteX2" fmla="*/ 79915 w 1821371"/>
                  <a:gd name="connsiteY2" fmla="*/ 12573 h 79629"/>
                  <a:gd name="connsiteX3" fmla="*/ 241840 w 1821371"/>
                  <a:gd name="connsiteY3" fmla="*/ 12573 h 79629"/>
                  <a:gd name="connsiteX4" fmla="*/ 241840 w 1821371"/>
                  <a:gd name="connsiteY4" fmla="*/ 19050 h 79629"/>
                  <a:gd name="connsiteX5" fmla="*/ 258699 w 1821371"/>
                  <a:gd name="connsiteY5" fmla="*/ 19050 h 79629"/>
                  <a:gd name="connsiteX6" fmla="*/ 258699 w 1821371"/>
                  <a:gd name="connsiteY6" fmla="*/ 25432 h 79629"/>
                  <a:gd name="connsiteX7" fmla="*/ 376523 w 1821371"/>
                  <a:gd name="connsiteY7" fmla="*/ 25432 h 79629"/>
                  <a:gd name="connsiteX8" fmla="*/ 376523 w 1821371"/>
                  <a:gd name="connsiteY8" fmla="*/ 31909 h 79629"/>
                  <a:gd name="connsiteX9" fmla="*/ 469011 w 1821371"/>
                  <a:gd name="connsiteY9" fmla="*/ 31909 h 79629"/>
                  <a:gd name="connsiteX10" fmla="*/ 469011 w 1821371"/>
                  <a:gd name="connsiteY10" fmla="*/ 38291 h 79629"/>
                  <a:gd name="connsiteX11" fmla="*/ 487966 w 1821371"/>
                  <a:gd name="connsiteY11" fmla="*/ 38291 h 79629"/>
                  <a:gd name="connsiteX12" fmla="*/ 487966 w 1821371"/>
                  <a:gd name="connsiteY12" fmla="*/ 44768 h 79629"/>
                  <a:gd name="connsiteX13" fmla="*/ 1341787 w 1821371"/>
                  <a:gd name="connsiteY13" fmla="*/ 44768 h 79629"/>
                  <a:gd name="connsiteX14" fmla="*/ 1341787 w 1821371"/>
                  <a:gd name="connsiteY14" fmla="*/ 79629 h 79629"/>
                  <a:gd name="connsiteX15" fmla="*/ 1821371 w 1821371"/>
                  <a:gd name="connsiteY15" fmla="*/ 79629 h 79629"/>
                  <a:gd name="connsiteX0" fmla="*/ 0 w 1741456"/>
                  <a:gd name="connsiteY0" fmla="*/ 0 h 73342"/>
                  <a:gd name="connsiteX1" fmla="*/ 0 w 1741456"/>
                  <a:gd name="connsiteY1" fmla="*/ 6286 h 73342"/>
                  <a:gd name="connsiteX2" fmla="*/ 161925 w 1741456"/>
                  <a:gd name="connsiteY2" fmla="*/ 6286 h 73342"/>
                  <a:gd name="connsiteX3" fmla="*/ 161925 w 1741456"/>
                  <a:gd name="connsiteY3" fmla="*/ 12763 h 73342"/>
                  <a:gd name="connsiteX4" fmla="*/ 178784 w 1741456"/>
                  <a:gd name="connsiteY4" fmla="*/ 12763 h 73342"/>
                  <a:gd name="connsiteX5" fmla="*/ 178784 w 1741456"/>
                  <a:gd name="connsiteY5" fmla="*/ 19145 h 73342"/>
                  <a:gd name="connsiteX6" fmla="*/ 296608 w 1741456"/>
                  <a:gd name="connsiteY6" fmla="*/ 19145 h 73342"/>
                  <a:gd name="connsiteX7" fmla="*/ 296608 w 1741456"/>
                  <a:gd name="connsiteY7" fmla="*/ 25622 h 73342"/>
                  <a:gd name="connsiteX8" fmla="*/ 389096 w 1741456"/>
                  <a:gd name="connsiteY8" fmla="*/ 25622 h 73342"/>
                  <a:gd name="connsiteX9" fmla="*/ 389096 w 1741456"/>
                  <a:gd name="connsiteY9" fmla="*/ 32004 h 73342"/>
                  <a:gd name="connsiteX10" fmla="*/ 408051 w 1741456"/>
                  <a:gd name="connsiteY10" fmla="*/ 32004 h 73342"/>
                  <a:gd name="connsiteX11" fmla="*/ 408051 w 1741456"/>
                  <a:gd name="connsiteY11" fmla="*/ 38481 h 73342"/>
                  <a:gd name="connsiteX12" fmla="*/ 1261872 w 1741456"/>
                  <a:gd name="connsiteY12" fmla="*/ 38481 h 73342"/>
                  <a:gd name="connsiteX13" fmla="*/ 1261872 w 1741456"/>
                  <a:gd name="connsiteY13" fmla="*/ 73342 h 73342"/>
                  <a:gd name="connsiteX14" fmla="*/ 1741456 w 1741456"/>
                  <a:gd name="connsiteY14" fmla="*/ 73342 h 73342"/>
                  <a:gd name="connsiteX0" fmla="*/ 0 w 1741456"/>
                  <a:gd name="connsiteY0" fmla="*/ 0 h 73342"/>
                  <a:gd name="connsiteX1" fmla="*/ 161925 w 1741456"/>
                  <a:gd name="connsiteY1" fmla="*/ 6286 h 73342"/>
                  <a:gd name="connsiteX2" fmla="*/ 161925 w 1741456"/>
                  <a:gd name="connsiteY2" fmla="*/ 12763 h 73342"/>
                  <a:gd name="connsiteX3" fmla="*/ 178784 w 1741456"/>
                  <a:gd name="connsiteY3" fmla="*/ 12763 h 73342"/>
                  <a:gd name="connsiteX4" fmla="*/ 178784 w 1741456"/>
                  <a:gd name="connsiteY4" fmla="*/ 19145 h 73342"/>
                  <a:gd name="connsiteX5" fmla="*/ 296608 w 1741456"/>
                  <a:gd name="connsiteY5" fmla="*/ 19145 h 73342"/>
                  <a:gd name="connsiteX6" fmla="*/ 296608 w 1741456"/>
                  <a:gd name="connsiteY6" fmla="*/ 25622 h 73342"/>
                  <a:gd name="connsiteX7" fmla="*/ 389096 w 1741456"/>
                  <a:gd name="connsiteY7" fmla="*/ 25622 h 73342"/>
                  <a:gd name="connsiteX8" fmla="*/ 389096 w 1741456"/>
                  <a:gd name="connsiteY8" fmla="*/ 32004 h 73342"/>
                  <a:gd name="connsiteX9" fmla="*/ 408051 w 1741456"/>
                  <a:gd name="connsiteY9" fmla="*/ 32004 h 73342"/>
                  <a:gd name="connsiteX10" fmla="*/ 408051 w 1741456"/>
                  <a:gd name="connsiteY10" fmla="*/ 38481 h 73342"/>
                  <a:gd name="connsiteX11" fmla="*/ 1261872 w 1741456"/>
                  <a:gd name="connsiteY11" fmla="*/ 38481 h 73342"/>
                  <a:gd name="connsiteX12" fmla="*/ 1261872 w 1741456"/>
                  <a:gd name="connsiteY12" fmla="*/ 73342 h 73342"/>
                  <a:gd name="connsiteX13" fmla="*/ 1741456 w 1741456"/>
                  <a:gd name="connsiteY13" fmla="*/ 73342 h 73342"/>
                  <a:gd name="connsiteX0" fmla="*/ 0 w 1579531"/>
                  <a:gd name="connsiteY0" fmla="*/ 0 h 67056"/>
                  <a:gd name="connsiteX1" fmla="*/ 0 w 1579531"/>
                  <a:gd name="connsiteY1" fmla="*/ 6477 h 67056"/>
                  <a:gd name="connsiteX2" fmla="*/ 16859 w 1579531"/>
                  <a:gd name="connsiteY2" fmla="*/ 6477 h 67056"/>
                  <a:gd name="connsiteX3" fmla="*/ 16859 w 1579531"/>
                  <a:gd name="connsiteY3" fmla="*/ 12859 h 67056"/>
                  <a:gd name="connsiteX4" fmla="*/ 134683 w 1579531"/>
                  <a:gd name="connsiteY4" fmla="*/ 12859 h 67056"/>
                  <a:gd name="connsiteX5" fmla="*/ 134683 w 1579531"/>
                  <a:gd name="connsiteY5" fmla="*/ 19336 h 67056"/>
                  <a:gd name="connsiteX6" fmla="*/ 227171 w 1579531"/>
                  <a:gd name="connsiteY6" fmla="*/ 19336 h 67056"/>
                  <a:gd name="connsiteX7" fmla="*/ 227171 w 1579531"/>
                  <a:gd name="connsiteY7" fmla="*/ 25718 h 67056"/>
                  <a:gd name="connsiteX8" fmla="*/ 246126 w 1579531"/>
                  <a:gd name="connsiteY8" fmla="*/ 25718 h 67056"/>
                  <a:gd name="connsiteX9" fmla="*/ 246126 w 1579531"/>
                  <a:gd name="connsiteY9" fmla="*/ 32195 h 67056"/>
                  <a:gd name="connsiteX10" fmla="*/ 1099947 w 1579531"/>
                  <a:gd name="connsiteY10" fmla="*/ 32195 h 67056"/>
                  <a:gd name="connsiteX11" fmla="*/ 1099947 w 1579531"/>
                  <a:gd name="connsiteY11" fmla="*/ 67056 h 67056"/>
                  <a:gd name="connsiteX12" fmla="*/ 1579531 w 1579531"/>
                  <a:gd name="connsiteY12" fmla="*/ 67056 h 67056"/>
                  <a:gd name="connsiteX0" fmla="*/ 0 w 1579531"/>
                  <a:gd name="connsiteY0" fmla="*/ 0 h 60579"/>
                  <a:gd name="connsiteX1" fmla="*/ 16859 w 1579531"/>
                  <a:gd name="connsiteY1" fmla="*/ 0 h 60579"/>
                  <a:gd name="connsiteX2" fmla="*/ 16859 w 1579531"/>
                  <a:gd name="connsiteY2" fmla="*/ 6382 h 60579"/>
                  <a:gd name="connsiteX3" fmla="*/ 134683 w 1579531"/>
                  <a:gd name="connsiteY3" fmla="*/ 6382 h 60579"/>
                  <a:gd name="connsiteX4" fmla="*/ 134683 w 1579531"/>
                  <a:gd name="connsiteY4" fmla="*/ 12859 h 60579"/>
                  <a:gd name="connsiteX5" fmla="*/ 227171 w 1579531"/>
                  <a:gd name="connsiteY5" fmla="*/ 12859 h 60579"/>
                  <a:gd name="connsiteX6" fmla="*/ 227171 w 1579531"/>
                  <a:gd name="connsiteY6" fmla="*/ 19241 h 60579"/>
                  <a:gd name="connsiteX7" fmla="*/ 246126 w 1579531"/>
                  <a:gd name="connsiteY7" fmla="*/ 19241 h 60579"/>
                  <a:gd name="connsiteX8" fmla="*/ 246126 w 1579531"/>
                  <a:gd name="connsiteY8" fmla="*/ 25718 h 60579"/>
                  <a:gd name="connsiteX9" fmla="*/ 1099947 w 1579531"/>
                  <a:gd name="connsiteY9" fmla="*/ 25718 h 60579"/>
                  <a:gd name="connsiteX10" fmla="*/ 1099947 w 1579531"/>
                  <a:gd name="connsiteY10" fmla="*/ 60579 h 60579"/>
                  <a:gd name="connsiteX11" fmla="*/ 1579531 w 1579531"/>
                  <a:gd name="connsiteY11" fmla="*/ 60579 h 60579"/>
                  <a:gd name="connsiteX0" fmla="*/ 0 w 1562672"/>
                  <a:gd name="connsiteY0" fmla="*/ 0 h 60579"/>
                  <a:gd name="connsiteX1" fmla="*/ 0 w 1562672"/>
                  <a:gd name="connsiteY1" fmla="*/ 6382 h 60579"/>
                  <a:gd name="connsiteX2" fmla="*/ 117824 w 1562672"/>
                  <a:gd name="connsiteY2" fmla="*/ 6382 h 60579"/>
                  <a:gd name="connsiteX3" fmla="*/ 117824 w 1562672"/>
                  <a:gd name="connsiteY3" fmla="*/ 12859 h 60579"/>
                  <a:gd name="connsiteX4" fmla="*/ 210312 w 1562672"/>
                  <a:gd name="connsiteY4" fmla="*/ 12859 h 60579"/>
                  <a:gd name="connsiteX5" fmla="*/ 210312 w 1562672"/>
                  <a:gd name="connsiteY5" fmla="*/ 19241 h 60579"/>
                  <a:gd name="connsiteX6" fmla="*/ 229267 w 1562672"/>
                  <a:gd name="connsiteY6" fmla="*/ 19241 h 60579"/>
                  <a:gd name="connsiteX7" fmla="*/ 229267 w 1562672"/>
                  <a:gd name="connsiteY7" fmla="*/ 25718 h 60579"/>
                  <a:gd name="connsiteX8" fmla="*/ 1083088 w 1562672"/>
                  <a:gd name="connsiteY8" fmla="*/ 25718 h 60579"/>
                  <a:gd name="connsiteX9" fmla="*/ 1083088 w 1562672"/>
                  <a:gd name="connsiteY9" fmla="*/ 60579 h 60579"/>
                  <a:gd name="connsiteX10" fmla="*/ 1562672 w 1562672"/>
                  <a:gd name="connsiteY10" fmla="*/ 60579 h 60579"/>
                  <a:gd name="connsiteX0" fmla="*/ 0 w 1562672"/>
                  <a:gd name="connsiteY0" fmla="*/ 0 h 54197"/>
                  <a:gd name="connsiteX1" fmla="*/ 117824 w 1562672"/>
                  <a:gd name="connsiteY1" fmla="*/ 0 h 54197"/>
                  <a:gd name="connsiteX2" fmla="*/ 117824 w 1562672"/>
                  <a:gd name="connsiteY2" fmla="*/ 6477 h 54197"/>
                  <a:gd name="connsiteX3" fmla="*/ 210312 w 1562672"/>
                  <a:gd name="connsiteY3" fmla="*/ 6477 h 54197"/>
                  <a:gd name="connsiteX4" fmla="*/ 210312 w 1562672"/>
                  <a:gd name="connsiteY4" fmla="*/ 12859 h 54197"/>
                  <a:gd name="connsiteX5" fmla="*/ 229267 w 1562672"/>
                  <a:gd name="connsiteY5" fmla="*/ 12859 h 54197"/>
                  <a:gd name="connsiteX6" fmla="*/ 229267 w 1562672"/>
                  <a:gd name="connsiteY6" fmla="*/ 19336 h 54197"/>
                  <a:gd name="connsiteX7" fmla="*/ 1083088 w 1562672"/>
                  <a:gd name="connsiteY7" fmla="*/ 19336 h 54197"/>
                  <a:gd name="connsiteX8" fmla="*/ 1083088 w 1562672"/>
                  <a:gd name="connsiteY8" fmla="*/ 54197 h 54197"/>
                  <a:gd name="connsiteX9" fmla="*/ 1562672 w 1562672"/>
                  <a:gd name="connsiteY9" fmla="*/ 54197 h 54197"/>
                  <a:gd name="connsiteX0" fmla="*/ 0 w 1516791"/>
                  <a:gd name="connsiteY0" fmla="*/ 2526 h 54197"/>
                  <a:gd name="connsiteX1" fmla="*/ 71943 w 1516791"/>
                  <a:gd name="connsiteY1" fmla="*/ 0 h 54197"/>
                  <a:gd name="connsiteX2" fmla="*/ 71943 w 1516791"/>
                  <a:gd name="connsiteY2" fmla="*/ 6477 h 54197"/>
                  <a:gd name="connsiteX3" fmla="*/ 164431 w 1516791"/>
                  <a:gd name="connsiteY3" fmla="*/ 6477 h 54197"/>
                  <a:gd name="connsiteX4" fmla="*/ 164431 w 1516791"/>
                  <a:gd name="connsiteY4" fmla="*/ 12859 h 54197"/>
                  <a:gd name="connsiteX5" fmla="*/ 183386 w 1516791"/>
                  <a:gd name="connsiteY5" fmla="*/ 12859 h 54197"/>
                  <a:gd name="connsiteX6" fmla="*/ 183386 w 1516791"/>
                  <a:gd name="connsiteY6" fmla="*/ 19336 h 54197"/>
                  <a:gd name="connsiteX7" fmla="*/ 1037207 w 1516791"/>
                  <a:gd name="connsiteY7" fmla="*/ 19336 h 54197"/>
                  <a:gd name="connsiteX8" fmla="*/ 1037207 w 1516791"/>
                  <a:gd name="connsiteY8" fmla="*/ 54197 h 54197"/>
                  <a:gd name="connsiteX9" fmla="*/ 1516791 w 1516791"/>
                  <a:gd name="connsiteY9" fmla="*/ 54197 h 54197"/>
                  <a:gd name="connsiteX0" fmla="*/ 0 w 1506595"/>
                  <a:gd name="connsiteY0" fmla="*/ 1263 h 54197"/>
                  <a:gd name="connsiteX1" fmla="*/ 61747 w 1506595"/>
                  <a:gd name="connsiteY1" fmla="*/ 0 h 54197"/>
                  <a:gd name="connsiteX2" fmla="*/ 61747 w 1506595"/>
                  <a:gd name="connsiteY2" fmla="*/ 6477 h 54197"/>
                  <a:gd name="connsiteX3" fmla="*/ 154235 w 1506595"/>
                  <a:gd name="connsiteY3" fmla="*/ 6477 h 54197"/>
                  <a:gd name="connsiteX4" fmla="*/ 154235 w 1506595"/>
                  <a:gd name="connsiteY4" fmla="*/ 12859 h 54197"/>
                  <a:gd name="connsiteX5" fmla="*/ 173190 w 1506595"/>
                  <a:gd name="connsiteY5" fmla="*/ 12859 h 54197"/>
                  <a:gd name="connsiteX6" fmla="*/ 173190 w 1506595"/>
                  <a:gd name="connsiteY6" fmla="*/ 19336 h 54197"/>
                  <a:gd name="connsiteX7" fmla="*/ 1027011 w 1506595"/>
                  <a:gd name="connsiteY7" fmla="*/ 19336 h 54197"/>
                  <a:gd name="connsiteX8" fmla="*/ 1027011 w 1506595"/>
                  <a:gd name="connsiteY8" fmla="*/ 54197 h 54197"/>
                  <a:gd name="connsiteX9" fmla="*/ 1506595 w 1506595"/>
                  <a:gd name="connsiteY9" fmla="*/ 54197 h 54197"/>
                  <a:gd name="connsiteX0" fmla="*/ 0 w 1444848"/>
                  <a:gd name="connsiteY0" fmla="*/ 0 h 54197"/>
                  <a:gd name="connsiteX1" fmla="*/ 0 w 1444848"/>
                  <a:gd name="connsiteY1" fmla="*/ 6477 h 54197"/>
                  <a:gd name="connsiteX2" fmla="*/ 92488 w 1444848"/>
                  <a:gd name="connsiteY2" fmla="*/ 6477 h 54197"/>
                  <a:gd name="connsiteX3" fmla="*/ 92488 w 1444848"/>
                  <a:gd name="connsiteY3" fmla="*/ 12859 h 54197"/>
                  <a:gd name="connsiteX4" fmla="*/ 111443 w 1444848"/>
                  <a:gd name="connsiteY4" fmla="*/ 12859 h 54197"/>
                  <a:gd name="connsiteX5" fmla="*/ 111443 w 1444848"/>
                  <a:gd name="connsiteY5" fmla="*/ 19336 h 54197"/>
                  <a:gd name="connsiteX6" fmla="*/ 965264 w 1444848"/>
                  <a:gd name="connsiteY6" fmla="*/ 19336 h 54197"/>
                  <a:gd name="connsiteX7" fmla="*/ 965264 w 1444848"/>
                  <a:gd name="connsiteY7" fmla="*/ 54197 h 54197"/>
                  <a:gd name="connsiteX8" fmla="*/ 1444848 w 1444848"/>
                  <a:gd name="connsiteY8" fmla="*/ 54197 h 54197"/>
                  <a:gd name="connsiteX0" fmla="*/ 0 w 1444848"/>
                  <a:gd name="connsiteY0" fmla="*/ 0 h 47720"/>
                  <a:gd name="connsiteX1" fmla="*/ 92488 w 1444848"/>
                  <a:gd name="connsiteY1" fmla="*/ 0 h 47720"/>
                  <a:gd name="connsiteX2" fmla="*/ 92488 w 1444848"/>
                  <a:gd name="connsiteY2" fmla="*/ 6382 h 47720"/>
                  <a:gd name="connsiteX3" fmla="*/ 111443 w 1444848"/>
                  <a:gd name="connsiteY3" fmla="*/ 6382 h 47720"/>
                  <a:gd name="connsiteX4" fmla="*/ 111443 w 1444848"/>
                  <a:gd name="connsiteY4" fmla="*/ 12859 h 47720"/>
                  <a:gd name="connsiteX5" fmla="*/ 965264 w 1444848"/>
                  <a:gd name="connsiteY5" fmla="*/ 12859 h 47720"/>
                  <a:gd name="connsiteX6" fmla="*/ 965264 w 1444848"/>
                  <a:gd name="connsiteY6" fmla="*/ 47720 h 47720"/>
                  <a:gd name="connsiteX7" fmla="*/ 1444848 w 1444848"/>
                  <a:gd name="connsiteY7" fmla="*/ 47720 h 47720"/>
                  <a:gd name="connsiteX0" fmla="*/ 0 w 1352360"/>
                  <a:gd name="connsiteY0" fmla="*/ 0 h 47720"/>
                  <a:gd name="connsiteX1" fmla="*/ 0 w 1352360"/>
                  <a:gd name="connsiteY1" fmla="*/ 6382 h 47720"/>
                  <a:gd name="connsiteX2" fmla="*/ 18955 w 1352360"/>
                  <a:gd name="connsiteY2" fmla="*/ 6382 h 47720"/>
                  <a:gd name="connsiteX3" fmla="*/ 18955 w 1352360"/>
                  <a:gd name="connsiteY3" fmla="*/ 12859 h 47720"/>
                  <a:gd name="connsiteX4" fmla="*/ 872776 w 1352360"/>
                  <a:gd name="connsiteY4" fmla="*/ 12859 h 47720"/>
                  <a:gd name="connsiteX5" fmla="*/ 872776 w 1352360"/>
                  <a:gd name="connsiteY5" fmla="*/ 47720 h 47720"/>
                  <a:gd name="connsiteX6" fmla="*/ 1352360 w 1352360"/>
                  <a:gd name="connsiteY6" fmla="*/ 47720 h 47720"/>
                  <a:gd name="connsiteX0" fmla="*/ 0 w 1352360"/>
                  <a:gd name="connsiteY0" fmla="*/ 0 h 41338"/>
                  <a:gd name="connsiteX1" fmla="*/ 18955 w 1352360"/>
                  <a:gd name="connsiteY1" fmla="*/ 0 h 41338"/>
                  <a:gd name="connsiteX2" fmla="*/ 18955 w 1352360"/>
                  <a:gd name="connsiteY2" fmla="*/ 6477 h 41338"/>
                  <a:gd name="connsiteX3" fmla="*/ 872776 w 1352360"/>
                  <a:gd name="connsiteY3" fmla="*/ 6477 h 41338"/>
                  <a:gd name="connsiteX4" fmla="*/ 872776 w 1352360"/>
                  <a:gd name="connsiteY4" fmla="*/ 41338 h 41338"/>
                  <a:gd name="connsiteX5" fmla="*/ 1352360 w 1352360"/>
                  <a:gd name="connsiteY5" fmla="*/ 41338 h 41338"/>
                  <a:gd name="connsiteX0" fmla="*/ 0 w 1333405"/>
                  <a:gd name="connsiteY0" fmla="*/ 0 h 41338"/>
                  <a:gd name="connsiteX1" fmla="*/ 0 w 1333405"/>
                  <a:gd name="connsiteY1" fmla="*/ 6477 h 41338"/>
                  <a:gd name="connsiteX2" fmla="*/ 853821 w 1333405"/>
                  <a:gd name="connsiteY2" fmla="*/ 6477 h 41338"/>
                  <a:gd name="connsiteX3" fmla="*/ 853821 w 1333405"/>
                  <a:gd name="connsiteY3" fmla="*/ 41338 h 41338"/>
                  <a:gd name="connsiteX4" fmla="*/ 1333405 w 1333405"/>
                  <a:gd name="connsiteY4" fmla="*/ 41338 h 41338"/>
                  <a:gd name="connsiteX0" fmla="*/ 0 w 1333405"/>
                  <a:gd name="connsiteY0" fmla="*/ 0 h 34861"/>
                  <a:gd name="connsiteX1" fmla="*/ 853821 w 1333405"/>
                  <a:gd name="connsiteY1" fmla="*/ 0 h 34861"/>
                  <a:gd name="connsiteX2" fmla="*/ 853821 w 1333405"/>
                  <a:gd name="connsiteY2" fmla="*/ 34861 h 34861"/>
                  <a:gd name="connsiteX3" fmla="*/ 1333405 w 1333405"/>
                  <a:gd name="connsiteY3" fmla="*/ 34861 h 34861"/>
                  <a:gd name="connsiteX0" fmla="*/ 0 w 1333405"/>
                  <a:gd name="connsiteY0" fmla="*/ 25 h 34886"/>
                  <a:gd name="connsiteX1" fmla="*/ 589873 w 1333405"/>
                  <a:gd name="connsiteY1" fmla="*/ 0 h 34886"/>
                  <a:gd name="connsiteX2" fmla="*/ 853821 w 1333405"/>
                  <a:gd name="connsiteY2" fmla="*/ 25 h 34886"/>
                  <a:gd name="connsiteX3" fmla="*/ 853821 w 1333405"/>
                  <a:gd name="connsiteY3" fmla="*/ 34886 h 34886"/>
                  <a:gd name="connsiteX4" fmla="*/ 1333405 w 1333405"/>
                  <a:gd name="connsiteY4" fmla="*/ 34886 h 34886"/>
                  <a:gd name="connsiteX0" fmla="*/ 0 w 743532"/>
                  <a:gd name="connsiteY0" fmla="*/ 0 h 34886"/>
                  <a:gd name="connsiteX1" fmla="*/ 263948 w 743532"/>
                  <a:gd name="connsiteY1" fmla="*/ 25 h 34886"/>
                  <a:gd name="connsiteX2" fmla="*/ 263948 w 743532"/>
                  <a:gd name="connsiteY2" fmla="*/ 34886 h 34886"/>
                  <a:gd name="connsiteX3" fmla="*/ 743532 w 743532"/>
                  <a:gd name="connsiteY3" fmla="*/ 34886 h 34886"/>
                </a:gdLst>
                <a:ahLst/>
                <a:cxnLst>
                  <a:cxn ang="0">
                    <a:pos x="connsiteX0" y="connsiteY0"/>
                  </a:cxn>
                  <a:cxn ang="0">
                    <a:pos x="connsiteX1" y="connsiteY1"/>
                  </a:cxn>
                  <a:cxn ang="0">
                    <a:pos x="connsiteX2" y="connsiteY2"/>
                  </a:cxn>
                  <a:cxn ang="0">
                    <a:pos x="connsiteX3" y="connsiteY3"/>
                  </a:cxn>
                </a:cxnLst>
                <a:rect l="l" t="t" r="r" b="b"/>
                <a:pathLst>
                  <a:path w="743532" h="34886">
                    <a:moveTo>
                      <a:pt x="0" y="0"/>
                    </a:moveTo>
                    <a:lnTo>
                      <a:pt x="263948" y="25"/>
                    </a:lnTo>
                    <a:lnTo>
                      <a:pt x="263948" y="34886"/>
                    </a:lnTo>
                    <a:lnTo>
                      <a:pt x="743532" y="34886"/>
                    </a:lnTo>
                  </a:path>
                </a:pathLst>
              </a:custGeom>
              <a:noFill/>
              <a:ln w="12700" cap="flat" cmpd="sng" algn="ctr">
                <a:solidFill>
                  <a:schemeClr val="tx1">
                    <a:lumMod val="50000"/>
                    <a:lumOff val="50000"/>
                  </a:schemeClr>
                </a:solidFill>
                <a:prstDash val="solid"/>
                <a:miter lim="800000"/>
              </a:ln>
              <a:effectLst/>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1375" name="Group 1374">
                <a:extLst>
                  <a:ext uri="{FF2B5EF4-FFF2-40B4-BE49-F238E27FC236}">
                    <a16:creationId xmlns:a16="http://schemas.microsoft.com/office/drawing/2014/main" id="{1A0C62C1-2842-528F-1408-373DEFE44DA8}"/>
                  </a:ext>
                </a:extLst>
              </p:cNvPr>
              <p:cNvGrpSpPr/>
              <p:nvPr/>
            </p:nvGrpSpPr>
            <p:grpSpPr>
              <a:xfrm>
                <a:off x="8911260" y="2907839"/>
                <a:ext cx="1369277" cy="178615"/>
                <a:chOff x="8911260" y="1070482"/>
                <a:chExt cx="1369277" cy="178615"/>
              </a:xfrm>
            </p:grpSpPr>
            <p:grpSp>
              <p:nvGrpSpPr>
                <p:cNvPr id="1376" name="Group 1375">
                  <a:extLst>
                    <a:ext uri="{FF2B5EF4-FFF2-40B4-BE49-F238E27FC236}">
                      <a16:creationId xmlns:a16="http://schemas.microsoft.com/office/drawing/2014/main" id="{1997C34B-396F-C98C-6EDF-4C0F48940278}"/>
                    </a:ext>
                  </a:extLst>
                </p:cNvPr>
                <p:cNvGrpSpPr/>
                <p:nvPr/>
              </p:nvGrpSpPr>
              <p:grpSpPr>
                <a:xfrm>
                  <a:off x="8911260" y="1070482"/>
                  <a:ext cx="68895" cy="90004"/>
                  <a:chOff x="1773255" y="1810053"/>
                  <a:chExt cx="84653" cy="84653"/>
                </a:xfrm>
              </p:grpSpPr>
              <p:cxnSp>
                <p:nvCxnSpPr>
                  <p:cNvPr id="1440" name="Straight Connector 1439">
                    <a:extLst>
                      <a:ext uri="{FF2B5EF4-FFF2-40B4-BE49-F238E27FC236}">
                        <a16:creationId xmlns:a16="http://schemas.microsoft.com/office/drawing/2014/main" id="{CFFABF24-438E-F0B1-C4D2-41A0F504B3D8}"/>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441" name="Straight Connector 1440">
                    <a:extLst>
                      <a:ext uri="{FF2B5EF4-FFF2-40B4-BE49-F238E27FC236}">
                        <a16:creationId xmlns:a16="http://schemas.microsoft.com/office/drawing/2014/main" id="{ED134B70-F3DF-C969-C01B-B0A43B2B26D8}"/>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377" name="Group 1376">
                  <a:extLst>
                    <a:ext uri="{FF2B5EF4-FFF2-40B4-BE49-F238E27FC236}">
                      <a16:creationId xmlns:a16="http://schemas.microsoft.com/office/drawing/2014/main" id="{B1F57E0D-0EEE-406E-8488-5FEB2CB740EC}"/>
                    </a:ext>
                  </a:extLst>
                </p:cNvPr>
                <p:cNvGrpSpPr/>
                <p:nvPr/>
              </p:nvGrpSpPr>
              <p:grpSpPr>
                <a:xfrm>
                  <a:off x="8942268" y="1070482"/>
                  <a:ext cx="68895" cy="90004"/>
                  <a:chOff x="1773255" y="1810053"/>
                  <a:chExt cx="84653" cy="84653"/>
                </a:xfrm>
              </p:grpSpPr>
              <p:cxnSp>
                <p:nvCxnSpPr>
                  <p:cNvPr id="1438" name="Straight Connector 1437">
                    <a:extLst>
                      <a:ext uri="{FF2B5EF4-FFF2-40B4-BE49-F238E27FC236}">
                        <a16:creationId xmlns:a16="http://schemas.microsoft.com/office/drawing/2014/main" id="{9D5D2201-D744-28E1-62BA-4F1B572CB2CC}"/>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439" name="Straight Connector 1438">
                    <a:extLst>
                      <a:ext uri="{FF2B5EF4-FFF2-40B4-BE49-F238E27FC236}">
                        <a16:creationId xmlns:a16="http://schemas.microsoft.com/office/drawing/2014/main" id="{CCCA2681-4889-DB9D-F631-B005C5570E5E}"/>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378" name="Group 1377">
                  <a:extLst>
                    <a:ext uri="{FF2B5EF4-FFF2-40B4-BE49-F238E27FC236}">
                      <a16:creationId xmlns:a16="http://schemas.microsoft.com/office/drawing/2014/main" id="{BD27D77B-9E8B-3EA2-6D7F-27EF20C8CF82}"/>
                    </a:ext>
                  </a:extLst>
                </p:cNvPr>
                <p:cNvGrpSpPr/>
                <p:nvPr/>
              </p:nvGrpSpPr>
              <p:grpSpPr>
                <a:xfrm>
                  <a:off x="8946143" y="1070482"/>
                  <a:ext cx="68895" cy="90004"/>
                  <a:chOff x="1773255" y="1810053"/>
                  <a:chExt cx="84653" cy="84653"/>
                </a:xfrm>
              </p:grpSpPr>
              <p:cxnSp>
                <p:nvCxnSpPr>
                  <p:cNvPr id="1436" name="Straight Connector 1435">
                    <a:extLst>
                      <a:ext uri="{FF2B5EF4-FFF2-40B4-BE49-F238E27FC236}">
                        <a16:creationId xmlns:a16="http://schemas.microsoft.com/office/drawing/2014/main" id="{DC629B54-F6B5-898E-03EF-CF23474B93D1}"/>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437" name="Straight Connector 1436">
                    <a:extLst>
                      <a:ext uri="{FF2B5EF4-FFF2-40B4-BE49-F238E27FC236}">
                        <a16:creationId xmlns:a16="http://schemas.microsoft.com/office/drawing/2014/main" id="{DAABC259-D5DE-224D-59EE-06FF31678C8A}"/>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379" name="Group 1378">
                  <a:extLst>
                    <a:ext uri="{FF2B5EF4-FFF2-40B4-BE49-F238E27FC236}">
                      <a16:creationId xmlns:a16="http://schemas.microsoft.com/office/drawing/2014/main" id="{F7767FAC-9DC9-9201-4650-6757382A5AAA}"/>
                    </a:ext>
                  </a:extLst>
                </p:cNvPr>
                <p:cNvGrpSpPr/>
                <p:nvPr/>
              </p:nvGrpSpPr>
              <p:grpSpPr>
                <a:xfrm>
                  <a:off x="8996531" y="1070482"/>
                  <a:ext cx="68895" cy="90004"/>
                  <a:chOff x="1773255" y="1810053"/>
                  <a:chExt cx="84653" cy="84653"/>
                </a:xfrm>
              </p:grpSpPr>
              <p:cxnSp>
                <p:nvCxnSpPr>
                  <p:cNvPr id="1434" name="Straight Connector 1433">
                    <a:extLst>
                      <a:ext uri="{FF2B5EF4-FFF2-40B4-BE49-F238E27FC236}">
                        <a16:creationId xmlns:a16="http://schemas.microsoft.com/office/drawing/2014/main" id="{B58D0D41-AE66-9BFF-F362-55D99251BAF6}"/>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435" name="Straight Connector 1434">
                    <a:extLst>
                      <a:ext uri="{FF2B5EF4-FFF2-40B4-BE49-F238E27FC236}">
                        <a16:creationId xmlns:a16="http://schemas.microsoft.com/office/drawing/2014/main" id="{87781028-A95A-9D63-BEFC-F50156DE3093}"/>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380" name="Group 1379">
                  <a:extLst>
                    <a:ext uri="{FF2B5EF4-FFF2-40B4-BE49-F238E27FC236}">
                      <a16:creationId xmlns:a16="http://schemas.microsoft.com/office/drawing/2014/main" id="{959859F4-9998-1765-7B8C-220AA1506D49}"/>
                    </a:ext>
                  </a:extLst>
                </p:cNvPr>
                <p:cNvGrpSpPr/>
                <p:nvPr/>
              </p:nvGrpSpPr>
              <p:grpSpPr>
                <a:xfrm>
                  <a:off x="9050794" y="1070482"/>
                  <a:ext cx="68895" cy="90004"/>
                  <a:chOff x="1773255" y="1810053"/>
                  <a:chExt cx="84653" cy="84653"/>
                </a:xfrm>
              </p:grpSpPr>
              <p:cxnSp>
                <p:nvCxnSpPr>
                  <p:cNvPr id="1432" name="Straight Connector 1431">
                    <a:extLst>
                      <a:ext uri="{FF2B5EF4-FFF2-40B4-BE49-F238E27FC236}">
                        <a16:creationId xmlns:a16="http://schemas.microsoft.com/office/drawing/2014/main" id="{F2C212B7-3F3D-63E9-91AC-BFD5B02770FD}"/>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433" name="Straight Connector 1432">
                    <a:extLst>
                      <a:ext uri="{FF2B5EF4-FFF2-40B4-BE49-F238E27FC236}">
                        <a16:creationId xmlns:a16="http://schemas.microsoft.com/office/drawing/2014/main" id="{801A8ED5-26FD-2E41-6239-9E4725F85E59}"/>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381" name="Group 1380">
                  <a:extLst>
                    <a:ext uri="{FF2B5EF4-FFF2-40B4-BE49-F238E27FC236}">
                      <a16:creationId xmlns:a16="http://schemas.microsoft.com/office/drawing/2014/main" id="{E8E34AE7-D2E0-DA31-C2C2-3062D98ABD2E}"/>
                    </a:ext>
                  </a:extLst>
                </p:cNvPr>
                <p:cNvGrpSpPr/>
                <p:nvPr/>
              </p:nvGrpSpPr>
              <p:grpSpPr>
                <a:xfrm>
                  <a:off x="9143817" y="1070482"/>
                  <a:ext cx="68895" cy="90004"/>
                  <a:chOff x="1773255" y="1810053"/>
                  <a:chExt cx="84653" cy="84653"/>
                </a:xfrm>
              </p:grpSpPr>
              <p:cxnSp>
                <p:nvCxnSpPr>
                  <p:cNvPr id="1430" name="Straight Connector 1429">
                    <a:extLst>
                      <a:ext uri="{FF2B5EF4-FFF2-40B4-BE49-F238E27FC236}">
                        <a16:creationId xmlns:a16="http://schemas.microsoft.com/office/drawing/2014/main" id="{807E1F6E-8665-0D78-C516-F921A169433A}"/>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431" name="Straight Connector 1430">
                    <a:extLst>
                      <a:ext uri="{FF2B5EF4-FFF2-40B4-BE49-F238E27FC236}">
                        <a16:creationId xmlns:a16="http://schemas.microsoft.com/office/drawing/2014/main" id="{898654D4-9FB1-055C-DBD8-6D9BA88F06A6}"/>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382" name="Group 1381">
                  <a:extLst>
                    <a:ext uri="{FF2B5EF4-FFF2-40B4-BE49-F238E27FC236}">
                      <a16:creationId xmlns:a16="http://schemas.microsoft.com/office/drawing/2014/main" id="{FB96640F-7730-DE80-4025-526ED254AE80}"/>
                    </a:ext>
                  </a:extLst>
                </p:cNvPr>
                <p:cNvGrpSpPr/>
                <p:nvPr/>
              </p:nvGrpSpPr>
              <p:grpSpPr>
                <a:xfrm>
                  <a:off x="9172887" y="1070482"/>
                  <a:ext cx="68895" cy="90004"/>
                  <a:chOff x="1773255" y="1810053"/>
                  <a:chExt cx="84653" cy="84653"/>
                </a:xfrm>
              </p:grpSpPr>
              <p:cxnSp>
                <p:nvCxnSpPr>
                  <p:cNvPr id="1428" name="Straight Connector 1427">
                    <a:extLst>
                      <a:ext uri="{FF2B5EF4-FFF2-40B4-BE49-F238E27FC236}">
                        <a16:creationId xmlns:a16="http://schemas.microsoft.com/office/drawing/2014/main" id="{054BF280-9849-AFDD-CBCA-676AF53EA502}"/>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429" name="Straight Connector 1428">
                    <a:extLst>
                      <a:ext uri="{FF2B5EF4-FFF2-40B4-BE49-F238E27FC236}">
                        <a16:creationId xmlns:a16="http://schemas.microsoft.com/office/drawing/2014/main" id="{8997DACA-45B6-2BCE-9E14-7D114BBACD00}"/>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383" name="Group 1382">
                  <a:extLst>
                    <a:ext uri="{FF2B5EF4-FFF2-40B4-BE49-F238E27FC236}">
                      <a16:creationId xmlns:a16="http://schemas.microsoft.com/office/drawing/2014/main" id="{170AA026-6277-9C83-87F4-CEA3DD08C757}"/>
                    </a:ext>
                  </a:extLst>
                </p:cNvPr>
                <p:cNvGrpSpPr/>
                <p:nvPr/>
              </p:nvGrpSpPr>
              <p:grpSpPr>
                <a:xfrm>
                  <a:off x="9180639" y="1070482"/>
                  <a:ext cx="68895" cy="90004"/>
                  <a:chOff x="1773255" y="1810053"/>
                  <a:chExt cx="84653" cy="84653"/>
                </a:xfrm>
              </p:grpSpPr>
              <p:cxnSp>
                <p:nvCxnSpPr>
                  <p:cNvPr id="1426" name="Straight Connector 1425">
                    <a:extLst>
                      <a:ext uri="{FF2B5EF4-FFF2-40B4-BE49-F238E27FC236}">
                        <a16:creationId xmlns:a16="http://schemas.microsoft.com/office/drawing/2014/main" id="{E40F9FBA-5A7E-204D-5800-CEA4543BA5F6}"/>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427" name="Straight Connector 1426">
                    <a:extLst>
                      <a:ext uri="{FF2B5EF4-FFF2-40B4-BE49-F238E27FC236}">
                        <a16:creationId xmlns:a16="http://schemas.microsoft.com/office/drawing/2014/main" id="{8D605AFD-1C4B-1677-1DBC-7C2F1BB124CE}"/>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384" name="Group 1383">
                  <a:extLst>
                    <a:ext uri="{FF2B5EF4-FFF2-40B4-BE49-F238E27FC236}">
                      <a16:creationId xmlns:a16="http://schemas.microsoft.com/office/drawing/2014/main" id="{ADC3BA00-D6F4-156B-D94C-4CD40B10444C}"/>
                    </a:ext>
                  </a:extLst>
                </p:cNvPr>
                <p:cNvGrpSpPr/>
                <p:nvPr/>
              </p:nvGrpSpPr>
              <p:grpSpPr>
                <a:xfrm>
                  <a:off x="9196143" y="1070482"/>
                  <a:ext cx="68895" cy="90004"/>
                  <a:chOff x="1773255" y="1810053"/>
                  <a:chExt cx="84653" cy="84653"/>
                </a:xfrm>
              </p:grpSpPr>
              <p:cxnSp>
                <p:nvCxnSpPr>
                  <p:cNvPr id="1424" name="Straight Connector 1423">
                    <a:extLst>
                      <a:ext uri="{FF2B5EF4-FFF2-40B4-BE49-F238E27FC236}">
                        <a16:creationId xmlns:a16="http://schemas.microsoft.com/office/drawing/2014/main" id="{75B96B35-F2DE-7B57-BBF3-3A494CA0B7A8}"/>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425" name="Straight Connector 1424">
                    <a:extLst>
                      <a:ext uri="{FF2B5EF4-FFF2-40B4-BE49-F238E27FC236}">
                        <a16:creationId xmlns:a16="http://schemas.microsoft.com/office/drawing/2014/main" id="{E8FE83A3-C8F2-B545-3F5E-AAC7E040D9AC}"/>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385" name="Group 1384">
                  <a:extLst>
                    <a:ext uri="{FF2B5EF4-FFF2-40B4-BE49-F238E27FC236}">
                      <a16:creationId xmlns:a16="http://schemas.microsoft.com/office/drawing/2014/main" id="{8C8211EC-44F8-CDC1-767E-94174A336B1D}"/>
                    </a:ext>
                  </a:extLst>
                </p:cNvPr>
                <p:cNvGrpSpPr/>
                <p:nvPr/>
              </p:nvGrpSpPr>
              <p:grpSpPr>
                <a:xfrm>
                  <a:off x="9215523" y="1070482"/>
                  <a:ext cx="68895" cy="90004"/>
                  <a:chOff x="1773255" y="1810053"/>
                  <a:chExt cx="84653" cy="84653"/>
                </a:xfrm>
              </p:grpSpPr>
              <p:cxnSp>
                <p:nvCxnSpPr>
                  <p:cNvPr id="1422" name="Straight Connector 1421">
                    <a:extLst>
                      <a:ext uri="{FF2B5EF4-FFF2-40B4-BE49-F238E27FC236}">
                        <a16:creationId xmlns:a16="http://schemas.microsoft.com/office/drawing/2014/main" id="{B051674F-51FC-F171-A026-A01F3E7F346F}"/>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423" name="Straight Connector 1422">
                    <a:extLst>
                      <a:ext uri="{FF2B5EF4-FFF2-40B4-BE49-F238E27FC236}">
                        <a16:creationId xmlns:a16="http://schemas.microsoft.com/office/drawing/2014/main" id="{E7E141BF-D4B6-60B8-AC5C-93AE1F4973AF}"/>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386" name="Group 1385">
                  <a:extLst>
                    <a:ext uri="{FF2B5EF4-FFF2-40B4-BE49-F238E27FC236}">
                      <a16:creationId xmlns:a16="http://schemas.microsoft.com/office/drawing/2014/main" id="{3F001541-EBA3-32BC-7068-C391AC947DF6}"/>
                    </a:ext>
                  </a:extLst>
                </p:cNvPr>
                <p:cNvGrpSpPr/>
                <p:nvPr/>
              </p:nvGrpSpPr>
              <p:grpSpPr>
                <a:xfrm>
                  <a:off x="9325987" y="1159093"/>
                  <a:ext cx="68895" cy="90004"/>
                  <a:chOff x="1773255" y="1810053"/>
                  <a:chExt cx="84653" cy="84653"/>
                </a:xfrm>
              </p:grpSpPr>
              <p:cxnSp>
                <p:nvCxnSpPr>
                  <p:cNvPr id="1420" name="Straight Connector 1419">
                    <a:extLst>
                      <a:ext uri="{FF2B5EF4-FFF2-40B4-BE49-F238E27FC236}">
                        <a16:creationId xmlns:a16="http://schemas.microsoft.com/office/drawing/2014/main" id="{41A91D7C-BDC3-3F6F-78CF-265532A35AF0}"/>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421" name="Straight Connector 1420">
                    <a:extLst>
                      <a:ext uri="{FF2B5EF4-FFF2-40B4-BE49-F238E27FC236}">
                        <a16:creationId xmlns:a16="http://schemas.microsoft.com/office/drawing/2014/main" id="{6186F8E9-4B1D-2CFE-A92D-92C5F089FC7A}"/>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387" name="Group 1386">
                  <a:extLst>
                    <a:ext uri="{FF2B5EF4-FFF2-40B4-BE49-F238E27FC236}">
                      <a16:creationId xmlns:a16="http://schemas.microsoft.com/office/drawing/2014/main" id="{014890D8-2C8C-999F-101F-22EB609461FA}"/>
                    </a:ext>
                  </a:extLst>
                </p:cNvPr>
                <p:cNvGrpSpPr/>
                <p:nvPr/>
              </p:nvGrpSpPr>
              <p:grpSpPr>
                <a:xfrm>
                  <a:off x="9364747" y="1159093"/>
                  <a:ext cx="68895" cy="90004"/>
                  <a:chOff x="1773255" y="1810053"/>
                  <a:chExt cx="84653" cy="84653"/>
                </a:xfrm>
              </p:grpSpPr>
              <p:cxnSp>
                <p:nvCxnSpPr>
                  <p:cNvPr id="1418" name="Straight Connector 1417">
                    <a:extLst>
                      <a:ext uri="{FF2B5EF4-FFF2-40B4-BE49-F238E27FC236}">
                        <a16:creationId xmlns:a16="http://schemas.microsoft.com/office/drawing/2014/main" id="{F99DDE26-FCC6-3B79-EEDC-F761C2C0B502}"/>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419" name="Straight Connector 1418">
                    <a:extLst>
                      <a:ext uri="{FF2B5EF4-FFF2-40B4-BE49-F238E27FC236}">
                        <a16:creationId xmlns:a16="http://schemas.microsoft.com/office/drawing/2014/main" id="{AFF02AE2-2435-4822-B2E0-46447E4CF41C}"/>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388" name="Group 1387">
                  <a:extLst>
                    <a:ext uri="{FF2B5EF4-FFF2-40B4-BE49-F238E27FC236}">
                      <a16:creationId xmlns:a16="http://schemas.microsoft.com/office/drawing/2014/main" id="{EE9C6B3D-FC18-E19C-739E-CA35EE37FD0E}"/>
                    </a:ext>
                  </a:extLst>
                </p:cNvPr>
                <p:cNvGrpSpPr/>
                <p:nvPr/>
              </p:nvGrpSpPr>
              <p:grpSpPr>
                <a:xfrm>
                  <a:off x="9442266" y="1159093"/>
                  <a:ext cx="68895" cy="90004"/>
                  <a:chOff x="1773255" y="1810053"/>
                  <a:chExt cx="84653" cy="84653"/>
                </a:xfrm>
              </p:grpSpPr>
              <p:cxnSp>
                <p:nvCxnSpPr>
                  <p:cNvPr id="1416" name="Straight Connector 1415">
                    <a:extLst>
                      <a:ext uri="{FF2B5EF4-FFF2-40B4-BE49-F238E27FC236}">
                        <a16:creationId xmlns:a16="http://schemas.microsoft.com/office/drawing/2014/main" id="{328C1A22-26EC-B253-9495-4007EB744694}"/>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417" name="Straight Connector 1416">
                    <a:extLst>
                      <a:ext uri="{FF2B5EF4-FFF2-40B4-BE49-F238E27FC236}">
                        <a16:creationId xmlns:a16="http://schemas.microsoft.com/office/drawing/2014/main" id="{2F95F1F3-4B3B-259F-CFC0-A2B15E8FDEE6}"/>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389" name="Group 1388">
                  <a:extLst>
                    <a:ext uri="{FF2B5EF4-FFF2-40B4-BE49-F238E27FC236}">
                      <a16:creationId xmlns:a16="http://schemas.microsoft.com/office/drawing/2014/main" id="{FA613D0F-0A4C-A955-7143-4082CF24E339}"/>
                    </a:ext>
                  </a:extLst>
                </p:cNvPr>
                <p:cNvGrpSpPr/>
                <p:nvPr/>
              </p:nvGrpSpPr>
              <p:grpSpPr>
                <a:xfrm>
                  <a:off x="9467460" y="1159093"/>
                  <a:ext cx="68895" cy="90004"/>
                  <a:chOff x="1773255" y="1810053"/>
                  <a:chExt cx="84653" cy="84653"/>
                </a:xfrm>
              </p:grpSpPr>
              <p:cxnSp>
                <p:nvCxnSpPr>
                  <p:cNvPr id="1414" name="Straight Connector 1413">
                    <a:extLst>
                      <a:ext uri="{FF2B5EF4-FFF2-40B4-BE49-F238E27FC236}">
                        <a16:creationId xmlns:a16="http://schemas.microsoft.com/office/drawing/2014/main" id="{88CDBF7C-55C4-AF7A-5F4A-A7257EAB6694}"/>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415" name="Straight Connector 1414">
                    <a:extLst>
                      <a:ext uri="{FF2B5EF4-FFF2-40B4-BE49-F238E27FC236}">
                        <a16:creationId xmlns:a16="http://schemas.microsoft.com/office/drawing/2014/main" id="{A0FE3CB1-F10E-3DD8-3493-E1A679EDF5AB}"/>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390" name="Group 1389">
                  <a:extLst>
                    <a:ext uri="{FF2B5EF4-FFF2-40B4-BE49-F238E27FC236}">
                      <a16:creationId xmlns:a16="http://schemas.microsoft.com/office/drawing/2014/main" id="{6B35E4AF-8366-B85F-52BC-5139ADA96959}"/>
                    </a:ext>
                  </a:extLst>
                </p:cNvPr>
                <p:cNvGrpSpPr/>
                <p:nvPr/>
              </p:nvGrpSpPr>
              <p:grpSpPr>
                <a:xfrm>
                  <a:off x="9498468" y="1159093"/>
                  <a:ext cx="68895" cy="90004"/>
                  <a:chOff x="1773255" y="1810053"/>
                  <a:chExt cx="84653" cy="84653"/>
                </a:xfrm>
              </p:grpSpPr>
              <p:cxnSp>
                <p:nvCxnSpPr>
                  <p:cNvPr id="1412" name="Straight Connector 1411">
                    <a:extLst>
                      <a:ext uri="{FF2B5EF4-FFF2-40B4-BE49-F238E27FC236}">
                        <a16:creationId xmlns:a16="http://schemas.microsoft.com/office/drawing/2014/main" id="{249C4AEC-0F40-EF6D-13DC-948DF9859C60}"/>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413" name="Straight Connector 1412">
                    <a:extLst>
                      <a:ext uri="{FF2B5EF4-FFF2-40B4-BE49-F238E27FC236}">
                        <a16:creationId xmlns:a16="http://schemas.microsoft.com/office/drawing/2014/main" id="{202279BE-1A32-E389-991C-67920188975A}"/>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391" name="Group 1390">
                  <a:extLst>
                    <a:ext uri="{FF2B5EF4-FFF2-40B4-BE49-F238E27FC236}">
                      <a16:creationId xmlns:a16="http://schemas.microsoft.com/office/drawing/2014/main" id="{66978E0F-9137-7976-8ABC-6E9D9918D5D2}"/>
                    </a:ext>
                  </a:extLst>
                </p:cNvPr>
                <p:cNvGrpSpPr/>
                <p:nvPr/>
              </p:nvGrpSpPr>
              <p:grpSpPr>
                <a:xfrm>
                  <a:off x="9548855" y="1159093"/>
                  <a:ext cx="68895" cy="90004"/>
                  <a:chOff x="1773255" y="1810053"/>
                  <a:chExt cx="84653" cy="84653"/>
                </a:xfrm>
              </p:grpSpPr>
              <p:cxnSp>
                <p:nvCxnSpPr>
                  <p:cNvPr id="1410" name="Straight Connector 1409">
                    <a:extLst>
                      <a:ext uri="{FF2B5EF4-FFF2-40B4-BE49-F238E27FC236}">
                        <a16:creationId xmlns:a16="http://schemas.microsoft.com/office/drawing/2014/main" id="{453AEE97-AC58-7C9D-0F79-57464CC87812}"/>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411" name="Straight Connector 1410">
                    <a:extLst>
                      <a:ext uri="{FF2B5EF4-FFF2-40B4-BE49-F238E27FC236}">
                        <a16:creationId xmlns:a16="http://schemas.microsoft.com/office/drawing/2014/main" id="{46892436-1151-1BED-6244-6BC7FD0B2D91}"/>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392" name="Group 1391">
                  <a:extLst>
                    <a:ext uri="{FF2B5EF4-FFF2-40B4-BE49-F238E27FC236}">
                      <a16:creationId xmlns:a16="http://schemas.microsoft.com/office/drawing/2014/main" id="{FC3093D8-BDB2-3559-3D3C-D05F7BF11057}"/>
                    </a:ext>
                  </a:extLst>
                </p:cNvPr>
                <p:cNvGrpSpPr/>
                <p:nvPr/>
              </p:nvGrpSpPr>
              <p:grpSpPr>
                <a:xfrm>
                  <a:off x="9676760" y="1159093"/>
                  <a:ext cx="68895" cy="90004"/>
                  <a:chOff x="1773255" y="1810053"/>
                  <a:chExt cx="84653" cy="84653"/>
                </a:xfrm>
              </p:grpSpPr>
              <p:cxnSp>
                <p:nvCxnSpPr>
                  <p:cNvPr id="1408" name="Straight Connector 1407">
                    <a:extLst>
                      <a:ext uri="{FF2B5EF4-FFF2-40B4-BE49-F238E27FC236}">
                        <a16:creationId xmlns:a16="http://schemas.microsoft.com/office/drawing/2014/main" id="{BE165688-8AF0-621E-5C79-0CEA040F9BDE}"/>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409" name="Straight Connector 1408">
                    <a:extLst>
                      <a:ext uri="{FF2B5EF4-FFF2-40B4-BE49-F238E27FC236}">
                        <a16:creationId xmlns:a16="http://schemas.microsoft.com/office/drawing/2014/main" id="{23061F08-5500-1364-613B-A7CBBE13330C}"/>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393" name="Group 1392">
                  <a:extLst>
                    <a:ext uri="{FF2B5EF4-FFF2-40B4-BE49-F238E27FC236}">
                      <a16:creationId xmlns:a16="http://schemas.microsoft.com/office/drawing/2014/main" id="{2C78B3E5-78A4-2AD7-84EC-8CDA42D8A51B}"/>
                    </a:ext>
                  </a:extLst>
                </p:cNvPr>
                <p:cNvGrpSpPr/>
                <p:nvPr/>
              </p:nvGrpSpPr>
              <p:grpSpPr>
                <a:xfrm>
                  <a:off x="9701955" y="1159093"/>
                  <a:ext cx="68895" cy="90004"/>
                  <a:chOff x="1773255" y="1810053"/>
                  <a:chExt cx="84653" cy="84653"/>
                </a:xfrm>
              </p:grpSpPr>
              <p:cxnSp>
                <p:nvCxnSpPr>
                  <p:cNvPr id="1406" name="Straight Connector 1405">
                    <a:extLst>
                      <a:ext uri="{FF2B5EF4-FFF2-40B4-BE49-F238E27FC236}">
                        <a16:creationId xmlns:a16="http://schemas.microsoft.com/office/drawing/2014/main" id="{E40A1455-0D51-F2EB-76E7-8D56F3C9457F}"/>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407" name="Straight Connector 1406">
                    <a:extLst>
                      <a:ext uri="{FF2B5EF4-FFF2-40B4-BE49-F238E27FC236}">
                        <a16:creationId xmlns:a16="http://schemas.microsoft.com/office/drawing/2014/main" id="{CE8F67AE-CCB6-ED4D-7771-2994A90B07A7}"/>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394" name="Group 1393">
                  <a:extLst>
                    <a:ext uri="{FF2B5EF4-FFF2-40B4-BE49-F238E27FC236}">
                      <a16:creationId xmlns:a16="http://schemas.microsoft.com/office/drawing/2014/main" id="{DC0B9DAD-9CD3-B329-70DD-D17AC54D8F0E}"/>
                    </a:ext>
                  </a:extLst>
                </p:cNvPr>
                <p:cNvGrpSpPr/>
                <p:nvPr/>
              </p:nvGrpSpPr>
              <p:grpSpPr>
                <a:xfrm>
                  <a:off x="9794978" y="1159093"/>
                  <a:ext cx="68895" cy="90004"/>
                  <a:chOff x="1773255" y="1810053"/>
                  <a:chExt cx="84653" cy="84653"/>
                </a:xfrm>
              </p:grpSpPr>
              <p:cxnSp>
                <p:nvCxnSpPr>
                  <p:cNvPr id="1404" name="Straight Connector 1403">
                    <a:extLst>
                      <a:ext uri="{FF2B5EF4-FFF2-40B4-BE49-F238E27FC236}">
                        <a16:creationId xmlns:a16="http://schemas.microsoft.com/office/drawing/2014/main" id="{E966509E-98BE-D9EE-3A5F-2F6A9B30264A}"/>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405" name="Straight Connector 1404">
                    <a:extLst>
                      <a:ext uri="{FF2B5EF4-FFF2-40B4-BE49-F238E27FC236}">
                        <a16:creationId xmlns:a16="http://schemas.microsoft.com/office/drawing/2014/main" id="{DE804CC9-C113-44CC-2BB3-8DCC9D1CDEB0}"/>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395" name="Group 1394">
                  <a:extLst>
                    <a:ext uri="{FF2B5EF4-FFF2-40B4-BE49-F238E27FC236}">
                      <a16:creationId xmlns:a16="http://schemas.microsoft.com/office/drawing/2014/main" id="{8A48DBD4-0047-5B00-8A67-FAA14D7CA918}"/>
                    </a:ext>
                  </a:extLst>
                </p:cNvPr>
                <p:cNvGrpSpPr/>
                <p:nvPr/>
              </p:nvGrpSpPr>
              <p:grpSpPr>
                <a:xfrm>
                  <a:off x="9917070" y="1159093"/>
                  <a:ext cx="68895" cy="90004"/>
                  <a:chOff x="1773255" y="1810053"/>
                  <a:chExt cx="84653" cy="84653"/>
                </a:xfrm>
              </p:grpSpPr>
              <p:cxnSp>
                <p:nvCxnSpPr>
                  <p:cNvPr id="1402" name="Straight Connector 1401">
                    <a:extLst>
                      <a:ext uri="{FF2B5EF4-FFF2-40B4-BE49-F238E27FC236}">
                        <a16:creationId xmlns:a16="http://schemas.microsoft.com/office/drawing/2014/main" id="{E92A64D7-5300-895A-18EF-0CE5C6F00CE0}"/>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403" name="Straight Connector 1402">
                    <a:extLst>
                      <a:ext uri="{FF2B5EF4-FFF2-40B4-BE49-F238E27FC236}">
                        <a16:creationId xmlns:a16="http://schemas.microsoft.com/office/drawing/2014/main" id="{F9037634-7EEF-2404-8147-D2431F4665AA}"/>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396" name="Group 1395">
                  <a:extLst>
                    <a:ext uri="{FF2B5EF4-FFF2-40B4-BE49-F238E27FC236}">
                      <a16:creationId xmlns:a16="http://schemas.microsoft.com/office/drawing/2014/main" id="{CB87E567-75B9-9556-D93D-621EA025B232}"/>
                    </a:ext>
                  </a:extLst>
                </p:cNvPr>
                <p:cNvGrpSpPr/>
                <p:nvPr/>
              </p:nvGrpSpPr>
              <p:grpSpPr>
                <a:xfrm>
                  <a:off x="10021720" y="1159093"/>
                  <a:ext cx="68895" cy="90004"/>
                  <a:chOff x="1773255" y="1810053"/>
                  <a:chExt cx="84653" cy="84653"/>
                </a:xfrm>
              </p:grpSpPr>
              <p:cxnSp>
                <p:nvCxnSpPr>
                  <p:cNvPr id="1400" name="Straight Connector 1399">
                    <a:extLst>
                      <a:ext uri="{FF2B5EF4-FFF2-40B4-BE49-F238E27FC236}">
                        <a16:creationId xmlns:a16="http://schemas.microsoft.com/office/drawing/2014/main" id="{956E603F-864C-33EB-34F1-31C548CD6ABD}"/>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401" name="Straight Connector 1400">
                    <a:extLst>
                      <a:ext uri="{FF2B5EF4-FFF2-40B4-BE49-F238E27FC236}">
                        <a16:creationId xmlns:a16="http://schemas.microsoft.com/office/drawing/2014/main" id="{7B3DB9B0-2DBB-E593-A11F-C77CDA964488}"/>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397" name="Group 1396">
                  <a:extLst>
                    <a:ext uri="{FF2B5EF4-FFF2-40B4-BE49-F238E27FC236}">
                      <a16:creationId xmlns:a16="http://schemas.microsoft.com/office/drawing/2014/main" id="{42A731C9-AEDF-8514-78AF-4F6C56E371C1}"/>
                    </a:ext>
                  </a:extLst>
                </p:cNvPr>
                <p:cNvGrpSpPr/>
                <p:nvPr/>
              </p:nvGrpSpPr>
              <p:grpSpPr>
                <a:xfrm>
                  <a:off x="10211642" y="1159093"/>
                  <a:ext cx="68895" cy="90004"/>
                  <a:chOff x="1773255" y="1810053"/>
                  <a:chExt cx="84653" cy="84653"/>
                </a:xfrm>
              </p:grpSpPr>
              <p:cxnSp>
                <p:nvCxnSpPr>
                  <p:cNvPr id="1398" name="Straight Connector 1397">
                    <a:extLst>
                      <a:ext uri="{FF2B5EF4-FFF2-40B4-BE49-F238E27FC236}">
                        <a16:creationId xmlns:a16="http://schemas.microsoft.com/office/drawing/2014/main" id="{35ABC537-DA22-2AC0-E5BE-BF0A5DB96AD1}"/>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399" name="Straight Connector 1398">
                    <a:extLst>
                      <a:ext uri="{FF2B5EF4-FFF2-40B4-BE49-F238E27FC236}">
                        <a16:creationId xmlns:a16="http://schemas.microsoft.com/office/drawing/2014/main" id="{8855FF65-29D2-7DC9-F951-FDFEB246EECF}"/>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grpSp>
        <p:grpSp>
          <p:nvGrpSpPr>
            <p:cNvPr id="1165" name="Group 1164">
              <a:extLst>
                <a:ext uri="{FF2B5EF4-FFF2-40B4-BE49-F238E27FC236}">
                  <a16:creationId xmlns:a16="http://schemas.microsoft.com/office/drawing/2014/main" id="{F03DF698-451F-CC8D-05C6-2CF8E0F7B939}"/>
                </a:ext>
              </a:extLst>
            </p:cNvPr>
            <p:cNvGrpSpPr/>
            <p:nvPr/>
          </p:nvGrpSpPr>
          <p:grpSpPr>
            <a:xfrm>
              <a:off x="3541537" y="1786872"/>
              <a:ext cx="3001609" cy="1489292"/>
              <a:chOff x="3110873" y="1525826"/>
              <a:chExt cx="4306628" cy="1453194"/>
            </a:xfrm>
          </p:grpSpPr>
          <p:sp>
            <p:nvSpPr>
              <p:cNvPr id="1261" name="Graphic 1300">
                <a:extLst>
                  <a:ext uri="{FF2B5EF4-FFF2-40B4-BE49-F238E27FC236}">
                    <a16:creationId xmlns:a16="http://schemas.microsoft.com/office/drawing/2014/main" id="{E85AA645-9CDA-368C-5936-B4E93E56F702}"/>
                  </a:ext>
                </a:extLst>
              </p:cNvPr>
              <p:cNvSpPr/>
              <p:nvPr/>
            </p:nvSpPr>
            <p:spPr>
              <a:xfrm>
                <a:off x="3123784" y="1569976"/>
                <a:ext cx="4293717" cy="1392806"/>
              </a:xfrm>
              <a:custGeom>
                <a:avLst/>
                <a:gdLst>
                  <a:gd name="connsiteX0" fmla="*/ 0 w 3810952"/>
                  <a:gd name="connsiteY0" fmla="*/ 0 h 608171"/>
                  <a:gd name="connsiteX1" fmla="*/ 113538 w 3810952"/>
                  <a:gd name="connsiteY1" fmla="*/ 0 h 608171"/>
                  <a:gd name="connsiteX2" fmla="*/ 113538 w 3810952"/>
                  <a:gd name="connsiteY2" fmla="*/ 5906 h 608171"/>
                  <a:gd name="connsiteX3" fmla="*/ 153543 w 3810952"/>
                  <a:gd name="connsiteY3" fmla="*/ 5906 h 608171"/>
                  <a:gd name="connsiteX4" fmla="*/ 153543 w 3810952"/>
                  <a:gd name="connsiteY4" fmla="*/ 12002 h 608171"/>
                  <a:gd name="connsiteX5" fmla="*/ 161925 w 3810952"/>
                  <a:gd name="connsiteY5" fmla="*/ 12002 h 608171"/>
                  <a:gd name="connsiteX6" fmla="*/ 161925 w 3810952"/>
                  <a:gd name="connsiteY6" fmla="*/ 18002 h 608171"/>
                  <a:gd name="connsiteX7" fmla="*/ 172498 w 3810952"/>
                  <a:gd name="connsiteY7" fmla="*/ 18002 h 608171"/>
                  <a:gd name="connsiteX8" fmla="*/ 172498 w 3810952"/>
                  <a:gd name="connsiteY8" fmla="*/ 24003 h 608171"/>
                  <a:gd name="connsiteX9" fmla="*/ 222980 w 3810952"/>
                  <a:gd name="connsiteY9" fmla="*/ 24003 h 608171"/>
                  <a:gd name="connsiteX10" fmla="*/ 222980 w 3810952"/>
                  <a:gd name="connsiteY10" fmla="*/ 30099 h 608171"/>
                  <a:gd name="connsiteX11" fmla="*/ 231362 w 3810952"/>
                  <a:gd name="connsiteY11" fmla="*/ 30099 h 608171"/>
                  <a:gd name="connsiteX12" fmla="*/ 231362 w 3810952"/>
                  <a:gd name="connsiteY12" fmla="*/ 42196 h 608171"/>
                  <a:gd name="connsiteX13" fmla="*/ 237649 w 3810952"/>
                  <a:gd name="connsiteY13" fmla="*/ 42196 h 608171"/>
                  <a:gd name="connsiteX14" fmla="*/ 237649 w 3810952"/>
                  <a:gd name="connsiteY14" fmla="*/ 48292 h 608171"/>
                  <a:gd name="connsiteX15" fmla="*/ 241840 w 3810952"/>
                  <a:gd name="connsiteY15" fmla="*/ 48292 h 608171"/>
                  <a:gd name="connsiteX16" fmla="*/ 241840 w 3810952"/>
                  <a:gd name="connsiteY16" fmla="*/ 54388 h 608171"/>
                  <a:gd name="connsiteX17" fmla="*/ 246031 w 3810952"/>
                  <a:gd name="connsiteY17" fmla="*/ 54388 h 608171"/>
                  <a:gd name="connsiteX18" fmla="*/ 246031 w 3810952"/>
                  <a:gd name="connsiteY18" fmla="*/ 60484 h 608171"/>
                  <a:gd name="connsiteX19" fmla="*/ 248126 w 3810952"/>
                  <a:gd name="connsiteY19" fmla="*/ 60484 h 608171"/>
                  <a:gd name="connsiteX20" fmla="*/ 248126 w 3810952"/>
                  <a:gd name="connsiteY20" fmla="*/ 66485 h 608171"/>
                  <a:gd name="connsiteX21" fmla="*/ 250317 w 3810952"/>
                  <a:gd name="connsiteY21" fmla="*/ 66485 h 608171"/>
                  <a:gd name="connsiteX22" fmla="*/ 250317 w 3810952"/>
                  <a:gd name="connsiteY22" fmla="*/ 72581 h 608171"/>
                  <a:gd name="connsiteX23" fmla="*/ 260794 w 3810952"/>
                  <a:gd name="connsiteY23" fmla="*/ 72581 h 608171"/>
                  <a:gd name="connsiteX24" fmla="*/ 260794 w 3810952"/>
                  <a:gd name="connsiteY24" fmla="*/ 78677 h 608171"/>
                  <a:gd name="connsiteX25" fmla="*/ 267081 w 3810952"/>
                  <a:gd name="connsiteY25" fmla="*/ 78677 h 608171"/>
                  <a:gd name="connsiteX26" fmla="*/ 267081 w 3810952"/>
                  <a:gd name="connsiteY26" fmla="*/ 84677 h 608171"/>
                  <a:gd name="connsiteX27" fmla="*/ 281845 w 3810952"/>
                  <a:gd name="connsiteY27" fmla="*/ 84677 h 608171"/>
                  <a:gd name="connsiteX28" fmla="*/ 281845 w 3810952"/>
                  <a:gd name="connsiteY28" fmla="*/ 90773 h 608171"/>
                  <a:gd name="connsiteX29" fmla="*/ 290227 w 3810952"/>
                  <a:gd name="connsiteY29" fmla="*/ 90773 h 608171"/>
                  <a:gd name="connsiteX30" fmla="*/ 290227 w 3810952"/>
                  <a:gd name="connsiteY30" fmla="*/ 96869 h 608171"/>
                  <a:gd name="connsiteX31" fmla="*/ 300800 w 3810952"/>
                  <a:gd name="connsiteY31" fmla="*/ 96869 h 608171"/>
                  <a:gd name="connsiteX32" fmla="*/ 300800 w 3810952"/>
                  <a:gd name="connsiteY32" fmla="*/ 102870 h 608171"/>
                  <a:gd name="connsiteX33" fmla="*/ 313373 w 3810952"/>
                  <a:gd name="connsiteY33" fmla="*/ 102870 h 608171"/>
                  <a:gd name="connsiteX34" fmla="*/ 313373 w 3810952"/>
                  <a:gd name="connsiteY34" fmla="*/ 108966 h 608171"/>
                  <a:gd name="connsiteX35" fmla="*/ 319659 w 3810952"/>
                  <a:gd name="connsiteY35" fmla="*/ 108966 h 608171"/>
                  <a:gd name="connsiteX36" fmla="*/ 319659 w 3810952"/>
                  <a:gd name="connsiteY36" fmla="*/ 121063 h 608171"/>
                  <a:gd name="connsiteX37" fmla="*/ 323850 w 3810952"/>
                  <a:gd name="connsiteY37" fmla="*/ 121063 h 608171"/>
                  <a:gd name="connsiteX38" fmla="*/ 323850 w 3810952"/>
                  <a:gd name="connsiteY38" fmla="*/ 127159 h 608171"/>
                  <a:gd name="connsiteX39" fmla="*/ 336518 w 3810952"/>
                  <a:gd name="connsiteY39" fmla="*/ 127159 h 608171"/>
                  <a:gd name="connsiteX40" fmla="*/ 336518 w 3810952"/>
                  <a:gd name="connsiteY40" fmla="*/ 133255 h 608171"/>
                  <a:gd name="connsiteX41" fmla="*/ 351187 w 3810952"/>
                  <a:gd name="connsiteY41" fmla="*/ 133255 h 608171"/>
                  <a:gd name="connsiteX42" fmla="*/ 351187 w 3810952"/>
                  <a:gd name="connsiteY42" fmla="*/ 139256 h 608171"/>
                  <a:gd name="connsiteX43" fmla="*/ 355473 w 3810952"/>
                  <a:gd name="connsiteY43" fmla="*/ 139256 h 608171"/>
                  <a:gd name="connsiteX44" fmla="*/ 355473 w 3810952"/>
                  <a:gd name="connsiteY44" fmla="*/ 145352 h 608171"/>
                  <a:gd name="connsiteX45" fmla="*/ 365950 w 3810952"/>
                  <a:gd name="connsiteY45" fmla="*/ 145352 h 608171"/>
                  <a:gd name="connsiteX46" fmla="*/ 365950 w 3810952"/>
                  <a:gd name="connsiteY46" fmla="*/ 151448 h 608171"/>
                  <a:gd name="connsiteX47" fmla="*/ 374333 w 3810952"/>
                  <a:gd name="connsiteY47" fmla="*/ 151448 h 608171"/>
                  <a:gd name="connsiteX48" fmla="*/ 374333 w 3810952"/>
                  <a:gd name="connsiteY48" fmla="*/ 157544 h 608171"/>
                  <a:gd name="connsiteX49" fmla="*/ 389096 w 3810952"/>
                  <a:gd name="connsiteY49" fmla="*/ 157544 h 608171"/>
                  <a:gd name="connsiteX50" fmla="*/ 389096 w 3810952"/>
                  <a:gd name="connsiteY50" fmla="*/ 163544 h 608171"/>
                  <a:gd name="connsiteX51" fmla="*/ 393287 w 3810952"/>
                  <a:gd name="connsiteY51" fmla="*/ 163544 h 608171"/>
                  <a:gd name="connsiteX52" fmla="*/ 393287 w 3810952"/>
                  <a:gd name="connsiteY52" fmla="*/ 169640 h 608171"/>
                  <a:gd name="connsiteX53" fmla="*/ 397478 w 3810952"/>
                  <a:gd name="connsiteY53" fmla="*/ 169640 h 608171"/>
                  <a:gd name="connsiteX54" fmla="*/ 397478 w 3810952"/>
                  <a:gd name="connsiteY54" fmla="*/ 175736 h 608171"/>
                  <a:gd name="connsiteX55" fmla="*/ 410147 w 3810952"/>
                  <a:gd name="connsiteY55" fmla="*/ 175736 h 608171"/>
                  <a:gd name="connsiteX56" fmla="*/ 410147 w 3810952"/>
                  <a:gd name="connsiteY56" fmla="*/ 181737 h 608171"/>
                  <a:gd name="connsiteX57" fmla="*/ 439579 w 3810952"/>
                  <a:gd name="connsiteY57" fmla="*/ 181737 h 608171"/>
                  <a:gd name="connsiteX58" fmla="*/ 439579 w 3810952"/>
                  <a:gd name="connsiteY58" fmla="*/ 187833 h 608171"/>
                  <a:gd name="connsiteX59" fmla="*/ 447961 w 3810952"/>
                  <a:gd name="connsiteY59" fmla="*/ 187833 h 608171"/>
                  <a:gd name="connsiteX60" fmla="*/ 447961 w 3810952"/>
                  <a:gd name="connsiteY60" fmla="*/ 193929 h 608171"/>
                  <a:gd name="connsiteX61" fmla="*/ 450056 w 3810952"/>
                  <a:gd name="connsiteY61" fmla="*/ 193929 h 608171"/>
                  <a:gd name="connsiteX62" fmla="*/ 450056 w 3810952"/>
                  <a:gd name="connsiteY62" fmla="*/ 199930 h 608171"/>
                  <a:gd name="connsiteX63" fmla="*/ 464820 w 3810952"/>
                  <a:gd name="connsiteY63" fmla="*/ 199930 h 608171"/>
                  <a:gd name="connsiteX64" fmla="*/ 464820 w 3810952"/>
                  <a:gd name="connsiteY64" fmla="*/ 212122 h 608171"/>
                  <a:gd name="connsiteX65" fmla="*/ 466916 w 3810952"/>
                  <a:gd name="connsiteY65" fmla="*/ 212122 h 608171"/>
                  <a:gd name="connsiteX66" fmla="*/ 466916 w 3810952"/>
                  <a:gd name="connsiteY66" fmla="*/ 218123 h 608171"/>
                  <a:gd name="connsiteX67" fmla="*/ 473202 w 3810952"/>
                  <a:gd name="connsiteY67" fmla="*/ 218123 h 608171"/>
                  <a:gd name="connsiteX68" fmla="*/ 473202 w 3810952"/>
                  <a:gd name="connsiteY68" fmla="*/ 224219 h 608171"/>
                  <a:gd name="connsiteX69" fmla="*/ 477393 w 3810952"/>
                  <a:gd name="connsiteY69" fmla="*/ 224219 h 608171"/>
                  <a:gd name="connsiteX70" fmla="*/ 477393 w 3810952"/>
                  <a:gd name="connsiteY70" fmla="*/ 230315 h 608171"/>
                  <a:gd name="connsiteX71" fmla="*/ 494252 w 3810952"/>
                  <a:gd name="connsiteY71" fmla="*/ 230315 h 608171"/>
                  <a:gd name="connsiteX72" fmla="*/ 494252 w 3810952"/>
                  <a:gd name="connsiteY72" fmla="*/ 242411 h 608171"/>
                  <a:gd name="connsiteX73" fmla="*/ 498443 w 3810952"/>
                  <a:gd name="connsiteY73" fmla="*/ 242411 h 608171"/>
                  <a:gd name="connsiteX74" fmla="*/ 498443 w 3810952"/>
                  <a:gd name="connsiteY74" fmla="*/ 248507 h 608171"/>
                  <a:gd name="connsiteX75" fmla="*/ 521589 w 3810952"/>
                  <a:gd name="connsiteY75" fmla="*/ 248507 h 608171"/>
                  <a:gd name="connsiteX76" fmla="*/ 521589 w 3810952"/>
                  <a:gd name="connsiteY76" fmla="*/ 254603 h 608171"/>
                  <a:gd name="connsiteX77" fmla="*/ 525780 w 3810952"/>
                  <a:gd name="connsiteY77" fmla="*/ 254603 h 608171"/>
                  <a:gd name="connsiteX78" fmla="*/ 525780 w 3810952"/>
                  <a:gd name="connsiteY78" fmla="*/ 260604 h 608171"/>
                  <a:gd name="connsiteX79" fmla="*/ 532067 w 3810952"/>
                  <a:gd name="connsiteY79" fmla="*/ 260604 h 608171"/>
                  <a:gd name="connsiteX80" fmla="*/ 532067 w 3810952"/>
                  <a:gd name="connsiteY80" fmla="*/ 272796 h 608171"/>
                  <a:gd name="connsiteX81" fmla="*/ 551021 w 3810952"/>
                  <a:gd name="connsiteY81" fmla="*/ 272796 h 608171"/>
                  <a:gd name="connsiteX82" fmla="*/ 551021 w 3810952"/>
                  <a:gd name="connsiteY82" fmla="*/ 278797 h 608171"/>
                  <a:gd name="connsiteX83" fmla="*/ 559403 w 3810952"/>
                  <a:gd name="connsiteY83" fmla="*/ 278797 h 608171"/>
                  <a:gd name="connsiteX84" fmla="*/ 559403 w 3810952"/>
                  <a:gd name="connsiteY84" fmla="*/ 284893 h 608171"/>
                  <a:gd name="connsiteX85" fmla="*/ 572072 w 3810952"/>
                  <a:gd name="connsiteY85" fmla="*/ 284893 h 608171"/>
                  <a:gd name="connsiteX86" fmla="*/ 572072 w 3810952"/>
                  <a:gd name="connsiteY86" fmla="*/ 290989 h 608171"/>
                  <a:gd name="connsiteX87" fmla="*/ 588931 w 3810952"/>
                  <a:gd name="connsiteY87" fmla="*/ 290989 h 608171"/>
                  <a:gd name="connsiteX88" fmla="*/ 588931 w 3810952"/>
                  <a:gd name="connsiteY88" fmla="*/ 296990 h 608171"/>
                  <a:gd name="connsiteX89" fmla="*/ 616268 w 3810952"/>
                  <a:gd name="connsiteY89" fmla="*/ 296990 h 608171"/>
                  <a:gd name="connsiteX90" fmla="*/ 616268 w 3810952"/>
                  <a:gd name="connsiteY90" fmla="*/ 303086 h 608171"/>
                  <a:gd name="connsiteX91" fmla="*/ 618363 w 3810952"/>
                  <a:gd name="connsiteY91" fmla="*/ 303086 h 608171"/>
                  <a:gd name="connsiteX92" fmla="*/ 618363 w 3810952"/>
                  <a:gd name="connsiteY92" fmla="*/ 309182 h 608171"/>
                  <a:gd name="connsiteX93" fmla="*/ 628840 w 3810952"/>
                  <a:gd name="connsiteY93" fmla="*/ 309182 h 608171"/>
                  <a:gd name="connsiteX94" fmla="*/ 628840 w 3810952"/>
                  <a:gd name="connsiteY94" fmla="*/ 315182 h 608171"/>
                  <a:gd name="connsiteX95" fmla="*/ 635127 w 3810952"/>
                  <a:gd name="connsiteY95" fmla="*/ 315182 h 608171"/>
                  <a:gd name="connsiteX96" fmla="*/ 635127 w 3810952"/>
                  <a:gd name="connsiteY96" fmla="*/ 327374 h 608171"/>
                  <a:gd name="connsiteX97" fmla="*/ 643604 w 3810952"/>
                  <a:gd name="connsiteY97" fmla="*/ 327374 h 608171"/>
                  <a:gd name="connsiteX98" fmla="*/ 643604 w 3810952"/>
                  <a:gd name="connsiteY98" fmla="*/ 333375 h 608171"/>
                  <a:gd name="connsiteX99" fmla="*/ 649891 w 3810952"/>
                  <a:gd name="connsiteY99" fmla="*/ 333375 h 608171"/>
                  <a:gd name="connsiteX100" fmla="*/ 649891 w 3810952"/>
                  <a:gd name="connsiteY100" fmla="*/ 345567 h 608171"/>
                  <a:gd name="connsiteX101" fmla="*/ 651986 w 3810952"/>
                  <a:gd name="connsiteY101" fmla="*/ 345567 h 608171"/>
                  <a:gd name="connsiteX102" fmla="*/ 651986 w 3810952"/>
                  <a:gd name="connsiteY102" fmla="*/ 351663 h 608171"/>
                  <a:gd name="connsiteX103" fmla="*/ 664559 w 3810952"/>
                  <a:gd name="connsiteY103" fmla="*/ 351663 h 608171"/>
                  <a:gd name="connsiteX104" fmla="*/ 664559 w 3810952"/>
                  <a:gd name="connsiteY104" fmla="*/ 357664 h 608171"/>
                  <a:gd name="connsiteX105" fmla="*/ 687705 w 3810952"/>
                  <a:gd name="connsiteY105" fmla="*/ 357664 h 608171"/>
                  <a:gd name="connsiteX106" fmla="*/ 687705 w 3810952"/>
                  <a:gd name="connsiteY106" fmla="*/ 363760 h 608171"/>
                  <a:gd name="connsiteX107" fmla="*/ 694087 w 3810952"/>
                  <a:gd name="connsiteY107" fmla="*/ 363760 h 608171"/>
                  <a:gd name="connsiteX108" fmla="*/ 694087 w 3810952"/>
                  <a:gd name="connsiteY108" fmla="*/ 369856 h 608171"/>
                  <a:gd name="connsiteX109" fmla="*/ 702469 w 3810952"/>
                  <a:gd name="connsiteY109" fmla="*/ 369856 h 608171"/>
                  <a:gd name="connsiteX110" fmla="*/ 702469 w 3810952"/>
                  <a:gd name="connsiteY110" fmla="*/ 375857 h 608171"/>
                  <a:gd name="connsiteX111" fmla="*/ 710851 w 3810952"/>
                  <a:gd name="connsiteY111" fmla="*/ 375857 h 608171"/>
                  <a:gd name="connsiteX112" fmla="*/ 710851 w 3810952"/>
                  <a:gd name="connsiteY112" fmla="*/ 381953 h 608171"/>
                  <a:gd name="connsiteX113" fmla="*/ 715042 w 3810952"/>
                  <a:gd name="connsiteY113" fmla="*/ 381953 h 608171"/>
                  <a:gd name="connsiteX114" fmla="*/ 715042 w 3810952"/>
                  <a:gd name="connsiteY114" fmla="*/ 388049 h 608171"/>
                  <a:gd name="connsiteX115" fmla="*/ 788670 w 3810952"/>
                  <a:gd name="connsiteY115" fmla="*/ 388049 h 608171"/>
                  <a:gd name="connsiteX116" fmla="*/ 788670 w 3810952"/>
                  <a:gd name="connsiteY116" fmla="*/ 394049 h 608171"/>
                  <a:gd name="connsiteX117" fmla="*/ 809720 w 3810952"/>
                  <a:gd name="connsiteY117" fmla="*/ 394049 h 608171"/>
                  <a:gd name="connsiteX118" fmla="*/ 809720 w 3810952"/>
                  <a:gd name="connsiteY118" fmla="*/ 400145 h 608171"/>
                  <a:gd name="connsiteX119" fmla="*/ 816007 w 3810952"/>
                  <a:gd name="connsiteY119" fmla="*/ 400145 h 608171"/>
                  <a:gd name="connsiteX120" fmla="*/ 816007 w 3810952"/>
                  <a:gd name="connsiteY120" fmla="*/ 406241 h 608171"/>
                  <a:gd name="connsiteX121" fmla="*/ 858107 w 3810952"/>
                  <a:gd name="connsiteY121" fmla="*/ 406241 h 608171"/>
                  <a:gd name="connsiteX122" fmla="*/ 858107 w 3810952"/>
                  <a:gd name="connsiteY122" fmla="*/ 412242 h 608171"/>
                  <a:gd name="connsiteX123" fmla="*/ 872776 w 3810952"/>
                  <a:gd name="connsiteY123" fmla="*/ 412242 h 608171"/>
                  <a:gd name="connsiteX124" fmla="*/ 872776 w 3810952"/>
                  <a:gd name="connsiteY124" fmla="*/ 418338 h 608171"/>
                  <a:gd name="connsiteX125" fmla="*/ 902303 w 3810952"/>
                  <a:gd name="connsiteY125" fmla="*/ 418338 h 608171"/>
                  <a:gd name="connsiteX126" fmla="*/ 902303 w 3810952"/>
                  <a:gd name="connsiteY126" fmla="*/ 424434 h 608171"/>
                  <a:gd name="connsiteX127" fmla="*/ 904399 w 3810952"/>
                  <a:gd name="connsiteY127" fmla="*/ 424434 h 608171"/>
                  <a:gd name="connsiteX128" fmla="*/ 904399 w 3810952"/>
                  <a:gd name="connsiteY128" fmla="*/ 430435 h 608171"/>
                  <a:gd name="connsiteX129" fmla="*/ 927449 w 3810952"/>
                  <a:gd name="connsiteY129" fmla="*/ 430435 h 608171"/>
                  <a:gd name="connsiteX130" fmla="*/ 927449 w 3810952"/>
                  <a:gd name="connsiteY130" fmla="*/ 436531 h 608171"/>
                  <a:gd name="connsiteX131" fmla="*/ 940118 w 3810952"/>
                  <a:gd name="connsiteY131" fmla="*/ 436531 h 608171"/>
                  <a:gd name="connsiteX132" fmla="*/ 940118 w 3810952"/>
                  <a:gd name="connsiteY132" fmla="*/ 442627 h 608171"/>
                  <a:gd name="connsiteX133" fmla="*/ 975836 w 3810952"/>
                  <a:gd name="connsiteY133" fmla="*/ 442627 h 608171"/>
                  <a:gd name="connsiteX134" fmla="*/ 975836 w 3810952"/>
                  <a:gd name="connsiteY134" fmla="*/ 448723 h 608171"/>
                  <a:gd name="connsiteX135" fmla="*/ 1091565 w 3810952"/>
                  <a:gd name="connsiteY135" fmla="*/ 448723 h 608171"/>
                  <a:gd name="connsiteX136" fmla="*/ 1091565 w 3810952"/>
                  <a:gd name="connsiteY136" fmla="*/ 454724 h 608171"/>
                  <a:gd name="connsiteX137" fmla="*/ 1129379 w 3810952"/>
                  <a:gd name="connsiteY137" fmla="*/ 454724 h 608171"/>
                  <a:gd name="connsiteX138" fmla="*/ 1129379 w 3810952"/>
                  <a:gd name="connsiteY138" fmla="*/ 460915 h 608171"/>
                  <a:gd name="connsiteX139" fmla="*/ 1181957 w 3810952"/>
                  <a:gd name="connsiteY139" fmla="*/ 460915 h 608171"/>
                  <a:gd name="connsiteX140" fmla="*/ 1181957 w 3810952"/>
                  <a:gd name="connsiteY140" fmla="*/ 467011 h 608171"/>
                  <a:gd name="connsiteX141" fmla="*/ 1200912 w 3810952"/>
                  <a:gd name="connsiteY141" fmla="*/ 467011 h 608171"/>
                  <a:gd name="connsiteX142" fmla="*/ 1200912 w 3810952"/>
                  <a:gd name="connsiteY142" fmla="*/ 473107 h 608171"/>
                  <a:gd name="connsiteX143" fmla="*/ 1211390 w 3810952"/>
                  <a:gd name="connsiteY143" fmla="*/ 473107 h 608171"/>
                  <a:gd name="connsiteX144" fmla="*/ 1211390 w 3810952"/>
                  <a:gd name="connsiteY144" fmla="*/ 479298 h 608171"/>
                  <a:gd name="connsiteX145" fmla="*/ 1245108 w 3810952"/>
                  <a:gd name="connsiteY145" fmla="*/ 479298 h 608171"/>
                  <a:gd name="connsiteX146" fmla="*/ 1245108 w 3810952"/>
                  <a:gd name="connsiteY146" fmla="*/ 485394 h 608171"/>
                  <a:gd name="connsiteX147" fmla="*/ 1251395 w 3810952"/>
                  <a:gd name="connsiteY147" fmla="*/ 485394 h 608171"/>
                  <a:gd name="connsiteX148" fmla="*/ 1251395 w 3810952"/>
                  <a:gd name="connsiteY148" fmla="*/ 491490 h 608171"/>
                  <a:gd name="connsiteX149" fmla="*/ 1266063 w 3810952"/>
                  <a:gd name="connsiteY149" fmla="*/ 491490 h 608171"/>
                  <a:gd name="connsiteX150" fmla="*/ 1266063 w 3810952"/>
                  <a:gd name="connsiteY150" fmla="*/ 497586 h 608171"/>
                  <a:gd name="connsiteX151" fmla="*/ 1278731 w 3810952"/>
                  <a:gd name="connsiteY151" fmla="*/ 497586 h 608171"/>
                  <a:gd name="connsiteX152" fmla="*/ 1278731 w 3810952"/>
                  <a:gd name="connsiteY152" fmla="*/ 503777 h 608171"/>
                  <a:gd name="connsiteX153" fmla="*/ 1303973 w 3810952"/>
                  <a:gd name="connsiteY153" fmla="*/ 503777 h 608171"/>
                  <a:gd name="connsiteX154" fmla="*/ 1303973 w 3810952"/>
                  <a:gd name="connsiteY154" fmla="*/ 509873 h 608171"/>
                  <a:gd name="connsiteX155" fmla="*/ 1533239 w 3810952"/>
                  <a:gd name="connsiteY155" fmla="*/ 509873 h 608171"/>
                  <a:gd name="connsiteX156" fmla="*/ 1533239 w 3810952"/>
                  <a:gd name="connsiteY156" fmla="*/ 516065 h 608171"/>
                  <a:gd name="connsiteX157" fmla="*/ 1646777 w 3810952"/>
                  <a:gd name="connsiteY157" fmla="*/ 516065 h 608171"/>
                  <a:gd name="connsiteX158" fmla="*/ 1646777 w 3810952"/>
                  <a:gd name="connsiteY158" fmla="*/ 522256 h 608171"/>
                  <a:gd name="connsiteX159" fmla="*/ 1915954 w 3810952"/>
                  <a:gd name="connsiteY159" fmla="*/ 522256 h 608171"/>
                  <a:gd name="connsiteX160" fmla="*/ 1915954 w 3810952"/>
                  <a:gd name="connsiteY160" fmla="*/ 528542 h 608171"/>
                  <a:gd name="connsiteX161" fmla="*/ 1989582 w 3810952"/>
                  <a:gd name="connsiteY161" fmla="*/ 528542 h 608171"/>
                  <a:gd name="connsiteX162" fmla="*/ 1989582 w 3810952"/>
                  <a:gd name="connsiteY162" fmla="*/ 534829 h 608171"/>
                  <a:gd name="connsiteX163" fmla="*/ 2069497 w 3810952"/>
                  <a:gd name="connsiteY163" fmla="*/ 534829 h 608171"/>
                  <a:gd name="connsiteX164" fmla="*/ 2069497 w 3810952"/>
                  <a:gd name="connsiteY164" fmla="*/ 541115 h 608171"/>
                  <a:gd name="connsiteX165" fmla="*/ 2231422 w 3810952"/>
                  <a:gd name="connsiteY165" fmla="*/ 541115 h 608171"/>
                  <a:gd name="connsiteX166" fmla="*/ 2231422 w 3810952"/>
                  <a:gd name="connsiteY166" fmla="*/ 547592 h 608171"/>
                  <a:gd name="connsiteX167" fmla="*/ 2248281 w 3810952"/>
                  <a:gd name="connsiteY167" fmla="*/ 547592 h 608171"/>
                  <a:gd name="connsiteX168" fmla="*/ 2248281 w 3810952"/>
                  <a:gd name="connsiteY168" fmla="*/ 553974 h 608171"/>
                  <a:gd name="connsiteX169" fmla="*/ 2366105 w 3810952"/>
                  <a:gd name="connsiteY169" fmla="*/ 553974 h 608171"/>
                  <a:gd name="connsiteX170" fmla="*/ 2366105 w 3810952"/>
                  <a:gd name="connsiteY170" fmla="*/ 560451 h 608171"/>
                  <a:gd name="connsiteX171" fmla="*/ 2458593 w 3810952"/>
                  <a:gd name="connsiteY171" fmla="*/ 560451 h 608171"/>
                  <a:gd name="connsiteX172" fmla="*/ 2458593 w 3810952"/>
                  <a:gd name="connsiteY172" fmla="*/ 566833 h 608171"/>
                  <a:gd name="connsiteX173" fmla="*/ 2477548 w 3810952"/>
                  <a:gd name="connsiteY173" fmla="*/ 566833 h 608171"/>
                  <a:gd name="connsiteX174" fmla="*/ 2477548 w 3810952"/>
                  <a:gd name="connsiteY174" fmla="*/ 573310 h 608171"/>
                  <a:gd name="connsiteX175" fmla="*/ 3331369 w 3810952"/>
                  <a:gd name="connsiteY175" fmla="*/ 573310 h 608171"/>
                  <a:gd name="connsiteX176" fmla="*/ 3331369 w 3810952"/>
                  <a:gd name="connsiteY176" fmla="*/ 608171 h 608171"/>
                  <a:gd name="connsiteX177" fmla="*/ 3810953 w 3810952"/>
                  <a:gd name="connsiteY177" fmla="*/ 608171 h 608171"/>
                  <a:gd name="connsiteX0" fmla="*/ 0 w 3331369"/>
                  <a:gd name="connsiteY0" fmla="*/ 0 h 608171"/>
                  <a:gd name="connsiteX1" fmla="*/ 113538 w 3331369"/>
                  <a:gd name="connsiteY1" fmla="*/ 0 h 608171"/>
                  <a:gd name="connsiteX2" fmla="*/ 113538 w 3331369"/>
                  <a:gd name="connsiteY2" fmla="*/ 5906 h 608171"/>
                  <a:gd name="connsiteX3" fmla="*/ 153543 w 3331369"/>
                  <a:gd name="connsiteY3" fmla="*/ 5906 h 608171"/>
                  <a:gd name="connsiteX4" fmla="*/ 153543 w 3331369"/>
                  <a:gd name="connsiteY4" fmla="*/ 12002 h 608171"/>
                  <a:gd name="connsiteX5" fmla="*/ 161925 w 3331369"/>
                  <a:gd name="connsiteY5" fmla="*/ 12002 h 608171"/>
                  <a:gd name="connsiteX6" fmla="*/ 161925 w 3331369"/>
                  <a:gd name="connsiteY6" fmla="*/ 18002 h 608171"/>
                  <a:gd name="connsiteX7" fmla="*/ 172498 w 3331369"/>
                  <a:gd name="connsiteY7" fmla="*/ 18002 h 608171"/>
                  <a:gd name="connsiteX8" fmla="*/ 172498 w 3331369"/>
                  <a:gd name="connsiteY8" fmla="*/ 24003 h 608171"/>
                  <a:gd name="connsiteX9" fmla="*/ 222980 w 3331369"/>
                  <a:gd name="connsiteY9" fmla="*/ 24003 h 608171"/>
                  <a:gd name="connsiteX10" fmla="*/ 222980 w 3331369"/>
                  <a:gd name="connsiteY10" fmla="*/ 30099 h 608171"/>
                  <a:gd name="connsiteX11" fmla="*/ 231362 w 3331369"/>
                  <a:gd name="connsiteY11" fmla="*/ 30099 h 608171"/>
                  <a:gd name="connsiteX12" fmla="*/ 231362 w 3331369"/>
                  <a:gd name="connsiteY12" fmla="*/ 42196 h 608171"/>
                  <a:gd name="connsiteX13" fmla="*/ 237649 w 3331369"/>
                  <a:gd name="connsiteY13" fmla="*/ 42196 h 608171"/>
                  <a:gd name="connsiteX14" fmla="*/ 237649 w 3331369"/>
                  <a:gd name="connsiteY14" fmla="*/ 48292 h 608171"/>
                  <a:gd name="connsiteX15" fmla="*/ 241840 w 3331369"/>
                  <a:gd name="connsiteY15" fmla="*/ 48292 h 608171"/>
                  <a:gd name="connsiteX16" fmla="*/ 241840 w 3331369"/>
                  <a:gd name="connsiteY16" fmla="*/ 54388 h 608171"/>
                  <a:gd name="connsiteX17" fmla="*/ 246031 w 3331369"/>
                  <a:gd name="connsiteY17" fmla="*/ 54388 h 608171"/>
                  <a:gd name="connsiteX18" fmla="*/ 246031 w 3331369"/>
                  <a:gd name="connsiteY18" fmla="*/ 60484 h 608171"/>
                  <a:gd name="connsiteX19" fmla="*/ 248126 w 3331369"/>
                  <a:gd name="connsiteY19" fmla="*/ 60484 h 608171"/>
                  <a:gd name="connsiteX20" fmla="*/ 248126 w 3331369"/>
                  <a:gd name="connsiteY20" fmla="*/ 66485 h 608171"/>
                  <a:gd name="connsiteX21" fmla="*/ 250317 w 3331369"/>
                  <a:gd name="connsiteY21" fmla="*/ 66485 h 608171"/>
                  <a:gd name="connsiteX22" fmla="*/ 250317 w 3331369"/>
                  <a:gd name="connsiteY22" fmla="*/ 72581 h 608171"/>
                  <a:gd name="connsiteX23" fmla="*/ 260794 w 3331369"/>
                  <a:gd name="connsiteY23" fmla="*/ 72581 h 608171"/>
                  <a:gd name="connsiteX24" fmla="*/ 260794 w 3331369"/>
                  <a:gd name="connsiteY24" fmla="*/ 78677 h 608171"/>
                  <a:gd name="connsiteX25" fmla="*/ 267081 w 3331369"/>
                  <a:gd name="connsiteY25" fmla="*/ 78677 h 608171"/>
                  <a:gd name="connsiteX26" fmla="*/ 267081 w 3331369"/>
                  <a:gd name="connsiteY26" fmla="*/ 84677 h 608171"/>
                  <a:gd name="connsiteX27" fmla="*/ 281845 w 3331369"/>
                  <a:gd name="connsiteY27" fmla="*/ 84677 h 608171"/>
                  <a:gd name="connsiteX28" fmla="*/ 281845 w 3331369"/>
                  <a:gd name="connsiteY28" fmla="*/ 90773 h 608171"/>
                  <a:gd name="connsiteX29" fmla="*/ 290227 w 3331369"/>
                  <a:gd name="connsiteY29" fmla="*/ 90773 h 608171"/>
                  <a:gd name="connsiteX30" fmla="*/ 290227 w 3331369"/>
                  <a:gd name="connsiteY30" fmla="*/ 96869 h 608171"/>
                  <a:gd name="connsiteX31" fmla="*/ 300800 w 3331369"/>
                  <a:gd name="connsiteY31" fmla="*/ 96869 h 608171"/>
                  <a:gd name="connsiteX32" fmla="*/ 300800 w 3331369"/>
                  <a:gd name="connsiteY32" fmla="*/ 102870 h 608171"/>
                  <a:gd name="connsiteX33" fmla="*/ 313373 w 3331369"/>
                  <a:gd name="connsiteY33" fmla="*/ 102870 h 608171"/>
                  <a:gd name="connsiteX34" fmla="*/ 313373 w 3331369"/>
                  <a:gd name="connsiteY34" fmla="*/ 108966 h 608171"/>
                  <a:gd name="connsiteX35" fmla="*/ 319659 w 3331369"/>
                  <a:gd name="connsiteY35" fmla="*/ 108966 h 608171"/>
                  <a:gd name="connsiteX36" fmla="*/ 319659 w 3331369"/>
                  <a:gd name="connsiteY36" fmla="*/ 121063 h 608171"/>
                  <a:gd name="connsiteX37" fmla="*/ 323850 w 3331369"/>
                  <a:gd name="connsiteY37" fmla="*/ 121063 h 608171"/>
                  <a:gd name="connsiteX38" fmla="*/ 323850 w 3331369"/>
                  <a:gd name="connsiteY38" fmla="*/ 127159 h 608171"/>
                  <a:gd name="connsiteX39" fmla="*/ 336518 w 3331369"/>
                  <a:gd name="connsiteY39" fmla="*/ 127159 h 608171"/>
                  <a:gd name="connsiteX40" fmla="*/ 336518 w 3331369"/>
                  <a:gd name="connsiteY40" fmla="*/ 133255 h 608171"/>
                  <a:gd name="connsiteX41" fmla="*/ 351187 w 3331369"/>
                  <a:gd name="connsiteY41" fmla="*/ 133255 h 608171"/>
                  <a:gd name="connsiteX42" fmla="*/ 351187 w 3331369"/>
                  <a:gd name="connsiteY42" fmla="*/ 139256 h 608171"/>
                  <a:gd name="connsiteX43" fmla="*/ 355473 w 3331369"/>
                  <a:gd name="connsiteY43" fmla="*/ 139256 h 608171"/>
                  <a:gd name="connsiteX44" fmla="*/ 355473 w 3331369"/>
                  <a:gd name="connsiteY44" fmla="*/ 145352 h 608171"/>
                  <a:gd name="connsiteX45" fmla="*/ 365950 w 3331369"/>
                  <a:gd name="connsiteY45" fmla="*/ 145352 h 608171"/>
                  <a:gd name="connsiteX46" fmla="*/ 365950 w 3331369"/>
                  <a:gd name="connsiteY46" fmla="*/ 151448 h 608171"/>
                  <a:gd name="connsiteX47" fmla="*/ 374333 w 3331369"/>
                  <a:gd name="connsiteY47" fmla="*/ 151448 h 608171"/>
                  <a:gd name="connsiteX48" fmla="*/ 374333 w 3331369"/>
                  <a:gd name="connsiteY48" fmla="*/ 157544 h 608171"/>
                  <a:gd name="connsiteX49" fmla="*/ 389096 w 3331369"/>
                  <a:gd name="connsiteY49" fmla="*/ 157544 h 608171"/>
                  <a:gd name="connsiteX50" fmla="*/ 389096 w 3331369"/>
                  <a:gd name="connsiteY50" fmla="*/ 163544 h 608171"/>
                  <a:gd name="connsiteX51" fmla="*/ 393287 w 3331369"/>
                  <a:gd name="connsiteY51" fmla="*/ 163544 h 608171"/>
                  <a:gd name="connsiteX52" fmla="*/ 393287 w 3331369"/>
                  <a:gd name="connsiteY52" fmla="*/ 169640 h 608171"/>
                  <a:gd name="connsiteX53" fmla="*/ 397478 w 3331369"/>
                  <a:gd name="connsiteY53" fmla="*/ 169640 h 608171"/>
                  <a:gd name="connsiteX54" fmla="*/ 397478 w 3331369"/>
                  <a:gd name="connsiteY54" fmla="*/ 175736 h 608171"/>
                  <a:gd name="connsiteX55" fmla="*/ 410147 w 3331369"/>
                  <a:gd name="connsiteY55" fmla="*/ 175736 h 608171"/>
                  <a:gd name="connsiteX56" fmla="*/ 410147 w 3331369"/>
                  <a:gd name="connsiteY56" fmla="*/ 181737 h 608171"/>
                  <a:gd name="connsiteX57" fmla="*/ 439579 w 3331369"/>
                  <a:gd name="connsiteY57" fmla="*/ 181737 h 608171"/>
                  <a:gd name="connsiteX58" fmla="*/ 439579 w 3331369"/>
                  <a:gd name="connsiteY58" fmla="*/ 187833 h 608171"/>
                  <a:gd name="connsiteX59" fmla="*/ 447961 w 3331369"/>
                  <a:gd name="connsiteY59" fmla="*/ 187833 h 608171"/>
                  <a:gd name="connsiteX60" fmla="*/ 447961 w 3331369"/>
                  <a:gd name="connsiteY60" fmla="*/ 193929 h 608171"/>
                  <a:gd name="connsiteX61" fmla="*/ 450056 w 3331369"/>
                  <a:gd name="connsiteY61" fmla="*/ 193929 h 608171"/>
                  <a:gd name="connsiteX62" fmla="*/ 450056 w 3331369"/>
                  <a:gd name="connsiteY62" fmla="*/ 199930 h 608171"/>
                  <a:gd name="connsiteX63" fmla="*/ 464820 w 3331369"/>
                  <a:gd name="connsiteY63" fmla="*/ 199930 h 608171"/>
                  <a:gd name="connsiteX64" fmla="*/ 464820 w 3331369"/>
                  <a:gd name="connsiteY64" fmla="*/ 212122 h 608171"/>
                  <a:gd name="connsiteX65" fmla="*/ 466916 w 3331369"/>
                  <a:gd name="connsiteY65" fmla="*/ 212122 h 608171"/>
                  <a:gd name="connsiteX66" fmla="*/ 466916 w 3331369"/>
                  <a:gd name="connsiteY66" fmla="*/ 218123 h 608171"/>
                  <a:gd name="connsiteX67" fmla="*/ 473202 w 3331369"/>
                  <a:gd name="connsiteY67" fmla="*/ 218123 h 608171"/>
                  <a:gd name="connsiteX68" fmla="*/ 473202 w 3331369"/>
                  <a:gd name="connsiteY68" fmla="*/ 224219 h 608171"/>
                  <a:gd name="connsiteX69" fmla="*/ 477393 w 3331369"/>
                  <a:gd name="connsiteY69" fmla="*/ 224219 h 608171"/>
                  <a:gd name="connsiteX70" fmla="*/ 477393 w 3331369"/>
                  <a:gd name="connsiteY70" fmla="*/ 230315 h 608171"/>
                  <a:gd name="connsiteX71" fmla="*/ 494252 w 3331369"/>
                  <a:gd name="connsiteY71" fmla="*/ 230315 h 608171"/>
                  <a:gd name="connsiteX72" fmla="*/ 494252 w 3331369"/>
                  <a:gd name="connsiteY72" fmla="*/ 242411 h 608171"/>
                  <a:gd name="connsiteX73" fmla="*/ 498443 w 3331369"/>
                  <a:gd name="connsiteY73" fmla="*/ 242411 h 608171"/>
                  <a:gd name="connsiteX74" fmla="*/ 498443 w 3331369"/>
                  <a:gd name="connsiteY74" fmla="*/ 248507 h 608171"/>
                  <a:gd name="connsiteX75" fmla="*/ 521589 w 3331369"/>
                  <a:gd name="connsiteY75" fmla="*/ 248507 h 608171"/>
                  <a:gd name="connsiteX76" fmla="*/ 521589 w 3331369"/>
                  <a:gd name="connsiteY76" fmla="*/ 254603 h 608171"/>
                  <a:gd name="connsiteX77" fmla="*/ 525780 w 3331369"/>
                  <a:gd name="connsiteY77" fmla="*/ 254603 h 608171"/>
                  <a:gd name="connsiteX78" fmla="*/ 525780 w 3331369"/>
                  <a:gd name="connsiteY78" fmla="*/ 260604 h 608171"/>
                  <a:gd name="connsiteX79" fmla="*/ 532067 w 3331369"/>
                  <a:gd name="connsiteY79" fmla="*/ 260604 h 608171"/>
                  <a:gd name="connsiteX80" fmla="*/ 532067 w 3331369"/>
                  <a:gd name="connsiteY80" fmla="*/ 272796 h 608171"/>
                  <a:gd name="connsiteX81" fmla="*/ 551021 w 3331369"/>
                  <a:gd name="connsiteY81" fmla="*/ 272796 h 608171"/>
                  <a:gd name="connsiteX82" fmla="*/ 551021 w 3331369"/>
                  <a:gd name="connsiteY82" fmla="*/ 278797 h 608171"/>
                  <a:gd name="connsiteX83" fmla="*/ 559403 w 3331369"/>
                  <a:gd name="connsiteY83" fmla="*/ 278797 h 608171"/>
                  <a:gd name="connsiteX84" fmla="*/ 559403 w 3331369"/>
                  <a:gd name="connsiteY84" fmla="*/ 284893 h 608171"/>
                  <a:gd name="connsiteX85" fmla="*/ 572072 w 3331369"/>
                  <a:gd name="connsiteY85" fmla="*/ 284893 h 608171"/>
                  <a:gd name="connsiteX86" fmla="*/ 572072 w 3331369"/>
                  <a:gd name="connsiteY86" fmla="*/ 290989 h 608171"/>
                  <a:gd name="connsiteX87" fmla="*/ 588931 w 3331369"/>
                  <a:gd name="connsiteY87" fmla="*/ 290989 h 608171"/>
                  <a:gd name="connsiteX88" fmla="*/ 588931 w 3331369"/>
                  <a:gd name="connsiteY88" fmla="*/ 296990 h 608171"/>
                  <a:gd name="connsiteX89" fmla="*/ 616268 w 3331369"/>
                  <a:gd name="connsiteY89" fmla="*/ 296990 h 608171"/>
                  <a:gd name="connsiteX90" fmla="*/ 616268 w 3331369"/>
                  <a:gd name="connsiteY90" fmla="*/ 303086 h 608171"/>
                  <a:gd name="connsiteX91" fmla="*/ 618363 w 3331369"/>
                  <a:gd name="connsiteY91" fmla="*/ 303086 h 608171"/>
                  <a:gd name="connsiteX92" fmla="*/ 618363 w 3331369"/>
                  <a:gd name="connsiteY92" fmla="*/ 309182 h 608171"/>
                  <a:gd name="connsiteX93" fmla="*/ 628840 w 3331369"/>
                  <a:gd name="connsiteY93" fmla="*/ 309182 h 608171"/>
                  <a:gd name="connsiteX94" fmla="*/ 628840 w 3331369"/>
                  <a:gd name="connsiteY94" fmla="*/ 315182 h 608171"/>
                  <a:gd name="connsiteX95" fmla="*/ 635127 w 3331369"/>
                  <a:gd name="connsiteY95" fmla="*/ 315182 h 608171"/>
                  <a:gd name="connsiteX96" fmla="*/ 635127 w 3331369"/>
                  <a:gd name="connsiteY96" fmla="*/ 327374 h 608171"/>
                  <a:gd name="connsiteX97" fmla="*/ 643604 w 3331369"/>
                  <a:gd name="connsiteY97" fmla="*/ 327374 h 608171"/>
                  <a:gd name="connsiteX98" fmla="*/ 643604 w 3331369"/>
                  <a:gd name="connsiteY98" fmla="*/ 333375 h 608171"/>
                  <a:gd name="connsiteX99" fmla="*/ 649891 w 3331369"/>
                  <a:gd name="connsiteY99" fmla="*/ 333375 h 608171"/>
                  <a:gd name="connsiteX100" fmla="*/ 649891 w 3331369"/>
                  <a:gd name="connsiteY100" fmla="*/ 345567 h 608171"/>
                  <a:gd name="connsiteX101" fmla="*/ 651986 w 3331369"/>
                  <a:gd name="connsiteY101" fmla="*/ 345567 h 608171"/>
                  <a:gd name="connsiteX102" fmla="*/ 651986 w 3331369"/>
                  <a:gd name="connsiteY102" fmla="*/ 351663 h 608171"/>
                  <a:gd name="connsiteX103" fmla="*/ 664559 w 3331369"/>
                  <a:gd name="connsiteY103" fmla="*/ 351663 h 608171"/>
                  <a:gd name="connsiteX104" fmla="*/ 664559 w 3331369"/>
                  <a:gd name="connsiteY104" fmla="*/ 357664 h 608171"/>
                  <a:gd name="connsiteX105" fmla="*/ 687705 w 3331369"/>
                  <a:gd name="connsiteY105" fmla="*/ 357664 h 608171"/>
                  <a:gd name="connsiteX106" fmla="*/ 687705 w 3331369"/>
                  <a:gd name="connsiteY106" fmla="*/ 363760 h 608171"/>
                  <a:gd name="connsiteX107" fmla="*/ 694087 w 3331369"/>
                  <a:gd name="connsiteY107" fmla="*/ 363760 h 608171"/>
                  <a:gd name="connsiteX108" fmla="*/ 694087 w 3331369"/>
                  <a:gd name="connsiteY108" fmla="*/ 369856 h 608171"/>
                  <a:gd name="connsiteX109" fmla="*/ 702469 w 3331369"/>
                  <a:gd name="connsiteY109" fmla="*/ 369856 h 608171"/>
                  <a:gd name="connsiteX110" fmla="*/ 702469 w 3331369"/>
                  <a:gd name="connsiteY110" fmla="*/ 375857 h 608171"/>
                  <a:gd name="connsiteX111" fmla="*/ 710851 w 3331369"/>
                  <a:gd name="connsiteY111" fmla="*/ 375857 h 608171"/>
                  <a:gd name="connsiteX112" fmla="*/ 710851 w 3331369"/>
                  <a:gd name="connsiteY112" fmla="*/ 381953 h 608171"/>
                  <a:gd name="connsiteX113" fmla="*/ 715042 w 3331369"/>
                  <a:gd name="connsiteY113" fmla="*/ 381953 h 608171"/>
                  <a:gd name="connsiteX114" fmla="*/ 715042 w 3331369"/>
                  <a:gd name="connsiteY114" fmla="*/ 388049 h 608171"/>
                  <a:gd name="connsiteX115" fmla="*/ 788670 w 3331369"/>
                  <a:gd name="connsiteY115" fmla="*/ 388049 h 608171"/>
                  <a:gd name="connsiteX116" fmla="*/ 788670 w 3331369"/>
                  <a:gd name="connsiteY116" fmla="*/ 394049 h 608171"/>
                  <a:gd name="connsiteX117" fmla="*/ 809720 w 3331369"/>
                  <a:gd name="connsiteY117" fmla="*/ 394049 h 608171"/>
                  <a:gd name="connsiteX118" fmla="*/ 809720 w 3331369"/>
                  <a:gd name="connsiteY118" fmla="*/ 400145 h 608171"/>
                  <a:gd name="connsiteX119" fmla="*/ 816007 w 3331369"/>
                  <a:gd name="connsiteY119" fmla="*/ 400145 h 608171"/>
                  <a:gd name="connsiteX120" fmla="*/ 816007 w 3331369"/>
                  <a:gd name="connsiteY120" fmla="*/ 406241 h 608171"/>
                  <a:gd name="connsiteX121" fmla="*/ 858107 w 3331369"/>
                  <a:gd name="connsiteY121" fmla="*/ 406241 h 608171"/>
                  <a:gd name="connsiteX122" fmla="*/ 858107 w 3331369"/>
                  <a:gd name="connsiteY122" fmla="*/ 412242 h 608171"/>
                  <a:gd name="connsiteX123" fmla="*/ 872776 w 3331369"/>
                  <a:gd name="connsiteY123" fmla="*/ 412242 h 608171"/>
                  <a:gd name="connsiteX124" fmla="*/ 872776 w 3331369"/>
                  <a:gd name="connsiteY124" fmla="*/ 418338 h 608171"/>
                  <a:gd name="connsiteX125" fmla="*/ 902303 w 3331369"/>
                  <a:gd name="connsiteY125" fmla="*/ 418338 h 608171"/>
                  <a:gd name="connsiteX126" fmla="*/ 902303 w 3331369"/>
                  <a:gd name="connsiteY126" fmla="*/ 424434 h 608171"/>
                  <a:gd name="connsiteX127" fmla="*/ 904399 w 3331369"/>
                  <a:gd name="connsiteY127" fmla="*/ 424434 h 608171"/>
                  <a:gd name="connsiteX128" fmla="*/ 904399 w 3331369"/>
                  <a:gd name="connsiteY128" fmla="*/ 430435 h 608171"/>
                  <a:gd name="connsiteX129" fmla="*/ 927449 w 3331369"/>
                  <a:gd name="connsiteY129" fmla="*/ 430435 h 608171"/>
                  <a:gd name="connsiteX130" fmla="*/ 927449 w 3331369"/>
                  <a:gd name="connsiteY130" fmla="*/ 436531 h 608171"/>
                  <a:gd name="connsiteX131" fmla="*/ 940118 w 3331369"/>
                  <a:gd name="connsiteY131" fmla="*/ 436531 h 608171"/>
                  <a:gd name="connsiteX132" fmla="*/ 940118 w 3331369"/>
                  <a:gd name="connsiteY132" fmla="*/ 442627 h 608171"/>
                  <a:gd name="connsiteX133" fmla="*/ 975836 w 3331369"/>
                  <a:gd name="connsiteY133" fmla="*/ 442627 h 608171"/>
                  <a:gd name="connsiteX134" fmla="*/ 975836 w 3331369"/>
                  <a:gd name="connsiteY134" fmla="*/ 448723 h 608171"/>
                  <a:gd name="connsiteX135" fmla="*/ 1091565 w 3331369"/>
                  <a:gd name="connsiteY135" fmla="*/ 448723 h 608171"/>
                  <a:gd name="connsiteX136" fmla="*/ 1091565 w 3331369"/>
                  <a:gd name="connsiteY136" fmla="*/ 454724 h 608171"/>
                  <a:gd name="connsiteX137" fmla="*/ 1129379 w 3331369"/>
                  <a:gd name="connsiteY137" fmla="*/ 454724 h 608171"/>
                  <a:gd name="connsiteX138" fmla="*/ 1129379 w 3331369"/>
                  <a:gd name="connsiteY138" fmla="*/ 460915 h 608171"/>
                  <a:gd name="connsiteX139" fmla="*/ 1181957 w 3331369"/>
                  <a:gd name="connsiteY139" fmla="*/ 460915 h 608171"/>
                  <a:gd name="connsiteX140" fmla="*/ 1181957 w 3331369"/>
                  <a:gd name="connsiteY140" fmla="*/ 467011 h 608171"/>
                  <a:gd name="connsiteX141" fmla="*/ 1200912 w 3331369"/>
                  <a:gd name="connsiteY141" fmla="*/ 467011 h 608171"/>
                  <a:gd name="connsiteX142" fmla="*/ 1200912 w 3331369"/>
                  <a:gd name="connsiteY142" fmla="*/ 473107 h 608171"/>
                  <a:gd name="connsiteX143" fmla="*/ 1211390 w 3331369"/>
                  <a:gd name="connsiteY143" fmla="*/ 473107 h 608171"/>
                  <a:gd name="connsiteX144" fmla="*/ 1211390 w 3331369"/>
                  <a:gd name="connsiteY144" fmla="*/ 479298 h 608171"/>
                  <a:gd name="connsiteX145" fmla="*/ 1245108 w 3331369"/>
                  <a:gd name="connsiteY145" fmla="*/ 479298 h 608171"/>
                  <a:gd name="connsiteX146" fmla="*/ 1245108 w 3331369"/>
                  <a:gd name="connsiteY146" fmla="*/ 485394 h 608171"/>
                  <a:gd name="connsiteX147" fmla="*/ 1251395 w 3331369"/>
                  <a:gd name="connsiteY147" fmla="*/ 485394 h 608171"/>
                  <a:gd name="connsiteX148" fmla="*/ 1251395 w 3331369"/>
                  <a:gd name="connsiteY148" fmla="*/ 491490 h 608171"/>
                  <a:gd name="connsiteX149" fmla="*/ 1266063 w 3331369"/>
                  <a:gd name="connsiteY149" fmla="*/ 491490 h 608171"/>
                  <a:gd name="connsiteX150" fmla="*/ 1266063 w 3331369"/>
                  <a:gd name="connsiteY150" fmla="*/ 497586 h 608171"/>
                  <a:gd name="connsiteX151" fmla="*/ 1278731 w 3331369"/>
                  <a:gd name="connsiteY151" fmla="*/ 497586 h 608171"/>
                  <a:gd name="connsiteX152" fmla="*/ 1278731 w 3331369"/>
                  <a:gd name="connsiteY152" fmla="*/ 503777 h 608171"/>
                  <a:gd name="connsiteX153" fmla="*/ 1303973 w 3331369"/>
                  <a:gd name="connsiteY153" fmla="*/ 503777 h 608171"/>
                  <a:gd name="connsiteX154" fmla="*/ 1303973 w 3331369"/>
                  <a:gd name="connsiteY154" fmla="*/ 509873 h 608171"/>
                  <a:gd name="connsiteX155" fmla="*/ 1533239 w 3331369"/>
                  <a:gd name="connsiteY155" fmla="*/ 509873 h 608171"/>
                  <a:gd name="connsiteX156" fmla="*/ 1533239 w 3331369"/>
                  <a:gd name="connsiteY156" fmla="*/ 516065 h 608171"/>
                  <a:gd name="connsiteX157" fmla="*/ 1646777 w 3331369"/>
                  <a:gd name="connsiteY157" fmla="*/ 516065 h 608171"/>
                  <a:gd name="connsiteX158" fmla="*/ 1646777 w 3331369"/>
                  <a:gd name="connsiteY158" fmla="*/ 522256 h 608171"/>
                  <a:gd name="connsiteX159" fmla="*/ 1915954 w 3331369"/>
                  <a:gd name="connsiteY159" fmla="*/ 522256 h 608171"/>
                  <a:gd name="connsiteX160" fmla="*/ 1915954 w 3331369"/>
                  <a:gd name="connsiteY160" fmla="*/ 528542 h 608171"/>
                  <a:gd name="connsiteX161" fmla="*/ 1989582 w 3331369"/>
                  <a:gd name="connsiteY161" fmla="*/ 528542 h 608171"/>
                  <a:gd name="connsiteX162" fmla="*/ 1989582 w 3331369"/>
                  <a:gd name="connsiteY162" fmla="*/ 534829 h 608171"/>
                  <a:gd name="connsiteX163" fmla="*/ 2069497 w 3331369"/>
                  <a:gd name="connsiteY163" fmla="*/ 534829 h 608171"/>
                  <a:gd name="connsiteX164" fmla="*/ 2069497 w 3331369"/>
                  <a:gd name="connsiteY164" fmla="*/ 541115 h 608171"/>
                  <a:gd name="connsiteX165" fmla="*/ 2231422 w 3331369"/>
                  <a:gd name="connsiteY165" fmla="*/ 541115 h 608171"/>
                  <a:gd name="connsiteX166" fmla="*/ 2231422 w 3331369"/>
                  <a:gd name="connsiteY166" fmla="*/ 547592 h 608171"/>
                  <a:gd name="connsiteX167" fmla="*/ 2248281 w 3331369"/>
                  <a:gd name="connsiteY167" fmla="*/ 547592 h 608171"/>
                  <a:gd name="connsiteX168" fmla="*/ 2248281 w 3331369"/>
                  <a:gd name="connsiteY168" fmla="*/ 553974 h 608171"/>
                  <a:gd name="connsiteX169" fmla="*/ 2366105 w 3331369"/>
                  <a:gd name="connsiteY169" fmla="*/ 553974 h 608171"/>
                  <a:gd name="connsiteX170" fmla="*/ 2366105 w 3331369"/>
                  <a:gd name="connsiteY170" fmla="*/ 560451 h 608171"/>
                  <a:gd name="connsiteX171" fmla="*/ 2458593 w 3331369"/>
                  <a:gd name="connsiteY171" fmla="*/ 560451 h 608171"/>
                  <a:gd name="connsiteX172" fmla="*/ 2458593 w 3331369"/>
                  <a:gd name="connsiteY172" fmla="*/ 566833 h 608171"/>
                  <a:gd name="connsiteX173" fmla="*/ 2477548 w 3331369"/>
                  <a:gd name="connsiteY173" fmla="*/ 566833 h 608171"/>
                  <a:gd name="connsiteX174" fmla="*/ 2477548 w 3331369"/>
                  <a:gd name="connsiteY174" fmla="*/ 573310 h 608171"/>
                  <a:gd name="connsiteX175" fmla="*/ 3331369 w 3331369"/>
                  <a:gd name="connsiteY175" fmla="*/ 573310 h 608171"/>
                  <a:gd name="connsiteX176" fmla="*/ 3331369 w 3331369"/>
                  <a:gd name="connsiteY176" fmla="*/ 608171 h 608171"/>
                  <a:gd name="connsiteX0" fmla="*/ 0 w 3331369"/>
                  <a:gd name="connsiteY0" fmla="*/ 0 h 573310"/>
                  <a:gd name="connsiteX1" fmla="*/ 113538 w 3331369"/>
                  <a:gd name="connsiteY1" fmla="*/ 0 h 573310"/>
                  <a:gd name="connsiteX2" fmla="*/ 113538 w 3331369"/>
                  <a:gd name="connsiteY2" fmla="*/ 5906 h 573310"/>
                  <a:gd name="connsiteX3" fmla="*/ 153543 w 3331369"/>
                  <a:gd name="connsiteY3" fmla="*/ 5906 h 573310"/>
                  <a:gd name="connsiteX4" fmla="*/ 153543 w 3331369"/>
                  <a:gd name="connsiteY4" fmla="*/ 12002 h 573310"/>
                  <a:gd name="connsiteX5" fmla="*/ 161925 w 3331369"/>
                  <a:gd name="connsiteY5" fmla="*/ 12002 h 573310"/>
                  <a:gd name="connsiteX6" fmla="*/ 161925 w 3331369"/>
                  <a:gd name="connsiteY6" fmla="*/ 18002 h 573310"/>
                  <a:gd name="connsiteX7" fmla="*/ 172498 w 3331369"/>
                  <a:gd name="connsiteY7" fmla="*/ 18002 h 573310"/>
                  <a:gd name="connsiteX8" fmla="*/ 172498 w 3331369"/>
                  <a:gd name="connsiteY8" fmla="*/ 24003 h 573310"/>
                  <a:gd name="connsiteX9" fmla="*/ 222980 w 3331369"/>
                  <a:gd name="connsiteY9" fmla="*/ 24003 h 573310"/>
                  <a:gd name="connsiteX10" fmla="*/ 222980 w 3331369"/>
                  <a:gd name="connsiteY10" fmla="*/ 30099 h 573310"/>
                  <a:gd name="connsiteX11" fmla="*/ 231362 w 3331369"/>
                  <a:gd name="connsiteY11" fmla="*/ 30099 h 573310"/>
                  <a:gd name="connsiteX12" fmla="*/ 231362 w 3331369"/>
                  <a:gd name="connsiteY12" fmla="*/ 42196 h 573310"/>
                  <a:gd name="connsiteX13" fmla="*/ 237649 w 3331369"/>
                  <a:gd name="connsiteY13" fmla="*/ 42196 h 573310"/>
                  <a:gd name="connsiteX14" fmla="*/ 237649 w 3331369"/>
                  <a:gd name="connsiteY14" fmla="*/ 48292 h 573310"/>
                  <a:gd name="connsiteX15" fmla="*/ 241840 w 3331369"/>
                  <a:gd name="connsiteY15" fmla="*/ 48292 h 573310"/>
                  <a:gd name="connsiteX16" fmla="*/ 241840 w 3331369"/>
                  <a:gd name="connsiteY16" fmla="*/ 54388 h 573310"/>
                  <a:gd name="connsiteX17" fmla="*/ 246031 w 3331369"/>
                  <a:gd name="connsiteY17" fmla="*/ 54388 h 573310"/>
                  <a:gd name="connsiteX18" fmla="*/ 246031 w 3331369"/>
                  <a:gd name="connsiteY18" fmla="*/ 60484 h 573310"/>
                  <a:gd name="connsiteX19" fmla="*/ 248126 w 3331369"/>
                  <a:gd name="connsiteY19" fmla="*/ 60484 h 573310"/>
                  <a:gd name="connsiteX20" fmla="*/ 248126 w 3331369"/>
                  <a:gd name="connsiteY20" fmla="*/ 66485 h 573310"/>
                  <a:gd name="connsiteX21" fmla="*/ 250317 w 3331369"/>
                  <a:gd name="connsiteY21" fmla="*/ 66485 h 573310"/>
                  <a:gd name="connsiteX22" fmla="*/ 250317 w 3331369"/>
                  <a:gd name="connsiteY22" fmla="*/ 72581 h 573310"/>
                  <a:gd name="connsiteX23" fmla="*/ 260794 w 3331369"/>
                  <a:gd name="connsiteY23" fmla="*/ 72581 h 573310"/>
                  <a:gd name="connsiteX24" fmla="*/ 260794 w 3331369"/>
                  <a:gd name="connsiteY24" fmla="*/ 78677 h 573310"/>
                  <a:gd name="connsiteX25" fmla="*/ 267081 w 3331369"/>
                  <a:gd name="connsiteY25" fmla="*/ 78677 h 573310"/>
                  <a:gd name="connsiteX26" fmla="*/ 267081 w 3331369"/>
                  <a:gd name="connsiteY26" fmla="*/ 84677 h 573310"/>
                  <a:gd name="connsiteX27" fmla="*/ 281845 w 3331369"/>
                  <a:gd name="connsiteY27" fmla="*/ 84677 h 573310"/>
                  <a:gd name="connsiteX28" fmla="*/ 281845 w 3331369"/>
                  <a:gd name="connsiteY28" fmla="*/ 90773 h 573310"/>
                  <a:gd name="connsiteX29" fmla="*/ 290227 w 3331369"/>
                  <a:gd name="connsiteY29" fmla="*/ 90773 h 573310"/>
                  <a:gd name="connsiteX30" fmla="*/ 290227 w 3331369"/>
                  <a:gd name="connsiteY30" fmla="*/ 96869 h 573310"/>
                  <a:gd name="connsiteX31" fmla="*/ 300800 w 3331369"/>
                  <a:gd name="connsiteY31" fmla="*/ 96869 h 573310"/>
                  <a:gd name="connsiteX32" fmla="*/ 300800 w 3331369"/>
                  <a:gd name="connsiteY32" fmla="*/ 102870 h 573310"/>
                  <a:gd name="connsiteX33" fmla="*/ 313373 w 3331369"/>
                  <a:gd name="connsiteY33" fmla="*/ 102870 h 573310"/>
                  <a:gd name="connsiteX34" fmla="*/ 313373 w 3331369"/>
                  <a:gd name="connsiteY34" fmla="*/ 108966 h 573310"/>
                  <a:gd name="connsiteX35" fmla="*/ 319659 w 3331369"/>
                  <a:gd name="connsiteY35" fmla="*/ 108966 h 573310"/>
                  <a:gd name="connsiteX36" fmla="*/ 319659 w 3331369"/>
                  <a:gd name="connsiteY36" fmla="*/ 121063 h 573310"/>
                  <a:gd name="connsiteX37" fmla="*/ 323850 w 3331369"/>
                  <a:gd name="connsiteY37" fmla="*/ 121063 h 573310"/>
                  <a:gd name="connsiteX38" fmla="*/ 323850 w 3331369"/>
                  <a:gd name="connsiteY38" fmla="*/ 127159 h 573310"/>
                  <a:gd name="connsiteX39" fmla="*/ 336518 w 3331369"/>
                  <a:gd name="connsiteY39" fmla="*/ 127159 h 573310"/>
                  <a:gd name="connsiteX40" fmla="*/ 336518 w 3331369"/>
                  <a:gd name="connsiteY40" fmla="*/ 133255 h 573310"/>
                  <a:gd name="connsiteX41" fmla="*/ 351187 w 3331369"/>
                  <a:gd name="connsiteY41" fmla="*/ 133255 h 573310"/>
                  <a:gd name="connsiteX42" fmla="*/ 351187 w 3331369"/>
                  <a:gd name="connsiteY42" fmla="*/ 139256 h 573310"/>
                  <a:gd name="connsiteX43" fmla="*/ 355473 w 3331369"/>
                  <a:gd name="connsiteY43" fmla="*/ 139256 h 573310"/>
                  <a:gd name="connsiteX44" fmla="*/ 355473 w 3331369"/>
                  <a:gd name="connsiteY44" fmla="*/ 145352 h 573310"/>
                  <a:gd name="connsiteX45" fmla="*/ 365950 w 3331369"/>
                  <a:gd name="connsiteY45" fmla="*/ 145352 h 573310"/>
                  <a:gd name="connsiteX46" fmla="*/ 365950 w 3331369"/>
                  <a:gd name="connsiteY46" fmla="*/ 151448 h 573310"/>
                  <a:gd name="connsiteX47" fmla="*/ 374333 w 3331369"/>
                  <a:gd name="connsiteY47" fmla="*/ 151448 h 573310"/>
                  <a:gd name="connsiteX48" fmla="*/ 374333 w 3331369"/>
                  <a:gd name="connsiteY48" fmla="*/ 157544 h 573310"/>
                  <a:gd name="connsiteX49" fmla="*/ 389096 w 3331369"/>
                  <a:gd name="connsiteY49" fmla="*/ 157544 h 573310"/>
                  <a:gd name="connsiteX50" fmla="*/ 389096 w 3331369"/>
                  <a:gd name="connsiteY50" fmla="*/ 163544 h 573310"/>
                  <a:gd name="connsiteX51" fmla="*/ 393287 w 3331369"/>
                  <a:gd name="connsiteY51" fmla="*/ 163544 h 573310"/>
                  <a:gd name="connsiteX52" fmla="*/ 393287 w 3331369"/>
                  <a:gd name="connsiteY52" fmla="*/ 169640 h 573310"/>
                  <a:gd name="connsiteX53" fmla="*/ 397478 w 3331369"/>
                  <a:gd name="connsiteY53" fmla="*/ 169640 h 573310"/>
                  <a:gd name="connsiteX54" fmla="*/ 397478 w 3331369"/>
                  <a:gd name="connsiteY54" fmla="*/ 175736 h 573310"/>
                  <a:gd name="connsiteX55" fmla="*/ 410147 w 3331369"/>
                  <a:gd name="connsiteY55" fmla="*/ 175736 h 573310"/>
                  <a:gd name="connsiteX56" fmla="*/ 410147 w 3331369"/>
                  <a:gd name="connsiteY56" fmla="*/ 181737 h 573310"/>
                  <a:gd name="connsiteX57" fmla="*/ 439579 w 3331369"/>
                  <a:gd name="connsiteY57" fmla="*/ 181737 h 573310"/>
                  <a:gd name="connsiteX58" fmla="*/ 439579 w 3331369"/>
                  <a:gd name="connsiteY58" fmla="*/ 187833 h 573310"/>
                  <a:gd name="connsiteX59" fmla="*/ 447961 w 3331369"/>
                  <a:gd name="connsiteY59" fmla="*/ 187833 h 573310"/>
                  <a:gd name="connsiteX60" fmla="*/ 447961 w 3331369"/>
                  <a:gd name="connsiteY60" fmla="*/ 193929 h 573310"/>
                  <a:gd name="connsiteX61" fmla="*/ 450056 w 3331369"/>
                  <a:gd name="connsiteY61" fmla="*/ 193929 h 573310"/>
                  <a:gd name="connsiteX62" fmla="*/ 450056 w 3331369"/>
                  <a:gd name="connsiteY62" fmla="*/ 199930 h 573310"/>
                  <a:gd name="connsiteX63" fmla="*/ 464820 w 3331369"/>
                  <a:gd name="connsiteY63" fmla="*/ 199930 h 573310"/>
                  <a:gd name="connsiteX64" fmla="*/ 464820 w 3331369"/>
                  <a:gd name="connsiteY64" fmla="*/ 212122 h 573310"/>
                  <a:gd name="connsiteX65" fmla="*/ 466916 w 3331369"/>
                  <a:gd name="connsiteY65" fmla="*/ 212122 h 573310"/>
                  <a:gd name="connsiteX66" fmla="*/ 466916 w 3331369"/>
                  <a:gd name="connsiteY66" fmla="*/ 218123 h 573310"/>
                  <a:gd name="connsiteX67" fmla="*/ 473202 w 3331369"/>
                  <a:gd name="connsiteY67" fmla="*/ 218123 h 573310"/>
                  <a:gd name="connsiteX68" fmla="*/ 473202 w 3331369"/>
                  <a:gd name="connsiteY68" fmla="*/ 224219 h 573310"/>
                  <a:gd name="connsiteX69" fmla="*/ 477393 w 3331369"/>
                  <a:gd name="connsiteY69" fmla="*/ 224219 h 573310"/>
                  <a:gd name="connsiteX70" fmla="*/ 477393 w 3331369"/>
                  <a:gd name="connsiteY70" fmla="*/ 230315 h 573310"/>
                  <a:gd name="connsiteX71" fmla="*/ 494252 w 3331369"/>
                  <a:gd name="connsiteY71" fmla="*/ 230315 h 573310"/>
                  <a:gd name="connsiteX72" fmla="*/ 494252 w 3331369"/>
                  <a:gd name="connsiteY72" fmla="*/ 242411 h 573310"/>
                  <a:gd name="connsiteX73" fmla="*/ 498443 w 3331369"/>
                  <a:gd name="connsiteY73" fmla="*/ 242411 h 573310"/>
                  <a:gd name="connsiteX74" fmla="*/ 498443 w 3331369"/>
                  <a:gd name="connsiteY74" fmla="*/ 248507 h 573310"/>
                  <a:gd name="connsiteX75" fmla="*/ 521589 w 3331369"/>
                  <a:gd name="connsiteY75" fmla="*/ 248507 h 573310"/>
                  <a:gd name="connsiteX76" fmla="*/ 521589 w 3331369"/>
                  <a:gd name="connsiteY76" fmla="*/ 254603 h 573310"/>
                  <a:gd name="connsiteX77" fmla="*/ 525780 w 3331369"/>
                  <a:gd name="connsiteY77" fmla="*/ 254603 h 573310"/>
                  <a:gd name="connsiteX78" fmla="*/ 525780 w 3331369"/>
                  <a:gd name="connsiteY78" fmla="*/ 260604 h 573310"/>
                  <a:gd name="connsiteX79" fmla="*/ 532067 w 3331369"/>
                  <a:gd name="connsiteY79" fmla="*/ 260604 h 573310"/>
                  <a:gd name="connsiteX80" fmla="*/ 532067 w 3331369"/>
                  <a:gd name="connsiteY80" fmla="*/ 272796 h 573310"/>
                  <a:gd name="connsiteX81" fmla="*/ 551021 w 3331369"/>
                  <a:gd name="connsiteY81" fmla="*/ 272796 h 573310"/>
                  <a:gd name="connsiteX82" fmla="*/ 551021 w 3331369"/>
                  <a:gd name="connsiteY82" fmla="*/ 278797 h 573310"/>
                  <a:gd name="connsiteX83" fmla="*/ 559403 w 3331369"/>
                  <a:gd name="connsiteY83" fmla="*/ 278797 h 573310"/>
                  <a:gd name="connsiteX84" fmla="*/ 559403 w 3331369"/>
                  <a:gd name="connsiteY84" fmla="*/ 284893 h 573310"/>
                  <a:gd name="connsiteX85" fmla="*/ 572072 w 3331369"/>
                  <a:gd name="connsiteY85" fmla="*/ 284893 h 573310"/>
                  <a:gd name="connsiteX86" fmla="*/ 572072 w 3331369"/>
                  <a:gd name="connsiteY86" fmla="*/ 290989 h 573310"/>
                  <a:gd name="connsiteX87" fmla="*/ 588931 w 3331369"/>
                  <a:gd name="connsiteY87" fmla="*/ 290989 h 573310"/>
                  <a:gd name="connsiteX88" fmla="*/ 588931 w 3331369"/>
                  <a:gd name="connsiteY88" fmla="*/ 296990 h 573310"/>
                  <a:gd name="connsiteX89" fmla="*/ 616268 w 3331369"/>
                  <a:gd name="connsiteY89" fmla="*/ 296990 h 573310"/>
                  <a:gd name="connsiteX90" fmla="*/ 616268 w 3331369"/>
                  <a:gd name="connsiteY90" fmla="*/ 303086 h 573310"/>
                  <a:gd name="connsiteX91" fmla="*/ 618363 w 3331369"/>
                  <a:gd name="connsiteY91" fmla="*/ 303086 h 573310"/>
                  <a:gd name="connsiteX92" fmla="*/ 618363 w 3331369"/>
                  <a:gd name="connsiteY92" fmla="*/ 309182 h 573310"/>
                  <a:gd name="connsiteX93" fmla="*/ 628840 w 3331369"/>
                  <a:gd name="connsiteY93" fmla="*/ 309182 h 573310"/>
                  <a:gd name="connsiteX94" fmla="*/ 628840 w 3331369"/>
                  <a:gd name="connsiteY94" fmla="*/ 315182 h 573310"/>
                  <a:gd name="connsiteX95" fmla="*/ 635127 w 3331369"/>
                  <a:gd name="connsiteY95" fmla="*/ 315182 h 573310"/>
                  <a:gd name="connsiteX96" fmla="*/ 635127 w 3331369"/>
                  <a:gd name="connsiteY96" fmla="*/ 327374 h 573310"/>
                  <a:gd name="connsiteX97" fmla="*/ 643604 w 3331369"/>
                  <a:gd name="connsiteY97" fmla="*/ 327374 h 573310"/>
                  <a:gd name="connsiteX98" fmla="*/ 643604 w 3331369"/>
                  <a:gd name="connsiteY98" fmla="*/ 333375 h 573310"/>
                  <a:gd name="connsiteX99" fmla="*/ 649891 w 3331369"/>
                  <a:gd name="connsiteY99" fmla="*/ 333375 h 573310"/>
                  <a:gd name="connsiteX100" fmla="*/ 649891 w 3331369"/>
                  <a:gd name="connsiteY100" fmla="*/ 345567 h 573310"/>
                  <a:gd name="connsiteX101" fmla="*/ 651986 w 3331369"/>
                  <a:gd name="connsiteY101" fmla="*/ 345567 h 573310"/>
                  <a:gd name="connsiteX102" fmla="*/ 651986 w 3331369"/>
                  <a:gd name="connsiteY102" fmla="*/ 351663 h 573310"/>
                  <a:gd name="connsiteX103" fmla="*/ 664559 w 3331369"/>
                  <a:gd name="connsiteY103" fmla="*/ 351663 h 573310"/>
                  <a:gd name="connsiteX104" fmla="*/ 664559 w 3331369"/>
                  <a:gd name="connsiteY104" fmla="*/ 357664 h 573310"/>
                  <a:gd name="connsiteX105" fmla="*/ 687705 w 3331369"/>
                  <a:gd name="connsiteY105" fmla="*/ 357664 h 573310"/>
                  <a:gd name="connsiteX106" fmla="*/ 687705 w 3331369"/>
                  <a:gd name="connsiteY106" fmla="*/ 363760 h 573310"/>
                  <a:gd name="connsiteX107" fmla="*/ 694087 w 3331369"/>
                  <a:gd name="connsiteY107" fmla="*/ 363760 h 573310"/>
                  <a:gd name="connsiteX108" fmla="*/ 694087 w 3331369"/>
                  <a:gd name="connsiteY108" fmla="*/ 369856 h 573310"/>
                  <a:gd name="connsiteX109" fmla="*/ 702469 w 3331369"/>
                  <a:gd name="connsiteY109" fmla="*/ 369856 h 573310"/>
                  <a:gd name="connsiteX110" fmla="*/ 702469 w 3331369"/>
                  <a:gd name="connsiteY110" fmla="*/ 375857 h 573310"/>
                  <a:gd name="connsiteX111" fmla="*/ 710851 w 3331369"/>
                  <a:gd name="connsiteY111" fmla="*/ 375857 h 573310"/>
                  <a:gd name="connsiteX112" fmla="*/ 710851 w 3331369"/>
                  <a:gd name="connsiteY112" fmla="*/ 381953 h 573310"/>
                  <a:gd name="connsiteX113" fmla="*/ 715042 w 3331369"/>
                  <a:gd name="connsiteY113" fmla="*/ 381953 h 573310"/>
                  <a:gd name="connsiteX114" fmla="*/ 715042 w 3331369"/>
                  <a:gd name="connsiteY114" fmla="*/ 388049 h 573310"/>
                  <a:gd name="connsiteX115" fmla="*/ 788670 w 3331369"/>
                  <a:gd name="connsiteY115" fmla="*/ 388049 h 573310"/>
                  <a:gd name="connsiteX116" fmla="*/ 788670 w 3331369"/>
                  <a:gd name="connsiteY116" fmla="*/ 394049 h 573310"/>
                  <a:gd name="connsiteX117" fmla="*/ 809720 w 3331369"/>
                  <a:gd name="connsiteY117" fmla="*/ 394049 h 573310"/>
                  <a:gd name="connsiteX118" fmla="*/ 809720 w 3331369"/>
                  <a:gd name="connsiteY118" fmla="*/ 400145 h 573310"/>
                  <a:gd name="connsiteX119" fmla="*/ 816007 w 3331369"/>
                  <a:gd name="connsiteY119" fmla="*/ 400145 h 573310"/>
                  <a:gd name="connsiteX120" fmla="*/ 816007 w 3331369"/>
                  <a:gd name="connsiteY120" fmla="*/ 406241 h 573310"/>
                  <a:gd name="connsiteX121" fmla="*/ 858107 w 3331369"/>
                  <a:gd name="connsiteY121" fmla="*/ 406241 h 573310"/>
                  <a:gd name="connsiteX122" fmla="*/ 858107 w 3331369"/>
                  <a:gd name="connsiteY122" fmla="*/ 412242 h 573310"/>
                  <a:gd name="connsiteX123" fmla="*/ 872776 w 3331369"/>
                  <a:gd name="connsiteY123" fmla="*/ 412242 h 573310"/>
                  <a:gd name="connsiteX124" fmla="*/ 872776 w 3331369"/>
                  <a:gd name="connsiteY124" fmla="*/ 418338 h 573310"/>
                  <a:gd name="connsiteX125" fmla="*/ 902303 w 3331369"/>
                  <a:gd name="connsiteY125" fmla="*/ 418338 h 573310"/>
                  <a:gd name="connsiteX126" fmla="*/ 902303 w 3331369"/>
                  <a:gd name="connsiteY126" fmla="*/ 424434 h 573310"/>
                  <a:gd name="connsiteX127" fmla="*/ 904399 w 3331369"/>
                  <a:gd name="connsiteY127" fmla="*/ 424434 h 573310"/>
                  <a:gd name="connsiteX128" fmla="*/ 904399 w 3331369"/>
                  <a:gd name="connsiteY128" fmla="*/ 430435 h 573310"/>
                  <a:gd name="connsiteX129" fmla="*/ 927449 w 3331369"/>
                  <a:gd name="connsiteY129" fmla="*/ 430435 h 573310"/>
                  <a:gd name="connsiteX130" fmla="*/ 927449 w 3331369"/>
                  <a:gd name="connsiteY130" fmla="*/ 436531 h 573310"/>
                  <a:gd name="connsiteX131" fmla="*/ 940118 w 3331369"/>
                  <a:gd name="connsiteY131" fmla="*/ 436531 h 573310"/>
                  <a:gd name="connsiteX132" fmla="*/ 940118 w 3331369"/>
                  <a:gd name="connsiteY132" fmla="*/ 442627 h 573310"/>
                  <a:gd name="connsiteX133" fmla="*/ 975836 w 3331369"/>
                  <a:gd name="connsiteY133" fmla="*/ 442627 h 573310"/>
                  <a:gd name="connsiteX134" fmla="*/ 975836 w 3331369"/>
                  <a:gd name="connsiteY134" fmla="*/ 448723 h 573310"/>
                  <a:gd name="connsiteX135" fmla="*/ 1091565 w 3331369"/>
                  <a:gd name="connsiteY135" fmla="*/ 448723 h 573310"/>
                  <a:gd name="connsiteX136" fmla="*/ 1091565 w 3331369"/>
                  <a:gd name="connsiteY136" fmla="*/ 454724 h 573310"/>
                  <a:gd name="connsiteX137" fmla="*/ 1129379 w 3331369"/>
                  <a:gd name="connsiteY137" fmla="*/ 454724 h 573310"/>
                  <a:gd name="connsiteX138" fmla="*/ 1129379 w 3331369"/>
                  <a:gd name="connsiteY138" fmla="*/ 460915 h 573310"/>
                  <a:gd name="connsiteX139" fmla="*/ 1181957 w 3331369"/>
                  <a:gd name="connsiteY139" fmla="*/ 460915 h 573310"/>
                  <a:gd name="connsiteX140" fmla="*/ 1181957 w 3331369"/>
                  <a:gd name="connsiteY140" fmla="*/ 467011 h 573310"/>
                  <a:gd name="connsiteX141" fmla="*/ 1200912 w 3331369"/>
                  <a:gd name="connsiteY141" fmla="*/ 467011 h 573310"/>
                  <a:gd name="connsiteX142" fmla="*/ 1200912 w 3331369"/>
                  <a:gd name="connsiteY142" fmla="*/ 473107 h 573310"/>
                  <a:gd name="connsiteX143" fmla="*/ 1211390 w 3331369"/>
                  <a:gd name="connsiteY143" fmla="*/ 473107 h 573310"/>
                  <a:gd name="connsiteX144" fmla="*/ 1211390 w 3331369"/>
                  <a:gd name="connsiteY144" fmla="*/ 479298 h 573310"/>
                  <a:gd name="connsiteX145" fmla="*/ 1245108 w 3331369"/>
                  <a:gd name="connsiteY145" fmla="*/ 479298 h 573310"/>
                  <a:gd name="connsiteX146" fmla="*/ 1245108 w 3331369"/>
                  <a:gd name="connsiteY146" fmla="*/ 485394 h 573310"/>
                  <a:gd name="connsiteX147" fmla="*/ 1251395 w 3331369"/>
                  <a:gd name="connsiteY147" fmla="*/ 485394 h 573310"/>
                  <a:gd name="connsiteX148" fmla="*/ 1251395 w 3331369"/>
                  <a:gd name="connsiteY148" fmla="*/ 491490 h 573310"/>
                  <a:gd name="connsiteX149" fmla="*/ 1266063 w 3331369"/>
                  <a:gd name="connsiteY149" fmla="*/ 491490 h 573310"/>
                  <a:gd name="connsiteX150" fmla="*/ 1266063 w 3331369"/>
                  <a:gd name="connsiteY150" fmla="*/ 497586 h 573310"/>
                  <a:gd name="connsiteX151" fmla="*/ 1278731 w 3331369"/>
                  <a:gd name="connsiteY151" fmla="*/ 497586 h 573310"/>
                  <a:gd name="connsiteX152" fmla="*/ 1278731 w 3331369"/>
                  <a:gd name="connsiteY152" fmla="*/ 503777 h 573310"/>
                  <a:gd name="connsiteX153" fmla="*/ 1303973 w 3331369"/>
                  <a:gd name="connsiteY153" fmla="*/ 503777 h 573310"/>
                  <a:gd name="connsiteX154" fmla="*/ 1303973 w 3331369"/>
                  <a:gd name="connsiteY154" fmla="*/ 509873 h 573310"/>
                  <a:gd name="connsiteX155" fmla="*/ 1533239 w 3331369"/>
                  <a:gd name="connsiteY155" fmla="*/ 509873 h 573310"/>
                  <a:gd name="connsiteX156" fmla="*/ 1533239 w 3331369"/>
                  <a:gd name="connsiteY156" fmla="*/ 516065 h 573310"/>
                  <a:gd name="connsiteX157" fmla="*/ 1646777 w 3331369"/>
                  <a:gd name="connsiteY157" fmla="*/ 516065 h 573310"/>
                  <a:gd name="connsiteX158" fmla="*/ 1646777 w 3331369"/>
                  <a:gd name="connsiteY158" fmla="*/ 522256 h 573310"/>
                  <a:gd name="connsiteX159" fmla="*/ 1915954 w 3331369"/>
                  <a:gd name="connsiteY159" fmla="*/ 522256 h 573310"/>
                  <a:gd name="connsiteX160" fmla="*/ 1915954 w 3331369"/>
                  <a:gd name="connsiteY160" fmla="*/ 528542 h 573310"/>
                  <a:gd name="connsiteX161" fmla="*/ 1989582 w 3331369"/>
                  <a:gd name="connsiteY161" fmla="*/ 528542 h 573310"/>
                  <a:gd name="connsiteX162" fmla="*/ 1989582 w 3331369"/>
                  <a:gd name="connsiteY162" fmla="*/ 534829 h 573310"/>
                  <a:gd name="connsiteX163" fmla="*/ 2069497 w 3331369"/>
                  <a:gd name="connsiteY163" fmla="*/ 534829 h 573310"/>
                  <a:gd name="connsiteX164" fmla="*/ 2069497 w 3331369"/>
                  <a:gd name="connsiteY164" fmla="*/ 541115 h 573310"/>
                  <a:gd name="connsiteX165" fmla="*/ 2231422 w 3331369"/>
                  <a:gd name="connsiteY165" fmla="*/ 541115 h 573310"/>
                  <a:gd name="connsiteX166" fmla="*/ 2231422 w 3331369"/>
                  <a:gd name="connsiteY166" fmla="*/ 547592 h 573310"/>
                  <a:gd name="connsiteX167" fmla="*/ 2248281 w 3331369"/>
                  <a:gd name="connsiteY167" fmla="*/ 547592 h 573310"/>
                  <a:gd name="connsiteX168" fmla="*/ 2248281 w 3331369"/>
                  <a:gd name="connsiteY168" fmla="*/ 553974 h 573310"/>
                  <a:gd name="connsiteX169" fmla="*/ 2366105 w 3331369"/>
                  <a:gd name="connsiteY169" fmla="*/ 553974 h 573310"/>
                  <a:gd name="connsiteX170" fmla="*/ 2366105 w 3331369"/>
                  <a:gd name="connsiteY170" fmla="*/ 560451 h 573310"/>
                  <a:gd name="connsiteX171" fmla="*/ 2458593 w 3331369"/>
                  <a:gd name="connsiteY171" fmla="*/ 560451 h 573310"/>
                  <a:gd name="connsiteX172" fmla="*/ 2458593 w 3331369"/>
                  <a:gd name="connsiteY172" fmla="*/ 566833 h 573310"/>
                  <a:gd name="connsiteX173" fmla="*/ 2477548 w 3331369"/>
                  <a:gd name="connsiteY173" fmla="*/ 566833 h 573310"/>
                  <a:gd name="connsiteX174" fmla="*/ 2477548 w 3331369"/>
                  <a:gd name="connsiteY174" fmla="*/ 573310 h 573310"/>
                  <a:gd name="connsiteX175" fmla="*/ 3331369 w 3331369"/>
                  <a:gd name="connsiteY175" fmla="*/ 573310 h 573310"/>
                  <a:gd name="connsiteX0" fmla="*/ 0 w 2477548"/>
                  <a:gd name="connsiteY0" fmla="*/ 0 h 573310"/>
                  <a:gd name="connsiteX1" fmla="*/ 113538 w 2477548"/>
                  <a:gd name="connsiteY1" fmla="*/ 0 h 573310"/>
                  <a:gd name="connsiteX2" fmla="*/ 113538 w 2477548"/>
                  <a:gd name="connsiteY2" fmla="*/ 5906 h 573310"/>
                  <a:gd name="connsiteX3" fmla="*/ 153543 w 2477548"/>
                  <a:gd name="connsiteY3" fmla="*/ 5906 h 573310"/>
                  <a:gd name="connsiteX4" fmla="*/ 153543 w 2477548"/>
                  <a:gd name="connsiteY4" fmla="*/ 12002 h 573310"/>
                  <a:gd name="connsiteX5" fmla="*/ 161925 w 2477548"/>
                  <a:gd name="connsiteY5" fmla="*/ 12002 h 573310"/>
                  <a:gd name="connsiteX6" fmla="*/ 161925 w 2477548"/>
                  <a:gd name="connsiteY6" fmla="*/ 18002 h 573310"/>
                  <a:gd name="connsiteX7" fmla="*/ 172498 w 2477548"/>
                  <a:gd name="connsiteY7" fmla="*/ 18002 h 573310"/>
                  <a:gd name="connsiteX8" fmla="*/ 172498 w 2477548"/>
                  <a:gd name="connsiteY8" fmla="*/ 24003 h 573310"/>
                  <a:gd name="connsiteX9" fmla="*/ 222980 w 2477548"/>
                  <a:gd name="connsiteY9" fmla="*/ 24003 h 573310"/>
                  <a:gd name="connsiteX10" fmla="*/ 222980 w 2477548"/>
                  <a:gd name="connsiteY10" fmla="*/ 30099 h 573310"/>
                  <a:gd name="connsiteX11" fmla="*/ 231362 w 2477548"/>
                  <a:gd name="connsiteY11" fmla="*/ 30099 h 573310"/>
                  <a:gd name="connsiteX12" fmla="*/ 231362 w 2477548"/>
                  <a:gd name="connsiteY12" fmla="*/ 42196 h 573310"/>
                  <a:gd name="connsiteX13" fmla="*/ 237649 w 2477548"/>
                  <a:gd name="connsiteY13" fmla="*/ 42196 h 573310"/>
                  <a:gd name="connsiteX14" fmla="*/ 237649 w 2477548"/>
                  <a:gd name="connsiteY14" fmla="*/ 48292 h 573310"/>
                  <a:gd name="connsiteX15" fmla="*/ 241840 w 2477548"/>
                  <a:gd name="connsiteY15" fmla="*/ 48292 h 573310"/>
                  <a:gd name="connsiteX16" fmla="*/ 241840 w 2477548"/>
                  <a:gd name="connsiteY16" fmla="*/ 54388 h 573310"/>
                  <a:gd name="connsiteX17" fmla="*/ 246031 w 2477548"/>
                  <a:gd name="connsiteY17" fmla="*/ 54388 h 573310"/>
                  <a:gd name="connsiteX18" fmla="*/ 246031 w 2477548"/>
                  <a:gd name="connsiteY18" fmla="*/ 60484 h 573310"/>
                  <a:gd name="connsiteX19" fmla="*/ 248126 w 2477548"/>
                  <a:gd name="connsiteY19" fmla="*/ 60484 h 573310"/>
                  <a:gd name="connsiteX20" fmla="*/ 248126 w 2477548"/>
                  <a:gd name="connsiteY20" fmla="*/ 66485 h 573310"/>
                  <a:gd name="connsiteX21" fmla="*/ 250317 w 2477548"/>
                  <a:gd name="connsiteY21" fmla="*/ 66485 h 573310"/>
                  <a:gd name="connsiteX22" fmla="*/ 250317 w 2477548"/>
                  <a:gd name="connsiteY22" fmla="*/ 72581 h 573310"/>
                  <a:gd name="connsiteX23" fmla="*/ 260794 w 2477548"/>
                  <a:gd name="connsiteY23" fmla="*/ 72581 h 573310"/>
                  <a:gd name="connsiteX24" fmla="*/ 260794 w 2477548"/>
                  <a:gd name="connsiteY24" fmla="*/ 78677 h 573310"/>
                  <a:gd name="connsiteX25" fmla="*/ 267081 w 2477548"/>
                  <a:gd name="connsiteY25" fmla="*/ 78677 h 573310"/>
                  <a:gd name="connsiteX26" fmla="*/ 267081 w 2477548"/>
                  <a:gd name="connsiteY26" fmla="*/ 84677 h 573310"/>
                  <a:gd name="connsiteX27" fmla="*/ 281845 w 2477548"/>
                  <a:gd name="connsiteY27" fmla="*/ 84677 h 573310"/>
                  <a:gd name="connsiteX28" fmla="*/ 281845 w 2477548"/>
                  <a:gd name="connsiteY28" fmla="*/ 90773 h 573310"/>
                  <a:gd name="connsiteX29" fmla="*/ 290227 w 2477548"/>
                  <a:gd name="connsiteY29" fmla="*/ 90773 h 573310"/>
                  <a:gd name="connsiteX30" fmla="*/ 290227 w 2477548"/>
                  <a:gd name="connsiteY30" fmla="*/ 96869 h 573310"/>
                  <a:gd name="connsiteX31" fmla="*/ 300800 w 2477548"/>
                  <a:gd name="connsiteY31" fmla="*/ 96869 h 573310"/>
                  <a:gd name="connsiteX32" fmla="*/ 300800 w 2477548"/>
                  <a:gd name="connsiteY32" fmla="*/ 102870 h 573310"/>
                  <a:gd name="connsiteX33" fmla="*/ 313373 w 2477548"/>
                  <a:gd name="connsiteY33" fmla="*/ 102870 h 573310"/>
                  <a:gd name="connsiteX34" fmla="*/ 313373 w 2477548"/>
                  <a:gd name="connsiteY34" fmla="*/ 108966 h 573310"/>
                  <a:gd name="connsiteX35" fmla="*/ 319659 w 2477548"/>
                  <a:gd name="connsiteY35" fmla="*/ 108966 h 573310"/>
                  <a:gd name="connsiteX36" fmla="*/ 319659 w 2477548"/>
                  <a:gd name="connsiteY36" fmla="*/ 121063 h 573310"/>
                  <a:gd name="connsiteX37" fmla="*/ 323850 w 2477548"/>
                  <a:gd name="connsiteY37" fmla="*/ 121063 h 573310"/>
                  <a:gd name="connsiteX38" fmla="*/ 323850 w 2477548"/>
                  <a:gd name="connsiteY38" fmla="*/ 127159 h 573310"/>
                  <a:gd name="connsiteX39" fmla="*/ 336518 w 2477548"/>
                  <a:gd name="connsiteY39" fmla="*/ 127159 h 573310"/>
                  <a:gd name="connsiteX40" fmla="*/ 336518 w 2477548"/>
                  <a:gd name="connsiteY40" fmla="*/ 133255 h 573310"/>
                  <a:gd name="connsiteX41" fmla="*/ 351187 w 2477548"/>
                  <a:gd name="connsiteY41" fmla="*/ 133255 h 573310"/>
                  <a:gd name="connsiteX42" fmla="*/ 351187 w 2477548"/>
                  <a:gd name="connsiteY42" fmla="*/ 139256 h 573310"/>
                  <a:gd name="connsiteX43" fmla="*/ 355473 w 2477548"/>
                  <a:gd name="connsiteY43" fmla="*/ 139256 h 573310"/>
                  <a:gd name="connsiteX44" fmla="*/ 355473 w 2477548"/>
                  <a:gd name="connsiteY44" fmla="*/ 145352 h 573310"/>
                  <a:gd name="connsiteX45" fmla="*/ 365950 w 2477548"/>
                  <a:gd name="connsiteY45" fmla="*/ 145352 h 573310"/>
                  <a:gd name="connsiteX46" fmla="*/ 365950 w 2477548"/>
                  <a:gd name="connsiteY46" fmla="*/ 151448 h 573310"/>
                  <a:gd name="connsiteX47" fmla="*/ 374333 w 2477548"/>
                  <a:gd name="connsiteY47" fmla="*/ 151448 h 573310"/>
                  <a:gd name="connsiteX48" fmla="*/ 374333 w 2477548"/>
                  <a:gd name="connsiteY48" fmla="*/ 157544 h 573310"/>
                  <a:gd name="connsiteX49" fmla="*/ 389096 w 2477548"/>
                  <a:gd name="connsiteY49" fmla="*/ 157544 h 573310"/>
                  <a:gd name="connsiteX50" fmla="*/ 389096 w 2477548"/>
                  <a:gd name="connsiteY50" fmla="*/ 163544 h 573310"/>
                  <a:gd name="connsiteX51" fmla="*/ 393287 w 2477548"/>
                  <a:gd name="connsiteY51" fmla="*/ 163544 h 573310"/>
                  <a:gd name="connsiteX52" fmla="*/ 393287 w 2477548"/>
                  <a:gd name="connsiteY52" fmla="*/ 169640 h 573310"/>
                  <a:gd name="connsiteX53" fmla="*/ 397478 w 2477548"/>
                  <a:gd name="connsiteY53" fmla="*/ 169640 h 573310"/>
                  <a:gd name="connsiteX54" fmla="*/ 397478 w 2477548"/>
                  <a:gd name="connsiteY54" fmla="*/ 175736 h 573310"/>
                  <a:gd name="connsiteX55" fmla="*/ 410147 w 2477548"/>
                  <a:gd name="connsiteY55" fmla="*/ 175736 h 573310"/>
                  <a:gd name="connsiteX56" fmla="*/ 410147 w 2477548"/>
                  <a:gd name="connsiteY56" fmla="*/ 181737 h 573310"/>
                  <a:gd name="connsiteX57" fmla="*/ 439579 w 2477548"/>
                  <a:gd name="connsiteY57" fmla="*/ 181737 h 573310"/>
                  <a:gd name="connsiteX58" fmla="*/ 439579 w 2477548"/>
                  <a:gd name="connsiteY58" fmla="*/ 187833 h 573310"/>
                  <a:gd name="connsiteX59" fmla="*/ 447961 w 2477548"/>
                  <a:gd name="connsiteY59" fmla="*/ 187833 h 573310"/>
                  <a:gd name="connsiteX60" fmla="*/ 447961 w 2477548"/>
                  <a:gd name="connsiteY60" fmla="*/ 193929 h 573310"/>
                  <a:gd name="connsiteX61" fmla="*/ 450056 w 2477548"/>
                  <a:gd name="connsiteY61" fmla="*/ 193929 h 573310"/>
                  <a:gd name="connsiteX62" fmla="*/ 450056 w 2477548"/>
                  <a:gd name="connsiteY62" fmla="*/ 199930 h 573310"/>
                  <a:gd name="connsiteX63" fmla="*/ 464820 w 2477548"/>
                  <a:gd name="connsiteY63" fmla="*/ 199930 h 573310"/>
                  <a:gd name="connsiteX64" fmla="*/ 464820 w 2477548"/>
                  <a:gd name="connsiteY64" fmla="*/ 212122 h 573310"/>
                  <a:gd name="connsiteX65" fmla="*/ 466916 w 2477548"/>
                  <a:gd name="connsiteY65" fmla="*/ 212122 h 573310"/>
                  <a:gd name="connsiteX66" fmla="*/ 466916 w 2477548"/>
                  <a:gd name="connsiteY66" fmla="*/ 218123 h 573310"/>
                  <a:gd name="connsiteX67" fmla="*/ 473202 w 2477548"/>
                  <a:gd name="connsiteY67" fmla="*/ 218123 h 573310"/>
                  <a:gd name="connsiteX68" fmla="*/ 473202 w 2477548"/>
                  <a:gd name="connsiteY68" fmla="*/ 224219 h 573310"/>
                  <a:gd name="connsiteX69" fmla="*/ 477393 w 2477548"/>
                  <a:gd name="connsiteY69" fmla="*/ 224219 h 573310"/>
                  <a:gd name="connsiteX70" fmla="*/ 477393 w 2477548"/>
                  <a:gd name="connsiteY70" fmla="*/ 230315 h 573310"/>
                  <a:gd name="connsiteX71" fmla="*/ 494252 w 2477548"/>
                  <a:gd name="connsiteY71" fmla="*/ 230315 h 573310"/>
                  <a:gd name="connsiteX72" fmla="*/ 494252 w 2477548"/>
                  <a:gd name="connsiteY72" fmla="*/ 242411 h 573310"/>
                  <a:gd name="connsiteX73" fmla="*/ 498443 w 2477548"/>
                  <a:gd name="connsiteY73" fmla="*/ 242411 h 573310"/>
                  <a:gd name="connsiteX74" fmla="*/ 498443 w 2477548"/>
                  <a:gd name="connsiteY74" fmla="*/ 248507 h 573310"/>
                  <a:gd name="connsiteX75" fmla="*/ 521589 w 2477548"/>
                  <a:gd name="connsiteY75" fmla="*/ 248507 h 573310"/>
                  <a:gd name="connsiteX76" fmla="*/ 521589 w 2477548"/>
                  <a:gd name="connsiteY76" fmla="*/ 254603 h 573310"/>
                  <a:gd name="connsiteX77" fmla="*/ 525780 w 2477548"/>
                  <a:gd name="connsiteY77" fmla="*/ 254603 h 573310"/>
                  <a:gd name="connsiteX78" fmla="*/ 525780 w 2477548"/>
                  <a:gd name="connsiteY78" fmla="*/ 260604 h 573310"/>
                  <a:gd name="connsiteX79" fmla="*/ 532067 w 2477548"/>
                  <a:gd name="connsiteY79" fmla="*/ 260604 h 573310"/>
                  <a:gd name="connsiteX80" fmla="*/ 532067 w 2477548"/>
                  <a:gd name="connsiteY80" fmla="*/ 272796 h 573310"/>
                  <a:gd name="connsiteX81" fmla="*/ 551021 w 2477548"/>
                  <a:gd name="connsiteY81" fmla="*/ 272796 h 573310"/>
                  <a:gd name="connsiteX82" fmla="*/ 551021 w 2477548"/>
                  <a:gd name="connsiteY82" fmla="*/ 278797 h 573310"/>
                  <a:gd name="connsiteX83" fmla="*/ 559403 w 2477548"/>
                  <a:gd name="connsiteY83" fmla="*/ 278797 h 573310"/>
                  <a:gd name="connsiteX84" fmla="*/ 559403 w 2477548"/>
                  <a:gd name="connsiteY84" fmla="*/ 284893 h 573310"/>
                  <a:gd name="connsiteX85" fmla="*/ 572072 w 2477548"/>
                  <a:gd name="connsiteY85" fmla="*/ 284893 h 573310"/>
                  <a:gd name="connsiteX86" fmla="*/ 572072 w 2477548"/>
                  <a:gd name="connsiteY86" fmla="*/ 290989 h 573310"/>
                  <a:gd name="connsiteX87" fmla="*/ 588931 w 2477548"/>
                  <a:gd name="connsiteY87" fmla="*/ 290989 h 573310"/>
                  <a:gd name="connsiteX88" fmla="*/ 588931 w 2477548"/>
                  <a:gd name="connsiteY88" fmla="*/ 296990 h 573310"/>
                  <a:gd name="connsiteX89" fmla="*/ 616268 w 2477548"/>
                  <a:gd name="connsiteY89" fmla="*/ 296990 h 573310"/>
                  <a:gd name="connsiteX90" fmla="*/ 616268 w 2477548"/>
                  <a:gd name="connsiteY90" fmla="*/ 303086 h 573310"/>
                  <a:gd name="connsiteX91" fmla="*/ 618363 w 2477548"/>
                  <a:gd name="connsiteY91" fmla="*/ 303086 h 573310"/>
                  <a:gd name="connsiteX92" fmla="*/ 618363 w 2477548"/>
                  <a:gd name="connsiteY92" fmla="*/ 309182 h 573310"/>
                  <a:gd name="connsiteX93" fmla="*/ 628840 w 2477548"/>
                  <a:gd name="connsiteY93" fmla="*/ 309182 h 573310"/>
                  <a:gd name="connsiteX94" fmla="*/ 628840 w 2477548"/>
                  <a:gd name="connsiteY94" fmla="*/ 315182 h 573310"/>
                  <a:gd name="connsiteX95" fmla="*/ 635127 w 2477548"/>
                  <a:gd name="connsiteY95" fmla="*/ 315182 h 573310"/>
                  <a:gd name="connsiteX96" fmla="*/ 635127 w 2477548"/>
                  <a:gd name="connsiteY96" fmla="*/ 327374 h 573310"/>
                  <a:gd name="connsiteX97" fmla="*/ 643604 w 2477548"/>
                  <a:gd name="connsiteY97" fmla="*/ 327374 h 573310"/>
                  <a:gd name="connsiteX98" fmla="*/ 643604 w 2477548"/>
                  <a:gd name="connsiteY98" fmla="*/ 333375 h 573310"/>
                  <a:gd name="connsiteX99" fmla="*/ 649891 w 2477548"/>
                  <a:gd name="connsiteY99" fmla="*/ 333375 h 573310"/>
                  <a:gd name="connsiteX100" fmla="*/ 649891 w 2477548"/>
                  <a:gd name="connsiteY100" fmla="*/ 345567 h 573310"/>
                  <a:gd name="connsiteX101" fmla="*/ 651986 w 2477548"/>
                  <a:gd name="connsiteY101" fmla="*/ 345567 h 573310"/>
                  <a:gd name="connsiteX102" fmla="*/ 651986 w 2477548"/>
                  <a:gd name="connsiteY102" fmla="*/ 351663 h 573310"/>
                  <a:gd name="connsiteX103" fmla="*/ 664559 w 2477548"/>
                  <a:gd name="connsiteY103" fmla="*/ 351663 h 573310"/>
                  <a:gd name="connsiteX104" fmla="*/ 664559 w 2477548"/>
                  <a:gd name="connsiteY104" fmla="*/ 357664 h 573310"/>
                  <a:gd name="connsiteX105" fmla="*/ 687705 w 2477548"/>
                  <a:gd name="connsiteY105" fmla="*/ 357664 h 573310"/>
                  <a:gd name="connsiteX106" fmla="*/ 687705 w 2477548"/>
                  <a:gd name="connsiteY106" fmla="*/ 363760 h 573310"/>
                  <a:gd name="connsiteX107" fmla="*/ 694087 w 2477548"/>
                  <a:gd name="connsiteY107" fmla="*/ 363760 h 573310"/>
                  <a:gd name="connsiteX108" fmla="*/ 694087 w 2477548"/>
                  <a:gd name="connsiteY108" fmla="*/ 369856 h 573310"/>
                  <a:gd name="connsiteX109" fmla="*/ 702469 w 2477548"/>
                  <a:gd name="connsiteY109" fmla="*/ 369856 h 573310"/>
                  <a:gd name="connsiteX110" fmla="*/ 702469 w 2477548"/>
                  <a:gd name="connsiteY110" fmla="*/ 375857 h 573310"/>
                  <a:gd name="connsiteX111" fmla="*/ 710851 w 2477548"/>
                  <a:gd name="connsiteY111" fmla="*/ 375857 h 573310"/>
                  <a:gd name="connsiteX112" fmla="*/ 710851 w 2477548"/>
                  <a:gd name="connsiteY112" fmla="*/ 381953 h 573310"/>
                  <a:gd name="connsiteX113" fmla="*/ 715042 w 2477548"/>
                  <a:gd name="connsiteY113" fmla="*/ 381953 h 573310"/>
                  <a:gd name="connsiteX114" fmla="*/ 715042 w 2477548"/>
                  <a:gd name="connsiteY114" fmla="*/ 388049 h 573310"/>
                  <a:gd name="connsiteX115" fmla="*/ 788670 w 2477548"/>
                  <a:gd name="connsiteY115" fmla="*/ 388049 h 573310"/>
                  <a:gd name="connsiteX116" fmla="*/ 788670 w 2477548"/>
                  <a:gd name="connsiteY116" fmla="*/ 394049 h 573310"/>
                  <a:gd name="connsiteX117" fmla="*/ 809720 w 2477548"/>
                  <a:gd name="connsiteY117" fmla="*/ 394049 h 573310"/>
                  <a:gd name="connsiteX118" fmla="*/ 809720 w 2477548"/>
                  <a:gd name="connsiteY118" fmla="*/ 400145 h 573310"/>
                  <a:gd name="connsiteX119" fmla="*/ 816007 w 2477548"/>
                  <a:gd name="connsiteY119" fmla="*/ 400145 h 573310"/>
                  <a:gd name="connsiteX120" fmla="*/ 816007 w 2477548"/>
                  <a:gd name="connsiteY120" fmla="*/ 406241 h 573310"/>
                  <a:gd name="connsiteX121" fmla="*/ 858107 w 2477548"/>
                  <a:gd name="connsiteY121" fmla="*/ 406241 h 573310"/>
                  <a:gd name="connsiteX122" fmla="*/ 858107 w 2477548"/>
                  <a:gd name="connsiteY122" fmla="*/ 412242 h 573310"/>
                  <a:gd name="connsiteX123" fmla="*/ 872776 w 2477548"/>
                  <a:gd name="connsiteY123" fmla="*/ 412242 h 573310"/>
                  <a:gd name="connsiteX124" fmla="*/ 872776 w 2477548"/>
                  <a:gd name="connsiteY124" fmla="*/ 418338 h 573310"/>
                  <a:gd name="connsiteX125" fmla="*/ 902303 w 2477548"/>
                  <a:gd name="connsiteY125" fmla="*/ 418338 h 573310"/>
                  <a:gd name="connsiteX126" fmla="*/ 902303 w 2477548"/>
                  <a:gd name="connsiteY126" fmla="*/ 424434 h 573310"/>
                  <a:gd name="connsiteX127" fmla="*/ 904399 w 2477548"/>
                  <a:gd name="connsiteY127" fmla="*/ 424434 h 573310"/>
                  <a:gd name="connsiteX128" fmla="*/ 904399 w 2477548"/>
                  <a:gd name="connsiteY128" fmla="*/ 430435 h 573310"/>
                  <a:gd name="connsiteX129" fmla="*/ 927449 w 2477548"/>
                  <a:gd name="connsiteY129" fmla="*/ 430435 h 573310"/>
                  <a:gd name="connsiteX130" fmla="*/ 927449 w 2477548"/>
                  <a:gd name="connsiteY130" fmla="*/ 436531 h 573310"/>
                  <a:gd name="connsiteX131" fmla="*/ 940118 w 2477548"/>
                  <a:gd name="connsiteY131" fmla="*/ 436531 h 573310"/>
                  <a:gd name="connsiteX132" fmla="*/ 940118 w 2477548"/>
                  <a:gd name="connsiteY132" fmla="*/ 442627 h 573310"/>
                  <a:gd name="connsiteX133" fmla="*/ 975836 w 2477548"/>
                  <a:gd name="connsiteY133" fmla="*/ 442627 h 573310"/>
                  <a:gd name="connsiteX134" fmla="*/ 975836 w 2477548"/>
                  <a:gd name="connsiteY134" fmla="*/ 448723 h 573310"/>
                  <a:gd name="connsiteX135" fmla="*/ 1091565 w 2477548"/>
                  <a:gd name="connsiteY135" fmla="*/ 448723 h 573310"/>
                  <a:gd name="connsiteX136" fmla="*/ 1091565 w 2477548"/>
                  <a:gd name="connsiteY136" fmla="*/ 454724 h 573310"/>
                  <a:gd name="connsiteX137" fmla="*/ 1129379 w 2477548"/>
                  <a:gd name="connsiteY137" fmla="*/ 454724 h 573310"/>
                  <a:gd name="connsiteX138" fmla="*/ 1129379 w 2477548"/>
                  <a:gd name="connsiteY138" fmla="*/ 460915 h 573310"/>
                  <a:gd name="connsiteX139" fmla="*/ 1181957 w 2477548"/>
                  <a:gd name="connsiteY139" fmla="*/ 460915 h 573310"/>
                  <a:gd name="connsiteX140" fmla="*/ 1181957 w 2477548"/>
                  <a:gd name="connsiteY140" fmla="*/ 467011 h 573310"/>
                  <a:gd name="connsiteX141" fmla="*/ 1200912 w 2477548"/>
                  <a:gd name="connsiteY141" fmla="*/ 467011 h 573310"/>
                  <a:gd name="connsiteX142" fmla="*/ 1200912 w 2477548"/>
                  <a:gd name="connsiteY142" fmla="*/ 473107 h 573310"/>
                  <a:gd name="connsiteX143" fmla="*/ 1211390 w 2477548"/>
                  <a:gd name="connsiteY143" fmla="*/ 473107 h 573310"/>
                  <a:gd name="connsiteX144" fmla="*/ 1211390 w 2477548"/>
                  <a:gd name="connsiteY144" fmla="*/ 479298 h 573310"/>
                  <a:gd name="connsiteX145" fmla="*/ 1245108 w 2477548"/>
                  <a:gd name="connsiteY145" fmla="*/ 479298 h 573310"/>
                  <a:gd name="connsiteX146" fmla="*/ 1245108 w 2477548"/>
                  <a:gd name="connsiteY146" fmla="*/ 485394 h 573310"/>
                  <a:gd name="connsiteX147" fmla="*/ 1251395 w 2477548"/>
                  <a:gd name="connsiteY147" fmla="*/ 485394 h 573310"/>
                  <a:gd name="connsiteX148" fmla="*/ 1251395 w 2477548"/>
                  <a:gd name="connsiteY148" fmla="*/ 491490 h 573310"/>
                  <a:gd name="connsiteX149" fmla="*/ 1266063 w 2477548"/>
                  <a:gd name="connsiteY149" fmla="*/ 491490 h 573310"/>
                  <a:gd name="connsiteX150" fmla="*/ 1266063 w 2477548"/>
                  <a:gd name="connsiteY150" fmla="*/ 497586 h 573310"/>
                  <a:gd name="connsiteX151" fmla="*/ 1278731 w 2477548"/>
                  <a:gd name="connsiteY151" fmla="*/ 497586 h 573310"/>
                  <a:gd name="connsiteX152" fmla="*/ 1278731 w 2477548"/>
                  <a:gd name="connsiteY152" fmla="*/ 503777 h 573310"/>
                  <a:gd name="connsiteX153" fmla="*/ 1303973 w 2477548"/>
                  <a:gd name="connsiteY153" fmla="*/ 503777 h 573310"/>
                  <a:gd name="connsiteX154" fmla="*/ 1303973 w 2477548"/>
                  <a:gd name="connsiteY154" fmla="*/ 509873 h 573310"/>
                  <a:gd name="connsiteX155" fmla="*/ 1533239 w 2477548"/>
                  <a:gd name="connsiteY155" fmla="*/ 509873 h 573310"/>
                  <a:gd name="connsiteX156" fmla="*/ 1533239 w 2477548"/>
                  <a:gd name="connsiteY156" fmla="*/ 516065 h 573310"/>
                  <a:gd name="connsiteX157" fmla="*/ 1646777 w 2477548"/>
                  <a:gd name="connsiteY157" fmla="*/ 516065 h 573310"/>
                  <a:gd name="connsiteX158" fmla="*/ 1646777 w 2477548"/>
                  <a:gd name="connsiteY158" fmla="*/ 522256 h 573310"/>
                  <a:gd name="connsiteX159" fmla="*/ 1915954 w 2477548"/>
                  <a:gd name="connsiteY159" fmla="*/ 522256 h 573310"/>
                  <a:gd name="connsiteX160" fmla="*/ 1915954 w 2477548"/>
                  <a:gd name="connsiteY160" fmla="*/ 528542 h 573310"/>
                  <a:gd name="connsiteX161" fmla="*/ 1989582 w 2477548"/>
                  <a:gd name="connsiteY161" fmla="*/ 528542 h 573310"/>
                  <a:gd name="connsiteX162" fmla="*/ 1989582 w 2477548"/>
                  <a:gd name="connsiteY162" fmla="*/ 534829 h 573310"/>
                  <a:gd name="connsiteX163" fmla="*/ 2069497 w 2477548"/>
                  <a:gd name="connsiteY163" fmla="*/ 534829 h 573310"/>
                  <a:gd name="connsiteX164" fmla="*/ 2069497 w 2477548"/>
                  <a:gd name="connsiteY164" fmla="*/ 541115 h 573310"/>
                  <a:gd name="connsiteX165" fmla="*/ 2231422 w 2477548"/>
                  <a:gd name="connsiteY165" fmla="*/ 541115 h 573310"/>
                  <a:gd name="connsiteX166" fmla="*/ 2231422 w 2477548"/>
                  <a:gd name="connsiteY166" fmla="*/ 547592 h 573310"/>
                  <a:gd name="connsiteX167" fmla="*/ 2248281 w 2477548"/>
                  <a:gd name="connsiteY167" fmla="*/ 547592 h 573310"/>
                  <a:gd name="connsiteX168" fmla="*/ 2248281 w 2477548"/>
                  <a:gd name="connsiteY168" fmla="*/ 553974 h 573310"/>
                  <a:gd name="connsiteX169" fmla="*/ 2366105 w 2477548"/>
                  <a:gd name="connsiteY169" fmla="*/ 553974 h 573310"/>
                  <a:gd name="connsiteX170" fmla="*/ 2366105 w 2477548"/>
                  <a:gd name="connsiteY170" fmla="*/ 560451 h 573310"/>
                  <a:gd name="connsiteX171" fmla="*/ 2458593 w 2477548"/>
                  <a:gd name="connsiteY171" fmla="*/ 560451 h 573310"/>
                  <a:gd name="connsiteX172" fmla="*/ 2458593 w 2477548"/>
                  <a:gd name="connsiteY172" fmla="*/ 566833 h 573310"/>
                  <a:gd name="connsiteX173" fmla="*/ 2477548 w 2477548"/>
                  <a:gd name="connsiteY173" fmla="*/ 566833 h 573310"/>
                  <a:gd name="connsiteX174" fmla="*/ 2477548 w 2477548"/>
                  <a:gd name="connsiteY174" fmla="*/ 573310 h 573310"/>
                  <a:gd name="connsiteX0" fmla="*/ 0 w 2477548"/>
                  <a:gd name="connsiteY0" fmla="*/ 0 h 566833"/>
                  <a:gd name="connsiteX1" fmla="*/ 113538 w 2477548"/>
                  <a:gd name="connsiteY1" fmla="*/ 0 h 566833"/>
                  <a:gd name="connsiteX2" fmla="*/ 113538 w 2477548"/>
                  <a:gd name="connsiteY2" fmla="*/ 5906 h 566833"/>
                  <a:gd name="connsiteX3" fmla="*/ 153543 w 2477548"/>
                  <a:gd name="connsiteY3" fmla="*/ 5906 h 566833"/>
                  <a:gd name="connsiteX4" fmla="*/ 153543 w 2477548"/>
                  <a:gd name="connsiteY4" fmla="*/ 12002 h 566833"/>
                  <a:gd name="connsiteX5" fmla="*/ 161925 w 2477548"/>
                  <a:gd name="connsiteY5" fmla="*/ 12002 h 566833"/>
                  <a:gd name="connsiteX6" fmla="*/ 161925 w 2477548"/>
                  <a:gd name="connsiteY6" fmla="*/ 18002 h 566833"/>
                  <a:gd name="connsiteX7" fmla="*/ 172498 w 2477548"/>
                  <a:gd name="connsiteY7" fmla="*/ 18002 h 566833"/>
                  <a:gd name="connsiteX8" fmla="*/ 172498 w 2477548"/>
                  <a:gd name="connsiteY8" fmla="*/ 24003 h 566833"/>
                  <a:gd name="connsiteX9" fmla="*/ 222980 w 2477548"/>
                  <a:gd name="connsiteY9" fmla="*/ 24003 h 566833"/>
                  <a:gd name="connsiteX10" fmla="*/ 222980 w 2477548"/>
                  <a:gd name="connsiteY10" fmla="*/ 30099 h 566833"/>
                  <a:gd name="connsiteX11" fmla="*/ 231362 w 2477548"/>
                  <a:gd name="connsiteY11" fmla="*/ 30099 h 566833"/>
                  <a:gd name="connsiteX12" fmla="*/ 231362 w 2477548"/>
                  <a:gd name="connsiteY12" fmla="*/ 42196 h 566833"/>
                  <a:gd name="connsiteX13" fmla="*/ 237649 w 2477548"/>
                  <a:gd name="connsiteY13" fmla="*/ 42196 h 566833"/>
                  <a:gd name="connsiteX14" fmla="*/ 237649 w 2477548"/>
                  <a:gd name="connsiteY14" fmla="*/ 48292 h 566833"/>
                  <a:gd name="connsiteX15" fmla="*/ 241840 w 2477548"/>
                  <a:gd name="connsiteY15" fmla="*/ 48292 h 566833"/>
                  <a:gd name="connsiteX16" fmla="*/ 241840 w 2477548"/>
                  <a:gd name="connsiteY16" fmla="*/ 54388 h 566833"/>
                  <a:gd name="connsiteX17" fmla="*/ 246031 w 2477548"/>
                  <a:gd name="connsiteY17" fmla="*/ 54388 h 566833"/>
                  <a:gd name="connsiteX18" fmla="*/ 246031 w 2477548"/>
                  <a:gd name="connsiteY18" fmla="*/ 60484 h 566833"/>
                  <a:gd name="connsiteX19" fmla="*/ 248126 w 2477548"/>
                  <a:gd name="connsiteY19" fmla="*/ 60484 h 566833"/>
                  <a:gd name="connsiteX20" fmla="*/ 248126 w 2477548"/>
                  <a:gd name="connsiteY20" fmla="*/ 66485 h 566833"/>
                  <a:gd name="connsiteX21" fmla="*/ 250317 w 2477548"/>
                  <a:gd name="connsiteY21" fmla="*/ 66485 h 566833"/>
                  <a:gd name="connsiteX22" fmla="*/ 250317 w 2477548"/>
                  <a:gd name="connsiteY22" fmla="*/ 72581 h 566833"/>
                  <a:gd name="connsiteX23" fmla="*/ 260794 w 2477548"/>
                  <a:gd name="connsiteY23" fmla="*/ 72581 h 566833"/>
                  <a:gd name="connsiteX24" fmla="*/ 260794 w 2477548"/>
                  <a:gd name="connsiteY24" fmla="*/ 78677 h 566833"/>
                  <a:gd name="connsiteX25" fmla="*/ 267081 w 2477548"/>
                  <a:gd name="connsiteY25" fmla="*/ 78677 h 566833"/>
                  <a:gd name="connsiteX26" fmla="*/ 267081 w 2477548"/>
                  <a:gd name="connsiteY26" fmla="*/ 84677 h 566833"/>
                  <a:gd name="connsiteX27" fmla="*/ 281845 w 2477548"/>
                  <a:gd name="connsiteY27" fmla="*/ 84677 h 566833"/>
                  <a:gd name="connsiteX28" fmla="*/ 281845 w 2477548"/>
                  <a:gd name="connsiteY28" fmla="*/ 90773 h 566833"/>
                  <a:gd name="connsiteX29" fmla="*/ 290227 w 2477548"/>
                  <a:gd name="connsiteY29" fmla="*/ 90773 h 566833"/>
                  <a:gd name="connsiteX30" fmla="*/ 290227 w 2477548"/>
                  <a:gd name="connsiteY30" fmla="*/ 96869 h 566833"/>
                  <a:gd name="connsiteX31" fmla="*/ 300800 w 2477548"/>
                  <a:gd name="connsiteY31" fmla="*/ 96869 h 566833"/>
                  <a:gd name="connsiteX32" fmla="*/ 300800 w 2477548"/>
                  <a:gd name="connsiteY32" fmla="*/ 102870 h 566833"/>
                  <a:gd name="connsiteX33" fmla="*/ 313373 w 2477548"/>
                  <a:gd name="connsiteY33" fmla="*/ 102870 h 566833"/>
                  <a:gd name="connsiteX34" fmla="*/ 313373 w 2477548"/>
                  <a:gd name="connsiteY34" fmla="*/ 108966 h 566833"/>
                  <a:gd name="connsiteX35" fmla="*/ 319659 w 2477548"/>
                  <a:gd name="connsiteY35" fmla="*/ 108966 h 566833"/>
                  <a:gd name="connsiteX36" fmla="*/ 319659 w 2477548"/>
                  <a:gd name="connsiteY36" fmla="*/ 121063 h 566833"/>
                  <a:gd name="connsiteX37" fmla="*/ 323850 w 2477548"/>
                  <a:gd name="connsiteY37" fmla="*/ 121063 h 566833"/>
                  <a:gd name="connsiteX38" fmla="*/ 323850 w 2477548"/>
                  <a:gd name="connsiteY38" fmla="*/ 127159 h 566833"/>
                  <a:gd name="connsiteX39" fmla="*/ 336518 w 2477548"/>
                  <a:gd name="connsiteY39" fmla="*/ 127159 h 566833"/>
                  <a:gd name="connsiteX40" fmla="*/ 336518 w 2477548"/>
                  <a:gd name="connsiteY40" fmla="*/ 133255 h 566833"/>
                  <a:gd name="connsiteX41" fmla="*/ 351187 w 2477548"/>
                  <a:gd name="connsiteY41" fmla="*/ 133255 h 566833"/>
                  <a:gd name="connsiteX42" fmla="*/ 351187 w 2477548"/>
                  <a:gd name="connsiteY42" fmla="*/ 139256 h 566833"/>
                  <a:gd name="connsiteX43" fmla="*/ 355473 w 2477548"/>
                  <a:gd name="connsiteY43" fmla="*/ 139256 h 566833"/>
                  <a:gd name="connsiteX44" fmla="*/ 355473 w 2477548"/>
                  <a:gd name="connsiteY44" fmla="*/ 145352 h 566833"/>
                  <a:gd name="connsiteX45" fmla="*/ 365950 w 2477548"/>
                  <a:gd name="connsiteY45" fmla="*/ 145352 h 566833"/>
                  <a:gd name="connsiteX46" fmla="*/ 365950 w 2477548"/>
                  <a:gd name="connsiteY46" fmla="*/ 151448 h 566833"/>
                  <a:gd name="connsiteX47" fmla="*/ 374333 w 2477548"/>
                  <a:gd name="connsiteY47" fmla="*/ 151448 h 566833"/>
                  <a:gd name="connsiteX48" fmla="*/ 374333 w 2477548"/>
                  <a:gd name="connsiteY48" fmla="*/ 157544 h 566833"/>
                  <a:gd name="connsiteX49" fmla="*/ 389096 w 2477548"/>
                  <a:gd name="connsiteY49" fmla="*/ 157544 h 566833"/>
                  <a:gd name="connsiteX50" fmla="*/ 389096 w 2477548"/>
                  <a:gd name="connsiteY50" fmla="*/ 163544 h 566833"/>
                  <a:gd name="connsiteX51" fmla="*/ 393287 w 2477548"/>
                  <a:gd name="connsiteY51" fmla="*/ 163544 h 566833"/>
                  <a:gd name="connsiteX52" fmla="*/ 393287 w 2477548"/>
                  <a:gd name="connsiteY52" fmla="*/ 169640 h 566833"/>
                  <a:gd name="connsiteX53" fmla="*/ 397478 w 2477548"/>
                  <a:gd name="connsiteY53" fmla="*/ 169640 h 566833"/>
                  <a:gd name="connsiteX54" fmla="*/ 397478 w 2477548"/>
                  <a:gd name="connsiteY54" fmla="*/ 175736 h 566833"/>
                  <a:gd name="connsiteX55" fmla="*/ 410147 w 2477548"/>
                  <a:gd name="connsiteY55" fmla="*/ 175736 h 566833"/>
                  <a:gd name="connsiteX56" fmla="*/ 410147 w 2477548"/>
                  <a:gd name="connsiteY56" fmla="*/ 181737 h 566833"/>
                  <a:gd name="connsiteX57" fmla="*/ 439579 w 2477548"/>
                  <a:gd name="connsiteY57" fmla="*/ 181737 h 566833"/>
                  <a:gd name="connsiteX58" fmla="*/ 439579 w 2477548"/>
                  <a:gd name="connsiteY58" fmla="*/ 187833 h 566833"/>
                  <a:gd name="connsiteX59" fmla="*/ 447961 w 2477548"/>
                  <a:gd name="connsiteY59" fmla="*/ 187833 h 566833"/>
                  <a:gd name="connsiteX60" fmla="*/ 447961 w 2477548"/>
                  <a:gd name="connsiteY60" fmla="*/ 193929 h 566833"/>
                  <a:gd name="connsiteX61" fmla="*/ 450056 w 2477548"/>
                  <a:gd name="connsiteY61" fmla="*/ 193929 h 566833"/>
                  <a:gd name="connsiteX62" fmla="*/ 450056 w 2477548"/>
                  <a:gd name="connsiteY62" fmla="*/ 199930 h 566833"/>
                  <a:gd name="connsiteX63" fmla="*/ 464820 w 2477548"/>
                  <a:gd name="connsiteY63" fmla="*/ 199930 h 566833"/>
                  <a:gd name="connsiteX64" fmla="*/ 464820 w 2477548"/>
                  <a:gd name="connsiteY64" fmla="*/ 212122 h 566833"/>
                  <a:gd name="connsiteX65" fmla="*/ 466916 w 2477548"/>
                  <a:gd name="connsiteY65" fmla="*/ 212122 h 566833"/>
                  <a:gd name="connsiteX66" fmla="*/ 466916 w 2477548"/>
                  <a:gd name="connsiteY66" fmla="*/ 218123 h 566833"/>
                  <a:gd name="connsiteX67" fmla="*/ 473202 w 2477548"/>
                  <a:gd name="connsiteY67" fmla="*/ 218123 h 566833"/>
                  <a:gd name="connsiteX68" fmla="*/ 473202 w 2477548"/>
                  <a:gd name="connsiteY68" fmla="*/ 224219 h 566833"/>
                  <a:gd name="connsiteX69" fmla="*/ 477393 w 2477548"/>
                  <a:gd name="connsiteY69" fmla="*/ 224219 h 566833"/>
                  <a:gd name="connsiteX70" fmla="*/ 477393 w 2477548"/>
                  <a:gd name="connsiteY70" fmla="*/ 230315 h 566833"/>
                  <a:gd name="connsiteX71" fmla="*/ 494252 w 2477548"/>
                  <a:gd name="connsiteY71" fmla="*/ 230315 h 566833"/>
                  <a:gd name="connsiteX72" fmla="*/ 494252 w 2477548"/>
                  <a:gd name="connsiteY72" fmla="*/ 242411 h 566833"/>
                  <a:gd name="connsiteX73" fmla="*/ 498443 w 2477548"/>
                  <a:gd name="connsiteY73" fmla="*/ 242411 h 566833"/>
                  <a:gd name="connsiteX74" fmla="*/ 498443 w 2477548"/>
                  <a:gd name="connsiteY74" fmla="*/ 248507 h 566833"/>
                  <a:gd name="connsiteX75" fmla="*/ 521589 w 2477548"/>
                  <a:gd name="connsiteY75" fmla="*/ 248507 h 566833"/>
                  <a:gd name="connsiteX76" fmla="*/ 521589 w 2477548"/>
                  <a:gd name="connsiteY76" fmla="*/ 254603 h 566833"/>
                  <a:gd name="connsiteX77" fmla="*/ 525780 w 2477548"/>
                  <a:gd name="connsiteY77" fmla="*/ 254603 h 566833"/>
                  <a:gd name="connsiteX78" fmla="*/ 525780 w 2477548"/>
                  <a:gd name="connsiteY78" fmla="*/ 260604 h 566833"/>
                  <a:gd name="connsiteX79" fmla="*/ 532067 w 2477548"/>
                  <a:gd name="connsiteY79" fmla="*/ 260604 h 566833"/>
                  <a:gd name="connsiteX80" fmla="*/ 532067 w 2477548"/>
                  <a:gd name="connsiteY80" fmla="*/ 272796 h 566833"/>
                  <a:gd name="connsiteX81" fmla="*/ 551021 w 2477548"/>
                  <a:gd name="connsiteY81" fmla="*/ 272796 h 566833"/>
                  <a:gd name="connsiteX82" fmla="*/ 551021 w 2477548"/>
                  <a:gd name="connsiteY82" fmla="*/ 278797 h 566833"/>
                  <a:gd name="connsiteX83" fmla="*/ 559403 w 2477548"/>
                  <a:gd name="connsiteY83" fmla="*/ 278797 h 566833"/>
                  <a:gd name="connsiteX84" fmla="*/ 559403 w 2477548"/>
                  <a:gd name="connsiteY84" fmla="*/ 284893 h 566833"/>
                  <a:gd name="connsiteX85" fmla="*/ 572072 w 2477548"/>
                  <a:gd name="connsiteY85" fmla="*/ 284893 h 566833"/>
                  <a:gd name="connsiteX86" fmla="*/ 572072 w 2477548"/>
                  <a:gd name="connsiteY86" fmla="*/ 290989 h 566833"/>
                  <a:gd name="connsiteX87" fmla="*/ 588931 w 2477548"/>
                  <a:gd name="connsiteY87" fmla="*/ 290989 h 566833"/>
                  <a:gd name="connsiteX88" fmla="*/ 588931 w 2477548"/>
                  <a:gd name="connsiteY88" fmla="*/ 296990 h 566833"/>
                  <a:gd name="connsiteX89" fmla="*/ 616268 w 2477548"/>
                  <a:gd name="connsiteY89" fmla="*/ 296990 h 566833"/>
                  <a:gd name="connsiteX90" fmla="*/ 616268 w 2477548"/>
                  <a:gd name="connsiteY90" fmla="*/ 303086 h 566833"/>
                  <a:gd name="connsiteX91" fmla="*/ 618363 w 2477548"/>
                  <a:gd name="connsiteY91" fmla="*/ 303086 h 566833"/>
                  <a:gd name="connsiteX92" fmla="*/ 618363 w 2477548"/>
                  <a:gd name="connsiteY92" fmla="*/ 309182 h 566833"/>
                  <a:gd name="connsiteX93" fmla="*/ 628840 w 2477548"/>
                  <a:gd name="connsiteY93" fmla="*/ 309182 h 566833"/>
                  <a:gd name="connsiteX94" fmla="*/ 628840 w 2477548"/>
                  <a:gd name="connsiteY94" fmla="*/ 315182 h 566833"/>
                  <a:gd name="connsiteX95" fmla="*/ 635127 w 2477548"/>
                  <a:gd name="connsiteY95" fmla="*/ 315182 h 566833"/>
                  <a:gd name="connsiteX96" fmla="*/ 635127 w 2477548"/>
                  <a:gd name="connsiteY96" fmla="*/ 327374 h 566833"/>
                  <a:gd name="connsiteX97" fmla="*/ 643604 w 2477548"/>
                  <a:gd name="connsiteY97" fmla="*/ 327374 h 566833"/>
                  <a:gd name="connsiteX98" fmla="*/ 643604 w 2477548"/>
                  <a:gd name="connsiteY98" fmla="*/ 333375 h 566833"/>
                  <a:gd name="connsiteX99" fmla="*/ 649891 w 2477548"/>
                  <a:gd name="connsiteY99" fmla="*/ 333375 h 566833"/>
                  <a:gd name="connsiteX100" fmla="*/ 649891 w 2477548"/>
                  <a:gd name="connsiteY100" fmla="*/ 345567 h 566833"/>
                  <a:gd name="connsiteX101" fmla="*/ 651986 w 2477548"/>
                  <a:gd name="connsiteY101" fmla="*/ 345567 h 566833"/>
                  <a:gd name="connsiteX102" fmla="*/ 651986 w 2477548"/>
                  <a:gd name="connsiteY102" fmla="*/ 351663 h 566833"/>
                  <a:gd name="connsiteX103" fmla="*/ 664559 w 2477548"/>
                  <a:gd name="connsiteY103" fmla="*/ 351663 h 566833"/>
                  <a:gd name="connsiteX104" fmla="*/ 664559 w 2477548"/>
                  <a:gd name="connsiteY104" fmla="*/ 357664 h 566833"/>
                  <a:gd name="connsiteX105" fmla="*/ 687705 w 2477548"/>
                  <a:gd name="connsiteY105" fmla="*/ 357664 h 566833"/>
                  <a:gd name="connsiteX106" fmla="*/ 687705 w 2477548"/>
                  <a:gd name="connsiteY106" fmla="*/ 363760 h 566833"/>
                  <a:gd name="connsiteX107" fmla="*/ 694087 w 2477548"/>
                  <a:gd name="connsiteY107" fmla="*/ 363760 h 566833"/>
                  <a:gd name="connsiteX108" fmla="*/ 694087 w 2477548"/>
                  <a:gd name="connsiteY108" fmla="*/ 369856 h 566833"/>
                  <a:gd name="connsiteX109" fmla="*/ 702469 w 2477548"/>
                  <a:gd name="connsiteY109" fmla="*/ 369856 h 566833"/>
                  <a:gd name="connsiteX110" fmla="*/ 702469 w 2477548"/>
                  <a:gd name="connsiteY110" fmla="*/ 375857 h 566833"/>
                  <a:gd name="connsiteX111" fmla="*/ 710851 w 2477548"/>
                  <a:gd name="connsiteY111" fmla="*/ 375857 h 566833"/>
                  <a:gd name="connsiteX112" fmla="*/ 710851 w 2477548"/>
                  <a:gd name="connsiteY112" fmla="*/ 381953 h 566833"/>
                  <a:gd name="connsiteX113" fmla="*/ 715042 w 2477548"/>
                  <a:gd name="connsiteY113" fmla="*/ 381953 h 566833"/>
                  <a:gd name="connsiteX114" fmla="*/ 715042 w 2477548"/>
                  <a:gd name="connsiteY114" fmla="*/ 388049 h 566833"/>
                  <a:gd name="connsiteX115" fmla="*/ 788670 w 2477548"/>
                  <a:gd name="connsiteY115" fmla="*/ 388049 h 566833"/>
                  <a:gd name="connsiteX116" fmla="*/ 788670 w 2477548"/>
                  <a:gd name="connsiteY116" fmla="*/ 394049 h 566833"/>
                  <a:gd name="connsiteX117" fmla="*/ 809720 w 2477548"/>
                  <a:gd name="connsiteY117" fmla="*/ 394049 h 566833"/>
                  <a:gd name="connsiteX118" fmla="*/ 809720 w 2477548"/>
                  <a:gd name="connsiteY118" fmla="*/ 400145 h 566833"/>
                  <a:gd name="connsiteX119" fmla="*/ 816007 w 2477548"/>
                  <a:gd name="connsiteY119" fmla="*/ 400145 h 566833"/>
                  <a:gd name="connsiteX120" fmla="*/ 816007 w 2477548"/>
                  <a:gd name="connsiteY120" fmla="*/ 406241 h 566833"/>
                  <a:gd name="connsiteX121" fmla="*/ 858107 w 2477548"/>
                  <a:gd name="connsiteY121" fmla="*/ 406241 h 566833"/>
                  <a:gd name="connsiteX122" fmla="*/ 858107 w 2477548"/>
                  <a:gd name="connsiteY122" fmla="*/ 412242 h 566833"/>
                  <a:gd name="connsiteX123" fmla="*/ 872776 w 2477548"/>
                  <a:gd name="connsiteY123" fmla="*/ 412242 h 566833"/>
                  <a:gd name="connsiteX124" fmla="*/ 872776 w 2477548"/>
                  <a:gd name="connsiteY124" fmla="*/ 418338 h 566833"/>
                  <a:gd name="connsiteX125" fmla="*/ 902303 w 2477548"/>
                  <a:gd name="connsiteY125" fmla="*/ 418338 h 566833"/>
                  <a:gd name="connsiteX126" fmla="*/ 902303 w 2477548"/>
                  <a:gd name="connsiteY126" fmla="*/ 424434 h 566833"/>
                  <a:gd name="connsiteX127" fmla="*/ 904399 w 2477548"/>
                  <a:gd name="connsiteY127" fmla="*/ 424434 h 566833"/>
                  <a:gd name="connsiteX128" fmla="*/ 904399 w 2477548"/>
                  <a:gd name="connsiteY128" fmla="*/ 430435 h 566833"/>
                  <a:gd name="connsiteX129" fmla="*/ 927449 w 2477548"/>
                  <a:gd name="connsiteY129" fmla="*/ 430435 h 566833"/>
                  <a:gd name="connsiteX130" fmla="*/ 927449 w 2477548"/>
                  <a:gd name="connsiteY130" fmla="*/ 436531 h 566833"/>
                  <a:gd name="connsiteX131" fmla="*/ 940118 w 2477548"/>
                  <a:gd name="connsiteY131" fmla="*/ 436531 h 566833"/>
                  <a:gd name="connsiteX132" fmla="*/ 940118 w 2477548"/>
                  <a:gd name="connsiteY132" fmla="*/ 442627 h 566833"/>
                  <a:gd name="connsiteX133" fmla="*/ 975836 w 2477548"/>
                  <a:gd name="connsiteY133" fmla="*/ 442627 h 566833"/>
                  <a:gd name="connsiteX134" fmla="*/ 975836 w 2477548"/>
                  <a:gd name="connsiteY134" fmla="*/ 448723 h 566833"/>
                  <a:gd name="connsiteX135" fmla="*/ 1091565 w 2477548"/>
                  <a:gd name="connsiteY135" fmla="*/ 448723 h 566833"/>
                  <a:gd name="connsiteX136" fmla="*/ 1091565 w 2477548"/>
                  <a:gd name="connsiteY136" fmla="*/ 454724 h 566833"/>
                  <a:gd name="connsiteX137" fmla="*/ 1129379 w 2477548"/>
                  <a:gd name="connsiteY137" fmla="*/ 454724 h 566833"/>
                  <a:gd name="connsiteX138" fmla="*/ 1129379 w 2477548"/>
                  <a:gd name="connsiteY138" fmla="*/ 460915 h 566833"/>
                  <a:gd name="connsiteX139" fmla="*/ 1181957 w 2477548"/>
                  <a:gd name="connsiteY139" fmla="*/ 460915 h 566833"/>
                  <a:gd name="connsiteX140" fmla="*/ 1181957 w 2477548"/>
                  <a:gd name="connsiteY140" fmla="*/ 467011 h 566833"/>
                  <a:gd name="connsiteX141" fmla="*/ 1200912 w 2477548"/>
                  <a:gd name="connsiteY141" fmla="*/ 467011 h 566833"/>
                  <a:gd name="connsiteX142" fmla="*/ 1200912 w 2477548"/>
                  <a:gd name="connsiteY142" fmla="*/ 473107 h 566833"/>
                  <a:gd name="connsiteX143" fmla="*/ 1211390 w 2477548"/>
                  <a:gd name="connsiteY143" fmla="*/ 473107 h 566833"/>
                  <a:gd name="connsiteX144" fmla="*/ 1211390 w 2477548"/>
                  <a:gd name="connsiteY144" fmla="*/ 479298 h 566833"/>
                  <a:gd name="connsiteX145" fmla="*/ 1245108 w 2477548"/>
                  <a:gd name="connsiteY145" fmla="*/ 479298 h 566833"/>
                  <a:gd name="connsiteX146" fmla="*/ 1245108 w 2477548"/>
                  <a:gd name="connsiteY146" fmla="*/ 485394 h 566833"/>
                  <a:gd name="connsiteX147" fmla="*/ 1251395 w 2477548"/>
                  <a:gd name="connsiteY147" fmla="*/ 485394 h 566833"/>
                  <a:gd name="connsiteX148" fmla="*/ 1251395 w 2477548"/>
                  <a:gd name="connsiteY148" fmla="*/ 491490 h 566833"/>
                  <a:gd name="connsiteX149" fmla="*/ 1266063 w 2477548"/>
                  <a:gd name="connsiteY149" fmla="*/ 491490 h 566833"/>
                  <a:gd name="connsiteX150" fmla="*/ 1266063 w 2477548"/>
                  <a:gd name="connsiteY150" fmla="*/ 497586 h 566833"/>
                  <a:gd name="connsiteX151" fmla="*/ 1278731 w 2477548"/>
                  <a:gd name="connsiteY151" fmla="*/ 497586 h 566833"/>
                  <a:gd name="connsiteX152" fmla="*/ 1278731 w 2477548"/>
                  <a:gd name="connsiteY152" fmla="*/ 503777 h 566833"/>
                  <a:gd name="connsiteX153" fmla="*/ 1303973 w 2477548"/>
                  <a:gd name="connsiteY153" fmla="*/ 503777 h 566833"/>
                  <a:gd name="connsiteX154" fmla="*/ 1303973 w 2477548"/>
                  <a:gd name="connsiteY154" fmla="*/ 509873 h 566833"/>
                  <a:gd name="connsiteX155" fmla="*/ 1533239 w 2477548"/>
                  <a:gd name="connsiteY155" fmla="*/ 509873 h 566833"/>
                  <a:gd name="connsiteX156" fmla="*/ 1533239 w 2477548"/>
                  <a:gd name="connsiteY156" fmla="*/ 516065 h 566833"/>
                  <a:gd name="connsiteX157" fmla="*/ 1646777 w 2477548"/>
                  <a:gd name="connsiteY157" fmla="*/ 516065 h 566833"/>
                  <a:gd name="connsiteX158" fmla="*/ 1646777 w 2477548"/>
                  <a:gd name="connsiteY158" fmla="*/ 522256 h 566833"/>
                  <a:gd name="connsiteX159" fmla="*/ 1915954 w 2477548"/>
                  <a:gd name="connsiteY159" fmla="*/ 522256 h 566833"/>
                  <a:gd name="connsiteX160" fmla="*/ 1915954 w 2477548"/>
                  <a:gd name="connsiteY160" fmla="*/ 528542 h 566833"/>
                  <a:gd name="connsiteX161" fmla="*/ 1989582 w 2477548"/>
                  <a:gd name="connsiteY161" fmla="*/ 528542 h 566833"/>
                  <a:gd name="connsiteX162" fmla="*/ 1989582 w 2477548"/>
                  <a:gd name="connsiteY162" fmla="*/ 534829 h 566833"/>
                  <a:gd name="connsiteX163" fmla="*/ 2069497 w 2477548"/>
                  <a:gd name="connsiteY163" fmla="*/ 534829 h 566833"/>
                  <a:gd name="connsiteX164" fmla="*/ 2069497 w 2477548"/>
                  <a:gd name="connsiteY164" fmla="*/ 541115 h 566833"/>
                  <a:gd name="connsiteX165" fmla="*/ 2231422 w 2477548"/>
                  <a:gd name="connsiteY165" fmla="*/ 541115 h 566833"/>
                  <a:gd name="connsiteX166" fmla="*/ 2231422 w 2477548"/>
                  <a:gd name="connsiteY166" fmla="*/ 547592 h 566833"/>
                  <a:gd name="connsiteX167" fmla="*/ 2248281 w 2477548"/>
                  <a:gd name="connsiteY167" fmla="*/ 547592 h 566833"/>
                  <a:gd name="connsiteX168" fmla="*/ 2248281 w 2477548"/>
                  <a:gd name="connsiteY168" fmla="*/ 553974 h 566833"/>
                  <a:gd name="connsiteX169" fmla="*/ 2366105 w 2477548"/>
                  <a:gd name="connsiteY169" fmla="*/ 553974 h 566833"/>
                  <a:gd name="connsiteX170" fmla="*/ 2366105 w 2477548"/>
                  <a:gd name="connsiteY170" fmla="*/ 560451 h 566833"/>
                  <a:gd name="connsiteX171" fmla="*/ 2458593 w 2477548"/>
                  <a:gd name="connsiteY171" fmla="*/ 560451 h 566833"/>
                  <a:gd name="connsiteX172" fmla="*/ 2458593 w 2477548"/>
                  <a:gd name="connsiteY172" fmla="*/ 566833 h 566833"/>
                  <a:gd name="connsiteX173" fmla="*/ 2477548 w 2477548"/>
                  <a:gd name="connsiteY173" fmla="*/ 566833 h 566833"/>
                  <a:gd name="connsiteX0" fmla="*/ 0 w 2458593"/>
                  <a:gd name="connsiteY0" fmla="*/ 0 h 566833"/>
                  <a:gd name="connsiteX1" fmla="*/ 113538 w 2458593"/>
                  <a:gd name="connsiteY1" fmla="*/ 0 h 566833"/>
                  <a:gd name="connsiteX2" fmla="*/ 113538 w 2458593"/>
                  <a:gd name="connsiteY2" fmla="*/ 5906 h 566833"/>
                  <a:gd name="connsiteX3" fmla="*/ 153543 w 2458593"/>
                  <a:gd name="connsiteY3" fmla="*/ 5906 h 566833"/>
                  <a:gd name="connsiteX4" fmla="*/ 153543 w 2458593"/>
                  <a:gd name="connsiteY4" fmla="*/ 12002 h 566833"/>
                  <a:gd name="connsiteX5" fmla="*/ 161925 w 2458593"/>
                  <a:gd name="connsiteY5" fmla="*/ 12002 h 566833"/>
                  <a:gd name="connsiteX6" fmla="*/ 161925 w 2458593"/>
                  <a:gd name="connsiteY6" fmla="*/ 18002 h 566833"/>
                  <a:gd name="connsiteX7" fmla="*/ 172498 w 2458593"/>
                  <a:gd name="connsiteY7" fmla="*/ 18002 h 566833"/>
                  <a:gd name="connsiteX8" fmla="*/ 172498 w 2458593"/>
                  <a:gd name="connsiteY8" fmla="*/ 24003 h 566833"/>
                  <a:gd name="connsiteX9" fmla="*/ 222980 w 2458593"/>
                  <a:gd name="connsiteY9" fmla="*/ 24003 h 566833"/>
                  <a:gd name="connsiteX10" fmla="*/ 222980 w 2458593"/>
                  <a:gd name="connsiteY10" fmla="*/ 30099 h 566833"/>
                  <a:gd name="connsiteX11" fmla="*/ 231362 w 2458593"/>
                  <a:gd name="connsiteY11" fmla="*/ 30099 h 566833"/>
                  <a:gd name="connsiteX12" fmla="*/ 231362 w 2458593"/>
                  <a:gd name="connsiteY12" fmla="*/ 42196 h 566833"/>
                  <a:gd name="connsiteX13" fmla="*/ 237649 w 2458593"/>
                  <a:gd name="connsiteY13" fmla="*/ 42196 h 566833"/>
                  <a:gd name="connsiteX14" fmla="*/ 237649 w 2458593"/>
                  <a:gd name="connsiteY14" fmla="*/ 48292 h 566833"/>
                  <a:gd name="connsiteX15" fmla="*/ 241840 w 2458593"/>
                  <a:gd name="connsiteY15" fmla="*/ 48292 h 566833"/>
                  <a:gd name="connsiteX16" fmla="*/ 241840 w 2458593"/>
                  <a:gd name="connsiteY16" fmla="*/ 54388 h 566833"/>
                  <a:gd name="connsiteX17" fmla="*/ 246031 w 2458593"/>
                  <a:gd name="connsiteY17" fmla="*/ 54388 h 566833"/>
                  <a:gd name="connsiteX18" fmla="*/ 246031 w 2458593"/>
                  <a:gd name="connsiteY18" fmla="*/ 60484 h 566833"/>
                  <a:gd name="connsiteX19" fmla="*/ 248126 w 2458593"/>
                  <a:gd name="connsiteY19" fmla="*/ 60484 h 566833"/>
                  <a:gd name="connsiteX20" fmla="*/ 248126 w 2458593"/>
                  <a:gd name="connsiteY20" fmla="*/ 66485 h 566833"/>
                  <a:gd name="connsiteX21" fmla="*/ 250317 w 2458593"/>
                  <a:gd name="connsiteY21" fmla="*/ 66485 h 566833"/>
                  <a:gd name="connsiteX22" fmla="*/ 250317 w 2458593"/>
                  <a:gd name="connsiteY22" fmla="*/ 72581 h 566833"/>
                  <a:gd name="connsiteX23" fmla="*/ 260794 w 2458593"/>
                  <a:gd name="connsiteY23" fmla="*/ 72581 h 566833"/>
                  <a:gd name="connsiteX24" fmla="*/ 260794 w 2458593"/>
                  <a:gd name="connsiteY24" fmla="*/ 78677 h 566833"/>
                  <a:gd name="connsiteX25" fmla="*/ 267081 w 2458593"/>
                  <a:gd name="connsiteY25" fmla="*/ 78677 h 566833"/>
                  <a:gd name="connsiteX26" fmla="*/ 267081 w 2458593"/>
                  <a:gd name="connsiteY26" fmla="*/ 84677 h 566833"/>
                  <a:gd name="connsiteX27" fmla="*/ 281845 w 2458593"/>
                  <a:gd name="connsiteY27" fmla="*/ 84677 h 566833"/>
                  <a:gd name="connsiteX28" fmla="*/ 281845 w 2458593"/>
                  <a:gd name="connsiteY28" fmla="*/ 90773 h 566833"/>
                  <a:gd name="connsiteX29" fmla="*/ 290227 w 2458593"/>
                  <a:gd name="connsiteY29" fmla="*/ 90773 h 566833"/>
                  <a:gd name="connsiteX30" fmla="*/ 290227 w 2458593"/>
                  <a:gd name="connsiteY30" fmla="*/ 96869 h 566833"/>
                  <a:gd name="connsiteX31" fmla="*/ 300800 w 2458593"/>
                  <a:gd name="connsiteY31" fmla="*/ 96869 h 566833"/>
                  <a:gd name="connsiteX32" fmla="*/ 300800 w 2458593"/>
                  <a:gd name="connsiteY32" fmla="*/ 102870 h 566833"/>
                  <a:gd name="connsiteX33" fmla="*/ 313373 w 2458593"/>
                  <a:gd name="connsiteY33" fmla="*/ 102870 h 566833"/>
                  <a:gd name="connsiteX34" fmla="*/ 313373 w 2458593"/>
                  <a:gd name="connsiteY34" fmla="*/ 108966 h 566833"/>
                  <a:gd name="connsiteX35" fmla="*/ 319659 w 2458593"/>
                  <a:gd name="connsiteY35" fmla="*/ 108966 h 566833"/>
                  <a:gd name="connsiteX36" fmla="*/ 319659 w 2458593"/>
                  <a:gd name="connsiteY36" fmla="*/ 121063 h 566833"/>
                  <a:gd name="connsiteX37" fmla="*/ 323850 w 2458593"/>
                  <a:gd name="connsiteY37" fmla="*/ 121063 h 566833"/>
                  <a:gd name="connsiteX38" fmla="*/ 323850 w 2458593"/>
                  <a:gd name="connsiteY38" fmla="*/ 127159 h 566833"/>
                  <a:gd name="connsiteX39" fmla="*/ 336518 w 2458593"/>
                  <a:gd name="connsiteY39" fmla="*/ 127159 h 566833"/>
                  <a:gd name="connsiteX40" fmla="*/ 336518 w 2458593"/>
                  <a:gd name="connsiteY40" fmla="*/ 133255 h 566833"/>
                  <a:gd name="connsiteX41" fmla="*/ 351187 w 2458593"/>
                  <a:gd name="connsiteY41" fmla="*/ 133255 h 566833"/>
                  <a:gd name="connsiteX42" fmla="*/ 351187 w 2458593"/>
                  <a:gd name="connsiteY42" fmla="*/ 139256 h 566833"/>
                  <a:gd name="connsiteX43" fmla="*/ 355473 w 2458593"/>
                  <a:gd name="connsiteY43" fmla="*/ 139256 h 566833"/>
                  <a:gd name="connsiteX44" fmla="*/ 355473 w 2458593"/>
                  <a:gd name="connsiteY44" fmla="*/ 145352 h 566833"/>
                  <a:gd name="connsiteX45" fmla="*/ 365950 w 2458593"/>
                  <a:gd name="connsiteY45" fmla="*/ 145352 h 566833"/>
                  <a:gd name="connsiteX46" fmla="*/ 365950 w 2458593"/>
                  <a:gd name="connsiteY46" fmla="*/ 151448 h 566833"/>
                  <a:gd name="connsiteX47" fmla="*/ 374333 w 2458593"/>
                  <a:gd name="connsiteY47" fmla="*/ 151448 h 566833"/>
                  <a:gd name="connsiteX48" fmla="*/ 374333 w 2458593"/>
                  <a:gd name="connsiteY48" fmla="*/ 157544 h 566833"/>
                  <a:gd name="connsiteX49" fmla="*/ 389096 w 2458593"/>
                  <a:gd name="connsiteY49" fmla="*/ 157544 h 566833"/>
                  <a:gd name="connsiteX50" fmla="*/ 389096 w 2458593"/>
                  <a:gd name="connsiteY50" fmla="*/ 163544 h 566833"/>
                  <a:gd name="connsiteX51" fmla="*/ 393287 w 2458593"/>
                  <a:gd name="connsiteY51" fmla="*/ 163544 h 566833"/>
                  <a:gd name="connsiteX52" fmla="*/ 393287 w 2458593"/>
                  <a:gd name="connsiteY52" fmla="*/ 169640 h 566833"/>
                  <a:gd name="connsiteX53" fmla="*/ 397478 w 2458593"/>
                  <a:gd name="connsiteY53" fmla="*/ 169640 h 566833"/>
                  <a:gd name="connsiteX54" fmla="*/ 397478 w 2458593"/>
                  <a:gd name="connsiteY54" fmla="*/ 175736 h 566833"/>
                  <a:gd name="connsiteX55" fmla="*/ 410147 w 2458593"/>
                  <a:gd name="connsiteY55" fmla="*/ 175736 h 566833"/>
                  <a:gd name="connsiteX56" fmla="*/ 410147 w 2458593"/>
                  <a:gd name="connsiteY56" fmla="*/ 181737 h 566833"/>
                  <a:gd name="connsiteX57" fmla="*/ 439579 w 2458593"/>
                  <a:gd name="connsiteY57" fmla="*/ 181737 h 566833"/>
                  <a:gd name="connsiteX58" fmla="*/ 439579 w 2458593"/>
                  <a:gd name="connsiteY58" fmla="*/ 187833 h 566833"/>
                  <a:gd name="connsiteX59" fmla="*/ 447961 w 2458593"/>
                  <a:gd name="connsiteY59" fmla="*/ 187833 h 566833"/>
                  <a:gd name="connsiteX60" fmla="*/ 447961 w 2458593"/>
                  <a:gd name="connsiteY60" fmla="*/ 193929 h 566833"/>
                  <a:gd name="connsiteX61" fmla="*/ 450056 w 2458593"/>
                  <a:gd name="connsiteY61" fmla="*/ 193929 h 566833"/>
                  <a:gd name="connsiteX62" fmla="*/ 450056 w 2458593"/>
                  <a:gd name="connsiteY62" fmla="*/ 199930 h 566833"/>
                  <a:gd name="connsiteX63" fmla="*/ 464820 w 2458593"/>
                  <a:gd name="connsiteY63" fmla="*/ 199930 h 566833"/>
                  <a:gd name="connsiteX64" fmla="*/ 464820 w 2458593"/>
                  <a:gd name="connsiteY64" fmla="*/ 212122 h 566833"/>
                  <a:gd name="connsiteX65" fmla="*/ 466916 w 2458593"/>
                  <a:gd name="connsiteY65" fmla="*/ 212122 h 566833"/>
                  <a:gd name="connsiteX66" fmla="*/ 466916 w 2458593"/>
                  <a:gd name="connsiteY66" fmla="*/ 218123 h 566833"/>
                  <a:gd name="connsiteX67" fmla="*/ 473202 w 2458593"/>
                  <a:gd name="connsiteY67" fmla="*/ 218123 h 566833"/>
                  <a:gd name="connsiteX68" fmla="*/ 473202 w 2458593"/>
                  <a:gd name="connsiteY68" fmla="*/ 224219 h 566833"/>
                  <a:gd name="connsiteX69" fmla="*/ 477393 w 2458593"/>
                  <a:gd name="connsiteY69" fmla="*/ 224219 h 566833"/>
                  <a:gd name="connsiteX70" fmla="*/ 477393 w 2458593"/>
                  <a:gd name="connsiteY70" fmla="*/ 230315 h 566833"/>
                  <a:gd name="connsiteX71" fmla="*/ 494252 w 2458593"/>
                  <a:gd name="connsiteY71" fmla="*/ 230315 h 566833"/>
                  <a:gd name="connsiteX72" fmla="*/ 494252 w 2458593"/>
                  <a:gd name="connsiteY72" fmla="*/ 242411 h 566833"/>
                  <a:gd name="connsiteX73" fmla="*/ 498443 w 2458593"/>
                  <a:gd name="connsiteY73" fmla="*/ 242411 h 566833"/>
                  <a:gd name="connsiteX74" fmla="*/ 498443 w 2458593"/>
                  <a:gd name="connsiteY74" fmla="*/ 248507 h 566833"/>
                  <a:gd name="connsiteX75" fmla="*/ 521589 w 2458593"/>
                  <a:gd name="connsiteY75" fmla="*/ 248507 h 566833"/>
                  <a:gd name="connsiteX76" fmla="*/ 521589 w 2458593"/>
                  <a:gd name="connsiteY76" fmla="*/ 254603 h 566833"/>
                  <a:gd name="connsiteX77" fmla="*/ 525780 w 2458593"/>
                  <a:gd name="connsiteY77" fmla="*/ 254603 h 566833"/>
                  <a:gd name="connsiteX78" fmla="*/ 525780 w 2458593"/>
                  <a:gd name="connsiteY78" fmla="*/ 260604 h 566833"/>
                  <a:gd name="connsiteX79" fmla="*/ 532067 w 2458593"/>
                  <a:gd name="connsiteY79" fmla="*/ 260604 h 566833"/>
                  <a:gd name="connsiteX80" fmla="*/ 532067 w 2458593"/>
                  <a:gd name="connsiteY80" fmla="*/ 272796 h 566833"/>
                  <a:gd name="connsiteX81" fmla="*/ 551021 w 2458593"/>
                  <a:gd name="connsiteY81" fmla="*/ 272796 h 566833"/>
                  <a:gd name="connsiteX82" fmla="*/ 551021 w 2458593"/>
                  <a:gd name="connsiteY82" fmla="*/ 278797 h 566833"/>
                  <a:gd name="connsiteX83" fmla="*/ 559403 w 2458593"/>
                  <a:gd name="connsiteY83" fmla="*/ 278797 h 566833"/>
                  <a:gd name="connsiteX84" fmla="*/ 559403 w 2458593"/>
                  <a:gd name="connsiteY84" fmla="*/ 284893 h 566833"/>
                  <a:gd name="connsiteX85" fmla="*/ 572072 w 2458593"/>
                  <a:gd name="connsiteY85" fmla="*/ 284893 h 566833"/>
                  <a:gd name="connsiteX86" fmla="*/ 572072 w 2458593"/>
                  <a:gd name="connsiteY86" fmla="*/ 290989 h 566833"/>
                  <a:gd name="connsiteX87" fmla="*/ 588931 w 2458593"/>
                  <a:gd name="connsiteY87" fmla="*/ 290989 h 566833"/>
                  <a:gd name="connsiteX88" fmla="*/ 588931 w 2458593"/>
                  <a:gd name="connsiteY88" fmla="*/ 296990 h 566833"/>
                  <a:gd name="connsiteX89" fmla="*/ 616268 w 2458593"/>
                  <a:gd name="connsiteY89" fmla="*/ 296990 h 566833"/>
                  <a:gd name="connsiteX90" fmla="*/ 616268 w 2458593"/>
                  <a:gd name="connsiteY90" fmla="*/ 303086 h 566833"/>
                  <a:gd name="connsiteX91" fmla="*/ 618363 w 2458593"/>
                  <a:gd name="connsiteY91" fmla="*/ 303086 h 566833"/>
                  <a:gd name="connsiteX92" fmla="*/ 618363 w 2458593"/>
                  <a:gd name="connsiteY92" fmla="*/ 309182 h 566833"/>
                  <a:gd name="connsiteX93" fmla="*/ 628840 w 2458593"/>
                  <a:gd name="connsiteY93" fmla="*/ 309182 h 566833"/>
                  <a:gd name="connsiteX94" fmla="*/ 628840 w 2458593"/>
                  <a:gd name="connsiteY94" fmla="*/ 315182 h 566833"/>
                  <a:gd name="connsiteX95" fmla="*/ 635127 w 2458593"/>
                  <a:gd name="connsiteY95" fmla="*/ 315182 h 566833"/>
                  <a:gd name="connsiteX96" fmla="*/ 635127 w 2458593"/>
                  <a:gd name="connsiteY96" fmla="*/ 327374 h 566833"/>
                  <a:gd name="connsiteX97" fmla="*/ 643604 w 2458593"/>
                  <a:gd name="connsiteY97" fmla="*/ 327374 h 566833"/>
                  <a:gd name="connsiteX98" fmla="*/ 643604 w 2458593"/>
                  <a:gd name="connsiteY98" fmla="*/ 333375 h 566833"/>
                  <a:gd name="connsiteX99" fmla="*/ 649891 w 2458593"/>
                  <a:gd name="connsiteY99" fmla="*/ 333375 h 566833"/>
                  <a:gd name="connsiteX100" fmla="*/ 649891 w 2458593"/>
                  <a:gd name="connsiteY100" fmla="*/ 345567 h 566833"/>
                  <a:gd name="connsiteX101" fmla="*/ 651986 w 2458593"/>
                  <a:gd name="connsiteY101" fmla="*/ 345567 h 566833"/>
                  <a:gd name="connsiteX102" fmla="*/ 651986 w 2458593"/>
                  <a:gd name="connsiteY102" fmla="*/ 351663 h 566833"/>
                  <a:gd name="connsiteX103" fmla="*/ 664559 w 2458593"/>
                  <a:gd name="connsiteY103" fmla="*/ 351663 h 566833"/>
                  <a:gd name="connsiteX104" fmla="*/ 664559 w 2458593"/>
                  <a:gd name="connsiteY104" fmla="*/ 357664 h 566833"/>
                  <a:gd name="connsiteX105" fmla="*/ 687705 w 2458593"/>
                  <a:gd name="connsiteY105" fmla="*/ 357664 h 566833"/>
                  <a:gd name="connsiteX106" fmla="*/ 687705 w 2458593"/>
                  <a:gd name="connsiteY106" fmla="*/ 363760 h 566833"/>
                  <a:gd name="connsiteX107" fmla="*/ 694087 w 2458593"/>
                  <a:gd name="connsiteY107" fmla="*/ 363760 h 566833"/>
                  <a:gd name="connsiteX108" fmla="*/ 694087 w 2458593"/>
                  <a:gd name="connsiteY108" fmla="*/ 369856 h 566833"/>
                  <a:gd name="connsiteX109" fmla="*/ 702469 w 2458593"/>
                  <a:gd name="connsiteY109" fmla="*/ 369856 h 566833"/>
                  <a:gd name="connsiteX110" fmla="*/ 702469 w 2458593"/>
                  <a:gd name="connsiteY110" fmla="*/ 375857 h 566833"/>
                  <a:gd name="connsiteX111" fmla="*/ 710851 w 2458593"/>
                  <a:gd name="connsiteY111" fmla="*/ 375857 h 566833"/>
                  <a:gd name="connsiteX112" fmla="*/ 710851 w 2458593"/>
                  <a:gd name="connsiteY112" fmla="*/ 381953 h 566833"/>
                  <a:gd name="connsiteX113" fmla="*/ 715042 w 2458593"/>
                  <a:gd name="connsiteY113" fmla="*/ 381953 h 566833"/>
                  <a:gd name="connsiteX114" fmla="*/ 715042 w 2458593"/>
                  <a:gd name="connsiteY114" fmla="*/ 388049 h 566833"/>
                  <a:gd name="connsiteX115" fmla="*/ 788670 w 2458593"/>
                  <a:gd name="connsiteY115" fmla="*/ 388049 h 566833"/>
                  <a:gd name="connsiteX116" fmla="*/ 788670 w 2458593"/>
                  <a:gd name="connsiteY116" fmla="*/ 394049 h 566833"/>
                  <a:gd name="connsiteX117" fmla="*/ 809720 w 2458593"/>
                  <a:gd name="connsiteY117" fmla="*/ 394049 h 566833"/>
                  <a:gd name="connsiteX118" fmla="*/ 809720 w 2458593"/>
                  <a:gd name="connsiteY118" fmla="*/ 400145 h 566833"/>
                  <a:gd name="connsiteX119" fmla="*/ 816007 w 2458593"/>
                  <a:gd name="connsiteY119" fmla="*/ 400145 h 566833"/>
                  <a:gd name="connsiteX120" fmla="*/ 816007 w 2458593"/>
                  <a:gd name="connsiteY120" fmla="*/ 406241 h 566833"/>
                  <a:gd name="connsiteX121" fmla="*/ 858107 w 2458593"/>
                  <a:gd name="connsiteY121" fmla="*/ 406241 h 566833"/>
                  <a:gd name="connsiteX122" fmla="*/ 858107 w 2458593"/>
                  <a:gd name="connsiteY122" fmla="*/ 412242 h 566833"/>
                  <a:gd name="connsiteX123" fmla="*/ 872776 w 2458593"/>
                  <a:gd name="connsiteY123" fmla="*/ 412242 h 566833"/>
                  <a:gd name="connsiteX124" fmla="*/ 872776 w 2458593"/>
                  <a:gd name="connsiteY124" fmla="*/ 418338 h 566833"/>
                  <a:gd name="connsiteX125" fmla="*/ 902303 w 2458593"/>
                  <a:gd name="connsiteY125" fmla="*/ 418338 h 566833"/>
                  <a:gd name="connsiteX126" fmla="*/ 902303 w 2458593"/>
                  <a:gd name="connsiteY126" fmla="*/ 424434 h 566833"/>
                  <a:gd name="connsiteX127" fmla="*/ 904399 w 2458593"/>
                  <a:gd name="connsiteY127" fmla="*/ 424434 h 566833"/>
                  <a:gd name="connsiteX128" fmla="*/ 904399 w 2458593"/>
                  <a:gd name="connsiteY128" fmla="*/ 430435 h 566833"/>
                  <a:gd name="connsiteX129" fmla="*/ 927449 w 2458593"/>
                  <a:gd name="connsiteY129" fmla="*/ 430435 h 566833"/>
                  <a:gd name="connsiteX130" fmla="*/ 927449 w 2458593"/>
                  <a:gd name="connsiteY130" fmla="*/ 436531 h 566833"/>
                  <a:gd name="connsiteX131" fmla="*/ 940118 w 2458593"/>
                  <a:gd name="connsiteY131" fmla="*/ 436531 h 566833"/>
                  <a:gd name="connsiteX132" fmla="*/ 940118 w 2458593"/>
                  <a:gd name="connsiteY132" fmla="*/ 442627 h 566833"/>
                  <a:gd name="connsiteX133" fmla="*/ 975836 w 2458593"/>
                  <a:gd name="connsiteY133" fmla="*/ 442627 h 566833"/>
                  <a:gd name="connsiteX134" fmla="*/ 975836 w 2458593"/>
                  <a:gd name="connsiteY134" fmla="*/ 448723 h 566833"/>
                  <a:gd name="connsiteX135" fmla="*/ 1091565 w 2458593"/>
                  <a:gd name="connsiteY135" fmla="*/ 448723 h 566833"/>
                  <a:gd name="connsiteX136" fmla="*/ 1091565 w 2458593"/>
                  <a:gd name="connsiteY136" fmla="*/ 454724 h 566833"/>
                  <a:gd name="connsiteX137" fmla="*/ 1129379 w 2458593"/>
                  <a:gd name="connsiteY137" fmla="*/ 454724 h 566833"/>
                  <a:gd name="connsiteX138" fmla="*/ 1129379 w 2458593"/>
                  <a:gd name="connsiteY138" fmla="*/ 460915 h 566833"/>
                  <a:gd name="connsiteX139" fmla="*/ 1181957 w 2458593"/>
                  <a:gd name="connsiteY139" fmla="*/ 460915 h 566833"/>
                  <a:gd name="connsiteX140" fmla="*/ 1181957 w 2458593"/>
                  <a:gd name="connsiteY140" fmla="*/ 467011 h 566833"/>
                  <a:gd name="connsiteX141" fmla="*/ 1200912 w 2458593"/>
                  <a:gd name="connsiteY141" fmla="*/ 467011 h 566833"/>
                  <a:gd name="connsiteX142" fmla="*/ 1200912 w 2458593"/>
                  <a:gd name="connsiteY142" fmla="*/ 473107 h 566833"/>
                  <a:gd name="connsiteX143" fmla="*/ 1211390 w 2458593"/>
                  <a:gd name="connsiteY143" fmla="*/ 473107 h 566833"/>
                  <a:gd name="connsiteX144" fmla="*/ 1211390 w 2458593"/>
                  <a:gd name="connsiteY144" fmla="*/ 479298 h 566833"/>
                  <a:gd name="connsiteX145" fmla="*/ 1245108 w 2458593"/>
                  <a:gd name="connsiteY145" fmla="*/ 479298 h 566833"/>
                  <a:gd name="connsiteX146" fmla="*/ 1245108 w 2458593"/>
                  <a:gd name="connsiteY146" fmla="*/ 485394 h 566833"/>
                  <a:gd name="connsiteX147" fmla="*/ 1251395 w 2458593"/>
                  <a:gd name="connsiteY147" fmla="*/ 485394 h 566833"/>
                  <a:gd name="connsiteX148" fmla="*/ 1251395 w 2458593"/>
                  <a:gd name="connsiteY148" fmla="*/ 491490 h 566833"/>
                  <a:gd name="connsiteX149" fmla="*/ 1266063 w 2458593"/>
                  <a:gd name="connsiteY149" fmla="*/ 491490 h 566833"/>
                  <a:gd name="connsiteX150" fmla="*/ 1266063 w 2458593"/>
                  <a:gd name="connsiteY150" fmla="*/ 497586 h 566833"/>
                  <a:gd name="connsiteX151" fmla="*/ 1278731 w 2458593"/>
                  <a:gd name="connsiteY151" fmla="*/ 497586 h 566833"/>
                  <a:gd name="connsiteX152" fmla="*/ 1278731 w 2458593"/>
                  <a:gd name="connsiteY152" fmla="*/ 503777 h 566833"/>
                  <a:gd name="connsiteX153" fmla="*/ 1303973 w 2458593"/>
                  <a:gd name="connsiteY153" fmla="*/ 503777 h 566833"/>
                  <a:gd name="connsiteX154" fmla="*/ 1303973 w 2458593"/>
                  <a:gd name="connsiteY154" fmla="*/ 509873 h 566833"/>
                  <a:gd name="connsiteX155" fmla="*/ 1533239 w 2458593"/>
                  <a:gd name="connsiteY155" fmla="*/ 509873 h 566833"/>
                  <a:gd name="connsiteX156" fmla="*/ 1533239 w 2458593"/>
                  <a:gd name="connsiteY156" fmla="*/ 516065 h 566833"/>
                  <a:gd name="connsiteX157" fmla="*/ 1646777 w 2458593"/>
                  <a:gd name="connsiteY157" fmla="*/ 516065 h 566833"/>
                  <a:gd name="connsiteX158" fmla="*/ 1646777 w 2458593"/>
                  <a:gd name="connsiteY158" fmla="*/ 522256 h 566833"/>
                  <a:gd name="connsiteX159" fmla="*/ 1915954 w 2458593"/>
                  <a:gd name="connsiteY159" fmla="*/ 522256 h 566833"/>
                  <a:gd name="connsiteX160" fmla="*/ 1915954 w 2458593"/>
                  <a:gd name="connsiteY160" fmla="*/ 528542 h 566833"/>
                  <a:gd name="connsiteX161" fmla="*/ 1989582 w 2458593"/>
                  <a:gd name="connsiteY161" fmla="*/ 528542 h 566833"/>
                  <a:gd name="connsiteX162" fmla="*/ 1989582 w 2458593"/>
                  <a:gd name="connsiteY162" fmla="*/ 534829 h 566833"/>
                  <a:gd name="connsiteX163" fmla="*/ 2069497 w 2458593"/>
                  <a:gd name="connsiteY163" fmla="*/ 534829 h 566833"/>
                  <a:gd name="connsiteX164" fmla="*/ 2069497 w 2458593"/>
                  <a:gd name="connsiteY164" fmla="*/ 541115 h 566833"/>
                  <a:gd name="connsiteX165" fmla="*/ 2231422 w 2458593"/>
                  <a:gd name="connsiteY165" fmla="*/ 541115 h 566833"/>
                  <a:gd name="connsiteX166" fmla="*/ 2231422 w 2458593"/>
                  <a:gd name="connsiteY166" fmla="*/ 547592 h 566833"/>
                  <a:gd name="connsiteX167" fmla="*/ 2248281 w 2458593"/>
                  <a:gd name="connsiteY167" fmla="*/ 547592 h 566833"/>
                  <a:gd name="connsiteX168" fmla="*/ 2248281 w 2458593"/>
                  <a:gd name="connsiteY168" fmla="*/ 553974 h 566833"/>
                  <a:gd name="connsiteX169" fmla="*/ 2366105 w 2458593"/>
                  <a:gd name="connsiteY169" fmla="*/ 553974 h 566833"/>
                  <a:gd name="connsiteX170" fmla="*/ 2366105 w 2458593"/>
                  <a:gd name="connsiteY170" fmla="*/ 560451 h 566833"/>
                  <a:gd name="connsiteX171" fmla="*/ 2458593 w 2458593"/>
                  <a:gd name="connsiteY171" fmla="*/ 560451 h 566833"/>
                  <a:gd name="connsiteX172" fmla="*/ 2458593 w 2458593"/>
                  <a:gd name="connsiteY172" fmla="*/ 566833 h 566833"/>
                  <a:gd name="connsiteX0" fmla="*/ 0 w 2458593"/>
                  <a:gd name="connsiteY0" fmla="*/ 0 h 560451"/>
                  <a:gd name="connsiteX1" fmla="*/ 113538 w 2458593"/>
                  <a:gd name="connsiteY1" fmla="*/ 0 h 560451"/>
                  <a:gd name="connsiteX2" fmla="*/ 113538 w 2458593"/>
                  <a:gd name="connsiteY2" fmla="*/ 5906 h 560451"/>
                  <a:gd name="connsiteX3" fmla="*/ 153543 w 2458593"/>
                  <a:gd name="connsiteY3" fmla="*/ 5906 h 560451"/>
                  <a:gd name="connsiteX4" fmla="*/ 153543 w 2458593"/>
                  <a:gd name="connsiteY4" fmla="*/ 12002 h 560451"/>
                  <a:gd name="connsiteX5" fmla="*/ 161925 w 2458593"/>
                  <a:gd name="connsiteY5" fmla="*/ 12002 h 560451"/>
                  <a:gd name="connsiteX6" fmla="*/ 161925 w 2458593"/>
                  <a:gd name="connsiteY6" fmla="*/ 18002 h 560451"/>
                  <a:gd name="connsiteX7" fmla="*/ 172498 w 2458593"/>
                  <a:gd name="connsiteY7" fmla="*/ 18002 h 560451"/>
                  <a:gd name="connsiteX8" fmla="*/ 172498 w 2458593"/>
                  <a:gd name="connsiteY8" fmla="*/ 24003 h 560451"/>
                  <a:gd name="connsiteX9" fmla="*/ 222980 w 2458593"/>
                  <a:gd name="connsiteY9" fmla="*/ 24003 h 560451"/>
                  <a:gd name="connsiteX10" fmla="*/ 222980 w 2458593"/>
                  <a:gd name="connsiteY10" fmla="*/ 30099 h 560451"/>
                  <a:gd name="connsiteX11" fmla="*/ 231362 w 2458593"/>
                  <a:gd name="connsiteY11" fmla="*/ 30099 h 560451"/>
                  <a:gd name="connsiteX12" fmla="*/ 231362 w 2458593"/>
                  <a:gd name="connsiteY12" fmla="*/ 42196 h 560451"/>
                  <a:gd name="connsiteX13" fmla="*/ 237649 w 2458593"/>
                  <a:gd name="connsiteY13" fmla="*/ 42196 h 560451"/>
                  <a:gd name="connsiteX14" fmla="*/ 237649 w 2458593"/>
                  <a:gd name="connsiteY14" fmla="*/ 48292 h 560451"/>
                  <a:gd name="connsiteX15" fmla="*/ 241840 w 2458593"/>
                  <a:gd name="connsiteY15" fmla="*/ 48292 h 560451"/>
                  <a:gd name="connsiteX16" fmla="*/ 241840 w 2458593"/>
                  <a:gd name="connsiteY16" fmla="*/ 54388 h 560451"/>
                  <a:gd name="connsiteX17" fmla="*/ 246031 w 2458593"/>
                  <a:gd name="connsiteY17" fmla="*/ 54388 h 560451"/>
                  <a:gd name="connsiteX18" fmla="*/ 246031 w 2458593"/>
                  <a:gd name="connsiteY18" fmla="*/ 60484 h 560451"/>
                  <a:gd name="connsiteX19" fmla="*/ 248126 w 2458593"/>
                  <a:gd name="connsiteY19" fmla="*/ 60484 h 560451"/>
                  <a:gd name="connsiteX20" fmla="*/ 248126 w 2458593"/>
                  <a:gd name="connsiteY20" fmla="*/ 66485 h 560451"/>
                  <a:gd name="connsiteX21" fmla="*/ 250317 w 2458593"/>
                  <a:gd name="connsiteY21" fmla="*/ 66485 h 560451"/>
                  <a:gd name="connsiteX22" fmla="*/ 250317 w 2458593"/>
                  <a:gd name="connsiteY22" fmla="*/ 72581 h 560451"/>
                  <a:gd name="connsiteX23" fmla="*/ 260794 w 2458593"/>
                  <a:gd name="connsiteY23" fmla="*/ 72581 h 560451"/>
                  <a:gd name="connsiteX24" fmla="*/ 260794 w 2458593"/>
                  <a:gd name="connsiteY24" fmla="*/ 78677 h 560451"/>
                  <a:gd name="connsiteX25" fmla="*/ 267081 w 2458593"/>
                  <a:gd name="connsiteY25" fmla="*/ 78677 h 560451"/>
                  <a:gd name="connsiteX26" fmla="*/ 267081 w 2458593"/>
                  <a:gd name="connsiteY26" fmla="*/ 84677 h 560451"/>
                  <a:gd name="connsiteX27" fmla="*/ 281845 w 2458593"/>
                  <a:gd name="connsiteY27" fmla="*/ 84677 h 560451"/>
                  <a:gd name="connsiteX28" fmla="*/ 281845 w 2458593"/>
                  <a:gd name="connsiteY28" fmla="*/ 90773 h 560451"/>
                  <a:gd name="connsiteX29" fmla="*/ 290227 w 2458593"/>
                  <a:gd name="connsiteY29" fmla="*/ 90773 h 560451"/>
                  <a:gd name="connsiteX30" fmla="*/ 290227 w 2458593"/>
                  <a:gd name="connsiteY30" fmla="*/ 96869 h 560451"/>
                  <a:gd name="connsiteX31" fmla="*/ 300800 w 2458593"/>
                  <a:gd name="connsiteY31" fmla="*/ 96869 h 560451"/>
                  <a:gd name="connsiteX32" fmla="*/ 300800 w 2458593"/>
                  <a:gd name="connsiteY32" fmla="*/ 102870 h 560451"/>
                  <a:gd name="connsiteX33" fmla="*/ 313373 w 2458593"/>
                  <a:gd name="connsiteY33" fmla="*/ 102870 h 560451"/>
                  <a:gd name="connsiteX34" fmla="*/ 313373 w 2458593"/>
                  <a:gd name="connsiteY34" fmla="*/ 108966 h 560451"/>
                  <a:gd name="connsiteX35" fmla="*/ 319659 w 2458593"/>
                  <a:gd name="connsiteY35" fmla="*/ 108966 h 560451"/>
                  <a:gd name="connsiteX36" fmla="*/ 319659 w 2458593"/>
                  <a:gd name="connsiteY36" fmla="*/ 121063 h 560451"/>
                  <a:gd name="connsiteX37" fmla="*/ 323850 w 2458593"/>
                  <a:gd name="connsiteY37" fmla="*/ 121063 h 560451"/>
                  <a:gd name="connsiteX38" fmla="*/ 323850 w 2458593"/>
                  <a:gd name="connsiteY38" fmla="*/ 127159 h 560451"/>
                  <a:gd name="connsiteX39" fmla="*/ 336518 w 2458593"/>
                  <a:gd name="connsiteY39" fmla="*/ 127159 h 560451"/>
                  <a:gd name="connsiteX40" fmla="*/ 336518 w 2458593"/>
                  <a:gd name="connsiteY40" fmla="*/ 133255 h 560451"/>
                  <a:gd name="connsiteX41" fmla="*/ 351187 w 2458593"/>
                  <a:gd name="connsiteY41" fmla="*/ 133255 h 560451"/>
                  <a:gd name="connsiteX42" fmla="*/ 351187 w 2458593"/>
                  <a:gd name="connsiteY42" fmla="*/ 139256 h 560451"/>
                  <a:gd name="connsiteX43" fmla="*/ 355473 w 2458593"/>
                  <a:gd name="connsiteY43" fmla="*/ 139256 h 560451"/>
                  <a:gd name="connsiteX44" fmla="*/ 355473 w 2458593"/>
                  <a:gd name="connsiteY44" fmla="*/ 145352 h 560451"/>
                  <a:gd name="connsiteX45" fmla="*/ 365950 w 2458593"/>
                  <a:gd name="connsiteY45" fmla="*/ 145352 h 560451"/>
                  <a:gd name="connsiteX46" fmla="*/ 365950 w 2458593"/>
                  <a:gd name="connsiteY46" fmla="*/ 151448 h 560451"/>
                  <a:gd name="connsiteX47" fmla="*/ 374333 w 2458593"/>
                  <a:gd name="connsiteY47" fmla="*/ 151448 h 560451"/>
                  <a:gd name="connsiteX48" fmla="*/ 374333 w 2458593"/>
                  <a:gd name="connsiteY48" fmla="*/ 157544 h 560451"/>
                  <a:gd name="connsiteX49" fmla="*/ 389096 w 2458593"/>
                  <a:gd name="connsiteY49" fmla="*/ 157544 h 560451"/>
                  <a:gd name="connsiteX50" fmla="*/ 389096 w 2458593"/>
                  <a:gd name="connsiteY50" fmla="*/ 163544 h 560451"/>
                  <a:gd name="connsiteX51" fmla="*/ 393287 w 2458593"/>
                  <a:gd name="connsiteY51" fmla="*/ 163544 h 560451"/>
                  <a:gd name="connsiteX52" fmla="*/ 393287 w 2458593"/>
                  <a:gd name="connsiteY52" fmla="*/ 169640 h 560451"/>
                  <a:gd name="connsiteX53" fmla="*/ 397478 w 2458593"/>
                  <a:gd name="connsiteY53" fmla="*/ 169640 h 560451"/>
                  <a:gd name="connsiteX54" fmla="*/ 397478 w 2458593"/>
                  <a:gd name="connsiteY54" fmla="*/ 175736 h 560451"/>
                  <a:gd name="connsiteX55" fmla="*/ 410147 w 2458593"/>
                  <a:gd name="connsiteY55" fmla="*/ 175736 h 560451"/>
                  <a:gd name="connsiteX56" fmla="*/ 410147 w 2458593"/>
                  <a:gd name="connsiteY56" fmla="*/ 181737 h 560451"/>
                  <a:gd name="connsiteX57" fmla="*/ 439579 w 2458593"/>
                  <a:gd name="connsiteY57" fmla="*/ 181737 h 560451"/>
                  <a:gd name="connsiteX58" fmla="*/ 439579 w 2458593"/>
                  <a:gd name="connsiteY58" fmla="*/ 187833 h 560451"/>
                  <a:gd name="connsiteX59" fmla="*/ 447961 w 2458593"/>
                  <a:gd name="connsiteY59" fmla="*/ 187833 h 560451"/>
                  <a:gd name="connsiteX60" fmla="*/ 447961 w 2458593"/>
                  <a:gd name="connsiteY60" fmla="*/ 193929 h 560451"/>
                  <a:gd name="connsiteX61" fmla="*/ 450056 w 2458593"/>
                  <a:gd name="connsiteY61" fmla="*/ 193929 h 560451"/>
                  <a:gd name="connsiteX62" fmla="*/ 450056 w 2458593"/>
                  <a:gd name="connsiteY62" fmla="*/ 199930 h 560451"/>
                  <a:gd name="connsiteX63" fmla="*/ 464820 w 2458593"/>
                  <a:gd name="connsiteY63" fmla="*/ 199930 h 560451"/>
                  <a:gd name="connsiteX64" fmla="*/ 464820 w 2458593"/>
                  <a:gd name="connsiteY64" fmla="*/ 212122 h 560451"/>
                  <a:gd name="connsiteX65" fmla="*/ 466916 w 2458593"/>
                  <a:gd name="connsiteY65" fmla="*/ 212122 h 560451"/>
                  <a:gd name="connsiteX66" fmla="*/ 466916 w 2458593"/>
                  <a:gd name="connsiteY66" fmla="*/ 218123 h 560451"/>
                  <a:gd name="connsiteX67" fmla="*/ 473202 w 2458593"/>
                  <a:gd name="connsiteY67" fmla="*/ 218123 h 560451"/>
                  <a:gd name="connsiteX68" fmla="*/ 473202 w 2458593"/>
                  <a:gd name="connsiteY68" fmla="*/ 224219 h 560451"/>
                  <a:gd name="connsiteX69" fmla="*/ 477393 w 2458593"/>
                  <a:gd name="connsiteY69" fmla="*/ 224219 h 560451"/>
                  <a:gd name="connsiteX70" fmla="*/ 477393 w 2458593"/>
                  <a:gd name="connsiteY70" fmla="*/ 230315 h 560451"/>
                  <a:gd name="connsiteX71" fmla="*/ 494252 w 2458593"/>
                  <a:gd name="connsiteY71" fmla="*/ 230315 h 560451"/>
                  <a:gd name="connsiteX72" fmla="*/ 494252 w 2458593"/>
                  <a:gd name="connsiteY72" fmla="*/ 242411 h 560451"/>
                  <a:gd name="connsiteX73" fmla="*/ 498443 w 2458593"/>
                  <a:gd name="connsiteY73" fmla="*/ 242411 h 560451"/>
                  <a:gd name="connsiteX74" fmla="*/ 498443 w 2458593"/>
                  <a:gd name="connsiteY74" fmla="*/ 248507 h 560451"/>
                  <a:gd name="connsiteX75" fmla="*/ 521589 w 2458593"/>
                  <a:gd name="connsiteY75" fmla="*/ 248507 h 560451"/>
                  <a:gd name="connsiteX76" fmla="*/ 521589 w 2458593"/>
                  <a:gd name="connsiteY76" fmla="*/ 254603 h 560451"/>
                  <a:gd name="connsiteX77" fmla="*/ 525780 w 2458593"/>
                  <a:gd name="connsiteY77" fmla="*/ 254603 h 560451"/>
                  <a:gd name="connsiteX78" fmla="*/ 525780 w 2458593"/>
                  <a:gd name="connsiteY78" fmla="*/ 260604 h 560451"/>
                  <a:gd name="connsiteX79" fmla="*/ 532067 w 2458593"/>
                  <a:gd name="connsiteY79" fmla="*/ 260604 h 560451"/>
                  <a:gd name="connsiteX80" fmla="*/ 532067 w 2458593"/>
                  <a:gd name="connsiteY80" fmla="*/ 272796 h 560451"/>
                  <a:gd name="connsiteX81" fmla="*/ 551021 w 2458593"/>
                  <a:gd name="connsiteY81" fmla="*/ 272796 h 560451"/>
                  <a:gd name="connsiteX82" fmla="*/ 551021 w 2458593"/>
                  <a:gd name="connsiteY82" fmla="*/ 278797 h 560451"/>
                  <a:gd name="connsiteX83" fmla="*/ 559403 w 2458593"/>
                  <a:gd name="connsiteY83" fmla="*/ 278797 h 560451"/>
                  <a:gd name="connsiteX84" fmla="*/ 559403 w 2458593"/>
                  <a:gd name="connsiteY84" fmla="*/ 284893 h 560451"/>
                  <a:gd name="connsiteX85" fmla="*/ 572072 w 2458593"/>
                  <a:gd name="connsiteY85" fmla="*/ 284893 h 560451"/>
                  <a:gd name="connsiteX86" fmla="*/ 572072 w 2458593"/>
                  <a:gd name="connsiteY86" fmla="*/ 290989 h 560451"/>
                  <a:gd name="connsiteX87" fmla="*/ 588931 w 2458593"/>
                  <a:gd name="connsiteY87" fmla="*/ 290989 h 560451"/>
                  <a:gd name="connsiteX88" fmla="*/ 588931 w 2458593"/>
                  <a:gd name="connsiteY88" fmla="*/ 296990 h 560451"/>
                  <a:gd name="connsiteX89" fmla="*/ 616268 w 2458593"/>
                  <a:gd name="connsiteY89" fmla="*/ 296990 h 560451"/>
                  <a:gd name="connsiteX90" fmla="*/ 616268 w 2458593"/>
                  <a:gd name="connsiteY90" fmla="*/ 303086 h 560451"/>
                  <a:gd name="connsiteX91" fmla="*/ 618363 w 2458593"/>
                  <a:gd name="connsiteY91" fmla="*/ 303086 h 560451"/>
                  <a:gd name="connsiteX92" fmla="*/ 618363 w 2458593"/>
                  <a:gd name="connsiteY92" fmla="*/ 309182 h 560451"/>
                  <a:gd name="connsiteX93" fmla="*/ 628840 w 2458593"/>
                  <a:gd name="connsiteY93" fmla="*/ 309182 h 560451"/>
                  <a:gd name="connsiteX94" fmla="*/ 628840 w 2458593"/>
                  <a:gd name="connsiteY94" fmla="*/ 315182 h 560451"/>
                  <a:gd name="connsiteX95" fmla="*/ 635127 w 2458593"/>
                  <a:gd name="connsiteY95" fmla="*/ 315182 h 560451"/>
                  <a:gd name="connsiteX96" fmla="*/ 635127 w 2458593"/>
                  <a:gd name="connsiteY96" fmla="*/ 327374 h 560451"/>
                  <a:gd name="connsiteX97" fmla="*/ 643604 w 2458593"/>
                  <a:gd name="connsiteY97" fmla="*/ 327374 h 560451"/>
                  <a:gd name="connsiteX98" fmla="*/ 643604 w 2458593"/>
                  <a:gd name="connsiteY98" fmla="*/ 333375 h 560451"/>
                  <a:gd name="connsiteX99" fmla="*/ 649891 w 2458593"/>
                  <a:gd name="connsiteY99" fmla="*/ 333375 h 560451"/>
                  <a:gd name="connsiteX100" fmla="*/ 649891 w 2458593"/>
                  <a:gd name="connsiteY100" fmla="*/ 345567 h 560451"/>
                  <a:gd name="connsiteX101" fmla="*/ 651986 w 2458593"/>
                  <a:gd name="connsiteY101" fmla="*/ 345567 h 560451"/>
                  <a:gd name="connsiteX102" fmla="*/ 651986 w 2458593"/>
                  <a:gd name="connsiteY102" fmla="*/ 351663 h 560451"/>
                  <a:gd name="connsiteX103" fmla="*/ 664559 w 2458593"/>
                  <a:gd name="connsiteY103" fmla="*/ 351663 h 560451"/>
                  <a:gd name="connsiteX104" fmla="*/ 664559 w 2458593"/>
                  <a:gd name="connsiteY104" fmla="*/ 357664 h 560451"/>
                  <a:gd name="connsiteX105" fmla="*/ 687705 w 2458593"/>
                  <a:gd name="connsiteY105" fmla="*/ 357664 h 560451"/>
                  <a:gd name="connsiteX106" fmla="*/ 687705 w 2458593"/>
                  <a:gd name="connsiteY106" fmla="*/ 363760 h 560451"/>
                  <a:gd name="connsiteX107" fmla="*/ 694087 w 2458593"/>
                  <a:gd name="connsiteY107" fmla="*/ 363760 h 560451"/>
                  <a:gd name="connsiteX108" fmla="*/ 694087 w 2458593"/>
                  <a:gd name="connsiteY108" fmla="*/ 369856 h 560451"/>
                  <a:gd name="connsiteX109" fmla="*/ 702469 w 2458593"/>
                  <a:gd name="connsiteY109" fmla="*/ 369856 h 560451"/>
                  <a:gd name="connsiteX110" fmla="*/ 702469 w 2458593"/>
                  <a:gd name="connsiteY110" fmla="*/ 375857 h 560451"/>
                  <a:gd name="connsiteX111" fmla="*/ 710851 w 2458593"/>
                  <a:gd name="connsiteY111" fmla="*/ 375857 h 560451"/>
                  <a:gd name="connsiteX112" fmla="*/ 710851 w 2458593"/>
                  <a:gd name="connsiteY112" fmla="*/ 381953 h 560451"/>
                  <a:gd name="connsiteX113" fmla="*/ 715042 w 2458593"/>
                  <a:gd name="connsiteY113" fmla="*/ 381953 h 560451"/>
                  <a:gd name="connsiteX114" fmla="*/ 715042 w 2458593"/>
                  <a:gd name="connsiteY114" fmla="*/ 388049 h 560451"/>
                  <a:gd name="connsiteX115" fmla="*/ 788670 w 2458593"/>
                  <a:gd name="connsiteY115" fmla="*/ 388049 h 560451"/>
                  <a:gd name="connsiteX116" fmla="*/ 788670 w 2458593"/>
                  <a:gd name="connsiteY116" fmla="*/ 394049 h 560451"/>
                  <a:gd name="connsiteX117" fmla="*/ 809720 w 2458593"/>
                  <a:gd name="connsiteY117" fmla="*/ 394049 h 560451"/>
                  <a:gd name="connsiteX118" fmla="*/ 809720 w 2458593"/>
                  <a:gd name="connsiteY118" fmla="*/ 400145 h 560451"/>
                  <a:gd name="connsiteX119" fmla="*/ 816007 w 2458593"/>
                  <a:gd name="connsiteY119" fmla="*/ 400145 h 560451"/>
                  <a:gd name="connsiteX120" fmla="*/ 816007 w 2458593"/>
                  <a:gd name="connsiteY120" fmla="*/ 406241 h 560451"/>
                  <a:gd name="connsiteX121" fmla="*/ 858107 w 2458593"/>
                  <a:gd name="connsiteY121" fmla="*/ 406241 h 560451"/>
                  <a:gd name="connsiteX122" fmla="*/ 858107 w 2458593"/>
                  <a:gd name="connsiteY122" fmla="*/ 412242 h 560451"/>
                  <a:gd name="connsiteX123" fmla="*/ 872776 w 2458593"/>
                  <a:gd name="connsiteY123" fmla="*/ 412242 h 560451"/>
                  <a:gd name="connsiteX124" fmla="*/ 872776 w 2458593"/>
                  <a:gd name="connsiteY124" fmla="*/ 418338 h 560451"/>
                  <a:gd name="connsiteX125" fmla="*/ 902303 w 2458593"/>
                  <a:gd name="connsiteY125" fmla="*/ 418338 h 560451"/>
                  <a:gd name="connsiteX126" fmla="*/ 902303 w 2458593"/>
                  <a:gd name="connsiteY126" fmla="*/ 424434 h 560451"/>
                  <a:gd name="connsiteX127" fmla="*/ 904399 w 2458593"/>
                  <a:gd name="connsiteY127" fmla="*/ 424434 h 560451"/>
                  <a:gd name="connsiteX128" fmla="*/ 904399 w 2458593"/>
                  <a:gd name="connsiteY128" fmla="*/ 430435 h 560451"/>
                  <a:gd name="connsiteX129" fmla="*/ 927449 w 2458593"/>
                  <a:gd name="connsiteY129" fmla="*/ 430435 h 560451"/>
                  <a:gd name="connsiteX130" fmla="*/ 927449 w 2458593"/>
                  <a:gd name="connsiteY130" fmla="*/ 436531 h 560451"/>
                  <a:gd name="connsiteX131" fmla="*/ 940118 w 2458593"/>
                  <a:gd name="connsiteY131" fmla="*/ 436531 h 560451"/>
                  <a:gd name="connsiteX132" fmla="*/ 940118 w 2458593"/>
                  <a:gd name="connsiteY132" fmla="*/ 442627 h 560451"/>
                  <a:gd name="connsiteX133" fmla="*/ 975836 w 2458593"/>
                  <a:gd name="connsiteY133" fmla="*/ 442627 h 560451"/>
                  <a:gd name="connsiteX134" fmla="*/ 975836 w 2458593"/>
                  <a:gd name="connsiteY134" fmla="*/ 448723 h 560451"/>
                  <a:gd name="connsiteX135" fmla="*/ 1091565 w 2458593"/>
                  <a:gd name="connsiteY135" fmla="*/ 448723 h 560451"/>
                  <a:gd name="connsiteX136" fmla="*/ 1091565 w 2458593"/>
                  <a:gd name="connsiteY136" fmla="*/ 454724 h 560451"/>
                  <a:gd name="connsiteX137" fmla="*/ 1129379 w 2458593"/>
                  <a:gd name="connsiteY137" fmla="*/ 454724 h 560451"/>
                  <a:gd name="connsiteX138" fmla="*/ 1129379 w 2458593"/>
                  <a:gd name="connsiteY138" fmla="*/ 460915 h 560451"/>
                  <a:gd name="connsiteX139" fmla="*/ 1181957 w 2458593"/>
                  <a:gd name="connsiteY139" fmla="*/ 460915 h 560451"/>
                  <a:gd name="connsiteX140" fmla="*/ 1181957 w 2458593"/>
                  <a:gd name="connsiteY140" fmla="*/ 467011 h 560451"/>
                  <a:gd name="connsiteX141" fmla="*/ 1200912 w 2458593"/>
                  <a:gd name="connsiteY141" fmla="*/ 467011 h 560451"/>
                  <a:gd name="connsiteX142" fmla="*/ 1200912 w 2458593"/>
                  <a:gd name="connsiteY142" fmla="*/ 473107 h 560451"/>
                  <a:gd name="connsiteX143" fmla="*/ 1211390 w 2458593"/>
                  <a:gd name="connsiteY143" fmla="*/ 473107 h 560451"/>
                  <a:gd name="connsiteX144" fmla="*/ 1211390 w 2458593"/>
                  <a:gd name="connsiteY144" fmla="*/ 479298 h 560451"/>
                  <a:gd name="connsiteX145" fmla="*/ 1245108 w 2458593"/>
                  <a:gd name="connsiteY145" fmla="*/ 479298 h 560451"/>
                  <a:gd name="connsiteX146" fmla="*/ 1245108 w 2458593"/>
                  <a:gd name="connsiteY146" fmla="*/ 485394 h 560451"/>
                  <a:gd name="connsiteX147" fmla="*/ 1251395 w 2458593"/>
                  <a:gd name="connsiteY147" fmla="*/ 485394 h 560451"/>
                  <a:gd name="connsiteX148" fmla="*/ 1251395 w 2458593"/>
                  <a:gd name="connsiteY148" fmla="*/ 491490 h 560451"/>
                  <a:gd name="connsiteX149" fmla="*/ 1266063 w 2458593"/>
                  <a:gd name="connsiteY149" fmla="*/ 491490 h 560451"/>
                  <a:gd name="connsiteX150" fmla="*/ 1266063 w 2458593"/>
                  <a:gd name="connsiteY150" fmla="*/ 497586 h 560451"/>
                  <a:gd name="connsiteX151" fmla="*/ 1278731 w 2458593"/>
                  <a:gd name="connsiteY151" fmla="*/ 497586 h 560451"/>
                  <a:gd name="connsiteX152" fmla="*/ 1278731 w 2458593"/>
                  <a:gd name="connsiteY152" fmla="*/ 503777 h 560451"/>
                  <a:gd name="connsiteX153" fmla="*/ 1303973 w 2458593"/>
                  <a:gd name="connsiteY153" fmla="*/ 503777 h 560451"/>
                  <a:gd name="connsiteX154" fmla="*/ 1303973 w 2458593"/>
                  <a:gd name="connsiteY154" fmla="*/ 509873 h 560451"/>
                  <a:gd name="connsiteX155" fmla="*/ 1533239 w 2458593"/>
                  <a:gd name="connsiteY155" fmla="*/ 509873 h 560451"/>
                  <a:gd name="connsiteX156" fmla="*/ 1533239 w 2458593"/>
                  <a:gd name="connsiteY156" fmla="*/ 516065 h 560451"/>
                  <a:gd name="connsiteX157" fmla="*/ 1646777 w 2458593"/>
                  <a:gd name="connsiteY157" fmla="*/ 516065 h 560451"/>
                  <a:gd name="connsiteX158" fmla="*/ 1646777 w 2458593"/>
                  <a:gd name="connsiteY158" fmla="*/ 522256 h 560451"/>
                  <a:gd name="connsiteX159" fmla="*/ 1915954 w 2458593"/>
                  <a:gd name="connsiteY159" fmla="*/ 522256 h 560451"/>
                  <a:gd name="connsiteX160" fmla="*/ 1915954 w 2458593"/>
                  <a:gd name="connsiteY160" fmla="*/ 528542 h 560451"/>
                  <a:gd name="connsiteX161" fmla="*/ 1989582 w 2458593"/>
                  <a:gd name="connsiteY161" fmla="*/ 528542 h 560451"/>
                  <a:gd name="connsiteX162" fmla="*/ 1989582 w 2458593"/>
                  <a:gd name="connsiteY162" fmla="*/ 534829 h 560451"/>
                  <a:gd name="connsiteX163" fmla="*/ 2069497 w 2458593"/>
                  <a:gd name="connsiteY163" fmla="*/ 534829 h 560451"/>
                  <a:gd name="connsiteX164" fmla="*/ 2069497 w 2458593"/>
                  <a:gd name="connsiteY164" fmla="*/ 541115 h 560451"/>
                  <a:gd name="connsiteX165" fmla="*/ 2231422 w 2458593"/>
                  <a:gd name="connsiteY165" fmla="*/ 541115 h 560451"/>
                  <a:gd name="connsiteX166" fmla="*/ 2231422 w 2458593"/>
                  <a:gd name="connsiteY166" fmla="*/ 547592 h 560451"/>
                  <a:gd name="connsiteX167" fmla="*/ 2248281 w 2458593"/>
                  <a:gd name="connsiteY167" fmla="*/ 547592 h 560451"/>
                  <a:gd name="connsiteX168" fmla="*/ 2248281 w 2458593"/>
                  <a:gd name="connsiteY168" fmla="*/ 553974 h 560451"/>
                  <a:gd name="connsiteX169" fmla="*/ 2366105 w 2458593"/>
                  <a:gd name="connsiteY169" fmla="*/ 553974 h 560451"/>
                  <a:gd name="connsiteX170" fmla="*/ 2366105 w 2458593"/>
                  <a:gd name="connsiteY170" fmla="*/ 560451 h 560451"/>
                  <a:gd name="connsiteX171" fmla="*/ 2458593 w 2458593"/>
                  <a:gd name="connsiteY171" fmla="*/ 560451 h 560451"/>
                  <a:gd name="connsiteX0" fmla="*/ 0 w 2366105"/>
                  <a:gd name="connsiteY0" fmla="*/ 0 h 560451"/>
                  <a:gd name="connsiteX1" fmla="*/ 113538 w 2366105"/>
                  <a:gd name="connsiteY1" fmla="*/ 0 h 560451"/>
                  <a:gd name="connsiteX2" fmla="*/ 113538 w 2366105"/>
                  <a:gd name="connsiteY2" fmla="*/ 5906 h 560451"/>
                  <a:gd name="connsiteX3" fmla="*/ 153543 w 2366105"/>
                  <a:gd name="connsiteY3" fmla="*/ 5906 h 560451"/>
                  <a:gd name="connsiteX4" fmla="*/ 153543 w 2366105"/>
                  <a:gd name="connsiteY4" fmla="*/ 12002 h 560451"/>
                  <a:gd name="connsiteX5" fmla="*/ 161925 w 2366105"/>
                  <a:gd name="connsiteY5" fmla="*/ 12002 h 560451"/>
                  <a:gd name="connsiteX6" fmla="*/ 161925 w 2366105"/>
                  <a:gd name="connsiteY6" fmla="*/ 18002 h 560451"/>
                  <a:gd name="connsiteX7" fmla="*/ 172498 w 2366105"/>
                  <a:gd name="connsiteY7" fmla="*/ 18002 h 560451"/>
                  <a:gd name="connsiteX8" fmla="*/ 172498 w 2366105"/>
                  <a:gd name="connsiteY8" fmla="*/ 24003 h 560451"/>
                  <a:gd name="connsiteX9" fmla="*/ 222980 w 2366105"/>
                  <a:gd name="connsiteY9" fmla="*/ 24003 h 560451"/>
                  <a:gd name="connsiteX10" fmla="*/ 222980 w 2366105"/>
                  <a:gd name="connsiteY10" fmla="*/ 30099 h 560451"/>
                  <a:gd name="connsiteX11" fmla="*/ 231362 w 2366105"/>
                  <a:gd name="connsiteY11" fmla="*/ 30099 h 560451"/>
                  <a:gd name="connsiteX12" fmla="*/ 231362 w 2366105"/>
                  <a:gd name="connsiteY12" fmla="*/ 42196 h 560451"/>
                  <a:gd name="connsiteX13" fmla="*/ 237649 w 2366105"/>
                  <a:gd name="connsiteY13" fmla="*/ 42196 h 560451"/>
                  <a:gd name="connsiteX14" fmla="*/ 237649 w 2366105"/>
                  <a:gd name="connsiteY14" fmla="*/ 48292 h 560451"/>
                  <a:gd name="connsiteX15" fmla="*/ 241840 w 2366105"/>
                  <a:gd name="connsiteY15" fmla="*/ 48292 h 560451"/>
                  <a:gd name="connsiteX16" fmla="*/ 241840 w 2366105"/>
                  <a:gd name="connsiteY16" fmla="*/ 54388 h 560451"/>
                  <a:gd name="connsiteX17" fmla="*/ 246031 w 2366105"/>
                  <a:gd name="connsiteY17" fmla="*/ 54388 h 560451"/>
                  <a:gd name="connsiteX18" fmla="*/ 246031 w 2366105"/>
                  <a:gd name="connsiteY18" fmla="*/ 60484 h 560451"/>
                  <a:gd name="connsiteX19" fmla="*/ 248126 w 2366105"/>
                  <a:gd name="connsiteY19" fmla="*/ 60484 h 560451"/>
                  <a:gd name="connsiteX20" fmla="*/ 248126 w 2366105"/>
                  <a:gd name="connsiteY20" fmla="*/ 66485 h 560451"/>
                  <a:gd name="connsiteX21" fmla="*/ 250317 w 2366105"/>
                  <a:gd name="connsiteY21" fmla="*/ 66485 h 560451"/>
                  <a:gd name="connsiteX22" fmla="*/ 250317 w 2366105"/>
                  <a:gd name="connsiteY22" fmla="*/ 72581 h 560451"/>
                  <a:gd name="connsiteX23" fmla="*/ 260794 w 2366105"/>
                  <a:gd name="connsiteY23" fmla="*/ 72581 h 560451"/>
                  <a:gd name="connsiteX24" fmla="*/ 260794 w 2366105"/>
                  <a:gd name="connsiteY24" fmla="*/ 78677 h 560451"/>
                  <a:gd name="connsiteX25" fmla="*/ 267081 w 2366105"/>
                  <a:gd name="connsiteY25" fmla="*/ 78677 h 560451"/>
                  <a:gd name="connsiteX26" fmla="*/ 267081 w 2366105"/>
                  <a:gd name="connsiteY26" fmla="*/ 84677 h 560451"/>
                  <a:gd name="connsiteX27" fmla="*/ 281845 w 2366105"/>
                  <a:gd name="connsiteY27" fmla="*/ 84677 h 560451"/>
                  <a:gd name="connsiteX28" fmla="*/ 281845 w 2366105"/>
                  <a:gd name="connsiteY28" fmla="*/ 90773 h 560451"/>
                  <a:gd name="connsiteX29" fmla="*/ 290227 w 2366105"/>
                  <a:gd name="connsiteY29" fmla="*/ 90773 h 560451"/>
                  <a:gd name="connsiteX30" fmla="*/ 290227 w 2366105"/>
                  <a:gd name="connsiteY30" fmla="*/ 96869 h 560451"/>
                  <a:gd name="connsiteX31" fmla="*/ 300800 w 2366105"/>
                  <a:gd name="connsiteY31" fmla="*/ 96869 h 560451"/>
                  <a:gd name="connsiteX32" fmla="*/ 300800 w 2366105"/>
                  <a:gd name="connsiteY32" fmla="*/ 102870 h 560451"/>
                  <a:gd name="connsiteX33" fmla="*/ 313373 w 2366105"/>
                  <a:gd name="connsiteY33" fmla="*/ 102870 h 560451"/>
                  <a:gd name="connsiteX34" fmla="*/ 313373 w 2366105"/>
                  <a:gd name="connsiteY34" fmla="*/ 108966 h 560451"/>
                  <a:gd name="connsiteX35" fmla="*/ 319659 w 2366105"/>
                  <a:gd name="connsiteY35" fmla="*/ 108966 h 560451"/>
                  <a:gd name="connsiteX36" fmla="*/ 319659 w 2366105"/>
                  <a:gd name="connsiteY36" fmla="*/ 121063 h 560451"/>
                  <a:gd name="connsiteX37" fmla="*/ 323850 w 2366105"/>
                  <a:gd name="connsiteY37" fmla="*/ 121063 h 560451"/>
                  <a:gd name="connsiteX38" fmla="*/ 323850 w 2366105"/>
                  <a:gd name="connsiteY38" fmla="*/ 127159 h 560451"/>
                  <a:gd name="connsiteX39" fmla="*/ 336518 w 2366105"/>
                  <a:gd name="connsiteY39" fmla="*/ 127159 h 560451"/>
                  <a:gd name="connsiteX40" fmla="*/ 336518 w 2366105"/>
                  <a:gd name="connsiteY40" fmla="*/ 133255 h 560451"/>
                  <a:gd name="connsiteX41" fmla="*/ 351187 w 2366105"/>
                  <a:gd name="connsiteY41" fmla="*/ 133255 h 560451"/>
                  <a:gd name="connsiteX42" fmla="*/ 351187 w 2366105"/>
                  <a:gd name="connsiteY42" fmla="*/ 139256 h 560451"/>
                  <a:gd name="connsiteX43" fmla="*/ 355473 w 2366105"/>
                  <a:gd name="connsiteY43" fmla="*/ 139256 h 560451"/>
                  <a:gd name="connsiteX44" fmla="*/ 355473 w 2366105"/>
                  <a:gd name="connsiteY44" fmla="*/ 145352 h 560451"/>
                  <a:gd name="connsiteX45" fmla="*/ 365950 w 2366105"/>
                  <a:gd name="connsiteY45" fmla="*/ 145352 h 560451"/>
                  <a:gd name="connsiteX46" fmla="*/ 365950 w 2366105"/>
                  <a:gd name="connsiteY46" fmla="*/ 151448 h 560451"/>
                  <a:gd name="connsiteX47" fmla="*/ 374333 w 2366105"/>
                  <a:gd name="connsiteY47" fmla="*/ 151448 h 560451"/>
                  <a:gd name="connsiteX48" fmla="*/ 374333 w 2366105"/>
                  <a:gd name="connsiteY48" fmla="*/ 157544 h 560451"/>
                  <a:gd name="connsiteX49" fmla="*/ 389096 w 2366105"/>
                  <a:gd name="connsiteY49" fmla="*/ 157544 h 560451"/>
                  <a:gd name="connsiteX50" fmla="*/ 389096 w 2366105"/>
                  <a:gd name="connsiteY50" fmla="*/ 163544 h 560451"/>
                  <a:gd name="connsiteX51" fmla="*/ 393287 w 2366105"/>
                  <a:gd name="connsiteY51" fmla="*/ 163544 h 560451"/>
                  <a:gd name="connsiteX52" fmla="*/ 393287 w 2366105"/>
                  <a:gd name="connsiteY52" fmla="*/ 169640 h 560451"/>
                  <a:gd name="connsiteX53" fmla="*/ 397478 w 2366105"/>
                  <a:gd name="connsiteY53" fmla="*/ 169640 h 560451"/>
                  <a:gd name="connsiteX54" fmla="*/ 397478 w 2366105"/>
                  <a:gd name="connsiteY54" fmla="*/ 175736 h 560451"/>
                  <a:gd name="connsiteX55" fmla="*/ 410147 w 2366105"/>
                  <a:gd name="connsiteY55" fmla="*/ 175736 h 560451"/>
                  <a:gd name="connsiteX56" fmla="*/ 410147 w 2366105"/>
                  <a:gd name="connsiteY56" fmla="*/ 181737 h 560451"/>
                  <a:gd name="connsiteX57" fmla="*/ 439579 w 2366105"/>
                  <a:gd name="connsiteY57" fmla="*/ 181737 h 560451"/>
                  <a:gd name="connsiteX58" fmla="*/ 439579 w 2366105"/>
                  <a:gd name="connsiteY58" fmla="*/ 187833 h 560451"/>
                  <a:gd name="connsiteX59" fmla="*/ 447961 w 2366105"/>
                  <a:gd name="connsiteY59" fmla="*/ 187833 h 560451"/>
                  <a:gd name="connsiteX60" fmla="*/ 447961 w 2366105"/>
                  <a:gd name="connsiteY60" fmla="*/ 193929 h 560451"/>
                  <a:gd name="connsiteX61" fmla="*/ 450056 w 2366105"/>
                  <a:gd name="connsiteY61" fmla="*/ 193929 h 560451"/>
                  <a:gd name="connsiteX62" fmla="*/ 450056 w 2366105"/>
                  <a:gd name="connsiteY62" fmla="*/ 199930 h 560451"/>
                  <a:gd name="connsiteX63" fmla="*/ 464820 w 2366105"/>
                  <a:gd name="connsiteY63" fmla="*/ 199930 h 560451"/>
                  <a:gd name="connsiteX64" fmla="*/ 464820 w 2366105"/>
                  <a:gd name="connsiteY64" fmla="*/ 212122 h 560451"/>
                  <a:gd name="connsiteX65" fmla="*/ 466916 w 2366105"/>
                  <a:gd name="connsiteY65" fmla="*/ 212122 h 560451"/>
                  <a:gd name="connsiteX66" fmla="*/ 466916 w 2366105"/>
                  <a:gd name="connsiteY66" fmla="*/ 218123 h 560451"/>
                  <a:gd name="connsiteX67" fmla="*/ 473202 w 2366105"/>
                  <a:gd name="connsiteY67" fmla="*/ 218123 h 560451"/>
                  <a:gd name="connsiteX68" fmla="*/ 473202 w 2366105"/>
                  <a:gd name="connsiteY68" fmla="*/ 224219 h 560451"/>
                  <a:gd name="connsiteX69" fmla="*/ 477393 w 2366105"/>
                  <a:gd name="connsiteY69" fmla="*/ 224219 h 560451"/>
                  <a:gd name="connsiteX70" fmla="*/ 477393 w 2366105"/>
                  <a:gd name="connsiteY70" fmla="*/ 230315 h 560451"/>
                  <a:gd name="connsiteX71" fmla="*/ 494252 w 2366105"/>
                  <a:gd name="connsiteY71" fmla="*/ 230315 h 560451"/>
                  <a:gd name="connsiteX72" fmla="*/ 494252 w 2366105"/>
                  <a:gd name="connsiteY72" fmla="*/ 242411 h 560451"/>
                  <a:gd name="connsiteX73" fmla="*/ 498443 w 2366105"/>
                  <a:gd name="connsiteY73" fmla="*/ 242411 h 560451"/>
                  <a:gd name="connsiteX74" fmla="*/ 498443 w 2366105"/>
                  <a:gd name="connsiteY74" fmla="*/ 248507 h 560451"/>
                  <a:gd name="connsiteX75" fmla="*/ 521589 w 2366105"/>
                  <a:gd name="connsiteY75" fmla="*/ 248507 h 560451"/>
                  <a:gd name="connsiteX76" fmla="*/ 521589 w 2366105"/>
                  <a:gd name="connsiteY76" fmla="*/ 254603 h 560451"/>
                  <a:gd name="connsiteX77" fmla="*/ 525780 w 2366105"/>
                  <a:gd name="connsiteY77" fmla="*/ 254603 h 560451"/>
                  <a:gd name="connsiteX78" fmla="*/ 525780 w 2366105"/>
                  <a:gd name="connsiteY78" fmla="*/ 260604 h 560451"/>
                  <a:gd name="connsiteX79" fmla="*/ 532067 w 2366105"/>
                  <a:gd name="connsiteY79" fmla="*/ 260604 h 560451"/>
                  <a:gd name="connsiteX80" fmla="*/ 532067 w 2366105"/>
                  <a:gd name="connsiteY80" fmla="*/ 272796 h 560451"/>
                  <a:gd name="connsiteX81" fmla="*/ 551021 w 2366105"/>
                  <a:gd name="connsiteY81" fmla="*/ 272796 h 560451"/>
                  <a:gd name="connsiteX82" fmla="*/ 551021 w 2366105"/>
                  <a:gd name="connsiteY82" fmla="*/ 278797 h 560451"/>
                  <a:gd name="connsiteX83" fmla="*/ 559403 w 2366105"/>
                  <a:gd name="connsiteY83" fmla="*/ 278797 h 560451"/>
                  <a:gd name="connsiteX84" fmla="*/ 559403 w 2366105"/>
                  <a:gd name="connsiteY84" fmla="*/ 284893 h 560451"/>
                  <a:gd name="connsiteX85" fmla="*/ 572072 w 2366105"/>
                  <a:gd name="connsiteY85" fmla="*/ 284893 h 560451"/>
                  <a:gd name="connsiteX86" fmla="*/ 572072 w 2366105"/>
                  <a:gd name="connsiteY86" fmla="*/ 290989 h 560451"/>
                  <a:gd name="connsiteX87" fmla="*/ 588931 w 2366105"/>
                  <a:gd name="connsiteY87" fmla="*/ 290989 h 560451"/>
                  <a:gd name="connsiteX88" fmla="*/ 588931 w 2366105"/>
                  <a:gd name="connsiteY88" fmla="*/ 296990 h 560451"/>
                  <a:gd name="connsiteX89" fmla="*/ 616268 w 2366105"/>
                  <a:gd name="connsiteY89" fmla="*/ 296990 h 560451"/>
                  <a:gd name="connsiteX90" fmla="*/ 616268 w 2366105"/>
                  <a:gd name="connsiteY90" fmla="*/ 303086 h 560451"/>
                  <a:gd name="connsiteX91" fmla="*/ 618363 w 2366105"/>
                  <a:gd name="connsiteY91" fmla="*/ 303086 h 560451"/>
                  <a:gd name="connsiteX92" fmla="*/ 618363 w 2366105"/>
                  <a:gd name="connsiteY92" fmla="*/ 309182 h 560451"/>
                  <a:gd name="connsiteX93" fmla="*/ 628840 w 2366105"/>
                  <a:gd name="connsiteY93" fmla="*/ 309182 h 560451"/>
                  <a:gd name="connsiteX94" fmla="*/ 628840 w 2366105"/>
                  <a:gd name="connsiteY94" fmla="*/ 315182 h 560451"/>
                  <a:gd name="connsiteX95" fmla="*/ 635127 w 2366105"/>
                  <a:gd name="connsiteY95" fmla="*/ 315182 h 560451"/>
                  <a:gd name="connsiteX96" fmla="*/ 635127 w 2366105"/>
                  <a:gd name="connsiteY96" fmla="*/ 327374 h 560451"/>
                  <a:gd name="connsiteX97" fmla="*/ 643604 w 2366105"/>
                  <a:gd name="connsiteY97" fmla="*/ 327374 h 560451"/>
                  <a:gd name="connsiteX98" fmla="*/ 643604 w 2366105"/>
                  <a:gd name="connsiteY98" fmla="*/ 333375 h 560451"/>
                  <a:gd name="connsiteX99" fmla="*/ 649891 w 2366105"/>
                  <a:gd name="connsiteY99" fmla="*/ 333375 h 560451"/>
                  <a:gd name="connsiteX100" fmla="*/ 649891 w 2366105"/>
                  <a:gd name="connsiteY100" fmla="*/ 345567 h 560451"/>
                  <a:gd name="connsiteX101" fmla="*/ 651986 w 2366105"/>
                  <a:gd name="connsiteY101" fmla="*/ 345567 h 560451"/>
                  <a:gd name="connsiteX102" fmla="*/ 651986 w 2366105"/>
                  <a:gd name="connsiteY102" fmla="*/ 351663 h 560451"/>
                  <a:gd name="connsiteX103" fmla="*/ 664559 w 2366105"/>
                  <a:gd name="connsiteY103" fmla="*/ 351663 h 560451"/>
                  <a:gd name="connsiteX104" fmla="*/ 664559 w 2366105"/>
                  <a:gd name="connsiteY104" fmla="*/ 357664 h 560451"/>
                  <a:gd name="connsiteX105" fmla="*/ 687705 w 2366105"/>
                  <a:gd name="connsiteY105" fmla="*/ 357664 h 560451"/>
                  <a:gd name="connsiteX106" fmla="*/ 687705 w 2366105"/>
                  <a:gd name="connsiteY106" fmla="*/ 363760 h 560451"/>
                  <a:gd name="connsiteX107" fmla="*/ 694087 w 2366105"/>
                  <a:gd name="connsiteY107" fmla="*/ 363760 h 560451"/>
                  <a:gd name="connsiteX108" fmla="*/ 694087 w 2366105"/>
                  <a:gd name="connsiteY108" fmla="*/ 369856 h 560451"/>
                  <a:gd name="connsiteX109" fmla="*/ 702469 w 2366105"/>
                  <a:gd name="connsiteY109" fmla="*/ 369856 h 560451"/>
                  <a:gd name="connsiteX110" fmla="*/ 702469 w 2366105"/>
                  <a:gd name="connsiteY110" fmla="*/ 375857 h 560451"/>
                  <a:gd name="connsiteX111" fmla="*/ 710851 w 2366105"/>
                  <a:gd name="connsiteY111" fmla="*/ 375857 h 560451"/>
                  <a:gd name="connsiteX112" fmla="*/ 710851 w 2366105"/>
                  <a:gd name="connsiteY112" fmla="*/ 381953 h 560451"/>
                  <a:gd name="connsiteX113" fmla="*/ 715042 w 2366105"/>
                  <a:gd name="connsiteY113" fmla="*/ 381953 h 560451"/>
                  <a:gd name="connsiteX114" fmla="*/ 715042 w 2366105"/>
                  <a:gd name="connsiteY114" fmla="*/ 388049 h 560451"/>
                  <a:gd name="connsiteX115" fmla="*/ 788670 w 2366105"/>
                  <a:gd name="connsiteY115" fmla="*/ 388049 h 560451"/>
                  <a:gd name="connsiteX116" fmla="*/ 788670 w 2366105"/>
                  <a:gd name="connsiteY116" fmla="*/ 394049 h 560451"/>
                  <a:gd name="connsiteX117" fmla="*/ 809720 w 2366105"/>
                  <a:gd name="connsiteY117" fmla="*/ 394049 h 560451"/>
                  <a:gd name="connsiteX118" fmla="*/ 809720 w 2366105"/>
                  <a:gd name="connsiteY118" fmla="*/ 400145 h 560451"/>
                  <a:gd name="connsiteX119" fmla="*/ 816007 w 2366105"/>
                  <a:gd name="connsiteY119" fmla="*/ 400145 h 560451"/>
                  <a:gd name="connsiteX120" fmla="*/ 816007 w 2366105"/>
                  <a:gd name="connsiteY120" fmla="*/ 406241 h 560451"/>
                  <a:gd name="connsiteX121" fmla="*/ 858107 w 2366105"/>
                  <a:gd name="connsiteY121" fmla="*/ 406241 h 560451"/>
                  <a:gd name="connsiteX122" fmla="*/ 858107 w 2366105"/>
                  <a:gd name="connsiteY122" fmla="*/ 412242 h 560451"/>
                  <a:gd name="connsiteX123" fmla="*/ 872776 w 2366105"/>
                  <a:gd name="connsiteY123" fmla="*/ 412242 h 560451"/>
                  <a:gd name="connsiteX124" fmla="*/ 872776 w 2366105"/>
                  <a:gd name="connsiteY124" fmla="*/ 418338 h 560451"/>
                  <a:gd name="connsiteX125" fmla="*/ 902303 w 2366105"/>
                  <a:gd name="connsiteY125" fmla="*/ 418338 h 560451"/>
                  <a:gd name="connsiteX126" fmla="*/ 902303 w 2366105"/>
                  <a:gd name="connsiteY126" fmla="*/ 424434 h 560451"/>
                  <a:gd name="connsiteX127" fmla="*/ 904399 w 2366105"/>
                  <a:gd name="connsiteY127" fmla="*/ 424434 h 560451"/>
                  <a:gd name="connsiteX128" fmla="*/ 904399 w 2366105"/>
                  <a:gd name="connsiteY128" fmla="*/ 430435 h 560451"/>
                  <a:gd name="connsiteX129" fmla="*/ 927449 w 2366105"/>
                  <a:gd name="connsiteY129" fmla="*/ 430435 h 560451"/>
                  <a:gd name="connsiteX130" fmla="*/ 927449 w 2366105"/>
                  <a:gd name="connsiteY130" fmla="*/ 436531 h 560451"/>
                  <a:gd name="connsiteX131" fmla="*/ 940118 w 2366105"/>
                  <a:gd name="connsiteY131" fmla="*/ 436531 h 560451"/>
                  <a:gd name="connsiteX132" fmla="*/ 940118 w 2366105"/>
                  <a:gd name="connsiteY132" fmla="*/ 442627 h 560451"/>
                  <a:gd name="connsiteX133" fmla="*/ 975836 w 2366105"/>
                  <a:gd name="connsiteY133" fmla="*/ 442627 h 560451"/>
                  <a:gd name="connsiteX134" fmla="*/ 975836 w 2366105"/>
                  <a:gd name="connsiteY134" fmla="*/ 448723 h 560451"/>
                  <a:gd name="connsiteX135" fmla="*/ 1091565 w 2366105"/>
                  <a:gd name="connsiteY135" fmla="*/ 448723 h 560451"/>
                  <a:gd name="connsiteX136" fmla="*/ 1091565 w 2366105"/>
                  <a:gd name="connsiteY136" fmla="*/ 454724 h 560451"/>
                  <a:gd name="connsiteX137" fmla="*/ 1129379 w 2366105"/>
                  <a:gd name="connsiteY137" fmla="*/ 454724 h 560451"/>
                  <a:gd name="connsiteX138" fmla="*/ 1129379 w 2366105"/>
                  <a:gd name="connsiteY138" fmla="*/ 460915 h 560451"/>
                  <a:gd name="connsiteX139" fmla="*/ 1181957 w 2366105"/>
                  <a:gd name="connsiteY139" fmla="*/ 460915 h 560451"/>
                  <a:gd name="connsiteX140" fmla="*/ 1181957 w 2366105"/>
                  <a:gd name="connsiteY140" fmla="*/ 467011 h 560451"/>
                  <a:gd name="connsiteX141" fmla="*/ 1200912 w 2366105"/>
                  <a:gd name="connsiteY141" fmla="*/ 467011 h 560451"/>
                  <a:gd name="connsiteX142" fmla="*/ 1200912 w 2366105"/>
                  <a:gd name="connsiteY142" fmla="*/ 473107 h 560451"/>
                  <a:gd name="connsiteX143" fmla="*/ 1211390 w 2366105"/>
                  <a:gd name="connsiteY143" fmla="*/ 473107 h 560451"/>
                  <a:gd name="connsiteX144" fmla="*/ 1211390 w 2366105"/>
                  <a:gd name="connsiteY144" fmla="*/ 479298 h 560451"/>
                  <a:gd name="connsiteX145" fmla="*/ 1245108 w 2366105"/>
                  <a:gd name="connsiteY145" fmla="*/ 479298 h 560451"/>
                  <a:gd name="connsiteX146" fmla="*/ 1245108 w 2366105"/>
                  <a:gd name="connsiteY146" fmla="*/ 485394 h 560451"/>
                  <a:gd name="connsiteX147" fmla="*/ 1251395 w 2366105"/>
                  <a:gd name="connsiteY147" fmla="*/ 485394 h 560451"/>
                  <a:gd name="connsiteX148" fmla="*/ 1251395 w 2366105"/>
                  <a:gd name="connsiteY148" fmla="*/ 491490 h 560451"/>
                  <a:gd name="connsiteX149" fmla="*/ 1266063 w 2366105"/>
                  <a:gd name="connsiteY149" fmla="*/ 491490 h 560451"/>
                  <a:gd name="connsiteX150" fmla="*/ 1266063 w 2366105"/>
                  <a:gd name="connsiteY150" fmla="*/ 497586 h 560451"/>
                  <a:gd name="connsiteX151" fmla="*/ 1278731 w 2366105"/>
                  <a:gd name="connsiteY151" fmla="*/ 497586 h 560451"/>
                  <a:gd name="connsiteX152" fmla="*/ 1278731 w 2366105"/>
                  <a:gd name="connsiteY152" fmla="*/ 503777 h 560451"/>
                  <a:gd name="connsiteX153" fmla="*/ 1303973 w 2366105"/>
                  <a:gd name="connsiteY153" fmla="*/ 503777 h 560451"/>
                  <a:gd name="connsiteX154" fmla="*/ 1303973 w 2366105"/>
                  <a:gd name="connsiteY154" fmla="*/ 509873 h 560451"/>
                  <a:gd name="connsiteX155" fmla="*/ 1533239 w 2366105"/>
                  <a:gd name="connsiteY155" fmla="*/ 509873 h 560451"/>
                  <a:gd name="connsiteX156" fmla="*/ 1533239 w 2366105"/>
                  <a:gd name="connsiteY156" fmla="*/ 516065 h 560451"/>
                  <a:gd name="connsiteX157" fmla="*/ 1646777 w 2366105"/>
                  <a:gd name="connsiteY157" fmla="*/ 516065 h 560451"/>
                  <a:gd name="connsiteX158" fmla="*/ 1646777 w 2366105"/>
                  <a:gd name="connsiteY158" fmla="*/ 522256 h 560451"/>
                  <a:gd name="connsiteX159" fmla="*/ 1915954 w 2366105"/>
                  <a:gd name="connsiteY159" fmla="*/ 522256 h 560451"/>
                  <a:gd name="connsiteX160" fmla="*/ 1915954 w 2366105"/>
                  <a:gd name="connsiteY160" fmla="*/ 528542 h 560451"/>
                  <a:gd name="connsiteX161" fmla="*/ 1989582 w 2366105"/>
                  <a:gd name="connsiteY161" fmla="*/ 528542 h 560451"/>
                  <a:gd name="connsiteX162" fmla="*/ 1989582 w 2366105"/>
                  <a:gd name="connsiteY162" fmla="*/ 534829 h 560451"/>
                  <a:gd name="connsiteX163" fmla="*/ 2069497 w 2366105"/>
                  <a:gd name="connsiteY163" fmla="*/ 534829 h 560451"/>
                  <a:gd name="connsiteX164" fmla="*/ 2069497 w 2366105"/>
                  <a:gd name="connsiteY164" fmla="*/ 541115 h 560451"/>
                  <a:gd name="connsiteX165" fmla="*/ 2231422 w 2366105"/>
                  <a:gd name="connsiteY165" fmla="*/ 541115 h 560451"/>
                  <a:gd name="connsiteX166" fmla="*/ 2231422 w 2366105"/>
                  <a:gd name="connsiteY166" fmla="*/ 547592 h 560451"/>
                  <a:gd name="connsiteX167" fmla="*/ 2248281 w 2366105"/>
                  <a:gd name="connsiteY167" fmla="*/ 547592 h 560451"/>
                  <a:gd name="connsiteX168" fmla="*/ 2248281 w 2366105"/>
                  <a:gd name="connsiteY168" fmla="*/ 553974 h 560451"/>
                  <a:gd name="connsiteX169" fmla="*/ 2366105 w 2366105"/>
                  <a:gd name="connsiteY169" fmla="*/ 553974 h 560451"/>
                  <a:gd name="connsiteX170" fmla="*/ 2366105 w 2366105"/>
                  <a:gd name="connsiteY170" fmla="*/ 560451 h 560451"/>
                  <a:gd name="connsiteX0" fmla="*/ 0 w 2366105"/>
                  <a:gd name="connsiteY0" fmla="*/ 0 h 553974"/>
                  <a:gd name="connsiteX1" fmla="*/ 113538 w 2366105"/>
                  <a:gd name="connsiteY1" fmla="*/ 0 h 553974"/>
                  <a:gd name="connsiteX2" fmla="*/ 113538 w 2366105"/>
                  <a:gd name="connsiteY2" fmla="*/ 5906 h 553974"/>
                  <a:gd name="connsiteX3" fmla="*/ 153543 w 2366105"/>
                  <a:gd name="connsiteY3" fmla="*/ 5906 h 553974"/>
                  <a:gd name="connsiteX4" fmla="*/ 153543 w 2366105"/>
                  <a:gd name="connsiteY4" fmla="*/ 12002 h 553974"/>
                  <a:gd name="connsiteX5" fmla="*/ 161925 w 2366105"/>
                  <a:gd name="connsiteY5" fmla="*/ 12002 h 553974"/>
                  <a:gd name="connsiteX6" fmla="*/ 161925 w 2366105"/>
                  <a:gd name="connsiteY6" fmla="*/ 18002 h 553974"/>
                  <a:gd name="connsiteX7" fmla="*/ 172498 w 2366105"/>
                  <a:gd name="connsiteY7" fmla="*/ 18002 h 553974"/>
                  <a:gd name="connsiteX8" fmla="*/ 172498 w 2366105"/>
                  <a:gd name="connsiteY8" fmla="*/ 24003 h 553974"/>
                  <a:gd name="connsiteX9" fmla="*/ 222980 w 2366105"/>
                  <a:gd name="connsiteY9" fmla="*/ 24003 h 553974"/>
                  <a:gd name="connsiteX10" fmla="*/ 222980 w 2366105"/>
                  <a:gd name="connsiteY10" fmla="*/ 30099 h 553974"/>
                  <a:gd name="connsiteX11" fmla="*/ 231362 w 2366105"/>
                  <a:gd name="connsiteY11" fmla="*/ 30099 h 553974"/>
                  <a:gd name="connsiteX12" fmla="*/ 231362 w 2366105"/>
                  <a:gd name="connsiteY12" fmla="*/ 42196 h 553974"/>
                  <a:gd name="connsiteX13" fmla="*/ 237649 w 2366105"/>
                  <a:gd name="connsiteY13" fmla="*/ 42196 h 553974"/>
                  <a:gd name="connsiteX14" fmla="*/ 237649 w 2366105"/>
                  <a:gd name="connsiteY14" fmla="*/ 48292 h 553974"/>
                  <a:gd name="connsiteX15" fmla="*/ 241840 w 2366105"/>
                  <a:gd name="connsiteY15" fmla="*/ 48292 h 553974"/>
                  <a:gd name="connsiteX16" fmla="*/ 241840 w 2366105"/>
                  <a:gd name="connsiteY16" fmla="*/ 54388 h 553974"/>
                  <a:gd name="connsiteX17" fmla="*/ 246031 w 2366105"/>
                  <a:gd name="connsiteY17" fmla="*/ 54388 h 553974"/>
                  <a:gd name="connsiteX18" fmla="*/ 246031 w 2366105"/>
                  <a:gd name="connsiteY18" fmla="*/ 60484 h 553974"/>
                  <a:gd name="connsiteX19" fmla="*/ 248126 w 2366105"/>
                  <a:gd name="connsiteY19" fmla="*/ 60484 h 553974"/>
                  <a:gd name="connsiteX20" fmla="*/ 248126 w 2366105"/>
                  <a:gd name="connsiteY20" fmla="*/ 66485 h 553974"/>
                  <a:gd name="connsiteX21" fmla="*/ 250317 w 2366105"/>
                  <a:gd name="connsiteY21" fmla="*/ 66485 h 553974"/>
                  <a:gd name="connsiteX22" fmla="*/ 250317 w 2366105"/>
                  <a:gd name="connsiteY22" fmla="*/ 72581 h 553974"/>
                  <a:gd name="connsiteX23" fmla="*/ 260794 w 2366105"/>
                  <a:gd name="connsiteY23" fmla="*/ 72581 h 553974"/>
                  <a:gd name="connsiteX24" fmla="*/ 260794 w 2366105"/>
                  <a:gd name="connsiteY24" fmla="*/ 78677 h 553974"/>
                  <a:gd name="connsiteX25" fmla="*/ 267081 w 2366105"/>
                  <a:gd name="connsiteY25" fmla="*/ 78677 h 553974"/>
                  <a:gd name="connsiteX26" fmla="*/ 267081 w 2366105"/>
                  <a:gd name="connsiteY26" fmla="*/ 84677 h 553974"/>
                  <a:gd name="connsiteX27" fmla="*/ 281845 w 2366105"/>
                  <a:gd name="connsiteY27" fmla="*/ 84677 h 553974"/>
                  <a:gd name="connsiteX28" fmla="*/ 281845 w 2366105"/>
                  <a:gd name="connsiteY28" fmla="*/ 90773 h 553974"/>
                  <a:gd name="connsiteX29" fmla="*/ 290227 w 2366105"/>
                  <a:gd name="connsiteY29" fmla="*/ 90773 h 553974"/>
                  <a:gd name="connsiteX30" fmla="*/ 290227 w 2366105"/>
                  <a:gd name="connsiteY30" fmla="*/ 96869 h 553974"/>
                  <a:gd name="connsiteX31" fmla="*/ 300800 w 2366105"/>
                  <a:gd name="connsiteY31" fmla="*/ 96869 h 553974"/>
                  <a:gd name="connsiteX32" fmla="*/ 300800 w 2366105"/>
                  <a:gd name="connsiteY32" fmla="*/ 102870 h 553974"/>
                  <a:gd name="connsiteX33" fmla="*/ 313373 w 2366105"/>
                  <a:gd name="connsiteY33" fmla="*/ 102870 h 553974"/>
                  <a:gd name="connsiteX34" fmla="*/ 313373 w 2366105"/>
                  <a:gd name="connsiteY34" fmla="*/ 108966 h 553974"/>
                  <a:gd name="connsiteX35" fmla="*/ 319659 w 2366105"/>
                  <a:gd name="connsiteY35" fmla="*/ 108966 h 553974"/>
                  <a:gd name="connsiteX36" fmla="*/ 319659 w 2366105"/>
                  <a:gd name="connsiteY36" fmla="*/ 121063 h 553974"/>
                  <a:gd name="connsiteX37" fmla="*/ 323850 w 2366105"/>
                  <a:gd name="connsiteY37" fmla="*/ 121063 h 553974"/>
                  <a:gd name="connsiteX38" fmla="*/ 323850 w 2366105"/>
                  <a:gd name="connsiteY38" fmla="*/ 127159 h 553974"/>
                  <a:gd name="connsiteX39" fmla="*/ 336518 w 2366105"/>
                  <a:gd name="connsiteY39" fmla="*/ 127159 h 553974"/>
                  <a:gd name="connsiteX40" fmla="*/ 336518 w 2366105"/>
                  <a:gd name="connsiteY40" fmla="*/ 133255 h 553974"/>
                  <a:gd name="connsiteX41" fmla="*/ 351187 w 2366105"/>
                  <a:gd name="connsiteY41" fmla="*/ 133255 h 553974"/>
                  <a:gd name="connsiteX42" fmla="*/ 351187 w 2366105"/>
                  <a:gd name="connsiteY42" fmla="*/ 139256 h 553974"/>
                  <a:gd name="connsiteX43" fmla="*/ 355473 w 2366105"/>
                  <a:gd name="connsiteY43" fmla="*/ 139256 h 553974"/>
                  <a:gd name="connsiteX44" fmla="*/ 355473 w 2366105"/>
                  <a:gd name="connsiteY44" fmla="*/ 145352 h 553974"/>
                  <a:gd name="connsiteX45" fmla="*/ 365950 w 2366105"/>
                  <a:gd name="connsiteY45" fmla="*/ 145352 h 553974"/>
                  <a:gd name="connsiteX46" fmla="*/ 365950 w 2366105"/>
                  <a:gd name="connsiteY46" fmla="*/ 151448 h 553974"/>
                  <a:gd name="connsiteX47" fmla="*/ 374333 w 2366105"/>
                  <a:gd name="connsiteY47" fmla="*/ 151448 h 553974"/>
                  <a:gd name="connsiteX48" fmla="*/ 374333 w 2366105"/>
                  <a:gd name="connsiteY48" fmla="*/ 157544 h 553974"/>
                  <a:gd name="connsiteX49" fmla="*/ 389096 w 2366105"/>
                  <a:gd name="connsiteY49" fmla="*/ 157544 h 553974"/>
                  <a:gd name="connsiteX50" fmla="*/ 389096 w 2366105"/>
                  <a:gd name="connsiteY50" fmla="*/ 163544 h 553974"/>
                  <a:gd name="connsiteX51" fmla="*/ 393287 w 2366105"/>
                  <a:gd name="connsiteY51" fmla="*/ 163544 h 553974"/>
                  <a:gd name="connsiteX52" fmla="*/ 393287 w 2366105"/>
                  <a:gd name="connsiteY52" fmla="*/ 169640 h 553974"/>
                  <a:gd name="connsiteX53" fmla="*/ 397478 w 2366105"/>
                  <a:gd name="connsiteY53" fmla="*/ 169640 h 553974"/>
                  <a:gd name="connsiteX54" fmla="*/ 397478 w 2366105"/>
                  <a:gd name="connsiteY54" fmla="*/ 175736 h 553974"/>
                  <a:gd name="connsiteX55" fmla="*/ 410147 w 2366105"/>
                  <a:gd name="connsiteY55" fmla="*/ 175736 h 553974"/>
                  <a:gd name="connsiteX56" fmla="*/ 410147 w 2366105"/>
                  <a:gd name="connsiteY56" fmla="*/ 181737 h 553974"/>
                  <a:gd name="connsiteX57" fmla="*/ 439579 w 2366105"/>
                  <a:gd name="connsiteY57" fmla="*/ 181737 h 553974"/>
                  <a:gd name="connsiteX58" fmla="*/ 439579 w 2366105"/>
                  <a:gd name="connsiteY58" fmla="*/ 187833 h 553974"/>
                  <a:gd name="connsiteX59" fmla="*/ 447961 w 2366105"/>
                  <a:gd name="connsiteY59" fmla="*/ 187833 h 553974"/>
                  <a:gd name="connsiteX60" fmla="*/ 447961 w 2366105"/>
                  <a:gd name="connsiteY60" fmla="*/ 193929 h 553974"/>
                  <a:gd name="connsiteX61" fmla="*/ 450056 w 2366105"/>
                  <a:gd name="connsiteY61" fmla="*/ 193929 h 553974"/>
                  <a:gd name="connsiteX62" fmla="*/ 450056 w 2366105"/>
                  <a:gd name="connsiteY62" fmla="*/ 199930 h 553974"/>
                  <a:gd name="connsiteX63" fmla="*/ 464820 w 2366105"/>
                  <a:gd name="connsiteY63" fmla="*/ 199930 h 553974"/>
                  <a:gd name="connsiteX64" fmla="*/ 464820 w 2366105"/>
                  <a:gd name="connsiteY64" fmla="*/ 212122 h 553974"/>
                  <a:gd name="connsiteX65" fmla="*/ 466916 w 2366105"/>
                  <a:gd name="connsiteY65" fmla="*/ 212122 h 553974"/>
                  <a:gd name="connsiteX66" fmla="*/ 466916 w 2366105"/>
                  <a:gd name="connsiteY66" fmla="*/ 218123 h 553974"/>
                  <a:gd name="connsiteX67" fmla="*/ 473202 w 2366105"/>
                  <a:gd name="connsiteY67" fmla="*/ 218123 h 553974"/>
                  <a:gd name="connsiteX68" fmla="*/ 473202 w 2366105"/>
                  <a:gd name="connsiteY68" fmla="*/ 224219 h 553974"/>
                  <a:gd name="connsiteX69" fmla="*/ 477393 w 2366105"/>
                  <a:gd name="connsiteY69" fmla="*/ 224219 h 553974"/>
                  <a:gd name="connsiteX70" fmla="*/ 477393 w 2366105"/>
                  <a:gd name="connsiteY70" fmla="*/ 230315 h 553974"/>
                  <a:gd name="connsiteX71" fmla="*/ 494252 w 2366105"/>
                  <a:gd name="connsiteY71" fmla="*/ 230315 h 553974"/>
                  <a:gd name="connsiteX72" fmla="*/ 494252 w 2366105"/>
                  <a:gd name="connsiteY72" fmla="*/ 242411 h 553974"/>
                  <a:gd name="connsiteX73" fmla="*/ 498443 w 2366105"/>
                  <a:gd name="connsiteY73" fmla="*/ 242411 h 553974"/>
                  <a:gd name="connsiteX74" fmla="*/ 498443 w 2366105"/>
                  <a:gd name="connsiteY74" fmla="*/ 248507 h 553974"/>
                  <a:gd name="connsiteX75" fmla="*/ 521589 w 2366105"/>
                  <a:gd name="connsiteY75" fmla="*/ 248507 h 553974"/>
                  <a:gd name="connsiteX76" fmla="*/ 521589 w 2366105"/>
                  <a:gd name="connsiteY76" fmla="*/ 254603 h 553974"/>
                  <a:gd name="connsiteX77" fmla="*/ 525780 w 2366105"/>
                  <a:gd name="connsiteY77" fmla="*/ 254603 h 553974"/>
                  <a:gd name="connsiteX78" fmla="*/ 525780 w 2366105"/>
                  <a:gd name="connsiteY78" fmla="*/ 260604 h 553974"/>
                  <a:gd name="connsiteX79" fmla="*/ 532067 w 2366105"/>
                  <a:gd name="connsiteY79" fmla="*/ 260604 h 553974"/>
                  <a:gd name="connsiteX80" fmla="*/ 532067 w 2366105"/>
                  <a:gd name="connsiteY80" fmla="*/ 272796 h 553974"/>
                  <a:gd name="connsiteX81" fmla="*/ 551021 w 2366105"/>
                  <a:gd name="connsiteY81" fmla="*/ 272796 h 553974"/>
                  <a:gd name="connsiteX82" fmla="*/ 551021 w 2366105"/>
                  <a:gd name="connsiteY82" fmla="*/ 278797 h 553974"/>
                  <a:gd name="connsiteX83" fmla="*/ 559403 w 2366105"/>
                  <a:gd name="connsiteY83" fmla="*/ 278797 h 553974"/>
                  <a:gd name="connsiteX84" fmla="*/ 559403 w 2366105"/>
                  <a:gd name="connsiteY84" fmla="*/ 284893 h 553974"/>
                  <a:gd name="connsiteX85" fmla="*/ 572072 w 2366105"/>
                  <a:gd name="connsiteY85" fmla="*/ 284893 h 553974"/>
                  <a:gd name="connsiteX86" fmla="*/ 572072 w 2366105"/>
                  <a:gd name="connsiteY86" fmla="*/ 290989 h 553974"/>
                  <a:gd name="connsiteX87" fmla="*/ 588931 w 2366105"/>
                  <a:gd name="connsiteY87" fmla="*/ 290989 h 553974"/>
                  <a:gd name="connsiteX88" fmla="*/ 588931 w 2366105"/>
                  <a:gd name="connsiteY88" fmla="*/ 296990 h 553974"/>
                  <a:gd name="connsiteX89" fmla="*/ 616268 w 2366105"/>
                  <a:gd name="connsiteY89" fmla="*/ 296990 h 553974"/>
                  <a:gd name="connsiteX90" fmla="*/ 616268 w 2366105"/>
                  <a:gd name="connsiteY90" fmla="*/ 303086 h 553974"/>
                  <a:gd name="connsiteX91" fmla="*/ 618363 w 2366105"/>
                  <a:gd name="connsiteY91" fmla="*/ 303086 h 553974"/>
                  <a:gd name="connsiteX92" fmla="*/ 618363 w 2366105"/>
                  <a:gd name="connsiteY92" fmla="*/ 309182 h 553974"/>
                  <a:gd name="connsiteX93" fmla="*/ 628840 w 2366105"/>
                  <a:gd name="connsiteY93" fmla="*/ 309182 h 553974"/>
                  <a:gd name="connsiteX94" fmla="*/ 628840 w 2366105"/>
                  <a:gd name="connsiteY94" fmla="*/ 315182 h 553974"/>
                  <a:gd name="connsiteX95" fmla="*/ 635127 w 2366105"/>
                  <a:gd name="connsiteY95" fmla="*/ 315182 h 553974"/>
                  <a:gd name="connsiteX96" fmla="*/ 635127 w 2366105"/>
                  <a:gd name="connsiteY96" fmla="*/ 327374 h 553974"/>
                  <a:gd name="connsiteX97" fmla="*/ 643604 w 2366105"/>
                  <a:gd name="connsiteY97" fmla="*/ 327374 h 553974"/>
                  <a:gd name="connsiteX98" fmla="*/ 643604 w 2366105"/>
                  <a:gd name="connsiteY98" fmla="*/ 333375 h 553974"/>
                  <a:gd name="connsiteX99" fmla="*/ 649891 w 2366105"/>
                  <a:gd name="connsiteY99" fmla="*/ 333375 h 553974"/>
                  <a:gd name="connsiteX100" fmla="*/ 649891 w 2366105"/>
                  <a:gd name="connsiteY100" fmla="*/ 345567 h 553974"/>
                  <a:gd name="connsiteX101" fmla="*/ 651986 w 2366105"/>
                  <a:gd name="connsiteY101" fmla="*/ 345567 h 553974"/>
                  <a:gd name="connsiteX102" fmla="*/ 651986 w 2366105"/>
                  <a:gd name="connsiteY102" fmla="*/ 351663 h 553974"/>
                  <a:gd name="connsiteX103" fmla="*/ 664559 w 2366105"/>
                  <a:gd name="connsiteY103" fmla="*/ 351663 h 553974"/>
                  <a:gd name="connsiteX104" fmla="*/ 664559 w 2366105"/>
                  <a:gd name="connsiteY104" fmla="*/ 357664 h 553974"/>
                  <a:gd name="connsiteX105" fmla="*/ 687705 w 2366105"/>
                  <a:gd name="connsiteY105" fmla="*/ 357664 h 553974"/>
                  <a:gd name="connsiteX106" fmla="*/ 687705 w 2366105"/>
                  <a:gd name="connsiteY106" fmla="*/ 363760 h 553974"/>
                  <a:gd name="connsiteX107" fmla="*/ 694087 w 2366105"/>
                  <a:gd name="connsiteY107" fmla="*/ 363760 h 553974"/>
                  <a:gd name="connsiteX108" fmla="*/ 694087 w 2366105"/>
                  <a:gd name="connsiteY108" fmla="*/ 369856 h 553974"/>
                  <a:gd name="connsiteX109" fmla="*/ 702469 w 2366105"/>
                  <a:gd name="connsiteY109" fmla="*/ 369856 h 553974"/>
                  <a:gd name="connsiteX110" fmla="*/ 702469 w 2366105"/>
                  <a:gd name="connsiteY110" fmla="*/ 375857 h 553974"/>
                  <a:gd name="connsiteX111" fmla="*/ 710851 w 2366105"/>
                  <a:gd name="connsiteY111" fmla="*/ 375857 h 553974"/>
                  <a:gd name="connsiteX112" fmla="*/ 710851 w 2366105"/>
                  <a:gd name="connsiteY112" fmla="*/ 381953 h 553974"/>
                  <a:gd name="connsiteX113" fmla="*/ 715042 w 2366105"/>
                  <a:gd name="connsiteY113" fmla="*/ 381953 h 553974"/>
                  <a:gd name="connsiteX114" fmla="*/ 715042 w 2366105"/>
                  <a:gd name="connsiteY114" fmla="*/ 388049 h 553974"/>
                  <a:gd name="connsiteX115" fmla="*/ 788670 w 2366105"/>
                  <a:gd name="connsiteY115" fmla="*/ 388049 h 553974"/>
                  <a:gd name="connsiteX116" fmla="*/ 788670 w 2366105"/>
                  <a:gd name="connsiteY116" fmla="*/ 394049 h 553974"/>
                  <a:gd name="connsiteX117" fmla="*/ 809720 w 2366105"/>
                  <a:gd name="connsiteY117" fmla="*/ 394049 h 553974"/>
                  <a:gd name="connsiteX118" fmla="*/ 809720 w 2366105"/>
                  <a:gd name="connsiteY118" fmla="*/ 400145 h 553974"/>
                  <a:gd name="connsiteX119" fmla="*/ 816007 w 2366105"/>
                  <a:gd name="connsiteY119" fmla="*/ 400145 h 553974"/>
                  <a:gd name="connsiteX120" fmla="*/ 816007 w 2366105"/>
                  <a:gd name="connsiteY120" fmla="*/ 406241 h 553974"/>
                  <a:gd name="connsiteX121" fmla="*/ 858107 w 2366105"/>
                  <a:gd name="connsiteY121" fmla="*/ 406241 h 553974"/>
                  <a:gd name="connsiteX122" fmla="*/ 858107 w 2366105"/>
                  <a:gd name="connsiteY122" fmla="*/ 412242 h 553974"/>
                  <a:gd name="connsiteX123" fmla="*/ 872776 w 2366105"/>
                  <a:gd name="connsiteY123" fmla="*/ 412242 h 553974"/>
                  <a:gd name="connsiteX124" fmla="*/ 872776 w 2366105"/>
                  <a:gd name="connsiteY124" fmla="*/ 418338 h 553974"/>
                  <a:gd name="connsiteX125" fmla="*/ 902303 w 2366105"/>
                  <a:gd name="connsiteY125" fmla="*/ 418338 h 553974"/>
                  <a:gd name="connsiteX126" fmla="*/ 902303 w 2366105"/>
                  <a:gd name="connsiteY126" fmla="*/ 424434 h 553974"/>
                  <a:gd name="connsiteX127" fmla="*/ 904399 w 2366105"/>
                  <a:gd name="connsiteY127" fmla="*/ 424434 h 553974"/>
                  <a:gd name="connsiteX128" fmla="*/ 904399 w 2366105"/>
                  <a:gd name="connsiteY128" fmla="*/ 430435 h 553974"/>
                  <a:gd name="connsiteX129" fmla="*/ 927449 w 2366105"/>
                  <a:gd name="connsiteY129" fmla="*/ 430435 h 553974"/>
                  <a:gd name="connsiteX130" fmla="*/ 927449 w 2366105"/>
                  <a:gd name="connsiteY130" fmla="*/ 436531 h 553974"/>
                  <a:gd name="connsiteX131" fmla="*/ 940118 w 2366105"/>
                  <a:gd name="connsiteY131" fmla="*/ 436531 h 553974"/>
                  <a:gd name="connsiteX132" fmla="*/ 940118 w 2366105"/>
                  <a:gd name="connsiteY132" fmla="*/ 442627 h 553974"/>
                  <a:gd name="connsiteX133" fmla="*/ 975836 w 2366105"/>
                  <a:gd name="connsiteY133" fmla="*/ 442627 h 553974"/>
                  <a:gd name="connsiteX134" fmla="*/ 975836 w 2366105"/>
                  <a:gd name="connsiteY134" fmla="*/ 448723 h 553974"/>
                  <a:gd name="connsiteX135" fmla="*/ 1091565 w 2366105"/>
                  <a:gd name="connsiteY135" fmla="*/ 448723 h 553974"/>
                  <a:gd name="connsiteX136" fmla="*/ 1091565 w 2366105"/>
                  <a:gd name="connsiteY136" fmla="*/ 454724 h 553974"/>
                  <a:gd name="connsiteX137" fmla="*/ 1129379 w 2366105"/>
                  <a:gd name="connsiteY137" fmla="*/ 454724 h 553974"/>
                  <a:gd name="connsiteX138" fmla="*/ 1129379 w 2366105"/>
                  <a:gd name="connsiteY138" fmla="*/ 460915 h 553974"/>
                  <a:gd name="connsiteX139" fmla="*/ 1181957 w 2366105"/>
                  <a:gd name="connsiteY139" fmla="*/ 460915 h 553974"/>
                  <a:gd name="connsiteX140" fmla="*/ 1181957 w 2366105"/>
                  <a:gd name="connsiteY140" fmla="*/ 467011 h 553974"/>
                  <a:gd name="connsiteX141" fmla="*/ 1200912 w 2366105"/>
                  <a:gd name="connsiteY141" fmla="*/ 467011 h 553974"/>
                  <a:gd name="connsiteX142" fmla="*/ 1200912 w 2366105"/>
                  <a:gd name="connsiteY142" fmla="*/ 473107 h 553974"/>
                  <a:gd name="connsiteX143" fmla="*/ 1211390 w 2366105"/>
                  <a:gd name="connsiteY143" fmla="*/ 473107 h 553974"/>
                  <a:gd name="connsiteX144" fmla="*/ 1211390 w 2366105"/>
                  <a:gd name="connsiteY144" fmla="*/ 479298 h 553974"/>
                  <a:gd name="connsiteX145" fmla="*/ 1245108 w 2366105"/>
                  <a:gd name="connsiteY145" fmla="*/ 479298 h 553974"/>
                  <a:gd name="connsiteX146" fmla="*/ 1245108 w 2366105"/>
                  <a:gd name="connsiteY146" fmla="*/ 485394 h 553974"/>
                  <a:gd name="connsiteX147" fmla="*/ 1251395 w 2366105"/>
                  <a:gd name="connsiteY147" fmla="*/ 485394 h 553974"/>
                  <a:gd name="connsiteX148" fmla="*/ 1251395 w 2366105"/>
                  <a:gd name="connsiteY148" fmla="*/ 491490 h 553974"/>
                  <a:gd name="connsiteX149" fmla="*/ 1266063 w 2366105"/>
                  <a:gd name="connsiteY149" fmla="*/ 491490 h 553974"/>
                  <a:gd name="connsiteX150" fmla="*/ 1266063 w 2366105"/>
                  <a:gd name="connsiteY150" fmla="*/ 497586 h 553974"/>
                  <a:gd name="connsiteX151" fmla="*/ 1278731 w 2366105"/>
                  <a:gd name="connsiteY151" fmla="*/ 497586 h 553974"/>
                  <a:gd name="connsiteX152" fmla="*/ 1278731 w 2366105"/>
                  <a:gd name="connsiteY152" fmla="*/ 503777 h 553974"/>
                  <a:gd name="connsiteX153" fmla="*/ 1303973 w 2366105"/>
                  <a:gd name="connsiteY153" fmla="*/ 503777 h 553974"/>
                  <a:gd name="connsiteX154" fmla="*/ 1303973 w 2366105"/>
                  <a:gd name="connsiteY154" fmla="*/ 509873 h 553974"/>
                  <a:gd name="connsiteX155" fmla="*/ 1533239 w 2366105"/>
                  <a:gd name="connsiteY155" fmla="*/ 509873 h 553974"/>
                  <a:gd name="connsiteX156" fmla="*/ 1533239 w 2366105"/>
                  <a:gd name="connsiteY156" fmla="*/ 516065 h 553974"/>
                  <a:gd name="connsiteX157" fmla="*/ 1646777 w 2366105"/>
                  <a:gd name="connsiteY157" fmla="*/ 516065 h 553974"/>
                  <a:gd name="connsiteX158" fmla="*/ 1646777 w 2366105"/>
                  <a:gd name="connsiteY158" fmla="*/ 522256 h 553974"/>
                  <a:gd name="connsiteX159" fmla="*/ 1915954 w 2366105"/>
                  <a:gd name="connsiteY159" fmla="*/ 522256 h 553974"/>
                  <a:gd name="connsiteX160" fmla="*/ 1915954 w 2366105"/>
                  <a:gd name="connsiteY160" fmla="*/ 528542 h 553974"/>
                  <a:gd name="connsiteX161" fmla="*/ 1989582 w 2366105"/>
                  <a:gd name="connsiteY161" fmla="*/ 528542 h 553974"/>
                  <a:gd name="connsiteX162" fmla="*/ 1989582 w 2366105"/>
                  <a:gd name="connsiteY162" fmla="*/ 534829 h 553974"/>
                  <a:gd name="connsiteX163" fmla="*/ 2069497 w 2366105"/>
                  <a:gd name="connsiteY163" fmla="*/ 534829 h 553974"/>
                  <a:gd name="connsiteX164" fmla="*/ 2069497 w 2366105"/>
                  <a:gd name="connsiteY164" fmla="*/ 541115 h 553974"/>
                  <a:gd name="connsiteX165" fmla="*/ 2231422 w 2366105"/>
                  <a:gd name="connsiteY165" fmla="*/ 541115 h 553974"/>
                  <a:gd name="connsiteX166" fmla="*/ 2231422 w 2366105"/>
                  <a:gd name="connsiteY166" fmla="*/ 547592 h 553974"/>
                  <a:gd name="connsiteX167" fmla="*/ 2248281 w 2366105"/>
                  <a:gd name="connsiteY167" fmla="*/ 547592 h 553974"/>
                  <a:gd name="connsiteX168" fmla="*/ 2248281 w 2366105"/>
                  <a:gd name="connsiteY168" fmla="*/ 553974 h 553974"/>
                  <a:gd name="connsiteX169" fmla="*/ 2366105 w 2366105"/>
                  <a:gd name="connsiteY169" fmla="*/ 553974 h 553974"/>
                  <a:gd name="connsiteX0" fmla="*/ 0 w 2320122"/>
                  <a:gd name="connsiteY0" fmla="*/ 0 h 553974"/>
                  <a:gd name="connsiteX1" fmla="*/ 113538 w 2320122"/>
                  <a:gd name="connsiteY1" fmla="*/ 0 h 553974"/>
                  <a:gd name="connsiteX2" fmla="*/ 113538 w 2320122"/>
                  <a:gd name="connsiteY2" fmla="*/ 5906 h 553974"/>
                  <a:gd name="connsiteX3" fmla="*/ 153543 w 2320122"/>
                  <a:gd name="connsiteY3" fmla="*/ 5906 h 553974"/>
                  <a:gd name="connsiteX4" fmla="*/ 153543 w 2320122"/>
                  <a:gd name="connsiteY4" fmla="*/ 12002 h 553974"/>
                  <a:gd name="connsiteX5" fmla="*/ 161925 w 2320122"/>
                  <a:gd name="connsiteY5" fmla="*/ 12002 h 553974"/>
                  <a:gd name="connsiteX6" fmla="*/ 161925 w 2320122"/>
                  <a:gd name="connsiteY6" fmla="*/ 18002 h 553974"/>
                  <a:gd name="connsiteX7" fmla="*/ 172498 w 2320122"/>
                  <a:gd name="connsiteY7" fmla="*/ 18002 h 553974"/>
                  <a:gd name="connsiteX8" fmla="*/ 172498 w 2320122"/>
                  <a:gd name="connsiteY8" fmla="*/ 24003 h 553974"/>
                  <a:gd name="connsiteX9" fmla="*/ 222980 w 2320122"/>
                  <a:gd name="connsiteY9" fmla="*/ 24003 h 553974"/>
                  <a:gd name="connsiteX10" fmla="*/ 222980 w 2320122"/>
                  <a:gd name="connsiteY10" fmla="*/ 30099 h 553974"/>
                  <a:gd name="connsiteX11" fmla="*/ 231362 w 2320122"/>
                  <a:gd name="connsiteY11" fmla="*/ 30099 h 553974"/>
                  <a:gd name="connsiteX12" fmla="*/ 231362 w 2320122"/>
                  <a:gd name="connsiteY12" fmla="*/ 42196 h 553974"/>
                  <a:gd name="connsiteX13" fmla="*/ 237649 w 2320122"/>
                  <a:gd name="connsiteY13" fmla="*/ 42196 h 553974"/>
                  <a:gd name="connsiteX14" fmla="*/ 237649 w 2320122"/>
                  <a:gd name="connsiteY14" fmla="*/ 48292 h 553974"/>
                  <a:gd name="connsiteX15" fmla="*/ 241840 w 2320122"/>
                  <a:gd name="connsiteY15" fmla="*/ 48292 h 553974"/>
                  <a:gd name="connsiteX16" fmla="*/ 241840 w 2320122"/>
                  <a:gd name="connsiteY16" fmla="*/ 54388 h 553974"/>
                  <a:gd name="connsiteX17" fmla="*/ 246031 w 2320122"/>
                  <a:gd name="connsiteY17" fmla="*/ 54388 h 553974"/>
                  <a:gd name="connsiteX18" fmla="*/ 246031 w 2320122"/>
                  <a:gd name="connsiteY18" fmla="*/ 60484 h 553974"/>
                  <a:gd name="connsiteX19" fmla="*/ 248126 w 2320122"/>
                  <a:gd name="connsiteY19" fmla="*/ 60484 h 553974"/>
                  <a:gd name="connsiteX20" fmla="*/ 248126 w 2320122"/>
                  <a:gd name="connsiteY20" fmla="*/ 66485 h 553974"/>
                  <a:gd name="connsiteX21" fmla="*/ 250317 w 2320122"/>
                  <a:gd name="connsiteY21" fmla="*/ 66485 h 553974"/>
                  <a:gd name="connsiteX22" fmla="*/ 250317 w 2320122"/>
                  <a:gd name="connsiteY22" fmla="*/ 72581 h 553974"/>
                  <a:gd name="connsiteX23" fmla="*/ 260794 w 2320122"/>
                  <a:gd name="connsiteY23" fmla="*/ 72581 h 553974"/>
                  <a:gd name="connsiteX24" fmla="*/ 260794 w 2320122"/>
                  <a:gd name="connsiteY24" fmla="*/ 78677 h 553974"/>
                  <a:gd name="connsiteX25" fmla="*/ 267081 w 2320122"/>
                  <a:gd name="connsiteY25" fmla="*/ 78677 h 553974"/>
                  <a:gd name="connsiteX26" fmla="*/ 267081 w 2320122"/>
                  <a:gd name="connsiteY26" fmla="*/ 84677 h 553974"/>
                  <a:gd name="connsiteX27" fmla="*/ 281845 w 2320122"/>
                  <a:gd name="connsiteY27" fmla="*/ 84677 h 553974"/>
                  <a:gd name="connsiteX28" fmla="*/ 281845 w 2320122"/>
                  <a:gd name="connsiteY28" fmla="*/ 90773 h 553974"/>
                  <a:gd name="connsiteX29" fmla="*/ 290227 w 2320122"/>
                  <a:gd name="connsiteY29" fmla="*/ 90773 h 553974"/>
                  <a:gd name="connsiteX30" fmla="*/ 290227 w 2320122"/>
                  <a:gd name="connsiteY30" fmla="*/ 96869 h 553974"/>
                  <a:gd name="connsiteX31" fmla="*/ 300800 w 2320122"/>
                  <a:gd name="connsiteY31" fmla="*/ 96869 h 553974"/>
                  <a:gd name="connsiteX32" fmla="*/ 300800 w 2320122"/>
                  <a:gd name="connsiteY32" fmla="*/ 102870 h 553974"/>
                  <a:gd name="connsiteX33" fmla="*/ 313373 w 2320122"/>
                  <a:gd name="connsiteY33" fmla="*/ 102870 h 553974"/>
                  <a:gd name="connsiteX34" fmla="*/ 313373 w 2320122"/>
                  <a:gd name="connsiteY34" fmla="*/ 108966 h 553974"/>
                  <a:gd name="connsiteX35" fmla="*/ 319659 w 2320122"/>
                  <a:gd name="connsiteY35" fmla="*/ 108966 h 553974"/>
                  <a:gd name="connsiteX36" fmla="*/ 319659 w 2320122"/>
                  <a:gd name="connsiteY36" fmla="*/ 121063 h 553974"/>
                  <a:gd name="connsiteX37" fmla="*/ 323850 w 2320122"/>
                  <a:gd name="connsiteY37" fmla="*/ 121063 h 553974"/>
                  <a:gd name="connsiteX38" fmla="*/ 323850 w 2320122"/>
                  <a:gd name="connsiteY38" fmla="*/ 127159 h 553974"/>
                  <a:gd name="connsiteX39" fmla="*/ 336518 w 2320122"/>
                  <a:gd name="connsiteY39" fmla="*/ 127159 h 553974"/>
                  <a:gd name="connsiteX40" fmla="*/ 336518 w 2320122"/>
                  <a:gd name="connsiteY40" fmla="*/ 133255 h 553974"/>
                  <a:gd name="connsiteX41" fmla="*/ 351187 w 2320122"/>
                  <a:gd name="connsiteY41" fmla="*/ 133255 h 553974"/>
                  <a:gd name="connsiteX42" fmla="*/ 351187 w 2320122"/>
                  <a:gd name="connsiteY42" fmla="*/ 139256 h 553974"/>
                  <a:gd name="connsiteX43" fmla="*/ 355473 w 2320122"/>
                  <a:gd name="connsiteY43" fmla="*/ 139256 h 553974"/>
                  <a:gd name="connsiteX44" fmla="*/ 355473 w 2320122"/>
                  <a:gd name="connsiteY44" fmla="*/ 145352 h 553974"/>
                  <a:gd name="connsiteX45" fmla="*/ 365950 w 2320122"/>
                  <a:gd name="connsiteY45" fmla="*/ 145352 h 553974"/>
                  <a:gd name="connsiteX46" fmla="*/ 365950 w 2320122"/>
                  <a:gd name="connsiteY46" fmla="*/ 151448 h 553974"/>
                  <a:gd name="connsiteX47" fmla="*/ 374333 w 2320122"/>
                  <a:gd name="connsiteY47" fmla="*/ 151448 h 553974"/>
                  <a:gd name="connsiteX48" fmla="*/ 374333 w 2320122"/>
                  <a:gd name="connsiteY48" fmla="*/ 157544 h 553974"/>
                  <a:gd name="connsiteX49" fmla="*/ 389096 w 2320122"/>
                  <a:gd name="connsiteY49" fmla="*/ 157544 h 553974"/>
                  <a:gd name="connsiteX50" fmla="*/ 389096 w 2320122"/>
                  <a:gd name="connsiteY50" fmla="*/ 163544 h 553974"/>
                  <a:gd name="connsiteX51" fmla="*/ 393287 w 2320122"/>
                  <a:gd name="connsiteY51" fmla="*/ 163544 h 553974"/>
                  <a:gd name="connsiteX52" fmla="*/ 393287 w 2320122"/>
                  <a:gd name="connsiteY52" fmla="*/ 169640 h 553974"/>
                  <a:gd name="connsiteX53" fmla="*/ 397478 w 2320122"/>
                  <a:gd name="connsiteY53" fmla="*/ 169640 h 553974"/>
                  <a:gd name="connsiteX54" fmla="*/ 397478 w 2320122"/>
                  <a:gd name="connsiteY54" fmla="*/ 175736 h 553974"/>
                  <a:gd name="connsiteX55" fmla="*/ 410147 w 2320122"/>
                  <a:gd name="connsiteY55" fmla="*/ 175736 h 553974"/>
                  <a:gd name="connsiteX56" fmla="*/ 410147 w 2320122"/>
                  <a:gd name="connsiteY56" fmla="*/ 181737 h 553974"/>
                  <a:gd name="connsiteX57" fmla="*/ 439579 w 2320122"/>
                  <a:gd name="connsiteY57" fmla="*/ 181737 h 553974"/>
                  <a:gd name="connsiteX58" fmla="*/ 439579 w 2320122"/>
                  <a:gd name="connsiteY58" fmla="*/ 187833 h 553974"/>
                  <a:gd name="connsiteX59" fmla="*/ 447961 w 2320122"/>
                  <a:gd name="connsiteY59" fmla="*/ 187833 h 553974"/>
                  <a:gd name="connsiteX60" fmla="*/ 447961 w 2320122"/>
                  <a:gd name="connsiteY60" fmla="*/ 193929 h 553974"/>
                  <a:gd name="connsiteX61" fmla="*/ 450056 w 2320122"/>
                  <a:gd name="connsiteY61" fmla="*/ 193929 h 553974"/>
                  <a:gd name="connsiteX62" fmla="*/ 450056 w 2320122"/>
                  <a:gd name="connsiteY62" fmla="*/ 199930 h 553974"/>
                  <a:gd name="connsiteX63" fmla="*/ 464820 w 2320122"/>
                  <a:gd name="connsiteY63" fmla="*/ 199930 h 553974"/>
                  <a:gd name="connsiteX64" fmla="*/ 464820 w 2320122"/>
                  <a:gd name="connsiteY64" fmla="*/ 212122 h 553974"/>
                  <a:gd name="connsiteX65" fmla="*/ 466916 w 2320122"/>
                  <a:gd name="connsiteY65" fmla="*/ 212122 h 553974"/>
                  <a:gd name="connsiteX66" fmla="*/ 466916 w 2320122"/>
                  <a:gd name="connsiteY66" fmla="*/ 218123 h 553974"/>
                  <a:gd name="connsiteX67" fmla="*/ 473202 w 2320122"/>
                  <a:gd name="connsiteY67" fmla="*/ 218123 h 553974"/>
                  <a:gd name="connsiteX68" fmla="*/ 473202 w 2320122"/>
                  <a:gd name="connsiteY68" fmla="*/ 224219 h 553974"/>
                  <a:gd name="connsiteX69" fmla="*/ 477393 w 2320122"/>
                  <a:gd name="connsiteY69" fmla="*/ 224219 h 553974"/>
                  <a:gd name="connsiteX70" fmla="*/ 477393 w 2320122"/>
                  <a:gd name="connsiteY70" fmla="*/ 230315 h 553974"/>
                  <a:gd name="connsiteX71" fmla="*/ 494252 w 2320122"/>
                  <a:gd name="connsiteY71" fmla="*/ 230315 h 553974"/>
                  <a:gd name="connsiteX72" fmla="*/ 494252 w 2320122"/>
                  <a:gd name="connsiteY72" fmla="*/ 242411 h 553974"/>
                  <a:gd name="connsiteX73" fmla="*/ 498443 w 2320122"/>
                  <a:gd name="connsiteY73" fmla="*/ 242411 h 553974"/>
                  <a:gd name="connsiteX74" fmla="*/ 498443 w 2320122"/>
                  <a:gd name="connsiteY74" fmla="*/ 248507 h 553974"/>
                  <a:gd name="connsiteX75" fmla="*/ 521589 w 2320122"/>
                  <a:gd name="connsiteY75" fmla="*/ 248507 h 553974"/>
                  <a:gd name="connsiteX76" fmla="*/ 521589 w 2320122"/>
                  <a:gd name="connsiteY76" fmla="*/ 254603 h 553974"/>
                  <a:gd name="connsiteX77" fmla="*/ 525780 w 2320122"/>
                  <a:gd name="connsiteY77" fmla="*/ 254603 h 553974"/>
                  <a:gd name="connsiteX78" fmla="*/ 525780 w 2320122"/>
                  <a:gd name="connsiteY78" fmla="*/ 260604 h 553974"/>
                  <a:gd name="connsiteX79" fmla="*/ 532067 w 2320122"/>
                  <a:gd name="connsiteY79" fmla="*/ 260604 h 553974"/>
                  <a:gd name="connsiteX80" fmla="*/ 532067 w 2320122"/>
                  <a:gd name="connsiteY80" fmla="*/ 272796 h 553974"/>
                  <a:gd name="connsiteX81" fmla="*/ 551021 w 2320122"/>
                  <a:gd name="connsiteY81" fmla="*/ 272796 h 553974"/>
                  <a:gd name="connsiteX82" fmla="*/ 551021 w 2320122"/>
                  <a:gd name="connsiteY82" fmla="*/ 278797 h 553974"/>
                  <a:gd name="connsiteX83" fmla="*/ 559403 w 2320122"/>
                  <a:gd name="connsiteY83" fmla="*/ 278797 h 553974"/>
                  <a:gd name="connsiteX84" fmla="*/ 559403 w 2320122"/>
                  <a:gd name="connsiteY84" fmla="*/ 284893 h 553974"/>
                  <a:gd name="connsiteX85" fmla="*/ 572072 w 2320122"/>
                  <a:gd name="connsiteY85" fmla="*/ 284893 h 553974"/>
                  <a:gd name="connsiteX86" fmla="*/ 572072 w 2320122"/>
                  <a:gd name="connsiteY86" fmla="*/ 290989 h 553974"/>
                  <a:gd name="connsiteX87" fmla="*/ 588931 w 2320122"/>
                  <a:gd name="connsiteY87" fmla="*/ 290989 h 553974"/>
                  <a:gd name="connsiteX88" fmla="*/ 588931 w 2320122"/>
                  <a:gd name="connsiteY88" fmla="*/ 296990 h 553974"/>
                  <a:gd name="connsiteX89" fmla="*/ 616268 w 2320122"/>
                  <a:gd name="connsiteY89" fmla="*/ 296990 h 553974"/>
                  <a:gd name="connsiteX90" fmla="*/ 616268 w 2320122"/>
                  <a:gd name="connsiteY90" fmla="*/ 303086 h 553974"/>
                  <a:gd name="connsiteX91" fmla="*/ 618363 w 2320122"/>
                  <a:gd name="connsiteY91" fmla="*/ 303086 h 553974"/>
                  <a:gd name="connsiteX92" fmla="*/ 618363 w 2320122"/>
                  <a:gd name="connsiteY92" fmla="*/ 309182 h 553974"/>
                  <a:gd name="connsiteX93" fmla="*/ 628840 w 2320122"/>
                  <a:gd name="connsiteY93" fmla="*/ 309182 h 553974"/>
                  <a:gd name="connsiteX94" fmla="*/ 628840 w 2320122"/>
                  <a:gd name="connsiteY94" fmla="*/ 315182 h 553974"/>
                  <a:gd name="connsiteX95" fmla="*/ 635127 w 2320122"/>
                  <a:gd name="connsiteY95" fmla="*/ 315182 h 553974"/>
                  <a:gd name="connsiteX96" fmla="*/ 635127 w 2320122"/>
                  <a:gd name="connsiteY96" fmla="*/ 327374 h 553974"/>
                  <a:gd name="connsiteX97" fmla="*/ 643604 w 2320122"/>
                  <a:gd name="connsiteY97" fmla="*/ 327374 h 553974"/>
                  <a:gd name="connsiteX98" fmla="*/ 643604 w 2320122"/>
                  <a:gd name="connsiteY98" fmla="*/ 333375 h 553974"/>
                  <a:gd name="connsiteX99" fmla="*/ 649891 w 2320122"/>
                  <a:gd name="connsiteY99" fmla="*/ 333375 h 553974"/>
                  <a:gd name="connsiteX100" fmla="*/ 649891 w 2320122"/>
                  <a:gd name="connsiteY100" fmla="*/ 345567 h 553974"/>
                  <a:gd name="connsiteX101" fmla="*/ 651986 w 2320122"/>
                  <a:gd name="connsiteY101" fmla="*/ 345567 h 553974"/>
                  <a:gd name="connsiteX102" fmla="*/ 651986 w 2320122"/>
                  <a:gd name="connsiteY102" fmla="*/ 351663 h 553974"/>
                  <a:gd name="connsiteX103" fmla="*/ 664559 w 2320122"/>
                  <a:gd name="connsiteY103" fmla="*/ 351663 h 553974"/>
                  <a:gd name="connsiteX104" fmla="*/ 664559 w 2320122"/>
                  <a:gd name="connsiteY104" fmla="*/ 357664 h 553974"/>
                  <a:gd name="connsiteX105" fmla="*/ 687705 w 2320122"/>
                  <a:gd name="connsiteY105" fmla="*/ 357664 h 553974"/>
                  <a:gd name="connsiteX106" fmla="*/ 687705 w 2320122"/>
                  <a:gd name="connsiteY106" fmla="*/ 363760 h 553974"/>
                  <a:gd name="connsiteX107" fmla="*/ 694087 w 2320122"/>
                  <a:gd name="connsiteY107" fmla="*/ 363760 h 553974"/>
                  <a:gd name="connsiteX108" fmla="*/ 694087 w 2320122"/>
                  <a:gd name="connsiteY108" fmla="*/ 369856 h 553974"/>
                  <a:gd name="connsiteX109" fmla="*/ 702469 w 2320122"/>
                  <a:gd name="connsiteY109" fmla="*/ 369856 h 553974"/>
                  <a:gd name="connsiteX110" fmla="*/ 702469 w 2320122"/>
                  <a:gd name="connsiteY110" fmla="*/ 375857 h 553974"/>
                  <a:gd name="connsiteX111" fmla="*/ 710851 w 2320122"/>
                  <a:gd name="connsiteY111" fmla="*/ 375857 h 553974"/>
                  <a:gd name="connsiteX112" fmla="*/ 710851 w 2320122"/>
                  <a:gd name="connsiteY112" fmla="*/ 381953 h 553974"/>
                  <a:gd name="connsiteX113" fmla="*/ 715042 w 2320122"/>
                  <a:gd name="connsiteY113" fmla="*/ 381953 h 553974"/>
                  <a:gd name="connsiteX114" fmla="*/ 715042 w 2320122"/>
                  <a:gd name="connsiteY114" fmla="*/ 388049 h 553974"/>
                  <a:gd name="connsiteX115" fmla="*/ 788670 w 2320122"/>
                  <a:gd name="connsiteY115" fmla="*/ 388049 h 553974"/>
                  <a:gd name="connsiteX116" fmla="*/ 788670 w 2320122"/>
                  <a:gd name="connsiteY116" fmla="*/ 394049 h 553974"/>
                  <a:gd name="connsiteX117" fmla="*/ 809720 w 2320122"/>
                  <a:gd name="connsiteY117" fmla="*/ 394049 h 553974"/>
                  <a:gd name="connsiteX118" fmla="*/ 809720 w 2320122"/>
                  <a:gd name="connsiteY118" fmla="*/ 400145 h 553974"/>
                  <a:gd name="connsiteX119" fmla="*/ 816007 w 2320122"/>
                  <a:gd name="connsiteY119" fmla="*/ 400145 h 553974"/>
                  <a:gd name="connsiteX120" fmla="*/ 816007 w 2320122"/>
                  <a:gd name="connsiteY120" fmla="*/ 406241 h 553974"/>
                  <a:gd name="connsiteX121" fmla="*/ 858107 w 2320122"/>
                  <a:gd name="connsiteY121" fmla="*/ 406241 h 553974"/>
                  <a:gd name="connsiteX122" fmla="*/ 858107 w 2320122"/>
                  <a:gd name="connsiteY122" fmla="*/ 412242 h 553974"/>
                  <a:gd name="connsiteX123" fmla="*/ 872776 w 2320122"/>
                  <a:gd name="connsiteY123" fmla="*/ 412242 h 553974"/>
                  <a:gd name="connsiteX124" fmla="*/ 872776 w 2320122"/>
                  <a:gd name="connsiteY124" fmla="*/ 418338 h 553974"/>
                  <a:gd name="connsiteX125" fmla="*/ 902303 w 2320122"/>
                  <a:gd name="connsiteY125" fmla="*/ 418338 h 553974"/>
                  <a:gd name="connsiteX126" fmla="*/ 902303 w 2320122"/>
                  <a:gd name="connsiteY126" fmla="*/ 424434 h 553974"/>
                  <a:gd name="connsiteX127" fmla="*/ 904399 w 2320122"/>
                  <a:gd name="connsiteY127" fmla="*/ 424434 h 553974"/>
                  <a:gd name="connsiteX128" fmla="*/ 904399 w 2320122"/>
                  <a:gd name="connsiteY128" fmla="*/ 430435 h 553974"/>
                  <a:gd name="connsiteX129" fmla="*/ 927449 w 2320122"/>
                  <a:gd name="connsiteY129" fmla="*/ 430435 h 553974"/>
                  <a:gd name="connsiteX130" fmla="*/ 927449 w 2320122"/>
                  <a:gd name="connsiteY130" fmla="*/ 436531 h 553974"/>
                  <a:gd name="connsiteX131" fmla="*/ 940118 w 2320122"/>
                  <a:gd name="connsiteY131" fmla="*/ 436531 h 553974"/>
                  <a:gd name="connsiteX132" fmla="*/ 940118 w 2320122"/>
                  <a:gd name="connsiteY132" fmla="*/ 442627 h 553974"/>
                  <a:gd name="connsiteX133" fmla="*/ 975836 w 2320122"/>
                  <a:gd name="connsiteY133" fmla="*/ 442627 h 553974"/>
                  <a:gd name="connsiteX134" fmla="*/ 975836 w 2320122"/>
                  <a:gd name="connsiteY134" fmla="*/ 448723 h 553974"/>
                  <a:gd name="connsiteX135" fmla="*/ 1091565 w 2320122"/>
                  <a:gd name="connsiteY135" fmla="*/ 448723 h 553974"/>
                  <a:gd name="connsiteX136" fmla="*/ 1091565 w 2320122"/>
                  <a:gd name="connsiteY136" fmla="*/ 454724 h 553974"/>
                  <a:gd name="connsiteX137" fmla="*/ 1129379 w 2320122"/>
                  <a:gd name="connsiteY137" fmla="*/ 454724 h 553974"/>
                  <a:gd name="connsiteX138" fmla="*/ 1129379 w 2320122"/>
                  <a:gd name="connsiteY138" fmla="*/ 460915 h 553974"/>
                  <a:gd name="connsiteX139" fmla="*/ 1181957 w 2320122"/>
                  <a:gd name="connsiteY139" fmla="*/ 460915 h 553974"/>
                  <a:gd name="connsiteX140" fmla="*/ 1181957 w 2320122"/>
                  <a:gd name="connsiteY140" fmla="*/ 467011 h 553974"/>
                  <a:gd name="connsiteX141" fmla="*/ 1200912 w 2320122"/>
                  <a:gd name="connsiteY141" fmla="*/ 467011 h 553974"/>
                  <a:gd name="connsiteX142" fmla="*/ 1200912 w 2320122"/>
                  <a:gd name="connsiteY142" fmla="*/ 473107 h 553974"/>
                  <a:gd name="connsiteX143" fmla="*/ 1211390 w 2320122"/>
                  <a:gd name="connsiteY143" fmla="*/ 473107 h 553974"/>
                  <a:gd name="connsiteX144" fmla="*/ 1211390 w 2320122"/>
                  <a:gd name="connsiteY144" fmla="*/ 479298 h 553974"/>
                  <a:gd name="connsiteX145" fmla="*/ 1245108 w 2320122"/>
                  <a:gd name="connsiteY145" fmla="*/ 479298 h 553974"/>
                  <a:gd name="connsiteX146" fmla="*/ 1245108 w 2320122"/>
                  <a:gd name="connsiteY146" fmla="*/ 485394 h 553974"/>
                  <a:gd name="connsiteX147" fmla="*/ 1251395 w 2320122"/>
                  <a:gd name="connsiteY147" fmla="*/ 485394 h 553974"/>
                  <a:gd name="connsiteX148" fmla="*/ 1251395 w 2320122"/>
                  <a:gd name="connsiteY148" fmla="*/ 491490 h 553974"/>
                  <a:gd name="connsiteX149" fmla="*/ 1266063 w 2320122"/>
                  <a:gd name="connsiteY149" fmla="*/ 491490 h 553974"/>
                  <a:gd name="connsiteX150" fmla="*/ 1266063 w 2320122"/>
                  <a:gd name="connsiteY150" fmla="*/ 497586 h 553974"/>
                  <a:gd name="connsiteX151" fmla="*/ 1278731 w 2320122"/>
                  <a:gd name="connsiteY151" fmla="*/ 497586 h 553974"/>
                  <a:gd name="connsiteX152" fmla="*/ 1278731 w 2320122"/>
                  <a:gd name="connsiteY152" fmla="*/ 503777 h 553974"/>
                  <a:gd name="connsiteX153" fmla="*/ 1303973 w 2320122"/>
                  <a:gd name="connsiteY153" fmla="*/ 503777 h 553974"/>
                  <a:gd name="connsiteX154" fmla="*/ 1303973 w 2320122"/>
                  <a:gd name="connsiteY154" fmla="*/ 509873 h 553974"/>
                  <a:gd name="connsiteX155" fmla="*/ 1533239 w 2320122"/>
                  <a:gd name="connsiteY155" fmla="*/ 509873 h 553974"/>
                  <a:gd name="connsiteX156" fmla="*/ 1533239 w 2320122"/>
                  <a:gd name="connsiteY156" fmla="*/ 516065 h 553974"/>
                  <a:gd name="connsiteX157" fmla="*/ 1646777 w 2320122"/>
                  <a:gd name="connsiteY157" fmla="*/ 516065 h 553974"/>
                  <a:gd name="connsiteX158" fmla="*/ 1646777 w 2320122"/>
                  <a:gd name="connsiteY158" fmla="*/ 522256 h 553974"/>
                  <a:gd name="connsiteX159" fmla="*/ 1915954 w 2320122"/>
                  <a:gd name="connsiteY159" fmla="*/ 522256 h 553974"/>
                  <a:gd name="connsiteX160" fmla="*/ 1915954 w 2320122"/>
                  <a:gd name="connsiteY160" fmla="*/ 528542 h 553974"/>
                  <a:gd name="connsiteX161" fmla="*/ 1989582 w 2320122"/>
                  <a:gd name="connsiteY161" fmla="*/ 528542 h 553974"/>
                  <a:gd name="connsiteX162" fmla="*/ 1989582 w 2320122"/>
                  <a:gd name="connsiteY162" fmla="*/ 534829 h 553974"/>
                  <a:gd name="connsiteX163" fmla="*/ 2069497 w 2320122"/>
                  <a:gd name="connsiteY163" fmla="*/ 534829 h 553974"/>
                  <a:gd name="connsiteX164" fmla="*/ 2069497 w 2320122"/>
                  <a:gd name="connsiteY164" fmla="*/ 541115 h 553974"/>
                  <a:gd name="connsiteX165" fmla="*/ 2231422 w 2320122"/>
                  <a:gd name="connsiteY165" fmla="*/ 541115 h 553974"/>
                  <a:gd name="connsiteX166" fmla="*/ 2231422 w 2320122"/>
                  <a:gd name="connsiteY166" fmla="*/ 547592 h 553974"/>
                  <a:gd name="connsiteX167" fmla="*/ 2248281 w 2320122"/>
                  <a:gd name="connsiteY167" fmla="*/ 547592 h 553974"/>
                  <a:gd name="connsiteX168" fmla="*/ 2248281 w 2320122"/>
                  <a:gd name="connsiteY168" fmla="*/ 553974 h 553974"/>
                  <a:gd name="connsiteX169" fmla="*/ 2320122 w 2320122"/>
                  <a:gd name="connsiteY169" fmla="*/ 553974 h 553974"/>
                  <a:gd name="connsiteX0" fmla="*/ 0 w 2301430"/>
                  <a:gd name="connsiteY0" fmla="*/ 0 h 553974"/>
                  <a:gd name="connsiteX1" fmla="*/ 113538 w 2301430"/>
                  <a:gd name="connsiteY1" fmla="*/ 0 h 553974"/>
                  <a:gd name="connsiteX2" fmla="*/ 113538 w 2301430"/>
                  <a:gd name="connsiteY2" fmla="*/ 5906 h 553974"/>
                  <a:gd name="connsiteX3" fmla="*/ 153543 w 2301430"/>
                  <a:gd name="connsiteY3" fmla="*/ 5906 h 553974"/>
                  <a:gd name="connsiteX4" fmla="*/ 153543 w 2301430"/>
                  <a:gd name="connsiteY4" fmla="*/ 12002 h 553974"/>
                  <a:gd name="connsiteX5" fmla="*/ 161925 w 2301430"/>
                  <a:gd name="connsiteY5" fmla="*/ 12002 h 553974"/>
                  <a:gd name="connsiteX6" fmla="*/ 161925 w 2301430"/>
                  <a:gd name="connsiteY6" fmla="*/ 18002 h 553974"/>
                  <a:gd name="connsiteX7" fmla="*/ 172498 w 2301430"/>
                  <a:gd name="connsiteY7" fmla="*/ 18002 h 553974"/>
                  <a:gd name="connsiteX8" fmla="*/ 172498 w 2301430"/>
                  <a:gd name="connsiteY8" fmla="*/ 24003 h 553974"/>
                  <a:gd name="connsiteX9" fmla="*/ 222980 w 2301430"/>
                  <a:gd name="connsiteY9" fmla="*/ 24003 h 553974"/>
                  <a:gd name="connsiteX10" fmla="*/ 222980 w 2301430"/>
                  <a:gd name="connsiteY10" fmla="*/ 30099 h 553974"/>
                  <a:gd name="connsiteX11" fmla="*/ 231362 w 2301430"/>
                  <a:gd name="connsiteY11" fmla="*/ 30099 h 553974"/>
                  <a:gd name="connsiteX12" fmla="*/ 231362 w 2301430"/>
                  <a:gd name="connsiteY12" fmla="*/ 42196 h 553974"/>
                  <a:gd name="connsiteX13" fmla="*/ 237649 w 2301430"/>
                  <a:gd name="connsiteY13" fmla="*/ 42196 h 553974"/>
                  <a:gd name="connsiteX14" fmla="*/ 237649 w 2301430"/>
                  <a:gd name="connsiteY14" fmla="*/ 48292 h 553974"/>
                  <a:gd name="connsiteX15" fmla="*/ 241840 w 2301430"/>
                  <a:gd name="connsiteY15" fmla="*/ 48292 h 553974"/>
                  <a:gd name="connsiteX16" fmla="*/ 241840 w 2301430"/>
                  <a:gd name="connsiteY16" fmla="*/ 54388 h 553974"/>
                  <a:gd name="connsiteX17" fmla="*/ 246031 w 2301430"/>
                  <a:gd name="connsiteY17" fmla="*/ 54388 h 553974"/>
                  <a:gd name="connsiteX18" fmla="*/ 246031 w 2301430"/>
                  <a:gd name="connsiteY18" fmla="*/ 60484 h 553974"/>
                  <a:gd name="connsiteX19" fmla="*/ 248126 w 2301430"/>
                  <a:gd name="connsiteY19" fmla="*/ 60484 h 553974"/>
                  <a:gd name="connsiteX20" fmla="*/ 248126 w 2301430"/>
                  <a:gd name="connsiteY20" fmla="*/ 66485 h 553974"/>
                  <a:gd name="connsiteX21" fmla="*/ 250317 w 2301430"/>
                  <a:gd name="connsiteY21" fmla="*/ 66485 h 553974"/>
                  <a:gd name="connsiteX22" fmla="*/ 250317 w 2301430"/>
                  <a:gd name="connsiteY22" fmla="*/ 72581 h 553974"/>
                  <a:gd name="connsiteX23" fmla="*/ 260794 w 2301430"/>
                  <a:gd name="connsiteY23" fmla="*/ 72581 h 553974"/>
                  <a:gd name="connsiteX24" fmla="*/ 260794 w 2301430"/>
                  <a:gd name="connsiteY24" fmla="*/ 78677 h 553974"/>
                  <a:gd name="connsiteX25" fmla="*/ 267081 w 2301430"/>
                  <a:gd name="connsiteY25" fmla="*/ 78677 h 553974"/>
                  <a:gd name="connsiteX26" fmla="*/ 267081 w 2301430"/>
                  <a:gd name="connsiteY26" fmla="*/ 84677 h 553974"/>
                  <a:gd name="connsiteX27" fmla="*/ 281845 w 2301430"/>
                  <a:gd name="connsiteY27" fmla="*/ 84677 h 553974"/>
                  <a:gd name="connsiteX28" fmla="*/ 281845 w 2301430"/>
                  <a:gd name="connsiteY28" fmla="*/ 90773 h 553974"/>
                  <a:gd name="connsiteX29" fmla="*/ 290227 w 2301430"/>
                  <a:gd name="connsiteY29" fmla="*/ 90773 h 553974"/>
                  <a:gd name="connsiteX30" fmla="*/ 290227 w 2301430"/>
                  <a:gd name="connsiteY30" fmla="*/ 96869 h 553974"/>
                  <a:gd name="connsiteX31" fmla="*/ 300800 w 2301430"/>
                  <a:gd name="connsiteY31" fmla="*/ 96869 h 553974"/>
                  <a:gd name="connsiteX32" fmla="*/ 300800 w 2301430"/>
                  <a:gd name="connsiteY32" fmla="*/ 102870 h 553974"/>
                  <a:gd name="connsiteX33" fmla="*/ 313373 w 2301430"/>
                  <a:gd name="connsiteY33" fmla="*/ 102870 h 553974"/>
                  <a:gd name="connsiteX34" fmla="*/ 313373 w 2301430"/>
                  <a:gd name="connsiteY34" fmla="*/ 108966 h 553974"/>
                  <a:gd name="connsiteX35" fmla="*/ 319659 w 2301430"/>
                  <a:gd name="connsiteY35" fmla="*/ 108966 h 553974"/>
                  <a:gd name="connsiteX36" fmla="*/ 319659 w 2301430"/>
                  <a:gd name="connsiteY36" fmla="*/ 121063 h 553974"/>
                  <a:gd name="connsiteX37" fmla="*/ 323850 w 2301430"/>
                  <a:gd name="connsiteY37" fmla="*/ 121063 h 553974"/>
                  <a:gd name="connsiteX38" fmla="*/ 323850 w 2301430"/>
                  <a:gd name="connsiteY38" fmla="*/ 127159 h 553974"/>
                  <a:gd name="connsiteX39" fmla="*/ 336518 w 2301430"/>
                  <a:gd name="connsiteY39" fmla="*/ 127159 h 553974"/>
                  <a:gd name="connsiteX40" fmla="*/ 336518 w 2301430"/>
                  <a:gd name="connsiteY40" fmla="*/ 133255 h 553974"/>
                  <a:gd name="connsiteX41" fmla="*/ 351187 w 2301430"/>
                  <a:gd name="connsiteY41" fmla="*/ 133255 h 553974"/>
                  <a:gd name="connsiteX42" fmla="*/ 351187 w 2301430"/>
                  <a:gd name="connsiteY42" fmla="*/ 139256 h 553974"/>
                  <a:gd name="connsiteX43" fmla="*/ 355473 w 2301430"/>
                  <a:gd name="connsiteY43" fmla="*/ 139256 h 553974"/>
                  <a:gd name="connsiteX44" fmla="*/ 355473 w 2301430"/>
                  <a:gd name="connsiteY44" fmla="*/ 145352 h 553974"/>
                  <a:gd name="connsiteX45" fmla="*/ 365950 w 2301430"/>
                  <a:gd name="connsiteY45" fmla="*/ 145352 h 553974"/>
                  <a:gd name="connsiteX46" fmla="*/ 365950 w 2301430"/>
                  <a:gd name="connsiteY46" fmla="*/ 151448 h 553974"/>
                  <a:gd name="connsiteX47" fmla="*/ 374333 w 2301430"/>
                  <a:gd name="connsiteY47" fmla="*/ 151448 h 553974"/>
                  <a:gd name="connsiteX48" fmla="*/ 374333 w 2301430"/>
                  <a:gd name="connsiteY48" fmla="*/ 157544 h 553974"/>
                  <a:gd name="connsiteX49" fmla="*/ 389096 w 2301430"/>
                  <a:gd name="connsiteY49" fmla="*/ 157544 h 553974"/>
                  <a:gd name="connsiteX50" fmla="*/ 389096 w 2301430"/>
                  <a:gd name="connsiteY50" fmla="*/ 163544 h 553974"/>
                  <a:gd name="connsiteX51" fmla="*/ 393287 w 2301430"/>
                  <a:gd name="connsiteY51" fmla="*/ 163544 h 553974"/>
                  <a:gd name="connsiteX52" fmla="*/ 393287 w 2301430"/>
                  <a:gd name="connsiteY52" fmla="*/ 169640 h 553974"/>
                  <a:gd name="connsiteX53" fmla="*/ 397478 w 2301430"/>
                  <a:gd name="connsiteY53" fmla="*/ 169640 h 553974"/>
                  <a:gd name="connsiteX54" fmla="*/ 397478 w 2301430"/>
                  <a:gd name="connsiteY54" fmla="*/ 175736 h 553974"/>
                  <a:gd name="connsiteX55" fmla="*/ 410147 w 2301430"/>
                  <a:gd name="connsiteY55" fmla="*/ 175736 h 553974"/>
                  <a:gd name="connsiteX56" fmla="*/ 410147 w 2301430"/>
                  <a:gd name="connsiteY56" fmla="*/ 181737 h 553974"/>
                  <a:gd name="connsiteX57" fmla="*/ 439579 w 2301430"/>
                  <a:gd name="connsiteY57" fmla="*/ 181737 h 553974"/>
                  <a:gd name="connsiteX58" fmla="*/ 439579 w 2301430"/>
                  <a:gd name="connsiteY58" fmla="*/ 187833 h 553974"/>
                  <a:gd name="connsiteX59" fmla="*/ 447961 w 2301430"/>
                  <a:gd name="connsiteY59" fmla="*/ 187833 h 553974"/>
                  <a:gd name="connsiteX60" fmla="*/ 447961 w 2301430"/>
                  <a:gd name="connsiteY60" fmla="*/ 193929 h 553974"/>
                  <a:gd name="connsiteX61" fmla="*/ 450056 w 2301430"/>
                  <a:gd name="connsiteY61" fmla="*/ 193929 h 553974"/>
                  <a:gd name="connsiteX62" fmla="*/ 450056 w 2301430"/>
                  <a:gd name="connsiteY62" fmla="*/ 199930 h 553974"/>
                  <a:gd name="connsiteX63" fmla="*/ 464820 w 2301430"/>
                  <a:gd name="connsiteY63" fmla="*/ 199930 h 553974"/>
                  <a:gd name="connsiteX64" fmla="*/ 464820 w 2301430"/>
                  <a:gd name="connsiteY64" fmla="*/ 212122 h 553974"/>
                  <a:gd name="connsiteX65" fmla="*/ 466916 w 2301430"/>
                  <a:gd name="connsiteY65" fmla="*/ 212122 h 553974"/>
                  <a:gd name="connsiteX66" fmla="*/ 466916 w 2301430"/>
                  <a:gd name="connsiteY66" fmla="*/ 218123 h 553974"/>
                  <a:gd name="connsiteX67" fmla="*/ 473202 w 2301430"/>
                  <a:gd name="connsiteY67" fmla="*/ 218123 h 553974"/>
                  <a:gd name="connsiteX68" fmla="*/ 473202 w 2301430"/>
                  <a:gd name="connsiteY68" fmla="*/ 224219 h 553974"/>
                  <a:gd name="connsiteX69" fmla="*/ 477393 w 2301430"/>
                  <a:gd name="connsiteY69" fmla="*/ 224219 h 553974"/>
                  <a:gd name="connsiteX70" fmla="*/ 477393 w 2301430"/>
                  <a:gd name="connsiteY70" fmla="*/ 230315 h 553974"/>
                  <a:gd name="connsiteX71" fmla="*/ 494252 w 2301430"/>
                  <a:gd name="connsiteY71" fmla="*/ 230315 h 553974"/>
                  <a:gd name="connsiteX72" fmla="*/ 494252 w 2301430"/>
                  <a:gd name="connsiteY72" fmla="*/ 242411 h 553974"/>
                  <a:gd name="connsiteX73" fmla="*/ 498443 w 2301430"/>
                  <a:gd name="connsiteY73" fmla="*/ 242411 h 553974"/>
                  <a:gd name="connsiteX74" fmla="*/ 498443 w 2301430"/>
                  <a:gd name="connsiteY74" fmla="*/ 248507 h 553974"/>
                  <a:gd name="connsiteX75" fmla="*/ 521589 w 2301430"/>
                  <a:gd name="connsiteY75" fmla="*/ 248507 h 553974"/>
                  <a:gd name="connsiteX76" fmla="*/ 521589 w 2301430"/>
                  <a:gd name="connsiteY76" fmla="*/ 254603 h 553974"/>
                  <a:gd name="connsiteX77" fmla="*/ 525780 w 2301430"/>
                  <a:gd name="connsiteY77" fmla="*/ 254603 h 553974"/>
                  <a:gd name="connsiteX78" fmla="*/ 525780 w 2301430"/>
                  <a:gd name="connsiteY78" fmla="*/ 260604 h 553974"/>
                  <a:gd name="connsiteX79" fmla="*/ 532067 w 2301430"/>
                  <a:gd name="connsiteY79" fmla="*/ 260604 h 553974"/>
                  <a:gd name="connsiteX80" fmla="*/ 532067 w 2301430"/>
                  <a:gd name="connsiteY80" fmla="*/ 272796 h 553974"/>
                  <a:gd name="connsiteX81" fmla="*/ 551021 w 2301430"/>
                  <a:gd name="connsiteY81" fmla="*/ 272796 h 553974"/>
                  <a:gd name="connsiteX82" fmla="*/ 551021 w 2301430"/>
                  <a:gd name="connsiteY82" fmla="*/ 278797 h 553974"/>
                  <a:gd name="connsiteX83" fmla="*/ 559403 w 2301430"/>
                  <a:gd name="connsiteY83" fmla="*/ 278797 h 553974"/>
                  <a:gd name="connsiteX84" fmla="*/ 559403 w 2301430"/>
                  <a:gd name="connsiteY84" fmla="*/ 284893 h 553974"/>
                  <a:gd name="connsiteX85" fmla="*/ 572072 w 2301430"/>
                  <a:gd name="connsiteY85" fmla="*/ 284893 h 553974"/>
                  <a:gd name="connsiteX86" fmla="*/ 572072 w 2301430"/>
                  <a:gd name="connsiteY86" fmla="*/ 290989 h 553974"/>
                  <a:gd name="connsiteX87" fmla="*/ 588931 w 2301430"/>
                  <a:gd name="connsiteY87" fmla="*/ 290989 h 553974"/>
                  <a:gd name="connsiteX88" fmla="*/ 588931 w 2301430"/>
                  <a:gd name="connsiteY88" fmla="*/ 296990 h 553974"/>
                  <a:gd name="connsiteX89" fmla="*/ 616268 w 2301430"/>
                  <a:gd name="connsiteY89" fmla="*/ 296990 h 553974"/>
                  <a:gd name="connsiteX90" fmla="*/ 616268 w 2301430"/>
                  <a:gd name="connsiteY90" fmla="*/ 303086 h 553974"/>
                  <a:gd name="connsiteX91" fmla="*/ 618363 w 2301430"/>
                  <a:gd name="connsiteY91" fmla="*/ 303086 h 553974"/>
                  <a:gd name="connsiteX92" fmla="*/ 618363 w 2301430"/>
                  <a:gd name="connsiteY92" fmla="*/ 309182 h 553974"/>
                  <a:gd name="connsiteX93" fmla="*/ 628840 w 2301430"/>
                  <a:gd name="connsiteY93" fmla="*/ 309182 h 553974"/>
                  <a:gd name="connsiteX94" fmla="*/ 628840 w 2301430"/>
                  <a:gd name="connsiteY94" fmla="*/ 315182 h 553974"/>
                  <a:gd name="connsiteX95" fmla="*/ 635127 w 2301430"/>
                  <a:gd name="connsiteY95" fmla="*/ 315182 h 553974"/>
                  <a:gd name="connsiteX96" fmla="*/ 635127 w 2301430"/>
                  <a:gd name="connsiteY96" fmla="*/ 327374 h 553974"/>
                  <a:gd name="connsiteX97" fmla="*/ 643604 w 2301430"/>
                  <a:gd name="connsiteY97" fmla="*/ 327374 h 553974"/>
                  <a:gd name="connsiteX98" fmla="*/ 643604 w 2301430"/>
                  <a:gd name="connsiteY98" fmla="*/ 333375 h 553974"/>
                  <a:gd name="connsiteX99" fmla="*/ 649891 w 2301430"/>
                  <a:gd name="connsiteY99" fmla="*/ 333375 h 553974"/>
                  <a:gd name="connsiteX100" fmla="*/ 649891 w 2301430"/>
                  <a:gd name="connsiteY100" fmla="*/ 345567 h 553974"/>
                  <a:gd name="connsiteX101" fmla="*/ 651986 w 2301430"/>
                  <a:gd name="connsiteY101" fmla="*/ 345567 h 553974"/>
                  <a:gd name="connsiteX102" fmla="*/ 651986 w 2301430"/>
                  <a:gd name="connsiteY102" fmla="*/ 351663 h 553974"/>
                  <a:gd name="connsiteX103" fmla="*/ 664559 w 2301430"/>
                  <a:gd name="connsiteY103" fmla="*/ 351663 h 553974"/>
                  <a:gd name="connsiteX104" fmla="*/ 664559 w 2301430"/>
                  <a:gd name="connsiteY104" fmla="*/ 357664 h 553974"/>
                  <a:gd name="connsiteX105" fmla="*/ 687705 w 2301430"/>
                  <a:gd name="connsiteY105" fmla="*/ 357664 h 553974"/>
                  <a:gd name="connsiteX106" fmla="*/ 687705 w 2301430"/>
                  <a:gd name="connsiteY106" fmla="*/ 363760 h 553974"/>
                  <a:gd name="connsiteX107" fmla="*/ 694087 w 2301430"/>
                  <a:gd name="connsiteY107" fmla="*/ 363760 h 553974"/>
                  <a:gd name="connsiteX108" fmla="*/ 694087 w 2301430"/>
                  <a:gd name="connsiteY108" fmla="*/ 369856 h 553974"/>
                  <a:gd name="connsiteX109" fmla="*/ 702469 w 2301430"/>
                  <a:gd name="connsiteY109" fmla="*/ 369856 h 553974"/>
                  <a:gd name="connsiteX110" fmla="*/ 702469 w 2301430"/>
                  <a:gd name="connsiteY110" fmla="*/ 375857 h 553974"/>
                  <a:gd name="connsiteX111" fmla="*/ 710851 w 2301430"/>
                  <a:gd name="connsiteY111" fmla="*/ 375857 h 553974"/>
                  <a:gd name="connsiteX112" fmla="*/ 710851 w 2301430"/>
                  <a:gd name="connsiteY112" fmla="*/ 381953 h 553974"/>
                  <a:gd name="connsiteX113" fmla="*/ 715042 w 2301430"/>
                  <a:gd name="connsiteY113" fmla="*/ 381953 h 553974"/>
                  <a:gd name="connsiteX114" fmla="*/ 715042 w 2301430"/>
                  <a:gd name="connsiteY114" fmla="*/ 388049 h 553974"/>
                  <a:gd name="connsiteX115" fmla="*/ 788670 w 2301430"/>
                  <a:gd name="connsiteY115" fmla="*/ 388049 h 553974"/>
                  <a:gd name="connsiteX116" fmla="*/ 788670 w 2301430"/>
                  <a:gd name="connsiteY116" fmla="*/ 394049 h 553974"/>
                  <a:gd name="connsiteX117" fmla="*/ 809720 w 2301430"/>
                  <a:gd name="connsiteY117" fmla="*/ 394049 h 553974"/>
                  <a:gd name="connsiteX118" fmla="*/ 809720 w 2301430"/>
                  <a:gd name="connsiteY118" fmla="*/ 400145 h 553974"/>
                  <a:gd name="connsiteX119" fmla="*/ 816007 w 2301430"/>
                  <a:gd name="connsiteY119" fmla="*/ 400145 h 553974"/>
                  <a:gd name="connsiteX120" fmla="*/ 816007 w 2301430"/>
                  <a:gd name="connsiteY120" fmla="*/ 406241 h 553974"/>
                  <a:gd name="connsiteX121" fmla="*/ 858107 w 2301430"/>
                  <a:gd name="connsiteY121" fmla="*/ 406241 h 553974"/>
                  <a:gd name="connsiteX122" fmla="*/ 858107 w 2301430"/>
                  <a:gd name="connsiteY122" fmla="*/ 412242 h 553974"/>
                  <a:gd name="connsiteX123" fmla="*/ 872776 w 2301430"/>
                  <a:gd name="connsiteY123" fmla="*/ 412242 h 553974"/>
                  <a:gd name="connsiteX124" fmla="*/ 872776 w 2301430"/>
                  <a:gd name="connsiteY124" fmla="*/ 418338 h 553974"/>
                  <a:gd name="connsiteX125" fmla="*/ 902303 w 2301430"/>
                  <a:gd name="connsiteY125" fmla="*/ 418338 h 553974"/>
                  <a:gd name="connsiteX126" fmla="*/ 902303 w 2301430"/>
                  <a:gd name="connsiteY126" fmla="*/ 424434 h 553974"/>
                  <a:gd name="connsiteX127" fmla="*/ 904399 w 2301430"/>
                  <a:gd name="connsiteY127" fmla="*/ 424434 h 553974"/>
                  <a:gd name="connsiteX128" fmla="*/ 904399 w 2301430"/>
                  <a:gd name="connsiteY128" fmla="*/ 430435 h 553974"/>
                  <a:gd name="connsiteX129" fmla="*/ 927449 w 2301430"/>
                  <a:gd name="connsiteY129" fmla="*/ 430435 h 553974"/>
                  <a:gd name="connsiteX130" fmla="*/ 927449 w 2301430"/>
                  <a:gd name="connsiteY130" fmla="*/ 436531 h 553974"/>
                  <a:gd name="connsiteX131" fmla="*/ 940118 w 2301430"/>
                  <a:gd name="connsiteY131" fmla="*/ 436531 h 553974"/>
                  <a:gd name="connsiteX132" fmla="*/ 940118 w 2301430"/>
                  <a:gd name="connsiteY132" fmla="*/ 442627 h 553974"/>
                  <a:gd name="connsiteX133" fmla="*/ 975836 w 2301430"/>
                  <a:gd name="connsiteY133" fmla="*/ 442627 h 553974"/>
                  <a:gd name="connsiteX134" fmla="*/ 975836 w 2301430"/>
                  <a:gd name="connsiteY134" fmla="*/ 448723 h 553974"/>
                  <a:gd name="connsiteX135" fmla="*/ 1091565 w 2301430"/>
                  <a:gd name="connsiteY135" fmla="*/ 448723 h 553974"/>
                  <a:gd name="connsiteX136" fmla="*/ 1091565 w 2301430"/>
                  <a:gd name="connsiteY136" fmla="*/ 454724 h 553974"/>
                  <a:gd name="connsiteX137" fmla="*/ 1129379 w 2301430"/>
                  <a:gd name="connsiteY137" fmla="*/ 454724 h 553974"/>
                  <a:gd name="connsiteX138" fmla="*/ 1129379 w 2301430"/>
                  <a:gd name="connsiteY138" fmla="*/ 460915 h 553974"/>
                  <a:gd name="connsiteX139" fmla="*/ 1181957 w 2301430"/>
                  <a:gd name="connsiteY139" fmla="*/ 460915 h 553974"/>
                  <a:gd name="connsiteX140" fmla="*/ 1181957 w 2301430"/>
                  <a:gd name="connsiteY140" fmla="*/ 467011 h 553974"/>
                  <a:gd name="connsiteX141" fmla="*/ 1200912 w 2301430"/>
                  <a:gd name="connsiteY141" fmla="*/ 467011 h 553974"/>
                  <a:gd name="connsiteX142" fmla="*/ 1200912 w 2301430"/>
                  <a:gd name="connsiteY142" fmla="*/ 473107 h 553974"/>
                  <a:gd name="connsiteX143" fmla="*/ 1211390 w 2301430"/>
                  <a:gd name="connsiteY143" fmla="*/ 473107 h 553974"/>
                  <a:gd name="connsiteX144" fmla="*/ 1211390 w 2301430"/>
                  <a:gd name="connsiteY144" fmla="*/ 479298 h 553974"/>
                  <a:gd name="connsiteX145" fmla="*/ 1245108 w 2301430"/>
                  <a:gd name="connsiteY145" fmla="*/ 479298 h 553974"/>
                  <a:gd name="connsiteX146" fmla="*/ 1245108 w 2301430"/>
                  <a:gd name="connsiteY146" fmla="*/ 485394 h 553974"/>
                  <a:gd name="connsiteX147" fmla="*/ 1251395 w 2301430"/>
                  <a:gd name="connsiteY147" fmla="*/ 485394 h 553974"/>
                  <a:gd name="connsiteX148" fmla="*/ 1251395 w 2301430"/>
                  <a:gd name="connsiteY148" fmla="*/ 491490 h 553974"/>
                  <a:gd name="connsiteX149" fmla="*/ 1266063 w 2301430"/>
                  <a:gd name="connsiteY149" fmla="*/ 491490 h 553974"/>
                  <a:gd name="connsiteX150" fmla="*/ 1266063 w 2301430"/>
                  <a:gd name="connsiteY150" fmla="*/ 497586 h 553974"/>
                  <a:gd name="connsiteX151" fmla="*/ 1278731 w 2301430"/>
                  <a:gd name="connsiteY151" fmla="*/ 497586 h 553974"/>
                  <a:gd name="connsiteX152" fmla="*/ 1278731 w 2301430"/>
                  <a:gd name="connsiteY152" fmla="*/ 503777 h 553974"/>
                  <a:gd name="connsiteX153" fmla="*/ 1303973 w 2301430"/>
                  <a:gd name="connsiteY153" fmla="*/ 503777 h 553974"/>
                  <a:gd name="connsiteX154" fmla="*/ 1303973 w 2301430"/>
                  <a:gd name="connsiteY154" fmla="*/ 509873 h 553974"/>
                  <a:gd name="connsiteX155" fmla="*/ 1533239 w 2301430"/>
                  <a:gd name="connsiteY155" fmla="*/ 509873 h 553974"/>
                  <a:gd name="connsiteX156" fmla="*/ 1533239 w 2301430"/>
                  <a:gd name="connsiteY156" fmla="*/ 516065 h 553974"/>
                  <a:gd name="connsiteX157" fmla="*/ 1646777 w 2301430"/>
                  <a:gd name="connsiteY157" fmla="*/ 516065 h 553974"/>
                  <a:gd name="connsiteX158" fmla="*/ 1646777 w 2301430"/>
                  <a:gd name="connsiteY158" fmla="*/ 522256 h 553974"/>
                  <a:gd name="connsiteX159" fmla="*/ 1915954 w 2301430"/>
                  <a:gd name="connsiteY159" fmla="*/ 522256 h 553974"/>
                  <a:gd name="connsiteX160" fmla="*/ 1915954 w 2301430"/>
                  <a:gd name="connsiteY160" fmla="*/ 528542 h 553974"/>
                  <a:gd name="connsiteX161" fmla="*/ 1989582 w 2301430"/>
                  <a:gd name="connsiteY161" fmla="*/ 528542 h 553974"/>
                  <a:gd name="connsiteX162" fmla="*/ 1989582 w 2301430"/>
                  <a:gd name="connsiteY162" fmla="*/ 534829 h 553974"/>
                  <a:gd name="connsiteX163" fmla="*/ 2069497 w 2301430"/>
                  <a:gd name="connsiteY163" fmla="*/ 534829 h 553974"/>
                  <a:gd name="connsiteX164" fmla="*/ 2069497 w 2301430"/>
                  <a:gd name="connsiteY164" fmla="*/ 541115 h 553974"/>
                  <a:gd name="connsiteX165" fmla="*/ 2231422 w 2301430"/>
                  <a:gd name="connsiteY165" fmla="*/ 541115 h 553974"/>
                  <a:gd name="connsiteX166" fmla="*/ 2231422 w 2301430"/>
                  <a:gd name="connsiteY166" fmla="*/ 547592 h 553974"/>
                  <a:gd name="connsiteX167" fmla="*/ 2248281 w 2301430"/>
                  <a:gd name="connsiteY167" fmla="*/ 547592 h 553974"/>
                  <a:gd name="connsiteX168" fmla="*/ 2248281 w 2301430"/>
                  <a:gd name="connsiteY168" fmla="*/ 553974 h 553974"/>
                  <a:gd name="connsiteX169" fmla="*/ 2301430 w 2301430"/>
                  <a:gd name="connsiteY169" fmla="*/ 552711 h 553974"/>
                  <a:gd name="connsiteX0" fmla="*/ 0 w 2298031"/>
                  <a:gd name="connsiteY0" fmla="*/ 0 h 553974"/>
                  <a:gd name="connsiteX1" fmla="*/ 113538 w 2298031"/>
                  <a:gd name="connsiteY1" fmla="*/ 0 h 553974"/>
                  <a:gd name="connsiteX2" fmla="*/ 113538 w 2298031"/>
                  <a:gd name="connsiteY2" fmla="*/ 5906 h 553974"/>
                  <a:gd name="connsiteX3" fmla="*/ 153543 w 2298031"/>
                  <a:gd name="connsiteY3" fmla="*/ 5906 h 553974"/>
                  <a:gd name="connsiteX4" fmla="*/ 153543 w 2298031"/>
                  <a:gd name="connsiteY4" fmla="*/ 12002 h 553974"/>
                  <a:gd name="connsiteX5" fmla="*/ 161925 w 2298031"/>
                  <a:gd name="connsiteY5" fmla="*/ 12002 h 553974"/>
                  <a:gd name="connsiteX6" fmla="*/ 161925 w 2298031"/>
                  <a:gd name="connsiteY6" fmla="*/ 18002 h 553974"/>
                  <a:gd name="connsiteX7" fmla="*/ 172498 w 2298031"/>
                  <a:gd name="connsiteY7" fmla="*/ 18002 h 553974"/>
                  <a:gd name="connsiteX8" fmla="*/ 172498 w 2298031"/>
                  <a:gd name="connsiteY8" fmla="*/ 24003 h 553974"/>
                  <a:gd name="connsiteX9" fmla="*/ 222980 w 2298031"/>
                  <a:gd name="connsiteY9" fmla="*/ 24003 h 553974"/>
                  <a:gd name="connsiteX10" fmla="*/ 222980 w 2298031"/>
                  <a:gd name="connsiteY10" fmla="*/ 30099 h 553974"/>
                  <a:gd name="connsiteX11" fmla="*/ 231362 w 2298031"/>
                  <a:gd name="connsiteY11" fmla="*/ 30099 h 553974"/>
                  <a:gd name="connsiteX12" fmla="*/ 231362 w 2298031"/>
                  <a:gd name="connsiteY12" fmla="*/ 42196 h 553974"/>
                  <a:gd name="connsiteX13" fmla="*/ 237649 w 2298031"/>
                  <a:gd name="connsiteY13" fmla="*/ 42196 h 553974"/>
                  <a:gd name="connsiteX14" fmla="*/ 237649 w 2298031"/>
                  <a:gd name="connsiteY14" fmla="*/ 48292 h 553974"/>
                  <a:gd name="connsiteX15" fmla="*/ 241840 w 2298031"/>
                  <a:gd name="connsiteY15" fmla="*/ 48292 h 553974"/>
                  <a:gd name="connsiteX16" fmla="*/ 241840 w 2298031"/>
                  <a:gd name="connsiteY16" fmla="*/ 54388 h 553974"/>
                  <a:gd name="connsiteX17" fmla="*/ 246031 w 2298031"/>
                  <a:gd name="connsiteY17" fmla="*/ 54388 h 553974"/>
                  <a:gd name="connsiteX18" fmla="*/ 246031 w 2298031"/>
                  <a:gd name="connsiteY18" fmla="*/ 60484 h 553974"/>
                  <a:gd name="connsiteX19" fmla="*/ 248126 w 2298031"/>
                  <a:gd name="connsiteY19" fmla="*/ 60484 h 553974"/>
                  <a:gd name="connsiteX20" fmla="*/ 248126 w 2298031"/>
                  <a:gd name="connsiteY20" fmla="*/ 66485 h 553974"/>
                  <a:gd name="connsiteX21" fmla="*/ 250317 w 2298031"/>
                  <a:gd name="connsiteY21" fmla="*/ 66485 h 553974"/>
                  <a:gd name="connsiteX22" fmla="*/ 250317 w 2298031"/>
                  <a:gd name="connsiteY22" fmla="*/ 72581 h 553974"/>
                  <a:gd name="connsiteX23" fmla="*/ 260794 w 2298031"/>
                  <a:gd name="connsiteY23" fmla="*/ 72581 h 553974"/>
                  <a:gd name="connsiteX24" fmla="*/ 260794 w 2298031"/>
                  <a:gd name="connsiteY24" fmla="*/ 78677 h 553974"/>
                  <a:gd name="connsiteX25" fmla="*/ 267081 w 2298031"/>
                  <a:gd name="connsiteY25" fmla="*/ 78677 h 553974"/>
                  <a:gd name="connsiteX26" fmla="*/ 267081 w 2298031"/>
                  <a:gd name="connsiteY26" fmla="*/ 84677 h 553974"/>
                  <a:gd name="connsiteX27" fmla="*/ 281845 w 2298031"/>
                  <a:gd name="connsiteY27" fmla="*/ 84677 h 553974"/>
                  <a:gd name="connsiteX28" fmla="*/ 281845 w 2298031"/>
                  <a:gd name="connsiteY28" fmla="*/ 90773 h 553974"/>
                  <a:gd name="connsiteX29" fmla="*/ 290227 w 2298031"/>
                  <a:gd name="connsiteY29" fmla="*/ 90773 h 553974"/>
                  <a:gd name="connsiteX30" fmla="*/ 290227 w 2298031"/>
                  <a:gd name="connsiteY30" fmla="*/ 96869 h 553974"/>
                  <a:gd name="connsiteX31" fmla="*/ 300800 w 2298031"/>
                  <a:gd name="connsiteY31" fmla="*/ 96869 h 553974"/>
                  <a:gd name="connsiteX32" fmla="*/ 300800 w 2298031"/>
                  <a:gd name="connsiteY32" fmla="*/ 102870 h 553974"/>
                  <a:gd name="connsiteX33" fmla="*/ 313373 w 2298031"/>
                  <a:gd name="connsiteY33" fmla="*/ 102870 h 553974"/>
                  <a:gd name="connsiteX34" fmla="*/ 313373 w 2298031"/>
                  <a:gd name="connsiteY34" fmla="*/ 108966 h 553974"/>
                  <a:gd name="connsiteX35" fmla="*/ 319659 w 2298031"/>
                  <a:gd name="connsiteY35" fmla="*/ 108966 h 553974"/>
                  <a:gd name="connsiteX36" fmla="*/ 319659 w 2298031"/>
                  <a:gd name="connsiteY36" fmla="*/ 121063 h 553974"/>
                  <a:gd name="connsiteX37" fmla="*/ 323850 w 2298031"/>
                  <a:gd name="connsiteY37" fmla="*/ 121063 h 553974"/>
                  <a:gd name="connsiteX38" fmla="*/ 323850 w 2298031"/>
                  <a:gd name="connsiteY38" fmla="*/ 127159 h 553974"/>
                  <a:gd name="connsiteX39" fmla="*/ 336518 w 2298031"/>
                  <a:gd name="connsiteY39" fmla="*/ 127159 h 553974"/>
                  <a:gd name="connsiteX40" fmla="*/ 336518 w 2298031"/>
                  <a:gd name="connsiteY40" fmla="*/ 133255 h 553974"/>
                  <a:gd name="connsiteX41" fmla="*/ 351187 w 2298031"/>
                  <a:gd name="connsiteY41" fmla="*/ 133255 h 553974"/>
                  <a:gd name="connsiteX42" fmla="*/ 351187 w 2298031"/>
                  <a:gd name="connsiteY42" fmla="*/ 139256 h 553974"/>
                  <a:gd name="connsiteX43" fmla="*/ 355473 w 2298031"/>
                  <a:gd name="connsiteY43" fmla="*/ 139256 h 553974"/>
                  <a:gd name="connsiteX44" fmla="*/ 355473 w 2298031"/>
                  <a:gd name="connsiteY44" fmla="*/ 145352 h 553974"/>
                  <a:gd name="connsiteX45" fmla="*/ 365950 w 2298031"/>
                  <a:gd name="connsiteY45" fmla="*/ 145352 h 553974"/>
                  <a:gd name="connsiteX46" fmla="*/ 365950 w 2298031"/>
                  <a:gd name="connsiteY46" fmla="*/ 151448 h 553974"/>
                  <a:gd name="connsiteX47" fmla="*/ 374333 w 2298031"/>
                  <a:gd name="connsiteY47" fmla="*/ 151448 h 553974"/>
                  <a:gd name="connsiteX48" fmla="*/ 374333 w 2298031"/>
                  <a:gd name="connsiteY48" fmla="*/ 157544 h 553974"/>
                  <a:gd name="connsiteX49" fmla="*/ 389096 w 2298031"/>
                  <a:gd name="connsiteY49" fmla="*/ 157544 h 553974"/>
                  <a:gd name="connsiteX50" fmla="*/ 389096 w 2298031"/>
                  <a:gd name="connsiteY50" fmla="*/ 163544 h 553974"/>
                  <a:gd name="connsiteX51" fmla="*/ 393287 w 2298031"/>
                  <a:gd name="connsiteY51" fmla="*/ 163544 h 553974"/>
                  <a:gd name="connsiteX52" fmla="*/ 393287 w 2298031"/>
                  <a:gd name="connsiteY52" fmla="*/ 169640 h 553974"/>
                  <a:gd name="connsiteX53" fmla="*/ 397478 w 2298031"/>
                  <a:gd name="connsiteY53" fmla="*/ 169640 h 553974"/>
                  <a:gd name="connsiteX54" fmla="*/ 397478 w 2298031"/>
                  <a:gd name="connsiteY54" fmla="*/ 175736 h 553974"/>
                  <a:gd name="connsiteX55" fmla="*/ 410147 w 2298031"/>
                  <a:gd name="connsiteY55" fmla="*/ 175736 h 553974"/>
                  <a:gd name="connsiteX56" fmla="*/ 410147 w 2298031"/>
                  <a:gd name="connsiteY56" fmla="*/ 181737 h 553974"/>
                  <a:gd name="connsiteX57" fmla="*/ 439579 w 2298031"/>
                  <a:gd name="connsiteY57" fmla="*/ 181737 h 553974"/>
                  <a:gd name="connsiteX58" fmla="*/ 439579 w 2298031"/>
                  <a:gd name="connsiteY58" fmla="*/ 187833 h 553974"/>
                  <a:gd name="connsiteX59" fmla="*/ 447961 w 2298031"/>
                  <a:gd name="connsiteY59" fmla="*/ 187833 h 553974"/>
                  <a:gd name="connsiteX60" fmla="*/ 447961 w 2298031"/>
                  <a:gd name="connsiteY60" fmla="*/ 193929 h 553974"/>
                  <a:gd name="connsiteX61" fmla="*/ 450056 w 2298031"/>
                  <a:gd name="connsiteY61" fmla="*/ 193929 h 553974"/>
                  <a:gd name="connsiteX62" fmla="*/ 450056 w 2298031"/>
                  <a:gd name="connsiteY62" fmla="*/ 199930 h 553974"/>
                  <a:gd name="connsiteX63" fmla="*/ 464820 w 2298031"/>
                  <a:gd name="connsiteY63" fmla="*/ 199930 h 553974"/>
                  <a:gd name="connsiteX64" fmla="*/ 464820 w 2298031"/>
                  <a:gd name="connsiteY64" fmla="*/ 212122 h 553974"/>
                  <a:gd name="connsiteX65" fmla="*/ 466916 w 2298031"/>
                  <a:gd name="connsiteY65" fmla="*/ 212122 h 553974"/>
                  <a:gd name="connsiteX66" fmla="*/ 466916 w 2298031"/>
                  <a:gd name="connsiteY66" fmla="*/ 218123 h 553974"/>
                  <a:gd name="connsiteX67" fmla="*/ 473202 w 2298031"/>
                  <a:gd name="connsiteY67" fmla="*/ 218123 h 553974"/>
                  <a:gd name="connsiteX68" fmla="*/ 473202 w 2298031"/>
                  <a:gd name="connsiteY68" fmla="*/ 224219 h 553974"/>
                  <a:gd name="connsiteX69" fmla="*/ 477393 w 2298031"/>
                  <a:gd name="connsiteY69" fmla="*/ 224219 h 553974"/>
                  <a:gd name="connsiteX70" fmla="*/ 477393 w 2298031"/>
                  <a:gd name="connsiteY70" fmla="*/ 230315 h 553974"/>
                  <a:gd name="connsiteX71" fmla="*/ 494252 w 2298031"/>
                  <a:gd name="connsiteY71" fmla="*/ 230315 h 553974"/>
                  <a:gd name="connsiteX72" fmla="*/ 494252 w 2298031"/>
                  <a:gd name="connsiteY72" fmla="*/ 242411 h 553974"/>
                  <a:gd name="connsiteX73" fmla="*/ 498443 w 2298031"/>
                  <a:gd name="connsiteY73" fmla="*/ 242411 h 553974"/>
                  <a:gd name="connsiteX74" fmla="*/ 498443 w 2298031"/>
                  <a:gd name="connsiteY74" fmla="*/ 248507 h 553974"/>
                  <a:gd name="connsiteX75" fmla="*/ 521589 w 2298031"/>
                  <a:gd name="connsiteY75" fmla="*/ 248507 h 553974"/>
                  <a:gd name="connsiteX76" fmla="*/ 521589 w 2298031"/>
                  <a:gd name="connsiteY76" fmla="*/ 254603 h 553974"/>
                  <a:gd name="connsiteX77" fmla="*/ 525780 w 2298031"/>
                  <a:gd name="connsiteY77" fmla="*/ 254603 h 553974"/>
                  <a:gd name="connsiteX78" fmla="*/ 525780 w 2298031"/>
                  <a:gd name="connsiteY78" fmla="*/ 260604 h 553974"/>
                  <a:gd name="connsiteX79" fmla="*/ 532067 w 2298031"/>
                  <a:gd name="connsiteY79" fmla="*/ 260604 h 553974"/>
                  <a:gd name="connsiteX80" fmla="*/ 532067 w 2298031"/>
                  <a:gd name="connsiteY80" fmla="*/ 272796 h 553974"/>
                  <a:gd name="connsiteX81" fmla="*/ 551021 w 2298031"/>
                  <a:gd name="connsiteY81" fmla="*/ 272796 h 553974"/>
                  <a:gd name="connsiteX82" fmla="*/ 551021 w 2298031"/>
                  <a:gd name="connsiteY82" fmla="*/ 278797 h 553974"/>
                  <a:gd name="connsiteX83" fmla="*/ 559403 w 2298031"/>
                  <a:gd name="connsiteY83" fmla="*/ 278797 h 553974"/>
                  <a:gd name="connsiteX84" fmla="*/ 559403 w 2298031"/>
                  <a:gd name="connsiteY84" fmla="*/ 284893 h 553974"/>
                  <a:gd name="connsiteX85" fmla="*/ 572072 w 2298031"/>
                  <a:gd name="connsiteY85" fmla="*/ 284893 h 553974"/>
                  <a:gd name="connsiteX86" fmla="*/ 572072 w 2298031"/>
                  <a:gd name="connsiteY86" fmla="*/ 290989 h 553974"/>
                  <a:gd name="connsiteX87" fmla="*/ 588931 w 2298031"/>
                  <a:gd name="connsiteY87" fmla="*/ 290989 h 553974"/>
                  <a:gd name="connsiteX88" fmla="*/ 588931 w 2298031"/>
                  <a:gd name="connsiteY88" fmla="*/ 296990 h 553974"/>
                  <a:gd name="connsiteX89" fmla="*/ 616268 w 2298031"/>
                  <a:gd name="connsiteY89" fmla="*/ 296990 h 553974"/>
                  <a:gd name="connsiteX90" fmla="*/ 616268 w 2298031"/>
                  <a:gd name="connsiteY90" fmla="*/ 303086 h 553974"/>
                  <a:gd name="connsiteX91" fmla="*/ 618363 w 2298031"/>
                  <a:gd name="connsiteY91" fmla="*/ 303086 h 553974"/>
                  <a:gd name="connsiteX92" fmla="*/ 618363 w 2298031"/>
                  <a:gd name="connsiteY92" fmla="*/ 309182 h 553974"/>
                  <a:gd name="connsiteX93" fmla="*/ 628840 w 2298031"/>
                  <a:gd name="connsiteY93" fmla="*/ 309182 h 553974"/>
                  <a:gd name="connsiteX94" fmla="*/ 628840 w 2298031"/>
                  <a:gd name="connsiteY94" fmla="*/ 315182 h 553974"/>
                  <a:gd name="connsiteX95" fmla="*/ 635127 w 2298031"/>
                  <a:gd name="connsiteY95" fmla="*/ 315182 h 553974"/>
                  <a:gd name="connsiteX96" fmla="*/ 635127 w 2298031"/>
                  <a:gd name="connsiteY96" fmla="*/ 327374 h 553974"/>
                  <a:gd name="connsiteX97" fmla="*/ 643604 w 2298031"/>
                  <a:gd name="connsiteY97" fmla="*/ 327374 h 553974"/>
                  <a:gd name="connsiteX98" fmla="*/ 643604 w 2298031"/>
                  <a:gd name="connsiteY98" fmla="*/ 333375 h 553974"/>
                  <a:gd name="connsiteX99" fmla="*/ 649891 w 2298031"/>
                  <a:gd name="connsiteY99" fmla="*/ 333375 h 553974"/>
                  <a:gd name="connsiteX100" fmla="*/ 649891 w 2298031"/>
                  <a:gd name="connsiteY100" fmla="*/ 345567 h 553974"/>
                  <a:gd name="connsiteX101" fmla="*/ 651986 w 2298031"/>
                  <a:gd name="connsiteY101" fmla="*/ 345567 h 553974"/>
                  <a:gd name="connsiteX102" fmla="*/ 651986 w 2298031"/>
                  <a:gd name="connsiteY102" fmla="*/ 351663 h 553974"/>
                  <a:gd name="connsiteX103" fmla="*/ 664559 w 2298031"/>
                  <a:gd name="connsiteY103" fmla="*/ 351663 h 553974"/>
                  <a:gd name="connsiteX104" fmla="*/ 664559 w 2298031"/>
                  <a:gd name="connsiteY104" fmla="*/ 357664 h 553974"/>
                  <a:gd name="connsiteX105" fmla="*/ 687705 w 2298031"/>
                  <a:gd name="connsiteY105" fmla="*/ 357664 h 553974"/>
                  <a:gd name="connsiteX106" fmla="*/ 687705 w 2298031"/>
                  <a:gd name="connsiteY106" fmla="*/ 363760 h 553974"/>
                  <a:gd name="connsiteX107" fmla="*/ 694087 w 2298031"/>
                  <a:gd name="connsiteY107" fmla="*/ 363760 h 553974"/>
                  <a:gd name="connsiteX108" fmla="*/ 694087 w 2298031"/>
                  <a:gd name="connsiteY108" fmla="*/ 369856 h 553974"/>
                  <a:gd name="connsiteX109" fmla="*/ 702469 w 2298031"/>
                  <a:gd name="connsiteY109" fmla="*/ 369856 h 553974"/>
                  <a:gd name="connsiteX110" fmla="*/ 702469 w 2298031"/>
                  <a:gd name="connsiteY110" fmla="*/ 375857 h 553974"/>
                  <a:gd name="connsiteX111" fmla="*/ 710851 w 2298031"/>
                  <a:gd name="connsiteY111" fmla="*/ 375857 h 553974"/>
                  <a:gd name="connsiteX112" fmla="*/ 710851 w 2298031"/>
                  <a:gd name="connsiteY112" fmla="*/ 381953 h 553974"/>
                  <a:gd name="connsiteX113" fmla="*/ 715042 w 2298031"/>
                  <a:gd name="connsiteY113" fmla="*/ 381953 h 553974"/>
                  <a:gd name="connsiteX114" fmla="*/ 715042 w 2298031"/>
                  <a:gd name="connsiteY114" fmla="*/ 388049 h 553974"/>
                  <a:gd name="connsiteX115" fmla="*/ 788670 w 2298031"/>
                  <a:gd name="connsiteY115" fmla="*/ 388049 h 553974"/>
                  <a:gd name="connsiteX116" fmla="*/ 788670 w 2298031"/>
                  <a:gd name="connsiteY116" fmla="*/ 394049 h 553974"/>
                  <a:gd name="connsiteX117" fmla="*/ 809720 w 2298031"/>
                  <a:gd name="connsiteY117" fmla="*/ 394049 h 553974"/>
                  <a:gd name="connsiteX118" fmla="*/ 809720 w 2298031"/>
                  <a:gd name="connsiteY118" fmla="*/ 400145 h 553974"/>
                  <a:gd name="connsiteX119" fmla="*/ 816007 w 2298031"/>
                  <a:gd name="connsiteY119" fmla="*/ 400145 h 553974"/>
                  <a:gd name="connsiteX120" fmla="*/ 816007 w 2298031"/>
                  <a:gd name="connsiteY120" fmla="*/ 406241 h 553974"/>
                  <a:gd name="connsiteX121" fmla="*/ 858107 w 2298031"/>
                  <a:gd name="connsiteY121" fmla="*/ 406241 h 553974"/>
                  <a:gd name="connsiteX122" fmla="*/ 858107 w 2298031"/>
                  <a:gd name="connsiteY122" fmla="*/ 412242 h 553974"/>
                  <a:gd name="connsiteX123" fmla="*/ 872776 w 2298031"/>
                  <a:gd name="connsiteY123" fmla="*/ 412242 h 553974"/>
                  <a:gd name="connsiteX124" fmla="*/ 872776 w 2298031"/>
                  <a:gd name="connsiteY124" fmla="*/ 418338 h 553974"/>
                  <a:gd name="connsiteX125" fmla="*/ 902303 w 2298031"/>
                  <a:gd name="connsiteY125" fmla="*/ 418338 h 553974"/>
                  <a:gd name="connsiteX126" fmla="*/ 902303 w 2298031"/>
                  <a:gd name="connsiteY126" fmla="*/ 424434 h 553974"/>
                  <a:gd name="connsiteX127" fmla="*/ 904399 w 2298031"/>
                  <a:gd name="connsiteY127" fmla="*/ 424434 h 553974"/>
                  <a:gd name="connsiteX128" fmla="*/ 904399 w 2298031"/>
                  <a:gd name="connsiteY128" fmla="*/ 430435 h 553974"/>
                  <a:gd name="connsiteX129" fmla="*/ 927449 w 2298031"/>
                  <a:gd name="connsiteY129" fmla="*/ 430435 h 553974"/>
                  <a:gd name="connsiteX130" fmla="*/ 927449 w 2298031"/>
                  <a:gd name="connsiteY130" fmla="*/ 436531 h 553974"/>
                  <a:gd name="connsiteX131" fmla="*/ 940118 w 2298031"/>
                  <a:gd name="connsiteY131" fmla="*/ 436531 h 553974"/>
                  <a:gd name="connsiteX132" fmla="*/ 940118 w 2298031"/>
                  <a:gd name="connsiteY132" fmla="*/ 442627 h 553974"/>
                  <a:gd name="connsiteX133" fmla="*/ 975836 w 2298031"/>
                  <a:gd name="connsiteY133" fmla="*/ 442627 h 553974"/>
                  <a:gd name="connsiteX134" fmla="*/ 975836 w 2298031"/>
                  <a:gd name="connsiteY134" fmla="*/ 448723 h 553974"/>
                  <a:gd name="connsiteX135" fmla="*/ 1091565 w 2298031"/>
                  <a:gd name="connsiteY135" fmla="*/ 448723 h 553974"/>
                  <a:gd name="connsiteX136" fmla="*/ 1091565 w 2298031"/>
                  <a:gd name="connsiteY136" fmla="*/ 454724 h 553974"/>
                  <a:gd name="connsiteX137" fmla="*/ 1129379 w 2298031"/>
                  <a:gd name="connsiteY137" fmla="*/ 454724 h 553974"/>
                  <a:gd name="connsiteX138" fmla="*/ 1129379 w 2298031"/>
                  <a:gd name="connsiteY138" fmla="*/ 460915 h 553974"/>
                  <a:gd name="connsiteX139" fmla="*/ 1181957 w 2298031"/>
                  <a:gd name="connsiteY139" fmla="*/ 460915 h 553974"/>
                  <a:gd name="connsiteX140" fmla="*/ 1181957 w 2298031"/>
                  <a:gd name="connsiteY140" fmla="*/ 467011 h 553974"/>
                  <a:gd name="connsiteX141" fmla="*/ 1200912 w 2298031"/>
                  <a:gd name="connsiteY141" fmla="*/ 467011 h 553974"/>
                  <a:gd name="connsiteX142" fmla="*/ 1200912 w 2298031"/>
                  <a:gd name="connsiteY142" fmla="*/ 473107 h 553974"/>
                  <a:gd name="connsiteX143" fmla="*/ 1211390 w 2298031"/>
                  <a:gd name="connsiteY143" fmla="*/ 473107 h 553974"/>
                  <a:gd name="connsiteX144" fmla="*/ 1211390 w 2298031"/>
                  <a:gd name="connsiteY144" fmla="*/ 479298 h 553974"/>
                  <a:gd name="connsiteX145" fmla="*/ 1245108 w 2298031"/>
                  <a:gd name="connsiteY145" fmla="*/ 479298 h 553974"/>
                  <a:gd name="connsiteX146" fmla="*/ 1245108 w 2298031"/>
                  <a:gd name="connsiteY146" fmla="*/ 485394 h 553974"/>
                  <a:gd name="connsiteX147" fmla="*/ 1251395 w 2298031"/>
                  <a:gd name="connsiteY147" fmla="*/ 485394 h 553974"/>
                  <a:gd name="connsiteX148" fmla="*/ 1251395 w 2298031"/>
                  <a:gd name="connsiteY148" fmla="*/ 491490 h 553974"/>
                  <a:gd name="connsiteX149" fmla="*/ 1266063 w 2298031"/>
                  <a:gd name="connsiteY149" fmla="*/ 491490 h 553974"/>
                  <a:gd name="connsiteX150" fmla="*/ 1266063 w 2298031"/>
                  <a:gd name="connsiteY150" fmla="*/ 497586 h 553974"/>
                  <a:gd name="connsiteX151" fmla="*/ 1278731 w 2298031"/>
                  <a:gd name="connsiteY151" fmla="*/ 497586 h 553974"/>
                  <a:gd name="connsiteX152" fmla="*/ 1278731 w 2298031"/>
                  <a:gd name="connsiteY152" fmla="*/ 503777 h 553974"/>
                  <a:gd name="connsiteX153" fmla="*/ 1303973 w 2298031"/>
                  <a:gd name="connsiteY153" fmla="*/ 503777 h 553974"/>
                  <a:gd name="connsiteX154" fmla="*/ 1303973 w 2298031"/>
                  <a:gd name="connsiteY154" fmla="*/ 509873 h 553974"/>
                  <a:gd name="connsiteX155" fmla="*/ 1533239 w 2298031"/>
                  <a:gd name="connsiteY155" fmla="*/ 509873 h 553974"/>
                  <a:gd name="connsiteX156" fmla="*/ 1533239 w 2298031"/>
                  <a:gd name="connsiteY156" fmla="*/ 516065 h 553974"/>
                  <a:gd name="connsiteX157" fmla="*/ 1646777 w 2298031"/>
                  <a:gd name="connsiteY157" fmla="*/ 516065 h 553974"/>
                  <a:gd name="connsiteX158" fmla="*/ 1646777 w 2298031"/>
                  <a:gd name="connsiteY158" fmla="*/ 522256 h 553974"/>
                  <a:gd name="connsiteX159" fmla="*/ 1915954 w 2298031"/>
                  <a:gd name="connsiteY159" fmla="*/ 522256 h 553974"/>
                  <a:gd name="connsiteX160" fmla="*/ 1915954 w 2298031"/>
                  <a:gd name="connsiteY160" fmla="*/ 528542 h 553974"/>
                  <a:gd name="connsiteX161" fmla="*/ 1989582 w 2298031"/>
                  <a:gd name="connsiteY161" fmla="*/ 528542 h 553974"/>
                  <a:gd name="connsiteX162" fmla="*/ 1989582 w 2298031"/>
                  <a:gd name="connsiteY162" fmla="*/ 534829 h 553974"/>
                  <a:gd name="connsiteX163" fmla="*/ 2069497 w 2298031"/>
                  <a:gd name="connsiteY163" fmla="*/ 534829 h 553974"/>
                  <a:gd name="connsiteX164" fmla="*/ 2069497 w 2298031"/>
                  <a:gd name="connsiteY164" fmla="*/ 541115 h 553974"/>
                  <a:gd name="connsiteX165" fmla="*/ 2231422 w 2298031"/>
                  <a:gd name="connsiteY165" fmla="*/ 541115 h 553974"/>
                  <a:gd name="connsiteX166" fmla="*/ 2231422 w 2298031"/>
                  <a:gd name="connsiteY166" fmla="*/ 547592 h 553974"/>
                  <a:gd name="connsiteX167" fmla="*/ 2248281 w 2298031"/>
                  <a:gd name="connsiteY167" fmla="*/ 547592 h 553974"/>
                  <a:gd name="connsiteX168" fmla="*/ 2248281 w 2298031"/>
                  <a:gd name="connsiteY168" fmla="*/ 553974 h 553974"/>
                  <a:gd name="connsiteX169" fmla="*/ 2298031 w 2298031"/>
                  <a:gd name="connsiteY169" fmla="*/ 553974 h 553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2298031" h="553974">
                    <a:moveTo>
                      <a:pt x="0" y="0"/>
                    </a:moveTo>
                    <a:lnTo>
                      <a:pt x="113538" y="0"/>
                    </a:lnTo>
                    <a:lnTo>
                      <a:pt x="113538" y="5906"/>
                    </a:lnTo>
                    <a:lnTo>
                      <a:pt x="153543" y="5906"/>
                    </a:lnTo>
                    <a:lnTo>
                      <a:pt x="153543" y="12002"/>
                    </a:lnTo>
                    <a:lnTo>
                      <a:pt x="161925" y="12002"/>
                    </a:lnTo>
                    <a:lnTo>
                      <a:pt x="161925" y="18002"/>
                    </a:lnTo>
                    <a:lnTo>
                      <a:pt x="172498" y="18002"/>
                    </a:lnTo>
                    <a:lnTo>
                      <a:pt x="172498" y="24003"/>
                    </a:lnTo>
                    <a:lnTo>
                      <a:pt x="222980" y="24003"/>
                    </a:lnTo>
                    <a:lnTo>
                      <a:pt x="222980" y="30099"/>
                    </a:lnTo>
                    <a:lnTo>
                      <a:pt x="231362" y="30099"/>
                    </a:lnTo>
                    <a:lnTo>
                      <a:pt x="231362" y="42196"/>
                    </a:lnTo>
                    <a:lnTo>
                      <a:pt x="237649" y="42196"/>
                    </a:lnTo>
                    <a:lnTo>
                      <a:pt x="237649" y="48292"/>
                    </a:lnTo>
                    <a:lnTo>
                      <a:pt x="241840" y="48292"/>
                    </a:lnTo>
                    <a:lnTo>
                      <a:pt x="241840" y="54388"/>
                    </a:lnTo>
                    <a:lnTo>
                      <a:pt x="246031" y="54388"/>
                    </a:lnTo>
                    <a:lnTo>
                      <a:pt x="246031" y="60484"/>
                    </a:lnTo>
                    <a:lnTo>
                      <a:pt x="248126" y="60484"/>
                    </a:lnTo>
                    <a:lnTo>
                      <a:pt x="248126" y="66485"/>
                    </a:lnTo>
                    <a:lnTo>
                      <a:pt x="250317" y="66485"/>
                    </a:lnTo>
                    <a:lnTo>
                      <a:pt x="250317" y="72581"/>
                    </a:lnTo>
                    <a:lnTo>
                      <a:pt x="260794" y="72581"/>
                    </a:lnTo>
                    <a:lnTo>
                      <a:pt x="260794" y="78677"/>
                    </a:lnTo>
                    <a:lnTo>
                      <a:pt x="267081" y="78677"/>
                    </a:lnTo>
                    <a:lnTo>
                      <a:pt x="267081" y="84677"/>
                    </a:lnTo>
                    <a:lnTo>
                      <a:pt x="281845" y="84677"/>
                    </a:lnTo>
                    <a:lnTo>
                      <a:pt x="281845" y="90773"/>
                    </a:lnTo>
                    <a:lnTo>
                      <a:pt x="290227" y="90773"/>
                    </a:lnTo>
                    <a:lnTo>
                      <a:pt x="290227" y="96869"/>
                    </a:lnTo>
                    <a:lnTo>
                      <a:pt x="300800" y="96869"/>
                    </a:lnTo>
                    <a:lnTo>
                      <a:pt x="300800" y="102870"/>
                    </a:lnTo>
                    <a:lnTo>
                      <a:pt x="313373" y="102870"/>
                    </a:lnTo>
                    <a:lnTo>
                      <a:pt x="313373" y="108966"/>
                    </a:lnTo>
                    <a:lnTo>
                      <a:pt x="319659" y="108966"/>
                    </a:lnTo>
                    <a:lnTo>
                      <a:pt x="319659" y="121063"/>
                    </a:lnTo>
                    <a:lnTo>
                      <a:pt x="323850" y="121063"/>
                    </a:lnTo>
                    <a:lnTo>
                      <a:pt x="323850" y="127159"/>
                    </a:lnTo>
                    <a:lnTo>
                      <a:pt x="336518" y="127159"/>
                    </a:lnTo>
                    <a:lnTo>
                      <a:pt x="336518" y="133255"/>
                    </a:lnTo>
                    <a:lnTo>
                      <a:pt x="351187" y="133255"/>
                    </a:lnTo>
                    <a:lnTo>
                      <a:pt x="351187" y="139256"/>
                    </a:lnTo>
                    <a:lnTo>
                      <a:pt x="355473" y="139256"/>
                    </a:lnTo>
                    <a:lnTo>
                      <a:pt x="355473" y="145352"/>
                    </a:lnTo>
                    <a:lnTo>
                      <a:pt x="365950" y="145352"/>
                    </a:lnTo>
                    <a:lnTo>
                      <a:pt x="365950" y="151448"/>
                    </a:lnTo>
                    <a:lnTo>
                      <a:pt x="374333" y="151448"/>
                    </a:lnTo>
                    <a:lnTo>
                      <a:pt x="374333" y="157544"/>
                    </a:lnTo>
                    <a:lnTo>
                      <a:pt x="389096" y="157544"/>
                    </a:lnTo>
                    <a:lnTo>
                      <a:pt x="389096" y="163544"/>
                    </a:lnTo>
                    <a:lnTo>
                      <a:pt x="393287" y="163544"/>
                    </a:lnTo>
                    <a:lnTo>
                      <a:pt x="393287" y="169640"/>
                    </a:lnTo>
                    <a:lnTo>
                      <a:pt x="397478" y="169640"/>
                    </a:lnTo>
                    <a:lnTo>
                      <a:pt x="397478" y="175736"/>
                    </a:lnTo>
                    <a:lnTo>
                      <a:pt x="410147" y="175736"/>
                    </a:lnTo>
                    <a:lnTo>
                      <a:pt x="410147" y="181737"/>
                    </a:lnTo>
                    <a:lnTo>
                      <a:pt x="439579" y="181737"/>
                    </a:lnTo>
                    <a:lnTo>
                      <a:pt x="439579" y="187833"/>
                    </a:lnTo>
                    <a:lnTo>
                      <a:pt x="447961" y="187833"/>
                    </a:lnTo>
                    <a:lnTo>
                      <a:pt x="447961" y="193929"/>
                    </a:lnTo>
                    <a:lnTo>
                      <a:pt x="450056" y="193929"/>
                    </a:lnTo>
                    <a:lnTo>
                      <a:pt x="450056" y="199930"/>
                    </a:lnTo>
                    <a:lnTo>
                      <a:pt x="464820" y="199930"/>
                    </a:lnTo>
                    <a:lnTo>
                      <a:pt x="464820" y="212122"/>
                    </a:lnTo>
                    <a:lnTo>
                      <a:pt x="466916" y="212122"/>
                    </a:lnTo>
                    <a:lnTo>
                      <a:pt x="466916" y="218123"/>
                    </a:lnTo>
                    <a:lnTo>
                      <a:pt x="473202" y="218123"/>
                    </a:lnTo>
                    <a:lnTo>
                      <a:pt x="473202" y="224219"/>
                    </a:lnTo>
                    <a:lnTo>
                      <a:pt x="477393" y="224219"/>
                    </a:lnTo>
                    <a:lnTo>
                      <a:pt x="477393" y="230315"/>
                    </a:lnTo>
                    <a:lnTo>
                      <a:pt x="494252" y="230315"/>
                    </a:lnTo>
                    <a:lnTo>
                      <a:pt x="494252" y="242411"/>
                    </a:lnTo>
                    <a:lnTo>
                      <a:pt x="498443" y="242411"/>
                    </a:lnTo>
                    <a:lnTo>
                      <a:pt x="498443" y="248507"/>
                    </a:lnTo>
                    <a:lnTo>
                      <a:pt x="521589" y="248507"/>
                    </a:lnTo>
                    <a:lnTo>
                      <a:pt x="521589" y="254603"/>
                    </a:lnTo>
                    <a:lnTo>
                      <a:pt x="525780" y="254603"/>
                    </a:lnTo>
                    <a:lnTo>
                      <a:pt x="525780" y="260604"/>
                    </a:lnTo>
                    <a:lnTo>
                      <a:pt x="532067" y="260604"/>
                    </a:lnTo>
                    <a:lnTo>
                      <a:pt x="532067" y="272796"/>
                    </a:lnTo>
                    <a:lnTo>
                      <a:pt x="551021" y="272796"/>
                    </a:lnTo>
                    <a:lnTo>
                      <a:pt x="551021" y="278797"/>
                    </a:lnTo>
                    <a:lnTo>
                      <a:pt x="559403" y="278797"/>
                    </a:lnTo>
                    <a:lnTo>
                      <a:pt x="559403" y="284893"/>
                    </a:lnTo>
                    <a:lnTo>
                      <a:pt x="572072" y="284893"/>
                    </a:lnTo>
                    <a:lnTo>
                      <a:pt x="572072" y="290989"/>
                    </a:lnTo>
                    <a:lnTo>
                      <a:pt x="588931" y="290989"/>
                    </a:lnTo>
                    <a:lnTo>
                      <a:pt x="588931" y="296990"/>
                    </a:lnTo>
                    <a:lnTo>
                      <a:pt x="616268" y="296990"/>
                    </a:lnTo>
                    <a:lnTo>
                      <a:pt x="616268" y="303086"/>
                    </a:lnTo>
                    <a:lnTo>
                      <a:pt x="618363" y="303086"/>
                    </a:lnTo>
                    <a:lnTo>
                      <a:pt x="618363" y="309182"/>
                    </a:lnTo>
                    <a:lnTo>
                      <a:pt x="628840" y="309182"/>
                    </a:lnTo>
                    <a:lnTo>
                      <a:pt x="628840" y="315182"/>
                    </a:lnTo>
                    <a:lnTo>
                      <a:pt x="635127" y="315182"/>
                    </a:lnTo>
                    <a:lnTo>
                      <a:pt x="635127" y="327374"/>
                    </a:lnTo>
                    <a:lnTo>
                      <a:pt x="643604" y="327374"/>
                    </a:lnTo>
                    <a:lnTo>
                      <a:pt x="643604" y="333375"/>
                    </a:lnTo>
                    <a:lnTo>
                      <a:pt x="649891" y="333375"/>
                    </a:lnTo>
                    <a:lnTo>
                      <a:pt x="649891" y="345567"/>
                    </a:lnTo>
                    <a:lnTo>
                      <a:pt x="651986" y="345567"/>
                    </a:lnTo>
                    <a:lnTo>
                      <a:pt x="651986" y="351663"/>
                    </a:lnTo>
                    <a:lnTo>
                      <a:pt x="664559" y="351663"/>
                    </a:lnTo>
                    <a:lnTo>
                      <a:pt x="664559" y="357664"/>
                    </a:lnTo>
                    <a:lnTo>
                      <a:pt x="687705" y="357664"/>
                    </a:lnTo>
                    <a:lnTo>
                      <a:pt x="687705" y="363760"/>
                    </a:lnTo>
                    <a:lnTo>
                      <a:pt x="694087" y="363760"/>
                    </a:lnTo>
                    <a:lnTo>
                      <a:pt x="694087" y="369856"/>
                    </a:lnTo>
                    <a:lnTo>
                      <a:pt x="702469" y="369856"/>
                    </a:lnTo>
                    <a:lnTo>
                      <a:pt x="702469" y="375857"/>
                    </a:lnTo>
                    <a:lnTo>
                      <a:pt x="710851" y="375857"/>
                    </a:lnTo>
                    <a:lnTo>
                      <a:pt x="710851" y="381953"/>
                    </a:lnTo>
                    <a:lnTo>
                      <a:pt x="715042" y="381953"/>
                    </a:lnTo>
                    <a:lnTo>
                      <a:pt x="715042" y="388049"/>
                    </a:lnTo>
                    <a:lnTo>
                      <a:pt x="788670" y="388049"/>
                    </a:lnTo>
                    <a:lnTo>
                      <a:pt x="788670" y="394049"/>
                    </a:lnTo>
                    <a:lnTo>
                      <a:pt x="809720" y="394049"/>
                    </a:lnTo>
                    <a:lnTo>
                      <a:pt x="809720" y="400145"/>
                    </a:lnTo>
                    <a:lnTo>
                      <a:pt x="816007" y="400145"/>
                    </a:lnTo>
                    <a:lnTo>
                      <a:pt x="816007" y="406241"/>
                    </a:lnTo>
                    <a:lnTo>
                      <a:pt x="858107" y="406241"/>
                    </a:lnTo>
                    <a:lnTo>
                      <a:pt x="858107" y="412242"/>
                    </a:lnTo>
                    <a:lnTo>
                      <a:pt x="872776" y="412242"/>
                    </a:lnTo>
                    <a:lnTo>
                      <a:pt x="872776" y="418338"/>
                    </a:lnTo>
                    <a:lnTo>
                      <a:pt x="902303" y="418338"/>
                    </a:lnTo>
                    <a:lnTo>
                      <a:pt x="902303" y="424434"/>
                    </a:lnTo>
                    <a:lnTo>
                      <a:pt x="904399" y="424434"/>
                    </a:lnTo>
                    <a:lnTo>
                      <a:pt x="904399" y="430435"/>
                    </a:lnTo>
                    <a:lnTo>
                      <a:pt x="927449" y="430435"/>
                    </a:lnTo>
                    <a:lnTo>
                      <a:pt x="927449" y="436531"/>
                    </a:lnTo>
                    <a:lnTo>
                      <a:pt x="940118" y="436531"/>
                    </a:lnTo>
                    <a:lnTo>
                      <a:pt x="940118" y="442627"/>
                    </a:lnTo>
                    <a:lnTo>
                      <a:pt x="975836" y="442627"/>
                    </a:lnTo>
                    <a:lnTo>
                      <a:pt x="975836" y="448723"/>
                    </a:lnTo>
                    <a:lnTo>
                      <a:pt x="1091565" y="448723"/>
                    </a:lnTo>
                    <a:lnTo>
                      <a:pt x="1091565" y="454724"/>
                    </a:lnTo>
                    <a:lnTo>
                      <a:pt x="1129379" y="454724"/>
                    </a:lnTo>
                    <a:lnTo>
                      <a:pt x="1129379" y="460915"/>
                    </a:lnTo>
                    <a:lnTo>
                      <a:pt x="1181957" y="460915"/>
                    </a:lnTo>
                    <a:lnTo>
                      <a:pt x="1181957" y="467011"/>
                    </a:lnTo>
                    <a:lnTo>
                      <a:pt x="1200912" y="467011"/>
                    </a:lnTo>
                    <a:lnTo>
                      <a:pt x="1200912" y="473107"/>
                    </a:lnTo>
                    <a:lnTo>
                      <a:pt x="1211390" y="473107"/>
                    </a:lnTo>
                    <a:lnTo>
                      <a:pt x="1211390" y="479298"/>
                    </a:lnTo>
                    <a:lnTo>
                      <a:pt x="1245108" y="479298"/>
                    </a:lnTo>
                    <a:lnTo>
                      <a:pt x="1245108" y="485394"/>
                    </a:lnTo>
                    <a:lnTo>
                      <a:pt x="1251395" y="485394"/>
                    </a:lnTo>
                    <a:lnTo>
                      <a:pt x="1251395" y="491490"/>
                    </a:lnTo>
                    <a:lnTo>
                      <a:pt x="1266063" y="491490"/>
                    </a:lnTo>
                    <a:lnTo>
                      <a:pt x="1266063" y="497586"/>
                    </a:lnTo>
                    <a:lnTo>
                      <a:pt x="1278731" y="497586"/>
                    </a:lnTo>
                    <a:lnTo>
                      <a:pt x="1278731" y="503777"/>
                    </a:lnTo>
                    <a:lnTo>
                      <a:pt x="1303973" y="503777"/>
                    </a:lnTo>
                    <a:lnTo>
                      <a:pt x="1303973" y="509873"/>
                    </a:lnTo>
                    <a:lnTo>
                      <a:pt x="1533239" y="509873"/>
                    </a:lnTo>
                    <a:lnTo>
                      <a:pt x="1533239" y="516065"/>
                    </a:lnTo>
                    <a:lnTo>
                      <a:pt x="1646777" y="516065"/>
                    </a:lnTo>
                    <a:lnTo>
                      <a:pt x="1646777" y="522256"/>
                    </a:lnTo>
                    <a:lnTo>
                      <a:pt x="1915954" y="522256"/>
                    </a:lnTo>
                    <a:lnTo>
                      <a:pt x="1915954" y="528542"/>
                    </a:lnTo>
                    <a:lnTo>
                      <a:pt x="1989582" y="528542"/>
                    </a:lnTo>
                    <a:lnTo>
                      <a:pt x="1989582" y="534829"/>
                    </a:lnTo>
                    <a:lnTo>
                      <a:pt x="2069497" y="534829"/>
                    </a:lnTo>
                    <a:lnTo>
                      <a:pt x="2069497" y="541115"/>
                    </a:lnTo>
                    <a:lnTo>
                      <a:pt x="2231422" y="541115"/>
                    </a:lnTo>
                    <a:lnTo>
                      <a:pt x="2231422" y="547592"/>
                    </a:lnTo>
                    <a:lnTo>
                      <a:pt x="2248281" y="547592"/>
                    </a:lnTo>
                    <a:lnTo>
                      <a:pt x="2248281" y="553974"/>
                    </a:lnTo>
                    <a:lnTo>
                      <a:pt x="2298031" y="553974"/>
                    </a:lnTo>
                  </a:path>
                </a:pathLst>
              </a:custGeom>
              <a:noFill/>
              <a:ln w="12700" cap="flat" cmpd="sng" algn="ctr">
                <a:solidFill>
                  <a:schemeClr val="tx1">
                    <a:lumMod val="50000"/>
                    <a:lumOff val="50000"/>
                  </a:schemeClr>
                </a:solidFill>
                <a:prstDash val="solid"/>
                <a:miter lim="800000"/>
              </a:ln>
              <a:effectLst/>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1262" name="Group 1261">
                <a:extLst>
                  <a:ext uri="{FF2B5EF4-FFF2-40B4-BE49-F238E27FC236}">
                    <a16:creationId xmlns:a16="http://schemas.microsoft.com/office/drawing/2014/main" id="{290C49FC-177C-5918-09A8-CACC1C554759}"/>
                  </a:ext>
                </a:extLst>
              </p:cNvPr>
              <p:cNvGrpSpPr/>
              <p:nvPr/>
            </p:nvGrpSpPr>
            <p:grpSpPr>
              <a:xfrm>
                <a:off x="3110873" y="1525826"/>
                <a:ext cx="4070841" cy="1453194"/>
                <a:chOff x="3110873" y="-426658"/>
                <a:chExt cx="4070841" cy="1453194"/>
              </a:xfrm>
            </p:grpSpPr>
            <p:grpSp>
              <p:nvGrpSpPr>
                <p:cNvPr id="1263" name="Group 1262">
                  <a:extLst>
                    <a:ext uri="{FF2B5EF4-FFF2-40B4-BE49-F238E27FC236}">
                      <a16:creationId xmlns:a16="http://schemas.microsoft.com/office/drawing/2014/main" id="{BD3C4B58-541C-931B-8749-4A29F69B3B20}"/>
                    </a:ext>
                  </a:extLst>
                </p:cNvPr>
                <p:cNvGrpSpPr/>
                <p:nvPr/>
              </p:nvGrpSpPr>
              <p:grpSpPr>
                <a:xfrm>
                  <a:off x="3110873" y="-426658"/>
                  <a:ext cx="68895" cy="90004"/>
                  <a:chOff x="1773255" y="1810053"/>
                  <a:chExt cx="84653" cy="84653"/>
                </a:xfrm>
              </p:grpSpPr>
              <p:cxnSp>
                <p:nvCxnSpPr>
                  <p:cNvPr id="1288" name="Straight Connector 1287">
                    <a:extLst>
                      <a:ext uri="{FF2B5EF4-FFF2-40B4-BE49-F238E27FC236}">
                        <a16:creationId xmlns:a16="http://schemas.microsoft.com/office/drawing/2014/main" id="{E8AE87B3-6A8D-6FDC-0AA1-67538E75A48B}"/>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89" name="Straight Connector 1288">
                    <a:extLst>
                      <a:ext uri="{FF2B5EF4-FFF2-40B4-BE49-F238E27FC236}">
                        <a16:creationId xmlns:a16="http://schemas.microsoft.com/office/drawing/2014/main" id="{39122E62-F656-601D-085E-481E78B3DF10}"/>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264" name="Group 1263">
                  <a:extLst>
                    <a:ext uri="{FF2B5EF4-FFF2-40B4-BE49-F238E27FC236}">
                      <a16:creationId xmlns:a16="http://schemas.microsoft.com/office/drawing/2014/main" id="{173C9795-1E1C-8926-7C22-321E5C1476BA}"/>
                    </a:ext>
                  </a:extLst>
                </p:cNvPr>
                <p:cNvGrpSpPr/>
                <p:nvPr/>
              </p:nvGrpSpPr>
              <p:grpSpPr>
                <a:xfrm>
                  <a:off x="3200020" y="-426658"/>
                  <a:ext cx="68895" cy="90004"/>
                  <a:chOff x="1773255" y="1810053"/>
                  <a:chExt cx="84653" cy="84653"/>
                </a:xfrm>
              </p:grpSpPr>
              <p:cxnSp>
                <p:nvCxnSpPr>
                  <p:cNvPr id="1286" name="Straight Connector 1285">
                    <a:extLst>
                      <a:ext uri="{FF2B5EF4-FFF2-40B4-BE49-F238E27FC236}">
                        <a16:creationId xmlns:a16="http://schemas.microsoft.com/office/drawing/2014/main" id="{1189D198-5D84-0425-7003-2B8F1270BB82}"/>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87" name="Straight Connector 1286">
                    <a:extLst>
                      <a:ext uri="{FF2B5EF4-FFF2-40B4-BE49-F238E27FC236}">
                        <a16:creationId xmlns:a16="http://schemas.microsoft.com/office/drawing/2014/main" id="{775154A9-F059-9BA0-213D-8AEB316F3484}"/>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265" name="Group 1264">
                  <a:extLst>
                    <a:ext uri="{FF2B5EF4-FFF2-40B4-BE49-F238E27FC236}">
                      <a16:creationId xmlns:a16="http://schemas.microsoft.com/office/drawing/2014/main" id="{91BC5F08-4471-6FEC-BAF1-5B57FD875E4F}"/>
                    </a:ext>
                  </a:extLst>
                </p:cNvPr>
                <p:cNvGrpSpPr/>
                <p:nvPr/>
              </p:nvGrpSpPr>
              <p:grpSpPr>
                <a:xfrm>
                  <a:off x="3347306" y="-408936"/>
                  <a:ext cx="68895" cy="90004"/>
                  <a:chOff x="1773255" y="1810053"/>
                  <a:chExt cx="84653" cy="84653"/>
                </a:xfrm>
              </p:grpSpPr>
              <p:cxnSp>
                <p:nvCxnSpPr>
                  <p:cNvPr id="1284" name="Straight Connector 1283">
                    <a:extLst>
                      <a:ext uri="{FF2B5EF4-FFF2-40B4-BE49-F238E27FC236}">
                        <a16:creationId xmlns:a16="http://schemas.microsoft.com/office/drawing/2014/main" id="{45BF4B1B-A920-08C6-93A3-657786B16A9D}"/>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85" name="Straight Connector 1284">
                    <a:extLst>
                      <a:ext uri="{FF2B5EF4-FFF2-40B4-BE49-F238E27FC236}">
                        <a16:creationId xmlns:a16="http://schemas.microsoft.com/office/drawing/2014/main" id="{B5868E3B-8F7F-FF1A-8D3E-B6A45B9C62C4}"/>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266" name="Group 1265">
                  <a:extLst>
                    <a:ext uri="{FF2B5EF4-FFF2-40B4-BE49-F238E27FC236}">
                      <a16:creationId xmlns:a16="http://schemas.microsoft.com/office/drawing/2014/main" id="{707A2A19-701C-E339-9638-D510C7C8867A}"/>
                    </a:ext>
                  </a:extLst>
                </p:cNvPr>
                <p:cNvGrpSpPr/>
                <p:nvPr/>
              </p:nvGrpSpPr>
              <p:grpSpPr>
                <a:xfrm>
                  <a:off x="3417362" y="-363765"/>
                  <a:ext cx="68895" cy="90004"/>
                  <a:chOff x="1773255" y="1810053"/>
                  <a:chExt cx="84653" cy="84653"/>
                </a:xfrm>
              </p:grpSpPr>
              <p:cxnSp>
                <p:nvCxnSpPr>
                  <p:cNvPr id="1282" name="Straight Connector 1281">
                    <a:extLst>
                      <a:ext uri="{FF2B5EF4-FFF2-40B4-BE49-F238E27FC236}">
                        <a16:creationId xmlns:a16="http://schemas.microsoft.com/office/drawing/2014/main" id="{06EFF544-AECC-8EBE-01BB-9924A139B6CF}"/>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83" name="Straight Connector 1282">
                    <a:extLst>
                      <a:ext uri="{FF2B5EF4-FFF2-40B4-BE49-F238E27FC236}">
                        <a16:creationId xmlns:a16="http://schemas.microsoft.com/office/drawing/2014/main" id="{9AC56011-39E8-9197-F694-78FF1FB022E4}"/>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267" name="Group 1266">
                  <a:extLst>
                    <a:ext uri="{FF2B5EF4-FFF2-40B4-BE49-F238E27FC236}">
                      <a16:creationId xmlns:a16="http://schemas.microsoft.com/office/drawing/2014/main" id="{F6EA14E5-C307-0CFD-F79A-77C76ECD2EE9}"/>
                    </a:ext>
                  </a:extLst>
                </p:cNvPr>
                <p:cNvGrpSpPr/>
                <p:nvPr/>
              </p:nvGrpSpPr>
              <p:grpSpPr>
                <a:xfrm>
                  <a:off x="5148195" y="716374"/>
                  <a:ext cx="68895" cy="90004"/>
                  <a:chOff x="1773255" y="1810053"/>
                  <a:chExt cx="84653" cy="84653"/>
                </a:xfrm>
              </p:grpSpPr>
              <p:cxnSp>
                <p:nvCxnSpPr>
                  <p:cNvPr id="1280" name="Straight Connector 1279">
                    <a:extLst>
                      <a:ext uri="{FF2B5EF4-FFF2-40B4-BE49-F238E27FC236}">
                        <a16:creationId xmlns:a16="http://schemas.microsoft.com/office/drawing/2014/main" id="{64D546F9-607A-C84F-E64B-B332053EB7A2}"/>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81" name="Straight Connector 1280">
                    <a:extLst>
                      <a:ext uri="{FF2B5EF4-FFF2-40B4-BE49-F238E27FC236}">
                        <a16:creationId xmlns:a16="http://schemas.microsoft.com/office/drawing/2014/main" id="{9F6262C3-7A92-4047-A7AB-1148A6129150}"/>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268" name="Group 1267">
                  <a:extLst>
                    <a:ext uri="{FF2B5EF4-FFF2-40B4-BE49-F238E27FC236}">
                      <a16:creationId xmlns:a16="http://schemas.microsoft.com/office/drawing/2014/main" id="{0838C142-156C-98DB-5C49-3A7D46326C69}"/>
                    </a:ext>
                  </a:extLst>
                </p:cNvPr>
                <p:cNvGrpSpPr/>
                <p:nvPr/>
              </p:nvGrpSpPr>
              <p:grpSpPr>
                <a:xfrm>
                  <a:off x="5614763" y="855516"/>
                  <a:ext cx="68895" cy="90004"/>
                  <a:chOff x="1773255" y="1810053"/>
                  <a:chExt cx="84653" cy="84653"/>
                </a:xfrm>
              </p:grpSpPr>
              <p:cxnSp>
                <p:nvCxnSpPr>
                  <p:cNvPr id="1278" name="Straight Connector 1277">
                    <a:extLst>
                      <a:ext uri="{FF2B5EF4-FFF2-40B4-BE49-F238E27FC236}">
                        <a16:creationId xmlns:a16="http://schemas.microsoft.com/office/drawing/2014/main" id="{63F0175E-7CF5-D339-7FA5-26CCD2DFAB21}"/>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79" name="Straight Connector 1278">
                    <a:extLst>
                      <a:ext uri="{FF2B5EF4-FFF2-40B4-BE49-F238E27FC236}">
                        <a16:creationId xmlns:a16="http://schemas.microsoft.com/office/drawing/2014/main" id="{D6F07CC2-1791-44E0-9651-A2115D65E243}"/>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269" name="Group 1268">
                  <a:extLst>
                    <a:ext uri="{FF2B5EF4-FFF2-40B4-BE49-F238E27FC236}">
                      <a16:creationId xmlns:a16="http://schemas.microsoft.com/office/drawing/2014/main" id="{7F52DA9C-CA4F-B845-120B-2932D9A449D0}"/>
                    </a:ext>
                  </a:extLst>
                </p:cNvPr>
                <p:cNvGrpSpPr/>
                <p:nvPr/>
              </p:nvGrpSpPr>
              <p:grpSpPr>
                <a:xfrm>
                  <a:off x="6531426" y="888430"/>
                  <a:ext cx="68895" cy="90004"/>
                  <a:chOff x="1773255" y="1810053"/>
                  <a:chExt cx="84653" cy="84653"/>
                </a:xfrm>
              </p:grpSpPr>
              <p:cxnSp>
                <p:nvCxnSpPr>
                  <p:cNvPr id="1276" name="Straight Connector 1275">
                    <a:extLst>
                      <a:ext uri="{FF2B5EF4-FFF2-40B4-BE49-F238E27FC236}">
                        <a16:creationId xmlns:a16="http://schemas.microsoft.com/office/drawing/2014/main" id="{2525303B-C8D0-B2EC-523E-A7E2FCD7B7D8}"/>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77" name="Straight Connector 1276">
                    <a:extLst>
                      <a:ext uri="{FF2B5EF4-FFF2-40B4-BE49-F238E27FC236}">
                        <a16:creationId xmlns:a16="http://schemas.microsoft.com/office/drawing/2014/main" id="{D0922A23-D041-5E83-0775-BB79AB16DEFF}"/>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270" name="Group 1269">
                  <a:extLst>
                    <a:ext uri="{FF2B5EF4-FFF2-40B4-BE49-F238E27FC236}">
                      <a16:creationId xmlns:a16="http://schemas.microsoft.com/office/drawing/2014/main" id="{A7226641-23F8-9668-7507-3CA93CB50CF8}"/>
                    </a:ext>
                  </a:extLst>
                </p:cNvPr>
                <p:cNvGrpSpPr/>
                <p:nvPr/>
              </p:nvGrpSpPr>
              <p:grpSpPr>
                <a:xfrm>
                  <a:off x="6825998" y="913747"/>
                  <a:ext cx="68895" cy="90004"/>
                  <a:chOff x="1773255" y="1810053"/>
                  <a:chExt cx="84653" cy="84653"/>
                </a:xfrm>
              </p:grpSpPr>
              <p:cxnSp>
                <p:nvCxnSpPr>
                  <p:cNvPr id="1274" name="Straight Connector 1273">
                    <a:extLst>
                      <a:ext uri="{FF2B5EF4-FFF2-40B4-BE49-F238E27FC236}">
                        <a16:creationId xmlns:a16="http://schemas.microsoft.com/office/drawing/2014/main" id="{06AEAB27-1ACB-3151-DFCA-45F1D72FA13B}"/>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75" name="Straight Connector 1274">
                    <a:extLst>
                      <a:ext uri="{FF2B5EF4-FFF2-40B4-BE49-F238E27FC236}">
                        <a16:creationId xmlns:a16="http://schemas.microsoft.com/office/drawing/2014/main" id="{3FBF57D9-321E-BF1C-F639-3C333EAAD1FE}"/>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271" name="Group 1270">
                  <a:extLst>
                    <a:ext uri="{FF2B5EF4-FFF2-40B4-BE49-F238E27FC236}">
                      <a16:creationId xmlns:a16="http://schemas.microsoft.com/office/drawing/2014/main" id="{D27635BE-40A2-985F-A74B-8C33F788E57A}"/>
                    </a:ext>
                  </a:extLst>
                </p:cNvPr>
                <p:cNvGrpSpPr/>
                <p:nvPr/>
              </p:nvGrpSpPr>
              <p:grpSpPr>
                <a:xfrm>
                  <a:off x="7112819" y="936532"/>
                  <a:ext cx="68895" cy="90004"/>
                  <a:chOff x="1773255" y="1810053"/>
                  <a:chExt cx="84653" cy="84653"/>
                </a:xfrm>
              </p:grpSpPr>
              <p:cxnSp>
                <p:nvCxnSpPr>
                  <p:cNvPr id="1272" name="Straight Connector 1271">
                    <a:extLst>
                      <a:ext uri="{FF2B5EF4-FFF2-40B4-BE49-F238E27FC236}">
                        <a16:creationId xmlns:a16="http://schemas.microsoft.com/office/drawing/2014/main" id="{E312EEA1-7DC5-FDA1-ED54-8F58C4E1B4B2}"/>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73" name="Straight Connector 1272">
                    <a:extLst>
                      <a:ext uri="{FF2B5EF4-FFF2-40B4-BE49-F238E27FC236}">
                        <a16:creationId xmlns:a16="http://schemas.microsoft.com/office/drawing/2014/main" id="{E860086D-C770-8FCE-652C-B3986D69DAD8}"/>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grpSp>
        <p:grpSp>
          <p:nvGrpSpPr>
            <p:cNvPr id="1166" name="Group 1165">
              <a:extLst>
                <a:ext uri="{FF2B5EF4-FFF2-40B4-BE49-F238E27FC236}">
                  <a16:creationId xmlns:a16="http://schemas.microsoft.com/office/drawing/2014/main" id="{CBBC7358-F963-EE02-7DF6-713B0204A091}"/>
                </a:ext>
              </a:extLst>
            </p:cNvPr>
            <p:cNvGrpSpPr/>
            <p:nvPr/>
          </p:nvGrpSpPr>
          <p:grpSpPr>
            <a:xfrm>
              <a:off x="6551398" y="3258052"/>
              <a:ext cx="1002535" cy="94008"/>
              <a:chOff x="7429341" y="2906114"/>
              <a:chExt cx="1438411" cy="91729"/>
            </a:xfrm>
          </p:grpSpPr>
          <p:sp>
            <p:nvSpPr>
              <p:cNvPr id="1172" name="Graphic 1300">
                <a:extLst>
                  <a:ext uri="{FF2B5EF4-FFF2-40B4-BE49-F238E27FC236}">
                    <a16:creationId xmlns:a16="http://schemas.microsoft.com/office/drawing/2014/main" id="{91A81E5B-1845-395D-9AB5-A0E89FF022E0}"/>
                  </a:ext>
                </a:extLst>
              </p:cNvPr>
              <p:cNvSpPr/>
              <p:nvPr/>
            </p:nvSpPr>
            <p:spPr>
              <a:xfrm>
                <a:off x="7429341" y="2906114"/>
                <a:ext cx="1428908" cy="48615"/>
              </a:xfrm>
              <a:custGeom>
                <a:avLst/>
                <a:gdLst>
                  <a:gd name="connsiteX0" fmla="*/ 0 w 3810952"/>
                  <a:gd name="connsiteY0" fmla="*/ 0 h 608171"/>
                  <a:gd name="connsiteX1" fmla="*/ 113538 w 3810952"/>
                  <a:gd name="connsiteY1" fmla="*/ 0 h 608171"/>
                  <a:gd name="connsiteX2" fmla="*/ 113538 w 3810952"/>
                  <a:gd name="connsiteY2" fmla="*/ 5906 h 608171"/>
                  <a:gd name="connsiteX3" fmla="*/ 153543 w 3810952"/>
                  <a:gd name="connsiteY3" fmla="*/ 5906 h 608171"/>
                  <a:gd name="connsiteX4" fmla="*/ 153543 w 3810952"/>
                  <a:gd name="connsiteY4" fmla="*/ 12002 h 608171"/>
                  <a:gd name="connsiteX5" fmla="*/ 161925 w 3810952"/>
                  <a:gd name="connsiteY5" fmla="*/ 12002 h 608171"/>
                  <a:gd name="connsiteX6" fmla="*/ 161925 w 3810952"/>
                  <a:gd name="connsiteY6" fmla="*/ 18002 h 608171"/>
                  <a:gd name="connsiteX7" fmla="*/ 172498 w 3810952"/>
                  <a:gd name="connsiteY7" fmla="*/ 18002 h 608171"/>
                  <a:gd name="connsiteX8" fmla="*/ 172498 w 3810952"/>
                  <a:gd name="connsiteY8" fmla="*/ 24003 h 608171"/>
                  <a:gd name="connsiteX9" fmla="*/ 222980 w 3810952"/>
                  <a:gd name="connsiteY9" fmla="*/ 24003 h 608171"/>
                  <a:gd name="connsiteX10" fmla="*/ 222980 w 3810952"/>
                  <a:gd name="connsiteY10" fmla="*/ 30099 h 608171"/>
                  <a:gd name="connsiteX11" fmla="*/ 231362 w 3810952"/>
                  <a:gd name="connsiteY11" fmla="*/ 30099 h 608171"/>
                  <a:gd name="connsiteX12" fmla="*/ 231362 w 3810952"/>
                  <a:gd name="connsiteY12" fmla="*/ 42196 h 608171"/>
                  <a:gd name="connsiteX13" fmla="*/ 237649 w 3810952"/>
                  <a:gd name="connsiteY13" fmla="*/ 42196 h 608171"/>
                  <a:gd name="connsiteX14" fmla="*/ 237649 w 3810952"/>
                  <a:gd name="connsiteY14" fmla="*/ 48292 h 608171"/>
                  <a:gd name="connsiteX15" fmla="*/ 241840 w 3810952"/>
                  <a:gd name="connsiteY15" fmla="*/ 48292 h 608171"/>
                  <a:gd name="connsiteX16" fmla="*/ 241840 w 3810952"/>
                  <a:gd name="connsiteY16" fmla="*/ 54388 h 608171"/>
                  <a:gd name="connsiteX17" fmla="*/ 246031 w 3810952"/>
                  <a:gd name="connsiteY17" fmla="*/ 54388 h 608171"/>
                  <a:gd name="connsiteX18" fmla="*/ 246031 w 3810952"/>
                  <a:gd name="connsiteY18" fmla="*/ 60484 h 608171"/>
                  <a:gd name="connsiteX19" fmla="*/ 248126 w 3810952"/>
                  <a:gd name="connsiteY19" fmla="*/ 60484 h 608171"/>
                  <a:gd name="connsiteX20" fmla="*/ 248126 w 3810952"/>
                  <a:gd name="connsiteY20" fmla="*/ 66485 h 608171"/>
                  <a:gd name="connsiteX21" fmla="*/ 250317 w 3810952"/>
                  <a:gd name="connsiteY21" fmla="*/ 66485 h 608171"/>
                  <a:gd name="connsiteX22" fmla="*/ 250317 w 3810952"/>
                  <a:gd name="connsiteY22" fmla="*/ 72581 h 608171"/>
                  <a:gd name="connsiteX23" fmla="*/ 260794 w 3810952"/>
                  <a:gd name="connsiteY23" fmla="*/ 72581 h 608171"/>
                  <a:gd name="connsiteX24" fmla="*/ 260794 w 3810952"/>
                  <a:gd name="connsiteY24" fmla="*/ 78677 h 608171"/>
                  <a:gd name="connsiteX25" fmla="*/ 267081 w 3810952"/>
                  <a:gd name="connsiteY25" fmla="*/ 78677 h 608171"/>
                  <a:gd name="connsiteX26" fmla="*/ 267081 w 3810952"/>
                  <a:gd name="connsiteY26" fmla="*/ 84677 h 608171"/>
                  <a:gd name="connsiteX27" fmla="*/ 281845 w 3810952"/>
                  <a:gd name="connsiteY27" fmla="*/ 84677 h 608171"/>
                  <a:gd name="connsiteX28" fmla="*/ 281845 w 3810952"/>
                  <a:gd name="connsiteY28" fmla="*/ 90773 h 608171"/>
                  <a:gd name="connsiteX29" fmla="*/ 290227 w 3810952"/>
                  <a:gd name="connsiteY29" fmla="*/ 90773 h 608171"/>
                  <a:gd name="connsiteX30" fmla="*/ 290227 w 3810952"/>
                  <a:gd name="connsiteY30" fmla="*/ 96869 h 608171"/>
                  <a:gd name="connsiteX31" fmla="*/ 300800 w 3810952"/>
                  <a:gd name="connsiteY31" fmla="*/ 96869 h 608171"/>
                  <a:gd name="connsiteX32" fmla="*/ 300800 w 3810952"/>
                  <a:gd name="connsiteY32" fmla="*/ 102870 h 608171"/>
                  <a:gd name="connsiteX33" fmla="*/ 313373 w 3810952"/>
                  <a:gd name="connsiteY33" fmla="*/ 102870 h 608171"/>
                  <a:gd name="connsiteX34" fmla="*/ 313373 w 3810952"/>
                  <a:gd name="connsiteY34" fmla="*/ 108966 h 608171"/>
                  <a:gd name="connsiteX35" fmla="*/ 319659 w 3810952"/>
                  <a:gd name="connsiteY35" fmla="*/ 108966 h 608171"/>
                  <a:gd name="connsiteX36" fmla="*/ 319659 w 3810952"/>
                  <a:gd name="connsiteY36" fmla="*/ 121063 h 608171"/>
                  <a:gd name="connsiteX37" fmla="*/ 323850 w 3810952"/>
                  <a:gd name="connsiteY37" fmla="*/ 121063 h 608171"/>
                  <a:gd name="connsiteX38" fmla="*/ 323850 w 3810952"/>
                  <a:gd name="connsiteY38" fmla="*/ 127159 h 608171"/>
                  <a:gd name="connsiteX39" fmla="*/ 336518 w 3810952"/>
                  <a:gd name="connsiteY39" fmla="*/ 127159 h 608171"/>
                  <a:gd name="connsiteX40" fmla="*/ 336518 w 3810952"/>
                  <a:gd name="connsiteY40" fmla="*/ 133255 h 608171"/>
                  <a:gd name="connsiteX41" fmla="*/ 351187 w 3810952"/>
                  <a:gd name="connsiteY41" fmla="*/ 133255 h 608171"/>
                  <a:gd name="connsiteX42" fmla="*/ 351187 w 3810952"/>
                  <a:gd name="connsiteY42" fmla="*/ 139256 h 608171"/>
                  <a:gd name="connsiteX43" fmla="*/ 355473 w 3810952"/>
                  <a:gd name="connsiteY43" fmla="*/ 139256 h 608171"/>
                  <a:gd name="connsiteX44" fmla="*/ 355473 w 3810952"/>
                  <a:gd name="connsiteY44" fmla="*/ 145352 h 608171"/>
                  <a:gd name="connsiteX45" fmla="*/ 365950 w 3810952"/>
                  <a:gd name="connsiteY45" fmla="*/ 145352 h 608171"/>
                  <a:gd name="connsiteX46" fmla="*/ 365950 w 3810952"/>
                  <a:gd name="connsiteY46" fmla="*/ 151448 h 608171"/>
                  <a:gd name="connsiteX47" fmla="*/ 374333 w 3810952"/>
                  <a:gd name="connsiteY47" fmla="*/ 151448 h 608171"/>
                  <a:gd name="connsiteX48" fmla="*/ 374333 w 3810952"/>
                  <a:gd name="connsiteY48" fmla="*/ 157544 h 608171"/>
                  <a:gd name="connsiteX49" fmla="*/ 389096 w 3810952"/>
                  <a:gd name="connsiteY49" fmla="*/ 157544 h 608171"/>
                  <a:gd name="connsiteX50" fmla="*/ 389096 w 3810952"/>
                  <a:gd name="connsiteY50" fmla="*/ 163544 h 608171"/>
                  <a:gd name="connsiteX51" fmla="*/ 393287 w 3810952"/>
                  <a:gd name="connsiteY51" fmla="*/ 163544 h 608171"/>
                  <a:gd name="connsiteX52" fmla="*/ 393287 w 3810952"/>
                  <a:gd name="connsiteY52" fmla="*/ 169640 h 608171"/>
                  <a:gd name="connsiteX53" fmla="*/ 397478 w 3810952"/>
                  <a:gd name="connsiteY53" fmla="*/ 169640 h 608171"/>
                  <a:gd name="connsiteX54" fmla="*/ 397478 w 3810952"/>
                  <a:gd name="connsiteY54" fmla="*/ 175736 h 608171"/>
                  <a:gd name="connsiteX55" fmla="*/ 410147 w 3810952"/>
                  <a:gd name="connsiteY55" fmla="*/ 175736 h 608171"/>
                  <a:gd name="connsiteX56" fmla="*/ 410147 w 3810952"/>
                  <a:gd name="connsiteY56" fmla="*/ 181737 h 608171"/>
                  <a:gd name="connsiteX57" fmla="*/ 439579 w 3810952"/>
                  <a:gd name="connsiteY57" fmla="*/ 181737 h 608171"/>
                  <a:gd name="connsiteX58" fmla="*/ 439579 w 3810952"/>
                  <a:gd name="connsiteY58" fmla="*/ 187833 h 608171"/>
                  <a:gd name="connsiteX59" fmla="*/ 447961 w 3810952"/>
                  <a:gd name="connsiteY59" fmla="*/ 187833 h 608171"/>
                  <a:gd name="connsiteX60" fmla="*/ 447961 w 3810952"/>
                  <a:gd name="connsiteY60" fmla="*/ 193929 h 608171"/>
                  <a:gd name="connsiteX61" fmla="*/ 450056 w 3810952"/>
                  <a:gd name="connsiteY61" fmla="*/ 193929 h 608171"/>
                  <a:gd name="connsiteX62" fmla="*/ 450056 w 3810952"/>
                  <a:gd name="connsiteY62" fmla="*/ 199930 h 608171"/>
                  <a:gd name="connsiteX63" fmla="*/ 464820 w 3810952"/>
                  <a:gd name="connsiteY63" fmla="*/ 199930 h 608171"/>
                  <a:gd name="connsiteX64" fmla="*/ 464820 w 3810952"/>
                  <a:gd name="connsiteY64" fmla="*/ 212122 h 608171"/>
                  <a:gd name="connsiteX65" fmla="*/ 466916 w 3810952"/>
                  <a:gd name="connsiteY65" fmla="*/ 212122 h 608171"/>
                  <a:gd name="connsiteX66" fmla="*/ 466916 w 3810952"/>
                  <a:gd name="connsiteY66" fmla="*/ 218123 h 608171"/>
                  <a:gd name="connsiteX67" fmla="*/ 473202 w 3810952"/>
                  <a:gd name="connsiteY67" fmla="*/ 218123 h 608171"/>
                  <a:gd name="connsiteX68" fmla="*/ 473202 w 3810952"/>
                  <a:gd name="connsiteY68" fmla="*/ 224219 h 608171"/>
                  <a:gd name="connsiteX69" fmla="*/ 477393 w 3810952"/>
                  <a:gd name="connsiteY69" fmla="*/ 224219 h 608171"/>
                  <a:gd name="connsiteX70" fmla="*/ 477393 w 3810952"/>
                  <a:gd name="connsiteY70" fmla="*/ 230315 h 608171"/>
                  <a:gd name="connsiteX71" fmla="*/ 494252 w 3810952"/>
                  <a:gd name="connsiteY71" fmla="*/ 230315 h 608171"/>
                  <a:gd name="connsiteX72" fmla="*/ 494252 w 3810952"/>
                  <a:gd name="connsiteY72" fmla="*/ 242411 h 608171"/>
                  <a:gd name="connsiteX73" fmla="*/ 498443 w 3810952"/>
                  <a:gd name="connsiteY73" fmla="*/ 242411 h 608171"/>
                  <a:gd name="connsiteX74" fmla="*/ 498443 w 3810952"/>
                  <a:gd name="connsiteY74" fmla="*/ 248507 h 608171"/>
                  <a:gd name="connsiteX75" fmla="*/ 521589 w 3810952"/>
                  <a:gd name="connsiteY75" fmla="*/ 248507 h 608171"/>
                  <a:gd name="connsiteX76" fmla="*/ 521589 w 3810952"/>
                  <a:gd name="connsiteY76" fmla="*/ 254603 h 608171"/>
                  <a:gd name="connsiteX77" fmla="*/ 525780 w 3810952"/>
                  <a:gd name="connsiteY77" fmla="*/ 254603 h 608171"/>
                  <a:gd name="connsiteX78" fmla="*/ 525780 w 3810952"/>
                  <a:gd name="connsiteY78" fmla="*/ 260604 h 608171"/>
                  <a:gd name="connsiteX79" fmla="*/ 532067 w 3810952"/>
                  <a:gd name="connsiteY79" fmla="*/ 260604 h 608171"/>
                  <a:gd name="connsiteX80" fmla="*/ 532067 w 3810952"/>
                  <a:gd name="connsiteY80" fmla="*/ 272796 h 608171"/>
                  <a:gd name="connsiteX81" fmla="*/ 551021 w 3810952"/>
                  <a:gd name="connsiteY81" fmla="*/ 272796 h 608171"/>
                  <a:gd name="connsiteX82" fmla="*/ 551021 w 3810952"/>
                  <a:gd name="connsiteY82" fmla="*/ 278797 h 608171"/>
                  <a:gd name="connsiteX83" fmla="*/ 559403 w 3810952"/>
                  <a:gd name="connsiteY83" fmla="*/ 278797 h 608171"/>
                  <a:gd name="connsiteX84" fmla="*/ 559403 w 3810952"/>
                  <a:gd name="connsiteY84" fmla="*/ 284893 h 608171"/>
                  <a:gd name="connsiteX85" fmla="*/ 572072 w 3810952"/>
                  <a:gd name="connsiteY85" fmla="*/ 284893 h 608171"/>
                  <a:gd name="connsiteX86" fmla="*/ 572072 w 3810952"/>
                  <a:gd name="connsiteY86" fmla="*/ 290989 h 608171"/>
                  <a:gd name="connsiteX87" fmla="*/ 588931 w 3810952"/>
                  <a:gd name="connsiteY87" fmla="*/ 290989 h 608171"/>
                  <a:gd name="connsiteX88" fmla="*/ 588931 w 3810952"/>
                  <a:gd name="connsiteY88" fmla="*/ 296990 h 608171"/>
                  <a:gd name="connsiteX89" fmla="*/ 616268 w 3810952"/>
                  <a:gd name="connsiteY89" fmla="*/ 296990 h 608171"/>
                  <a:gd name="connsiteX90" fmla="*/ 616268 w 3810952"/>
                  <a:gd name="connsiteY90" fmla="*/ 303086 h 608171"/>
                  <a:gd name="connsiteX91" fmla="*/ 618363 w 3810952"/>
                  <a:gd name="connsiteY91" fmla="*/ 303086 h 608171"/>
                  <a:gd name="connsiteX92" fmla="*/ 618363 w 3810952"/>
                  <a:gd name="connsiteY92" fmla="*/ 309182 h 608171"/>
                  <a:gd name="connsiteX93" fmla="*/ 628840 w 3810952"/>
                  <a:gd name="connsiteY93" fmla="*/ 309182 h 608171"/>
                  <a:gd name="connsiteX94" fmla="*/ 628840 w 3810952"/>
                  <a:gd name="connsiteY94" fmla="*/ 315182 h 608171"/>
                  <a:gd name="connsiteX95" fmla="*/ 635127 w 3810952"/>
                  <a:gd name="connsiteY95" fmla="*/ 315182 h 608171"/>
                  <a:gd name="connsiteX96" fmla="*/ 635127 w 3810952"/>
                  <a:gd name="connsiteY96" fmla="*/ 327374 h 608171"/>
                  <a:gd name="connsiteX97" fmla="*/ 643604 w 3810952"/>
                  <a:gd name="connsiteY97" fmla="*/ 327374 h 608171"/>
                  <a:gd name="connsiteX98" fmla="*/ 643604 w 3810952"/>
                  <a:gd name="connsiteY98" fmla="*/ 333375 h 608171"/>
                  <a:gd name="connsiteX99" fmla="*/ 649891 w 3810952"/>
                  <a:gd name="connsiteY99" fmla="*/ 333375 h 608171"/>
                  <a:gd name="connsiteX100" fmla="*/ 649891 w 3810952"/>
                  <a:gd name="connsiteY100" fmla="*/ 345567 h 608171"/>
                  <a:gd name="connsiteX101" fmla="*/ 651986 w 3810952"/>
                  <a:gd name="connsiteY101" fmla="*/ 345567 h 608171"/>
                  <a:gd name="connsiteX102" fmla="*/ 651986 w 3810952"/>
                  <a:gd name="connsiteY102" fmla="*/ 351663 h 608171"/>
                  <a:gd name="connsiteX103" fmla="*/ 664559 w 3810952"/>
                  <a:gd name="connsiteY103" fmla="*/ 351663 h 608171"/>
                  <a:gd name="connsiteX104" fmla="*/ 664559 w 3810952"/>
                  <a:gd name="connsiteY104" fmla="*/ 357664 h 608171"/>
                  <a:gd name="connsiteX105" fmla="*/ 687705 w 3810952"/>
                  <a:gd name="connsiteY105" fmla="*/ 357664 h 608171"/>
                  <a:gd name="connsiteX106" fmla="*/ 687705 w 3810952"/>
                  <a:gd name="connsiteY106" fmla="*/ 363760 h 608171"/>
                  <a:gd name="connsiteX107" fmla="*/ 694087 w 3810952"/>
                  <a:gd name="connsiteY107" fmla="*/ 363760 h 608171"/>
                  <a:gd name="connsiteX108" fmla="*/ 694087 w 3810952"/>
                  <a:gd name="connsiteY108" fmla="*/ 369856 h 608171"/>
                  <a:gd name="connsiteX109" fmla="*/ 702469 w 3810952"/>
                  <a:gd name="connsiteY109" fmla="*/ 369856 h 608171"/>
                  <a:gd name="connsiteX110" fmla="*/ 702469 w 3810952"/>
                  <a:gd name="connsiteY110" fmla="*/ 375857 h 608171"/>
                  <a:gd name="connsiteX111" fmla="*/ 710851 w 3810952"/>
                  <a:gd name="connsiteY111" fmla="*/ 375857 h 608171"/>
                  <a:gd name="connsiteX112" fmla="*/ 710851 w 3810952"/>
                  <a:gd name="connsiteY112" fmla="*/ 381953 h 608171"/>
                  <a:gd name="connsiteX113" fmla="*/ 715042 w 3810952"/>
                  <a:gd name="connsiteY113" fmla="*/ 381953 h 608171"/>
                  <a:gd name="connsiteX114" fmla="*/ 715042 w 3810952"/>
                  <a:gd name="connsiteY114" fmla="*/ 388049 h 608171"/>
                  <a:gd name="connsiteX115" fmla="*/ 788670 w 3810952"/>
                  <a:gd name="connsiteY115" fmla="*/ 388049 h 608171"/>
                  <a:gd name="connsiteX116" fmla="*/ 788670 w 3810952"/>
                  <a:gd name="connsiteY116" fmla="*/ 394049 h 608171"/>
                  <a:gd name="connsiteX117" fmla="*/ 809720 w 3810952"/>
                  <a:gd name="connsiteY117" fmla="*/ 394049 h 608171"/>
                  <a:gd name="connsiteX118" fmla="*/ 809720 w 3810952"/>
                  <a:gd name="connsiteY118" fmla="*/ 400145 h 608171"/>
                  <a:gd name="connsiteX119" fmla="*/ 816007 w 3810952"/>
                  <a:gd name="connsiteY119" fmla="*/ 400145 h 608171"/>
                  <a:gd name="connsiteX120" fmla="*/ 816007 w 3810952"/>
                  <a:gd name="connsiteY120" fmla="*/ 406241 h 608171"/>
                  <a:gd name="connsiteX121" fmla="*/ 858107 w 3810952"/>
                  <a:gd name="connsiteY121" fmla="*/ 406241 h 608171"/>
                  <a:gd name="connsiteX122" fmla="*/ 858107 w 3810952"/>
                  <a:gd name="connsiteY122" fmla="*/ 412242 h 608171"/>
                  <a:gd name="connsiteX123" fmla="*/ 872776 w 3810952"/>
                  <a:gd name="connsiteY123" fmla="*/ 412242 h 608171"/>
                  <a:gd name="connsiteX124" fmla="*/ 872776 w 3810952"/>
                  <a:gd name="connsiteY124" fmla="*/ 418338 h 608171"/>
                  <a:gd name="connsiteX125" fmla="*/ 902303 w 3810952"/>
                  <a:gd name="connsiteY125" fmla="*/ 418338 h 608171"/>
                  <a:gd name="connsiteX126" fmla="*/ 902303 w 3810952"/>
                  <a:gd name="connsiteY126" fmla="*/ 424434 h 608171"/>
                  <a:gd name="connsiteX127" fmla="*/ 904399 w 3810952"/>
                  <a:gd name="connsiteY127" fmla="*/ 424434 h 608171"/>
                  <a:gd name="connsiteX128" fmla="*/ 904399 w 3810952"/>
                  <a:gd name="connsiteY128" fmla="*/ 430435 h 608171"/>
                  <a:gd name="connsiteX129" fmla="*/ 927449 w 3810952"/>
                  <a:gd name="connsiteY129" fmla="*/ 430435 h 608171"/>
                  <a:gd name="connsiteX130" fmla="*/ 927449 w 3810952"/>
                  <a:gd name="connsiteY130" fmla="*/ 436531 h 608171"/>
                  <a:gd name="connsiteX131" fmla="*/ 940118 w 3810952"/>
                  <a:gd name="connsiteY131" fmla="*/ 436531 h 608171"/>
                  <a:gd name="connsiteX132" fmla="*/ 940118 w 3810952"/>
                  <a:gd name="connsiteY132" fmla="*/ 442627 h 608171"/>
                  <a:gd name="connsiteX133" fmla="*/ 975836 w 3810952"/>
                  <a:gd name="connsiteY133" fmla="*/ 442627 h 608171"/>
                  <a:gd name="connsiteX134" fmla="*/ 975836 w 3810952"/>
                  <a:gd name="connsiteY134" fmla="*/ 448723 h 608171"/>
                  <a:gd name="connsiteX135" fmla="*/ 1091565 w 3810952"/>
                  <a:gd name="connsiteY135" fmla="*/ 448723 h 608171"/>
                  <a:gd name="connsiteX136" fmla="*/ 1091565 w 3810952"/>
                  <a:gd name="connsiteY136" fmla="*/ 454724 h 608171"/>
                  <a:gd name="connsiteX137" fmla="*/ 1129379 w 3810952"/>
                  <a:gd name="connsiteY137" fmla="*/ 454724 h 608171"/>
                  <a:gd name="connsiteX138" fmla="*/ 1129379 w 3810952"/>
                  <a:gd name="connsiteY138" fmla="*/ 460915 h 608171"/>
                  <a:gd name="connsiteX139" fmla="*/ 1181957 w 3810952"/>
                  <a:gd name="connsiteY139" fmla="*/ 460915 h 608171"/>
                  <a:gd name="connsiteX140" fmla="*/ 1181957 w 3810952"/>
                  <a:gd name="connsiteY140" fmla="*/ 467011 h 608171"/>
                  <a:gd name="connsiteX141" fmla="*/ 1200912 w 3810952"/>
                  <a:gd name="connsiteY141" fmla="*/ 467011 h 608171"/>
                  <a:gd name="connsiteX142" fmla="*/ 1200912 w 3810952"/>
                  <a:gd name="connsiteY142" fmla="*/ 473107 h 608171"/>
                  <a:gd name="connsiteX143" fmla="*/ 1211390 w 3810952"/>
                  <a:gd name="connsiteY143" fmla="*/ 473107 h 608171"/>
                  <a:gd name="connsiteX144" fmla="*/ 1211390 w 3810952"/>
                  <a:gd name="connsiteY144" fmla="*/ 479298 h 608171"/>
                  <a:gd name="connsiteX145" fmla="*/ 1245108 w 3810952"/>
                  <a:gd name="connsiteY145" fmla="*/ 479298 h 608171"/>
                  <a:gd name="connsiteX146" fmla="*/ 1245108 w 3810952"/>
                  <a:gd name="connsiteY146" fmla="*/ 485394 h 608171"/>
                  <a:gd name="connsiteX147" fmla="*/ 1251395 w 3810952"/>
                  <a:gd name="connsiteY147" fmla="*/ 485394 h 608171"/>
                  <a:gd name="connsiteX148" fmla="*/ 1251395 w 3810952"/>
                  <a:gd name="connsiteY148" fmla="*/ 491490 h 608171"/>
                  <a:gd name="connsiteX149" fmla="*/ 1266063 w 3810952"/>
                  <a:gd name="connsiteY149" fmla="*/ 491490 h 608171"/>
                  <a:gd name="connsiteX150" fmla="*/ 1266063 w 3810952"/>
                  <a:gd name="connsiteY150" fmla="*/ 497586 h 608171"/>
                  <a:gd name="connsiteX151" fmla="*/ 1278731 w 3810952"/>
                  <a:gd name="connsiteY151" fmla="*/ 497586 h 608171"/>
                  <a:gd name="connsiteX152" fmla="*/ 1278731 w 3810952"/>
                  <a:gd name="connsiteY152" fmla="*/ 503777 h 608171"/>
                  <a:gd name="connsiteX153" fmla="*/ 1303973 w 3810952"/>
                  <a:gd name="connsiteY153" fmla="*/ 503777 h 608171"/>
                  <a:gd name="connsiteX154" fmla="*/ 1303973 w 3810952"/>
                  <a:gd name="connsiteY154" fmla="*/ 509873 h 608171"/>
                  <a:gd name="connsiteX155" fmla="*/ 1533239 w 3810952"/>
                  <a:gd name="connsiteY155" fmla="*/ 509873 h 608171"/>
                  <a:gd name="connsiteX156" fmla="*/ 1533239 w 3810952"/>
                  <a:gd name="connsiteY156" fmla="*/ 516065 h 608171"/>
                  <a:gd name="connsiteX157" fmla="*/ 1646777 w 3810952"/>
                  <a:gd name="connsiteY157" fmla="*/ 516065 h 608171"/>
                  <a:gd name="connsiteX158" fmla="*/ 1646777 w 3810952"/>
                  <a:gd name="connsiteY158" fmla="*/ 522256 h 608171"/>
                  <a:gd name="connsiteX159" fmla="*/ 1915954 w 3810952"/>
                  <a:gd name="connsiteY159" fmla="*/ 522256 h 608171"/>
                  <a:gd name="connsiteX160" fmla="*/ 1915954 w 3810952"/>
                  <a:gd name="connsiteY160" fmla="*/ 528542 h 608171"/>
                  <a:gd name="connsiteX161" fmla="*/ 1989582 w 3810952"/>
                  <a:gd name="connsiteY161" fmla="*/ 528542 h 608171"/>
                  <a:gd name="connsiteX162" fmla="*/ 1989582 w 3810952"/>
                  <a:gd name="connsiteY162" fmla="*/ 534829 h 608171"/>
                  <a:gd name="connsiteX163" fmla="*/ 2069497 w 3810952"/>
                  <a:gd name="connsiteY163" fmla="*/ 534829 h 608171"/>
                  <a:gd name="connsiteX164" fmla="*/ 2069497 w 3810952"/>
                  <a:gd name="connsiteY164" fmla="*/ 541115 h 608171"/>
                  <a:gd name="connsiteX165" fmla="*/ 2231422 w 3810952"/>
                  <a:gd name="connsiteY165" fmla="*/ 541115 h 608171"/>
                  <a:gd name="connsiteX166" fmla="*/ 2231422 w 3810952"/>
                  <a:gd name="connsiteY166" fmla="*/ 547592 h 608171"/>
                  <a:gd name="connsiteX167" fmla="*/ 2248281 w 3810952"/>
                  <a:gd name="connsiteY167" fmla="*/ 547592 h 608171"/>
                  <a:gd name="connsiteX168" fmla="*/ 2248281 w 3810952"/>
                  <a:gd name="connsiteY168" fmla="*/ 553974 h 608171"/>
                  <a:gd name="connsiteX169" fmla="*/ 2366105 w 3810952"/>
                  <a:gd name="connsiteY169" fmla="*/ 553974 h 608171"/>
                  <a:gd name="connsiteX170" fmla="*/ 2366105 w 3810952"/>
                  <a:gd name="connsiteY170" fmla="*/ 560451 h 608171"/>
                  <a:gd name="connsiteX171" fmla="*/ 2458593 w 3810952"/>
                  <a:gd name="connsiteY171" fmla="*/ 560451 h 608171"/>
                  <a:gd name="connsiteX172" fmla="*/ 2458593 w 3810952"/>
                  <a:gd name="connsiteY172" fmla="*/ 566833 h 608171"/>
                  <a:gd name="connsiteX173" fmla="*/ 2477548 w 3810952"/>
                  <a:gd name="connsiteY173" fmla="*/ 566833 h 608171"/>
                  <a:gd name="connsiteX174" fmla="*/ 2477548 w 3810952"/>
                  <a:gd name="connsiteY174" fmla="*/ 573310 h 608171"/>
                  <a:gd name="connsiteX175" fmla="*/ 3331369 w 3810952"/>
                  <a:gd name="connsiteY175" fmla="*/ 573310 h 608171"/>
                  <a:gd name="connsiteX176" fmla="*/ 3331369 w 3810952"/>
                  <a:gd name="connsiteY176" fmla="*/ 608171 h 608171"/>
                  <a:gd name="connsiteX177" fmla="*/ 3810953 w 3810952"/>
                  <a:gd name="connsiteY177" fmla="*/ 608171 h 608171"/>
                  <a:gd name="connsiteX0" fmla="*/ 0 w 3697415"/>
                  <a:gd name="connsiteY0" fmla="*/ 0 h 608171"/>
                  <a:gd name="connsiteX1" fmla="*/ 0 w 3697415"/>
                  <a:gd name="connsiteY1" fmla="*/ 5906 h 608171"/>
                  <a:gd name="connsiteX2" fmla="*/ 40005 w 3697415"/>
                  <a:gd name="connsiteY2" fmla="*/ 5906 h 608171"/>
                  <a:gd name="connsiteX3" fmla="*/ 40005 w 3697415"/>
                  <a:gd name="connsiteY3" fmla="*/ 12002 h 608171"/>
                  <a:gd name="connsiteX4" fmla="*/ 48387 w 3697415"/>
                  <a:gd name="connsiteY4" fmla="*/ 12002 h 608171"/>
                  <a:gd name="connsiteX5" fmla="*/ 48387 w 3697415"/>
                  <a:gd name="connsiteY5" fmla="*/ 18002 h 608171"/>
                  <a:gd name="connsiteX6" fmla="*/ 58960 w 3697415"/>
                  <a:gd name="connsiteY6" fmla="*/ 18002 h 608171"/>
                  <a:gd name="connsiteX7" fmla="*/ 58960 w 3697415"/>
                  <a:gd name="connsiteY7" fmla="*/ 24003 h 608171"/>
                  <a:gd name="connsiteX8" fmla="*/ 109442 w 3697415"/>
                  <a:gd name="connsiteY8" fmla="*/ 24003 h 608171"/>
                  <a:gd name="connsiteX9" fmla="*/ 109442 w 3697415"/>
                  <a:gd name="connsiteY9" fmla="*/ 30099 h 608171"/>
                  <a:gd name="connsiteX10" fmla="*/ 117824 w 3697415"/>
                  <a:gd name="connsiteY10" fmla="*/ 30099 h 608171"/>
                  <a:gd name="connsiteX11" fmla="*/ 117824 w 3697415"/>
                  <a:gd name="connsiteY11" fmla="*/ 42196 h 608171"/>
                  <a:gd name="connsiteX12" fmla="*/ 124111 w 3697415"/>
                  <a:gd name="connsiteY12" fmla="*/ 42196 h 608171"/>
                  <a:gd name="connsiteX13" fmla="*/ 124111 w 3697415"/>
                  <a:gd name="connsiteY13" fmla="*/ 48292 h 608171"/>
                  <a:gd name="connsiteX14" fmla="*/ 128302 w 3697415"/>
                  <a:gd name="connsiteY14" fmla="*/ 48292 h 608171"/>
                  <a:gd name="connsiteX15" fmla="*/ 128302 w 3697415"/>
                  <a:gd name="connsiteY15" fmla="*/ 54388 h 608171"/>
                  <a:gd name="connsiteX16" fmla="*/ 132493 w 3697415"/>
                  <a:gd name="connsiteY16" fmla="*/ 54388 h 608171"/>
                  <a:gd name="connsiteX17" fmla="*/ 132493 w 3697415"/>
                  <a:gd name="connsiteY17" fmla="*/ 60484 h 608171"/>
                  <a:gd name="connsiteX18" fmla="*/ 134588 w 3697415"/>
                  <a:gd name="connsiteY18" fmla="*/ 60484 h 608171"/>
                  <a:gd name="connsiteX19" fmla="*/ 134588 w 3697415"/>
                  <a:gd name="connsiteY19" fmla="*/ 66485 h 608171"/>
                  <a:gd name="connsiteX20" fmla="*/ 136779 w 3697415"/>
                  <a:gd name="connsiteY20" fmla="*/ 66485 h 608171"/>
                  <a:gd name="connsiteX21" fmla="*/ 136779 w 3697415"/>
                  <a:gd name="connsiteY21" fmla="*/ 72581 h 608171"/>
                  <a:gd name="connsiteX22" fmla="*/ 147256 w 3697415"/>
                  <a:gd name="connsiteY22" fmla="*/ 72581 h 608171"/>
                  <a:gd name="connsiteX23" fmla="*/ 147256 w 3697415"/>
                  <a:gd name="connsiteY23" fmla="*/ 78677 h 608171"/>
                  <a:gd name="connsiteX24" fmla="*/ 153543 w 3697415"/>
                  <a:gd name="connsiteY24" fmla="*/ 78677 h 608171"/>
                  <a:gd name="connsiteX25" fmla="*/ 153543 w 3697415"/>
                  <a:gd name="connsiteY25" fmla="*/ 84677 h 608171"/>
                  <a:gd name="connsiteX26" fmla="*/ 168307 w 3697415"/>
                  <a:gd name="connsiteY26" fmla="*/ 84677 h 608171"/>
                  <a:gd name="connsiteX27" fmla="*/ 168307 w 3697415"/>
                  <a:gd name="connsiteY27" fmla="*/ 90773 h 608171"/>
                  <a:gd name="connsiteX28" fmla="*/ 176689 w 3697415"/>
                  <a:gd name="connsiteY28" fmla="*/ 90773 h 608171"/>
                  <a:gd name="connsiteX29" fmla="*/ 176689 w 3697415"/>
                  <a:gd name="connsiteY29" fmla="*/ 96869 h 608171"/>
                  <a:gd name="connsiteX30" fmla="*/ 187262 w 3697415"/>
                  <a:gd name="connsiteY30" fmla="*/ 96869 h 608171"/>
                  <a:gd name="connsiteX31" fmla="*/ 187262 w 3697415"/>
                  <a:gd name="connsiteY31" fmla="*/ 102870 h 608171"/>
                  <a:gd name="connsiteX32" fmla="*/ 199835 w 3697415"/>
                  <a:gd name="connsiteY32" fmla="*/ 102870 h 608171"/>
                  <a:gd name="connsiteX33" fmla="*/ 199835 w 3697415"/>
                  <a:gd name="connsiteY33" fmla="*/ 108966 h 608171"/>
                  <a:gd name="connsiteX34" fmla="*/ 206121 w 3697415"/>
                  <a:gd name="connsiteY34" fmla="*/ 108966 h 608171"/>
                  <a:gd name="connsiteX35" fmla="*/ 206121 w 3697415"/>
                  <a:gd name="connsiteY35" fmla="*/ 121063 h 608171"/>
                  <a:gd name="connsiteX36" fmla="*/ 210312 w 3697415"/>
                  <a:gd name="connsiteY36" fmla="*/ 121063 h 608171"/>
                  <a:gd name="connsiteX37" fmla="*/ 210312 w 3697415"/>
                  <a:gd name="connsiteY37" fmla="*/ 127159 h 608171"/>
                  <a:gd name="connsiteX38" fmla="*/ 222980 w 3697415"/>
                  <a:gd name="connsiteY38" fmla="*/ 127159 h 608171"/>
                  <a:gd name="connsiteX39" fmla="*/ 222980 w 3697415"/>
                  <a:gd name="connsiteY39" fmla="*/ 133255 h 608171"/>
                  <a:gd name="connsiteX40" fmla="*/ 237649 w 3697415"/>
                  <a:gd name="connsiteY40" fmla="*/ 133255 h 608171"/>
                  <a:gd name="connsiteX41" fmla="*/ 237649 w 3697415"/>
                  <a:gd name="connsiteY41" fmla="*/ 139256 h 608171"/>
                  <a:gd name="connsiteX42" fmla="*/ 241935 w 3697415"/>
                  <a:gd name="connsiteY42" fmla="*/ 139256 h 608171"/>
                  <a:gd name="connsiteX43" fmla="*/ 241935 w 3697415"/>
                  <a:gd name="connsiteY43" fmla="*/ 145352 h 608171"/>
                  <a:gd name="connsiteX44" fmla="*/ 252412 w 3697415"/>
                  <a:gd name="connsiteY44" fmla="*/ 145352 h 608171"/>
                  <a:gd name="connsiteX45" fmla="*/ 252412 w 3697415"/>
                  <a:gd name="connsiteY45" fmla="*/ 151448 h 608171"/>
                  <a:gd name="connsiteX46" fmla="*/ 260795 w 3697415"/>
                  <a:gd name="connsiteY46" fmla="*/ 151448 h 608171"/>
                  <a:gd name="connsiteX47" fmla="*/ 260795 w 3697415"/>
                  <a:gd name="connsiteY47" fmla="*/ 157544 h 608171"/>
                  <a:gd name="connsiteX48" fmla="*/ 275558 w 3697415"/>
                  <a:gd name="connsiteY48" fmla="*/ 157544 h 608171"/>
                  <a:gd name="connsiteX49" fmla="*/ 275558 w 3697415"/>
                  <a:gd name="connsiteY49" fmla="*/ 163544 h 608171"/>
                  <a:gd name="connsiteX50" fmla="*/ 279749 w 3697415"/>
                  <a:gd name="connsiteY50" fmla="*/ 163544 h 608171"/>
                  <a:gd name="connsiteX51" fmla="*/ 279749 w 3697415"/>
                  <a:gd name="connsiteY51" fmla="*/ 169640 h 608171"/>
                  <a:gd name="connsiteX52" fmla="*/ 283940 w 3697415"/>
                  <a:gd name="connsiteY52" fmla="*/ 169640 h 608171"/>
                  <a:gd name="connsiteX53" fmla="*/ 283940 w 3697415"/>
                  <a:gd name="connsiteY53" fmla="*/ 175736 h 608171"/>
                  <a:gd name="connsiteX54" fmla="*/ 296609 w 3697415"/>
                  <a:gd name="connsiteY54" fmla="*/ 175736 h 608171"/>
                  <a:gd name="connsiteX55" fmla="*/ 296609 w 3697415"/>
                  <a:gd name="connsiteY55" fmla="*/ 181737 h 608171"/>
                  <a:gd name="connsiteX56" fmla="*/ 326041 w 3697415"/>
                  <a:gd name="connsiteY56" fmla="*/ 181737 h 608171"/>
                  <a:gd name="connsiteX57" fmla="*/ 326041 w 3697415"/>
                  <a:gd name="connsiteY57" fmla="*/ 187833 h 608171"/>
                  <a:gd name="connsiteX58" fmla="*/ 334423 w 3697415"/>
                  <a:gd name="connsiteY58" fmla="*/ 187833 h 608171"/>
                  <a:gd name="connsiteX59" fmla="*/ 334423 w 3697415"/>
                  <a:gd name="connsiteY59" fmla="*/ 193929 h 608171"/>
                  <a:gd name="connsiteX60" fmla="*/ 336518 w 3697415"/>
                  <a:gd name="connsiteY60" fmla="*/ 193929 h 608171"/>
                  <a:gd name="connsiteX61" fmla="*/ 336518 w 3697415"/>
                  <a:gd name="connsiteY61" fmla="*/ 199930 h 608171"/>
                  <a:gd name="connsiteX62" fmla="*/ 351282 w 3697415"/>
                  <a:gd name="connsiteY62" fmla="*/ 199930 h 608171"/>
                  <a:gd name="connsiteX63" fmla="*/ 351282 w 3697415"/>
                  <a:gd name="connsiteY63" fmla="*/ 212122 h 608171"/>
                  <a:gd name="connsiteX64" fmla="*/ 353378 w 3697415"/>
                  <a:gd name="connsiteY64" fmla="*/ 212122 h 608171"/>
                  <a:gd name="connsiteX65" fmla="*/ 353378 w 3697415"/>
                  <a:gd name="connsiteY65" fmla="*/ 218123 h 608171"/>
                  <a:gd name="connsiteX66" fmla="*/ 359664 w 3697415"/>
                  <a:gd name="connsiteY66" fmla="*/ 218123 h 608171"/>
                  <a:gd name="connsiteX67" fmla="*/ 359664 w 3697415"/>
                  <a:gd name="connsiteY67" fmla="*/ 224219 h 608171"/>
                  <a:gd name="connsiteX68" fmla="*/ 363855 w 3697415"/>
                  <a:gd name="connsiteY68" fmla="*/ 224219 h 608171"/>
                  <a:gd name="connsiteX69" fmla="*/ 363855 w 3697415"/>
                  <a:gd name="connsiteY69" fmla="*/ 230315 h 608171"/>
                  <a:gd name="connsiteX70" fmla="*/ 380714 w 3697415"/>
                  <a:gd name="connsiteY70" fmla="*/ 230315 h 608171"/>
                  <a:gd name="connsiteX71" fmla="*/ 380714 w 3697415"/>
                  <a:gd name="connsiteY71" fmla="*/ 242411 h 608171"/>
                  <a:gd name="connsiteX72" fmla="*/ 384905 w 3697415"/>
                  <a:gd name="connsiteY72" fmla="*/ 242411 h 608171"/>
                  <a:gd name="connsiteX73" fmla="*/ 384905 w 3697415"/>
                  <a:gd name="connsiteY73" fmla="*/ 248507 h 608171"/>
                  <a:gd name="connsiteX74" fmla="*/ 408051 w 3697415"/>
                  <a:gd name="connsiteY74" fmla="*/ 248507 h 608171"/>
                  <a:gd name="connsiteX75" fmla="*/ 408051 w 3697415"/>
                  <a:gd name="connsiteY75" fmla="*/ 254603 h 608171"/>
                  <a:gd name="connsiteX76" fmla="*/ 412242 w 3697415"/>
                  <a:gd name="connsiteY76" fmla="*/ 254603 h 608171"/>
                  <a:gd name="connsiteX77" fmla="*/ 412242 w 3697415"/>
                  <a:gd name="connsiteY77" fmla="*/ 260604 h 608171"/>
                  <a:gd name="connsiteX78" fmla="*/ 418529 w 3697415"/>
                  <a:gd name="connsiteY78" fmla="*/ 260604 h 608171"/>
                  <a:gd name="connsiteX79" fmla="*/ 418529 w 3697415"/>
                  <a:gd name="connsiteY79" fmla="*/ 272796 h 608171"/>
                  <a:gd name="connsiteX80" fmla="*/ 437483 w 3697415"/>
                  <a:gd name="connsiteY80" fmla="*/ 272796 h 608171"/>
                  <a:gd name="connsiteX81" fmla="*/ 437483 w 3697415"/>
                  <a:gd name="connsiteY81" fmla="*/ 278797 h 608171"/>
                  <a:gd name="connsiteX82" fmla="*/ 445865 w 3697415"/>
                  <a:gd name="connsiteY82" fmla="*/ 278797 h 608171"/>
                  <a:gd name="connsiteX83" fmla="*/ 445865 w 3697415"/>
                  <a:gd name="connsiteY83" fmla="*/ 284893 h 608171"/>
                  <a:gd name="connsiteX84" fmla="*/ 458534 w 3697415"/>
                  <a:gd name="connsiteY84" fmla="*/ 284893 h 608171"/>
                  <a:gd name="connsiteX85" fmla="*/ 458534 w 3697415"/>
                  <a:gd name="connsiteY85" fmla="*/ 290989 h 608171"/>
                  <a:gd name="connsiteX86" fmla="*/ 475393 w 3697415"/>
                  <a:gd name="connsiteY86" fmla="*/ 290989 h 608171"/>
                  <a:gd name="connsiteX87" fmla="*/ 475393 w 3697415"/>
                  <a:gd name="connsiteY87" fmla="*/ 296990 h 608171"/>
                  <a:gd name="connsiteX88" fmla="*/ 502730 w 3697415"/>
                  <a:gd name="connsiteY88" fmla="*/ 296990 h 608171"/>
                  <a:gd name="connsiteX89" fmla="*/ 502730 w 3697415"/>
                  <a:gd name="connsiteY89" fmla="*/ 303086 h 608171"/>
                  <a:gd name="connsiteX90" fmla="*/ 504825 w 3697415"/>
                  <a:gd name="connsiteY90" fmla="*/ 303086 h 608171"/>
                  <a:gd name="connsiteX91" fmla="*/ 504825 w 3697415"/>
                  <a:gd name="connsiteY91" fmla="*/ 309182 h 608171"/>
                  <a:gd name="connsiteX92" fmla="*/ 515302 w 3697415"/>
                  <a:gd name="connsiteY92" fmla="*/ 309182 h 608171"/>
                  <a:gd name="connsiteX93" fmla="*/ 515302 w 3697415"/>
                  <a:gd name="connsiteY93" fmla="*/ 315182 h 608171"/>
                  <a:gd name="connsiteX94" fmla="*/ 521589 w 3697415"/>
                  <a:gd name="connsiteY94" fmla="*/ 315182 h 608171"/>
                  <a:gd name="connsiteX95" fmla="*/ 521589 w 3697415"/>
                  <a:gd name="connsiteY95" fmla="*/ 327374 h 608171"/>
                  <a:gd name="connsiteX96" fmla="*/ 530066 w 3697415"/>
                  <a:gd name="connsiteY96" fmla="*/ 327374 h 608171"/>
                  <a:gd name="connsiteX97" fmla="*/ 530066 w 3697415"/>
                  <a:gd name="connsiteY97" fmla="*/ 333375 h 608171"/>
                  <a:gd name="connsiteX98" fmla="*/ 536353 w 3697415"/>
                  <a:gd name="connsiteY98" fmla="*/ 333375 h 608171"/>
                  <a:gd name="connsiteX99" fmla="*/ 536353 w 3697415"/>
                  <a:gd name="connsiteY99" fmla="*/ 345567 h 608171"/>
                  <a:gd name="connsiteX100" fmla="*/ 538448 w 3697415"/>
                  <a:gd name="connsiteY100" fmla="*/ 345567 h 608171"/>
                  <a:gd name="connsiteX101" fmla="*/ 538448 w 3697415"/>
                  <a:gd name="connsiteY101" fmla="*/ 351663 h 608171"/>
                  <a:gd name="connsiteX102" fmla="*/ 551021 w 3697415"/>
                  <a:gd name="connsiteY102" fmla="*/ 351663 h 608171"/>
                  <a:gd name="connsiteX103" fmla="*/ 551021 w 3697415"/>
                  <a:gd name="connsiteY103" fmla="*/ 357664 h 608171"/>
                  <a:gd name="connsiteX104" fmla="*/ 574167 w 3697415"/>
                  <a:gd name="connsiteY104" fmla="*/ 357664 h 608171"/>
                  <a:gd name="connsiteX105" fmla="*/ 574167 w 3697415"/>
                  <a:gd name="connsiteY105" fmla="*/ 363760 h 608171"/>
                  <a:gd name="connsiteX106" fmla="*/ 580549 w 3697415"/>
                  <a:gd name="connsiteY106" fmla="*/ 363760 h 608171"/>
                  <a:gd name="connsiteX107" fmla="*/ 580549 w 3697415"/>
                  <a:gd name="connsiteY107" fmla="*/ 369856 h 608171"/>
                  <a:gd name="connsiteX108" fmla="*/ 588931 w 3697415"/>
                  <a:gd name="connsiteY108" fmla="*/ 369856 h 608171"/>
                  <a:gd name="connsiteX109" fmla="*/ 588931 w 3697415"/>
                  <a:gd name="connsiteY109" fmla="*/ 375857 h 608171"/>
                  <a:gd name="connsiteX110" fmla="*/ 597313 w 3697415"/>
                  <a:gd name="connsiteY110" fmla="*/ 375857 h 608171"/>
                  <a:gd name="connsiteX111" fmla="*/ 597313 w 3697415"/>
                  <a:gd name="connsiteY111" fmla="*/ 381953 h 608171"/>
                  <a:gd name="connsiteX112" fmla="*/ 601504 w 3697415"/>
                  <a:gd name="connsiteY112" fmla="*/ 381953 h 608171"/>
                  <a:gd name="connsiteX113" fmla="*/ 601504 w 3697415"/>
                  <a:gd name="connsiteY113" fmla="*/ 388049 h 608171"/>
                  <a:gd name="connsiteX114" fmla="*/ 675132 w 3697415"/>
                  <a:gd name="connsiteY114" fmla="*/ 388049 h 608171"/>
                  <a:gd name="connsiteX115" fmla="*/ 675132 w 3697415"/>
                  <a:gd name="connsiteY115" fmla="*/ 394049 h 608171"/>
                  <a:gd name="connsiteX116" fmla="*/ 696182 w 3697415"/>
                  <a:gd name="connsiteY116" fmla="*/ 394049 h 608171"/>
                  <a:gd name="connsiteX117" fmla="*/ 696182 w 3697415"/>
                  <a:gd name="connsiteY117" fmla="*/ 400145 h 608171"/>
                  <a:gd name="connsiteX118" fmla="*/ 702469 w 3697415"/>
                  <a:gd name="connsiteY118" fmla="*/ 400145 h 608171"/>
                  <a:gd name="connsiteX119" fmla="*/ 702469 w 3697415"/>
                  <a:gd name="connsiteY119" fmla="*/ 406241 h 608171"/>
                  <a:gd name="connsiteX120" fmla="*/ 744569 w 3697415"/>
                  <a:gd name="connsiteY120" fmla="*/ 406241 h 608171"/>
                  <a:gd name="connsiteX121" fmla="*/ 744569 w 3697415"/>
                  <a:gd name="connsiteY121" fmla="*/ 412242 h 608171"/>
                  <a:gd name="connsiteX122" fmla="*/ 759238 w 3697415"/>
                  <a:gd name="connsiteY122" fmla="*/ 412242 h 608171"/>
                  <a:gd name="connsiteX123" fmla="*/ 759238 w 3697415"/>
                  <a:gd name="connsiteY123" fmla="*/ 418338 h 608171"/>
                  <a:gd name="connsiteX124" fmla="*/ 788765 w 3697415"/>
                  <a:gd name="connsiteY124" fmla="*/ 418338 h 608171"/>
                  <a:gd name="connsiteX125" fmla="*/ 788765 w 3697415"/>
                  <a:gd name="connsiteY125" fmla="*/ 424434 h 608171"/>
                  <a:gd name="connsiteX126" fmla="*/ 790861 w 3697415"/>
                  <a:gd name="connsiteY126" fmla="*/ 424434 h 608171"/>
                  <a:gd name="connsiteX127" fmla="*/ 790861 w 3697415"/>
                  <a:gd name="connsiteY127" fmla="*/ 430435 h 608171"/>
                  <a:gd name="connsiteX128" fmla="*/ 813911 w 3697415"/>
                  <a:gd name="connsiteY128" fmla="*/ 430435 h 608171"/>
                  <a:gd name="connsiteX129" fmla="*/ 813911 w 3697415"/>
                  <a:gd name="connsiteY129" fmla="*/ 436531 h 608171"/>
                  <a:gd name="connsiteX130" fmla="*/ 826580 w 3697415"/>
                  <a:gd name="connsiteY130" fmla="*/ 436531 h 608171"/>
                  <a:gd name="connsiteX131" fmla="*/ 826580 w 3697415"/>
                  <a:gd name="connsiteY131" fmla="*/ 442627 h 608171"/>
                  <a:gd name="connsiteX132" fmla="*/ 862298 w 3697415"/>
                  <a:gd name="connsiteY132" fmla="*/ 442627 h 608171"/>
                  <a:gd name="connsiteX133" fmla="*/ 862298 w 3697415"/>
                  <a:gd name="connsiteY133" fmla="*/ 448723 h 608171"/>
                  <a:gd name="connsiteX134" fmla="*/ 978027 w 3697415"/>
                  <a:gd name="connsiteY134" fmla="*/ 448723 h 608171"/>
                  <a:gd name="connsiteX135" fmla="*/ 978027 w 3697415"/>
                  <a:gd name="connsiteY135" fmla="*/ 454724 h 608171"/>
                  <a:gd name="connsiteX136" fmla="*/ 1015841 w 3697415"/>
                  <a:gd name="connsiteY136" fmla="*/ 454724 h 608171"/>
                  <a:gd name="connsiteX137" fmla="*/ 1015841 w 3697415"/>
                  <a:gd name="connsiteY137" fmla="*/ 460915 h 608171"/>
                  <a:gd name="connsiteX138" fmla="*/ 1068419 w 3697415"/>
                  <a:gd name="connsiteY138" fmla="*/ 460915 h 608171"/>
                  <a:gd name="connsiteX139" fmla="*/ 1068419 w 3697415"/>
                  <a:gd name="connsiteY139" fmla="*/ 467011 h 608171"/>
                  <a:gd name="connsiteX140" fmla="*/ 1087374 w 3697415"/>
                  <a:gd name="connsiteY140" fmla="*/ 467011 h 608171"/>
                  <a:gd name="connsiteX141" fmla="*/ 1087374 w 3697415"/>
                  <a:gd name="connsiteY141" fmla="*/ 473107 h 608171"/>
                  <a:gd name="connsiteX142" fmla="*/ 1097852 w 3697415"/>
                  <a:gd name="connsiteY142" fmla="*/ 473107 h 608171"/>
                  <a:gd name="connsiteX143" fmla="*/ 1097852 w 3697415"/>
                  <a:gd name="connsiteY143" fmla="*/ 479298 h 608171"/>
                  <a:gd name="connsiteX144" fmla="*/ 1131570 w 3697415"/>
                  <a:gd name="connsiteY144" fmla="*/ 479298 h 608171"/>
                  <a:gd name="connsiteX145" fmla="*/ 1131570 w 3697415"/>
                  <a:gd name="connsiteY145" fmla="*/ 485394 h 608171"/>
                  <a:gd name="connsiteX146" fmla="*/ 1137857 w 3697415"/>
                  <a:gd name="connsiteY146" fmla="*/ 485394 h 608171"/>
                  <a:gd name="connsiteX147" fmla="*/ 1137857 w 3697415"/>
                  <a:gd name="connsiteY147" fmla="*/ 491490 h 608171"/>
                  <a:gd name="connsiteX148" fmla="*/ 1152525 w 3697415"/>
                  <a:gd name="connsiteY148" fmla="*/ 491490 h 608171"/>
                  <a:gd name="connsiteX149" fmla="*/ 1152525 w 3697415"/>
                  <a:gd name="connsiteY149" fmla="*/ 497586 h 608171"/>
                  <a:gd name="connsiteX150" fmla="*/ 1165193 w 3697415"/>
                  <a:gd name="connsiteY150" fmla="*/ 497586 h 608171"/>
                  <a:gd name="connsiteX151" fmla="*/ 1165193 w 3697415"/>
                  <a:gd name="connsiteY151" fmla="*/ 503777 h 608171"/>
                  <a:gd name="connsiteX152" fmla="*/ 1190435 w 3697415"/>
                  <a:gd name="connsiteY152" fmla="*/ 503777 h 608171"/>
                  <a:gd name="connsiteX153" fmla="*/ 1190435 w 3697415"/>
                  <a:gd name="connsiteY153" fmla="*/ 509873 h 608171"/>
                  <a:gd name="connsiteX154" fmla="*/ 1419701 w 3697415"/>
                  <a:gd name="connsiteY154" fmla="*/ 509873 h 608171"/>
                  <a:gd name="connsiteX155" fmla="*/ 1419701 w 3697415"/>
                  <a:gd name="connsiteY155" fmla="*/ 516065 h 608171"/>
                  <a:gd name="connsiteX156" fmla="*/ 1533239 w 3697415"/>
                  <a:gd name="connsiteY156" fmla="*/ 516065 h 608171"/>
                  <a:gd name="connsiteX157" fmla="*/ 1533239 w 3697415"/>
                  <a:gd name="connsiteY157" fmla="*/ 522256 h 608171"/>
                  <a:gd name="connsiteX158" fmla="*/ 1802416 w 3697415"/>
                  <a:gd name="connsiteY158" fmla="*/ 522256 h 608171"/>
                  <a:gd name="connsiteX159" fmla="*/ 1802416 w 3697415"/>
                  <a:gd name="connsiteY159" fmla="*/ 528542 h 608171"/>
                  <a:gd name="connsiteX160" fmla="*/ 1876044 w 3697415"/>
                  <a:gd name="connsiteY160" fmla="*/ 528542 h 608171"/>
                  <a:gd name="connsiteX161" fmla="*/ 1876044 w 3697415"/>
                  <a:gd name="connsiteY161" fmla="*/ 534829 h 608171"/>
                  <a:gd name="connsiteX162" fmla="*/ 1955959 w 3697415"/>
                  <a:gd name="connsiteY162" fmla="*/ 534829 h 608171"/>
                  <a:gd name="connsiteX163" fmla="*/ 1955959 w 3697415"/>
                  <a:gd name="connsiteY163" fmla="*/ 541115 h 608171"/>
                  <a:gd name="connsiteX164" fmla="*/ 2117884 w 3697415"/>
                  <a:gd name="connsiteY164" fmla="*/ 541115 h 608171"/>
                  <a:gd name="connsiteX165" fmla="*/ 2117884 w 3697415"/>
                  <a:gd name="connsiteY165" fmla="*/ 547592 h 608171"/>
                  <a:gd name="connsiteX166" fmla="*/ 2134743 w 3697415"/>
                  <a:gd name="connsiteY166" fmla="*/ 547592 h 608171"/>
                  <a:gd name="connsiteX167" fmla="*/ 2134743 w 3697415"/>
                  <a:gd name="connsiteY167" fmla="*/ 553974 h 608171"/>
                  <a:gd name="connsiteX168" fmla="*/ 2252567 w 3697415"/>
                  <a:gd name="connsiteY168" fmla="*/ 553974 h 608171"/>
                  <a:gd name="connsiteX169" fmla="*/ 2252567 w 3697415"/>
                  <a:gd name="connsiteY169" fmla="*/ 560451 h 608171"/>
                  <a:gd name="connsiteX170" fmla="*/ 2345055 w 3697415"/>
                  <a:gd name="connsiteY170" fmla="*/ 560451 h 608171"/>
                  <a:gd name="connsiteX171" fmla="*/ 2345055 w 3697415"/>
                  <a:gd name="connsiteY171" fmla="*/ 566833 h 608171"/>
                  <a:gd name="connsiteX172" fmla="*/ 2364010 w 3697415"/>
                  <a:gd name="connsiteY172" fmla="*/ 566833 h 608171"/>
                  <a:gd name="connsiteX173" fmla="*/ 2364010 w 3697415"/>
                  <a:gd name="connsiteY173" fmla="*/ 573310 h 608171"/>
                  <a:gd name="connsiteX174" fmla="*/ 3217831 w 3697415"/>
                  <a:gd name="connsiteY174" fmla="*/ 573310 h 608171"/>
                  <a:gd name="connsiteX175" fmla="*/ 3217831 w 3697415"/>
                  <a:gd name="connsiteY175" fmla="*/ 608171 h 608171"/>
                  <a:gd name="connsiteX176" fmla="*/ 3697415 w 3697415"/>
                  <a:gd name="connsiteY176" fmla="*/ 608171 h 608171"/>
                  <a:gd name="connsiteX0" fmla="*/ 0 w 3697415"/>
                  <a:gd name="connsiteY0" fmla="*/ 0 h 608171"/>
                  <a:gd name="connsiteX1" fmla="*/ 40005 w 3697415"/>
                  <a:gd name="connsiteY1" fmla="*/ 5906 h 608171"/>
                  <a:gd name="connsiteX2" fmla="*/ 40005 w 3697415"/>
                  <a:gd name="connsiteY2" fmla="*/ 12002 h 608171"/>
                  <a:gd name="connsiteX3" fmla="*/ 48387 w 3697415"/>
                  <a:gd name="connsiteY3" fmla="*/ 12002 h 608171"/>
                  <a:gd name="connsiteX4" fmla="*/ 48387 w 3697415"/>
                  <a:gd name="connsiteY4" fmla="*/ 18002 h 608171"/>
                  <a:gd name="connsiteX5" fmla="*/ 58960 w 3697415"/>
                  <a:gd name="connsiteY5" fmla="*/ 18002 h 608171"/>
                  <a:gd name="connsiteX6" fmla="*/ 58960 w 3697415"/>
                  <a:gd name="connsiteY6" fmla="*/ 24003 h 608171"/>
                  <a:gd name="connsiteX7" fmla="*/ 109442 w 3697415"/>
                  <a:gd name="connsiteY7" fmla="*/ 24003 h 608171"/>
                  <a:gd name="connsiteX8" fmla="*/ 109442 w 3697415"/>
                  <a:gd name="connsiteY8" fmla="*/ 30099 h 608171"/>
                  <a:gd name="connsiteX9" fmla="*/ 117824 w 3697415"/>
                  <a:gd name="connsiteY9" fmla="*/ 30099 h 608171"/>
                  <a:gd name="connsiteX10" fmla="*/ 117824 w 3697415"/>
                  <a:gd name="connsiteY10" fmla="*/ 42196 h 608171"/>
                  <a:gd name="connsiteX11" fmla="*/ 124111 w 3697415"/>
                  <a:gd name="connsiteY11" fmla="*/ 42196 h 608171"/>
                  <a:gd name="connsiteX12" fmla="*/ 124111 w 3697415"/>
                  <a:gd name="connsiteY12" fmla="*/ 48292 h 608171"/>
                  <a:gd name="connsiteX13" fmla="*/ 128302 w 3697415"/>
                  <a:gd name="connsiteY13" fmla="*/ 48292 h 608171"/>
                  <a:gd name="connsiteX14" fmla="*/ 128302 w 3697415"/>
                  <a:gd name="connsiteY14" fmla="*/ 54388 h 608171"/>
                  <a:gd name="connsiteX15" fmla="*/ 132493 w 3697415"/>
                  <a:gd name="connsiteY15" fmla="*/ 54388 h 608171"/>
                  <a:gd name="connsiteX16" fmla="*/ 132493 w 3697415"/>
                  <a:gd name="connsiteY16" fmla="*/ 60484 h 608171"/>
                  <a:gd name="connsiteX17" fmla="*/ 134588 w 3697415"/>
                  <a:gd name="connsiteY17" fmla="*/ 60484 h 608171"/>
                  <a:gd name="connsiteX18" fmla="*/ 134588 w 3697415"/>
                  <a:gd name="connsiteY18" fmla="*/ 66485 h 608171"/>
                  <a:gd name="connsiteX19" fmla="*/ 136779 w 3697415"/>
                  <a:gd name="connsiteY19" fmla="*/ 66485 h 608171"/>
                  <a:gd name="connsiteX20" fmla="*/ 136779 w 3697415"/>
                  <a:gd name="connsiteY20" fmla="*/ 72581 h 608171"/>
                  <a:gd name="connsiteX21" fmla="*/ 147256 w 3697415"/>
                  <a:gd name="connsiteY21" fmla="*/ 72581 h 608171"/>
                  <a:gd name="connsiteX22" fmla="*/ 147256 w 3697415"/>
                  <a:gd name="connsiteY22" fmla="*/ 78677 h 608171"/>
                  <a:gd name="connsiteX23" fmla="*/ 153543 w 3697415"/>
                  <a:gd name="connsiteY23" fmla="*/ 78677 h 608171"/>
                  <a:gd name="connsiteX24" fmla="*/ 153543 w 3697415"/>
                  <a:gd name="connsiteY24" fmla="*/ 84677 h 608171"/>
                  <a:gd name="connsiteX25" fmla="*/ 168307 w 3697415"/>
                  <a:gd name="connsiteY25" fmla="*/ 84677 h 608171"/>
                  <a:gd name="connsiteX26" fmla="*/ 168307 w 3697415"/>
                  <a:gd name="connsiteY26" fmla="*/ 90773 h 608171"/>
                  <a:gd name="connsiteX27" fmla="*/ 176689 w 3697415"/>
                  <a:gd name="connsiteY27" fmla="*/ 90773 h 608171"/>
                  <a:gd name="connsiteX28" fmla="*/ 176689 w 3697415"/>
                  <a:gd name="connsiteY28" fmla="*/ 96869 h 608171"/>
                  <a:gd name="connsiteX29" fmla="*/ 187262 w 3697415"/>
                  <a:gd name="connsiteY29" fmla="*/ 96869 h 608171"/>
                  <a:gd name="connsiteX30" fmla="*/ 187262 w 3697415"/>
                  <a:gd name="connsiteY30" fmla="*/ 102870 h 608171"/>
                  <a:gd name="connsiteX31" fmla="*/ 199835 w 3697415"/>
                  <a:gd name="connsiteY31" fmla="*/ 102870 h 608171"/>
                  <a:gd name="connsiteX32" fmla="*/ 199835 w 3697415"/>
                  <a:gd name="connsiteY32" fmla="*/ 108966 h 608171"/>
                  <a:gd name="connsiteX33" fmla="*/ 206121 w 3697415"/>
                  <a:gd name="connsiteY33" fmla="*/ 108966 h 608171"/>
                  <a:gd name="connsiteX34" fmla="*/ 206121 w 3697415"/>
                  <a:gd name="connsiteY34" fmla="*/ 121063 h 608171"/>
                  <a:gd name="connsiteX35" fmla="*/ 210312 w 3697415"/>
                  <a:gd name="connsiteY35" fmla="*/ 121063 h 608171"/>
                  <a:gd name="connsiteX36" fmla="*/ 210312 w 3697415"/>
                  <a:gd name="connsiteY36" fmla="*/ 127159 h 608171"/>
                  <a:gd name="connsiteX37" fmla="*/ 222980 w 3697415"/>
                  <a:gd name="connsiteY37" fmla="*/ 127159 h 608171"/>
                  <a:gd name="connsiteX38" fmla="*/ 222980 w 3697415"/>
                  <a:gd name="connsiteY38" fmla="*/ 133255 h 608171"/>
                  <a:gd name="connsiteX39" fmla="*/ 237649 w 3697415"/>
                  <a:gd name="connsiteY39" fmla="*/ 133255 h 608171"/>
                  <a:gd name="connsiteX40" fmla="*/ 237649 w 3697415"/>
                  <a:gd name="connsiteY40" fmla="*/ 139256 h 608171"/>
                  <a:gd name="connsiteX41" fmla="*/ 241935 w 3697415"/>
                  <a:gd name="connsiteY41" fmla="*/ 139256 h 608171"/>
                  <a:gd name="connsiteX42" fmla="*/ 241935 w 3697415"/>
                  <a:gd name="connsiteY42" fmla="*/ 145352 h 608171"/>
                  <a:gd name="connsiteX43" fmla="*/ 252412 w 3697415"/>
                  <a:gd name="connsiteY43" fmla="*/ 145352 h 608171"/>
                  <a:gd name="connsiteX44" fmla="*/ 252412 w 3697415"/>
                  <a:gd name="connsiteY44" fmla="*/ 151448 h 608171"/>
                  <a:gd name="connsiteX45" fmla="*/ 260795 w 3697415"/>
                  <a:gd name="connsiteY45" fmla="*/ 151448 h 608171"/>
                  <a:gd name="connsiteX46" fmla="*/ 260795 w 3697415"/>
                  <a:gd name="connsiteY46" fmla="*/ 157544 h 608171"/>
                  <a:gd name="connsiteX47" fmla="*/ 275558 w 3697415"/>
                  <a:gd name="connsiteY47" fmla="*/ 157544 h 608171"/>
                  <a:gd name="connsiteX48" fmla="*/ 275558 w 3697415"/>
                  <a:gd name="connsiteY48" fmla="*/ 163544 h 608171"/>
                  <a:gd name="connsiteX49" fmla="*/ 279749 w 3697415"/>
                  <a:gd name="connsiteY49" fmla="*/ 163544 h 608171"/>
                  <a:gd name="connsiteX50" fmla="*/ 279749 w 3697415"/>
                  <a:gd name="connsiteY50" fmla="*/ 169640 h 608171"/>
                  <a:gd name="connsiteX51" fmla="*/ 283940 w 3697415"/>
                  <a:gd name="connsiteY51" fmla="*/ 169640 h 608171"/>
                  <a:gd name="connsiteX52" fmla="*/ 283940 w 3697415"/>
                  <a:gd name="connsiteY52" fmla="*/ 175736 h 608171"/>
                  <a:gd name="connsiteX53" fmla="*/ 296609 w 3697415"/>
                  <a:gd name="connsiteY53" fmla="*/ 175736 h 608171"/>
                  <a:gd name="connsiteX54" fmla="*/ 296609 w 3697415"/>
                  <a:gd name="connsiteY54" fmla="*/ 181737 h 608171"/>
                  <a:gd name="connsiteX55" fmla="*/ 326041 w 3697415"/>
                  <a:gd name="connsiteY55" fmla="*/ 181737 h 608171"/>
                  <a:gd name="connsiteX56" fmla="*/ 326041 w 3697415"/>
                  <a:gd name="connsiteY56" fmla="*/ 187833 h 608171"/>
                  <a:gd name="connsiteX57" fmla="*/ 334423 w 3697415"/>
                  <a:gd name="connsiteY57" fmla="*/ 187833 h 608171"/>
                  <a:gd name="connsiteX58" fmla="*/ 334423 w 3697415"/>
                  <a:gd name="connsiteY58" fmla="*/ 193929 h 608171"/>
                  <a:gd name="connsiteX59" fmla="*/ 336518 w 3697415"/>
                  <a:gd name="connsiteY59" fmla="*/ 193929 h 608171"/>
                  <a:gd name="connsiteX60" fmla="*/ 336518 w 3697415"/>
                  <a:gd name="connsiteY60" fmla="*/ 199930 h 608171"/>
                  <a:gd name="connsiteX61" fmla="*/ 351282 w 3697415"/>
                  <a:gd name="connsiteY61" fmla="*/ 199930 h 608171"/>
                  <a:gd name="connsiteX62" fmla="*/ 351282 w 3697415"/>
                  <a:gd name="connsiteY62" fmla="*/ 212122 h 608171"/>
                  <a:gd name="connsiteX63" fmla="*/ 353378 w 3697415"/>
                  <a:gd name="connsiteY63" fmla="*/ 212122 h 608171"/>
                  <a:gd name="connsiteX64" fmla="*/ 353378 w 3697415"/>
                  <a:gd name="connsiteY64" fmla="*/ 218123 h 608171"/>
                  <a:gd name="connsiteX65" fmla="*/ 359664 w 3697415"/>
                  <a:gd name="connsiteY65" fmla="*/ 218123 h 608171"/>
                  <a:gd name="connsiteX66" fmla="*/ 359664 w 3697415"/>
                  <a:gd name="connsiteY66" fmla="*/ 224219 h 608171"/>
                  <a:gd name="connsiteX67" fmla="*/ 363855 w 3697415"/>
                  <a:gd name="connsiteY67" fmla="*/ 224219 h 608171"/>
                  <a:gd name="connsiteX68" fmla="*/ 363855 w 3697415"/>
                  <a:gd name="connsiteY68" fmla="*/ 230315 h 608171"/>
                  <a:gd name="connsiteX69" fmla="*/ 380714 w 3697415"/>
                  <a:gd name="connsiteY69" fmla="*/ 230315 h 608171"/>
                  <a:gd name="connsiteX70" fmla="*/ 380714 w 3697415"/>
                  <a:gd name="connsiteY70" fmla="*/ 242411 h 608171"/>
                  <a:gd name="connsiteX71" fmla="*/ 384905 w 3697415"/>
                  <a:gd name="connsiteY71" fmla="*/ 242411 h 608171"/>
                  <a:gd name="connsiteX72" fmla="*/ 384905 w 3697415"/>
                  <a:gd name="connsiteY72" fmla="*/ 248507 h 608171"/>
                  <a:gd name="connsiteX73" fmla="*/ 408051 w 3697415"/>
                  <a:gd name="connsiteY73" fmla="*/ 248507 h 608171"/>
                  <a:gd name="connsiteX74" fmla="*/ 408051 w 3697415"/>
                  <a:gd name="connsiteY74" fmla="*/ 254603 h 608171"/>
                  <a:gd name="connsiteX75" fmla="*/ 412242 w 3697415"/>
                  <a:gd name="connsiteY75" fmla="*/ 254603 h 608171"/>
                  <a:gd name="connsiteX76" fmla="*/ 412242 w 3697415"/>
                  <a:gd name="connsiteY76" fmla="*/ 260604 h 608171"/>
                  <a:gd name="connsiteX77" fmla="*/ 418529 w 3697415"/>
                  <a:gd name="connsiteY77" fmla="*/ 260604 h 608171"/>
                  <a:gd name="connsiteX78" fmla="*/ 418529 w 3697415"/>
                  <a:gd name="connsiteY78" fmla="*/ 272796 h 608171"/>
                  <a:gd name="connsiteX79" fmla="*/ 437483 w 3697415"/>
                  <a:gd name="connsiteY79" fmla="*/ 272796 h 608171"/>
                  <a:gd name="connsiteX80" fmla="*/ 437483 w 3697415"/>
                  <a:gd name="connsiteY80" fmla="*/ 278797 h 608171"/>
                  <a:gd name="connsiteX81" fmla="*/ 445865 w 3697415"/>
                  <a:gd name="connsiteY81" fmla="*/ 278797 h 608171"/>
                  <a:gd name="connsiteX82" fmla="*/ 445865 w 3697415"/>
                  <a:gd name="connsiteY82" fmla="*/ 284893 h 608171"/>
                  <a:gd name="connsiteX83" fmla="*/ 458534 w 3697415"/>
                  <a:gd name="connsiteY83" fmla="*/ 284893 h 608171"/>
                  <a:gd name="connsiteX84" fmla="*/ 458534 w 3697415"/>
                  <a:gd name="connsiteY84" fmla="*/ 290989 h 608171"/>
                  <a:gd name="connsiteX85" fmla="*/ 475393 w 3697415"/>
                  <a:gd name="connsiteY85" fmla="*/ 290989 h 608171"/>
                  <a:gd name="connsiteX86" fmla="*/ 475393 w 3697415"/>
                  <a:gd name="connsiteY86" fmla="*/ 296990 h 608171"/>
                  <a:gd name="connsiteX87" fmla="*/ 502730 w 3697415"/>
                  <a:gd name="connsiteY87" fmla="*/ 296990 h 608171"/>
                  <a:gd name="connsiteX88" fmla="*/ 502730 w 3697415"/>
                  <a:gd name="connsiteY88" fmla="*/ 303086 h 608171"/>
                  <a:gd name="connsiteX89" fmla="*/ 504825 w 3697415"/>
                  <a:gd name="connsiteY89" fmla="*/ 303086 h 608171"/>
                  <a:gd name="connsiteX90" fmla="*/ 504825 w 3697415"/>
                  <a:gd name="connsiteY90" fmla="*/ 309182 h 608171"/>
                  <a:gd name="connsiteX91" fmla="*/ 515302 w 3697415"/>
                  <a:gd name="connsiteY91" fmla="*/ 309182 h 608171"/>
                  <a:gd name="connsiteX92" fmla="*/ 515302 w 3697415"/>
                  <a:gd name="connsiteY92" fmla="*/ 315182 h 608171"/>
                  <a:gd name="connsiteX93" fmla="*/ 521589 w 3697415"/>
                  <a:gd name="connsiteY93" fmla="*/ 315182 h 608171"/>
                  <a:gd name="connsiteX94" fmla="*/ 521589 w 3697415"/>
                  <a:gd name="connsiteY94" fmla="*/ 327374 h 608171"/>
                  <a:gd name="connsiteX95" fmla="*/ 530066 w 3697415"/>
                  <a:gd name="connsiteY95" fmla="*/ 327374 h 608171"/>
                  <a:gd name="connsiteX96" fmla="*/ 530066 w 3697415"/>
                  <a:gd name="connsiteY96" fmla="*/ 333375 h 608171"/>
                  <a:gd name="connsiteX97" fmla="*/ 536353 w 3697415"/>
                  <a:gd name="connsiteY97" fmla="*/ 333375 h 608171"/>
                  <a:gd name="connsiteX98" fmla="*/ 536353 w 3697415"/>
                  <a:gd name="connsiteY98" fmla="*/ 345567 h 608171"/>
                  <a:gd name="connsiteX99" fmla="*/ 538448 w 3697415"/>
                  <a:gd name="connsiteY99" fmla="*/ 345567 h 608171"/>
                  <a:gd name="connsiteX100" fmla="*/ 538448 w 3697415"/>
                  <a:gd name="connsiteY100" fmla="*/ 351663 h 608171"/>
                  <a:gd name="connsiteX101" fmla="*/ 551021 w 3697415"/>
                  <a:gd name="connsiteY101" fmla="*/ 351663 h 608171"/>
                  <a:gd name="connsiteX102" fmla="*/ 551021 w 3697415"/>
                  <a:gd name="connsiteY102" fmla="*/ 357664 h 608171"/>
                  <a:gd name="connsiteX103" fmla="*/ 574167 w 3697415"/>
                  <a:gd name="connsiteY103" fmla="*/ 357664 h 608171"/>
                  <a:gd name="connsiteX104" fmla="*/ 574167 w 3697415"/>
                  <a:gd name="connsiteY104" fmla="*/ 363760 h 608171"/>
                  <a:gd name="connsiteX105" fmla="*/ 580549 w 3697415"/>
                  <a:gd name="connsiteY105" fmla="*/ 363760 h 608171"/>
                  <a:gd name="connsiteX106" fmla="*/ 580549 w 3697415"/>
                  <a:gd name="connsiteY106" fmla="*/ 369856 h 608171"/>
                  <a:gd name="connsiteX107" fmla="*/ 588931 w 3697415"/>
                  <a:gd name="connsiteY107" fmla="*/ 369856 h 608171"/>
                  <a:gd name="connsiteX108" fmla="*/ 588931 w 3697415"/>
                  <a:gd name="connsiteY108" fmla="*/ 375857 h 608171"/>
                  <a:gd name="connsiteX109" fmla="*/ 597313 w 3697415"/>
                  <a:gd name="connsiteY109" fmla="*/ 375857 h 608171"/>
                  <a:gd name="connsiteX110" fmla="*/ 597313 w 3697415"/>
                  <a:gd name="connsiteY110" fmla="*/ 381953 h 608171"/>
                  <a:gd name="connsiteX111" fmla="*/ 601504 w 3697415"/>
                  <a:gd name="connsiteY111" fmla="*/ 381953 h 608171"/>
                  <a:gd name="connsiteX112" fmla="*/ 601504 w 3697415"/>
                  <a:gd name="connsiteY112" fmla="*/ 388049 h 608171"/>
                  <a:gd name="connsiteX113" fmla="*/ 675132 w 3697415"/>
                  <a:gd name="connsiteY113" fmla="*/ 388049 h 608171"/>
                  <a:gd name="connsiteX114" fmla="*/ 675132 w 3697415"/>
                  <a:gd name="connsiteY114" fmla="*/ 394049 h 608171"/>
                  <a:gd name="connsiteX115" fmla="*/ 696182 w 3697415"/>
                  <a:gd name="connsiteY115" fmla="*/ 394049 h 608171"/>
                  <a:gd name="connsiteX116" fmla="*/ 696182 w 3697415"/>
                  <a:gd name="connsiteY116" fmla="*/ 400145 h 608171"/>
                  <a:gd name="connsiteX117" fmla="*/ 702469 w 3697415"/>
                  <a:gd name="connsiteY117" fmla="*/ 400145 h 608171"/>
                  <a:gd name="connsiteX118" fmla="*/ 702469 w 3697415"/>
                  <a:gd name="connsiteY118" fmla="*/ 406241 h 608171"/>
                  <a:gd name="connsiteX119" fmla="*/ 744569 w 3697415"/>
                  <a:gd name="connsiteY119" fmla="*/ 406241 h 608171"/>
                  <a:gd name="connsiteX120" fmla="*/ 744569 w 3697415"/>
                  <a:gd name="connsiteY120" fmla="*/ 412242 h 608171"/>
                  <a:gd name="connsiteX121" fmla="*/ 759238 w 3697415"/>
                  <a:gd name="connsiteY121" fmla="*/ 412242 h 608171"/>
                  <a:gd name="connsiteX122" fmla="*/ 759238 w 3697415"/>
                  <a:gd name="connsiteY122" fmla="*/ 418338 h 608171"/>
                  <a:gd name="connsiteX123" fmla="*/ 788765 w 3697415"/>
                  <a:gd name="connsiteY123" fmla="*/ 418338 h 608171"/>
                  <a:gd name="connsiteX124" fmla="*/ 788765 w 3697415"/>
                  <a:gd name="connsiteY124" fmla="*/ 424434 h 608171"/>
                  <a:gd name="connsiteX125" fmla="*/ 790861 w 3697415"/>
                  <a:gd name="connsiteY125" fmla="*/ 424434 h 608171"/>
                  <a:gd name="connsiteX126" fmla="*/ 790861 w 3697415"/>
                  <a:gd name="connsiteY126" fmla="*/ 430435 h 608171"/>
                  <a:gd name="connsiteX127" fmla="*/ 813911 w 3697415"/>
                  <a:gd name="connsiteY127" fmla="*/ 430435 h 608171"/>
                  <a:gd name="connsiteX128" fmla="*/ 813911 w 3697415"/>
                  <a:gd name="connsiteY128" fmla="*/ 436531 h 608171"/>
                  <a:gd name="connsiteX129" fmla="*/ 826580 w 3697415"/>
                  <a:gd name="connsiteY129" fmla="*/ 436531 h 608171"/>
                  <a:gd name="connsiteX130" fmla="*/ 826580 w 3697415"/>
                  <a:gd name="connsiteY130" fmla="*/ 442627 h 608171"/>
                  <a:gd name="connsiteX131" fmla="*/ 862298 w 3697415"/>
                  <a:gd name="connsiteY131" fmla="*/ 442627 h 608171"/>
                  <a:gd name="connsiteX132" fmla="*/ 862298 w 3697415"/>
                  <a:gd name="connsiteY132" fmla="*/ 448723 h 608171"/>
                  <a:gd name="connsiteX133" fmla="*/ 978027 w 3697415"/>
                  <a:gd name="connsiteY133" fmla="*/ 448723 h 608171"/>
                  <a:gd name="connsiteX134" fmla="*/ 978027 w 3697415"/>
                  <a:gd name="connsiteY134" fmla="*/ 454724 h 608171"/>
                  <a:gd name="connsiteX135" fmla="*/ 1015841 w 3697415"/>
                  <a:gd name="connsiteY135" fmla="*/ 454724 h 608171"/>
                  <a:gd name="connsiteX136" fmla="*/ 1015841 w 3697415"/>
                  <a:gd name="connsiteY136" fmla="*/ 460915 h 608171"/>
                  <a:gd name="connsiteX137" fmla="*/ 1068419 w 3697415"/>
                  <a:gd name="connsiteY137" fmla="*/ 460915 h 608171"/>
                  <a:gd name="connsiteX138" fmla="*/ 1068419 w 3697415"/>
                  <a:gd name="connsiteY138" fmla="*/ 467011 h 608171"/>
                  <a:gd name="connsiteX139" fmla="*/ 1087374 w 3697415"/>
                  <a:gd name="connsiteY139" fmla="*/ 467011 h 608171"/>
                  <a:gd name="connsiteX140" fmla="*/ 1087374 w 3697415"/>
                  <a:gd name="connsiteY140" fmla="*/ 473107 h 608171"/>
                  <a:gd name="connsiteX141" fmla="*/ 1097852 w 3697415"/>
                  <a:gd name="connsiteY141" fmla="*/ 473107 h 608171"/>
                  <a:gd name="connsiteX142" fmla="*/ 1097852 w 3697415"/>
                  <a:gd name="connsiteY142" fmla="*/ 479298 h 608171"/>
                  <a:gd name="connsiteX143" fmla="*/ 1131570 w 3697415"/>
                  <a:gd name="connsiteY143" fmla="*/ 479298 h 608171"/>
                  <a:gd name="connsiteX144" fmla="*/ 1131570 w 3697415"/>
                  <a:gd name="connsiteY144" fmla="*/ 485394 h 608171"/>
                  <a:gd name="connsiteX145" fmla="*/ 1137857 w 3697415"/>
                  <a:gd name="connsiteY145" fmla="*/ 485394 h 608171"/>
                  <a:gd name="connsiteX146" fmla="*/ 1137857 w 3697415"/>
                  <a:gd name="connsiteY146" fmla="*/ 491490 h 608171"/>
                  <a:gd name="connsiteX147" fmla="*/ 1152525 w 3697415"/>
                  <a:gd name="connsiteY147" fmla="*/ 491490 h 608171"/>
                  <a:gd name="connsiteX148" fmla="*/ 1152525 w 3697415"/>
                  <a:gd name="connsiteY148" fmla="*/ 497586 h 608171"/>
                  <a:gd name="connsiteX149" fmla="*/ 1165193 w 3697415"/>
                  <a:gd name="connsiteY149" fmla="*/ 497586 h 608171"/>
                  <a:gd name="connsiteX150" fmla="*/ 1165193 w 3697415"/>
                  <a:gd name="connsiteY150" fmla="*/ 503777 h 608171"/>
                  <a:gd name="connsiteX151" fmla="*/ 1190435 w 3697415"/>
                  <a:gd name="connsiteY151" fmla="*/ 503777 h 608171"/>
                  <a:gd name="connsiteX152" fmla="*/ 1190435 w 3697415"/>
                  <a:gd name="connsiteY152" fmla="*/ 509873 h 608171"/>
                  <a:gd name="connsiteX153" fmla="*/ 1419701 w 3697415"/>
                  <a:gd name="connsiteY153" fmla="*/ 509873 h 608171"/>
                  <a:gd name="connsiteX154" fmla="*/ 1419701 w 3697415"/>
                  <a:gd name="connsiteY154" fmla="*/ 516065 h 608171"/>
                  <a:gd name="connsiteX155" fmla="*/ 1533239 w 3697415"/>
                  <a:gd name="connsiteY155" fmla="*/ 516065 h 608171"/>
                  <a:gd name="connsiteX156" fmla="*/ 1533239 w 3697415"/>
                  <a:gd name="connsiteY156" fmla="*/ 522256 h 608171"/>
                  <a:gd name="connsiteX157" fmla="*/ 1802416 w 3697415"/>
                  <a:gd name="connsiteY157" fmla="*/ 522256 h 608171"/>
                  <a:gd name="connsiteX158" fmla="*/ 1802416 w 3697415"/>
                  <a:gd name="connsiteY158" fmla="*/ 528542 h 608171"/>
                  <a:gd name="connsiteX159" fmla="*/ 1876044 w 3697415"/>
                  <a:gd name="connsiteY159" fmla="*/ 528542 h 608171"/>
                  <a:gd name="connsiteX160" fmla="*/ 1876044 w 3697415"/>
                  <a:gd name="connsiteY160" fmla="*/ 534829 h 608171"/>
                  <a:gd name="connsiteX161" fmla="*/ 1955959 w 3697415"/>
                  <a:gd name="connsiteY161" fmla="*/ 534829 h 608171"/>
                  <a:gd name="connsiteX162" fmla="*/ 1955959 w 3697415"/>
                  <a:gd name="connsiteY162" fmla="*/ 541115 h 608171"/>
                  <a:gd name="connsiteX163" fmla="*/ 2117884 w 3697415"/>
                  <a:gd name="connsiteY163" fmla="*/ 541115 h 608171"/>
                  <a:gd name="connsiteX164" fmla="*/ 2117884 w 3697415"/>
                  <a:gd name="connsiteY164" fmla="*/ 547592 h 608171"/>
                  <a:gd name="connsiteX165" fmla="*/ 2134743 w 3697415"/>
                  <a:gd name="connsiteY165" fmla="*/ 547592 h 608171"/>
                  <a:gd name="connsiteX166" fmla="*/ 2134743 w 3697415"/>
                  <a:gd name="connsiteY166" fmla="*/ 553974 h 608171"/>
                  <a:gd name="connsiteX167" fmla="*/ 2252567 w 3697415"/>
                  <a:gd name="connsiteY167" fmla="*/ 553974 h 608171"/>
                  <a:gd name="connsiteX168" fmla="*/ 2252567 w 3697415"/>
                  <a:gd name="connsiteY168" fmla="*/ 560451 h 608171"/>
                  <a:gd name="connsiteX169" fmla="*/ 2345055 w 3697415"/>
                  <a:gd name="connsiteY169" fmla="*/ 560451 h 608171"/>
                  <a:gd name="connsiteX170" fmla="*/ 2345055 w 3697415"/>
                  <a:gd name="connsiteY170" fmla="*/ 566833 h 608171"/>
                  <a:gd name="connsiteX171" fmla="*/ 2364010 w 3697415"/>
                  <a:gd name="connsiteY171" fmla="*/ 566833 h 608171"/>
                  <a:gd name="connsiteX172" fmla="*/ 2364010 w 3697415"/>
                  <a:gd name="connsiteY172" fmla="*/ 573310 h 608171"/>
                  <a:gd name="connsiteX173" fmla="*/ 3217831 w 3697415"/>
                  <a:gd name="connsiteY173" fmla="*/ 573310 h 608171"/>
                  <a:gd name="connsiteX174" fmla="*/ 3217831 w 3697415"/>
                  <a:gd name="connsiteY174" fmla="*/ 608171 h 608171"/>
                  <a:gd name="connsiteX175" fmla="*/ 3697415 w 3697415"/>
                  <a:gd name="connsiteY175" fmla="*/ 608171 h 608171"/>
                  <a:gd name="connsiteX0" fmla="*/ 0 w 3657410"/>
                  <a:gd name="connsiteY0" fmla="*/ 0 h 602265"/>
                  <a:gd name="connsiteX1" fmla="*/ 0 w 3657410"/>
                  <a:gd name="connsiteY1" fmla="*/ 6096 h 602265"/>
                  <a:gd name="connsiteX2" fmla="*/ 8382 w 3657410"/>
                  <a:gd name="connsiteY2" fmla="*/ 6096 h 602265"/>
                  <a:gd name="connsiteX3" fmla="*/ 8382 w 3657410"/>
                  <a:gd name="connsiteY3" fmla="*/ 12096 h 602265"/>
                  <a:gd name="connsiteX4" fmla="*/ 18955 w 3657410"/>
                  <a:gd name="connsiteY4" fmla="*/ 12096 h 602265"/>
                  <a:gd name="connsiteX5" fmla="*/ 18955 w 3657410"/>
                  <a:gd name="connsiteY5" fmla="*/ 18097 h 602265"/>
                  <a:gd name="connsiteX6" fmla="*/ 69437 w 3657410"/>
                  <a:gd name="connsiteY6" fmla="*/ 18097 h 602265"/>
                  <a:gd name="connsiteX7" fmla="*/ 69437 w 3657410"/>
                  <a:gd name="connsiteY7" fmla="*/ 24193 h 602265"/>
                  <a:gd name="connsiteX8" fmla="*/ 77819 w 3657410"/>
                  <a:gd name="connsiteY8" fmla="*/ 24193 h 602265"/>
                  <a:gd name="connsiteX9" fmla="*/ 77819 w 3657410"/>
                  <a:gd name="connsiteY9" fmla="*/ 36290 h 602265"/>
                  <a:gd name="connsiteX10" fmla="*/ 84106 w 3657410"/>
                  <a:gd name="connsiteY10" fmla="*/ 36290 h 602265"/>
                  <a:gd name="connsiteX11" fmla="*/ 84106 w 3657410"/>
                  <a:gd name="connsiteY11" fmla="*/ 42386 h 602265"/>
                  <a:gd name="connsiteX12" fmla="*/ 88297 w 3657410"/>
                  <a:gd name="connsiteY12" fmla="*/ 42386 h 602265"/>
                  <a:gd name="connsiteX13" fmla="*/ 88297 w 3657410"/>
                  <a:gd name="connsiteY13" fmla="*/ 48482 h 602265"/>
                  <a:gd name="connsiteX14" fmla="*/ 92488 w 3657410"/>
                  <a:gd name="connsiteY14" fmla="*/ 48482 h 602265"/>
                  <a:gd name="connsiteX15" fmla="*/ 92488 w 3657410"/>
                  <a:gd name="connsiteY15" fmla="*/ 54578 h 602265"/>
                  <a:gd name="connsiteX16" fmla="*/ 94583 w 3657410"/>
                  <a:gd name="connsiteY16" fmla="*/ 54578 h 602265"/>
                  <a:gd name="connsiteX17" fmla="*/ 94583 w 3657410"/>
                  <a:gd name="connsiteY17" fmla="*/ 60579 h 602265"/>
                  <a:gd name="connsiteX18" fmla="*/ 96774 w 3657410"/>
                  <a:gd name="connsiteY18" fmla="*/ 60579 h 602265"/>
                  <a:gd name="connsiteX19" fmla="*/ 96774 w 3657410"/>
                  <a:gd name="connsiteY19" fmla="*/ 66675 h 602265"/>
                  <a:gd name="connsiteX20" fmla="*/ 107251 w 3657410"/>
                  <a:gd name="connsiteY20" fmla="*/ 66675 h 602265"/>
                  <a:gd name="connsiteX21" fmla="*/ 107251 w 3657410"/>
                  <a:gd name="connsiteY21" fmla="*/ 72771 h 602265"/>
                  <a:gd name="connsiteX22" fmla="*/ 113538 w 3657410"/>
                  <a:gd name="connsiteY22" fmla="*/ 72771 h 602265"/>
                  <a:gd name="connsiteX23" fmla="*/ 113538 w 3657410"/>
                  <a:gd name="connsiteY23" fmla="*/ 78771 h 602265"/>
                  <a:gd name="connsiteX24" fmla="*/ 128302 w 3657410"/>
                  <a:gd name="connsiteY24" fmla="*/ 78771 h 602265"/>
                  <a:gd name="connsiteX25" fmla="*/ 128302 w 3657410"/>
                  <a:gd name="connsiteY25" fmla="*/ 84867 h 602265"/>
                  <a:gd name="connsiteX26" fmla="*/ 136684 w 3657410"/>
                  <a:gd name="connsiteY26" fmla="*/ 84867 h 602265"/>
                  <a:gd name="connsiteX27" fmla="*/ 136684 w 3657410"/>
                  <a:gd name="connsiteY27" fmla="*/ 90963 h 602265"/>
                  <a:gd name="connsiteX28" fmla="*/ 147257 w 3657410"/>
                  <a:gd name="connsiteY28" fmla="*/ 90963 h 602265"/>
                  <a:gd name="connsiteX29" fmla="*/ 147257 w 3657410"/>
                  <a:gd name="connsiteY29" fmla="*/ 96964 h 602265"/>
                  <a:gd name="connsiteX30" fmla="*/ 159830 w 3657410"/>
                  <a:gd name="connsiteY30" fmla="*/ 96964 h 602265"/>
                  <a:gd name="connsiteX31" fmla="*/ 159830 w 3657410"/>
                  <a:gd name="connsiteY31" fmla="*/ 103060 h 602265"/>
                  <a:gd name="connsiteX32" fmla="*/ 166116 w 3657410"/>
                  <a:gd name="connsiteY32" fmla="*/ 103060 h 602265"/>
                  <a:gd name="connsiteX33" fmla="*/ 166116 w 3657410"/>
                  <a:gd name="connsiteY33" fmla="*/ 115157 h 602265"/>
                  <a:gd name="connsiteX34" fmla="*/ 170307 w 3657410"/>
                  <a:gd name="connsiteY34" fmla="*/ 115157 h 602265"/>
                  <a:gd name="connsiteX35" fmla="*/ 170307 w 3657410"/>
                  <a:gd name="connsiteY35" fmla="*/ 121253 h 602265"/>
                  <a:gd name="connsiteX36" fmla="*/ 182975 w 3657410"/>
                  <a:gd name="connsiteY36" fmla="*/ 121253 h 602265"/>
                  <a:gd name="connsiteX37" fmla="*/ 182975 w 3657410"/>
                  <a:gd name="connsiteY37" fmla="*/ 127349 h 602265"/>
                  <a:gd name="connsiteX38" fmla="*/ 197644 w 3657410"/>
                  <a:gd name="connsiteY38" fmla="*/ 127349 h 602265"/>
                  <a:gd name="connsiteX39" fmla="*/ 197644 w 3657410"/>
                  <a:gd name="connsiteY39" fmla="*/ 133350 h 602265"/>
                  <a:gd name="connsiteX40" fmla="*/ 201930 w 3657410"/>
                  <a:gd name="connsiteY40" fmla="*/ 133350 h 602265"/>
                  <a:gd name="connsiteX41" fmla="*/ 201930 w 3657410"/>
                  <a:gd name="connsiteY41" fmla="*/ 139446 h 602265"/>
                  <a:gd name="connsiteX42" fmla="*/ 212407 w 3657410"/>
                  <a:gd name="connsiteY42" fmla="*/ 139446 h 602265"/>
                  <a:gd name="connsiteX43" fmla="*/ 212407 w 3657410"/>
                  <a:gd name="connsiteY43" fmla="*/ 145542 h 602265"/>
                  <a:gd name="connsiteX44" fmla="*/ 220790 w 3657410"/>
                  <a:gd name="connsiteY44" fmla="*/ 145542 h 602265"/>
                  <a:gd name="connsiteX45" fmla="*/ 220790 w 3657410"/>
                  <a:gd name="connsiteY45" fmla="*/ 151638 h 602265"/>
                  <a:gd name="connsiteX46" fmla="*/ 235553 w 3657410"/>
                  <a:gd name="connsiteY46" fmla="*/ 151638 h 602265"/>
                  <a:gd name="connsiteX47" fmla="*/ 235553 w 3657410"/>
                  <a:gd name="connsiteY47" fmla="*/ 157638 h 602265"/>
                  <a:gd name="connsiteX48" fmla="*/ 239744 w 3657410"/>
                  <a:gd name="connsiteY48" fmla="*/ 157638 h 602265"/>
                  <a:gd name="connsiteX49" fmla="*/ 239744 w 3657410"/>
                  <a:gd name="connsiteY49" fmla="*/ 163734 h 602265"/>
                  <a:gd name="connsiteX50" fmla="*/ 243935 w 3657410"/>
                  <a:gd name="connsiteY50" fmla="*/ 163734 h 602265"/>
                  <a:gd name="connsiteX51" fmla="*/ 243935 w 3657410"/>
                  <a:gd name="connsiteY51" fmla="*/ 169830 h 602265"/>
                  <a:gd name="connsiteX52" fmla="*/ 256604 w 3657410"/>
                  <a:gd name="connsiteY52" fmla="*/ 169830 h 602265"/>
                  <a:gd name="connsiteX53" fmla="*/ 256604 w 3657410"/>
                  <a:gd name="connsiteY53" fmla="*/ 175831 h 602265"/>
                  <a:gd name="connsiteX54" fmla="*/ 286036 w 3657410"/>
                  <a:gd name="connsiteY54" fmla="*/ 175831 h 602265"/>
                  <a:gd name="connsiteX55" fmla="*/ 286036 w 3657410"/>
                  <a:gd name="connsiteY55" fmla="*/ 181927 h 602265"/>
                  <a:gd name="connsiteX56" fmla="*/ 294418 w 3657410"/>
                  <a:gd name="connsiteY56" fmla="*/ 181927 h 602265"/>
                  <a:gd name="connsiteX57" fmla="*/ 294418 w 3657410"/>
                  <a:gd name="connsiteY57" fmla="*/ 188023 h 602265"/>
                  <a:gd name="connsiteX58" fmla="*/ 296513 w 3657410"/>
                  <a:gd name="connsiteY58" fmla="*/ 188023 h 602265"/>
                  <a:gd name="connsiteX59" fmla="*/ 296513 w 3657410"/>
                  <a:gd name="connsiteY59" fmla="*/ 194024 h 602265"/>
                  <a:gd name="connsiteX60" fmla="*/ 311277 w 3657410"/>
                  <a:gd name="connsiteY60" fmla="*/ 194024 h 602265"/>
                  <a:gd name="connsiteX61" fmla="*/ 311277 w 3657410"/>
                  <a:gd name="connsiteY61" fmla="*/ 206216 h 602265"/>
                  <a:gd name="connsiteX62" fmla="*/ 313373 w 3657410"/>
                  <a:gd name="connsiteY62" fmla="*/ 206216 h 602265"/>
                  <a:gd name="connsiteX63" fmla="*/ 313373 w 3657410"/>
                  <a:gd name="connsiteY63" fmla="*/ 212217 h 602265"/>
                  <a:gd name="connsiteX64" fmla="*/ 319659 w 3657410"/>
                  <a:gd name="connsiteY64" fmla="*/ 212217 h 602265"/>
                  <a:gd name="connsiteX65" fmla="*/ 319659 w 3657410"/>
                  <a:gd name="connsiteY65" fmla="*/ 218313 h 602265"/>
                  <a:gd name="connsiteX66" fmla="*/ 323850 w 3657410"/>
                  <a:gd name="connsiteY66" fmla="*/ 218313 h 602265"/>
                  <a:gd name="connsiteX67" fmla="*/ 323850 w 3657410"/>
                  <a:gd name="connsiteY67" fmla="*/ 224409 h 602265"/>
                  <a:gd name="connsiteX68" fmla="*/ 340709 w 3657410"/>
                  <a:gd name="connsiteY68" fmla="*/ 224409 h 602265"/>
                  <a:gd name="connsiteX69" fmla="*/ 340709 w 3657410"/>
                  <a:gd name="connsiteY69" fmla="*/ 236505 h 602265"/>
                  <a:gd name="connsiteX70" fmla="*/ 344900 w 3657410"/>
                  <a:gd name="connsiteY70" fmla="*/ 236505 h 602265"/>
                  <a:gd name="connsiteX71" fmla="*/ 344900 w 3657410"/>
                  <a:gd name="connsiteY71" fmla="*/ 242601 h 602265"/>
                  <a:gd name="connsiteX72" fmla="*/ 368046 w 3657410"/>
                  <a:gd name="connsiteY72" fmla="*/ 242601 h 602265"/>
                  <a:gd name="connsiteX73" fmla="*/ 368046 w 3657410"/>
                  <a:gd name="connsiteY73" fmla="*/ 248697 h 602265"/>
                  <a:gd name="connsiteX74" fmla="*/ 372237 w 3657410"/>
                  <a:gd name="connsiteY74" fmla="*/ 248697 h 602265"/>
                  <a:gd name="connsiteX75" fmla="*/ 372237 w 3657410"/>
                  <a:gd name="connsiteY75" fmla="*/ 254698 h 602265"/>
                  <a:gd name="connsiteX76" fmla="*/ 378524 w 3657410"/>
                  <a:gd name="connsiteY76" fmla="*/ 254698 h 602265"/>
                  <a:gd name="connsiteX77" fmla="*/ 378524 w 3657410"/>
                  <a:gd name="connsiteY77" fmla="*/ 266890 h 602265"/>
                  <a:gd name="connsiteX78" fmla="*/ 397478 w 3657410"/>
                  <a:gd name="connsiteY78" fmla="*/ 266890 h 602265"/>
                  <a:gd name="connsiteX79" fmla="*/ 397478 w 3657410"/>
                  <a:gd name="connsiteY79" fmla="*/ 272891 h 602265"/>
                  <a:gd name="connsiteX80" fmla="*/ 405860 w 3657410"/>
                  <a:gd name="connsiteY80" fmla="*/ 272891 h 602265"/>
                  <a:gd name="connsiteX81" fmla="*/ 405860 w 3657410"/>
                  <a:gd name="connsiteY81" fmla="*/ 278987 h 602265"/>
                  <a:gd name="connsiteX82" fmla="*/ 418529 w 3657410"/>
                  <a:gd name="connsiteY82" fmla="*/ 278987 h 602265"/>
                  <a:gd name="connsiteX83" fmla="*/ 418529 w 3657410"/>
                  <a:gd name="connsiteY83" fmla="*/ 285083 h 602265"/>
                  <a:gd name="connsiteX84" fmla="*/ 435388 w 3657410"/>
                  <a:gd name="connsiteY84" fmla="*/ 285083 h 602265"/>
                  <a:gd name="connsiteX85" fmla="*/ 435388 w 3657410"/>
                  <a:gd name="connsiteY85" fmla="*/ 291084 h 602265"/>
                  <a:gd name="connsiteX86" fmla="*/ 462725 w 3657410"/>
                  <a:gd name="connsiteY86" fmla="*/ 291084 h 602265"/>
                  <a:gd name="connsiteX87" fmla="*/ 462725 w 3657410"/>
                  <a:gd name="connsiteY87" fmla="*/ 297180 h 602265"/>
                  <a:gd name="connsiteX88" fmla="*/ 464820 w 3657410"/>
                  <a:gd name="connsiteY88" fmla="*/ 297180 h 602265"/>
                  <a:gd name="connsiteX89" fmla="*/ 464820 w 3657410"/>
                  <a:gd name="connsiteY89" fmla="*/ 303276 h 602265"/>
                  <a:gd name="connsiteX90" fmla="*/ 475297 w 3657410"/>
                  <a:gd name="connsiteY90" fmla="*/ 303276 h 602265"/>
                  <a:gd name="connsiteX91" fmla="*/ 475297 w 3657410"/>
                  <a:gd name="connsiteY91" fmla="*/ 309276 h 602265"/>
                  <a:gd name="connsiteX92" fmla="*/ 481584 w 3657410"/>
                  <a:gd name="connsiteY92" fmla="*/ 309276 h 602265"/>
                  <a:gd name="connsiteX93" fmla="*/ 481584 w 3657410"/>
                  <a:gd name="connsiteY93" fmla="*/ 321468 h 602265"/>
                  <a:gd name="connsiteX94" fmla="*/ 490061 w 3657410"/>
                  <a:gd name="connsiteY94" fmla="*/ 321468 h 602265"/>
                  <a:gd name="connsiteX95" fmla="*/ 490061 w 3657410"/>
                  <a:gd name="connsiteY95" fmla="*/ 327469 h 602265"/>
                  <a:gd name="connsiteX96" fmla="*/ 496348 w 3657410"/>
                  <a:gd name="connsiteY96" fmla="*/ 327469 h 602265"/>
                  <a:gd name="connsiteX97" fmla="*/ 496348 w 3657410"/>
                  <a:gd name="connsiteY97" fmla="*/ 339661 h 602265"/>
                  <a:gd name="connsiteX98" fmla="*/ 498443 w 3657410"/>
                  <a:gd name="connsiteY98" fmla="*/ 339661 h 602265"/>
                  <a:gd name="connsiteX99" fmla="*/ 498443 w 3657410"/>
                  <a:gd name="connsiteY99" fmla="*/ 345757 h 602265"/>
                  <a:gd name="connsiteX100" fmla="*/ 511016 w 3657410"/>
                  <a:gd name="connsiteY100" fmla="*/ 345757 h 602265"/>
                  <a:gd name="connsiteX101" fmla="*/ 511016 w 3657410"/>
                  <a:gd name="connsiteY101" fmla="*/ 351758 h 602265"/>
                  <a:gd name="connsiteX102" fmla="*/ 534162 w 3657410"/>
                  <a:gd name="connsiteY102" fmla="*/ 351758 h 602265"/>
                  <a:gd name="connsiteX103" fmla="*/ 534162 w 3657410"/>
                  <a:gd name="connsiteY103" fmla="*/ 357854 h 602265"/>
                  <a:gd name="connsiteX104" fmla="*/ 540544 w 3657410"/>
                  <a:gd name="connsiteY104" fmla="*/ 357854 h 602265"/>
                  <a:gd name="connsiteX105" fmla="*/ 540544 w 3657410"/>
                  <a:gd name="connsiteY105" fmla="*/ 363950 h 602265"/>
                  <a:gd name="connsiteX106" fmla="*/ 548926 w 3657410"/>
                  <a:gd name="connsiteY106" fmla="*/ 363950 h 602265"/>
                  <a:gd name="connsiteX107" fmla="*/ 548926 w 3657410"/>
                  <a:gd name="connsiteY107" fmla="*/ 369951 h 602265"/>
                  <a:gd name="connsiteX108" fmla="*/ 557308 w 3657410"/>
                  <a:gd name="connsiteY108" fmla="*/ 369951 h 602265"/>
                  <a:gd name="connsiteX109" fmla="*/ 557308 w 3657410"/>
                  <a:gd name="connsiteY109" fmla="*/ 376047 h 602265"/>
                  <a:gd name="connsiteX110" fmla="*/ 561499 w 3657410"/>
                  <a:gd name="connsiteY110" fmla="*/ 376047 h 602265"/>
                  <a:gd name="connsiteX111" fmla="*/ 561499 w 3657410"/>
                  <a:gd name="connsiteY111" fmla="*/ 382143 h 602265"/>
                  <a:gd name="connsiteX112" fmla="*/ 635127 w 3657410"/>
                  <a:gd name="connsiteY112" fmla="*/ 382143 h 602265"/>
                  <a:gd name="connsiteX113" fmla="*/ 635127 w 3657410"/>
                  <a:gd name="connsiteY113" fmla="*/ 388143 h 602265"/>
                  <a:gd name="connsiteX114" fmla="*/ 656177 w 3657410"/>
                  <a:gd name="connsiteY114" fmla="*/ 388143 h 602265"/>
                  <a:gd name="connsiteX115" fmla="*/ 656177 w 3657410"/>
                  <a:gd name="connsiteY115" fmla="*/ 394239 h 602265"/>
                  <a:gd name="connsiteX116" fmla="*/ 662464 w 3657410"/>
                  <a:gd name="connsiteY116" fmla="*/ 394239 h 602265"/>
                  <a:gd name="connsiteX117" fmla="*/ 662464 w 3657410"/>
                  <a:gd name="connsiteY117" fmla="*/ 400335 h 602265"/>
                  <a:gd name="connsiteX118" fmla="*/ 704564 w 3657410"/>
                  <a:gd name="connsiteY118" fmla="*/ 400335 h 602265"/>
                  <a:gd name="connsiteX119" fmla="*/ 704564 w 3657410"/>
                  <a:gd name="connsiteY119" fmla="*/ 406336 h 602265"/>
                  <a:gd name="connsiteX120" fmla="*/ 719233 w 3657410"/>
                  <a:gd name="connsiteY120" fmla="*/ 406336 h 602265"/>
                  <a:gd name="connsiteX121" fmla="*/ 719233 w 3657410"/>
                  <a:gd name="connsiteY121" fmla="*/ 412432 h 602265"/>
                  <a:gd name="connsiteX122" fmla="*/ 748760 w 3657410"/>
                  <a:gd name="connsiteY122" fmla="*/ 412432 h 602265"/>
                  <a:gd name="connsiteX123" fmla="*/ 748760 w 3657410"/>
                  <a:gd name="connsiteY123" fmla="*/ 418528 h 602265"/>
                  <a:gd name="connsiteX124" fmla="*/ 750856 w 3657410"/>
                  <a:gd name="connsiteY124" fmla="*/ 418528 h 602265"/>
                  <a:gd name="connsiteX125" fmla="*/ 750856 w 3657410"/>
                  <a:gd name="connsiteY125" fmla="*/ 424529 h 602265"/>
                  <a:gd name="connsiteX126" fmla="*/ 773906 w 3657410"/>
                  <a:gd name="connsiteY126" fmla="*/ 424529 h 602265"/>
                  <a:gd name="connsiteX127" fmla="*/ 773906 w 3657410"/>
                  <a:gd name="connsiteY127" fmla="*/ 430625 h 602265"/>
                  <a:gd name="connsiteX128" fmla="*/ 786575 w 3657410"/>
                  <a:gd name="connsiteY128" fmla="*/ 430625 h 602265"/>
                  <a:gd name="connsiteX129" fmla="*/ 786575 w 3657410"/>
                  <a:gd name="connsiteY129" fmla="*/ 436721 h 602265"/>
                  <a:gd name="connsiteX130" fmla="*/ 822293 w 3657410"/>
                  <a:gd name="connsiteY130" fmla="*/ 436721 h 602265"/>
                  <a:gd name="connsiteX131" fmla="*/ 822293 w 3657410"/>
                  <a:gd name="connsiteY131" fmla="*/ 442817 h 602265"/>
                  <a:gd name="connsiteX132" fmla="*/ 938022 w 3657410"/>
                  <a:gd name="connsiteY132" fmla="*/ 442817 h 602265"/>
                  <a:gd name="connsiteX133" fmla="*/ 938022 w 3657410"/>
                  <a:gd name="connsiteY133" fmla="*/ 448818 h 602265"/>
                  <a:gd name="connsiteX134" fmla="*/ 975836 w 3657410"/>
                  <a:gd name="connsiteY134" fmla="*/ 448818 h 602265"/>
                  <a:gd name="connsiteX135" fmla="*/ 975836 w 3657410"/>
                  <a:gd name="connsiteY135" fmla="*/ 455009 h 602265"/>
                  <a:gd name="connsiteX136" fmla="*/ 1028414 w 3657410"/>
                  <a:gd name="connsiteY136" fmla="*/ 455009 h 602265"/>
                  <a:gd name="connsiteX137" fmla="*/ 1028414 w 3657410"/>
                  <a:gd name="connsiteY137" fmla="*/ 461105 h 602265"/>
                  <a:gd name="connsiteX138" fmla="*/ 1047369 w 3657410"/>
                  <a:gd name="connsiteY138" fmla="*/ 461105 h 602265"/>
                  <a:gd name="connsiteX139" fmla="*/ 1047369 w 3657410"/>
                  <a:gd name="connsiteY139" fmla="*/ 467201 h 602265"/>
                  <a:gd name="connsiteX140" fmla="*/ 1057847 w 3657410"/>
                  <a:gd name="connsiteY140" fmla="*/ 467201 h 602265"/>
                  <a:gd name="connsiteX141" fmla="*/ 1057847 w 3657410"/>
                  <a:gd name="connsiteY141" fmla="*/ 473392 h 602265"/>
                  <a:gd name="connsiteX142" fmla="*/ 1091565 w 3657410"/>
                  <a:gd name="connsiteY142" fmla="*/ 473392 h 602265"/>
                  <a:gd name="connsiteX143" fmla="*/ 1091565 w 3657410"/>
                  <a:gd name="connsiteY143" fmla="*/ 479488 h 602265"/>
                  <a:gd name="connsiteX144" fmla="*/ 1097852 w 3657410"/>
                  <a:gd name="connsiteY144" fmla="*/ 479488 h 602265"/>
                  <a:gd name="connsiteX145" fmla="*/ 1097852 w 3657410"/>
                  <a:gd name="connsiteY145" fmla="*/ 485584 h 602265"/>
                  <a:gd name="connsiteX146" fmla="*/ 1112520 w 3657410"/>
                  <a:gd name="connsiteY146" fmla="*/ 485584 h 602265"/>
                  <a:gd name="connsiteX147" fmla="*/ 1112520 w 3657410"/>
                  <a:gd name="connsiteY147" fmla="*/ 491680 h 602265"/>
                  <a:gd name="connsiteX148" fmla="*/ 1125188 w 3657410"/>
                  <a:gd name="connsiteY148" fmla="*/ 491680 h 602265"/>
                  <a:gd name="connsiteX149" fmla="*/ 1125188 w 3657410"/>
                  <a:gd name="connsiteY149" fmla="*/ 497871 h 602265"/>
                  <a:gd name="connsiteX150" fmla="*/ 1150430 w 3657410"/>
                  <a:gd name="connsiteY150" fmla="*/ 497871 h 602265"/>
                  <a:gd name="connsiteX151" fmla="*/ 1150430 w 3657410"/>
                  <a:gd name="connsiteY151" fmla="*/ 503967 h 602265"/>
                  <a:gd name="connsiteX152" fmla="*/ 1379696 w 3657410"/>
                  <a:gd name="connsiteY152" fmla="*/ 503967 h 602265"/>
                  <a:gd name="connsiteX153" fmla="*/ 1379696 w 3657410"/>
                  <a:gd name="connsiteY153" fmla="*/ 510159 h 602265"/>
                  <a:gd name="connsiteX154" fmla="*/ 1493234 w 3657410"/>
                  <a:gd name="connsiteY154" fmla="*/ 510159 h 602265"/>
                  <a:gd name="connsiteX155" fmla="*/ 1493234 w 3657410"/>
                  <a:gd name="connsiteY155" fmla="*/ 516350 h 602265"/>
                  <a:gd name="connsiteX156" fmla="*/ 1762411 w 3657410"/>
                  <a:gd name="connsiteY156" fmla="*/ 516350 h 602265"/>
                  <a:gd name="connsiteX157" fmla="*/ 1762411 w 3657410"/>
                  <a:gd name="connsiteY157" fmla="*/ 522636 h 602265"/>
                  <a:gd name="connsiteX158" fmla="*/ 1836039 w 3657410"/>
                  <a:gd name="connsiteY158" fmla="*/ 522636 h 602265"/>
                  <a:gd name="connsiteX159" fmla="*/ 1836039 w 3657410"/>
                  <a:gd name="connsiteY159" fmla="*/ 528923 h 602265"/>
                  <a:gd name="connsiteX160" fmla="*/ 1915954 w 3657410"/>
                  <a:gd name="connsiteY160" fmla="*/ 528923 h 602265"/>
                  <a:gd name="connsiteX161" fmla="*/ 1915954 w 3657410"/>
                  <a:gd name="connsiteY161" fmla="*/ 535209 h 602265"/>
                  <a:gd name="connsiteX162" fmla="*/ 2077879 w 3657410"/>
                  <a:gd name="connsiteY162" fmla="*/ 535209 h 602265"/>
                  <a:gd name="connsiteX163" fmla="*/ 2077879 w 3657410"/>
                  <a:gd name="connsiteY163" fmla="*/ 541686 h 602265"/>
                  <a:gd name="connsiteX164" fmla="*/ 2094738 w 3657410"/>
                  <a:gd name="connsiteY164" fmla="*/ 541686 h 602265"/>
                  <a:gd name="connsiteX165" fmla="*/ 2094738 w 3657410"/>
                  <a:gd name="connsiteY165" fmla="*/ 548068 h 602265"/>
                  <a:gd name="connsiteX166" fmla="*/ 2212562 w 3657410"/>
                  <a:gd name="connsiteY166" fmla="*/ 548068 h 602265"/>
                  <a:gd name="connsiteX167" fmla="*/ 2212562 w 3657410"/>
                  <a:gd name="connsiteY167" fmla="*/ 554545 h 602265"/>
                  <a:gd name="connsiteX168" fmla="*/ 2305050 w 3657410"/>
                  <a:gd name="connsiteY168" fmla="*/ 554545 h 602265"/>
                  <a:gd name="connsiteX169" fmla="*/ 2305050 w 3657410"/>
                  <a:gd name="connsiteY169" fmla="*/ 560927 h 602265"/>
                  <a:gd name="connsiteX170" fmla="*/ 2324005 w 3657410"/>
                  <a:gd name="connsiteY170" fmla="*/ 560927 h 602265"/>
                  <a:gd name="connsiteX171" fmla="*/ 2324005 w 3657410"/>
                  <a:gd name="connsiteY171" fmla="*/ 567404 h 602265"/>
                  <a:gd name="connsiteX172" fmla="*/ 3177826 w 3657410"/>
                  <a:gd name="connsiteY172" fmla="*/ 567404 h 602265"/>
                  <a:gd name="connsiteX173" fmla="*/ 3177826 w 3657410"/>
                  <a:gd name="connsiteY173" fmla="*/ 602265 h 602265"/>
                  <a:gd name="connsiteX174" fmla="*/ 3657410 w 3657410"/>
                  <a:gd name="connsiteY174" fmla="*/ 602265 h 602265"/>
                  <a:gd name="connsiteX0" fmla="*/ 0 w 3657410"/>
                  <a:gd name="connsiteY0" fmla="*/ 0 h 602265"/>
                  <a:gd name="connsiteX1" fmla="*/ 8382 w 3657410"/>
                  <a:gd name="connsiteY1" fmla="*/ 6096 h 602265"/>
                  <a:gd name="connsiteX2" fmla="*/ 8382 w 3657410"/>
                  <a:gd name="connsiteY2" fmla="*/ 12096 h 602265"/>
                  <a:gd name="connsiteX3" fmla="*/ 18955 w 3657410"/>
                  <a:gd name="connsiteY3" fmla="*/ 12096 h 602265"/>
                  <a:gd name="connsiteX4" fmla="*/ 18955 w 3657410"/>
                  <a:gd name="connsiteY4" fmla="*/ 18097 h 602265"/>
                  <a:gd name="connsiteX5" fmla="*/ 69437 w 3657410"/>
                  <a:gd name="connsiteY5" fmla="*/ 18097 h 602265"/>
                  <a:gd name="connsiteX6" fmla="*/ 69437 w 3657410"/>
                  <a:gd name="connsiteY6" fmla="*/ 24193 h 602265"/>
                  <a:gd name="connsiteX7" fmla="*/ 77819 w 3657410"/>
                  <a:gd name="connsiteY7" fmla="*/ 24193 h 602265"/>
                  <a:gd name="connsiteX8" fmla="*/ 77819 w 3657410"/>
                  <a:gd name="connsiteY8" fmla="*/ 36290 h 602265"/>
                  <a:gd name="connsiteX9" fmla="*/ 84106 w 3657410"/>
                  <a:gd name="connsiteY9" fmla="*/ 36290 h 602265"/>
                  <a:gd name="connsiteX10" fmla="*/ 84106 w 3657410"/>
                  <a:gd name="connsiteY10" fmla="*/ 42386 h 602265"/>
                  <a:gd name="connsiteX11" fmla="*/ 88297 w 3657410"/>
                  <a:gd name="connsiteY11" fmla="*/ 42386 h 602265"/>
                  <a:gd name="connsiteX12" fmla="*/ 88297 w 3657410"/>
                  <a:gd name="connsiteY12" fmla="*/ 48482 h 602265"/>
                  <a:gd name="connsiteX13" fmla="*/ 92488 w 3657410"/>
                  <a:gd name="connsiteY13" fmla="*/ 48482 h 602265"/>
                  <a:gd name="connsiteX14" fmla="*/ 92488 w 3657410"/>
                  <a:gd name="connsiteY14" fmla="*/ 54578 h 602265"/>
                  <a:gd name="connsiteX15" fmla="*/ 94583 w 3657410"/>
                  <a:gd name="connsiteY15" fmla="*/ 54578 h 602265"/>
                  <a:gd name="connsiteX16" fmla="*/ 94583 w 3657410"/>
                  <a:gd name="connsiteY16" fmla="*/ 60579 h 602265"/>
                  <a:gd name="connsiteX17" fmla="*/ 96774 w 3657410"/>
                  <a:gd name="connsiteY17" fmla="*/ 60579 h 602265"/>
                  <a:gd name="connsiteX18" fmla="*/ 96774 w 3657410"/>
                  <a:gd name="connsiteY18" fmla="*/ 66675 h 602265"/>
                  <a:gd name="connsiteX19" fmla="*/ 107251 w 3657410"/>
                  <a:gd name="connsiteY19" fmla="*/ 66675 h 602265"/>
                  <a:gd name="connsiteX20" fmla="*/ 107251 w 3657410"/>
                  <a:gd name="connsiteY20" fmla="*/ 72771 h 602265"/>
                  <a:gd name="connsiteX21" fmla="*/ 113538 w 3657410"/>
                  <a:gd name="connsiteY21" fmla="*/ 72771 h 602265"/>
                  <a:gd name="connsiteX22" fmla="*/ 113538 w 3657410"/>
                  <a:gd name="connsiteY22" fmla="*/ 78771 h 602265"/>
                  <a:gd name="connsiteX23" fmla="*/ 128302 w 3657410"/>
                  <a:gd name="connsiteY23" fmla="*/ 78771 h 602265"/>
                  <a:gd name="connsiteX24" fmla="*/ 128302 w 3657410"/>
                  <a:gd name="connsiteY24" fmla="*/ 84867 h 602265"/>
                  <a:gd name="connsiteX25" fmla="*/ 136684 w 3657410"/>
                  <a:gd name="connsiteY25" fmla="*/ 84867 h 602265"/>
                  <a:gd name="connsiteX26" fmla="*/ 136684 w 3657410"/>
                  <a:gd name="connsiteY26" fmla="*/ 90963 h 602265"/>
                  <a:gd name="connsiteX27" fmla="*/ 147257 w 3657410"/>
                  <a:gd name="connsiteY27" fmla="*/ 90963 h 602265"/>
                  <a:gd name="connsiteX28" fmla="*/ 147257 w 3657410"/>
                  <a:gd name="connsiteY28" fmla="*/ 96964 h 602265"/>
                  <a:gd name="connsiteX29" fmla="*/ 159830 w 3657410"/>
                  <a:gd name="connsiteY29" fmla="*/ 96964 h 602265"/>
                  <a:gd name="connsiteX30" fmla="*/ 159830 w 3657410"/>
                  <a:gd name="connsiteY30" fmla="*/ 103060 h 602265"/>
                  <a:gd name="connsiteX31" fmla="*/ 166116 w 3657410"/>
                  <a:gd name="connsiteY31" fmla="*/ 103060 h 602265"/>
                  <a:gd name="connsiteX32" fmla="*/ 166116 w 3657410"/>
                  <a:gd name="connsiteY32" fmla="*/ 115157 h 602265"/>
                  <a:gd name="connsiteX33" fmla="*/ 170307 w 3657410"/>
                  <a:gd name="connsiteY33" fmla="*/ 115157 h 602265"/>
                  <a:gd name="connsiteX34" fmla="*/ 170307 w 3657410"/>
                  <a:gd name="connsiteY34" fmla="*/ 121253 h 602265"/>
                  <a:gd name="connsiteX35" fmla="*/ 182975 w 3657410"/>
                  <a:gd name="connsiteY35" fmla="*/ 121253 h 602265"/>
                  <a:gd name="connsiteX36" fmla="*/ 182975 w 3657410"/>
                  <a:gd name="connsiteY36" fmla="*/ 127349 h 602265"/>
                  <a:gd name="connsiteX37" fmla="*/ 197644 w 3657410"/>
                  <a:gd name="connsiteY37" fmla="*/ 127349 h 602265"/>
                  <a:gd name="connsiteX38" fmla="*/ 197644 w 3657410"/>
                  <a:gd name="connsiteY38" fmla="*/ 133350 h 602265"/>
                  <a:gd name="connsiteX39" fmla="*/ 201930 w 3657410"/>
                  <a:gd name="connsiteY39" fmla="*/ 133350 h 602265"/>
                  <a:gd name="connsiteX40" fmla="*/ 201930 w 3657410"/>
                  <a:gd name="connsiteY40" fmla="*/ 139446 h 602265"/>
                  <a:gd name="connsiteX41" fmla="*/ 212407 w 3657410"/>
                  <a:gd name="connsiteY41" fmla="*/ 139446 h 602265"/>
                  <a:gd name="connsiteX42" fmla="*/ 212407 w 3657410"/>
                  <a:gd name="connsiteY42" fmla="*/ 145542 h 602265"/>
                  <a:gd name="connsiteX43" fmla="*/ 220790 w 3657410"/>
                  <a:gd name="connsiteY43" fmla="*/ 145542 h 602265"/>
                  <a:gd name="connsiteX44" fmla="*/ 220790 w 3657410"/>
                  <a:gd name="connsiteY44" fmla="*/ 151638 h 602265"/>
                  <a:gd name="connsiteX45" fmla="*/ 235553 w 3657410"/>
                  <a:gd name="connsiteY45" fmla="*/ 151638 h 602265"/>
                  <a:gd name="connsiteX46" fmla="*/ 235553 w 3657410"/>
                  <a:gd name="connsiteY46" fmla="*/ 157638 h 602265"/>
                  <a:gd name="connsiteX47" fmla="*/ 239744 w 3657410"/>
                  <a:gd name="connsiteY47" fmla="*/ 157638 h 602265"/>
                  <a:gd name="connsiteX48" fmla="*/ 239744 w 3657410"/>
                  <a:gd name="connsiteY48" fmla="*/ 163734 h 602265"/>
                  <a:gd name="connsiteX49" fmla="*/ 243935 w 3657410"/>
                  <a:gd name="connsiteY49" fmla="*/ 163734 h 602265"/>
                  <a:gd name="connsiteX50" fmla="*/ 243935 w 3657410"/>
                  <a:gd name="connsiteY50" fmla="*/ 169830 h 602265"/>
                  <a:gd name="connsiteX51" fmla="*/ 256604 w 3657410"/>
                  <a:gd name="connsiteY51" fmla="*/ 169830 h 602265"/>
                  <a:gd name="connsiteX52" fmla="*/ 256604 w 3657410"/>
                  <a:gd name="connsiteY52" fmla="*/ 175831 h 602265"/>
                  <a:gd name="connsiteX53" fmla="*/ 286036 w 3657410"/>
                  <a:gd name="connsiteY53" fmla="*/ 175831 h 602265"/>
                  <a:gd name="connsiteX54" fmla="*/ 286036 w 3657410"/>
                  <a:gd name="connsiteY54" fmla="*/ 181927 h 602265"/>
                  <a:gd name="connsiteX55" fmla="*/ 294418 w 3657410"/>
                  <a:gd name="connsiteY55" fmla="*/ 181927 h 602265"/>
                  <a:gd name="connsiteX56" fmla="*/ 294418 w 3657410"/>
                  <a:gd name="connsiteY56" fmla="*/ 188023 h 602265"/>
                  <a:gd name="connsiteX57" fmla="*/ 296513 w 3657410"/>
                  <a:gd name="connsiteY57" fmla="*/ 188023 h 602265"/>
                  <a:gd name="connsiteX58" fmla="*/ 296513 w 3657410"/>
                  <a:gd name="connsiteY58" fmla="*/ 194024 h 602265"/>
                  <a:gd name="connsiteX59" fmla="*/ 311277 w 3657410"/>
                  <a:gd name="connsiteY59" fmla="*/ 194024 h 602265"/>
                  <a:gd name="connsiteX60" fmla="*/ 311277 w 3657410"/>
                  <a:gd name="connsiteY60" fmla="*/ 206216 h 602265"/>
                  <a:gd name="connsiteX61" fmla="*/ 313373 w 3657410"/>
                  <a:gd name="connsiteY61" fmla="*/ 206216 h 602265"/>
                  <a:gd name="connsiteX62" fmla="*/ 313373 w 3657410"/>
                  <a:gd name="connsiteY62" fmla="*/ 212217 h 602265"/>
                  <a:gd name="connsiteX63" fmla="*/ 319659 w 3657410"/>
                  <a:gd name="connsiteY63" fmla="*/ 212217 h 602265"/>
                  <a:gd name="connsiteX64" fmla="*/ 319659 w 3657410"/>
                  <a:gd name="connsiteY64" fmla="*/ 218313 h 602265"/>
                  <a:gd name="connsiteX65" fmla="*/ 323850 w 3657410"/>
                  <a:gd name="connsiteY65" fmla="*/ 218313 h 602265"/>
                  <a:gd name="connsiteX66" fmla="*/ 323850 w 3657410"/>
                  <a:gd name="connsiteY66" fmla="*/ 224409 h 602265"/>
                  <a:gd name="connsiteX67" fmla="*/ 340709 w 3657410"/>
                  <a:gd name="connsiteY67" fmla="*/ 224409 h 602265"/>
                  <a:gd name="connsiteX68" fmla="*/ 340709 w 3657410"/>
                  <a:gd name="connsiteY68" fmla="*/ 236505 h 602265"/>
                  <a:gd name="connsiteX69" fmla="*/ 344900 w 3657410"/>
                  <a:gd name="connsiteY69" fmla="*/ 236505 h 602265"/>
                  <a:gd name="connsiteX70" fmla="*/ 344900 w 3657410"/>
                  <a:gd name="connsiteY70" fmla="*/ 242601 h 602265"/>
                  <a:gd name="connsiteX71" fmla="*/ 368046 w 3657410"/>
                  <a:gd name="connsiteY71" fmla="*/ 242601 h 602265"/>
                  <a:gd name="connsiteX72" fmla="*/ 368046 w 3657410"/>
                  <a:gd name="connsiteY72" fmla="*/ 248697 h 602265"/>
                  <a:gd name="connsiteX73" fmla="*/ 372237 w 3657410"/>
                  <a:gd name="connsiteY73" fmla="*/ 248697 h 602265"/>
                  <a:gd name="connsiteX74" fmla="*/ 372237 w 3657410"/>
                  <a:gd name="connsiteY74" fmla="*/ 254698 h 602265"/>
                  <a:gd name="connsiteX75" fmla="*/ 378524 w 3657410"/>
                  <a:gd name="connsiteY75" fmla="*/ 254698 h 602265"/>
                  <a:gd name="connsiteX76" fmla="*/ 378524 w 3657410"/>
                  <a:gd name="connsiteY76" fmla="*/ 266890 h 602265"/>
                  <a:gd name="connsiteX77" fmla="*/ 397478 w 3657410"/>
                  <a:gd name="connsiteY77" fmla="*/ 266890 h 602265"/>
                  <a:gd name="connsiteX78" fmla="*/ 397478 w 3657410"/>
                  <a:gd name="connsiteY78" fmla="*/ 272891 h 602265"/>
                  <a:gd name="connsiteX79" fmla="*/ 405860 w 3657410"/>
                  <a:gd name="connsiteY79" fmla="*/ 272891 h 602265"/>
                  <a:gd name="connsiteX80" fmla="*/ 405860 w 3657410"/>
                  <a:gd name="connsiteY80" fmla="*/ 278987 h 602265"/>
                  <a:gd name="connsiteX81" fmla="*/ 418529 w 3657410"/>
                  <a:gd name="connsiteY81" fmla="*/ 278987 h 602265"/>
                  <a:gd name="connsiteX82" fmla="*/ 418529 w 3657410"/>
                  <a:gd name="connsiteY82" fmla="*/ 285083 h 602265"/>
                  <a:gd name="connsiteX83" fmla="*/ 435388 w 3657410"/>
                  <a:gd name="connsiteY83" fmla="*/ 285083 h 602265"/>
                  <a:gd name="connsiteX84" fmla="*/ 435388 w 3657410"/>
                  <a:gd name="connsiteY84" fmla="*/ 291084 h 602265"/>
                  <a:gd name="connsiteX85" fmla="*/ 462725 w 3657410"/>
                  <a:gd name="connsiteY85" fmla="*/ 291084 h 602265"/>
                  <a:gd name="connsiteX86" fmla="*/ 462725 w 3657410"/>
                  <a:gd name="connsiteY86" fmla="*/ 297180 h 602265"/>
                  <a:gd name="connsiteX87" fmla="*/ 464820 w 3657410"/>
                  <a:gd name="connsiteY87" fmla="*/ 297180 h 602265"/>
                  <a:gd name="connsiteX88" fmla="*/ 464820 w 3657410"/>
                  <a:gd name="connsiteY88" fmla="*/ 303276 h 602265"/>
                  <a:gd name="connsiteX89" fmla="*/ 475297 w 3657410"/>
                  <a:gd name="connsiteY89" fmla="*/ 303276 h 602265"/>
                  <a:gd name="connsiteX90" fmla="*/ 475297 w 3657410"/>
                  <a:gd name="connsiteY90" fmla="*/ 309276 h 602265"/>
                  <a:gd name="connsiteX91" fmla="*/ 481584 w 3657410"/>
                  <a:gd name="connsiteY91" fmla="*/ 309276 h 602265"/>
                  <a:gd name="connsiteX92" fmla="*/ 481584 w 3657410"/>
                  <a:gd name="connsiteY92" fmla="*/ 321468 h 602265"/>
                  <a:gd name="connsiteX93" fmla="*/ 490061 w 3657410"/>
                  <a:gd name="connsiteY93" fmla="*/ 321468 h 602265"/>
                  <a:gd name="connsiteX94" fmla="*/ 490061 w 3657410"/>
                  <a:gd name="connsiteY94" fmla="*/ 327469 h 602265"/>
                  <a:gd name="connsiteX95" fmla="*/ 496348 w 3657410"/>
                  <a:gd name="connsiteY95" fmla="*/ 327469 h 602265"/>
                  <a:gd name="connsiteX96" fmla="*/ 496348 w 3657410"/>
                  <a:gd name="connsiteY96" fmla="*/ 339661 h 602265"/>
                  <a:gd name="connsiteX97" fmla="*/ 498443 w 3657410"/>
                  <a:gd name="connsiteY97" fmla="*/ 339661 h 602265"/>
                  <a:gd name="connsiteX98" fmla="*/ 498443 w 3657410"/>
                  <a:gd name="connsiteY98" fmla="*/ 345757 h 602265"/>
                  <a:gd name="connsiteX99" fmla="*/ 511016 w 3657410"/>
                  <a:gd name="connsiteY99" fmla="*/ 345757 h 602265"/>
                  <a:gd name="connsiteX100" fmla="*/ 511016 w 3657410"/>
                  <a:gd name="connsiteY100" fmla="*/ 351758 h 602265"/>
                  <a:gd name="connsiteX101" fmla="*/ 534162 w 3657410"/>
                  <a:gd name="connsiteY101" fmla="*/ 351758 h 602265"/>
                  <a:gd name="connsiteX102" fmla="*/ 534162 w 3657410"/>
                  <a:gd name="connsiteY102" fmla="*/ 357854 h 602265"/>
                  <a:gd name="connsiteX103" fmla="*/ 540544 w 3657410"/>
                  <a:gd name="connsiteY103" fmla="*/ 357854 h 602265"/>
                  <a:gd name="connsiteX104" fmla="*/ 540544 w 3657410"/>
                  <a:gd name="connsiteY104" fmla="*/ 363950 h 602265"/>
                  <a:gd name="connsiteX105" fmla="*/ 548926 w 3657410"/>
                  <a:gd name="connsiteY105" fmla="*/ 363950 h 602265"/>
                  <a:gd name="connsiteX106" fmla="*/ 548926 w 3657410"/>
                  <a:gd name="connsiteY106" fmla="*/ 369951 h 602265"/>
                  <a:gd name="connsiteX107" fmla="*/ 557308 w 3657410"/>
                  <a:gd name="connsiteY107" fmla="*/ 369951 h 602265"/>
                  <a:gd name="connsiteX108" fmla="*/ 557308 w 3657410"/>
                  <a:gd name="connsiteY108" fmla="*/ 376047 h 602265"/>
                  <a:gd name="connsiteX109" fmla="*/ 561499 w 3657410"/>
                  <a:gd name="connsiteY109" fmla="*/ 376047 h 602265"/>
                  <a:gd name="connsiteX110" fmla="*/ 561499 w 3657410"/>
                  <a:gd name="connsiteY110" fmla="*/ 382143 h 602265"/>
                  <a:gd name="connsiteX111" fmla="*/ 635127 w 3657410"/>
                  <a:gd name="connsiteY111" fmla="*/ 382143 h 602265"/>
                  <a:gd name="connsiteX112" fmla="*/ 635127 w 3657410"/>
                  <a:gd name="connsiteY112" fmla="*/ 388143 h 602265"/>
                  <a:gd name="connsiteX113" fmla="*/ 656177 w 3657410"/>
                  <a:gd name="connsiteY113" fmla="*/ 388143 h 602265"/>
                  <a:gd name="connsiteX114" fmla="*/ 656177 w 3657410"/>
                  <a:gd name="connsiteY114" fmla="*/ 394239 h 602265"/>
                  <a:gd name="connsiteX115" fmla="*/ 662464 w 3657410"/>
                  <a:gd name="connsiteY115" fmla="*/ 394239 h 602265"/>
                  <a:gd name="connsiteX116" fmla="*/ 662464 w 3657410"/>
                  <a:gd name="connsiteY116" fmla="*/ 400335 h 602265"/>
                  <a:gd name="connsiteX117" fmla="*/ 704564 w 3657410"/>
                  <a:gd name="connsiteY117" fmla="*/ 400335 h 602265"/>
                  <a:gd name="connsiteX118" fmla="*/ 704564 w 3657410"/>
                  <a:gd name="connsiteY118" fmla="*/ 406336 h 602265"/>
                  <a:gd name="connsiteX119" fmla="*/ 719233 w 3657410"/>
                  <a:gd name="connsiteY119" fmla="*/ 406336 h 602265"/>
                  <a:gd name="connsiteX120" fmla="*/ 719233 w 3657410"/>
                  <a:gd name="connsiteY120" fmla="*/ 412432 h 602265"/>
                  <a:gd name="connsiteX121" fmla="*/ 748760 w 3657410"/>
                  <a:gd name="connsiteY121" fmla="*/ 412432 h 602265"/>
                  <a:gd name="connsiteX122" fmla="*/ 748760 w 3657410"/>
                  <a:gd name="connsiteY122" fmla="*/ 418528 h 602265"/>
                  <a:gd name="connsiteX123" fmla="*/ 750856 w 3657410"/>
                  <a:gd name="connsiteY123" fmla="*/ 418528 h 602265"/>
                  <a:gd name="connsiteX124" fmla="*/ 750856 w 3657410"/>
                  <a:gd name="connsiteY124" fmla="*/ 424529 h 602265"/>
                  <a:gd name="connsiteX125" fmla="*/ 773906 w 3657410"/>
                  <a:gd name="connsiteY125" fmla="*/ 424529 h 602265"/>
                  <a:gd name="connsiteX126" fmla="*/ 773906 w 3657410"/>
                  <a:gd name="connsiteY126" fmla="*/ 430625 h 602265"/>
                  <a:gd name="connsiteX127" fmla="*/ 786575 w 3657410"/>
                  <a:gd name="connsiteY127" fmla="*/ 430625 h 602265"/>
                  <a:gd name="connsiteX128" fmla="*/ 786575 w 3657410"/>
                  <a:gd name="connsiteY128" fmla="*/ 436721 h 602265"/>
                  <a:gd name="connsiteX129" fmla="*/ 822293 w 3657410"/>
                  <a:gd name="connsiteY129" fmla="*/ 436721 h 602265"/>
                  <a:gd name="connsiteX130" fmla="*/ 822293 w 3657410"/>
                  <a:gd name="connsiteY130" fmla="*/ 442817 h 602265"/>
                  <a:gd name="connsiteX131" fmla="*/ 938022 w 3657410"/>
                  <a:gd name="connsiteY131" fmla="*/ 442817 h 602265"/>
                  <a:gd name="connsiteX132" fmla="*/ 938022 w 3657410"/>
                  <a:gd name="connsiteY132" fmla="*/ 448818 h 602265"/>
                  <a:gd name="connsiteX133" fmla="*/ 975836 w 3657410"/>
                  <a:gd name="connsiteY133" fmla="*/ 448818 h 602265"/>
                  <a:gd name="connsiteX134" fmla="*/ 975836 w 3657410"/>
                  <a:gd name="connsiteY134" fmla="*/ 455009 h 602265"/>
                  <a:gd name="connsiteX135" fmla="*/ 1028414 w 3657410"/>
                  <a:gd name="connsiteY135" fmla="*/ 455009 h 602265"/>
                  <a:gd name="connsiteX136" fmla="*/ 1028414 w 3657410"/>
                  <a:gd name="connsiteY136" fmla="*/ 461105 h 602265"/>
                  <a:gd name="connsiteX137" fmla="*/ 1047369 w 3657410"/>
                  <a:gd name="connsiteY137" fmla="*/ 461105 h 602265"/>
                  <a:gd name="connsiteX138" fmla="*/ 1047369 w 3657410"/>
                  <a:gd name="connsiteY138" fmla="*/ 467201 h 602265"/>
                  <a:gd name="connsiteX139" fmla="*/ 1057847 w 3657410"/>
                  <a:gd name="connsiteY139" fmla="*/ 467201 h 602265"/>
                  <a:gd name="connsiteX140" fmla="*/ 1057847 w 3657410"/>
                  <a:gd name="connsiteY140" fmla="*/ 473392 h 602265"/>
                  <a:gd name="connsiteX141" fmla="*/ 1091565 w 3657410"/>
                  <a:gd name="connsiteY141" fmla="*/ 473392 h 602265"/>
                  <a:gd name="connsiteX142" fmla="*/ 1091565 w 3657410"/>
                  <a:gd name="connsiteY142" fmla="*/ 479488 h 602265"/>
                  <a:gd name="connsiteX143" fmla="*/ 1097852 w 3657410"/>
                  <a:gd name="connsiteY143" fmla="*/ 479488 h 602265"/>
                  <a:gd name="connsiteX144" fmla="*/ 1097852 w 3657410"/>
                  <a:gd name="connsiteY144" fmla="*/ 485584 h 602265"/>
                  <a:gd name="connsiteX145" fmla="*/ 1112520 w 3657410"/>
                  <a:gd name="connsiteY145" fmla="*/ 485584 h 602265"/>
                  <a:gd name="connsiteX146" fmla="*/ 1112520 w 3657410"/>
                  <a:gd name="connsiteY146" fmla="*/ 491680 h 602265"/>
                  <a:gd name="connsiteX147" fmla="*/ 1125188 w 3657410"/>
                  <a:gd name="connsiteY147" fmla="*/ 491680 h 602265"/>
                  <a:gd name="connsiteX148" fmla="*/ 1125188 w 3657410"/>
                  <a:gd name="connsiteY148" fmla="*/ 497871 h 602265"/>
                  <a:gd name="connsiteX149" fmla="*/ 1150430 w 3657410"/>
                  <a:gd name="connsiteY149" fmla="*/ 497871 h 602265"/>
                  <a:gd name="connsiteX150" fmla="*/ 1150430 w 3657410"/>
                  <a:gd name="connsiteY150" fmla="*/ 503967 h 602265"/>
                  <a:gd name="connsiteX151" fmla="*/ 1379696 w 3657410"/>
                  <a:gd name="connsiteY151" fmla="*/ 503967 h 602265"/>
                  <a:gd name="connsiteX152" fmla="*/ 1379696 w 3657410"/>
                  <a:gd name="connsiteY152" fmla="*/ 510159 h 602265"/>
                  <a:gd name="connsiteX153" fmla="*/ 1493234 w 3657410"/>
                  <a:gd name="connsiteY153" fmla="*/ 510159 h 602265"/>
                  <a:gd name="connsiteX154" fmla="*/ 1493234 w 3657410"/>
                  <a:gd name="connsiteY154" fmla="*/ 516350 h 602265"/>
                  <a:gd name="connsiteX155" fmla="*/ 1762411 w 3657410"/>
                  <a:gd name="connsiteY155" fmla="*/ 516350 h 602265"/>
                  <a:gd name="connsiteX156" fmla="*/ 1762411 w 3657410"/>
                  <a:gd name="connsiteY156" fmla="*/ 522636 h 602265"/>
                  <a:gd name="connsiteX157" fmla="*/ 1836039 w 3657410"/>
                  <a:gd name="connsiteY157" fmla="*/ 522636 h 602265"/>
                  <a:gd name="connsiteX158" fmla="*/ 1836039 w 3657410"/>
                  <a:gd name="connsiteY158" fmla="*/ 528923 h 602265"/>
                  <a:gd name="connsiteX159" fmla="*/ 1915954 w 3657410"/>
                  <a:gd name="connsiteY159" fmla="*/ 528923 h 602265"/>
                  <a:gd name="connsiteX160" fmla="*/ 1915954 w 3657410"/>
                  <a:gd name="connsiteY160" fmla="*/ 535209 h 602265"/>
                  <a:gd name="connsiteX161" fmla="*/ 2077879 w 3657410"/>
                  <a:gd name="connsiteY161" fmla="*/ 535209 h 602265"/>
                  <a:gd name="connsiteX162" fmla="*/ 2077879 w 3657410"/>
                  <a:gd name="connsiteY162" fmla="*/ 541686 h 602265"/>
                  <a:gd name="connsiteX163" fmla="*/ 2094738 w 3657410"/>
                  <a:gd name="connsiteY163" fmla="*/ 541686 h 602265"/>
                  <a:gd name="connsiteX164" fmla="*/ 2094738 w 3657410"/>
                  <a:gd name="connsiteY164" fmla="*/ 548068 h 602265"/>
                  <a:gd name="connsiteX165" fmla="*/ 2212562 w 3657410"/>
                  <a:gd name="connsiteY165" fmla="*/ 548068 h 602265"/>
                  <a:gd name="connsiteX166" fmla="*/ 2212562 w 3657410"/>
                  <a:gd name="connsiteY166" fmla="*/ 554545 h 602265"/>
                  <a:gd name="connsiteX167" fmla="*/ 2305050 w 3657410"/>
                  <a:gd name="connsiteY167" fmla="*/ 554545 h 602265"/>
                  <a:gd name="connsiteX168" fmla="*/ 2305050 w 3657410"/>
                  <a:gd name="connsiteY168" fmla="*/ 560927 h 602265"/>
                  <a:gd name="connsiteX169" fmla="*/ 2324005 w 3657410"/>
                  <a:gd name="connsiteY169" fmla="*/ 560927 h 602265"/>
                  <a:gd name="connsiteX170" fmla="*/ 2324005 w 3657410"/>
                  <a:gd name="connsiteY170" fmla="*/ 567404 h 602265"/>
                  <a:gd name="connsiteX171" fmla="*/ 3177826 w 3657410"/>
                  <a:gd name="connsiteY171" fmla="*/ 567404 h 602265"/>
                  <a:gd name="connsiteX172" fmla="*/ 3177826 w 3657410"/>
                  <a:gd name="connsiteY172" fmla="*/ 602265 h 602265"/>
                  <a:gd name="connsiteX173" fmla="*/ 3657410 w 3657410"/>
                  <a:gd name="connsiteY173" fmla="*/ 602265 h 602265"/>
                  <a:gd name="connsiteX0" fmla="*/ 0 w 3649028"/>
                  <a:gd name="connsiteY0" fmla="*/ 0 h 596169"/>
                  <a:gd name="connsiteX1" fmla="*/ 0 w 3649028"/>
                  <a:gd name="connsiteY1" fmla="*/ 6000 h 596169"/>
                  <a:gd name="connsiteX2" fmla="*/ 10573 w 3649028"/>
                  <a:gd name="connsiteY2" fmla="*/ 6000 h 596169"/>
                  <a:gd name="connsiteX3" fmla="*/ 10573 w 3649028"/>
                  <a:gd name="connsiteY3" fmla="*/ 12001 h 596169"/>
                  <a:gd name="connsiteX4" fmla="*/ 61055 w 3649028"/>
                  <a:gd name="connsiteY4" fmla="*/ 12001 h 596169"/>
                  <a:gd name="connsiteX5" fmla="*/ 61055 w 3649028"/>
                  <a:gd name="connsiteY5" fmla="*/ 18097 h 596169"/>
                  <a:gd name="connsiteX6" fmla="*/ 69437 w 3649028"/>
                  <a:gd name="connsiteY6" fmla="*/ 18097 h 596169"/>
                  <a:gd name="connsiteX7" fmla="*/ 69437 w 3649028"/>
                  <a:gd name="connsiteY7" fmla="*/ 30194 h 596169"/>
                  <a:gd name="connsiteX8" fmla="*/ 75724 w 3649028"/>
                  <a:gd name="connsiteY8" fmla="*/ 30194 h 596169"/>
                  <a:gd name="connsiteX9" fmla="*/ 75724 w 3649028"/>
                  <a:gd name="connsiteY9" fmla="*/ 36290 h 596169"/>
                  <a:gd name="connsiteX10" fmla="*/ 79915 w 3649028"/>
                  <a:gd name="connsiteY10" fmla="*/ 36290 h 596169"/>
                  <a:gd name="connsiteX11" fmla="*/ 79915 w 3649028"/>
                  <a:gd name="connsiteY11" fmla="*/ 42386 h 596169"/>
                  <a:gd name="connsiteX12" fmla="*/ 84106 w 3649028"/>
                  <a:gd name="connsiteY12" fmla="*/ 42386 h 596169"/>
                  <a:gd name="connsiteX13" fmla="*/ 84106 w 3649028"/>
                  <a:gd name="connsiteY13" fmla="*/ 48482 h 596169"/>
                  <a:gd name="connsiteX14" fmla="*/ 86201 w 3649028"/>
                  <a:gd name="connsiteY14" fmla="*/ 48482 h 596169"/>
                  <a:gd name="connsiteX15" fmla="*/ 86201 w 3649028"/>
                  <a:gd name="connsiteY15" fmla="*/ 54483 h 596169"/>
                  <a:gd name="connsiteX16" fmla="*/ 88392 w 3649028"/>
                  <a:gd name="connsiteY16" fmla="*/ 54483 h 596169"/>
                  <a:gd name="connsiteX17" fmla="*/ 88392 w 3649028"/>
                  <a:gd name="connsiteY17" fmla="*/ 60579 h 596169"/>
                  <a:gd name="connsiteX18" fmla="*/ 98869 w 3649028"/>
                  <a:gd name="connsiteY18" fmla="*/ 60579 h 596169"/>
                  <a:gd name="connsiteX19" fmla="*/ 98869 w 3649028"/>
                  <a:gd name="connsiteY19" fmla="*/ 66675 h 596169"/>
                  <a:gd name="connsiteX20" fmla="*/ 105156 w 3649028"/>
                  <a:gd name="connsiteY20" fmla="*/ 66675 h 596169"/>
                  <a:gd name="connsiteX21" fmla="*/ 105156 w 3649028"/>
                  <a:gd name="connsiteY21" fmla="*/ 72675 h 596169"/>
                  <a:gd name="connsiteX22" fmla="*/ 119920 w 3649028"/>
                  <a:gd name="connsiteY22" fmla="*/ 72675 h 596169"/>
                  <a:gd name="connsiteX23" fmla="*/ 119920 w 3649028"/>
                  <a:gd name="connsiteY23" fmla="*/ 78771 h 596169"/>
                  <a:gd name="connsiteX24" fmla="*/ 128302 w 3649028"/>
                  <a:gd name="connsiteY24" fmla="*/ 78771 h 596169"/>
                  <a:gd name="connsiteX25" fmla="*/ 128302 w 3649028"/>
                  <a:gd name="connsiteY25" fmla="*/ 84867 h 596169"/>
                  <a:gd name="connsiteX26" fmla="*/ 138875 w 3649028"/>
                  <a:gd name="connsiteY26" fmla="*/ 84867 h 596169"/>
                  <a:gd name="connsiteX27" fmla="*/ 138875 w 3649028"/>
                  <a:gd name="connsiteY27" fmla="*/ 90868 h 596169"/>
                  <a:gd name="connsiteX28" fmla="*/ 151448 w 3649028"/>
                  <a:gd name="connsiteY28" fmla="*/ 90868 h 596169"/>
                  <a:gd name="connsiteX29" fmla="*/ 151448 w 3649028"/>
                  <a:gd name="connsiteY29" fmla="*/ 96964 h 596169"/>
                  <a:gd name="connsiteX30" fmla="*/ 157734 w 3649028"/>
                  <a:gd name="connsiteY30" fmla="*/ 96964 h 596169"/>
                  <a:gd name="connsiteX31" fmla="*/ 157734 w 3649028"/>
                  <a:gd name="connsiteY31" fmla="*/ 109061 h 596169"/>
                  <a:gd name="connsiteX32" fmla="*/ 161925 w 3649028"/>
                  <a:gd name="connsiteY32" fmla="*/ 109061 h 596169"/>
                  <a:gd name="connsiteX33" fmla="*/ 161925 w 3649028"/>
                  <a:gd name="connsiteY33" fmla="*/ 115157 h 596169"/>
                  <a:gd name="connsiteX34" fmla="*/ 174593 w 3649028"/>
                  <a:gd name="connsiteY34" fmla="*/ 115157 h 596169"/>
                  <a:gd name="connsiteX35" fmla="*/ 174593 w 3649028"/>
                  <a:gd name="connsiteY35" fmla="*/ 121253 h 596169"/>
                  <a:gd name="connsiteX36" fmla="*/ 189262 w 3649028"/>
                  <a:gd name="connsiteY36" fmla="*/ 121253 h 596169"/>
                  <a:gd name="connsiteX37" fmla="*/ 189262 w 3649028"/>
                  <a:gd name="connsiteY37" fmla="*/ 127254 h 596169"/>
                  <a:gd name="connsiteX38" fmla="*/ 193548 w 3649028"/>
                  <a:gd name="connsiteY38" fmla="*/ 127254 h 596169"/>
                  <a:gd name="connsiteX39" fmla="*/ 193548 w 3649028"/>
                  <a:gd name="connsiteY39" fmla="*/ 133350 h 596169"/>
                  <a:gd name="connsiteX40" fmla="*/ 204025 w 3649028"/>
                  <a:gd name="connsiteY40" fmla="*/ 133350 h 596169"/>
                  <a:gd name="connsiteX41" fmla="*/ 204025 w 3649028"/>
                  <a:gd name="connsiteY41" fmla="*/ 139446 h 596169"/>
                  <a:gd name="connsiteX42" fmla="*/ 212408 w 3649028"/>
                  <a:gd name="connsiteY42" fmla="*/ 139446 h 596169"/>
                  <a:gd name="connsiteX43" fmla="*/ 212408 w 3649028"/>
                  <a:gd name="connsiteY43" fmla="*/ 145542 h 596169"/>
                  <a:gd name="connsiteX44" fmla="*/ 227171 w 3649028"/>
                  <a:gd name="connsiteY44" fmla="*/ 145542 h 596169"/>
                  <a:gd name="connsiteX45" fmla="*/ 227171 w 3649028"/>
                  <a:gd name="connsiteY45" fmla="*/ 151542 h 596169"/>
                  <a:gd name="connsiteX46" fmla="*/ 231362 w 3649028"/>
                  <a:gd name="connsiteY46" fmla="*/ 151542 h 596169"/>
                  <a:gd name="connsiteX47" fmla="*/ 231362 w 3649028"/>
                  <a:gd name="connsiteY47" fmla="*/ 157638 h 596169"/>
                  <a:gd name="connsiteX48" fmla="*/ 235553 w 3649028"/>
                  <a:gd name="connsiteY48" fmla="*/ 157638 h 596169"/>
                  <a:gd name="connsiteX49" fmla="*/ 235553 w 3649028"/>
                  <a:gd name="connsiteY49" fmla="*/ 163734 h 596169"/>
                  <a:gd name="connsiteX50" fmla="*/ 248222 w 3649028"/>
                  <a:gd name="connsiteY50" fmla="*/ 163734 h 596169"/>
                  <a:gd name="connsiteX51" fmla="*/ 248222 w 3649028"/>
                  <a:gd name="connsiteY51" fmla="*/ 169735 h 596169"/>
                  <a:gd name="connsiteX52" fmla="*/ 277654 w 3649028"/>
                  <a:gd name="connsiteY52" fmla="*/ 169735 h 596169"/>
                  <a:gd name="connsiteX53" fmla="*/ 277654 w 3649028"/>
                  <a:gd name="connsiteY53" fmla="*/ 175831 h 596169"/>
                  <a:gd name="connsiteX54" fmla="*/ 286036 w 3649028"/>
                  <a:gd name="connsiteY54" fmla="*/ 175831 h 596169"/>
                  <a:gd name="connsiteX55" fmla="*/ 286036 w 3649028"/>
                  <a:gd name="connsiteY55" fmla="*/ 181927 h 596169"/>
                  <a:gd name="connsiteX56" fmla="*/ 288131 w 3649028"/>
                  <a:gd name="connsiteY56" fmla="*/ 181927 h 596169"/>
                  <a:gd name="connsiteX57" fmla="*/ 288131 w 3649028"/>
                  <a:gd name="connsiteY57" fmla="*/ 187928 h 596169"/>
                  <a:gd name="connsiteX58" fmla="*/ 302895 w 3649028"/>
                  <a:gd name="connsiteY58" fmla="*/ 187928 h 596169"/>
                  <a:gd name="connsiteX59" fmla="*/ 302895 w 3649028"/>
                  <a:gd name="connsiteY59" fmla="*/ 200120 h 596169"/>
                  <a:gd name="connsiteX60" fmla="*/ 304991 w 3649028"/>
                  <a:gd name="connsiteY60" fmla="*/ 200120 h 596169"/>
                  <a:gd name="connsiteX61" fmla="*/ 304991 w 3649028"/>
                  <a:gd name="connsiteY61" fmla="*/ 206121 h 596169"/>
                  <a:gd name="connsiteX62" fmla="*/ 311277 w 3649028"/>
                  <a:gd name="connsiteY62" fmla="*/ 206121 h 596169"/>
                  <a:gd name="connsiteX63" fmla="*/ 311277 w 3649028"/>
                  <a:gd name="connsiteY63" fmla="*/ 212217 h 596169"/>
                  <a:gd name="connsiteX64" fmla="*/ 315468 w 3649028"/>
                  <a:gd name="connsiteY64" fmla="*/ 212217 h 596169"/>
                  <a:gd name="connsiteX65" fmla="*/ 315468 w 3649028"/>
                  <a:gd name="connsiteY65" fmla="*/ 218313 h 596169"/>
                  <a:gd name="connsiteX66" fmla="*/ 332327 w 3649028"/>
                  <a:gd name="connsiteY66" fmla="*/ 218313 h 596169"/>
                  <a:gd name="connsiteX67" fmla="*/ 332327 w 3649028"/>
                  <a:gd name="connsiteY67" fmla="*/ 230409 h 596169"/>
                  <a:gd name="connsiteX68" fmla="*/ 336518 w 3649028"/>
                  <a:gd name="connsiteY68" fmla="*/ 230409 h 596169"/>
                  <a:gd name="connsiteX69" fmla="*/ 336518 w 3649028"/>
                  <a:gd name="connsiteY69" fmla="*/ 236505 h 596169"/>
                  <a:gd name="connsiteX70" fmla="*/ 359664 w 3649028"/>
                  <a:gd name="connsiteY70" fmla="*/ 236505 h 596169"/>
                  <a:gd name="connsiteX71" fmla="*/ 359664 w 3649028"/>
                  <a:gd name="connsiteY71" fmla="*/ 242601 h 596169"/>
                  <a:gd name="connsiteX72" fmla="*/ 363855 w 3649028"/>
                  <a:gd name="connsiteY72" fmla="*/ 242601 h 596169"/>
                  <a:gd name="connsiteX73" fmla="*/ 363855 w 3649028"/>
                  <a:gd name="connsiteY73" fmla="*/ 248602 h 596169"/>
                  <a:gd name="connsiteX74" fmla="*/ 370142 w 3649028"/>
                  <a:gd name="connsiteY74" fmla="*/ 248602 h 596169"/>
                  <a:gd name="connsiteX75" fmla="*/ 370142 w 3649028"/>
                  <a:gd name="connsiteY75" fmla="*/ 260794 h 596169"/>
                  <a:gd name="connsiteX76" fmla="*/ 389096 w 3649028"/>
                  <a:gd name="connsiteY76" fmla="*/ 260794 h 596169"/>
                  <a:gd name="connsiteX77" fmla="*/ 389096 w 3649028"/>
                  <a:gd name="connsiteY77" fmla="*/ 266795 h 596169"/>
                  <a:gd name="connsiteX78" fmla="*/ 397478 w 3649028"/>
                  <a:gd name="connsiteY78" fmla="*/ 266795 h 596169"/>
                  <a:gd name="connsiteX79" fmla="*/ 397478 w 3649028"/>
                  <a:gd name="connsiteY79" fmla="*/ 272891 h 596169"/>
                  <a:gd name="connsiteX80" fmla="*/ 410147 w 3649028"/>
                  <a:gd name="connsiteY80" fmla="*/ 272891 h 596169"/>
                  <a:gd name="connsiteX81" fmla="*/ 410147 w 3649028"/>
                  <a:gd name="connsiteY81" fmla="*/ 278987 h 596169"/>
                  <a:gd name="connsiteX82" fmla="*/ 427006 w 3649028"/>
                  <a:gd name="connsiteY82" fmla="*/ 278987 h 596169"/>
                  <a:gd name="connsiteX83" fmla="*/ 427006 w 3649028"/>
                  <a:gd name="connsiteY83" fmla="*/ 284988 h 596169"/>
                  <a:gd name="connsiteX84" fmla="*/ 454343 w 3649028"/>
                  <a:gd name="connsiteY84" fmla="*/ 284988 h 596169"/>
                  <a:gd name="connsiteX85" fmla="*/ 454343 w 3649028"/>
                  <a:gd name="connsiteY85" fmla="*/ 291084 h 596169"/>
                  <a:gd name="connsiteX86" fmla="*/ 456438 w 3649028"/>
                  <a:gd name="connsiteY86" fmla="*/ 291084 h 596169"/>
                  <a:gd name="connsiteX87" fmla="*/ 456438 w 3649028"/>
                  <a:gd name="connsiteY87" fmla="*/ 297180 h 596169"/>
                  <a:gd name="connsiteX88" fmla="*/ 466915 w 3649028"/>
                  <a:gd name="connsiteY88" fmla="*/ 297180 h 596169"/>
                  <a:gd name="connsiteX89" fmla="*/ 466915 w 3649028"/>
                  <a:gd name="connsiteY89" fmla="*/ 303180 h 596169"/>
                  <a:gd name="connsiteX90" fmla="*/ 473202 w 3649028"/>
                  <a:gd name="connsiteY90" fmla="*/ 303180 h 596169"/>
                  <a:gd name="connsiteX91" fmla="*/ 473202 w 3649028"/>
                  <a:gd name="connsiteY91" fmla="*/ 315372 h 596169"/>
                  <a:gd name="connsiteX92" fmla="*/ 481679 w 3649028"/>
                  <a:gd name="connsiteY92" fmla="*/ 315372 h 596169"/>
                  <a:gd name="connsiteX93" fmla="*/ 481679 w 3649028"/>
                  <a:gd name="connsiteY93" fmla="*/ 321373 h 596169"/>
                  <a:gd name="connsiteX94" fmla="*/ 487966 w 3649028"/>
                  <a:gd name="connsiteY94" fmla="*/ 321373 h 596169"/>
                  <a:gd name="connsiteX95" fmla="*/ 487966 w 3649028"/>
                  <a:gd name="connsiteY95" fmla="*/ 333565 h 596169"/>
                  <a:gd name="connsiteX96" fmla="*/ 490061 w 3649028"/>
                  <a:gd name="connsiteY96" fmla="*/ 333565 h 596169"/>
                  <a:gd name="connsiteX97" fmla="*/ 490061 w 3649028"/>
                  <a:gd name="connsiteY97" fmla="*/ 339661 h 596169"/>
                  <a:gd name="connsiteX98" fmla="*/ 502634 w 3649028"/>
                  <a:gd name="connsiteY98" fmla="*/ 339661 h 596169"/>
                  <a:gd name="connsiteX99" fmla="*/ 502634 w 3649028"/>
                  <a:gd name="connsiteY99" fmla="*/ 345662 h 596169"/>
                  <a:gd name="connsiteX100" fmla="*/ 525780 w 3649028"/>
                  <a:gd name="connsiteY100" fmla="*/ 345662 h 596169"/>
                  <a:gd name="connsiteX101" fmla="*/ 525780 w 3649028"/>
                  <a:gd name="connsiteY101" fmla="*/ 351758 h 596169"/>
                  <a:gd name="connsiteX102" fmla="*/ 532162 w 3649028"/>
                  <a:gd name="connsiteY102" fmla="*/ 351758 h 596169"/>
                  <a:gd name="connsiteX103" fmla="*/ 532162 w 3649028"/>
                  <a:gd name="connsiteY103" fmla="*/ 357854 h 596169"/>
                  <a:gd name="connsiteX104" fmla="*/ 540544 w 3649028"/>
                  <a:gd name="connsiteY104" fmla="*/ 357854 h 596169"/>
                  <a:gd name="connsiteX105" fmla="*/ 540544 w 3649028"/>
                  <a:gd name="connsiteY105" fmla="*/ 363855 h 596169"/>
                  <a:gd name="connsiteX106" fmla="*/ 548926 w 3649028"/>
                  <a:gd name="connsiteY106" fmla="*/ 363855 h 596169"/>
                  <a:gd name="connsiteX107" fmla="*/ 548926 w 3649028"/>
                  <a:gd name="connsiteY107" fmla="*/ 369951 h 596169"/>
                  <a:gd name="connsiteX108" fmla="*/ 553117 w 3649028"/>
                  <a:gd name="connsiteY108" fmla="*/ 369951 h 596169"/>
                  <a:gd name="connsiteX109" fmla="*/ 553117 w 3649028"/>
                  <a:gd name="connsiteY109" fmla="*/ 376047 h 596169"/>
                  <a:gd name="connsiteX110" fmla="*/ 626745 w 3649028"/>
                  <a:gd name="connsiteY110" fmla="*/ 376047 h 596169"/>
                  <a:gd name="connsiteX111" fmla="*/ 626745 w 3649028"/>
                  <a:gd name="connsiteY111" fmla="*/ 382047 h 596169"/>
                  <a:gd name="connsiteX112" fmla="*/ 647795 w 3649028"/>
                  <a:gd name="connsiteY112" fmla="*/ 382047 h 596169"/>
                  <a:gd name="connsiteX113" fmla="*/ 647795 w 3649028"/>
                  <a:gd name="connsiteY113" fmla="*/ 388143 h 596169"/>
                  <a:gd name="connsiteX114" fmla="*/ 654082 w 3649028"/>
                  <a:gd name="connsiteY114" fmla="*/ 388143 h 596169"/>
                  <a:gd name="connsiteX115" fmla="*/ 654082 w 3649028"/>
                  <a:gd name="connsiteY115" fmla="*/ 394239 h 596169"/>
                  <a:gd name="connsiteX116" fmla="*/ 696182 w 3649028"/>
                  <a:gd name="connsiteY116" fmla="*/ 394239 h 596169"/>
                  <a:gd name="connsiteX117" fmla="*/ 696182 w 3649028"/>
                  <a:gd name="connsiteY117" fmla="*/ 400240 h 596169"/>
                  <a:gd name="connsiteX118" fmla="*/ 710851 w 3649028"/>
                  <a:gd name="connsiteY118" fmla="*/ 400240 h 596169"/>
                  <a:gd name="connsiteX119" fmla="*/ 710851 w 3649028"/>
                  <a:gd name="connsiteY119" fmla="*/ 406336 h 596169"/>
                  <a:gd name="connsiteX120" fmla="*/ 740378 w 3649028"/>
                  <a:gd name="connsiteY120" fmla="*/ 406336 h 596169"/>
                  <a:gd name="connsiteX121" fmla="*/ 740378 w 3649028"/>
                  <a:gd name="connsiteY121" fmla="*/ 412432 h 596169"/>
                  <a:gd name="connsiteX122" fmla="*/ 742474 w 3649028"/>
                  <a:gd name="connsiteY122" fmla="*/ 412432 h 596169"/>
                  <a:gd name="connsiteX123" fmla="*/ 742474 w 3649028"/>
                  <a:gd name="connsiteY123" fmla="*/ 418433 h 596169"/>
                  <a:gd name="connsiteX124" fmla="*/ 765524 w 3649028"/>
                  <a:gd name="connsiteY124" fmla="*/ 418433 h 596169"/>
                  <a:gd name="connsiteX125" fmla="*/ 765524 w 3649028"/>
                  <a:gd name="connsiteY125" fmla="*/ 424529 h 596169"/>
                  <a:gd name="connsiteX126" fmla="*/ 778193 w 3649028"/>
                  <a:gd name="connsiteY126" fmla="*/ 424529 h 596169"/>
                  <a:gd name="connsiteX127" fmla="*/ 778193 w 3649028"/>
                  <a:gd name="connsiteY127" fmla="*/ 430625 h 596169"/>
                  <a:gd name="connsiteX128" fmla="*/ 813911 w 3649028"/>
                  <a:gd name="connsiteY128" fmla="*/ 430625 h 596169"/>
                  <a:gd name="connsiteX129" fmla="*/ 813911 w 3649028"/>
                  <a:gd name="connsiteY129" fmla="*/ 436721 h 596169"/>
                  <a:gd name="connsiteX130" fmla="*/ 929640 w 3649028"/>
                  <a:gd name="connsiteY130" fmla="*/ 436721 h 596169"/>
                  <a:gd name="connsiteX131" fmla="*/ 929640 w 3649028"/>
                  <a:gd name="connsiteY131" fmla="*/ 442722 h 596169"/>
                  <a:gd name="connsiteX132" fmla="*/ 967454 w 3649028"/>
                  <a:gd name="connsiteY132" fmla="*/ 442722 h 596169"/>
                  <a:gd name="connsiteX133" fmla="*/ 967454 w 3649028"/>
                  <a:gd name="connsiteY133" fmla="*/ 448913 h 596169"/>
                  <a:gd name="connsiteX134" fmla="*/ 1020032 w 3649028"/>
                  <a:gd name="connsiteY134" fmla="*/ 448913 h 596169"/>
                  <a:gd name="connsiteX135" fmla="*/ 1020032 w 3649028"/>
                  <a:gd name="connsiteY135" fmla="*/ 455009 h 596169"/>
                  <a:gd name="connsiteX136" fmla="*/ 1038987 w 3649028"/>
                  <a:gd name="connsiteY136" fmla="*/ 455009 h 596169"/>
                  <a:gd name="connsiteX137" fmla="*/ 1038987 w 3649028"/>
                  <a:gd name="connsiteY137" fmla="*/ 461105 h 596169"/>
                  <a:gd name="connsiteX138" fmla="*/ 1049465 w 3649028"/>
                  <a:gd name="connsiteY138" fmla="*/ 461105 h 596169"/>
                  <a:gd name="connsiteX139" fmla="*/ 1049465 w 3649028"/>
                  <a:gd name="connsiteY139" fmla="*/ 467296 h 596169"/>
                  <a:gd name="connsiteX140" fmla="*/ 1083183 w 3649028"/>
                  <a:gd name="connsiteY140" fmla="*/ 467296 h 596169"/>
                  <a:gd name="connsiteX141" fmla="*/ 1083183 w 3649028"/>
                  <a:gd name="connsiteY141" fmla="*/ 473392 h 596169"/>
                  <a:gd name="connsiteX142" fmla="*/ 1089470 w 3649028"/>
                  <a:gd name="connsiteY142" fmla="*/ 473392 h 596169"/>
                  <a:gd name="connsiteX143" fmla="*/ 1089470 w 3649028"/>
                  <a:gd name="connsiteY143" fmla="*/ 479488 h 596169"/>
                  <a:gd name="connsiteX144" fmla="*/ 1104138 w 3649028"/>
                  <a:gd name="connsiteY144" fmla="*/ 479488 h 596169"/>
                  <a:gd name="connsiteX145" fmla="*/ 1104138 w 3649028"/>
                  <a:gd name="connsiteY145" fmla="*/ 485584 h 596169"/>
                  <a:gd name="connsiteX146" fmla="*/ 1116806 w 3649028"/>
                  <a:gd name="connsiteY146" fmla="*/ 485584 h 596169"/>
                  <a:gd name="connsiteX147" fmla="*/ 1116806 w 3649028"/>
                  <a:gd name="connsiteY147" fmla="*/ 491775 h 596169"/>
                  <a:gd name="connsiteX148" fmla="*/ 1142048 w 3649028"/>
                  <a:gd name="connsiteY148" fmla="*/ 491775 h 596169"/>
                  <a:gd name="connsiteX149" fmla="*/ 1142048 w 3649028"/>
                  <a:gd name="connsiteY149" fmla="*/ 497871 h 596169"/>
                  <a:gd name="connsiteX150" fmla="*/ 1371314 w 3649028"/>
                  <a:gd name="connsiteY150" fmla="*/ 497871 h 596169"/>
                  <a:gd name="connsiteX151" fmla="*/ 1371314 w 3649028"/>
                  <a:gd name="connsiteY151" fmla="*/ 504063 h 596169"/>
                  <a:gd name="connsiteX152" fmla="*/ 1484852 w 3649028"/>
                  <a:gd name="connsiteY152" fmla="*/ 504063 h 596169"/>
                  <a:gd name="connsiteX153" fmla="*/ 1484852 w 3649028"/>
                  <a:gd name="connsiteY153" fmla="*/ 510254 h 596169"/>
                  <a:gd name="connsiteX154" fmla="*/ 1754029 w 3649028"/>
                  <a:gd name="connsiteY154" fmla="*/ 510254 h 596169"/>
                  <a:gd name="connsiteX155" fmla="*/ 1754029 w 3649028"/>
                  <a:gd name="connsiteY155" fmla="*/ 516540 h 596169"/>
                  <a:gd name="connsiteX156" fmla="*/ 1827657 w 3649028"/>
                  <a:gd name="connsiteY156" fmla="*/ 516540 h 596169"/>
                  <a:gd name="connsiteX157" fmla="*/ 1827657 w 3649028"/>
                  <a:gd name="connsiteY157" fmla="*/ 522827 h 596169"/>
                  <a:gd name="connsiteX158" fmla="*/ 1907572 w 3649028"/>
                  <a:gd name="connsiteY158" fmla="*/ 522827 h 596169"/>
                  <a:gd name="connsiteX159" fmla="*/ 1907572 w 3649028"/>
                  <a:gd name="connsiteY159" fmla="*/ 529113 h 596169"/>
                  <a:gd name="connsiteX160" fmla="*/ 2069497 w 3649028"/>
                  <a:gd name="connsiteY160" fmla="*/ 529113 h 596169"/>
                  <a:gd name="connsiteX161" fmla="*/ 2069497 w 3649028"/>
                  <a:gd name="connsiteY161" fmla="*/ 535590 h 596169"/>
                  <a:gd name="connsiteX162" fmla="*/ 2086356 w 3649028"/>
                  <a:gd name="connsiteY162" fmla="*/ 535590 h 596169"/>
                  <a:gd name="connsiteX163" fmla="*/ 2086356 w 3649028"/>
                  <a:gd name="connsiteY163" fmla="*/ 541972 h 596169"/>
                  <a:gd name="connsiteX164" fmla="*/ 2204180 w 3649028"/>
                  <a:gd name="connsiteY164" fmla="*/ 541972 h 596169"/>
                  <a:gd name="connsiteX165" fmla="*/ 2204180 w 3649028"/>
                  <a:gd name="connsiteY165" fmla="*/ 548449 h 596169"/>
                  <a:gd name="connsiteX166" fmla="*/ 2296668 w 3649028"/>
                  <a:gd name="connsiteY166" fmla="*/ 548449 h 596169"/>
                  <a:gd name="connsiteX167" fmla="*/ 2296668 w 3649028"/>
                  <a:gd name="connsiteY167" fmla="*/ 554831 h 596169"/>
                  <a:gd name="connsiteX168" fmla="*/ 2315623 w 3649028"/>
                  <a:gd name="connsiteY168" fmla="*/ 554831 h 596169"/>
                  <a:gd name="connsiteX169" fmla="*/ 2315623 w 3649028"/>
                  <a:gd name="connsiteY169" fmla="*/ 561308 h 596169"/>
                  <a:gd name="connsiteX170" fmla="*/ 3169444 w 3649028"/>
                  <a:gd name="connsiteY170" fmla="*/ 561308 h 596169"/>
                  <a:gd name="connsiteX171" fmla="*/ 3169444 w 3649028"/>
                  <a:gd name="connsiteY171" fmla="*/ 596169 h 596169"/>
                  <a:gd name="connsiteX172" fmla="*/ 3649028 w 3649028"/>
                  <a:gd name="connsiteY172" fmla="*/ 596169 h 596169"/>
                  <a:gd name="connsiteX0" fmla="*/ 0 w 3649028"/>
                  <a:gd name="connsiteY0" fmla="*/ 0 h 590169"/>
                  <a:gd name="connsiteX1" fmla="*/ 10573 w 3649028"/>
                  <a:gd name="connsiteY1" fmla="*/ 0 h 590169"/>
                  <a:gd name="connsiteX2" fmla="*/ 10573 w 3649028"/>
                  <a:gd name="connsiteY2" fmla="*/ 6001 h 590169"/>
                  <a:gd name="connsiteX3" fmla="*/ 61055 w 3649028"/>
                  <a:gd name="connsiteY3" fmla="*/ 6001 h 590169"/>
                  <a:gd name="connsiteX4" fmla="*/ 61055 w 3649028"/>
                  <a:gd name="connsiteY4" fmla="*/ 12097 h 590169"/>
                  <a:gd name="connsiteX5" fmla="*/ 69437 w 3649028"/>
                  <a:gd name="connsiteY5" fmla="*/ 12097 h 590169"/>
                  <a:gd name="connsiteX6" fmla="*/ 69437 w 3649028"/>
                  <a:gd name="connsiteY6" fmla="*/ 24194 h 590169"/>
                  <a:gd name="connsiteX7" fmla="*/ 75724 w 3649028"/>
                  <a:gd name="connsiteY7" fmla="*/ 24194 h 590169"/>
                  <a:gd name="connsiteX8" fmla="*/ 75724 w 3649028"/>
                  <a:gd name="connsiteY8" fmla="*/ 30290 h 590169"/>
                  <a:gd name="connsiteX9" fmla="*/ 79915 w 3649028"/>
                  <a:gd name="connsiteY9" fmla="*/ 30290 h 590169"/>
                  <a:gd name="connsiteX10" fmla="*/ 79915 w 3649028"/>
                  <a:gd name="connsiteY10" fmla="*/ 36386 h 590169"/>
                  <a:gd name="connsiteX11" fmla="*/ 84106 w 3649028"/>
                  <a:gd name="connsiteY11" fmla="*/ 36386 h 590169"/>
                  <a:gd name="connsiteX12" fmla="*/ 84106 w 3649028"/>
                  <a:gd name="connsiteY12" fmla="*/ 42482 h 590169"/>
                  <a:gd name="connsiteX13" fmla="*/ 86201 w 3649028"/>
                  <a:gd name="connsiteY13" fmla="*/ 42482 h 590169"/>
                  <a:gd name="connsiteX14" fmla="*/ 86201 w 3649028"/>
                  <a:gd name="connsiteY14" fmla="*/ 48483 h 590169"/>
                  <a:gd name="connsiteX15" fmla="*/ 88392 w 3649028"/>
                  <a:gd name="connsiteY15" fmla="*/ 48483 h 590169"/>
                  <a:gd name="connsiteX16" fmla="*/ 88392 w 3649028"/>
                  <a:gd name="connsiteY16" fmla="*/ 54579 h 590169"/>
                  <a:gd name="connsiteX17" fmla="*/ 98869 w 3649028"/>
                  <a:gd name="connsiteY17" fmla="*/ 54579 h 590169"/>
                  <a:gd name="connsiteX18" fmla="*/ 98869 w 3649028"/>
                  <a:gd name="connsiteY18" fmla="*/ 60675 h 590169"/>
                  <a:gd name="connsiteX19" fmla="*/ 105156 w 3649028"/>
                  <a:gd name="connsiteY19" fmla="*/ 60675 h 590169"/>
                  <a:gd name="connsiteX20" fmla="*/ 105156 w 3649028"/>
                  <a:gd name="connsiteY20" fmla="*/ 66675 h 590169"/>
                  <a:gd name="connsiteX21" fmla="*/ 119920 w 3649028"/>
                  <a:gd name="connsiteY21" fmla="*/ 66675 h 590169"/>
                  <a:gd name="connsiteX22" fmla="*/ 119920 w 3649028"/>
                  <a:gd name="connsiteY22" fmla="*/ 72771 h 590169"/>
                  <a:gd name="connsiteX23" fmla="*/ 128302 w 3649028"/>
                  <a:gd name="connsiteY23" fmla="*/ 72771 h 590169"/>
                  <a:gd name="connsiteX24" fmla="*/ 128302 w 3649028"/>
                  <a:gd name="connsiteY24" fmla="*/ 78867 h 590169"/>
                  <a:gd name="connsiteX25" fmla="*/ 138875 w 3649028"/>
                  <a:gd name="connsiteY25" fmla="*/ 78867 h 590169"/>
                  <a:gd name="connsiteX26" fmla="*/ 138875 w 3649028"/>
                  <a:gd name="connsiteY26" fmla="*/ 84868 h 590169"/>
                  <a:gd name="connsiteX27" fmla="*/ 151448 w 3649028"/>
                  <a:gd name="connsiteY27" fmla="*/ 84868 h 590169"/>
                  <a:gd name="connsiteX28" fmla="*/ 151448 w 3649028"/>
                  <a:gd name="connsiteY28" fmla="*/ 90964 h 590169"/>
                  <a:gd name="connsiteX29" fmla="*/ 157734 w 3649028"/>
                  <a:gd name="connsiteY29" fmla="*/ 90964 h 590169"/>
                  <a:gd name="connsiteX30" fmla="*/ 157734 w 3649028"/>
                  <a:gd name="connsiteY30" fmla="*/ 103061 h 590169"/>
                  <a:gd name="connsiteX31" fmla="*/ 161925 w 3649028"/>
                  <a:gd name="connsiteY31" fmla="*/ 103061 h 590169"/>
                  <a:gd name="connsiteX32" fmla="*/ 161925 w 3649028"/>
                  <a:gd name="connsiteY32" fmla="*/ 109157 h 590169"/>
                  <a:gd name="connsiteX33" fmla="*/ 174593 w 3649028"/>
                  <a:gd name="connsiteY33" fmla="*/ 109157 h 590169"/>
                  <a:gd name="connsiteX34" fmla="*/ 174593 w 3649028"/>
                  <a:gd name="connsiteY34" fmla="*/ 115253 h 590169"/>
                  <a:gd name="connsiteX35" fmla="*/ 189262 w 3649028"/>
                  <a:gd name="connsiteY35" fmla="*/ 115253 h 590169"/>
                  <a:gd name="connsiteX36" fmla="*/ 189262 w 3649028"/>
                  <a:gd name="connsiteY36" fmla="*/ 121254 h 590169"/>
                  <a:gd name="connsiteX37" fmla="*/ 193548 w 3649028"/>
                  <a:gd name="connsiteY37" fmla="*/ 121254 h 590169"/>
                  <a:gd name="connsiteX38" fmla="*/ 193548 w 3649028"/>
                  <a:gd name="connsiteY38" fmla="*/ 127350 h 590169"/>
                  <a:gd name="connsiteX39" fmla="*/ 204025 w 3649028"/>
                  <a:gd name="connsiteY39" fmla="*/ 127350 h 590169"/>
                  <a:gd name="connsiteX40" fmla="*/ 204025 w 3649028"/>
                  <a:gd name="connsiteY40" fmla="*/ 133446 h 590169"/>
                  <a:gd name="connsiteX41" fmla="*/ 212408 w 3649028"/>
                  <a:gd name="connsiteY41" fmla="*/ 133446 h 590169"/>
                  <a:gd name="connsiteX42" fmla="*/ 212408 w 3649028"/>
                  <a:gd name="connsiteY42" fmla="*/ 139542 h 590169"/>
                  <a:gd name="connsiteX43" fmla="*/ 227171 w 3649028"/>
                  <a:gd name="connsiteY43" fmla="*/ 139542 h 590169"/>
                  <a:gd name="connsiteX44" fmla="*/ 227171 w 3649028"/>
                  <a:gd name="connsiteY44" fmla="*/ 145542 h 590169"/>
                  <a:gd name="connsiteX45" fmla="*/ 231362 w 3649028"/>
                  <a:gd name="connsiteY45" fmla="*/ 145542 h 590169"/>
                  <a:gd name="connsiteX46" fmla="*/ 231362 w 3649028"/>
                  <a:gd name="connsiteY46" fmla="*/ 151638 h 590169"/>
                  <a:gd name="connsiteX47" fmla="*/ 235553 w 3649028"/>
                  <a:gd name="connsiteY47" fmla="*/ 151638 h 590169"/>
                  <a:gd name="connsiteX48" fmla="*/ 235553 w 3649028"/>
                  <a:gd name="connsiteY48" fmla="*/ 157734 h 590169"/>
                  <a:gd name="connsiteX49" fmla="*/ 248222 w 3649028"/>
                  <a:gd name="connsiteY49" fmla="*/ 157734 h 590169"/>
                  <a:gd name="connsiteX50" fmla="*/ 248222 w 3649028"/>
                  <a:gd name="connsiteY50" fmla="*/ 163735 h 590169"/>
                  <a:gd name="connsiteX51" fmla="*/ 277654 w 3649028"/>
                  <a:gd name="connsiteY51" fmla="*/ 163735 h 590169"/>
                  <a:gd name="connsiteX52" fmla="*/ 277654 w 3649028"/>
                  <a:gd name="connsiteY52" fmla="*/ 169831 h 590169"/>
                  <a:gd name="connsiteX53" fmla="*/ 286036 w 3649028"/>
                  <a:gd name="connsiteY53" fmla="*/ 169831 h 590169"/>
                  <a:gd name="connsiteX54" fmla="*/ 286036 w 3649028"/>
                  <a:gd name="connsiteY54" fmla="*/ 175927 h 590169"/>
                  <a:gd name="connsiteX55" fmla="*/ 288131 w 3649028"/>
                  <a:gd name="connsiteY55" fmla="*/ 175927 h 590169"/>
                  <a:gd name="connsiteX56" fmla="*/ 288131 w 3649028"/>
                  <a:gd name="connsiteY56" fmla="*/ 181928 h 590169"/>
                  <a:gd name="connsiteX57" fmla="*/ 302895 w 3649028"/>
                  <a:gd name="connsiteY57" fmla="*/ 181928 h 590169"/>
                  <a:gd name="connsiteX58" fmla="*/ 302895 w 3649028"/>
                  <a:gd name="connsiteY58" fmla="*/ 194120 h 590169"/>
                  <a:gd name="connsiteX59" fmla="*/ 304991 w 3649028"/>
                  <a:gd name="connsiteY59" fmla="*/ 194120 h 590169"/>
                  <a:gd name="connsiteX60" fmla="*/ 304991 w 3649028"/>
                  <a:gd name="connsiteY60" fmla="*/ 200121 h 590169"/>
                  <a:gd name="connsiteX61" fmla="*/ 311277 w 3649028"/>
                  <a:gd name="connsiteY61" fmla="*/ 200121 h 590169"/>
                  <a:gd name="connsiteX62" fmla="*/ 311277 w 3649028"/>
                  <a:gd name="connsiteY62" fmla="*/ 206217 h 590169"/>
                  <a:gd name="connsiteX63" fmla="*/ 315468 w 3649028"/>
                  <a:gd name="connsiteY63" fmla="*/ 206217 h 590169"/>
                  <a:gd name="connsiteX64" fmla="*/ 315468 w 3649028"/>
                  <a:gd name="connsiteY64" fmla="*/ 212313 h 590169"/>
                  <a:gd name="connsiteX65" fmla="*/ 332327 w 3649028"/>
                  <a:gd name="connsiteY65" fmla="*/ 212313 h 590169"/>
                  <a:gd name="connsiteX66" fmla="*/ 332327 w 3649028"/>
                  <a:gd name="connsiteY66" fmla="*/ 224409 h 590169"/>
                  <a:gd name="connsiteX67" fmla="*/ 336518 w 3649028"/>
                  <a:gd name="connsiteY67" fmla="*/ 224409 h 590169"/>
                  <a:gd name="connsiteX68" fmla="*/ 336518 w 3649028"/>
                  <a:gd name="connsiteY68" fmla="*/ 230505 h 590169"/>
                  <a:gd name="connsiteX69" fmla="*/ 359664 w 3649028"/>
                  <a:gd name="connsiteY69" fmla="*/ 230505 h 590169"/>
                  <a:gd name="connsiteX70" fmla="*/ 359664 w 3649028"/>
                  <a:gd name="connsiteY70" fmla="*/ 236601 h 590169"/>
                  <a:gd name="connsiteX71" fmla="*/ 363855 w 3649028"/>
                  <a:gd name="connsiteY71" fmla="*/ 236601 h 590169"/>
                  <a:gd name="connsiteX72" fmla="*/ 363855 w 3649028"/>
                  <a:gd name="connsiteY72" fmla="*/ 242602 h 590169"/>
                  <a:gd name="connsiteX73" fmla="*/ 370142 w 3649028"/>
                  <a:gd name="connsiteY73" fmla="*/ 242602 h 590169"/>
                  <a:gd name="connsiteX74" fmla="*/ 370142 w 3649028"/>
                  <a:gd name="connsiteY74" fmla="*/ 254794 h 590169"/>
                  <a:gd name="connsiteX75" fmla="*/ 389096 w 3649028"/>
                  <a:gd name="connsiteY75" fmla="*/ 254794 h 590169"/>
                  <a:gd name="connsiteX76" fmla="*/ 389096 w 3649028"/>
                  <a:gd name="connsiteY76" fmla="*/ 260795 h 590169"/>
                  <a:gd name="connsiteX77" fmla="*/ 397478 w 3649028"/>
                  <a:gd name="connsiteY77" fmla="*/ 260795 h 590169"/>
                  <a:gd name="connsiteX78" fmla="*/ 397478 w 3649028"/>
                  <a:gd name="connsiteY78" fmla="*/ 266891 h 590169"/>
                  <a:gd name="connsiteX79" fmla="*/ 410147 w 3649028"/>
                  <a:gd name="connsiteY79" fmla="*/ 266891 h 590169"/>
                  <a:gd name="connsiteX80" fmla="*/ 410147 w 3649028"/>
                  <a:gd name="connsiteY80" fmla="*/ 272987 h 590169"/>
                  <a:gd name="connsiteX81" fmla="*/ 427006 w 3649028"/>
                  <a:gd name="connsiteY81" fmla="*/ 272987 h 590169"/>
                  <a:gd name="connsiteX82" fmla="*/ 427006 w 3649028"/>
                  <a:gd name="connsiteY82" fmla="*/ 278988 h 590169"/>
                  <a:gd name="connsiteX83" fmla="*/ 454343 w 3649028"/>
                  <a:gd name="connsiteY83" fmla="*/ 278988 h 590169"/>
                  <a:gd name="connsiteX84" fmla="*/ 454343 w 3649028"/>
                  <a:gd name="connsiteY84" fmla="*/ 285084 h 590169"/>
                  <a:gd name="connsiteX85" fmla="*/ 456438 w 3649028"/>
                  <a:gd name="connsiteY85" fmla="*/ 285084 h 590169"/>
                  <a:gd name="connsiteX86" fmla="*/ 456438 w 3649028"/>
                  <a:gd name="connsiteY86" fmla="*/ 291180 h 590169"/>
                  <a:gd name="connsiteX87" fmla="*/ 466915 w 3649028"/>
                  <a:gd name="connsiteY87" fmla="*/ 291180 h 590169"/>
                  <a:gd name="connsiteX88" fmla="*/ 466915 w 3649028"/>
                  <a:gd name="connsiteY88" fmla="*/ 297180 h 590169"/>
                  <a:gd name="connsiteX89" fmla="*/ 473202 w 3649028"/>
                  <a:gd name="connsiteY89" fmla="*/ 297180 h 590169"/>
                  <a:gd name="connsiteX90" fmla="*/ 473202 w 3649028"/>
                  <a:gd name="connsiteY90" fmla="*/ 309372 h 590169"/>
                  <a:gd name="connsiteX91" fmla="*/ 481679 w 3649028"/>
                  <a:gd name="connsiteY91" fmla="*/ 309372 h 590169"/>
                  <a:gd name="connsiteX92" fmla="*/ 481679 w 3649028"/>
                  <a:gd name="connsiteY92" fmla="*/ 315373 h 590169"/>
                  <a:gd name="connsiteX93" fmla="*/ 487966 w 3649028"/>
                  <a:gd name="connsiteY93" fmla="*/ 315373 h 590169"/>
                  <a:gd name="connsiteX94" fmla="*/ 487966 w 3649028"/>
                  <a:gd name="connsiteY94" fmla="*/ 327565 h 590169"/>
                  <a:gd name="connsiteX95" fmla="*/ 490061 w 3649028"/>
                  <a:gd name="connsiteY95" fmla="*/ 327565 h 590169"/>
                  <a:gd name="connsiteX96" fmla="*/ 490061 w 3649028"/>
                  <a:gd name="connsiteY96" fmla="*/ 333661 h 590169"/>
                  <a:gd name="connsiteX97" fmla="*/ 502634 w 3649028"/>
                  <a:gd name="connsiteY97" fmla="*/ 333661 h 590169"/>
                  <a:gd name="connsiteX98" fmla="*/ 502634 w 3649028"/>
                  <a:gd name="connsiteY98" fmla="*/ 339662 h 590169"/>
                  <a:gd name="connsiteX99" fmla="*/ 525780 w 3649028"/>
                  <a:gd name="connsiteY99" fmla="*/ 339662 h 590169"/>
                  <a:gd name="connsiteX100" fmla="*/ 525780 w 3649028"/>
                  <a:gd name="connsiteY100" fmla="*/ 345758 h 590169"/>
                  <a:gd name="connsiteX101" fmla="*/ 532162 w 3649028"/>
                  <a:gd name="connsiteY101" fmla="*/ 345758 h 590169"/>
                  <a:gd name="connsiteX102" fmla="*/ 532162 w 3649028"/>
                  <a:gd name="connsiteY102" fmla="*/ 351854 h 590169"/>
                  <a:gd name="connsiteX103" fmla="*/ 540544 w 3649028"/>
                  <a:gd name="connsiteY103" fmla="*/ 351854 h 590169"/>
                  <a:gd name="connsiteX104" fmla="*/ 540544 w 3649028"/>
                  <a:gd name="connsiteY104" fmla="*/ 357855 h 590169"/>
                  <a:gd name="connsiteX105" fmla="*/ 548926 w 3649028"/>
                  <a:gd name="connsiteY105" fmla="*/ 357855 h 590169"/>
                  <a:gd name="connsiteX106" fmla="*/ 548926 w 3649028"/>
                  <a:gd name="connsiteY106" fmla="*/ 363951 h 590169"/>
                  <a:gd name="connsiteX107" fmla="*/ 553117 w 3649028"/>
                  <a:gd name="connsiteY107" fmla="*/ 363951 h 590169"/>
                  <a:gd name="connsiteX108" fmla="*/ 553117 w 3649028"/>
                  <a:gd name="connsiteY108" fmla="*/ 370047 h 590169"/>
                  <a:gd name="connsiteX109" fmla="*/ 626745 w 3649028"/>
                  <a:gd name="connsiteY109" fmla="*/ 370047 h 590169"/>
                  <a:gd name="connsiteX110" fmla="*/ 626745 w 3649028"/>
                  <a:gd name="connsiteY110" fmla="*/ 376047 h 590169"/>
                  <a:gd name="connsiteX111" fmla="*/ 647795 w 3649028"/>
                  <a:gd name="connsiteY111" fmla="*/ 376047 h 590169"/>
                  <a:gd name="connsiteX112" fmla="*/ 647795 w 3649028"/>
                  <a:gd name="connsiteY112" fmla="*/ 382143 h 590169"/>
                  <a:gd name="connsiteX113" fmla="*/ 654082 w 3649028"/>
                  <a:gd name="connsiteY113" fmla="*/ 382143 h 590169"/>
                  <a:gd name="connsiteX114" fmla="*/ 654082 w 3649028"/>
                  <a:gd name="connsiteY114" fmla="*/ 388239 h 590169"/>
                  <a:gd name="connsiteX115" fmla="*/ 696182 w 3649028"/>
                  <a:gd name="connsiteY115" fmla="*/ 388239 h 590169"/>
                  <a:gd name="connsiteX116" fmla="*/ 696182 w 3649028"/>
                  <a:gd name="connsiteY116" fmla="*/ 394240 h 590169"/>
                  <a:gd name="connsiteX117" fmla="*/ 710851 w 3649028"/>
                  <a:gd name="connsiteY117" fmla="*/ 394240 h 590169"/>
                  <a:gd name="connsiteX118" fmla="*/ 710851 w 3649028"/>
                  <a:gd name="connsiteY118" fmla="*/ 400336 h 590169"/>
                  <a:gd name="connsiteX119" fmla="*/ 740378 w 3649028"/>
                  <a:gd name="connsiteY119" fmla="*/ 400336 h 590169"/>
                  <a:gd name="connsiteX120" fmla="*/ 740378 w 3649028"/>
                  <a:gd name="connsiteY120" fmla="*/ 406432 h 590169"/>
                  <a:gd name="connsiteX121" fmla="*/ 742474 w 3649028"/>
                  <a:gd name="connsiteY121" fmla="*/ 406432 h 590169"/>
                  <a:gd name="connsiteX122" fmla="*/ 742474 w 3649028"/>
                  <a:gd name="connsiteY122" fmla="*/ 412433 h 590169"/>
                  <a:gd name="connsiteX123" fmla="*/ 765524 w 3649028"/>
                  <a:gd name="connsiteY123" fmla="*/ 412433 h 590169"/>
                  <a:gd name="connsiteX124" fmla="*/ 765524 w 3649028"/>
                  <a:gd name="connsiteY124" fmla="*/ 418529 h 590169"/>
                  <a:gd name="connsiteX125" fmla="*/ 778193 w 3649028"/>
                  <a:gd name="connsiteY125" fmla="*/ 418529 h 590169"/>
                  <a:gd name="connsiteX126" fmla="*/ 778193 w 3649028"/>
                  <a:gd name="connsiteY126" fmla="*/ 424625 h 590169"/>
                  <a:gd name="connsiteX127" fmla="*/ 813911 w 3649028"/>
                  <a:gd name="connsiteY127" fmla="*/ 424625 h 590169"/>
                  <a:gd name="connsiteX128" fmla="*/ 813911 w 3649028"/>
                  <a:gd name="connsiteY128" fmla="*/ 430721 h 590169"/>
                  <a:gd name="connsiteX129" fmla="*/ 929640 w 3649028"/>
                  <a:gd name="connsiteY129" fmla="*/ 430721 h 590169"/>
                  <a:gd name="connsiteX130" fmla="*/ 929640 w 3649028"/>
                  <a:gd name="connsiteY130" fmla="*/ 436722 h 590169"/>
                  <a:gd name="connsiteX131" fmla="*/ 967454 w 3649028"/>
                  <a:gd name="connsiteY131" fmla="*/ 436722 h 590169"/>
                  <a:gd name="connsiteX132" fmla="*/ 967454 w 3649028"/>
                  <a:gd name="connsiteY132" fmla="*/ 442913 h 590169"/>
                  <a:gd name="connsiteX133" fmla="*/ 1020032 w 3649028"/>
                  <a:gd name="connsiteY133" fmla="*/ 442913 h 590169"/>
                  <a:gd name="connsiteX134" fmla="*/ 1020032 w 3649028"/>
                  <a:gd name="connsiteY134" fmla="*/ 449009 h 590169"/>
                  <a:gd name="connsiteX135" fmla="*/ 1038987 w 3649028"/>
                  <a:gd name="connsiteY135" fmla="*/ 449009 h 590169"/>
                  <a:gd name="connsiteX136" fmla="*/ 1038987 w 3649028"/>
                  <a:gd name="connsiteY136" fmla="*/ 455105 h 590169"/>
                  <a:gd name="connsiteX137" fmla="*/ 1049465 w 3649028"/>
                  <a:gd name="connsiteY137" fmla="*/ 455105 h 590169"/>
                  <a:gd name="connsiteX138" fmla="*/ 1049465 w 3649028"/>
                  <a:gd name="connsiteY138" fmla="*/ 461296 h 590169"/>
                  <a:gd name="connsiteX139" fmla="*/ 1083183 w 3649028"/>
                  <a:gd name="connsiteY139" fmla="*/ 461296 h 590169"/>
                  <a:gd name="connsiteX140" fmla="*/ 1083183 w 3649028"/>
                  <a:gd name="connsiteY140" fmla="*/ 467392 h 590169"/>
                  <a:gd name="connsiteX141" fmla="*/ 1089470 w 3649028"/>
                  <a:gd name="connsiteY141" fmla="*/ 467392 h 590169"/>
                  <a:gd name="connsiteX142" fmla="*/ 1089470 w 3649028"/>
                  <a:gd name="connsiteY142" fmla="*/ 473488 h 590169"/>
                  <a:gd name="connsiteX143" fmla="*/ 1104138 w 3649028"/>
                  <a:gd name="connsiteY143" fmla="*/ 473488 h 590169"/>
                  <a:gd name="connsiteX144" fmla="*/ 1104138 w 3649028"/>
                  <a:gd name="connsiteY144" fmla="*/ 479584 h 590169"/>
                  <a:gd name="connsiteX145" fmla="*/ 1116806 w 3649028"/>
                  <a:gd name="connsiteY145" fmla="*/ 479584 h 590169"/>
                  <a:gd name="connsiteX146" fmla="*/ 1116806 w 3649028"/>
                  <a:gd name="connsiteY146" fmla="*/ 485775 h 590169"/>
                  <a:gd name="connsiteX147" fmla="*/ 1142048 w 3649028"/>
                  <a:gd name="connsiteY147" fmla="*/ 485775 h 590169"/>
                  <a:gd name="connsiteX148" fmla="*/ 1142048 w 3649028"/>
                  <a:gd name="connsiteY148" fmla="*/ 491871 h 590169"/>
                  <a:gd name="connsiteX149" fmla="*/ 1371314 w 3649028"/>
                  <a:gd name="connsiteY149" fmla="*/ 491871 h 590169"/>
                  <a:gd name="connsiteX150" fmla="*/ 1371314 w 3649028"/>
                  <a:gd name="connsiteY150" fmla="*/ 498063 h 590169"/>
                  <a:gd name="connsiteX151" fmla="*/ 1484852 w 3649028"/>
                  <a:gd name="connsiteY151" fmla="*/ 498063 h 590169"/>
                  <a:gd name="connsiteX152" fmla="*/ 1484852 w 3649028"/>
                  <a:gd name="connsiteY152" fmla="*/ 504254 h 590169"/>
                  <a:gd name="connsiteX153" fmla="*/ 1754029 w 3649028"/>
                  <a:gd name="connsiteY153" fmla="*/ 504254 h 590169"/>
                  <a:gd name="connsiteX154" fmla="*/ 1754029 w 3649028"/>
                  <a:gd name="connsiteY154" fmla="*/ 510540 h 590169"/>
                  <a:gd name="connsiteX155" fmla="*/ 1827657 w 3649028"/>
                  <a:gd name="connsiteY155" fmla="*/ 510540 h 590169"/>
                  <a:gd name="connsiteX156" fmla="*/ 1827657 w 3649028"/>
                  <a:gd name="connsiteY156" fmla="*/ 516827 h 590169"/>
                  <a:gd name="connsiteX157" fmla="*/ 1907572 w 3649028"/>
                  <a:gd name="connsiteY157" fmla="*/ 516827 h 590169"/>
                  <a:gd name="connsiteX158" fmla="*/ 1907572 w 3649028"/>
                  <a:gd name="connsiteY158" fmla="*/ 523113 h 590169"/>
                  <a:gd name="connsiteX159" fmla="*/ 2069497 w 3649028"/>
                  <a:gd name="connsiteY159" fmla="*/ 523113 h 590169"/>
                  <a:gd name="connsiteX160" fmla="*/ 2069497 w 3649028"/>
                  <a:gd name="connsiteY160" fmla="*/ 529590 h 590169"/>
                  <a:gd name="connsiteX161" fmla="*/ 2086356 w 3649028"/>
                  <a:gd name="connsiteY161" fmla="*/ 529590 h 590169"/>
                  <a:gd name="connsiteX162" fmla="*/ 2086356 w 3649028"/>
                  <a:gd name="connsiteY162" fmla="*/ 535972 h 590169"/>
                  <a:gd name="connsiteX163" fmla="*/ 2204180 w 3649028"/>
                  <a:gd name="connsiteY163" fmla="*/ 535972 h 590169"/>
                  <a:gd name="connsiteX164" fmla="*/ 2204180 w 3649028"/>
                  <a:gd name="connsiteY164" fmla="*/ 542449 h 590169"/>
                  <a:gd name="connsiteX165" fmla="*/ 2296668 w 3649028"/>
                  <a:gd name="connsiteY165" fmla="*/ 542449 h 590169"/>
                  <a:gd name="connsiteX166" fmla="*/ 2296668 w 3649028"/>
                  <a:gd name="connsiteY166" fmla="*/ 548831 h 590169"/>
                  <a:gd name="connsiteX167" fmla="*/ 2315623 w 3649028"/>
                  <a:gd name="connsiteY167" fmla="*/ 548831 h 590169"/>
                  <a:gd name="connsiteX168" fmla="*/ 2315623 w 3649028"/>
                  <a:gd name="connsiteY168" fmla="*/ 555308 h 590169"/>
                  <a:gd name="connsiteX169" fmla="*/ 3169444 w 3649028"/>
                  <a:gd name="connsiteY169" fmla="*/ 555308 h 590169"/>
                  <a:gd name="connsiteX170" fmla="*/ 3169444 w 3649028"/>
                  <a:gd name="connsiteY170" fmla="*/ 590169 h 590169"/>
                  <a:gd name="connsiteX171" fmla="*/ 3649028 w 3649028"/>
                  <a:gd name="connsiteY171" fmla="*/ 590169 h 590169"/>
                  <a:gd name="connsiteX0" fmla="*/ 0 w 3638455"/>
                  <a:gd name="connsiteY0" fmla="*/ 0 h 590169"/>
                  <a:gd name="connsiteX1" fmla="*/ 0 w 3638455"/>
                  <a:gd name="connsiteY1" fmla="*/ 6001 h 590169"/>
                  <a:gd name="connsiteX2" fmla="*/ 50482 w 3638455"/>
                  <a:gd name="connsiteY2" fmla="*/ 6001 h 590169"/>
                  <a:gd name="connsiteX3" fmla="*/ 50482 w 3638455"/>
                  <a:gd name="connsiteY3" fmla="*/ 12097 h 590169"/>
                  <a:gd name="connsiteX4" fmla="*/ 58864 w 3638455"/>
                  <a:gd name="connsiteY4" fmla="*/ 12097 h 590169"/>
                  <a:gd name="connsiteX5" fmla="*/ 58864 w 3638455"/>
                  <a:gd name="connsiteY5" fmla="*/ 24194 h 590169"/>
                  <a:gd name="connsiteX6" fmla="*/ 65151 w 3638455"/>
                  <a:gd name="connsiteY6" fmla="*/ 24194 h 590169"/>
                  <a:gd name="connsiteX7" fmla="*/ 65151 w 3638455"/>
                  <a:gd name="connsiteY7" fmla="*/ 30290 h 590169"/>
                  <a:gd name="connsiteX8" fmla="*/ 69342 w 3638455"/>
                  <a:gd name="connsiteY8" fmla="*/ 30290 h 590169"/>
                  <a:gd name="connsiteX9" fmla="*/ 69342 w 3638455"/>
                  <a:gd name="connsiteY9" fmla="*/ 36386 h 590169"/>
                  <a:gd name="connsiteX10" fmla="*/ 73533 w 3638455"/>
                  <a:gd name="connsiteY10" fmla="*/ 36386 h 590169"/>
                  <a:gd name="connsiteX11" fmla="*/ 73533 w 3638455"/>
                  <a:gd name="connsiteY11" fmla="*/ 42482 h 590169"/>
                  <a:gd name="connsiteX12" fmla="*/ 75628 w 3638455"/>
                  <a:gd name="connsiteY12" fmla="*/ 42482 h 590169"/>
                  <a:gd name="connsiteX13" fmla="*/ 75628 w 3638455"/>
                  <a:gd name="connsiteY13" fmla="*/ 48483 h 590169"/>
                  <a:gd name="connsiteX14" fmla="*/ 77819 w 3638455"/>
                  <a:gd name="connsiteY14" fmla="*/ 48483 h 590169"/>
                  <a:gd name="connsiteX15" fmla="*/ 77819 w 3638455"/>
                  <a:gd name="connsiteY15" fmla="*/ 54579 h 590169"/>
                  <a:gd name="connsiteX16" fmla="*/ 88296 w 3638455"/>
                  <a:gd name="connsiteY16" fmla="*/ 54579 h 590169"/>
                  <a:gd name="connsiteX17" fmla="*/ 88296 w 3638455"/>
                  <a:gd name="connsiteY17" fmla="*/ 60675 h 590169"/>
                  <a:gd name="connsiteX18" fmla="*/ 94583 w 3638455"/>
                  <a:gd name="connsiteY18" fmla="*/ 60675 h 590169"/>
                  <a:gd name="connsiteX19" fmla="*/ 94583 w 3638455"/>
                  <a:gd name="connsiteY19" fmla="*/ 66675 h 590169"/>
                  <a:gd name="connsiteX20" fmla="*/ 109347 w 3638455"/>
                  <a:gd name="connsiteY20" fmla="*/ 66675 h 590169"/>
                  <a:gd name="connsiteX21" fmla="*/ 109347 w 3638455"/>
                  <a:gd name="connsiteY21" fmla="*/ 72771 h 590169"/>
                  <a:gd name="connsiteX22" fmla="*/ 117729 w 3638455"/>
                  <a:gd name="connsiteY22" fmla="*/ 72771 h 590169"/>
                  <a:gd name="connsiteX23" fmla="*/ 117729 w 3638455"/>
                  <a:gd name="connsiteY23" fmla="*/ 78867 h 590169"/>
                  <a:gd name="connsiteX24" fmla="*/ 128302 w 3638455"/>
                  <a:gd name="connsiteY24" fmla="*/ 78867 h 590169"/>
                  <a:gd name="connsiteX25" fmla="*/ 128302 w 3638455"/>
                  <a:gd name="connsiteY25" fmla="*/ 84868 h 590169"/>
                  <a:gd name="connsiteX26" fmla="*/ 140875 w 3638455"/>
                  <a:gd name="connsiteY26" fmla="*/ 84868 h 590169"/>
                  <a:gd name="connsiteX27" fmla="*/ 140875 w 3638455"/>
                  <a:gd name="connsiteY27" fmla="*/ 90964 h 590169"/>
                  <a:gd name="connsiteX28" fmla="*/ 147161 w 3638455"/>
                  <a:gd name="connsiteY28" fmla="*/ 90964 h 590169"/>
                  <a:gd name="connsiteX29" fmla="*/ 147161 w 3638455"/>
                  <a:gd name="connsiteY29" fmla="*/ 103061 h 590169"/>
                  <a:gd name="connsiteX30" fmla="*/ 151352 w 3638455"/>
                  <a:gd name="connsiteY30" fmla="*/ 103061 h 590169"/>
                  <a:gd name="connsiteX31" fmla="*/ 151352 w 3638455"/>
                  <a:gd name="connsiteY31" fmla="*/ 109157 h 590169"/>
                  <a:gd name="connsiteX32" fmla="*/ 164020 w 3638455"/>
                  <a:gd name="connsiteY32" fmla="*/ 109157 h 590169"/>
                  <a:gd name="connsiteX33" fmla="*/ 164020 w 3638455"/>
                  <a:gd name="connsiteY33" fmla="*/ 115253 h 590169"/>
                  <a:gd name="connsiteX34" fmla="*/ 178689 w 3638455"/>
                  <a:gd name="connsiteY34" fmla="*/ 115253 h 590169"/>
                  <a:gd name="connsiteX35" fmla="*/ 178689 w 3638455"/>
                  <a:gd name="connsiteY35" fmla="*/ 121254 h 590169"/>
                  <a:gd name="connsiteX36" fmla="*/ 182975 w 3638455"/>
                  <a:gd name="connsiteY36" fmla="*/ 121254 h 590169"/>
                  <a:gd name="connsiteX37" fmla="*/ 182975 w 3638455"/>
                  <a:gd name="connsiteY37" fmla="*/ 127350 h 590169"/>
                  <a:gd name="connsiteX38" fmla="*/ 193452 w 3638455"/>
                  <a:gd name="connsiteY38" fmla="*/ 127350 h 590169"/>
                  <a:gd name="connsiteX39" fmla="*/ 193452 w 3638455"/>
                  <a:gd name="connsiteY39" fmla="*/ 133446 h 590169"/>
                  <a:gd name="connsiteX40" fmla="*/ 201835 w 3638455"/>
                  <a:gd name="connsiteY40" fmla="*/ 133446 h 590169"/>
                  <a:gd name="connsiteX41" fmla="*/ 201835 w 3638455"/>
                  <a:gd name="connsiteY41" fmla="*/ 139542 h 590169"/>
                  <a:gd name="connsiteX42" fmla="*/ 216598 w 3638455"/>
                  <a:gd name="connsiteY42" fmla="*/ 139542 h 590169"/>
                  <a:gd name="connsiteX43" fmla="*/ 216598 w 3638455"/>
                  <a:gd name="connsiteY43" fmla="*/ 145542 h 590169"/>
                  <a:gd name="connsiteX44" fmla="*/ 220789 w 3638455"/>
                  <a:gd name="connsiteY44" fmla="*/ 145542 h 590169"/>
                  <a:gd name="connsiteX45" fmla="*/ 220789 w 3638455"/>
                  <a:gd name="connsiteY45" fmla="*/ 151638 h 590169"/>
                  <a:gd name="connsiteX46" fmla="*/ 224980 w 3638455"/>
                  <a:gd name="connsiteY46" fmla="*/ 151638 h 590169"/>
                  <a:gd name="connsiteX47" fmla="*/ 224980 w 3638455"/>
                  <a:gd name="connsiteY47" fmla="*/ 157734 h 590169"/>
                  <a:gd name="connsiteX48" fmla="*/ 237649 w 3638455"/>
                  <a:gd name="connsiteY48" fmla="*/ 157734 h 590169"/>
                  <a:gd name="connsiteX49" fmla="*/ 237649 w 3638455"/>
                  <a:gd name="connsiteY49" fmla="*/ 163735 h 590169"/>
                  <a:gd name="connsiteX50" fmla="*/ 267081 w 3638455"/>
                  <a:gd name="connsiteY50" fmla="*/ 163735 h 590169"/>
                  <a:gd name="connsiteX51" fmla="*/ 267081 w 3638455"/>
                  <a:gd name="connsiteY51" fmla="*/ 169831 h 590169"/>
                  <a:gd name="connsiteX52" fmla="*/ 275463 w 3638455"/>
                  <a:gd name="connsiteY52" fmla="*/ 169831 h 590169"/>
                  <a:gd name="connsiteX53" fmla="*/ 275463 w 3638455"/>
                  <a:gd name="connsiteY53" fmla="*/ 175927 h 590169"/>
                  <a:gd name="connsiteX54" fmla="*/ 277558 w 3638455"/>
                  <a:gd name="connsiteY54" fmla="*/ 175927 h 590169"/>
                  <a:gd name="connsiteX55" fmla="*/ 277558 w 3638455"/>
                  <a:gd name="connsiteY55" fmla="*/ 181928 h 590169"/>
                  <a:gd name="connsiteX56" fmla="*/ 292322 w 3638455"/>
                  <a:gd name="connsiteY56" fmla="*/ 181928 h 590169"/>
                  <a:gd name="connsiteX57" fmla="*/ 292322 w 3638455"/>
                  <a:gd name="connsiteY57" fmla="*/ 194120 h 590169"/>
                  <a:gd name="connsiteX58" fmla="*/ 294418 w 3638455"/>
                  <a:gd name="connsiteY58" fmla="*/ 194120 h 590169"/>
                  <a:gd name="connsiteX59" fmla="*/ 294418 w 3638455"/>
                  <a:gd name="connsiteY59" fmla="*/ 200121 h 590169"/>
                  <a:gd name="connsiteX60" fmla="*/ 300704 w 3638455"/>
                  <a:gd name="connsiteY60" fmla="*/ 200121 h 590169"/>
                  <a:gd name="connsiteX61" fmla="*/ 300704 w 3638455"/>
                  <a:gd name="connsiteY61" fmla="*/ 206217 h 590169"/>
                  <a:gd name="connsiteX62" fmla="*/ 304895 w 3638455"/>
                  <a:gd name="connsiteY62" fmla="*/ 206217 h 590169"/>
                  <a:gd name="connsiteX63" fmla="*/ 304895 w 3638455"/>
                  <a:gd name="connsiteY63" fmla="*/ 212313 h 590169"/>
                  <a:gd name="connsiteX64" fmla="*/ 321754 w 3638455"/>
                  <a:gd name="connsiteY64" fmla="*/ 212313 h 590169"/>
                  <a:gd name="connsiteX65" fmla="*/ 321754 w 3638455"/>
                  <a:gd name="connsiteY65" fmla="*/ 224409 h 590169"/>
                  <a:gd name="connsiteX66" fmla="*/ 325945 w 3638455"/>
                  <a:gd name="connsiteY66" fmla="*/ 224409 h 590169"/>
                  <a:gd name="connsiteX67" fmla="*/ 325945 w 3638455"/>
                  <a:gd name="connsiteY67" fmla="*/ 230505 h 590169"/>
                  <a:gd name="connsiteX68" fmla="*/ 349091 w 3638455"/>
                  <a:gd name="connsiteY68" fmla="*/ 230505 h 590169"/>
                  <a:gd name="connsiteX69" fmla="*/ 349091 w 3638455"/>
                  <a:gd name="connsiteY69" fmla="*/ 236601 h 590169"/>
                  <a:gd name="connsiteX70" fmla="*/ 353282 w 3638455"/>
                  <a:gd name="connsiteY70" fmla="*/ 236601 h 590169"/>
                  <a:gd name="connsiteX71" fmla="*/ 353282 w 3638455"/>
                  <a:gd name="connsiteY71" fmla="*/ 242602 h 590169"/>
                  <a:gd name="connsiteX72" fmla="*/ 359569 w 3638455"/>
                  <a:gd name="connsiteY72" fmla="*/ 242602 h 590169"/>
                  <a:gd name="connsiteX73" fmla="*/ 359569 w 3638455"/>
                  <a:gd name="connsiteY73" fmla="*/ 254794 h 590169"/>
                  <a:gd name="connsiteX74" fmla="*/ 378523 w 3638455"/>
                  <a:gd name="connsiteY74" fmla="*/ 254794 h 590169"/>
                  <a:gd name="connsiteX75" fmla="*/ 378523 w 3638455"/>
                  <a:gd name="connsiteY75" fmla="*/ 260795 h 590169"/>
                  <a:gd name="connsiteX76" fmla="*/ 386905 w 3638455"/>
                  <a:gd name="connsiteY76" fmla="*/ 260795 h 590169"/>
                  <a:gd name="connsiteX77" fmla="*/ 386905 w 3638455"/>
                  <a:gd name="connsiteY77" fmla="*/ 266891 h 590169"/>
                  <a:gd name="connsiteX78" fmla="*/ 399574 w 3638455"/>
                  <a:gd name="connsiteY78" fmla="*/ 266891 h 590169"/>
                  <a:gd name="connsiteX79" fmla="*/ 399574 w 3638455"/>
                  <a:gd name="connsiteY79" fmla="*/ 272987 h 590169"/>
                  <a:gd name="connsiteX80" fmla="*/ 416433 w 3638455"/>
                  <a:gd name="connsiteY80" fmla="*/ 272987 h 590169"/>
                  <a:gd name="connsiteX81" fmla="*/ 416433 w 3638455"/>
                  <a:gd name="connsiteY81" fmla="*/ 278988 h 590169"/>
                  <a:gd name="connsiteX82" fmla="*/ 443770 w 3638455"/>
                  <a:gd name="connsiteY82" fmla="*/ 278988 h 590169"/>
                  <a:gd name="connsiteX83" fmla="*/ 443770 w 3638455"/>
                  <a:gd name="connsiteY83" fmla="*/ 285084 h 590169"/>
                  <a:gd name="connsiteX84" fmla="*/ 445865 w 3638455"/>
                  <a:gd name="connsiteY84" fmla="*/ 285084 h 590169"/>
                  <a:gd name="connsiteX85" fmla="*/ 445865 w 3638455"/>
                  <a:gd name="connsiteY85" fmla="*/ 291180 h 590169"/>
                  <a:gd name="connsiteX86" fmla="*/ 456342 w 3638455"/>
                  <a:gd name="connsiteY86" fmla="*/ 291180 h 590169"/>
                  <a:gd name="connsiteX87" fmla="*/ 456342 w 3638455"/>
                  <a:gd name="connsiteY87" fmla="*/ 297180 h 590169"/>
                  <a:gd name="connsiteX88" fmla="*/ 462629 w 3638455"/>
                  <a:gd name="connsiteY88" fmla="*/ 297180 h 590169"/>
                  <a:gd name="connsiteX89" fmla="*/ 462629 w 3638455"/>
                  <a:gd name="connsiteY89" fmla="*/ 309372 h 590169"/>
                  <a:gd name="connsiteX90" fmla="*/ 471106 w 3638455"/>
                  <a:gd name="connsiteY90" fmla="*/ 309372 h 590169"/>
                  <a:gd name="connsiteX91" fmla="*/ 471106 w 3638455"/>
                  <a:gd name="connsiteY91" fmla="*/ 315373 h 590169"/>
                  <a:gd name="connsiteX92" fmla="*/ 477393 w 3638455"/>
                  <a:gd name="connsiteY92" fmla="*/ 315373 h 590169"/>
                  <a:gd name="connsiteX93" fmla="*/ 477393 w 3638455"/>
                  <a:gd name="connsiteY93" fmla="*/ 327565 h 590169"/>
                  <a:gd name="connsiteX94" fmla="*/ 479488 w 3638455"/>
                  <a:gd name="connsiteY94" fmla="*/ 327565 h 590169"/>
                  <a:gd name="connsiteX95" fmla="*/ 479488 w 3638455"/>
                  <a:gd name="connsiteY95" fmla="*/ 333661 h 590169"/>
                  <a:gd name="connsiteX96" fmla="*/ 492061 w 3638455"/>
                  <a:gd name="connsiteY96" fmla="*/ 333661 h 590169"/>
                  <a:gd name="connsiteX97" fmla="*/ 492061 w 3638455"/>
                  <a:gd name="connsiteY97" fmla="*/ 339662 h 590169"/>
                  <a:gd name="connsiteX98" fmla="*/ 515207 w 3638455"/>
                  <a:gd name="connsiteY98" fmla="*/ 339662 h 590169"/>
                  <a:gd name="connsiteX99" fmla="*/ 515207 w 3638455"/>
                  <a:gd name="connsiteY99" fmla="*/ 345758 h 590169"/>
                  <a:gd name="connsiteX100" fmla="*/ 521589 w 3638455"/>
                  <a:gd name="connsiteY100" fmla="*/ 345758 h 590169"/>
                  <a:gd name="connsiteX101" fmla="*/ 521589 w 3638455"/>
                  <a:gd name="connsiteY101" fmla="*/ 351854 h 590169"/>
                  <a:gd name="connsiteX102" fmla="*/ 529971 w 3638455"/>
                  <a:gd name="connsiteY102" fmla="*/ 351854 h 590169"/>
                  <a:gd name="connsiteX103" fmla="*/ 529971 w 3638455"/>
                  <a:gd name="connsiteY103" fmla="*/ 357855 h 590169"/>
                  <a:gd name="connsiteX104" fmla="*/ 538353 w 3638455"/>
                  <a:gd name="connsiteY104" fmla="*/ 357855 h 590169"/>
                  <a:gd name="connsiteX105" fmla="*/ 538353 w 3638455"/>
                  <a:gd name="connsiteY105" fmla="*/ 363951 h 590169"/>
                  <a:gd name="connsiteX106" fmla="*/ 542544 w 3638455"/>
                  <a:gd name="connsiteY106" fmla="*/ 363951 h 590169"/>
                  <a:gd name="connsiteX107" fmla="*/ 542544 w 3638455"/>
                  <a:gd name="connsiteY107" fmla="*/ 370047 h 590169"/>
                  <a:gd name="connsiteX108" fmla="*/ 616172 w 3638455"/>
                  <a:gd name="connsiteY108" fmla="*/ 370047 h 590169"/>
                  <a:gd name="connsiteX109" fmla="*/ 616172 w 3638455"/>
                  <a:gd name="connsiteY109" fmla="*/ 376047 h 590169"/>
                  <a:gd name="connsiteX110" fmla="*/ 637222 w 3638455"/>
                  <a:gd name="connsiteY110" fmla="*/ 376047 h 590169"/>
                  <a:gd name="connsiteX111" fmla="*/ 637222 w 3638455"/>
                  <a:gd name="connsiteY111" fmla="*/ 382143 h 590169"/>
                  <a:gd name="connsiteX112" fmla="*/ 643509 w 3638455"/>
                  <a:gd name="connsiteY112" fmla="*/ 382143 h 590169"/>
                  <a:gd name="connsiteX113" fmla="*/ 643509 w 3638455"/>
                  <a:gd name="connsiteY113" fmla="*/ 388239 h 590169"/>
                  <a:gd name="connsiteX114" fmla="*/ 685609 w 3638455"/>
                  <a:gd name="connsiteY114" fmla="*/ 388239 h 590169"/>
                  <a:gd name="connsiteX115" fmla="*/ 685609 w 3638455"/>
                  <a:gd name="connsiteY115" fmla="*/ 394240 h 590169"/>
                  <a:gd name="connsiteX116" fmla="*/ 700278 w 3638455"/>
                  <a:gd name="connsiteY116" fmla="*/ 394240 h 590169"/>
                  <a:gd name="connsiteX117" fmla="*/ 700278 w 3638455"/>
                  <a:gd name="connsiteY117" fmla="*/ 400336 h 590169"/>
                  <a:gd name="connsiteX118" fmla="*/ 729805 w 3638455"/>
                  <a:gd name="connsiteY118" fmla="*/ 400336 h 590169"/>
                  <a:gd name="connsiteX119" fmla="*/ 729805 w 3638455"/>
                  <a:gd name="connsiteY119" fmla="*/ 406432 h 590169"/>
                  <a:gd name="connsiteX120" fmla="*/ 731901 w 3638455"/>
                  <a:gd name="connsiteY120" fmla="*/ 406432 h 590169"/>
                  <a:gd name="connsiteX121" fmla="*/ 731901 w 3638455"/>
                  <a:gd name="connsiteY121" fmla="*/ 412433 h 590169"/>
                  <a:gd name="connsiteX122" fmla="*/ 754951 w 3638455"/>
                  <a:gd name="connsiteY122" fmla="*/ 412433 h 590169"/>
                  <a:gd name="connsiteX123" fmla="*/ 754951 w 3638455"/>
                  <a:gd name="connsiteY123" fmla="*/ 418529 h 590169"/>
                  <a:gd name="connsiteX124" fmla="*/ 767620 w 3638455"/>
                  <a:gd name="connsiteY124" fmla="*/ 418529 h 590169"/>
                  <a:gd name="connsiteX125" fmla="*/ 767620 w 3638455"/>
                  <a:gd name="connsiteY125" fmla="*/ 424625 h 590169"/>
                  <a:gd name="connsiteX126" fmla="*/ 803338 w 3638455"/>
                  <a:gd name="connsiteY126" fmla="*/ 424625 h 590169"/>
                  <a:gd name="connsiteX127" fmla="*/ 803338 w 3638455"/>
                  <a:gd name="connsiteY127" fmla="*/ 430721 h 590169"/>
                  <a:gd name="connsiteX128" fmla="*/ 919067 w 3638455"/>
                  <a:gd name="connsiteY128" fmla="*/ 430721 h 590169"/>
                  <a:gd name="connsiteX129" fmla="*/ 919067 w 3638455"/>
                  <a:gd name="connsiteY129" fmla="*/ 436722 h 590169"/>
                  <a:gd name="connsiteX130" fmla="*/ 956881 w 3638455"/>
                  <a:gd name="connsiteY130" fmla="*/ 436722 h 590169"/>
                  <a:gd name="connsiteX131" fmla="*/ 956881 w 3638455"/>
                  <a:gd name="connsiteY131" fmla="*/ 442913 h 590169"/>
                  <a:gd name="connsiteX132" fmla="*/ 1009459 w 3638455"/>
                  <a:gd name="connsiteY132" fmla="*/ 442913 h 590169"/>
                  <a:gd name="connsiteX133" fmla="*/ 1009459 w 3638455"/>
                  <a:gd name="connsiteY133" fmla="*/ 449009 h 590169"/>
                  <a:gd name="connsiteX134" fmla="*/ 1028414 w 3638455"/>
                  <a:gd name="connsiteY134" fmla="*/ 449009 h 590169"/>
                  <a:gd name="connsiteX135" fmla="*/ 1028414 w 3638455"/>
                  <a:gd name="connsiteY135" fmla="*/ 455105 h 590169"/>
                  <a:gd name="connsiteX136" fmla="*/ 1038892 w 3638455"/>
                  <a:gd name="connsiteY136" fmla="*/ 455105 h 590169"/>
                  <a:gd name="connsiteX137" fmla="*/ 1038892 w 3638455"/>
                  <a:gd name="connsiteY137" fmla="*/ 461296 h 590169"/>
                  <a:gd name="connsiteX138" fmla="*/ 1072610 w 3638455"/>
                  <a:gd name="connsiteY138" fmla="*/ 461296 h 590169"/>
                  <a:gd name="connsiteX139" fmla="*/ 1072610 w 3638455"/>
                  <a:gd name="connsiteY139" fmla="*/ 467392 h 590169"/>
                  <a:gd name="connsiteX140" fmla="*/ 1078897 w 3638455"/>
                  <a:gd name="connsiteY140" fmla="*/ 467392 h 590169"/>
                  <a:gd name="connsiteX141" fmla="*/ 1078897 w 3638455"/>
                  <a:gd name="connsiteY141" fmla="*/ 473488 h 590169"/>
                  <a:gd name="connsiteX142" fmla="*/ 1093565 w 3638455"/>
                  <a:gd name="connsiteY142" fmla="*/ 473488 h 590169"/>
                  <a:gd name="connsiteX143" fmla="*/ 1093565 w 3638455"/>
                  <a:gd name="connsiteY143" fmla="*/ 479584 h 590169"/>
                  <a:gd name="connsiteX144" fmla="*/ 1106233 w 3638455"/>
                  <a:gd name="connsiteY144" fmla="*/ 479584 h 590169"/>
                  <a:gd name="connsiteX145" fmla="*/ 1106233 w 3638455"/>
                  <a:gd name="connsiteY145" fmla="*/ 485775 h 590169"/>
                  <a:gd name="connsiteX146" fmla="*/ 1131475 w 3638455"/>
                  <a:gd name="connsiteY146" fmla="*/ 485775 h 590169"/>
                  <a:gd name="connsiteX147" fmla="*/ 1131475 w 3638455"/>
                  <a:gd name="connsiteY147" fmla="*/ 491871 h 590169"/>
                  <a:gd name="connsiteX148" fmla="*/ 1360741 w 3638455"/>
                  <a:gd name="connsiteY148" fmla="*/ 491871 h 590169"/>
                  <a:gd name="connsiteX149" fmla="*/ 1360741 w 3638455"/>
                  <a:gd name="connsiteY149" fmla="*/ 498063 h 590169"/>
                  <a:gd name="connsiteX150" fmla="*/ 1474279 w 3638455"/>
                  <a:gd name="connsiteY150" fmla="*/ 498063 h 590169"/>
                  <a:gd name="connsiteX151" fmla="*/ 1474279 w 3638455"/>
                  <a:gd name="connsiteY151" fmla="*/ 504254 h 590169"/>
                  <a:gd name="connsiteX152" fmla="*/ 1743456 w 3638455"/>
                  <a:gd name="connsiteY152" fmla="*/ 504254 h 590169"/>
                  <a:gd name="connsiteX153" fmla="*/ 1743456 w 3638455"/>
                  <a:gd name="connsiteY153" fmla="*/ 510540 h 590169"/>
                  <a:gd name="connsiteX154" fmla="*/ 1817084 w 3638455"/>
                  <a:gd name="connsiteY154" fmla="*/ 510540 h 590169"/>
                  <a:gd name="connsiteX155" fmla="*/ 1817084 w 3638455"/>
                  <a:gd name="connsiteY155" fmla="*/ 516827 h 590169"/>
                  <a:gd name="connsiteX156" fmla="*/ 1896999 w 3638455"/>
                  <a:gd name="connsiteY156" fmla="*/ 516827 h 590169"/>
                  <a:gd name="connsiteX157" fmla="*/ 1896999 w 3638455"/>
                  <a:gd name="connsiteY157" fmla="*/ 523113 h 590169"/>
                  <a:gd name="connsiteX158" fmla="*/ 2058924 w 3638455"/>
                  <a:gd name="connsiteY158" fmla="*/ 523113 h 590169"/>
                  <a:gd name="connsiteX159" fmla="*/ 2058924 w 3638455"/>
                  <a:gd name="connsiteY159" fmla="*/ 529590 h 590169"/>
                  <a:gd name="connsiteX160" fmla="*/ 2075783 w 3638455"/>
                  <a:gd name="connsiteY160" fmla="*/ 529590 h 590169"/>
                  <a:gd name="connsiteX161" fmla="*/ 2075783 w 3638455"/>
                  <a:gd name="connsiteY161" fmla="*/ 535972 h 590169"/>
                  <a:gd name="connsiteX162" fmla="*/ 2193607 w 3638455"/>
                  <a:gd name="connsiteY162" fmla="*/ 535972 h 590169"/>
                  <a:gd name="connsiteX163" fmla="*/ 2193607 w 3638455"/>
                  <a:gd name="connsiteY163" fmla="*/ 542449 h 590169"/>
                  <a:gd name="connsiteX164" fmla="*/ 2286095 w 3638455"/>
                  <a:gd name="connsiteY164" fmla="*/ 542449 h 590169"/>
                  <a:gd name="connsiteX165" fmla="*/ 2286095 w 3638455"/>
                  <a:gd name="connsiteY165" fmla="*/ 548831 h 590169"/>
                  <a:gd name="connsiteX166" fmla="*/ 2305050 w 3638455"/>
                  <a:gd name="connsiteY166" fmla="*/ 548831 h 590169"/>
                  <a:gd name="connsiteX167" fmla="*/ 2305050 w 3638455"/>
                  <a:gd name="connsiteY167" fmla="*/ 555308 h 590169"/>
                  <a:gd name="connsiteX168" fmla="*/ 3158871 w 3638455"/>
                  <a:gd name="connsiteY168" fmla="*/ 555308 h 590169"/>
                  <a:gd name="connsiteX169" fmla="*/ 3158871 w 3638455"/>
                  <a:gd name="connsiteY169" fmla="*/ 590169 h 590169"/>
                  <a:gd name="connsiteX170" fmla="*/ 3638455 w 3638455"/>
                  <a:gd name="connsiteY170" fmla="*/ 590169 h 590169"/>
                  <a:gd name="connsiteX0" fmla="*/ 0 w 3638455"/>
                  <a:gd name="connsiteY0" fmla="*/ 0 h 590169"/>
                  <a:gd name="connsiteX1" fmla="*/ 50482 w 3638455"/>
                  <a:gd name="connsiteY1" fmla="*/ 6001 h 590169"/>
                  <a:gd name="connsiteX2" fmla="*/ 50482 w 3638455"/>
                  <a:gd name="connsiteY2" fmla="*/ 12097 h 590169"/>
                  <a:gd name="connsiteX3" fmla="*/ 58864 w 3638455"/>
                  <a:gd name="connsiteY3" fmla="*/ 12097 h 590169"/>
                  <a:gd name="connsiteX4" fmla="*/ 58864 w 3638455"/>
                  <a:gd name="connsiteY4" fmla="*/ 24194 h 590169"/>
                  <a:gd name="connsiteX5" fmla="*/ 65151 w 3638455"/>
                  <a:gd name="connsiteY5" fmla="*/ 24194 h 590169"/>
                  <a:gd name="connsiteX6" fmla="*/ 65151 w 3638455"/>
                  <a:gd name="connsiteY6" fmla="*/ 30290 h 590169"/>
                  <a:gd name="connsiteX7" fmla="*/ 69342 w 3638455"/>
                  <a:gd name="connsiteY7" fmla="*/ 30290 h 590169"/>
                  <a:gd name="connsiteX8" fmla="*/ 69342 w 3638455"/>
                  <a:gd name="connsiteY8" fmla="*/ 36386 h 590169"/>
                  <a:gd name="connsiteX9" fmla="*/ 73533 w 3638455"/>
                  <a:gd name="connsiteY9" fmla="*/ 36386 h 590169"/>
                  <a:gd name="connsiteX10" fmla="*/ 73533 w 3638455"/>
                  <a:gd name="connsiteY10" fmla="*/ 42482 h 590169"/>
                  <a:gd name="connsiteX11" fmla="*/ 75628 w 3638455"/>
                  <a:gd name="connsiteY11" fmla="*/ 42482 h 590169"/>
                  <a:gd name="connsiteX12" fmla="*/ 75628 w 3638455"/>
                  <a:gd name="connsiteY12" fmla="*/ 48483 h 590169"/>
                  <a:gd name="connsiteX13" fmla="*/ 77819 w 3638455"/>
                  <a:gd name="connsiteY13" fmla="*/ 48483 h 590169"/>
                  <a:gd name="connsiteX14" fmla="*/ 77819 w 3638455"/>
                  <a:gd name="connsiteY14" fmla="*/ 54579 h 590169"/>
                  <a:gd name="connsiteX15" fmla="*/ 88296 w 3638455"/>
                  <a:gd name="connsiteY15" fmla="*/ 54579 h 590169"/>
                  <a:gd name="connsiteX16" fmla="*/ 88296 w 3638455"/>
                  <a:gd name="connsiteY16" fmla="*/ 60675 h 590169"/>
                  <a:gd name="connsiteX17" fmla="*/ 94583 w 3638455"/>
                  <a:gd name="connsiteY17" fmla="*/ 60675 h 590169"/>
                  <a:gd name="connsiteX18" fmla="*/ 94583 w 3638455"/>
                  <a:gd name="connsiteY18" fmla="*/ 66675 h 590169"/>
                  <a:gd name="connsiteX19" fmla="*/ 109347 w 3638455"/>
                  <a:gd name="connsiteY19" fmla="*/ 66675 h 590169"/>
                  <a:gd name="connsiteX20" fmla="*/ 109347 w 3638455"/>
                  <a:gd name="connsiteY20" fmla="*/ 72771 h 590169"/>
                  <a:gd name="connsiteX21" fmla="*/ 117729 w 3638455"/>
                  <a:gd name="connsiteY21" fmla="*/ 72771 h 590169"/>
                  <a:gd name="connsiteX22" fmla="*/ 117729 w 3638455"/>
                  <a:gd name="connsiteY22" fmla="*/ 78867 h 590169"/>
                  <a:gd name="connsiteX23" fmla="*/ 128302 w 3638455"/>
                  <a:gd name="connsiteY23" fmla="*/ 78867 h 590169"/>
                  <a:gd name="connsiteX24" fmla="*/ 128302 w 3638455"/>
                  <a:gd name="connsiteY24" fmla="*/ 84868 h 590169"/>
                  <a:gd name="connsiteX25" fmla="*/ 140875 w 3638455"/>
                  <a:gd name="connsiteY25" fmla="*/ 84868 h 590169"/>
                  <a:gd name="connsiteX26" fmla="*/ 140875 w 3638455"/>
                  <a:gd name="connsiteY26" fmla="*/ 90964 h 590169"/>
                  <a:gd name="connsiteX27" fmla="*/ 147161 w 3638455"/>
                  <a:gd name="connsiteY27" fmla="*/ 90964 h 590169"/>
                  <a:gd name="connsiteX28" fmla="*/ 147161 w 3638455"/>
                  <a:gd name="connsiteY28" fmla="*/ 103061 h 590169"/>
                  <a:gd name="connsiteX29" fmla="*/ 151352 w 3638455"/>
                  <a:gd name="connsiteY29" fmla="*/ 103061 h 590169"/>
                  <a:gd name="connsiteX30" fmla="*/ 151352 w 3638455"/>
                  <a:gd name="connsiteY30" fmla="*/ 109157 h 590169"/>
                  <a:gd name="connsiteX31" fmla="*/ 164020 w 3638455"/>
                  <a:gd name="connsiteY31" fmla="*/ 109157 h 590169"/>
                  <a:gd name="connsiteX32" fmla="*/ 164020 w 3638455"/>
                  <a:gd name="connsiteY32" fmla="*/ 115253 h 590169"/>
                  <a:gd name="connsiteX33" fmla="*/ 178689 w 3638455"/>
                  <a:gd name="connsiteY33" fmla="*/ 115253 h 590169"/>
                  <a:gd name="connsiteX34" fmla="*/ 178689 w 3638455"/>
                  <a:gd name="connsiteY34" fmla="*/ 121254 h 590169"/>
                  <a:gd name="connsiteX35" fmla="*/ 182975 w 3638455"/>
                  <a:gd name="connsiteY35" fmla="*/ 121254 h 590169"/>
                  <a:gd name="connsiteX36" fmla="*/ 182975 w 3638455"/>
                  <a:gd name="connsiteY36" fmla="*/ 127350 h 590169"/>
                  <a:gd name="connsiteX37" fmla="*/ 193452 w 3638455"/>
                  <a:gd name="connsiteY37" fmla="*/ 127350 h 590169"/>
                  <a:gd name="connsiteX38" fmla="*/ 193452 w 3638455"/>
                  <a:gd name="connsiteY38" fmla="*/ 133446 h 590169"/>
                  <a:gd name="connsiteX39" fmla="*/ 201835 w 3638455"/>
                  <a:gd name="connsiteY39" fmla="*/ 133446 h 590169"/>
                  <a:gd name="connsiteX40" fmla="*/ 201835 w 3638455"/>
                  <a:gd name="connsiteY40" fmla="*/ 139542 h 590169"/>
                  <a:gd name="connsiteX41" fmla="*/ 216598 w 3638455"/>
                  <a:gd name="connsiteY41" fmla="*/ 139542 h 590169"/>
                  <a:gd name="connsiteX42" fmla="*/ 216598 w 3638455"/>
                  <a:gd name="connsiteY42" fmla="*/ 145542 h 590169"/>
                  <a:gd name="connsiteX43" fmla="*/ 220789 w 3638455"/>
                  <a:gd name="connsiteY43" fmla="*/ 145542 h 590169"/>
                  <a:gd name="connsiteX44" fmla="*/ 220789 w 3638455"/>
                  <a:gd name="connsiteY44" fmla="*/ 151638 h 590169"/>
                  <a:gd name="connsiteX45" fmla="*/ 224980 w 3638455"/>
                  <a:gd name="connsiteY45" fmla="*/ 151638 h 590169"/>
                  <a:gd name="connsiteX46" fmla="*/ 224980 w 3638455"/>
                  <a:gd name="connsiteY46" fmla="*/ 157734 h 590169"/>
                  <a:gd name="connsiteX47" fmla="*/ 237649 w 3638455"/>
                  <a:gd name="connsiteY47" fmla="*/ 157734 h 590169"/>
                  <a:gd name="connsiteX48" fmla="*/ 237649 w 3638455"/>
                  <a:gd name="connsiteY48" fmla="*/ 163735 h 590169"/>
                  <a:gd name="connsiteX49" fmla="*/ 267081 w 3638455"/>
                  <a:gd name="connsiteY49" fmla="*/ 163735 h 590169"/>
                  <a:gd name="connsiteX50" fmla="*/ 267081 w 3638455"/>
                  <a:gd name="connsiteY50" fmla="*/ 169831 h 590169"/>
                  <a:gd name="connsiteX51" fmla="*/ 275463 w 3638455"/>
                  <a:gd name="connsiteY51" fmla="*/ 169831 h 590169"/>
                  <a:gd name="connsiteX52" fmla="*/ 275463 w 3638455"/>
                  <a:gd name="connsiteY52" fmla="*/ 175927 h 590169"/>
                  <a:gd name="connsiteX53" fmla="*/ 277558 w 3638455"/>
                  <a:gd name="connsiteY53" fmla="*/ 175927 h 590169"/>
                  <a:gd name="connsiteX54" fmla="*/ 277558 w 3638455"/>
                  <a:gd name="connsiteY54" fmla="*/ 181928 h 590169"/>
                  <a:gd name="connsiteX55" fmla="*/ 292322 w 3638455"/>
                  <a:gd name="connsiteY55" fmla="*/ 181928 h 590169"/>
                  <a:gd name="connsiteX56" fmla="*/ 292322 w 3638455"/>
                  <a:gd name="connsiteY56" fmla="*/ 194120 h 590169"/>
                  <a:gd name="connsiteX57" fmla="*/ 294418 w 3638455"/>
                  <a:gd name="connsiteY57" fmla="*/ 194120 h 590169"/>
                  <a:gd name="connsiteX58" fmla="*/ 294418 w 3638455"/>
                  <a:gd name="connsiteY58" fmla="*/ 200121 h 590169"/>
                  <a:gd name="connsiteX59" fmla="*/ 300704 w 3638455"/>
                  <a:gd name="connsiteY59" fmla="*/ 200121 h 590169"/>
                  <a:gd name="connsiteX60" fmla="*/ 300704 w 3638455"/>
                  <a:gd name="connsiteY60" fmla="*/ 206217 h 590169"/>
                  <a:gd name="connsiteX61" fmla="*/ 304895 w 3638455"/>
                  <a:gd name="connsiteY61" fmla="*/ 206217 h 590169"/>
                  <a:gd name="connsiteX62" fmla="*/ 304895 w 3638455"/>
                  <a:gd name="connsiteY62" fmla="*/ 212313 h 590169"/>
                  <a:gd name="connsiteX63" fmla="*/ 321754 w 3638455"/>
                  <a:gd name="connsiteY63" fmla="*/ 212313 h 590169"/>
                  <a:gd name="connsiteX64" fmla="*/ 321754 w 3638455"/>
                  <a:gd name="connsiteY64" fmla="*/ 224409 h 590169"/>
                  <a:gd name="connsiteX65" fmla="*/ 325945 w 3638455"/>
                  <a:gd name="connsiteY65" fmla="*/ 224409 h 590169"/>
                  <a:gd name="connsiteX66" fmla="*/ 325945 w 3638455"/>
                  <a:gd name="connsiteY66" fmla="*/ 230505 h 590169"/>
                  <a:gd name="connsiteX67" fmla="*/ 349091 w 3638455"/>
                  <a:gd name="connsiteY67" fmla="*/ 230505 h 590169"/>
                  <a:gd name="connsiteX68" fmla="*/ 349091 w 3638455"/>
                  <a:gd name="connsiteY68" fmla="*/ 236601 h 590169"/>
                  <a:gd name="connsiteX69" fmla="*/ 353282 w 3638455"/>
                  <a:gd name="connsiteY69" fmla="*/ 236601 h 590169"/>
                  <a:gd name="connsiteX70" fmla="*/ 353282 w 3638455"/>
                  <a:gd name="connsiteY70" fmla="*/ 242602 h 590169"/>
                  <a:gd name="connsiteX71" fmla="*/ 359569 w 3638455"/>
                  <a:gd name="connsiteY71" fmla="*/ 242602 h 590169"/>
                  <a:gd name="connsiteX72" fmla="*/ 359569 w 3638455"/>
                  <a:gd name="connsiteY72" fmla="*/ 254794 h 590169"/>
                  <a:gd name="connsiteX73" fmla="*/ 378523 w 3638455"/>
                  <a:gd name="connsiteY73" fmla="*/ 254794 h 590169"/>
                  <a:gd name="connsiteX74" fmla="*/ 378523 w 3638455"/>
                  <a:gd name="connsiteY74" fmla="*/ 260795 h 590169"/>
                  <a:gd name="connsiteX75" fmla="*/ 386905 w 3638455"/>
                  <a:gd name="connsiteY75" fmla="*/ 260795 h 590169"/>
                  <a:gd name="connsiteX76" fmla="*/ 386905 w 3638455"/>
                  <a:gd name="connsiteY76" fmla="*/ 266891 h 590169"/>
                  <a:gd name="connsiteX77" fmla="*/ 399574 w 3638455"/>
                  <a:gd name="connsiteY77" fmla="*/ 266891 h 590169"/>
                  <a:gd name="connsiteX78" fmla="*/ 399574 w 3638455"/>
                  <a:gd name="connsiteY78" fmla="*/ 272987 h 590169"/>
                  <a:gd name="connsiteX79" fmla="*/ 416433 w 3638455"/>
                  <a:gd name="connsiteY79" fmla="*/ 272987 h 590169"/>
                  <a:gd name="connsiteX80" fmla="*/ 416433 w 3638455"/>
                  <a:gd name="connsiteY80" fmla="*/ 278988 h 590169"/>
                  <a:gd name="connsiteX81" fmla="*/ 443770 w 3638455"/>
                  <a:gd name="connsiteY81" fmla="*/ 278988 h 590169"/>
                  <a:gd name="connsiteX82" fmla="*/ 443770 w 3638455"/>
                  <a:gd name="connsiteY82" fmla="*/ 285084 h 590169"/>
                  <a:gd name="connsiteX83" fmla="*/ 445865 w 3638455"/>
                  <a:gd name="connsiteY83" fmla="*/ 285084 h 590169"/>
                  <a:gd name="connsiteX84" fmla="*/ 445865 w 3638455"/>
                  <a:gd name="connsiteY84" fmla="*/ 291180 h 590169"/>
                  <a:gd name="connsiteX85" fmla="*/ 456342 w 3638455"/>
                  <a:gd name="connsiteY85" fmla="*/ 291180 h 590169"/>
                  <a:gd name="connsiteX86" fmla="*/ 456342 w 3638455"/>
                  <a:gd name="connsiteY86" fmla="*/ 297180 h 590169"/>
                  <a:gd name="connsiteX87" fmla="*/ 462629 w 3638455"/>
                  <a:gd name="connsiteY87" fmla="*/ 297180 h 590169"/>
                  <a:gd name="connsiteX88" fmla="*/ 462629 w 3638455"/>
                  <a:gd name="connsiteY88" fmla="*/ 309372 h 590169"/>
                  <a:gd name="connsiteX89" fmla="*/ 471106 w 3638455"/>
                  <a:gd name="connsiteY89" fmla="*/ 309372 h 590169"/>
                  <a:gd name="connsiteX90" fmla="*/ 471106 w 3638455"/>
                  <a:gd name="connsiteY90" fmla="*/ 315373 h 590169"/>
                  <a:gd name="connsiteX91" fmla="*/ 477393 w 3638455"/>
                  <a:gd name="connsiteY91" fmla="*/ 315373 h 590169"/>
                  <a:gd name="connsiteX92" fmla="*/ 477393 w 3638455"/>
                  <a:gd name="connsiteY92" fmla="*/ 327565 h 590169"/>
                  <a:gd name="connsiteX93" fmla="*/ 479488 w 3638455"/>
                  <a:gd name="connsiteY93" fmla="*/ 327565 h 590169"/>
                  <a:gd name="connsiteX94" fmla="*/ 479488 w 3638455"/>
                  <a:gd name="connsiteY94" fmla="*/ 333661 h 590169"/>
                  <a:gd name="connsiteX95" fmla="*/ 492061 w 3638455"/>
                  <a:gd name="connsiteY95" fmla="*/ 333661 h 590169"/>
                  <a:gd name="connsiteX96" fmla="*/ 492061 w 3638455"/>
                  <a:gd name="connsiteY96" fmla="*/ 339662 h 590169"/>
                  <a:gd name="connsiteX97" fmla="*/ 515207 w 3638455"/>
                  <a:gd name="connsiteY97" fmla="*/ 339662 h 590169"/>
                  <a:gd name="connsiteX98" fmla="*/ 515207 w 3638455"/>
                  <a:gd name="connsiteY98" fmla="*/ 345758 h 590169"/>
                  <a:gd name="connsiteX99" fmla="*/ 521589 w 3638455"/>
                  <a:gd name="connsiteY99" fmla="*/ 345758 h 590169"/>
                  <a:gd name="connsiteX100" fmla="*/ 521589 w 3638455"/>
                  <a:gd name="connsiteY100" fmla="*/ 351854 h 590169"/>
                  <a:gd name="connsiteX101" fmla="*/ 529971 w 3638455"/>
                  <a:gd name="connsiteY101" fmla="*/ 351854 h 590169"/>
                  <a:gd name="connsiteX102" fmla="*/ 529971 w 3638455"/>
                  <a:gd name="connsiteY102" fmla="*/ 357855 h 590169"/>
                  <a:gd name="connsiteX103" fmla="*/ 538353 w 3638455"/>
                  <a:gd name="connsiteY103" fmla="*/ 357855 h 590169"/>
                  <a:gd name="connsiteX104" fmla="*/ 538353 w 3638455"/>
                  <a:gd name="connsiteY104" fmla="*/ 363951 h 590169"/>
                  <a:gd name="connsiteX105" fmla="*/ 542544 w 3638455"/>
                  <a:gd name="connsiteY105" fmla="*/ 363951 h 590169"/>
                  <a:gd name="connsiteX106" fmla="*/ 542544 w 3638455"/>
                  <a:gd name="connsiteY106" fmla="*/ 370047 h 590169"/>
                  <a:gd name="connsiteX107" fmla="*/ 616172 w 3638455"/>
                  <a:gd name="connsiteY107" fmla="*/ 370047 h 590169"/>
                  <a:gd name="connsiteX108" fmla="*/ 616172 w 3638455"/>
                  <a:gd name="connsiteY108" fmla="*/ 376047 h 590169"/>
                  <a:gd name="connsiteX109" fmla="*/ 637222 w 3638455"/>
                  <a:gd name="connsiteY109" fmla="*/ 376047 h 590169"/>
                  <a:gd name="connsiteX110" fmla="*/ 637222 w 3638455"/>
                  <a:gd name="connsiteY110" fmla="*/ 382143 h 590169"/>
                  <a:gd name="connsiteX111" fmla="*/ 643509 w 3638455"/>
                  <a:gd name="connsiteY111" fmla="*/ 382143 h 590169"/>
                  <a:gd name="connsiteX112" fmla="*/ 643509 w 3638455"/>
                  <a:gd name="connsiteY112" fmla="*/ 388239 h 590169"/>
                  <a:gd name="connsiteX113" fmla="*/ 685609 w 3638455"/>
                  <a:gd name="connsiteY113" fmla="*/ 388239 h 590169"/>
                  <a:gd name="connsiteX114" fmla="*/ 685609 w 3638455"/>
                  <a:gd name="connsiteY114" fmla="*/ 394240 h 590169"/>
                  <a:gd name="connsiteX115" fmla="*/ 700278 w 3638455"/>
                  <a:gd name="connsiteY115" fmla="*/ 394240 h 590169"/>
                  <a:gd name="connsiteX116" fmla="*/ 700278 w 3638455"/>
                  <a:gd name="connsiteY116" fmla="*/ 400336 h 590169"/>
                  <a:gd name="connsiteX117" fmla="*/ 729805 w 3638455"/>
                  <a:gd name="connsiteY117" fmla="*/ 400336 h 590169"/>
                  <a:gd name="connsiteX118" fmla="*/ 729805 w 3638455"/>
                  <a:gd name="connsiteY118" fmla="*/ 406432 h 590169"/>
                  <a:gd name="connsiteX119" fmla="*/ 731901 w 3638455"/>
                  <a:gd name="connsiteY119" fmla="*/ 406432 h 590169"/>
                  <a:gd name="connsiteX120" fmla="*/ 731901 w 3638455"/>
                  <a:gd name="connsiteY120" fmla="*/ 412433 h 590169"/>
                  <a:gd name="connsiteX121" fmla="*/ 754951 w 3638455"/>
                  <a:gd name="connsiteY121" fmla="*/ 412433 h 590169"/>
                  <a:gd name="connsiteX122" fmla="*/ 754951 w 3638455"/>
                  <a:gd name="connsiteY122" fmla="*/ 418529 h 590169"/>
                  <a:gd name="connsiteX123" fmla="*/ 767620 w 3638455"/>
                  <a:gd name="connsiteY123" fmla="*/ 418529 h 590169"/>
                  <a:gd name="connsiteX124" fmla="*/ 767620 w 3638455"/>
                  <a:gd name="connsiteY124" fmla="*/ 424625 h 590169"/>
                  <a:gd name="connsiteX125" fmla="*/ 803338 w 3638455"/>
                  <a:gd name="connsiteY125" fmla="*/ 424625 h 590169"/>
                  <a:gd name="connsiteX126" fmla="*/ 803338 w 3638455"/>
                  <a:gd name="connsiteY126" fmla="*/ 430721 h 590169"/>
                  <a:gd name="connsiteX127" fmla="*/ 919067 w 3638455"/>
                  <a:gd name="connsiteY127" fmla="*/ 430721 h 590169"/>
                  <a:gd name="connsiteX128" fmla="*/ 919067 w 3638455"/>
                  <a:gd name="connsiteY128" fmla="*/ 436722 h 590169"/>
                  <a:gd name="connsiteX129" fmla="*/ 956881 w 3638455"/>
                  <a:gd name="connsiteY129" fmla="*/ 436722 h 590169"/>
                  <a:gd name="connsiteX130" fmla="*/ 956881 w 3638455"/>
                  <a:gd name="connsiteY130" fmla="*/ 442913 h 590169"/>
                  <a:gd name="connsiteX131" fmla="*/ 1009459 w 3638455"/>
                  <a:gd name="connsiteY131" fmla="*/ 442913 h 590169"/>
                  <a:gd name="connsiteX132" fmla="*/ 1009459 w 3638455"/>
                  <a:gd name="connsiteY132" fmla="*/ 449009 h 590169"/>
                  <a:gd name="connsiteX133" fmla="*/ 1028414 w 3638455"/>
                  <a:gd name="connsiteY133" fmla="*/ 449009 h 590169"/>
                  <a:gd name="connsiteX134" fmla="*/ 1028414 w 3638455"/>
                  <a:gd name="connsiteY134" fmla="*/ 455105 h 590169"/>
                  <a:gd name="connsiteX135" fmla="*/ 1038892 w 3638455"/>
                  <a:gd name="connsiteY135" fmla="*/ 455105 h 590169"/>
                  <a:gd name="connsiteX136" fmla="*/ 1038892 w 3638455"/>
                  <a:gd name="connsiteY136" fmla="*/ 461296 h 590169"/>
                  <a:gd name="connsiteX137" fmla="*/ 1072610 w 3638455"/>
                  <a:gd name="connsiteY137" fmla="*/ 461296 h 590169"/>
                  <a:gd name="connsiteX138" fmla="*/ 1072610 w 3638455"/>
                  <a:gd name="connsiteY138" fmla="*/ 467392 h 590169"/>
                  <a:gd name="connsiteX139" fmla="*/ 1078897 w 3638455"/>
                  <a:gd name="connsiteY139" fmla="*/ 467392 h 590169"/>
                  <a:gd name="connsiteX140" fmla="*/ 1078897 w 3638455"/>
                  <a:gd name="connsiteY140" fmla="*/ 473488 h 590169"/>
                  <a:gd name="connsiteX141" fmla="*/ 1093565 w 3638455"/>
                  <a:gd name="connsiteY141" fmla="*/ 473488 h 590169"/>
                  <a:gd name="connsiteX142" fmla="*/ 1093565 w 3638455"/>
                  <a:gd name="connsiteY142" fmla="*/ 479584 h 590169"/>
                  <a:gd name="connsiteX143" fmla="*/ 1106233 w 3638455"/>
                  <a:gd name="connsiteY143" fmla="*/ 479584 h 590169"/>
                  <a:gd name="connsiteX144" fmla="*/ 1106233 w 3638455"/>
                  <a:gd name="connsiteY144" fmla="*/ 485775 h 590169"/>
                  <a:gd name="connsiteX145" fmla="*/ 1131475 w 3638455"/>
                  <a:gd name="connsiteY145" fmla="*/ 485775 h 590169"/>
                  <a:gd name="connsiteX146" fmla="*/ 1131475 w 3638455"/>
                  <a:gd name="connsiteY146" fmla="*/ 491871 h 590169"/>
                  <a:gd name="connsiteX147" fmla="*/ 1360741 w 3638455"/>
                  <a:gd name="connsiteY147" fmla="*/ 491871 h 590169"/>
                  <a:gd name="connsiteX148" fmla="*/ 1360741 w 3638455"/>
                  <a:gd name="connsiteY148" fmla="*/ 498063 h 590169"/>
                  <a:gd name="connsiteX149" fmla="*/ 1474279 w 3638455"/>
                  <a:gd name="connsiteY149" fmla="*/ 498063 h 590169"/>
                  <a:gd name="connsiteX150" fmla="*/ 1474279 w 3638455"/>
                  <a:gd name="connsiteY150" fmla="*/ 504254 h 590169"/>
                  <a:gd name="connsiteX151" fmla="*/ 1743456 w 3638455"/>
                  <a:gd name="connsiteY151" fmla="*/ 504254 h 590169"/>
                  <a:gd name="connsiteX152" fmla="*/ 1743456 w 3638455"/>
                  <a:gd name="connsiteY152" fmla="*/ 510540 h 590169"/>
                  <a:gd name="connsiteX153" fmla="*/ 1817084 w 3638455"/>
                  <a:gd name="connsiteY153" fmla="*/ 510540 h 590169"/>
                  <a:gd name="connsiteX154" fmla="*/ 1817084 w 3638455"/>
                  <a:gd name="connsiteY154" fmla="*/ 516827 h 590169"/>
                  <a:gd name="connsiteX155" fmla="*/ 1896999 w 3638455"/>
                  <a:gd name="connsiteY155" fmla="*/ 516827 h 590169"/>
                  <a:gd name="connsiteX156" fmla="*/ 1896999 w 3638455"/>
                  <a:gd name="connsiteY156" fmla="*/ 523113 h 590169"/>
                  <a:gd name="connsiteX157" fmla="*/ 2058924 w 3638455"/>
                  <a:gd name="connsiteY157" fmla="*/ 523113 h 590169"/>
                  <a:gd name="connsiteX158" fmla="*/ 2058924 w 3638455"/>
                  <a:gd name="connsiteY158" fmla="*/ 529590 h 590169"/>
                  <a:gd name="connsiteX159" fmla="*/ 2075783 w 3638455"/>
                  <a:gd name="connsiteY159" fmla="*/ 529590 h 590169"/>
                  <a:gd name="connsiteX160" fmla="*/ 2075783 w 3638455"/>
                  <a:gd name="connsiteY160" fmla="*/ 535972 h 590169"/>
                  <a:gd name="connsiteX161" fmla="*/ 2193607 w 3638455"/>
                  <a:gd name="connsiteY161" fmla="*/ 535972 h 590169"/>
                  <a:gd name="connsiteX162" fmla="*/ 2193607 w 3638455"/>
                  <a:gd name="connsiteY162" fmla="*/ 542449 h 590169"/>
                  <a:gd name="connsiteX163" fmla="*/ 2286095 w 3638455"/>
                  <a:gd name="connsiteY163" fmla="*/ 542449 h 590169"/>
                  <a:gd name="connsiteX164" fmla="*/ 2286095 w 3638455"/>
                  <a:gd name="connsiteY164" fmla="*/ 548831 h 590169"/>
                  <a:gd name="connsiteX165" fmla="*/ 2305050 w 3638455"/>
                  <a:gd name="connsiteY165" fmla="*/ 548831 h 590169"/>
                  <a:gd name="connsiteX166" fmla="*/ 2305050 w 3638455"/>
                  <a:gd name="connsiteY166" fmla="*/ 555308 h 590169"/>
                  <a:gd name="connsiteX167" fmla="*/ 3158871 w 3638455"/>
                  <a:gd name="connsiteY167" fmla="*/ 555308 h 590169"/>
                  <a:gd name="connsiteX168" fmla="*/ 3158871 w 3638455"/>
                  <a:gd name="connsiteY168" fmla="*/ 590169 h 590169"/>
                  <a:gd name="connsiteX169" fmla="*/ 3638455 w 3638455"/>
                  <a:gd name="connsiteY169" fmla="*/ 590169 h 590169"/>
                  <a:gd name="connsiteX0" fmla="*/ 0 w 3587973"/>
                  <a:gd name="connsiteY0" fmla="*/ 0 h 584168"/>
                  <a:gd name="connsiteX1" fmla="*/ 0 w 3587973"/>
                  <a:gd name="connsiteY1" fmla="*/ 6096 h 584168"/>
                  <a:gd name="connsiteX2" fmla="*/ 8382 w 3587973"/>
                  <a:gd name="connsiteY2" fmla="*/ 6096 h 584168"/>
                  <a:gd name="connsiteX3" fmla="*/ 8382 w 3587973"/>
                  <a:gd name="connsiteY3" fmla="*/ 18193 h 584168"/>
                  <a:gd name="connsiteX4" fmla="*/ 14669 w 3587973"/>
                  <a:gd name="connsiteY4" fmla="*/ 18193 h 584168"/>
                  <a:gd name="connsiteX5" fmla="*/ 14669 w 3587973"/>
                  <a:gd name="connsiteY5" fmla="*/ 24289 h 584168"/>
                  <a:gd name="connsiteX6" fmla="*/ 18860 w 3587973"/>
                  <a:gd name="connsiteY6" fmla="*/ 24289 h 584168"/>
                  <a:gd name="connsiteX7" fmla="*/ 18860 w 3587973"/>
                  <a:gd name="connsiteY7" fmla="*/ 30385 h 584168"/>
                  <a:gd name="connsiteX8" fmla="*/ 23051 w 3587973"/>
                  <a:gd name="connsiteY8" fmla="*/ 30385 h 584168"/>
                  <a:gd name="connsiteX9" fmla="*/ 23051 w 3587973"/>
                  <a:gd name="connsiteY9" fmla="*/ 36481 h 584168"/>
                  <a:gd name="connsiteX10" fmla="*/ 25146 w 3587973"/>
                  <a:gd name="connsiteY10" fmla="*/ 36481 h 584168"/>
                  <a:gd name="connsiteX11" fmla="*/ 25146 w 3587973"/>
                  <a:gd name="connsiteY11" fmla="*/ 42482 h 584168"/>
                  <a:gd name="connsiteX12" fmla="*/ 27337 w 3587973"/>
                  <a:gd name="connsiteY12" fmla="*/ 42482 h 584168"/>
                  <a:gd name="connsiteX13" fmla="*/ 27337 w 3587973"/>
                  <a:gd name="connsiteY13" fmla="*/ 48578 h 584168"/>
                  <a:gd name="connsiteX14" fmla="*/ 37814 w 3587973"/>
                  <a:gd name="connsiteY14" fmla="*/ 48578 h 584168"/>
                  <a:gd name="connsiteX15" fmla="*/ 37814 w 3587973"/>
                  <a:gd name="connsiteY15" fmla="*/ 54674 h 584168"/>
                  <a:gd name="connsiteX16" fmla="*/ 44101 w 3587973"/>
                  <a:gd name="connsiteY16" fmla="*/ 54674 h 584168"/>
                  <a:gd name="connsiteX17" fmla="*/ 44101 w 3587973"/>
                  <a:gd name="connsiteY17" fmla="*/ 60674 h 584168"/>
                  <a:gd name="connsiteX18" fmla="*/ 58865 w 3587973"/>
                  <a:gd name="connsiteY18" fmla="*/ 60674 h 584168"/>
                  <a:gd name="connsiteX19" fmla="*/ 58865 w 3587973"/>
                  <a:gd name="connsiteY19" fmla="*/ 66770 h 584168"/>
                  <a:gd name="connsiteX20" fmla="*/ 67247 w 3587973"/>
                  <a:gd name="connsiteY20" fmla="*/ 66770 h 584168"/>
                  <a:gd name="connsiteX21" fmla="*/ 67247 w 3587973"/>
                  <a:gd name="connsiteY21" fmla="*/ 72866 h 584168"/>
                  <a:gd name="connsiteX22" fmla="*/ 77820 w 3587973"/>
                  <a:gd name="connsiteY22" fmla="*/ 72866 h 584168"/>
                  <a:gd name="connsiteX23" fmla="*/ 77820 w 3587973"/>
                  <a:gd name="connsiteY23" fmla="*/ 78867 h 584168"/>
                  <a:gd name="connsiteX24" fmla="*/ 90393 w 3587973"/>
                  <a:gd name="connsiteY24" fmla="*/ 78867 h 584168"/>
                  <a:gd name="connsiteX25" fmla="*/ 90393 w 3587973"/>
                  <a:gd name="connsiteY25" fmla="*/ 84963 h 584168"/>
                  <a:gd name="connsiteX26" fmla="*/ 96679 w 3587973"/>
                  <a:gd name="connsiteY26" fmla="*/ 84963 h 584168"/>
                  <a:gd name="connsiteX27" fmla="*/ 96679 w 3587973"/>
                  <a:gd name="connsiteY27" fmla="*/ 97060 h 584168"/>
                  <a:gd name="connsiteX28" fmla="*/ 100870 w 3587973"/>
                  <a:gd name="connsiteY28" fmla="*/ 97060 h 584168"/>
                  <a:gd name="connsiteX29" fmla="*/ 100870 w 3587973"/>
                  <a:gd name="connsiteY29" fmla="*/ 103156 h 584168"/>
                  <a:gd name="connsiteX30" fmla="*/ 113538 w 3587973"/>
                  <a:gd name="connsiteY30" fmla="*/ 103156 h 584168"/>
                  <a:gd name="connsiteX31" fmla="*/ 113538 w 3587973"/>
                  <a:gd name="connsiteY31" fmla="*/ 109252 h 584168"/>
                  <a:gd name="connsiteX32" fmla="*/ 128207 w 3587973"/>
                  <a:gd name="connsiteY32" fmla="*/ 109252 h 584168"/>
                  <a:gd name="connsiteX33" fmla="*/ 128207 w 3587973"/>
                  <a:gd name="connsiteY33" fmla="*/ 115253 h 584168"/>
                  <a:gd name="connsiteX34" fmla="*/ 132493 w 3587973"/>
                  <a:gd name="connsiteY34" fmla="*/ 115253 h 584168"/>
                  <a:gd name="connsiteX35" fmla="*/ 132493 w 3587973"/>
                  <a:gd name="connsiteY35" fmla="*/ 121349 h 584168"/>
                  <a:gd name="connsiteX36" fmla="*/ 142970 w 3587973"/>
                  <a:gd name="connsiteY36" fmla="*/ 121349 h 584168"/>
                  <a:gd name="connsiteX37" fmla="*/ 142970 w 3587973"/>
                  <a:gd name="connsiteY37" fmla="*/ 127445 h 584168"/>
                  <a:gd name="connsiteX38" fmla="*/ 151353 w 3587973"/>
                  <a:gd name="connsiteY38" fmla="*/ 127445 h 584168"/>
                  <a:gd name="connsiteX39" fmla="*/ 151353 w 3587973"/>
                  <a:gd name="connsiteY39" fmla="*/ 133541 h 584168"/>
                  <a:gd name="connsiteX40" fmla="*/ 166116 w 3587973"/>
                  <a:gd name="connsiteY40" fmla="*/ 133541 h 584168"/>
                  <a:gd name="connsiteX41" fmla="*/ 166116 w 3587973"/>
                  <a:gd name="connsiteY41" fmla="*/ 139541 h 584168"/>
                  <a:gd name="connsiteX42" fmla="*/ 170307 w 3587973"/>
                  <a:gd name="connsiteY42" fmla="*/ 139541 h 584168"/>
                  <a:gd name="connsiteX43" fmla="*/ 170307 w 3587973"/>
                  <a:gd name="connsiteY43" fmla="*/ 145637 h 584168"/>
                  <a:gd name="connsiteX44" fmla="*/ 174498 w 3587973"/>
                  <a:gd name="connsiteY44" fmla="*/ 145637 h 584168"/>
                  <a:gd name="connsiteX45" fmla="*/ 174498 w 3587973"/>
                  <a:gd name="connsiteY45" fmla="*/ 151733 h 584168"/>
                  <a:gd name="connsiteX46" fmla="*/ 187167 w 3587973"/>
                  <a:gd name="connsiteY46" fmla="*/ 151733 h 584168"/>
                  <a:gd name="connsiteX47" fmla="*/ 187167 w 3587973"/>
                  <a:gd name="connsiteY47" fmla="*/ 157734 h 584168"/>
                  <a:gd name="connsiteX48" fmla="*/ 216599 w 3587973"/>
                  <a:gd name="connsiteY48" fmla="*/ 157734 h 584168"/>
                  <a:gd name="connsiteX49" fmla="*/ 216599 w 3587973"/>
                  <a:gd name="connsiteY49" fmla="*/ 163830 h 584168"/>
                  <a:gd name="connsiteX50" fmla="*/ 224981 w 3587973"/>
                  <a:gd name="connsiteY50" fmla="*/ 163830 h 584168"/>
                  <a:gd name="connsiteX51" fmla="*/ 224981 w 3587973"/>
                  <a:gd name="connsiteY51" fmla="*/ 169926 h 584168"/>
                  <a:gd name="connsiteX52" fmla="*/ 227076 w 3587973"/>
                  <a:gd name="connsiteY52" fmla="*/ 169926 h 584168"/>
                  <a:gd name="connsiteX53" fmla="*/ 227076 w 3587973"/>
                  <a:gd name="connsiteY53" fmla="*/ 175927 h 584168"/>
                  <a:gd name="connsiteX54" fmla="*/ 241840 w 3587973"/>
                  <a:gd name="connsiteY54" fmla="*/ 175927 h 584168"/>
                  <a:gd name="connsiteX55" fmla="*/ 241840 w 3587973"/>
                  <a:gd name="connsiteY55" fmla="*/ 188119 h 584168"/>
                  <a:gd name="connsiteX56" fmla="*/ 243936 w 3587973"/>
                  <a:gd name="connsiteY56" fmla="*/ 188119 h 584168"/>
                  <a:gd name="connsiteX57" fmla="*/ 243936 w 3587973"/>
                  <a:gd name="connsiteY57" fmla="*/ 194120 h 584168"/>
                  <a:gd name="connsiteX58" fmla="*/ 250222 w 3587973"/>
                  <a:gd name="connsiteY58" fmla="*/ 194120 h 584168"/>
                  <a:gd name="connsiteX59" fmla="*/ 250222 w 3587973"/>
                  <a:gd name="connsiteY59" fmla="*/ 200216 h 584168"/>
                  <a:gd name="connsiteX60" fmla="*/ 254413 w 3587973"/>
                  <a:gd name="connsiteY60" fmla="*/ 200216 h 584168"/>
                  <a:gd name="connsiteX61" fmla="*/ 254413 w 3587973"/>
                  <a:gd name="connsiteY61" fmla="*/ 206312 h 584168"/>
                  <a:gd name="connsiteX62" fmla="*/ 271272 w 3587973"/>
                  <a:gd name="connsiteY62" fmla="*/ 206312 h 584168"/>
                  <a:gd name="connsiteX63" fmla="*/ 271272 w 3587973"/>
                  <a:gd name="connsiteY63" fmla="*/ 218408 h 584168"/>
                  <a:gd name="connsiteX64" fmla="*/ 275463 w 3587973"/>
                  <a:gd name="connsiteY64" fmla="*/ 218408 h 584168"/>
                  <a:gd name="connsiteX65" fmla="*/ 275463 w 3587973"/>
                  <a:gd name="connsiteY65" fmla="*/ 224504 h 584168"/>
                  <a:gd name="connsiteX66" fmla="*/ 298609 w 3587973"/>
                  <a:gd name="connsiteY66" fmla="*/ 224504 h 584168"/>
                  <a:gd name="connsiteX67" fmla="*/ 298609 w 3587973"/>
                  <a:gd name="connsiteY67" fmla="*/ 230600 h 584168"/>
                  <a:gd name="connsiteX68" fmla="*/ 302800 w 3587973"/>
                  <a:gd name="connsiteY68" fmla="*/ 230600 h 584168"/>
                  <a:gd name="connsiteX69" fmla="*/ 302800 w 3587973"/>
                  <a:gd name="connsiteY69" fmla="*/ 236601 h 584168"/>
                  <a:gd name="connsiteX70" fmla="*/ 309087 w 3587973"/>
                  <a:gd name="connsiteY70" fmla="*/ 236601 h 584168"/>
                  <a:gd name="connsiteX71" fmla="*/ 309087 w 3587973"/>
                  <a:gd name="connsiteY71" fmla="*/ 248793 h 584168"/>
                  <a:gd name="connsiteX72" fmla="*/ 328041 w 3587973"/>
                  <a:gd name="connsiteY72" fmla="*/ 248793 h 584168"/>
                  <a:gd name="connsiteX73" fmla="*/ 328041 w 3587973"/>
                  <a:gd name="connsiteY73" fmla="*/ 254794 h 584168"/>
                  <a:gd name="connsiteX74" fmla="*/ 336423 w 3587973"/>
                  <a:gd name="connsiteY74" fmla="*/ 254794 h 584168"/>
                  <a:gd name="connsiteX75" fmla="*/ 336423 w 3587973"/>
                  <a:gd name="connsiteY75" fmla="*/ 260890 h 584168"/>
                  <a:gd name="connsiteX76" fmla="*/ 349092 w 3587973"/>
                  <a:gd name="connsiteY76" fmla="*/ 260890 h 584168"/>
                  <a:gd name="connsiteX77" fmla="*/ 349092 w 3587973"/>
                  <a:gd name="connsiteY77" fmla="*/ 266986 h 584168"/>
                  <a:gd name="connsiteX78" fmla="*/ 365951 w 3587973"/>
                  <a:gd name="connsiteY78" fmla="*/ 266986 h 584168"/>
                  <a:gd name="connsiteX79" fmla="*/ 365951 w 3587973"/>
                  <a:gd name="connsiteY79" fmla="*/ 272987 h 584168"/>
                  <a:gd name="connsiteX80" fmla="*/ 393288 w 3587973"/>
                  <a:gd name="connsiteY80" fmla="*/ 272987 h 584168"/>
                  <a:gd name="connsiteX81" fmla="*/ 393288 w 3587973"/>
                  <a:gd name="connsiteY81" fmla="*/ 279083 h 584168"/>
                  <a:gd name="connsiteX82" fmla="*/ 395383 w 3587973"/>
                  <a:gd name="connsiteY82" fmla="*/ 279083 h 584168"/>
                  <a:gd name="connsiteX83" fmla="*/ 395383 w 3587973"/>
                  <a:gd name="connsiteY83" fmla="*/ 285179 h 584168"/>
                  <a:gd name="connsiteX84" fmla="*/ 405860 w 3587973"/>
                  <a:gd name="connsiteY84" fmla="*/ 285179 h 584168"/>
                  <a:gd name="connsiteX85" fmla="*/ 405860 w 3587973"/>
                  <a:gd name="connsiteY85" fmla="*/ 291179 h 584168"/>
                  <a:gd name="connsiteX86" fmla="*/ 412147 w 3587973"/>
                  <a:gd name="connsiteY86" fmla="*/ 291179 h 584168"/>
                  <a:gd name="connsiteX87" fmla="*/ 412147 w 3587973"/>
                  <a:gd name="connsiteY87" fmla="*/ 303371 h 584168"/>
                  <a:gd name="connsiteX88" fmla="*/ 420624 w 3587973"/>
                  <a:gd name="connsiteY88" fmla="*/ 303371 h 584168"/>
                  <a:gd name="connsiteX89" fmla="*/ 420624 w 3587973"/>
                  <a:gd name="connsiteY89" fmla="*/ 309372 h 584168"/>
                  <a:gd name="connsiteX90" fmla="*/ 426911 w 3587973"/>
                  <a:gd name="connsiteY90" fmla="*/ 309372 h 584168"/>
                  <a:gd name="connsiteX91" fmla="*/ 426911 w 3587973"/>
                  <a:gd name="connsiteY91" fmla="*/ 321564 h 584168"/>
                  <a:gd name="connsiteX92" fmla="*/ 429006 w 3587973"/>
                  <a:gd name="connsiteY92" fmla="*/ 321564 h 584168"/>
                  <a:gd name="connsiteX93" fmla="*/ 429006 w 3587973"/>
                  <a:gd name="connsiteY93" fmla="*/ 327660 h 584168"/>
                  <a:gd name="connsiteX94" fmla="*/ 441579 w 3587973"/>
                  <a:gd name="connsiteY94" fmla="*/ 327660 h 584168"/>
                  <a:gd name="connsiteX95" fmla="*/ 441579 w 3587973"/>
                  <a:gd name="connsiteY95" fmla="*/ 333661 h 584168"/>
                  <a:gd name="connsiteX96" fmla="*/ 464725 w 3587973"/>
                  <a:gd name="connsiteY96" fmla="*/ 333661 h 584168"/>
                  <a:gd name="connsiteX97" fmla="*/ 464725 w 3587973"/>
                  <a:gd name="connsiteY97" fmla="*/ 339757 h 584168"/>
                  <a:gd name="connsiteX98" fmla="*/ 471107 w 3587973"/>
                  <a:gd name="connsiteY98" fmla="*/ 339757 h 584168"/>
                  <a:gd name="connsiteX99" fmla="*/ 471107 w 3587973"/>
                  <a:gd name="connsiteY99" fmla="*/ 345853 h 584168"/>
                  <a:gd name="connsiteX100" fmla="*/ 479489 w 3587973"/>
                  <a:gd name="connsiteY100" fmla="*/ 345853 h 584168"/>
                  <a:gd name="connsiteX101" fmla="*/ 479489 w 3587973"/>
                  <a:gd name="connsiteY101" fmla="*/ 351854 h 584168"/>
                  <a:gd name="connsiteX102" fmla="*/ 487871 w 3587973"/>
                  <a:gd name="connsiteY102" fmla="*/ 351854 h 584168"/>
                  <a:gd name="connsiteX103" fmla="*/ 487871 w 3587973"/>
                  <a:gd name="connsiteY103" fmla="*/ 357950 h 584168"/>
                  <a:gd name="connsiteX104" fmla="*/ 492062 w 3587973"/>
                  <a:gd name="connsiteY104" fmla="*/ 357950 h 584168"/>
                  <a:gd name="connsiteX105" fmla="*/ 492062 w 3587973"/>
                  <a:gd name="connsiteY105" fmla="*/ 364046 h 584168"/>
                  <a:gd name="connsiteX106" fmla="*/ 565690 w 3587973"/>
                  <a:gd name="connsiteY106" fmla="*/ 364046 h 584168"/>
                  <a:gd name="connsiteX107" fmla="*/ 565690 w 3587973"/>
                  <a:gd name="connsiteY107" fmla="*/ 370046 h 584168"/>
                  <a:gd name="connsiteX108" fmla="*/ 586740 w 3587973"/>
                  <a:gd name="connsiteY108" fmla="*/ 370046 h 584168"/>
                  <a:gd name="connsiteX109" fmla="*/ 586740 w 3587973"/>
                  <a:gd name="connsiteY109" fmla="*/ 376142 h 584168"/>
                  <a:gd name="connsiteX110" fmla="*/ 593027 w 3587973"/>
                  <a:gd name="connsiteY110" fmla="*/ 376142 h 584168"/>
                  <a:gd name="connsiteX111" fmla="*/ 593027 w 3587973"/>
                  <a:gd name="connsiteY111" fmla="*/ 382238 h 584168"/>
                  <a:gd name="connsiteX112" fmla="*/ 635127 w 3587973"/>
                  <a:gd name="connsiteY112" fmla="*/ 382238 h 584168"/>
                  <a:gd name="connsiteX113" fmla="*/ 635127 w 3587973"/>
                  <a:gd name="connsiteY113" fmla="*/ 388239 h 584168"/>
                  <a:gd name="connsiteX114" fmla="*/ 649796 w 3587973"/>
                  <a:gd name="connsiteY114" fmla="*/ 388239 h 584168"/>
                  <a:gd name="connsiteX115" fmla="*/ 649796 w 3587973"/>
                  <a:gd name="connsiteY115" fmla="*/ 394335 h 584168"/>
                  <a:gd name="connsiteX116" fmla="*/ 679323 w 3587973"/>
                  <a:gd name="connsiteY116" fmla="*/ 394335 h 584168"/>
                  <a:gd name="connsiteX117" fmla="*/ 679323 w 3587973"/>
                  <a:gd name="connsiteY117" fmla="*/ 400431 h 584168"/>
                  <a:gd name="connsiteX118" fmla="*/ 681419 w 3587973"/>
                  <a:gd name="connsiteY118" fmla="*/ 400431 h 584168"/>
                  <a:gd name="connsiteX119" fmla="*/ 681419 w 3587973"/>
                  <a:gd name="connsiteY119" fmla="*/ 406432 h 584168"/>
                  <a:gd name="connsiteX120" fmla="*/ 704469 w 3587973"/>
                  <a:gd name="connsiteY120" fmla="*/ 406432 h 584168"/>
                  <a:gd name="connsiteX121" fmla="*/ 704469 w 3587973"/>
                  <a:gd name="connsiteY121" fmla="*/ 412528 h 584168"/>
                  <a:gd name="connsiteX122" fmla="*/ 717138 w 3587973"/>
                  <a:gd name="connsiteY122" fmla="*/ 412528 h 584168"/>
                  <a:gd name="connsiteX123" fmla="*/ 717138 w 3587973"/>
                  <a:gd name="connsiteY123" fmla="*/ 418624 h 584168"/>
                  <a:gd name="connsiteX124" fmla="*/ 752856 w 3587973"/>
                  <a:gd name="connsiteY124" fmla="*/ 418624 h 584168"/>
                  <a:gd name="connsiteX125" fmla="*/ 752856 w 3587973"/>
                  <a:gd name="connsiteY125" fmla="*/ 424720 h 584168"/>
                  <a:gd name="connsiteX126" fmla="*/ 868585 w 3587973"/>
                  <a:gd name="connsiteY126" fmla="*/ 424720 h 584168"/>
                  <a:gd name="connsiteX127" fmla="*/ 868585 w 3587973"/>
                  <a:gd name="connsiteY127" fmla="*/ 430721 h 584168"/>
                  <a:gd name="connsiteX128" fmla="*/ 906399 w 3587973"/>
                  <a:gd name="connsiteY128" fmla="*/ 430721 h 584168"/>
                  <a:gd name="connsiteX129" fmla="*/ 906399 w 3587973"/>
                  <a:gd name="connsiteY129" fmla="*/ 436912 h 584168"/>
                  <a:gd name="connsiteX130" fmla="*/ 958977 w 3587973"/>
                  <a:gd name="connsiteY130" fmla="*/ 436912 h 584168"/>
                  <a:gd name="connsiteX131" fmla="*/ 958977 w 3587973"/>
                  <a:gd name="connsiteY131" fmla="*/ 443008 h 584168"/>
                  <a:gd name="connsiteX132" fmla="*/ 977932 w 3587973"/>
                  <a:gd name="connsiteY132" fmla="*/ 443008 h 584168"/>
                  <a:gd name="connsiteX133" fmla="*/ 977932 w 3587973"/>
                  <a:gd name="connsiteY133" fmla="*/ 449104 h 584168"/>
                  <a:gd name="connsiteX134" fmla="*/ 988410 w 3587973"/>
                  <a:gd name="connsiteY134" fmla="*/ 449104 h 584168"/>
                  <a:gd name="connsiteX135" fmla="*/ 988410 w 3587973"/>
                  <a:gd name="connsiteY135" fmla="*/ 455295 h 584168"/>
                  <a:gd name="connsiteX136" fmla="*/ 1022128 w 3587973"/>
                  <a:gd name="connsiteY136" fmla="*/ 455295 h 584168"/>
                  <a:gd name="connsiteX137" fmla="*/ 1022128 w 3587973"/>
                  <a:gd name="connsiteY137" fmla="*/ 461391 h 584168"/>
                  <a:gd name="connsiteX138" fmla="*/ 1028415 w 3587973"/>
                  <a:gd name="connsiteY138" fmla="*/ 461391 h 584168"/>
                  <a:gd name="connsiteX139" fmla="*/ 1028415 w 3587973"/>
                  <a:gd name="connsiteY139" fmla="*/ 467487 h 584168"/>
                  <a:gd name="connsiteX140" fmla="*/ 1043083 w 3587973"/>
                  <a:gd name="connsiteY140" fmla="*/ 467487 h 584168"/>
                  <a:gd name="connsiteX141" fmla="*/ 1043083 w 3587973"/>
                  <a:gd name="connsiteY141" fmla="*/ 473583 h 584168"/>
                  <a:gd name="connsiteX142" fmla="*/ 1055751 w 3587973"/>
                  <a:gd name="connsiteY142" fmla="*/ 473583 h 584168"/>
                  <a:gd name="connsiteX143" fmla="*/ 1055751 w 3587973"/>
                  <a:gd name="connsiteY143" fmla="*/ 479774 h 584168"/>
                  <a:gd name="connsiteX144" fmla="*/ 1080993 w 3587973"/>
                  <a:gd name="connsiteY144" fmla="*/ 479774 h 584168"/>
                  <a:gd name="connsiteX145" fmla="*/ 1080993 w 3587973"/>
                  <a:gd name="connsiteY145" fmla="*/ 485870 h 584168"/>
                  <a:gd name="connsiteX146" fmla="*/ 1310259 w 3587973"/>
                  <a:gd name="connsiteY146" fmla="*/ 485870 h 584168"/>
                  <a:gd name="connsiteX147" fmla="*/ 1310259 w 3587973"/>
                  <a:gd name="connsiteY147" fmla="*/ 492062 h 584168"/>
                  <a:gd name="connsiteX148" fmla="*/ 1423797 w 3587973"/>
                  <a:gd name="connsiteY148" fmla="*/ 492062 h 584168"/>
                  <a:gd name="connsiteX149" fmla="*/ 1423797 w 3587973"/>
                  <a:gd name="connsiteY149" fmla="*/ 498253 h 584168"/>
                  <a:gd name="connsiteX150" fmla="*/ 1692974 w 3587973"/>
                  <a:gd name="connsiteY150" fmla="*/ 498253 h 584168"/>
                  <a:gd name="connsiteX151" fmla="*/ 1692974 w 3587973"/>
                  <a:gd name="connsiteY151" fmla="*/ 504539 h 584168"/>
                  <a:gd name="connsiteX152" fmla="*/ 1766602 w 3587973"/>
                  <a:gd name="connsiteY152" fmla="*/ 504539 h 584168"/>
                  <a:gd name="connsiteX153" fmla="*/ 1766602 w 3587973"/>
                  <a:gd name="connsiteY153" fmla="*/ 510826 h 584168"/>
                  <a:gd name="connsiteX154" fmla="*/ 1846517 w 3587973"/>
                  <a:gd name="connsiteY154" fmla="*/ 510826 h 584168"/>
                  <a:gd name="connsiteX155" fmla="*/ 1846517 w 3587973"/>
                  <a:gd name="connsiteY155" fmla="*/ 517112 h 584168"/>
                  <a:gd name="connsiteX156" fmla="*/ 2008442 w 3587973"/>
                  <a:gd name="connsiteY156" fmla="*/ 517112 h 584168"/>
                  <a:gd name="connsiteX157" fmla="*/ 2008442 w 3587973"/>
                  <a:gd name="connsiteY157" fmla="*/ 523589 h 584168"/>
                  <a:gd name="connsiteX158" fmla="*/ 2025301 w 3587973"/>
                  <a:gd name="connsiteY158" fmla="*/ 523589 h 584168"/>
                  <a:gd name="connsiteX159" fmla="*/ 2025301 w 3587973"/>
                  <a:gd name="connsiteY159" fmla="*/ 529971 h 584168"/>
                  <a:gd name="connsiteX160" fmla="*/ 2143125 w 3587973"/>
                  <a:gd name="connsiteY160" fmla="*/ 529971 h 584168"/>
                  <a:gd name="connsiteX161" fmla="*/ 2143125 w 3587973"/>
                  <a:gd name="connsiteY161" fmla="*/ 536448 h 584168"/>
                  <a:gd name="connsiteX162" fmla="*/ 2235613 w 3587973"/>
                  <a:gd name="connsiteY162" fmla="*/ 536448 h 584168"/>
                  <a:gd name="connsiteX163" fmla="*/ 2235613 w 3587973"/>
                  <a:gd name="connsiteY163" fmla="*/ 542830 h 584168"/>
                  <a:gd name="connsiteX164" fmla="*/ 2254568 w 3587973"/>
                  <a:gd name="connsiteY164" fmla="*/ 542830 h 584168"/>
                  <a:gd name="connsiteX165" fmla="*/ 2254568 w 3587973"/>
                  <a:gd name="connsiteY165" fmla="*/ 549307 h 584168"/>
                  <a:gd name="connsiteX166" fmla="*/ 3108389 w 3587973"/>
                  <a:gd name="connsiteY166" fmla="*/ 549307 h 584168"/>
                  <a:gd name="connsiteX167" fmla="*/ 3108389 w 3587973"/>
                  <a:gd name="connsiteY167" fmla="*/ 584168 h 584168"/>
                  <a:gd name="connsiteX168" fmla="*/ 3587973 w 3587973"/>
                  <a:gd name="connsiteY168" fmla="*/ 584168 h 584168"/>
                  <a:gd name="connsiteX0" fmla="*/ 0 w 3587973"/>
                  <a:gd name="connsiteY0" fmla="*/ 0 h 578072"/>
                  <a:gd name="connsiteX1" fmla="*/ 8382 w 3587973"/>
                  <a:gd name="connsiteY1" fmla="*/ 0 h 578072"/>
                  <a:gd name="connsiteX2" fmla="*/ 8382 w 3587973"/>
                  <a:gd name="connsiteY2" fmla="*/ 12097 h 578072"/>
                  <a:gd name="connsiteX3" fmla="*/ 14669 w 3587973"/>
                  <a:gd name="connsiteY3" fmla="*/ 12097 h 578072"/>
                  <a:gd name="connsiteX4" fmla="*/ 14669 w 3587973"/>
                  <a:gd name="connsiteY4" fmla="*/ 18193 h 578072"/>
                  <a:gd name="connsiteX5" fmla="*/ 18860 w 3587973"/>
                  <a:gd name="connsiteY5" fmla="*/ 18193 h 578072"/>
                  <a:gd name="connsiteX6" fmla="*/ 18860 w 3587973"/>
                  <a:gd name="connsiteY6" fmla="*/ 24289 h 578072"/>
                  <a:gd name="connsiteX7" fmla="*/ 23051 w 3587973"/>
                  <a:gd name="connsiteY7" fmla="*/ 24289 h 578072"/>
                  <a:gd name="connsiteX8" fmla="*/ 23051 w 3587973"/>
                  <a:gd name="connsiteY8" fmla="*/ 30385 h 578072"/>
                  <a:gd name="connsiteX9" fmla="*/ 25146 w 3587973"/>
                  <a:gd name="connsiteY9" fmla="*/ 30385 h 578072"/>
                  <a:gd name="connsiteX10" fmla="*/ 25146 w 3587973"/>
                  <a:gd name="connsiteY10" fmla="*/ 36386 h 578072"/>
                  <a:gd name="connsiteX11" fmla="*/ 27337 w 3587973"/>
                  <a:gd name="connsiteY11" fmla="*/ 36386 h 578072"/>
                  <a:gd name="connsiteX12" fmla="*/ 27337 w 3587973"/>
                  <a:gd name="connsiteY12" fmla="*/ 42482 h 578072"/>
                  <a:gd name="connsiteX13" fmla="*/ 37814 w 3587973"/>
                  <a:gd name="connsiteY13" fmla="*/ 42482 h 578072"/>
                  <a:gd name="connsiteX14" fmla="*/ 37814 w 3587973"/>
                  <a:gd name="connsiteY14" fmla="*/ 48578 h 578072"/>
                  <a:gd name="connsiteX15" fmla="*/ 44101 w 3587973"/>
                  <a:gd name="connsiteY15" fmla="*/ 48578 h 578072"/>
                  <a:gd name="connsiteX16" fmla="*/ 44101 w 3587973"/>
                  <a:gd name="connsiteY16" fmla="*/ 54578 h 578072"/>
                  <a:gd name="connsiteX17" fmla="*/ 58865 w 3587973"/>
                  <a:gd name="connsiteY17" fmla="*/ 54578 h 578072"/>
                  <a:gd name="connsiteX18" fmla="*/ 58865 w 3587973"/>
                  <a:gd name="connsiteY18" fmla="*/ 60674 h 578072"/>
                  <a:gd name="connsiteX19" fmla="*/ 67247 w 3587973"/>
                  <a:gd name="connsiteY19" fmla="*/ 60674 h 578072"/>
                  <a:gd name="connsiteX20" fmla="*/ 67247 w 3587973"/>
                  <a:gd name="connsiteY20" fmla="*/ 66770 h 578072"/>
                  <a:gd name="connsiteX21" fmla="*/ 77820 w 3587973"/>
                  <a:gd name="connsiteY21" fmla="*/ 66770 h 578072"/>
                  <a:gd name="connsiteX22" fmla="*/ 77820 w 3587973"/>
                  <a:gd name="connsiteY22" fmla="*/ 72771 h 578072"/>
                  <a:gd name="connsiteX23" fmla="*/ 90393 w 3587973"/>
                  <a:gd name="connsiteY23" fmla="*/ 72771 h 578072"/>
                  <a:gd name="connsiteX24" fmla="*/ 90393 w 3587973"/>
                  <a:gd name="connsiteY24" fmla="*/ 78867 h 578072"/>
                  <a:gd name="connsiteX25" fmla="*/ 96679 w 3587973"/>
                  <a:gd name="connsiteY25" fmla="*/ 78867 h 578072"/>
                  <a:gd name="connsiteX26" fmla="*/ 96679 w 3587973"/>
                  <a:gd name="connsiteY26" fmla="*/ 90964 h 578072"/>
                  <a:gd name="connsiteX27" fmla="*/ 100870 w 3587973"/>
                  <a:gd name="connsiteY27" fmla="*/ 90964 h 578072"/>
                  <a:gd name="connsiteX28" fmla="*/ 100870 w 3587973"/>
                  <a:gd name="connsiteY28" fmla="*/ 97060 h 578072"/>
                  <a:gd name="connsiteX29" fmla="*/ 113538 w 3587973"/>
                  <a:gd name="connsiteY29" fmla="*/ 97060 h 578072"/>
                  <a:gd name="connsiteX30" fmla="*/ 113538 w 3587973"/>
                  <a:gd name="connsiteY30" fmla="*/ 103156 h 578072"/>
                  <a:gd name="connsiteX31" fmla="*/ 128207 w 3587973"/>
                  <a:gd name="connsiteY31" fmla="*/ 103156 h 578072"/>
                  <a:gd name="connsiteX32" fmla="*/ 128207 w 3587973"/>
                  <a:gd name="connsiteY32" fmla="*/ 109157 h 578072"/>
                  <a:gd name="connsiteX33" fmla="*/ 132493 w 3587973"/>
                  <a:gd name="connsiteY33" fmla="*/ 109157 h 578072"/>
                  <a:gd name="connsiteX34" fmla="*/ 132493 w 3587973"/>
                  <a:gd name="connsiteY34" fmla="*/ 115253 h 578072"/>
                  <a:gd name="connsiteX35" fmla="*/ 142970 w 3587973"/>
                  <a:gd name="connsiteY35" fmla="*/ 115253 h 578072"/>
                  <a:gd name="connsiteX36" fmla="*/ 142970 w 3587973"/>
                  <a:gd name="connsiteY36" fmla="*/ 121349 h 578072"/>
                  <a:gd name="connsiteX37" fmla="*/ 151353 w 3587973"/>
                  <a:gd name="connsiteY37" fmla="*/ 121349 h 578072"/>
                  <a:gd name="connsiteX38" fmla="*/ 151353 w 3587973"/>
                  <a:gd name="connsiteY38" fmla="*/ 127445 h 578072"/>
                  <a:gd name="connsiteX39" fmla="*/ 166116 w 3587973"/>
                  <a:gd name="connsiteY39" fmla="*/ 127445 h 578072"/>
                  <a:gd name="connsiteX40" fmla="*/ 166116 w 3587973"/>
                  <a:gd name="connsiteY40" fmla="*/ 133445 h 578072"/>
                  <a:gd name="connsiteX41" fmla="*/ 170307 w 3587973"/>
                  <a:gd name="connsiteY41" fmla="*/ 133445 h 578072"/>
                  <a:gd name="connsiteX42" fmla="*/ 170307 w 3587973"/>
                  <a:gd name="connsiteY42" fmla="*/ 139541 h 578072"/>
                  <a:gd name="connsiteX43" fmla="*/ 174498 w 3587973"/>
                  <a:gd name="connsiteY43" fmla="*/ 139541 h 578072"/>
                  <a:gd name="connsiteX44" fmla="*/ 174498 w 3587973"/>
                  <a:gd name="connsiteY44" fmla="*/ 145637 h 578072"/>
                  <a:gd name="connsiteX45" fmla="*/ 187167 w 3587973"/>
                  <a:gd name="connsiteY45" fmla="*/ 145637 h 578072"/>
                  <a:gd name="connsiteX46" fmla="*/ 187167 w 3587973"/>
                  <a:gd name="connsiteY46" fmla="*/ 151638 h 578072"/>
                  <a:gd name="connsiteX47" fmla="*/ 216599 w 3587973"/>
                  <a:gd name="connsiteY47" fmla="*/ 151638 h 578072"/>
                  <a:gd name="connsiteX48" fmla="*/ 216599 w 3587973"/>
                  <a:gd name="connsiteY48" fmla="*/ 157734 h 578072"/>
                  <a:gd name="connsiteX49" fmla="*/ 224981 w 3587973"/>
                  <a:gd name="connsiteY49" fmla="*/ 157734 h 578072"/>
                  <a:gd name="connsiteX50" fmla="*/ 224981 w 3587973"/>
                  <a:gd name="connsiteY50" fmla="*/ 163830 h 578072"/>
                  <a:gd name="connsiteX51" fmla="*/ 227076 w 3587973"/>
                  <a:gd name="connsiteY51" fmla="*/ 163830 h 578072"/>
                  <a:gd name="connsiteX52" fmla="*/ 227076 w 3587973"/>
                  <a:gd name="connsiteY52" fmla="*/ 169831 h 578072"/>
                  <a:gd name="connsiteX53" fmla="*/ 241840 w 3587973"/>
                  <a:gd name="connsiteY53" fmla="*/ 169831 h 578072"/>
                  <a:gd name="connsiteX54" fmla="*/ 241840 w 3587973"/>
                  <a:gd name="connsiteY54" fmla="*/ 182023 h 578072"/>
                  <a:gd name="connsiteX55" fmla="*/ 243936 w 3587973"/>
                  <a:gd name="connsiteY55" fmla="*/ 182023 h 578072"/>
                  <a:gd name="connsiteX56" fmla="*/ 243936 w 3587973"/>
                  <a:gd name="connsiteY56" fmla="*/ 188024 h 578072"/>
                  <a:gd name="connsiteX57" fmla="*/ 250222 w 3587973"/>
                  <a:gd name="connsiteY57" fmla="*/ 188024 h 578072"/>
                  <a:gd name="connsiteX58" fmla="*/ 250222 w 3587973"/>
                  <a:gd name="connsiteY58" fmla="*/ 194120 h 578072"/>
                  <a:gd name="connsiteX59" fmla="*/ 254413 w 3587973"/>
                  <a:gd name="connsiteY59" fmla="*/ 194120 h 578072"/>
                  <a:gd name="connsiteX60" fmla="*/ 254413 w 3587973"/>
                  <a:gd name="connsiteY60" fmla="*/ 200216 h 578072"/>
                  <a:gd name="connsiteX61" fmla="*/ 271272 w 3587973"/>
                  <a:gd name="connsiteY61" fmla="*/ 200216 h 578072"/>
                  <a:gd name="connsiteX62" fmla="*/ 271272 w 3587973"/>
                  <a:gd name="connsiteY62" fmla="*/ 212312 h 578072"/>
                  <a:gd name="connsiteX63" fmla="*/ 275463 w 3587973"/>
                  <a:gd name="connsiteY63" fmla="*/ 212312 h 578072"/>
                  <a:gd name="connsiteX64" fmla="*/ 275463 w 3587973"/>
                  <a:gd name="connsiteY64" fmla="*/ 218408 h 578072"/>
                  <a:gd name="connsiteX65" fmla="*/ 298609 w 3587973"/>
                  <a:gd name="connsiteY65" fmla="*/ 218408 h 578072"/>
                  <a:gd name="connsiteX66" fmla="*/ 298609 w 3587973"/>
                  <a:gd name="connsiteY66" fmla="*/ 224504 h 578072"/>
                  <a:gd name="connsiteX67" fmla="*/ 302800 w 3587973"/>
                  <a:gd name="connsiteY67" fmla="*/ 224504 h 578072"/>
                  <a:gd name="connsiteX68" fmla="*/ 302800 w 3587973"/>
                  <a:gd name="connsiteY68" fmla="*/ 230505 h 578072"/>
                  <a:gd name="connsiteX69" fmla="*/ 309087 w 3587973"/>
                  <a:gd name="connsiteY69" fmla="*/ 230505 h 578072"/>
                  <a:gd name="connsiteX70" fmla="*/ 309087 w 3587973"/>
                  <a:gd name="connsiteY70" fmla="*/ 242697 h 578072"/>
                  <a:gd name="connsiteX71" fmla="*/ 328041 w 3587973"/>
                  <a:gd name="connsiteY71" fmla="*/ 242697 h 578072"/>
                  <a:gd name="connsiteX72" fmla="*/ 328041 w 3587973"/>
                  <a:gd name="connsiteY72" fmla="*/ 248698 h 578072"/>
                  <a:gd name="connsiteX73" fmla="*/ 336423 w 3587973"/>
                  <a:gd name="connsiteY73" fmla="*/ 248698 h 578072"/>
                  <a:gd name="connsiteX74" fmla="*/ 336423 w 3587973"/>
                  <a:gd name="connsiteY74" fmla="*/ 254794 h 578072"/>
                  <a:gd name="connsiteX75" fmla="*/ 349092 w 3587973"/>
                  <a:gd name="connsiteY75" fmla="*/ 254794 h 578072"/>
                  <a:gd name="connsiteX76" fmla="*/ 349092 w 3587973"/>
                  <a:gd name="connsiteY76" fmla="*/ 260890 h 578072"/>
                  <a:gd name="connsiteX77" fmla="*/ 365951 w 3587973"/>
                  <a:gd name="connsiteY77" fmla="*/ 260890 h 578072"/>
                  <a:gd name="connsiteX78" fmla="*/ 365951 w 3587973"/>
                  <a:gd name="connsiteY78" fmla="*/ 266891 h 578072"/>
                  <a:gd name="connsiteX79" fmla="*/ 393288 w 3587973"/>
                  <a:gd name="connsiteY79" fmla="*/ 266891 h 578072"/>
                  <a:gd name="connsiteX80" fmla="*/ 393288 w 3587973"/>
                  <a:gd name="connsiteY80" fmla="*/ 272987 h 578072"/>
                  <a:gd name="connsiteX81" fmla="*/ 395383 w 3587973"/>
                  <a:gd name="connsiteY81" fmla="*/ 272987 h 578072"/>
                  <a:gd name="connsiteX82" fmla="*/ 395383 w 3587973"/>
                  <a:gd name="connsiteY82" fmla="*/ 279083 h 578072"/>
                  <a:gd name="connsiteX83" fmla="*/ 405860 w 3587973"/>
                  <a:gd name="connsiteY83" fmla="*/ 279083 h 578072"/>
                  <a:gd name="connsiteX84" fmla="*/ 405860 w 3587973"/>
                  <a:gd name="connsiteY84" fmla="*/ 285083 h 578072"/>
                  <a:gd name="connsiteX85" fmla="*/ 412147 w 3587973"/>
                  <a:gd name="connsiteY85" fmla="*/ 285083 h 578072"/>
                  <a:gd name="connsiteX86" fmla="*/ 412147 w 3587973"/>
                  <a:gd name="connsiteY86" fmla="*/ 297275 h 578072"/>
                  <a:gd name="connsiteX87" fmla="*/ 420624 w 3587973"/>
                  <a:gd name="connsiteY87" fmla="*/ 297275 h 578072"/>
                  <a:gd name="connsiteX88" fmla="*/ 420624 w 3587973"/>
                  <a:gd name="connsiteY88" fmla="*/ 303276 h 578072"/>
                  <a:gd name="connsiteX89" fmla="*/ 426911 w 3587973"/>
                  <a:gd name="connsiteY89" fmla="*/ 303276 h 578072"/>
                  <a:gd name="connsiteX90" fmla="*/ 426911 w 3587973"/>
                  <a:gd name="connsiteY90" fmla="*/ 315468 h 578072"/>
                  <a:gd name="connsiteX91" fmla="*/ 429006 w 3587973"/>
                  <a:gd name="connsiteY91" fmla="*/ 315468 h 578072"/>
                  <a:gd name="connsiteX92" fmla="*/ 429006 w 3587973"/>
                  <a:gd name="connsiteY92" fmla="*/ 321564 h 578072"/>
                  <a:gd name="connsiteX93" fmla="*/ 441579 w 3587973"/>
                  <a:gd name="connsiteY93" fmla="*/ 321564 h 578072"/>
                  <a:gd name="connsiteX94" fmla="*/ 441579 w 3587973"/>
                  <a:gd name="connsiteY94" fmla="*/ 327565 h 578072"/>
                  <a:gd name="connsiteX95" fmla="*/ 464725 w 3587973"/>
                  <a:gd name="connsiteY95" fmla="*/ 327565 h 578072"/>
                  <a:gd name="connsiteX96" fmla="*/ 464725 w 3587973"/>
                  <a:gd name="connsiteY96" fmla="*/ 333661 h 578072"/>
                  <a:gd name="connsiteX97" fmla="*/ 471107 w 3587973"/>
                  <a:gd name="connsiteY97" fmla="*/ 333661 h 578072"/>
                  <a:gd name="connsiteX98" fmla="*/ 471107 w 3587973"/>
                  <a:gd name="connsiteY98" fmla="*/ 339757 h 578072"/>
                  <a:gd name="connsiteX99" fmla="*/ 479489 w 3587973"/>
                  <a:gd name="connsiteY99" fmla="*/ 339757 h 578072"/>
                  <a:gd name="connsiteX100" fmla="*/ 479489 w 3587973"/>
                  <a:gd name="connsiteY100" fmla="*/ 345758 h 578072"/>
                  <a:gd name="connsiteX101" fmla="*/ 487871 w 3587973"/>
                  <a:gd name="connsiteY101" fmla="*/ 345758 h 578072"/>
                  <a:gd name="connsiteX102" fmla="*/ 487871 w 3587973"/>
                  <a:gd name="connsiteY102" fmla="*/ 351854 h 578072"/>
                  <a:gd name="connsiteX103" fmla="*/ 492062 w 3587973"/>
                  <a:gd name="connsiteY103" fmla="*/ 351854 h 578072"/>
                  <a:gd name="connsiteX104" fmla="*/ 492062 w 3587973"/>
                  <a:gd name="connsiteY104" fmla="*/ 357950 h 578072"/>
                  <a:gd name="connsiteX105" fmla="*/ 565690 w 3587973"/>
                  <a:gd name="connsiteY105" fmla="*/ 357950 h 578072"/>
                  <a:gd name="connsiteX106" fmla="*/ 565690 w 3587973"/>
                  <a:gd name="connsiteY106" fmla="*/ 363950 h 578072"/>
                  <a:gd name="connsiteX107" fmla="*/ 586740 w 3587973"/>
                  <a:gd name="connsiteY107" fmla="*/ 363950 h 578072"/>
                  <a:gd name="connsiteX108" fmla="*/ 586740 w 3587973"/>
                  <a:gd name="connsiteY108" fmla="*/ 370046 h 578072"/>
                  <a:gd name="connsiteX109" fmla="*/ 593027 w 3587973"/>
                  <a:gd name="connsiteY109" fmla="*/ 370046 h 578072"/>
                  <a:gd name="connsiteX110" fmla="*/ 593027 w 3587973"/>
                  <a:gd name="connsiteY110" fmla="*/ 376142 h 578072"/>
                  <a:gd name="connsiteX111" fmla="*/ 635127 w 3587973"/>
                  <a:gd name="connsiteY111" fmla="*/ 376142 h 578072"/>
                  <a:gd name="connsiteX112" fmla="*/ 635127 w 3587973"/>
                  <a:gd name="connsiteY112" fmla="*/ 382143 h 578072"/>
                  <a:gd name="connsiteX113" fmla="*/ 649796 w 3587973"/>
                  <a:gd name="connsiteY113" fmla="*/ 382143 h 578072"/>
                  <a:gd name="connsiteX114" fmla="*/ 649796 w 3587973"/>
                  <a:gd name="connsiteY114" fmla="*/ 388239 h 578072"/>
                  <a:gd name="connsiteX115" fmla="*/ 679323 w 3587973"/>
                  <a:gd name="connsiteY115" fmla="*/ 388239 h 578072"/>
                  <a:gd name="connsiteX116" fmla="*/ 679323 w 3587973"/>
                  <a:gd name="connsiteY116" fmla="*/ 394335 h 578072"/>
                  <a:gd name="connsiteX117" fmla="*/ 681419 w 3587973"/>
                  <a:gd name="connsiteY117" fmla="*/ 394335 h 578072"/>
                  <a:gd name="connsiteX118" fmla="*/ 681419 w 3587973"/>
                  <a:gd name="connsiteY118" fmla="*/ 400336 h 578072"/>
                  <a:gd name="connsiteX119" fmla="*/ 704469 w 3587973"/>
                  <a:gd name="connsiteY119" fmla="*/ 400336 h 578072"/>
                  <a:gd name="connsiteX120" fmla="*/ 704469 w 3587973"/>
                  <a:gd name="connsiteY120" fmla="*/ 406432 h 578072"/>
                  <a:gd name="connsiteX121" fmla="*/ 717138 w 3587973"/>
                  <a:gd name="connsiteY121" fmla="*/ 406432 h 578072"/>
                  <a:gd name="connsiteX122" fmla="*/ 717138 w 3587973"/>
                  <a:gd name="connsiteY122" fmla="*/ 412528 h 578072"/>
                  <a:gd name="connsiteX123" fmla="*/ 752856 w 3587973"/>
                  <a:gd name="connsiteY123" fmla="*/ 412528 h 578072"/>
                  <a:gd name="connsiteX124" fmla="*/ 752856 w 3587973"/>
                  <a:gd name="connsiteY124" fmla="*/ 418624 h 578072"/>
                  <a:gd name="connsiteX125" fmla="*/ 868585 w 3587973"/>
                  <a:gd name="connsiteY125" fmla="*/ 418624 h 578072"/>
                  <a:gd name="connsiteX126" fmla="*/ 868585 w 3587973"/>
                  <a:gd name="connsiteY126" fmla="*/ 424625 h 578072"/>
                  <a:gd name="connsiteX127" fmla="*/ 906399 w 3587973"/>
                  <a:gd name="connsiteY127" fmla="*/ 424625 h 578072"/>
                  <a:gd name="connsiteX128" fmla="*/ 906399 w 3587973"/>
                  <a:gd name="connsiteY128" fmla="*/ 430816 h 578072"/>
                  <a:gd name="connsiteX129" fmla="*/ 958977 w 3587973"/>
                  <a:gd name="connsiteY129" fmla="*/ 430816 h 578072"/>
                  <a:gd name="connsiteX130" fmla="*/ 958977 w 3587973"/>
                  <a:gd name="connsiteY130" fmla="*/ 436912 h 578072"/>
                  <a:gd name="connsiteX131" fmla="*/ 977932 w 3587973"/>
                  <a:gd name="connsiteY131" fmla="*/ 436912 h 578072"/>
                  <a:gd name="connsiteX132" fmla="*/ 977932 w 3587973"/>
                  <a:gd name="connsiteY132" fmla="*/ 443008 h 578072"/>
                  <a:gd name="connsiteX133" fmla="*/ 988410 w 3587973"/>
                  <a:gd name="connsiteY133" fmla="*/ 443008 h 578072"/>
                  <a:gd name="connsiteX134" fmla="*/ 988410 w 3587973"/>
                  <a:gd name="connsiteY134" fmla="*/ 449199 h 578072"/>
                  <a:gd name="connsiteX135" fmla="*/ 1022128 w 3587973"/>
                  <a:gd name="connsiteY135" fmla="*/ 449199 h 578072"/>
                  <a:gd name="connsiteX136" fmla="*/ 1022128 w 3587973"/>
                  <a:gd name="connsiteY136" fmla="*/ 455295 h 578072"/>
                  <a:gd name="connsiteX137" fmla="*/ 1028415 w 3587973"/>
                  <a:gd name="connsiteY137" fmla="*/ 455295 h 578072"/>
                  <a:gd name="connsiteX138" fmla="*/ 1028415 w 3587973"/>
                  <a:gd name="connsiteY138" fmla="*/ 461391 h 578072"/>
                  <a:gd name="connsiteX139" fmla="*/ 1043083 w 3587973"/>
                  <a:gd name="connsiteY139" fmla="*/ 461391 h 578072"/>
                  <a:gd name="connsiteX140" fmla="*/ 1043083 w 3587973"/>
                  <a:gd name="connsiteY140" fmla="*/ 467487 h 578072"/>
                  <a:gd name="connsiteX141" fmla="*/ 1055751 w 3587973"/>
                  <a:gd name="connsiteY141" fmla="*/ 467487 h 578072"/>
                  <a:gd name="connsiteX142" fmla="*/ 1055751 w 3587973"/>
                  <a:gd name="connsiteY142" fmla="*/ 473678 h 578072"/>
                  <a:gd name="connsiteX143" fmla="*/ 1080993 w 3587973"/>
                  <a:gd name="connsiteY143" fmla="*/ 473678 h 578072"/>
                  <a:gd name="connsiteX144" fmla="*/ 1080993 w 3587973"/>
                  <a:gd name="connsiteY144" fmla="*/ 479774 h 578072"/>
                  <a:gd name="connsiteX145" fmla="*/ 1310259 w 3587973"/>
                  <a:gd name="connsiteY145" fmla="*/ 479774 h 578072"/>
                  <a:gd name="connsiteX146" fmla="*/ 1310259 w 3587973"/>
                  <a:gd name="connsiteY146" fmla="*/ 485966 h 578072"/>
                  <a:gd name="connsiteX147" fmla="*/ 1423797 w 3587973"/>
                  <a:gd name="connsiteY147" fmla="*/ 485966 h 578072"/>
                  <a:gd name="connsiteX148" fmla="*/ 1423797 w 3587973"/>
                  <a:gd name="connsiteY148" fmla="*/ 492157 h 578072"/>
                  <a:gd name="connsiteX149" fmla="*/ 1692974 w 3587973"/>
                  <a:gd name="connsiteY149" fmla="*/ 492157 h 578072"/>
                  <a:gd name="connsiteX150" fmla="*/ 1692974 w 3587973"/>
                  <a:gd name="connsiteY150" fmla="*/ 498443 h 578072"/>
                  <a:gd name="connsiteX151" fmla="*/ 1766602 w 3587973"/>
                  <a:gd name="connsiteY151" fmla="*/ 498443 h 578072"/>
                  <a:gd name="connsiteX152" fmla="*/ 1766602 w 3587973"/>
                  <a:gd name="connsiteY152" fmla="*/ 504730 h 578072"/>
                  <a:gd name="connsiteX153" fmla="*/ 1846517 w 3587973"/>
                  <a:gd name="connsiteY153" fmla="*/ 504730 h 578072"/>
                  <a:gd name="connsiteX154" fmla="*/ 1846517 w 3587973"/>
                  <a:gd name="connsiteY154" fmla="*/ 511016 h 578072"/>
                  <a:gd name="connsiteX155" fmla="*/ 2008442 w 3587973"/>
                  <a:gd name="connsiteY155" fmla="*/ 511016 h 578072"/>
                  <a:gd name="connsiteX156" fmla="*/ 2008442 w 3587973"/>
                  <a:gd name="connsiteY156" fmla="*/ 517493 h 578072"/>
                  <a:gd name="connsiteX157" fmla="*/ 2025301 w 3587973"/>
                  <a:gd name="connsiteY157" fmla="*/ 517493 h 578072"/>
                  <a:gd name="connsiteX158" fmla="*/ 2025301 w 3587973"/>
                  <a:gd name="connsiteY158" fmla="*/ 523875 h 578072"/>
                  <a:gd name="connsiteX159" fmla="*/ 2143125 w 3587973"/>
                  <a:gd name="connsiteY159" fmla="*/ 523875 h 578072"/>
                  <a:gd name="connsiteX160" fmla="*/ 2143125 w 3587973"/>
                  <a:gd name="connsiteY160" fmla="*/ 530352 h 578072"/>
                  <a:gd name="connsiteX161" fmla="*/ 2235613 w 3587973"/>
                  <a:gd name="connsiteY161" fmla="*/ 530352 h 578072"/>
                  <a:gd name="connsiteX162" fmla="*/ 2235613 w 3587973"/>
                  <a:gd name="connsiteY162" fmla="*/ 536734 h 578072"/>
                  <a:gd name="connsiteX163" fmla="*/ 2254568 w 3587973"/>
                  <a:gd name="connsiteY163" fmla="*/ 536734 h 578072"/>
                  <a:gd name="connsiteX164" fmla="*/ 2254568 w 3587973"/>
                  <a:gd name="connsiteY164" fmla="*/ 543211 h 578072"/>
                  <a:gd name="connsiteX165" fmla="*/ 3108389 w 3587973"/>
                  <a:gd name="connsiteY165" fmla="*/ 543211 h 578072"/>
                  <a:gd name="connsiteX166" fmla="*/ 3108389 w 3587973"/>
                  <a:gd name="connsiteY166" fmla="*/ 578072 h 578072"/>
                  <a:gd name="connsiteX167" fmla="*/ 3587973 w 3587973"/>
                  <a:gd name="connsiteY167" fmla="*/ 578072 h 578072"/>
                  <a:gd name="connsiteX0" fmla="*/ 0 w 3587973"/>
                  <a:gd name="connsiteY0" fmla="*/ 0 h 578072"/>
                  <a:gd name="connsiteX1" fmla="*/ 8382 w 3587973"/>
                  <a:gd name="connsiteY1" fmla="*/ 12097 h 578072"/>
                  <a:gd name="connsiteX2" fmla="*/ 14669 w 3587973"/>
                  <a:gd name="connsiteY2" fmla="*/ 12097 h 578072"/>
                  <a:gd name="connsiteX3" fmla="*/ 14669 w 3587973"/>
                  <a:gd name="connsiteY3" fmla="*/ 18193 h 578072"/>
                  <a:gd name="connsiteX4" fmla="*/ 18860 w 3587973"/>
                  <a:gd name="connsiteY4" fmla="*/ 18193 h 578072"/>
                  <a:gd name="connsiteX5" fmla="*/ 18860 w 3587973"/>
                  <a:gd name="connsiteY5" fmla="*/ 24289 h 578072"/>
                  <a:gd name="connsiteX6" fmla="*/ 23051 w 3587973"/>
                  <a:gd name="connsiteY6" fmla="*/ 24289 h 578072"/>
                  <a:gd name="connsiteX7" fmla="*/ 23051 w 3587973"/>
                  <a:gd name="connsiteY7" fmla="*/ 30385 h 578072"/>
                  <a:gd name="connsiteX8" fmla="*/ 25146 w 3587973"/>
                  <a:gd name="connsiteY8" fmla="*/ 30385 h 578072"/>
                  <a:gd name="connsiteX9" fmla="*/ 25146 w 3587973"/>
                  <a:gd name="connsiteY9" fmla="*/ 36386 h 578072"/>
                  <a:gd name="connsiteX10" fmla="*/ 27337 w 3587973"/>
                  <a:gd name="connsiteY10" fmla="*/ 36386 h 578072"/>
                  <a:gd name="connsiteX11" fmla="*/ 27337 w 3587973"/>
                  <a:gd name="connsiteY11" fmla="*/ 42482 h 578072"/>
                  <a:gd name="connsiteX12" fmla="*/ 37814 w 3587973"/>
                  <a:gd name="connsiteY12" fmla="*/ 42482 h 578072"/>
                  <a:gd name="connsiteX13" fmla="*/ 37814 w 3587973"/>
                  <a:gd name="connsiteY13" fmla="*/ 48578 h 578072"/>
                  <a:gd name="connsiteX14" fmla="*/ 44101 w 3587973"/>
                  <a:gd name="connsiteY14" fmla="*/ 48578 h 578072"/>
                  <a:gd name="connsiteX15" fmla="*/ 44101 w 3587973"/>
                  <a:gd name="connsiteY15" fmla="*/ 54578 h 578072"/>
                  <a:gd name="connsiteX16" fmla="*/ 58865 w 3587973"/>
                  <a:gd name="connsiteY16" fmla="*/ 54578 h 578072"/>
                  <a:gd name="connsiteX17" fmla="*/ 58865 w 3587973"/>
                  <a:gd name="connsiteY17" fmla="*/ 60674 h 578072"/>
                  <a:gd name="connsiteX18" fmla="*/ 67247 w 3587973"/>
                  <a:gd name="connsiteY18" fmla="*/ 60674 h 578072"/>
                  <a:gd name="connsiteX19" fmla="*/ 67247 w 3587973"/>
                  <a:gd name="connsiteY19" fmla="*/ 66770 h 578072"/>
                  <a:gd name="connsiteX20" fmla="*/ 77820 w 3587973"/>
                  <a:gd name="connsiteY20" fmla="*/ 66770 h 578072"/>
                  <a:gd name="connsiteX21" fmla="*/ 77820 w 3587973"/>
                  <a:gd name="connsiteY21" fmla="*/ 72771 h 578072"/>
                  <a:gd name="connsiteX22" fmla="*/ 90393 w 3587973"/>
                  <a:gd name="connsiteY22" fmla="*/ 72771 h 578072"/>
                  <a:gd name="connsiteX23" fmla="*/ 90393 w 3587973"/>
                  <a:gd name="connsiteY23" fmla="*/ 78867 h 578072"/>
                  <a:gd name="connsiteX24" fmla="*/ 96679 w 3587973"/>
                  <a:gd name="connsiteY24" fmla="*/ 78867 h 578072"/>
                  <a:gd name="connsiteX25" fmla="*/ 96679 w 3587973"/>
                  <a:gd name="connsiteY25" fmla="*/ 90964 h 578072"/>
                  <a:gd name="connsiteX26" fmla="*/ 100870 w 3587973"/>
                  <a:gd name="connsiteY26" fmla="*/ 90964 h 578072"/>
                  <a:gd name="connsiteX27" fmla="*/ 100870 w 3587973"/>
                  <a:gd name="connsiteY27" fmla="*/ 97060 h 578072"/>
                  <a:gd name="connsiteX28" fmla="*/ 113538 w 3587973"/>
                  <a:gd name="connsiteY28" fmla="*/ 97060 h 578072"/>
                  <a:gd name="connsiteX29" fmla="*/ 113538 w 3587973"/>
                  <a:gd name="connsiteY29" fmla="*/ 103156 h 578072"/>
                  <a:gd name="connsiteX30" fmla="*/ 128207 w 3587973"/>
                  <a:gd name="connsiteY30" fmla="*/ 103156 h 578072"/>
                  <a:gd name="connsiteX31" fmla="*/ 128207 w 3587973"/>
                  <a:gd name="connsiteY31" fmla="*/ 109157 h 578072"/>
                  <a:gd name="connsiteX32" fmla="*/ 132493 w 3587973"/>
                  <a:gd name="connsiteY32" fmla="*/ 109157 h 578072"/>
                  <a:gd name="connsiteX33" fmla="*/ 132493 w 3587973"/>
                  <a:gd name="connsiteY33" fmla="*/ 115253 h 578072"/>
                  <a:gd name="connsiteX34" fmla="*/ 142970 w 3587973"/>
                  <a:gd name="connsiteY34" fmla="*/ 115253 h 578072"/>
                  <a:gd name="connsiteX35" fmla="*/ 142970 w 3587973"/>
                  <a:gd name="connsiteY35" fmla="*/ 121349 h 578072"/>
                  <a:gd name="connsiteX36" fmla="*/ 151353 w 3587973"/>
                  <a:gd name="connsiteY36" fmla="*/ 121349 h 578072"/>
                  <a:gd name="connsiteX37" fmla="*/ 151353 w 3587973"/>
                  <a:gd name="connsiteY37" fmla="*/ 127445 h 578072"/>
                  <a:gd name="connsiteX38" fmla="*/ 166116 w 3587973"/>
                  <a:gd name="connsiteY38" fmla="*/ 127445 h 578072"/>
                  <a:gd name="connsiteX39" fmla="*/ 166116 w 3587973"/>
                  <a:gd name="connsiteY39" fmla="*/ 133445 h 578072"/>
                  <a:gd name="connsiteX40" fmla="*/ 170307 w 3587973"/>
                  <a:gd name="connsiteY40" fmla="*/ 133445 h 578072"/>
                  <a:gd name="connsiteX41" fmla="*/ 170307 w 3587973"/>
                  <a:gd name="connsiteY41" fmla="*/ 139541 h 578072"/>
                  <a:gd name="connsiteX42" fmla="*/ 174498 w 3587973"/>
                  <a:gd name="connsiteY42" fmla="*/ 139541 h 578072"/>
                  <a:gd name="connsiteX43" fmla="*/ 174498 w 3587973"/>
                  <a:gd name="connsiteY43" fmla="*/ 145637 h 578072"/>
                  <a:gd name="connsiteX44" fmla="*/ 187167 w 3587973"/>
                  <a:gd name="connsiteY44" fmla="*/ 145637 h 578072"/>
                  <a:gd name="connsiteX45" fmla="*/ 187167 w 3587973"/>
                  <a:gd name="connsiteY45" fmla="*/ 151638 h 578072"/>
                  <a:gd name="connsiteX46" fmla="*/ 216599 w 3587973"/>
                  <a:gd name="connsiteY46" fmla="*/ 151638 h 578072"/>
                  <a:gd name="connsiteX47" fmla="*/ 216599 w 3587973"/>
                  <a:gd name="connsiteY47" fmla="*/ 157734 h 578072"/>
                  <a:gd name="connsiteX48" fmla="*/ 224981 w 3587973"/>
                  <a:gd name="connsiteY48" fmla="*/ 157734 h 578072"/>
                  <a:gd name="connsiteX49" fmla="*/ 224981 w 3587973"/>
                  <a:gd name="connsiteY49" fmla="*/ 163830 h 578072"/>
                  <a:gd name="connsiteX50" fmla="*/ 227076 w 3587973"/>
                  <a:gd name="connsiteY50" fmla="*/ 163830 h 578072"/>
                  <a:gd name="connsiteX51" fmla="*/ 227076 w 3587973"/>
                  <a:gd name="connsiteY51" fmla="*/ 169831 h 578072"/>
                  <a:gd name="connsiteX52" fmla="*/ 241840 w 3587973"/>
                  <a:gd name="connsiteY52" fmla="*/ 169831 h 578072"/>
                  <a:gd name="connsiteX53" fmla="*/ 241840 w 3587973"/>
                  <a:gd name="connsiteY53" fmla="*/ 182023 h 578072"/>
                  <a:gd name="connsiteX54" fmla="*/ 243936 w 3587973"/>
                  <a:gd name="connsiteY54" fmla="*/ 182023 h 578072"/>
                  <a:gd name="connsiteX55" fmla="*/ 243936 w 3587973"/>
                  <a:gd name="connsiteY55" fmla="*/ 188024 h 578072"/>
                  <a:gd name="connsiteX56" fmla="*/ 250222 w 3587973"/>
                  <a:gd name="connsiteY56" fmla="*/ 188024 h 578072"/>
                  <a:gd name="connsiteX57" fmla="*/ 250222 w 3587973"/>
                  <a:gd name="connsiteY57" fmla="*/ 194120 h 578072"/>
                  <a:gd name="connsiteX58" fmla="*/ 254413 w 3587973"/>
                  <a:gd name="connsiteY58" fmla="*/ 194120 h 578072"/>
                  <a:gd name="connsiteX59" fmla="*/ 254413 w 3587973"/>
                  <a:gd name="connsiteY59" fmla="*/ 200216 h 578072"/>
                  <a:gd name="connsiteX60" fmla="*/ 271272 w 3587973"/>
                  <a:gd name="connsiteY60" fmla="*/ 200216 h 578072"/>
                  <a:gd name="connsiteX61" fmla="*/ 271272 w 3587973"/>
                  <a:gd name="connsiteY61" fmla="*/ 212312 h 578072"/>
                  <a:gd name="connsiteX62" fmla="*/ 275463 w 3587973"/>
                  <a:gd name="connsiteY62" fmla="*/ 212312 h 578072"/>
                  <a:gd name="connsiteX63" fmla="*/ 275463 w 3587973"/>
                  <a:gd name="connsiteY63" fmla="*/ 218408 h 578072"/>
                  <a:gd name="connsiteX64" fmla="*/ 298609 w 3587973"/>
                  <a:gd name="connsiteY64" fmla="*/ 218408 h 578072"/>
                  <a:gd name="connsiteX65" fmla="*/ 298609 w 3587973"/>
                  <a:gd name="connsiteY65" fmla="*/ 224504 h 578072"/>
                  <a:gd name="connsiteX66" fmla="*/ 302800 w 3587973"/>
                  <a:gd name="connsiteY66" fmla="*/ 224504 h 578072"/>
                  <a:gd name="connsiteX67" fmla="*/ 302800 w 3587973"/>
                  <a:gd name="connsiteY67" fmla="*/ 230505 h 578072"/>
                  <a:gd name="connsiteX68" fmla="*/ 309087 w 3587973"/>
                  <a:gd name="connsiteY68" fmla="*/ 230505 h 578072"/>
                  <a:gd name="connsiteX69" fmla="*/ 309087 w 3587973"/>
                  <a:gd name="connsiteY69" fmla="*/ 242697 h 578072"/>
                  <a:gd name="connsiteX70" fmla="*/ 328041 w 3587973"/>
                  <a:gd name="connsiteY70" fmla="*/ 242697 h 578072"/>
                  <a:gd name="connsiteX71" fmla="*/ 328041 w 3587973"/>
                  <a:gd name="connsiteY71" fmla="*/ 248698 h 578072"/>
                  <a:gd name="connsiteX72" fmla="*/ 336423 w 3587973"/>
                  <a:gd name="connsiteY72" fmla="*/ 248698 h 578072"/>
                  <a:gd name="connsiteX73" fmla="*/ 336423 w 3587973"/>
                  <a:gd name="connsiteY73" fmla="*/ 254794 h 578072"/>
                  <a:gd name="connsiteX74" fmla="*/ 349092 w 3587973"/>
                  <a:gd name="connsiteY74" fmla="*/ 254794 h 578072"/>
                  <a:gd name="connsiteX75" fmla="*/ 349092 w 3587973"/>
                  <a:gd name="connsiteY75" fmla="*/ 260890 h 578072"/>
                  <a:gd name="connsiteX76" fmla="*/ 365951 w 3587973"/>
                  <a:gd name="connsiteY76" fmla="*/ 260890 h 578072"/>
                  <a:gd name="connsiteX77" fmla="*/ 365951 w 3587973"/>
                  <a:gd name="connsiteY77" fmla="*/ 266891 h 578072"/>
                  <a:gd name="connsiteX78" fmla="*/ 393288 w 3587973"/>
                  <a:gd name="connsiteY78" fmla="*/ 266891 h 578072"/>
                  <a:gd name="connsiteX79" fmla="*/ 393288 w 3587973"/>
                  <a:gd name="connsiteY79" fmla="*/ 272987 h 578072"/>
                  <a:gd name="connsiteX80" fmla="*/ 395383 w 3587973"/>
                  <a:gd name="connsiteY80" fmla="*/ 272987 h 578072"/>
                  <a:gd name="connsiteX81" fmla="*/ 395383 w 3587973"/>
                  <a:gd name="connsiteY81" fmla="*/ 279083 h 578072"/>
                  <a:gd name="connsiteX82" fmla="*/ 405860 w 3587973"/>
                  <a:gd name="connsiteY82" fmla="*/ 279083 h 578072"/>
                  <a:gd name="connsiteX83" fmla="*/ 405860 w 3587973"/>
                  <a:gd name="connsiteY83" fmla="*/ 285083 h 578072"/>
                  <a:gd name="connsiteX84" fmla="*/ 412147 w 3587973"/>
                  <a:gd name="connsiteY84" fmla="*/ 285083 h 578072"/>
                  <a:gd name="connsiteX85" fmla="*/ 412147 w 3587973"/>
                  <a:gd name="connsiteY85" fmla="*/ 297275 h 578072"/>
                  <a:gd name="connsiteX86" fmla="*/ 420624 w 3587973"/>
                  <a:gd name="connsiteY86" fmla="*/ 297275 h 578072"/>
                  <a:gd name="connsiteX87" fmla="*/ 420624 w 3587973"/>
                  <a:gd name="connsiteY87" fmla="*/ 303276 h 578072"/>
                  <a:gd name="connsiteX88" fmla="*/ 426911 w 3587973"/>
                  <a:gd name="connsiteY88" fmla="*/ 303276 h 578072"/>
                  <a:gd name="connsiteX89" fmla="*/ 426911 w 3587973"/>
                  <a:gd name="connsiteY89" fmla="*/ 315468 h 578072"/>
                  <a:gd name="connsiteX90" fmla="*/ 429006 w 3587973"/>
                  <a:gd name="connsiteY90" fmla="*/ 315468 h 578072"/>
                  <a:gd name="connsiteX91" fmla="*/ 429006 w 3587973"/>
                  <a:gd name="connsiteY91" fmla="*/ 321564 h 578072"/>
                  <a:gd name="connsiteX92" fmla="*/ 441579 w 3587973"/>
                  <a:gd name="connsiteY92" fmla="*/ 321564 h 578072"/>
                  <a:gd name="connsiteX93" fmla="*/ 441579 w 3587973"/>
                  <a:gd name="connsiteY93" fmla="*/ 327565 h 578072"/>
                  <a:gd name="connsiteX94" fmla="*/ 464725 w 3587973"/>
                  <a:gd name="connsiteY94" fmla="*/ 327565 h 578072"/>
                  <a:gd name="connsiteX95" fmla="*/ 464725 w 3587973"/>
                  <a:gd name="connsiteY95" fmla="*/ 333661 h 578072"/>
                  <a:gd name="connsiteX96" fmla="*/ 471107 w 3587973"/>
                  <a:gd name="connsiteY96" fmla="*/ 333661 h 578072"/>
                  <a:gd name="connsiteX97" fmla="*/ 471107 w 3587973"/>
                  <a:gd name="connsiteY97" fmla="*/ 339757 h 578072"/>
                  <a:gd name="connsiteX98" fmla="*/ 479489 w 3587973"/>
                  <a:gd name="connsiteY98" fmla="*/ 339757 h 578072"/>
                  <a:gd name="connsiteX99" fmla="*/ 479489 w 3587973"/>
                  <a:gd name="connsiteY99" fmla="*/ 345758 h 578072"/>
                  <a:gd name="connsiteX100" fmla="*/ 487871 w 3587973"/>
                  <a:gd name="connsiteY100" fmla="*/ 345758 h 578072"/>
                  <a:gd name="connsiteX101" fmla="*/ 487871 w 3587973"/>
                  <a:gd name="connsiteY101" fmla="*/ 351854 h 578072"/>
                  <a:gd name="connsiteX102" fmla="*/ 492062 w 3587973"/>
                  <a:gd name="connsiteY102" fmla="*/ 351854 h 578072"/>
                  <a:gd name="connsiteX103" fmla="*/ 492062 w 3587973"/>
                  <a:gd name="connsiteY103" fmla="*/ 357950 h 578072"/>
                  <a:gd name="connsiteX104" fmla="*/ 565690 w 3587973"/>
                  <a:gd name="connsiteY104" fmla="*/ 357950 h 578072"/>
                  <a:gd name="connsiteX105" fmla="*/ 565690 w 3587973"/>
                  <a:gd name="connsiteY105" fmla="*/ 363950 h 578072"/>
                  <a:gd name="connsiteX106" fmla="*/ 586740 w 3587973"/>
                  <a:gd name="connsiteY106" fmla="*/ 363950 h 578072"/>
                  <a:gd name="connsiteX107" fmla="*/ 586740 w 3587973"/>
                  <a:gd name="connsiteY107" fmla="*/ 370046 h 578072"/>
                  <a:gd name="connsiteX108" fmla="*/ 593027 w 3587973"/>
                  <a:gd name="connsiteY108" fmla="*/ 370046 h 578072"/>
                  <a:gd name="connsiteX109" fmla="*/ 593027 w 3587973"/>
                  <a:gd name="connsiteY109" fmla="*/ 376142 h 578072"/>
                  <a:gd name="connsiteX110" fmla="*/ 635127 w 3587973"/>
                  <a:gd name="connsiteY110" fmla="*/ 376142 h 578072"/>
                  <a:gd name="connsiteX111" fmla="*/ 635127 w 3587973"/>
                  <a:gd name="connsiteY111" fmla="*/ 382143 h 578072"/>
                  <a:gd name="connsiteX112" fmla="*/ 649796 w 3587973"/>
                  <a:gd name="connsiteY112" fmla="*/ 382143 h 578072"/>
                  <a:gd name="connsiteX113" fmla="*/ 649796 w 3587973"/>
                  <a:gd name="connsiteY113" fmla="*/ 388239 h 578072"/>
                  <a:gd name="connsiteX114" fmla="*/ 679323 w 3587973"/>
                  <a:gd name="connsiteY114" fmla="*/ 388239 h 578072"/>
                  <a:gd name="connsiteX115" fmla="*/ 679323 w 3587973"/>
                  <a:gd name="connsiteY115" fmla="*/ 394335 h 578072"/>
                  <a:gd name="connsiteX116" fmla="*/ 681419 w 3587973"/>
                  <a:gd name="connsiteY116" fmla="*/ 394335 h 578072"/>
                  <a:gd name="connsiteX117" fmla="*/ 681419 w 3587973"/>
                  <a:gd name="connsiteY117" fmla="*/ 400336 h 578072"/>
                  <a:gd name="connsiteX118" fmla="*/ 704469 w 3587973"/>
                  <a:gd name="connsiteY118" fmla="*/ 400336 h 578072"/>
                  <a:gd name="connsiteX119" fmla="*/ 704469 w 3587973"/>
                  <a:gd name="connsiteY119" fmla="*/ 406432 h 578072"/>
                  <a:gd name="connsiteX120" fmla="*/ 717138 w 3587973"/>
                  <a:gd name="connsiteY120" fmla="*/ 406432 h 578072"/>
                  <a:gd name="connsiteX121" fmla="*/ 717138 w 3587973"/>
                  <a:gd name="connsiteY121" fmla="*/ 412528 h 578072"/>
                  <a:gd name="connsiteX122" fmla="*/ 752856 w 3587973"/>
                  <a:gd name="connsiteY122" fmla="*/ 412528 h 578072"/>
                  <a:gd name="connsiteX123" fmla="*/ 752856 w 3587973"/>
                  <a:gd name="connsiteY123" fmla="*/ 418624 h 578072"/>
                  <a:gd name="connsiteX124" fmla="*/ 868585 w 3587973"/>
                  <a:gd name="connsiteY124" fmla="*/ 418624 h 578072"/>
                  <a:gd name="connsiteX125" fmla="*/ 868585 w 3587973"/>
                  <a:gd name="connsiteY125" fmla="*/ 424625 h 578072"/>
                  <a:gd name="connsiteX126" fmla="*/ 906399 w 3587973"/>
                  <a:gd name="connsiteY126" fmla="*/ 424625 h 578072"/>
                  <a:gd name="connsiteX127" fmla="*/ 906399 w 3587973"/>
                  <a:gd name="connsiteY127" fmla="*/ 430816 h 578072"/>
                  <a:gd name="connsiteX128" fmla="*/ 958977 w 3587973"/>
                  <a:gd name="connsiteY128" fmla="*/ 430816 h 578072"/>
                  <a:gd name="connsiteX129" fmla="*/ 958977 w 3587973"/>
                  <a:gd name="connsiteY129" fmla="*/ 436912 h 578072"/>
                  <a:gd name="connsiteX130" fmla="*/ 977932 w 3587973"/>
                  <a:gd name="connsiteY130" fmla="*/ 436912 h 578072"/>
                  <a:gd name="connsiteX131" fmla="*/ 977932 w 3587973"/>
                  <a:gd name="connsiteY131" fmla="*/ 443008 h 578072"/>
                  <a:gd name="connsiteX132" fmla="*/ 988410 w 3587973"/>
                  <a:gd name="connsiteY132" fmla="*/ 443008 h 578072"/>
                  <a:gd name="connsiteX133" fmla="*/ 988410 w 3587973"/>
                  <a:gd name="connsiteY133" fmla="*/ 449199 h 578072"/>
                  <a:gd name="connsiteX134" fmla="*/ 1022128 w 3587973"/>
                  <a:gd name="connsiteY134" fmla="*/ 449199 h 578072"/>
                  <a:gd name="connsiteX135" fmla="*/ 1022128 w 3587973"/>
                  <a:gd name="connsiteY135" fmla="*/ 455295 h 578072"/>
                  <a:gd name="connsiteX136" fmla="*/ 1028415 w 3587973"/>
                  <a:gd name="connsiteY136" fmla="*/ 455295 h 578072"/>
                  <a:gd name="connsiteX137" fmla="*/ 1028415 w 3587973"/>
                  <a:gd name="connsiteY137" fmla="*/ 461391 h 578072"/>
                  <a:gd name="connsiteX138" fmla="*/ 1043083 w 3587973"/>
                  <a:gd name="connsiteY138" fmla="*/ 461391 h 578072"/>
                  <a:gd name="connsiteX139" fmla="*/ 1043083 w 3587973"/>
                  <a:gd name="connsiteY139" fmla="*/ 467487 h 578072"/>
                  <a:gd name="connsiteX140" fmla="*/ 1055751 w 3587973"/>
                  <a:gd name="connsiteY140" fmla="*/ 467487 h 578072"/>
                  <a:gd name="connsiteX141" fmla="*/ 1055751 w 3587973"/>
                  <a:gd name="connsiteY141" fmla="*/ 473678 h 578072"/>
                  <a:gd name="connsiteX142" fmla="*/ 1080993 w 3587973"/>
                  <a:gd name="connsiteY142" fmla="*/ 473678 h 578072"/>
                  <a:gd name="connsiteX143" fmla="*/ 1080993 w 3587973"/>
                  <a:gd name="connsiteY143" fmla="*/ 479774 h 578072"/>
                  <a:gd name="connsiteX144" fmla="*/ 1310259 w 3587973"/>
                  <a:gd name="connsiteY144" fmla="*/ 479774 h 578072"/>
                  <a:gd name="connsiteX145" fmla="*/ 1310259 w 3587973"/>
                  <a:gd name="connsiteY145" fmla="*/ 485966 h 578072"/>
                  <a:gd name="connsiteX146" fmla="*/ 1423797 w 3587973"/>
                  <a:gd name="connsiteY146" fmla="*/ 485966 h 578072"/>
                  <a:gd name="connsiteX147" fmla="*/ 1423797 w 3587973"/>
                  <a:gd name="connsiteY147" fmla="*/ 492157 h 578072"/>
                  <a:gd name="connsiteX148" fmla="*/ 1692974 w 3587973"/>
                  <a:gd name="connsiteY148" fmla="*/ 492157 h 578072"/>
                  <a:gd name="connsiteX149" fmla="*/ 1692974 w 3587973"/>
                  <a:gd name="connsiteY149" fmla="*/ 498443 h 578072"/>
                  <a:gd name="connsiteX150" fmla="*/ 1766602 w 3587973"/>
                  <a:gd name="connsiteY150" fmla="*/ 498443 h 578072"/>
                  <a:gd name="connsiteX151" fmla="*/ 1766602 w 3587973"/>
                  <a:gd name="connsiteY151" fmla="*/ 504730 h 578072"/>
                  <a:gd name="connsiteX152" fmla="*/ 1846517 w 3587973"/>
                  <a:gd name="connsiteY152" fmla="*/ 504730 h 578072"/>
                  <a:gd name="connsiteX153" fmla="*/ 1846517 w 3587973"/>
                  <a:gd name="connsiteY153" fmla="*/ 511016 h 578072"/>
                  <a:gd name="connsiteX154" fmla="*/ 2008442 w 3587973"/>
                  <a:gd name="connsiteY154" fmla="*/ 511016 h 578072"/>
                  <a:gd name="connsiteX155" fmla="*/ 2008442 w 3587973"/>
                  <a:gd name="connsiteY155" fmla="*/ 517493 h 578072"/>
                  <a:gd name="connsiteX156" fmla="*/ 2025301 w 3587973"/>
                  <a:gd name="connsiteY156" fmla="*/ 517493 h 578072"/>
                  <a:gd name="connsiteX157" fmla="*/ 2025301 w 3587973"/>
                  <a:gd name="connsiteY157" fmla="*/ 523875 h 578072"/>
                  <a:gd name="connsiteX158" fmla="*/ 2143125 w 3587973"/>
                  <a:gd name="connsiteY158" fmla="*/ 523875 h 578072"/>
                  <a:gd name="connsiteX159" fmla="*/ 2143125 w 3587973"/>
                  <a:gd name="connsiteY159" fmla="*/ 530352 h 578072"/>
                  <a:gd name="connsiteX160" fmla="*/ 2235613 w 3587973"/>
                  <a:gd name="connsiteY160" fmla="*/ 530352 h 578072"/>
                  <a:gd name="connsiteX161" fmla="*/ 2235613 w 3587973"/>
                  <a:gd name="connsiteY161" fmla="*/ 536734 h 578072"/>
                  <a:gd name="connsiteX162" fmla="*/ 2254568 w 3587973"/>
                  <a:gd name="connsiteY162" fmla="*/ 536734 h 578072"/>
                  <a:gd name="connsiteX163" fmla="*/ 2254568 w 3587973"/>
                  <a:gd name="connsiteY163" fmla="*/ 543211 h 578072"/>
                  <a:gd name="connsiteX164" fmla="*/ 3108389 w 3587973"/>
                  <a:gd name="connsiteY164" fmla="*/ 543211 h 578072"/>
                  <a:gd name="connsiteX165" fmla="*/ 3108389 w 3587973"/>
                  <a:gd name="connsiteY165" fmla="*/ 578072 h 578072"/>
                  <a:gd name="connsiteX166" fmla="*/ 3587973 w 3587973"/>
                  <a:gd name="connsiteY166" fmla="*/ 578072 h 578072"/>
                  <a:gd name="connsiteX0" fmla="*/ 0 w 3579591"/>
                  <a:gd name="connsiteY0" fmla="*/ 0 h 565975"/>
                  <a:gd name="connsiteX1" fmla="*/ 6287 w 3579591"/>
                  <a:gd name="connsiteY1" fmla="*/ 0 h 565975"/>
                  <a:gd name="connsiteX2" fmla="*/ 6287 w 3579591"/>
                  <a:gd name="connsiteY2" fmla="*/ 6096 h 565975"/>
                  <a:gd name="connsiteX3" fmla="*/ 10478 w 3579591"/>
                  <a:gd name="connsiteY3" fmla="*/ 6096 h 565975"/>
                  <a:gd name="connsiteX4" fmla="*/ 10478 w 3579591"/>
                  <a:gd name="connsiteY4" fmla="*/ 12192 h 565975"/>
                  <a:gd name="connsiteX5" fmla="*/ 14669 w 3579591"/>
                  <a:gd name="connsiteY5" fmla="*/ 12192 h 565975"/>
                  <a:gd name="connsiteX6" fmla="*/ 14669 w 3579591"/>
                  <a:gd name="connsiteY6" fmla="*/ 18288 h 565975"/>
                  <a:gd name="connsiteX7" fmla="*/ 16764 w 3579591"/>
                  <a:gd name="connsiteY7" fmla="*/ 18288 h 565975"/>
                  <a:gd name="connsiteX8" fmla="*/ 16764 w 3579591"/>
                  <a:gd name="connsiteY8" fmla="*/ 24289 h 565975"/>
                  <a:gd name="connsiteX9" fmla="*/ 18955 w 3579591"/>
                  <a:gd name="connsiteY9" fmla="*/ 24289 h 565975"/>
                  <a:gd name="connsiteX10" fmla="*/ 18955 w 3579591"/>
                  <a:gd name="connsiteY10" fmla="*/ 30385 h 565975"/>
                  <a:gd name="connsiteX11" fmla="*/ 29432 w 3579591"/>
                  <a:gd name="connsiteY11" fmla="*/ 30385 h 565975"/>
                  <a:gd name="connsiteX12" fmla="*/ 29432 w 3579591"/>
                  <a:gd name="connsiteY12" fmla="*/ 36481 h 565975"/>
                  <a:gd name="connsiteX13" fmla="*/ 35719 w 3579591"/>
                  <a:gd name="connsiteY13" fmla="*/ 36481 h 565975"/>
                  <a:gd name="connsiteX14" fmla="*/ 35719 w 3579591"/>
                  <a:gd name="connsiteY14" fmla="*/ 42481 h 565975"/>
                  <a:gd name="connsiteX15" fmla="*/ 50483 w 3579591"/>
                  <a:gd name="connsiteY15" fmla="*/ 42481 h 565975"/>
                  <a:gd name="connsiteX16" fmla="*/ 50483 w 3579591"/>
                  <a:gd name="connsiteY16" fmla="*/ 48577 h 565975"/>
                  <a:gd name="connsiteX17" fmla="*/ 58865 w 3579591"/>
                  <a:gd name="connsiteY17" fmla="*/ 48577 h 565975"/>
                  <a:gd name="connsiteX18" fmla="*/ 58865 w 3579591"/>
                  <a:gd name="connsiteY18" fmla="*/ 54673 h 565975"/>
                  <a:gd name="connsiteX19" fmla="*/ 69438 w 3579591"/>
                  <a:gd name="connsiteY19" fmla="*/ 54673 h 565975"/>
                  <a:gd name="connsiteX20" fmla="*/ 69438 w 3579591"/>
                  <a:gd name="connsiteY20" fmla="*/ 60674 h 565975"/>
                  <a:gd name="connsiteX21" fmla="*/ 82011 w 3579591"/>
                  <a:gd name="connsiteY21" fmla="*/ 60674 h 565975"/>
                  <a:gd name="connsiteX22" fmla="*/ 82011 w 3579591"/>
                  <a:gd name="connsiteY22" fmla="*/ 66770 h 565975"/>
                  <a:gd name="connsiteX23" fmla="*/ 88297 w 3579591"/>
                  <a:gd name="connsiteY23" fmla="*/ 66770 h 565975"/>
                  <a:gd name="connsiteX24" fmla="*/ 88297 w 3579591"/>
                  <a:gd name="connsiteY24" fmla="*/ 78867 h 565975"/>
                  <a:gd name="connsiteX25" fmla="*/ 92488 w 3579591"/>
                  <a:gd name="connsiteY25" fmla="*/ 78867 h 565975"/>
                  <a:gd name="connsiteX26" fmla="*/ 92488 w 3579591"/>
                  <a:gd name="connsiteY26" fmla="*/ 84963 h 565975"/>
                  <a:gd name="connsiteX27" fmla="*/ 105156 w 3579591"/>
                  <a:gd name="connsiteY27" fmla="*/ 84963 h 565975"/>
                  <a:gd name="connsiteX28" fmla="*/ 105156 w 3579591"/>
                  <a:gd name="connsiteY28" fmla="*/ 91059 h 565975"/>
                  <a:gd name="connsiteX29" fmla="*/ 119825 w 3579591"/>
                  <a:gd name="connsiteY29" fmla="*/ 91059 h 565975"/>
                  <a:gd name="connsiteX30" fmla="*/ 119825 w 3579591"/>
                  <a:gd name="connsiteY30" fmla="*/ 97060 h 565975"/>
                  <a:gd name="connsiteX31" fmla="*/ 124111 w 3579591"/>
                  <a:gd name="connsiteY31" fmla="*/ 97060 h 565975"/>
                  <a:gd name="connsiteX32" fmla="*/ 124111 w 3579591"/>
                  <a:gd name="connsiteY32" fmla="*/ 103156 h 565975"/>
                  <a:gd name="connsiteX33" fmla="*/ 134588 w 3579591"/>
                  <a:gd name="connsiteY33" fmla="*/ 103156 h 565975"/>
                  <a:gd name="connsiteX34" fmla="*/ 134588 w 3579591"/>
                  <a:gd name="connsiteY34" fmla="*/ 109252 h 565975"/>
                  <a:gd name="connsiteX35" fmla="*/ 142971 w 3579591"/>
                  <a:gd name="connsiteY35" fmla="*/ 109252 h 565975"/>
                  <a:gd name="connsiteX36" fmla="*/ 142971 w 3579591"/>
                  <a:gd name="connsiteY36" fmla="*/ 115348 h 565975"/>
                  <a:gd name="connsiteX37" fmla="*/ 157734 w 3579591"/>
                  <a:gd name="connsiteY37" fmla="*/ 115348 h 565975"/>
                  <a:gd name="connsiteX38" fmla="*/ 157734 w 3579591"/>
                  <a:gd name="connsiteY38" fmla="*/ 121348 h 565975"/>
                  <a:gd name="connsiteX39" fmla="*/ 161925 w 3579591"/>
                  <a:gd name="connsiteY39" fmla="*/ 121348 h 565975"/>
                  <a:gd name="connsiteX40" fmla="*/ 161925 w 3579591"/>
                  <a:gd name="connsiteY40" fmla="*/ 127444 h 565975"/>
                  <a:gd name="connsiteX41" fmla="*/ 166116 w 3579591"/>
                  <a:gd name="connsiteY41" fmla="*/ 127444 h 565975"/>
                  <a:gd name="connsiteX42" fmla="*/ 166116 w 3579591"/>
                  <a:gd name="connsiteY42" fmla="*/ 133540 h 565975"/>
                  <a:gd name="connsiteX43" fmla="*/ 178785 w 3579591"/>
                  <a:gd name="connsiteY43" fmla="*/ 133540 h 565975"/>
                  <a:gd name="connsiteX44" fmla="*/ 178785 w 3579591"/>
                  <a:gd name="connsiteY44" fmla="*/ 139541 h 565975"/>
                  <a:gd name="connsiteX45" fmla="*/ 208217 w 3579591"/>
                  <a:gd name="connsiteY45" fmla="*/ 139541 h 565975"/>
                  <a:gd name="connsiteX46" fmla="*/ 208217 w 3579591"/>
                  <a:gd name="connsiteY46" fmla="*/ 145637 h 565975"/>
                  <a:gd name="connsiteX47" fmla="*/ 216599 w 3579591"/>
                  <a:gd name="connsiteY47" fmla="*/ 145637 h 565975"/>
                  <a:gd name="connsiteX48" fmla="*/ 216599 w 3579591"/>
                  <a:gd name="connsiteY48" fmla="*/ 151733 h 565975"/>
                  <a:gd name="connsiteX49" fmla="*/ 218694 w 3579591"/>
                  <a:gd name="connsiteY49" fmla="*/ 151733 h 565975"/>
                  <a:gd name="connsiteX50" fmla="*/ 218694 w 3579591"/>
                  <a:gd name="connsiteY50" fmla="*/ 157734 h 565975"/>
                  <a:gd name="connsiteX51" fmla="*/ 233458 w 3579591"/>
                  <a:gd name="connsiteY51" fmla="*/ 157734 h 565975"/>
                  <a:gd name="connsiteX52" fmla="*/ 233458 w 3579591"/>
                  <a:gd name="connsiteY52" fmla="*/ 169926 h 565975"/>
                  <a:gd name="connsiteX53" fmla="*/ 235554 w 3579591"/>
                  <a:gd name="connsiteY53" fmla="*/ 169926 h 565975"/>
                  <a:gd name="connsiteX54" fmla="*/ 235554 w 3579591"/>
                  <a:gd name="connsiteY54" fmla="*/ 175927 h 565975"/>
                  <a:gd name="connsiteX55" fmla="*/ 241840 w 3579591"/>
                  <a:gd name="connsiteY55" fmla="*/ 175927 h 565975"/>
                  <a:gd name="connsiteX56" fmla="*/ 241840 w 3579591"/>
                  <a:gd name="connsiteY56" fmla="*/ 182023 h 565975"/>
                  <a:gd name="connsiteX57" fmla="*/ 246031 w 3579591"/>
                  <a:gd name="connsiteY57" fmla="*/ 182023 h 565975"/>
                  <a:gd name="connsiteX58" fmla="*/ 246031 w 3579591"/>
                  <a:gd name="connsiteY58" fmla="*/ 188119 h 565975"/>
                  <a:gd name="connsiteX59" fmla="*/ 262890 w 3579591"/>
                  <a:gd name="connsiteY59" fmla="*/ 188119 h 565975"/>
                  <a:gd name="connsiteX60" fmla="*/ 262890 w 3579591"/>
                  <a:gd name="connsiteY60" fmla="*/ 200215 h 565975"/>
                  <a:gd name="connsiteX61" fmla="*/ 267081 w 3579591"/>
                  <a:gd name="connsiteY61" fmla="*/ 200215 h 565975"/>
                  <a:gd name="connsiteX62" fmla="*/ 267081 w 3579591"/>
                  <a:gd name="connsiteY62" fmla="*/ 206311 h 565975"/>
                  <a:gd name="connsiteX63" fmla="*/ 290227 w 3579591"/>
                  <a:gd name="connsiteY63" fmla="*/ 206311 h 565975"/>
                  <a:gd name="connsiteX64" fmla="*/ 290227 w 3579591"/>
                  <a:gd name="connsiteY64" fmla="*/ 212407 h 565975"/>
                  <a:gd name="connsiteX65" fmla="*/ 294418 w 3579591"/>
                  <a:gd name="connsiteY65" fmla="*/ 212407 h 565975"/>
                  <a:gd name="connsiteX66" fmla="*/ 294418 w 3579591"/>
                  <a:gd name="connsiteY66" fmla="*/ 218408 h 565975"/>
                  <a:gd name="connsiteX67" fmla="*/ 300705 w 3579591"/>
                  <a:gd name="connsiteY67" fmla="*/ 218408 h 565975"/>
                  <a:gd name="connsiteX68" fmla="*/ 300705 w 3579591"/>
                  <a:gd name="connsiteY68" fmla="*/ 230600 h 565975"/>
                  <a:gd name="connsiteX69" fmla="*/ 319659 w 3579591"/>
                  <a:gd name="connsiteY69" fmla="*/ 230600 h 565975"/>
                  <a:gd name="connsiteX70" fmla="*/ 319659 w 3579591"/>
                  <a:gd name="connsiteY70" fmla="*/ 236601 h 565975"/>
                  <a:gd name="connsiteX71" fmla="*/ 328041 w 3579591"/>
                  <a:gd name="connsiteY71" fmla="*/ 236601 h 565975"/>
                  <a:gd name="connsiteX72" fmla="*/ 328041 w 3579591"/>
                  <a:gd name="connsiteY72" fmla="*/ 242697 h 565975"/>
                  <a:gd name="connsiteX73" fmla="*/ 340710 w 3579591"/>
                  <a:gd name="connsiteY73" fmla="*/ 242697 h 565975"/>
                  <a:gd name="connsiteX74" fmla="*/ 340710 w 3579591"/>
                  <a:gd name="connsiteY74" fmla="*/ 248793 h 565975"/>
                  <a:gd name="connsiteX75" fmla="*/ 357569 w 3579591"/>
                  <a:gd name="connsiteY75" fmla="*/ 248793 h 565975"/>
                  <a:gd name="connsiteX76" fmla="*/ 357569 w 3579591"/>
                  <a:gd name="connsiteY76" fmla="*/ 254794 h 565975"/>
                  <a:gd name="connsiteX77" fmla="*/ 384906 w 3579591"/>
                  <a:gd name="connsiteY77" fmla="*/ 254794 h 565975"/>
                  <a:gd name="connsiteX78" fmla="*/ 384906 w 3579591"/>
                  <a:gd name="connsiteY78" fmla="*/ 260890 h 565975"/>
                  <a:gd name="connsiteX79" fmla="*/ 387001 w 3579591"/>
                  <a:gd name="connsiteY79" fmla="*/ 260890 h 565975"/>
                  <a:gd name="connsiteX80" fmla="*/ 387001 w 3579591"/>
                  <a:gd name="connsiteY80" fmla="*/ 266986 h 565975"/>
                  <a:gd name="connsiteX81" fmla="*/ 397478 w 3579591"/>
                  <a:gd name="connsiteY81" fmla="*/ 266986 h 565975"/>
                  <a:gd name="connsiteX82" fmla="*/ 397478 w 3579591"/>
                  <a:gd name="connsiteY82" fmla="*/ 272986 h 565975"/>
                  <a:gd name="connsiteX83" fmla="*/ 403765 w 3579591"/>
                  <a:gd name="connsiteY83" fmla="*/ 272986 h 565975"/>
                  <a:gd name="connsiteX84" fmla="*/ 403765 w 3579591"/>
                  <a:gd name="connsiteY84" fmla="*/ 285178 h 565975"/>
                  <a:gd name="connsiteX85" fmla="*/ 412242 w 3579591"/>
                  <a:gd name="connsiteY85" fmla="*/ 285178 h 565975"/>
                  <a:gd name="connsiteX86" fmla="*/ 412242 w 3579591"/>
                  <a:gd name="connsiteY86" fmla="*/ 291179 h 565975"/>
                  <a:gd name="connsiteX87" fmla="*/ 418529 w 3579591"/>
                  <a:gd name="connsiteY87" fmla="*/ 291179 h 565975"/>
                  <a:gd name="connsiteX88" fmla="*/ 418529 w 3579591"/>
                  <a:gd name="connsiteY88" fmla="*/ 303371 h 565975"/>
                  <a:gd name="connsiteX89" fmla="*/ 420624 w 3579591"/>
                  <a:gd name="connsiteY89" fmla="*/ 303371 h 565975"/>
                  <a:gd name="connsiteX90" fmla="*/ 420624 w 3579591"/>
                  <a:gd name="connsiteY90" fmla="*/ 309467 h 565975"/>
                  <a:gd name="connsiteX91" fmla="*/ 433197 w 3579591"/>
                  <a:gd name="connsiteY91" fmla="*/ 309467 h 565975"/>
                  <a:gd name="connsiteX92" fmla="*/ 433197 w 3579591"/>
                  <a:gd name="connsiteY92" fmla="*/ 315468 h 565975"/>
                  <a:gd name="connsiteX93" fmla="*/ 456343 w 3579591"/>
                  <a:gd name="connsiteY93" fmla="*/ 315468 h 565975"/>
                  <a:gd name="connsiteX94" fmla="*/ 456343 w 3579591"/>
                  <a:gd name="connsiteY94" fmla="*/ 321564 h 565975"/>
                  <a:gd name="connsiteX95" fmla="*/ 462725 w 3579591"/>
                  <a:gd name="connsiteY95" fmla="*/ 321564 h 565975"/>
                  <a:gd name="connsiteX96" fmla="*/ 462725 w 3579591"/>
                  <a:gd name="connsiteY96" fmla="*/ 327660 h 565975"/>
                  <a:gd name="connsiteX97" fmla="*/ 471107 w 3579591"/>
                  <a:gd name="connsiteY97" fmla="*/ 327660 h 565975"/>
                  <a:gd name="connsiteX98" fmla="*/ 471107 w 3579591"/>
                  <a:gd name="connsiteY98" fmla="*/ 333661 h 565975"/>
                  <a:gd name="connsiteX99" fmla="*/ 479489 w 3579591"/>
                  <a:gd name="connsiteY99" fmla="*/ 333661 h 565975"/>
                  <a:gd name="connsiteX100" fmla="*/ 479489 w 3579591"/>
                  <a:gd name="connsiteY100" fmla="*/ 339757 h 565975"/>
                  <a:gd name="connsiteX101" fmla="*/ 483680 w 3579591"/>
                  <a:gd name="connsiteY101" fmla="*/ 339757 h 565975"/>
                  <a:gd name="connsiteX102" fmla="*/ 483680 w 3579591"/>
                  <a:gd name="connsiteY102" fmla="*/ 345853 h 565975"/>
                  <a:gd name="connsiteX103" fmla="*/ 557308 w 3579591"/>
                  <a:gd name="connsiteY103" fmla="*/ 345853 h 565975"/>
                  <a:gd name="connsiteX104" fmla="*/ 557308 w 3579591"/>
                  <a:gd name="connsiteY104" fmla="*/ 351853 h 565975"/>
                  <a:gd name="connsiteX105" fmla="*/ 578358 w 3579591"/>
                  <a:gd name="connsiteY105" fmla="*/ 351853 h 565975"/>
                  <a:gd name="connsiteX106" fmla="*/ 578358 w 3579591"/>
                  <a:gd name="connsiteY106" fmla="*/ 357949 h 565975"/>
                  <a:gd name="connsiteX107" fmla="*/ 584645 w 3579591"/>
                  <a:gd name="connsiteY107" fmla="*/ 357949 h 565975"/>
                  <a:gd name="connsiteX108" fmla="*/ 584645 w 3579591"/>
                  <a:gd name="connsiteY108" fmla="*/ 364045 h 565975"/>
                  <a:gd name="connsiteX109" fmla="*/ 626745 w 3579591"/>
                  <a:gd name="connsiteY109" fmla="*/ 364045 h 565975"/>
                  <a:gd name="connsiteX110" fmla="*/ 626745 w 3579591"/>
                  <a:gd name="connsiteY110" fmla="*/ 370046 h 565975"/>
                  <a:gd name="connsiteX111" fmla="*/ 641414 w 3579591"/>
                  <a:gd name="connsiteY111" fmla="*/ 370046 h 565975"/>
                  <a:gd name="connsiteX112" fmla="*/ 641414 w 3579591"/>
                  <a:gd name="connsiteY112" fmla="*/ 376142 h 565975"/>
                  <a:gd name="connsiteX113" fmla="*/ 670941 w 3579591"/>
                  <a:gd name="connsiteY113" fmla="*/ 376142 h 565975"/>
                  <a:gd name="connsiteX114" fmla="*/ 670941 w 3579591"/>
                  <a:gd name="connsiteY114" fmla="*/ 382238 h 565975"/>
                  <a:gd name="connsiteX115" fmla="*/ 673037 w 3579591"/>
                  <a:gd name="connsiteY115" fmla="*/ 382238 h 565975"/>
                  <a:gd name="connsiteX116" fmla="*/ 673037 w 3579591"/>
                  <a:gd name="connsiteY116" fmla="*/ 388239 h 565975"/>
                  <a:gd name="connsiteX117" fmla="*/ 696087 w 3579591"/>
                  <a:gd name="connsiteY117" fmla="*/ 388239 h 565975"/>
                  <a:gd name="connsiteX118" fmla="*/ 696087 w 3579591"/>
                  <a:gd name="connsiteY118" fmla="*/ 394335 h 565975"/>
                  <a:gd name="connsiteX119" fmla="*/ 708756 w 3579591"/>
                  <a:gd name="connsiteY119" fmla="*/ 394335 h 565975"/>
                  <a:gd name="connsiteX120" fmla="*/ 708756 w 3579591"/>
                  <a:gd name="connsiteY120" fmla="*/ 400431 h 565975"/>
                  <a:gd name="connsiteX121" fmla="*/ 744474 w 3579591"/>
                  <a:gd name="connsiteY121" fmla="*/ 400431 h 565975"/>
                  <a:gd name="connsiteX122" fmla="*/ 744474 w 3579591"/>
                  <a:gd name="connsiteY122" fmla="*/ 406527 h 565975"/>
                  <a:gd name="connsiteX123" fmla="*/ 860203 w 3579591"/>
                  <a:gd name="connsiteY123" fmla="*/ 406527 h 565975"/>
                  <a:gd name="connsiteX124" fmla="*/ 860203 w 3579591"/>
                  <a:gd name="connsiteY124" fmla="*/ 412528 h 565975"/>
                  <a:gd name="connsiteX125" fmla="*/ 898017 w 3579591"/>
                  <a:gd name="connsiteY125" fmla="*/ 412528 h 565975"/>
                  <a:gd name="connsiteX126" fmla="*/ 898017 w 3579591"/>
                  <a:gd name="connsiteY126" fmla="*/ 418719 h 565975"/>
                  <a:gd name="connsiteX127" fmla="*/ 950595 w 3579591"/>
                  <a:gd name="connsiteY127" fmla="*/ 418719 h 565975"/>
                  <a:gd name="connsiteX128" fmla="*/ 950595 w 3579591"/>
                  <a:gd name="connsiteY128" fmla="*/ 424815 h 565975"/>
                  <a:gd name="connsiteX129" fmla="*/ 969550 w 3579591"/>
                  <a:gd name="connsiteY129" fmla="*/ 424815 h 565975"/>
                  <a:gd name="connsiteX130" fmla="*/ 969550 w 3579591"/>
                  <a:gd name="connsiteY130" fmla="*/ 430911 h 565975"/>
                  <a:gd name="connsiteX131" fmla="*/ 980028 w 3579591"/>
                  <a:gd name="connsiteY131" fmla="*/ 430911 h 565975"/>
                  <a:gd name="connsiteX132" fmla="*/ 980028 w 3579591"/>
                  <a:gd name="connsiteY132" fmla="*/ 437102 h 565975"/>
                  <a:gd name="connsiteX133" fmla="*/ 1013746 w 3579591"/>
                  <a:gd name="connsiteY133" fmla="*/ 437102 h 565975"/>
                  <a:gd name="connsiteX134" fmla="*/ 1013746 w 3579591"/>
                  <a:gd name="connsiteY134" fmla="*/ 443198 h 565975"/>
                  <a:gd name="connsiteX135" fmla="*/ 1020033 w 3579591"/>
                  <a:gd name="connsiteY135" fmla="*/ 443198 h 565975"/>
                  <a:gd name="connsiteX136" fmla="*/ 1020033 w 3579591"/>
                  <a:gd name="connsiteY136" fmla="*/ 449294 h 565975"/>
                  <a:gd name="connsiteX137" fmla="*/ 1034701 w 3579591"/>
                  <a:gd name="connsiteY137" fmla="*/ 449294 h 565975"/>
                  <a:gd name="connsiteX138" fmla="*/ 1034701 w 3579591"/>
                  <a:gd name="connsiteY138" fmla="*/ 455390 h 565975"/>
                  <a:gd name="connsiteX139" fmla="*/ 1047369 w 3579591"/>
                  <a:gd name="connsiteY139" fmla="*/ 455390 h 565975"/>
                  <a:gd name="connsiteX140" fmla="*/ 1047369 w 3579591"/>
                  <a:gd name="connsiteY140" fmla="*/ 461581 h 565975"/>
                  <a:gd name="connsiteX141" fmla="*/ 1072611 w 3579591"/>
                  <a:gd name="connsiteY141" fmla="*/ 461581 h 565975"/>
                  <a:gd name="connsiteX142" fmla="*/ 1072611 w 3579591"/>
                  <a:gd name="connsiteY142" fmla="*/ 467677 h 565975"/>
                  <a:gd name="connsiteX143" fmla="*/ 1301877 w 3579591"/>
                  <a:gd name="connsiteY143" fmla="*/ 467677 h 565975"/>
                  <a:gd name="connsiteX144" fmla="*/ 1301877 w 3579591"/>
                  <a:gd name="connsiteY144" fmla="*/ 473869 h 565975"/>
                  <a:gd name="connsiteX145" fmla="*/ 1415415 w 3579591"/>
                  <a:gd name="connsiteY145" fmla="*/ 473869 h 565975"/>
                  <a:gd name="connsiteX146" fmla="*/ 1415415 w 3579591"/>
                  <a:gd name="connsiteY146" fmla="*/ 480060 h 565975"/>
                  <a:gd name="connsiteX147" fmla="*/ 1684592 w 3579591"/>
                  <a:gd name="connsiteY147" fmla="*/ 480060 h 565975"/>
                  <a:gd name="connsiteX148" fmla="*/ 1684592 w 3579591"/>
                  <a:gd name="connsiteY148" fmla="*/ 486346 h 565975"/>
                  <a:gd name="connsiteX149" fmla="*/ 1758220 w 3579591"/>
                  <a:gd name="connsiteY149" fmla="*/ 486346 h 565975"/>
                  <a:gd name="connsiteX150" fmla="*/ 1758220 w 3579591"/>
                  <a:gd name="connsiteY150" fmla="*/ 492633 h 565975"/>
                  <a:gd name="connsiteX151" fmla="*/ 1838135 w 3579591"/>
                  <a:gd name="connsiteY151" fmla="*/ 492633 h 565975"/>
                  <a:gd name="connsiteX152" fmla="*/ 1838135 w 3579591"/>
                  <a:gd name="connsiteY152" fmla="*/ 498919 h 565975"/>
                  <a:gd name="connsiteX153" fmla="*/ 2000060 w 3579591"/>
                  <a:gd name="connsiteY153" fmla="*/ 498919 h 565975"/>
                  <a:gd name="connsiteX154" fmla="*/ 2000060 w 3579591"/>
                  <a:gd name="connsiteY154" fmla="*/ 505396 h 565975"/>
                  <a:gd name="connsiteX155" fmla="*/ 2016919 w 3579591"/>
                  <a:gd name="connsiteY155" fmla="*/ 505396 h 565975"/>
                  <a:gd name="connsiteX156" fmla="*/ 2016919 w 3579591"/>
                  <a:gd name="connsiteY156" fmla="*/ 511778 h 565975"/>
                  <a:gd name="connsiteX157" fmla="*/ 2134743 w 3579591"/>
                  <a:gd name="connsiteY157" fmla="*/ 511778 h 565975"/>
                  <a:gd name="connsiteX158" fmla="*/ 2134743 w 3579591"/>
                  <a:gd name="connsiteY158" fmla="*/ 518255 h 565975"/>
                  <a:gd name="connsiteX159" fmla="*/ 2227231 w 3579591"/>
                  <a:gd name="connsiteY159" fmla="*/ 518255 h 565975"/>
                  <a:gd name="connsiteX160" fmla="*/ 2227231 w 3579591"/>
                  <a:gd name="connsiteY160" fmla="*/ 524637 h 565975"/>
                  <a:gd name="connsiteX161" fmla="*/ 2246186 w 3579591"/>
                  <a:gd name="connsiteY161" fmla="*/ 524637 h 565975"/>
                  <a:gd name="connsiteX162" fmla="*/ 2246186 w 3579591"/>
                  <a:gd name="connsiteY162" fmla="*/ 531114 h 565975"/>
                  <a:gd name="connsiteX163" fmla="*/ 3100007 w 3579591"/>
                  <a:gd name="connsiteY163" fmla="*/ 531114 h 565975"/>
                  <a:gd name="connsiteX164" fmla="*/ 3100007 w 3579591"/>
                  <a:gd name="connsiteY164" fmla="*/ 565975 h 565975"/>
                  <a:gd name="connsiteX165" fmla="*/ 3579591 w 3579591"/>
                  <a:gd name="connsiteY165" fmla="*/ 565975 h 565975"/>
                  <a:gd name="connsiteX0" fmla="*/ 0 w 3579591"/>
                  <a:gd name="connsiteY0" fmla="*/ 0 h 565975"/>
                  <a:gd name="connsiteX1" fmla="*/ 6287 w 3579591"/>
                  <a:gd name="connsiteY1" fmla="*/ 6096 h 565975"/>
                  <a:gd name="connsiteX2" fmla="*/ 10478 w 3579591"/>
                  <a:gd name="connsiteY2" fmla="*/ 6096 h 565975"/>
                  <a:gd name="connsiteX3" fmla="*/ 10478 w 3579591"/>
                  <a:gd name="connsiteY3" fmla="*/ 12192 h 565975"/>
                  <a:gd name="connsiteX4" fmla="*/ 14669 w 3579591"/>
                  <a:gd name="connsiteY4" fmla="*/ 12192 h 565975"/>
                  <a:gd name="connsiteX5" fmla="*/ 14669 w 3579591"/>
                  <a:gd name="connsiteY5" fmla="*/ 18288 h 565975"/>
                  <a:gd name="connsiteX6" fmla="*/ 16764 w 3579591"/>
                  <a:gd name="connsiteY6" fmla="*/ 18288 h 565975"/>
                  <a:gd name="connsiteX7" fmla="*/ 16764 w 3579591"/>
                  <a:gd name="connsiteY7" fmla="*/ 24289 h 565975"/>
                  <a:gd name="connsiteX8" fmla="*/ 18955 w 3579591"/>
                  <a:gd name="connsiteY8" fmla="*/ 24289 h 565975"/>
                  <a:gd name="connsiteX9" fmla="*/ 18955 w 3579591"/>
                  <a:gd name="connsiteY9" fmla="*/ 30385 h 565975"/>
                  <a:gd name="connsiteX10" fmla="*/ 29432 w 3579591"/>
                  <a:gd name="connsiteY10" fmla="*/ 30385 h 565975"/>
                  <a:gd name="connsiteX11" fmla="*/ 29432 w 3579591"/>
                  <a:gd name="connsiteY11" fmla="*/ 36481 h 565975"/>
                  <a:gd name="connsiteX12" fmla="*/ 35719 w 3579591"/>
                  <a:gd name="connsiteY12" fmla="*/ 36481 h 565975"/>
                  <a:gd name="connsiteX13" fmla="*/ 35719 w 3579591"/>
                  <a:gd name="connsiteY13" fmla="*/ 42481 h 565975"/>
                  <a:gd name="connsiteX14" fmla="*/ 50483 w 3579591"/>
                  <a:gd name="connsiteY14" fmla="*/ 42481 h 565975"/>
                  <a:gd name="connsiteX15" fmla="*/ 50483 w 3579591"/>
                  <a:gd name="connsiteY15" fmla="*/ 48577 h 565975"/>
                  <a:gd name="connsiteX16" fmla="*/ 58865 w 3579591"/>
                  <a:gd name="connsiteY16" fmla="*/ 48577 h 565975"/>
                  <a:gd name="connsiteX17" fmla="*/ 58865 w 3579591"/>
                  <a:gd name="connsiteY17" fmla="*/ 54673 h 565975"/>
                  <a:gd name="connsiteX18" fmla="*/ 69438 w 3579591"/>
                  <a:gd name="connsiteY18" fmla="*/ 54673 h 565975"/>
                  <a:gd name="connsiteX19" fmla="*/ 69438 w 3579591"/>
                  <a:gd name="connsiteY19" fmla="*/ 60674 h 565975"/>
                  <a:gd name="connsiteX20" fmla="*/ 82011 w 3579591"/>
                  <a:gd name="connsiteY20" fmla="*/ 60674 h 565975"/>
                  <a:gd name="connsiteX21" fmla="*/ 82011 w 3579591"/>
                  <a:gd name="connsiteY21" fmla="*/ 66770 h 565975"/>
                  <a:gd name="connsiteX22" fmla="*/ 88297 w 3579591"/>
                  <a:gd name="connsiteY22" fmla="*/ 66770 h 565975"/>
                  <a:gd name="connsiteX23" fmla="*/ 88297 w 3579591"/>
                  <a:gd name="connsiteY23" fmla="*/ 78867 h 565975"/>
                  <a:gd name="connsiteX24" fmla="*/ 92488 w 3579591"/>
                  <a:gd name="connsiteY24" fmla="*/ 78867 h 565975"/>
                  <a:gd name="connsiteX25" fmla="*/ 92488 w 3579591"/>
                  <a:gd name="connsiteY25" fmla="*/ 84963 h 565975"/>
                  <a:gd name="connsiteX26" fmla="*/ 105156 w 3579591"/>
                  <a:gd name="connsiteY26" fmla="*/ 84963 h 565975"/>
                  <a:gd name="connsiteX27" fmla="*/ 105156 w 3579591"/>
                  <a:gd name="connsiteY27" fmla="*/ 91059 h 565975"/>
                  <a:gd name="connsiteX28" fmla="*/ 119825 w 3579591"/>
                  <a:gd name="connsiteY28" fmla="*/ 91059 h 565975"/>
                  <a:gd name="connsiteX29" fmla="*/ 119825 w 3579591"/>
                  <a:gd name="connsiteY29" fmla="*/ 97060 h 565975"/>
                  <a:gd name="connsiteX30" fmla="*/ 124111 w 3579591"/>
                  <a:gd name="connsiteY30" fmla="*/ 97060 h 565975"/>
                  <a:gd name="connsiteX31" fmla="*/ 124111 w 3579591"/>
                  <a:gd name="connsiteY31" fmla="*/ 103156 h 565975"/>
                  <a:gd name="connsiteX32" fmla="*/ 134588 w 3579591"/>
                  <a:gd name="connsiteY32" fmla="*/ 103156 h 565975"/>
                  <a:gd name="connsiteX33" fmla="*/ 134588 w 3579591"/>
                  <a:gd name="connsiteY33" fmla="*/ 109252 h 565975"/>
                  <a:gd name="connsiteX34" fmla="*/ 142971 w 3579591"/>
                  <a:gd name="connsiteY34" fmla="*/ 109252 h 565975"/>
                  <a:gd name="connsiteX35" fmla="*/ 142971 w 3579591"/>
                  <a:gd name="connsiteY35" fmla="*/ 115348 h 565975"/>
                  <a:gd name="connsiteX36" fmla="*/ 157734 w 3579591"/>
                  <a:gd name="connsiteY36" fmla="*/ 115348 h 565975"/>
                  <a:gd name="connsiteX37" fmla="*/ 157734 w 3579591"/>
                  <a:gd name="connsiteY37" fmla="*/ 121348 h 565975"/>
                  <a:gd name="connsiteX38" fmla="*/ 161925 w 3579591"/>
                  <a:gd name="connsiteY38" fmla="*/ 121348 h 565975"/>
                  <a:gd name="connsiteX39" fmla="*/ 161925 w 3579591"/>
                  <a:gd name="connsiteY39" fmla="*/ 127444 h 565975"/>
                  <a:gd name="connsiteX40" fmla="*/ 166116 w 3579591"/>
                  <a:gd name="connsiteY40" fmla="*/ 127444 h 565975"/>
                  <a:gd name="connsiteX41" fmla="*/ 166116 w 3579591"/>
                  <a:gd name="connsiteY41" fmla="*/ 133540 h 565975"/>
                  <a:gd name="connsiteX42" fmla="*/ 178785 w 3579591"/>
                  <a:gd name="connsiteY42" fmla="*/ 133540 h 565975"/>
                  <a:gd name="connsiteX43" fmla="*/ 178785 w 3579591"/>
                  <a:gd name="connsiteY43" fmla="*/ 139541 h 565975"/>
                  <a:gd name="connsiteX44" fmla="*/ 208217 w 3579591"/>
                  <a:gd name="connsiteY44" fmla="*/ 139541 h 565975"/>
                  <a:gd name="connsiteX45" fmla="*/ 208217 w 3579591"/>
                  <a:gd name="connsiteY45" fmla="*/ 145637 h 565975"/>
                  <a:gd name="connsiteX46" fmla="*/ 216599 w 3579591"/>
                  <a:gd name="connsiteY46" fmla="*/ 145637 h 565975"/>
                  <a:gd name="connsiteX47" fmla="*/ 216599 w 3579591"/>
                  <a:gd name="connsiteY47" fmla="*/ 151733 h 565975"/>
                  <a:gd name="connsiteX48" fmla="*/ 218694 w 3579591"/>
                  <a:gd name="connsiteY48" fmla="*/ 151733 h 565975"/>
                  <a:gd name="connsiteX49" fmla="*/ 218694 w 3579591"/>
                  <a:gd name="connsiteY49" fmla="*/ 157734 h 565975"/>
                  <a:gd name="connsiteX50" fmla="*/ 233458 w 3579591"/>
                  <a:gd name="connsiteY50" fmla="*/ 157734 h 565975"/>
                  <a:gd name="connsiteX51" fmla="*/ 233458 w 3579591"/>
                  <a:gd name="connsiteY51" fmla="*/ 169926 h 565975"/>
                  <a:gd name="connsiteX52" fmla="*/ 235554 w 3579591"/>
                  <a:gd name="connsiteY52" fmla="*/ 169926 h 565975"/>
                  <a:gd name="connsiteX53" fmla="*/ 235554 w 3579591"/>
                  <a:gd name="connsiteY53" fmla="*/ 175927 h 565975"/>
                  <a:gd name="connsiteX54" fmla="*/ 241840 w 3579591"/>
                  <a:gd name="connsiteY54" fmla="*/ 175927 h 565975"/>
                  <a:gd name="connsiteX55" fmla="*/ 241840 w 3579591"/>
                  <a:gd name="connsiteY55" fmla="*/ 182023 h 565975"/>
                  <a:gd name="connsiteX56" fmla="*/ 246031 w 3579591"/>
                  <a:gd name="connsiteY56" fmla="*/ 182023 h 565975"/>
                  <a:gd name="connsiteX57" fmla="*/ 246031 w 3579591"/>
                  <a:gd name="connsiteY57" fmla="*/ 188119 h 565975"/>
                  <a:gd name="connsiteX58" fmla="*/ 262890 w 3579591"/>
                  <a:gd name="connsiteY58" fmla="*/ 188119 h 565975"/>
                  <a:gd name="connsiteX59" fmla="*/ 262890 w 3579591"/>
                  <a:gd name="connsiteY59" fmla="*/ 200215 h 565975"/>
                  <a:gd name="connsiteX60" fmla="*/ 267081 w 3579591"/>
                  <a:gd name="connsiteY60" fmla="*/ 200215 h 565975"/>
                  <a:gd name="connsiteX61" fmla="*/ 267081 w 3579591"/>
                  <a:gd name="connsiteY61" fmla="*/ 206311 h 565975"/>
                  <a:gd name="connsiteX62" fmla="*/ 290227 w 3579591"/>
                  <a:gd name="connsiteY62" fmla="*/ 206311 h 565975"/>
                  <a:gd name="connsiteX63" fmla="*/ 290227 w 3579591"/>
                  <a:gd name="connsiteY63" fmla="*/ 212407 h 565975"/>
                  <a:gd name="connsiteX64" fmla="*/ 294418 w 3579591"/>
                  <a:gd name="connsiteY64" fmla="*/ 212407 h 565975"/>
                  <a:gd name="connsiteX65" fmla="*/ 294418 w 3579591"/>
                  <a:gd name="connsiteY65" fmla="*/ 218408 h 565975"/>
                  <a:gd name="connsiteX66" fmla="*/ 300705 w 3579591"/>
                  <a:gd name="connsiteY66" fmla="*/ 218408 h 565975"/>
                  <a:gd name="connsiteX67" fmla="*/ 300705 w 3579591"/>
                  <a:gd name="connsiteY67" fmla="*/ 230600 h 565975"/>
                  <a:gd name="connsiteX68" fmla="*/ 319659 w 3579591"/>
                  <a:gd name="connsiteY68" fmla="*/ 230600 h 565975"/>
                  <a:gd name="connsiteX69" fmla="*/ 319659 w 3579591"/>
                  <a:gd name="connsiteY69" fmla="*/ 236601 h 565975"/>
                  <a:gd name="connsiteX70" fmla="*/ 328041 w 3579591"/>
                  <a:gd name="connsiteY70" fmla="*/ 236601 h 565975"/>
                  <a:gd name="connsiteX71" fmla="*/ 328041 w 3579591"/>
                  <a:gd name="connsiteY71" fmla="*/ 242697 h 565975"/>
                  <a:gd name="connsiteX72" fmla="*/ 340710 w 3579591"/>
                  <a:gd name="connsiteY72" fmla="*/ 242697 h 565975"/>
                  <a:gd name="connsiteX73" fmla="*/ 340710 w 3579591"/>
                  <a:gd name="connsiteY73" fmla="*/ 248793 h 565975"/>
                  <a:gd name="connsiteX74" fmla="*/ 357569 w 3579591"/>
                  <a:gd name="connsiteY74" fmla="*/ 248793 h 565975"/>
                  <a:gd name="connsiteX75" fmla="*/ 357569 w 3579591"/>
                  <a:gd name="connsiteY75" fmla="*/ 254794 h 565975"/>
                  <a:gd name="connsiteX76" fmla="*/ 384906 w 3579591"/>
                  <a:gd name="connsiteY76" fmla="*/ 254794 h 565975"/>
                  <a:gd name="connsiteX77" fmla="*/ 384906 w 3579591"/>
                  <a:gd name="connsiteY77" fmla="*/ 260890 h 565975"/>
                  <a:gd name="connsiteX78" fmla="*/ 387001 w 3579591"/>
                  <a:gd name="connsiteY78" fmla="*/ 260890 h 565975"/>
                  <a:gd name="connsiteX79" fmla="*/ 387001 w 3579591"/>
                  <a:gd name="connsiteY79" fmla="*/ 266986 h 565975"/>
                  <a:gd name="connsiteX80" fmla="*/ 397478 w 3579591"/>
                  <a:gd name="connsiteY80" fmla="*/ 266986 h 565975"/>
                  <a:gd name="connsiteX81" fmla="*/ 397478 w 3579591"/>
                  <a:gd name="connsiteY81" fmla="*/ 272986 h 565975"/>
                  <a:gd name="connsiteX82" fmla="*/ 403765 w 3579591"/>
                  <a:gd name="connsiteY82" fmla="*/ 272986 h 565975"/>
                  <a:gd name="connsiteX83" fmla="*/ 403765 w 3579591"/>
                  <a:gd name="connsiteY83" fmla="*/ 285178 h 565975"/>
                  <a:gd name="connsiteX84" fmla="*/ 412242 w 3579591"/>
                  <a:gd name="connsiteY84" fmla="*/ 285178 h 565975"/>
                  <a:gd name="connsiteX85" fmla="*/ 412242 w 3579591"/>
                  <a:gd name="connsiteY85" fmla="*/ 291179 h 565975"/>
                  <a:gd name="connsiteX86" fmla="*/ 418529 w 3579591"/>
                  <a:gd name="connsiteY86" fmla="*/ 291179 h 565975"/>
                  <a:gd name="connsiteX87" fmla="*/ 418529 w 3579591"/>
                  <a:gd name="connsiteY87" fmla="*/ 303371 h 565975"/>
                  <a:gd name="connsiteX88" fmla="*/ 420624 w 3579591"/>
                  <a:gd name="connsiteY88" fmla="*/ 303371 h 565975"/>
                  <a:gd name="connsiteX89" fmla="*/ 420624 w 3579591"/>
                  <a:gd name="connsiteY89" fmla="*/ 309467 h 565975"/>
                  <a:gd name="connsiteX90" fmla="*/ 433197 w 3579591"/>
                  <a:gd name="connsiteY90" fmla="*/ 309467 h 565975"/>
                  <a:gd name="connsiteX91" fmla="*/ 433197 w 3579591"/>
                  <a:gd name="connsiteY91" fmla="*/ 315468 h 565975"/>
                  <a:gd name="connsiteX92" fmla="*/ 456343 w 3579591"/>
                  <a:gd name="connsiteY92" fmla="*/ 315468 h 565975"/>
                  <a:gd name="connsiteX93" fmla="*/ 456343 w 3579591"/>
                  <a:gd name="connsiteY93" fmla="*/ 321564 h 565975"/>
                  <a:gd name="connsiteX94" fmla="*/ 462725 w 3579591"/>
                  <a:gd name="connsiteY94" fmla="*/ 321564 h 565975"/>
                  <a:gd name="connsiteX95" fmla="*/ 462725 w 3579591"/>
                  <a:gd name="connsiteY95" fmla="*/ 327660 h 565975"/>
                  <a:gd name="connsiteX96" fmla="*/ 471107 w 3579591"/>
                  <a:gd name="connsiteY96" fmla="*/ 327660 h 565975"/>
                  <a:gd name="connsiteX97" fmla="*/ 471107 w 3579591"/>
                  <a:gd name="connsiteY97" fmla="*/ 333661 h 565975"/>
                  <a:gd name="connsiteX98" fmla="*/ 479489 w 3579591"/>
                  <a:gd name="connsiteY98" fmla="*/ 333661 h 565975"/>
                  <a:gd name="connsiteX99" fmla="*/ 479489 w 3579591"/>
                  <a:gd name="connsiteY99" fmla="*/ 339757 h 565975"/>
                  <a:gd name="connsiteX100" fmla="*/ 483680 w 3579591"/>
                  <a:gd name="connsiteY100" fmla="*/ 339757 h 565975"/>
                  <a:gd name="connsiteX101" fmla="*/ 483680 w 3579591"/>
                  <a:gd name="connsiteY101" fmla="*/ 345853 h 565975"/>
                  <a:gd name="connsiteX102" fmla="*/ 557308 w 3579591"/>
                  <a:gd name="connsiteY102" fmla="*/ 345853 h 565975"/>
                  <a:gd name="connsiteX103" fmla="*/ 557308 w 3579591"/>
                  <a:gd name="connsiteY103" fmla="*/ 351853 h 565975"/>
                  <a:gd name="connsiteX104" fmla="*/ 578358 w 3579591"/>
                  <a:gd name="connsiteY104" fmla="*/ 351853 h 565975"/>
                  <a:gd name="connsiteX105" fmla="*/ 578358 w 3579591"/>
                  <a:gd name="connsiteY105" fmla="*/ 357949 h 565975"/>
                  <a:gd name="connsiteX106" fmla="*/ 584645 w 3579591"/>
                  <a:gd name="connsiteY106" fmla="*/ 357949 h 565975"/>
                  <a:gd name="connsiteX107" fmla="*/ 584645 w 3579591"/>
                  <a:gd name="connsiteY107" fmla="*/ 364045 h 565975"/>
                  <a:gd name="connsiteX108" fmla="*/ 626745 w 3579591"/>
                  <a:gd name="connsiteY108" fmla="*/ 364045 h 565975"/>
                  <a:gd name="connsiteX109" fmla="*/ 626745 w 3579591"/>
                  <a:gd name="connsiteY109" fmla="*/ 370046 h 565975"/>
                  <a:gd name="connsiteX110" fmla="*/ 641414 w 3579591"/>
                  <a:gd name="connsiteY110" fmla="*/ 370046 h 565975"/>
                  <a:gd name="connsiteX111" fmla="*/ 641414 w 3579591"/>
                  <a:gd name="connsiteY111" fmla="*/ 376142 h 565975"/>
                  <a:gd name="connsiteX112" fmla="*/ 670941 w 3579591"/>
                  <a:gd name="connsiteY112" fmla="*/ 376142 h 565975"/>
                  <a:gd name="connsiteX113" fmla="*/ 670941 w 3579591"/>
                  <a:gd name="connsiteY113" fmla="*/ 382238 h 565975"/>
                  <a:gd name="connsiteX114" fmla="*/ 673037 w 3579591"/>
                  <a:gd name="connsiteY114" fmla="*/ 382238 h 565975"/>
                  <a:gd name="connsiteX115" fmla="*/ 673037 w 3579591"/>
                  <a:gd name="connsiteY115" fmla="*/ 388239 h 565975"/>
                  <a:gd name="connsiteX116" fmla="*/ 696087 w 3579591"/>
                  <a:gd name="connsiteY116" fmla="*/ 388239 h 565975"/>
                  <a:gd name="connsiteX117" fmla="*/ 696087 w 3579591"/>
                  <a:gd name="connsiteY117" fmla="*/ 394335 h 565975"/>
                  <a:gd name="connsiteX118" fmla="*/ 708756 w 3579591"/>
                  <a:gd name="connsiteY118" fmla="*/ 394335 h 565975"/>
                  <a:gd name="connsiteX119" fmla="*/ 708756 w 3579591"/>
                  <a:gd name="connsiteY119" fmla="*/ 400431 h 565975"/>
                  <a:gd name="connsiteX120" fmla="*/ 744474 w 3579591"/>
                  <a:gd name="connsiteY120" fmla="*/ 400431 h 565975"/>
                  <a:gd name="connsiteX121" fmla="*/ 744474 w 3579591"/>
                  <a:gd name="connsiteY121" fmla="*/ 406527 h 565975"/>
                  <a:gd name="connsiteX122" fmla="*/ 860203 w 3579591"/>
                  <a:gd name="connsiteY122" fmla="*/ 406527 h 565975"/>
                  <a:gd name="connsiteX123" fmla="*/ 860203 w 3579591"/>
                  <a:gd name="connsiteY123" fmla="*/ 412528 h 565975"/>
                  <a:gd name="connsiteX124" fmla="*/ 898017 w 3579591"/>
                  <a:gd name="connsiteY124" fmla="*/ 412528 h 565975"/>
                  <a:gd name="connsiteX125" fmla="*/ 898017 w 3579591"/>
                  <a:gd name="connsiteY125" fmla="*/ 418719 h 565975"/>
                  <a:gd name="connsiteX126" fmla="*/ 950595 w 3579591"/>
                  <a:gd name="connsiteY126" fmla="*/ 418719 h 565975"/>
                  <a:gd name="connsiteX127" fmla="*/ 950595 w 3579591"/>
                  <a:gd name="connsiteY127" fmla="*/ 424815 h 565975"/>
                  <a:gd name="connsiteX128" fmla="*/ 969550 w 3579591"/>
                  <a:gd name="connsiteY128" fmla="*/ 424815 h 565975"/>
                  <a:gd name="connsiteX129" fmla="*/ 969550 w 3579591"/>
                  <a:gd name="connsiteY129" fmla="*/ 430911 h 565975"/>
                  <a:gd name="connsiteX130" fmla="*/ 980028 w 3579591"/>
                  <a:gd name="connsiteY130" fmla="*/ 430911 h 565975"/>
                  <a:gd name="connsiteX131" fmla="*/ 980028 w 3579591"/>
                  <a:gd name="connsiteY131" fmla="*/ 437102 h 565975"/>
                  <a:gd name="connsiteX132" fmla="*/ 1013746 w 3579591"/>
                  <a:gd name="connsiteY132" fmla="*/ 437102 h 565975"/>
                  <a:gd name="connsiteX133" fmla="*/ 1013746 w 3579591"/>
                  <a:gd name="connsiteY133" fmla="*/ 443198 h 565975"/>
                  <a:gd name="connsiteX134" fmla="*/ 1020033 w 3579591"/>
                  <a:gd name="connsiteY134" fmla="*/ 443198 h 565975"/>
                  <a:gd name="connsiteX135" fmla="*/ 1020033 w 3579591"/>
                  <a:gd name="connsiteY135" fmla="*/ 449294 h 565975"/>
                  <a:gd name="connsiteX136" fmla="*/ 1034701 w 3579591"/>
                  <a:gd name="connsiteY136" fmla="*/ 449294 h 565975"/>
                  <a:gd name="connsiteX137" fmla="*/ 1034701 w 3579591"/>
                  <a:gd name="connsiteY137" fmla="*/ 455390 h 565975"/>
                  <a:gd name="connsiteX138" fmla="*/ 1047369 w 3579591"/>
                  <a:gd name="connsiteY138" fmla="*/ 455390 h 565975"/>
                  <a:gd name="connsiteX139" fmla="*/ 1047369 w 3579591"/>
                  <a:gd name="connsiteY139" fmla="*/ 461581 h 565975"/>
                  <a:gd name="connsiteX140" fmla="*/ 1072611 w 3579591"/>
                  <a:gd name="connsiteY140" fmla="*/ 461581 h 565975"/>
                  <a:gd name="connsiteX141" fmla="*/ 1072611 w 3579591"/>
                  <a:gd name="connsiteY141" fmla="*/ 467677 h 565975"/>
                  <a:gd name="connsiteX142" fmla="*/ 1301877 w 3579591"/>
                  <a:gd name="connsiteY142" fmla="*/ 467677 h 565975"/>
                  <a:gd name="connsiteX143" fmla="*/ 1301877 w 3579591"/>
                  <a:gd name="connsiteY143" fmla="*/ 473869 h 565975"/>
                  <a:gd name="connsiteX144" fmla="*/ 1415415 w 3579591"/>
                  <a:gd name="connsiteY144" fmla="*/ 473869 h 565975"/>
                  <a:gd name="connsiteX145" fmla="*/ 1415415 w 3579591"/>
                  <a:gd name="connsiteY145" fmla="*/ 480060 h 565975"/>
                  <a:gd name="connsiteX146" fmla="*/ 1684592 w 3579591"/>
                  <a:gd name="connsiteY146" fmla="*/ 480060 h 565975"/>
                  <a:gd name="connsiteX147" fmla="*/ 1684592 w 3579591"/>
                  <a:gd name="connsiteY147" fmla="*/ 486346 h 565975"/>
                  <a:gd name="connsiteX148" fmla="*/ 1758220 w 3579591"/>
                  <a:gd name="connsiteY148" fmla="*/ 486346 h 565975"/>
                  <a:gd name="connsiteX149" fmla="*/ 1758220 w 3579591"/>
                  <a:gd name="connsiteY149" fmla="*/ 492633 h 565975"/>
                  <a:gd name="connsiteX150" fmla="*/ 1838135 w 3579591"/>
                  <a:gd name="connsiteY150" fmla="*/ 492633 h 565975"/>
                  <a:gd name="connsiteX151" fmla="*/ 1838135 w 3579591"/>
                  <a:gd name="connsiteY151" fmla="*/ 498919 h 565975"/>
                  <a:gd name="connsiteX152" fmla="*/ 2000060 w 3579591"/>
                  <a:gd name="connsiteY152" fmla="*/ 498919 h 565975"/>
                  <a:gd name="connsiteX153" fmla="*/ 2000060 w 3579591"/>
                  <a:gd name="connsiteY153" fmla="*/ 505396 h 565975"/>
                  <a:gd name="connsiteX154" fmla="*/ 2016919 w 3579591"/>
                  <a:gd name="connsiteY154" fmla="*/ 505396 h 565975"/>
                  <a:gd name="connsiteX155" fmla="*/ 2016919 w 3579591"/>
                  <a:gd name="connsiteY155" fmla="*/ 511778 h 565975"/>
                  <a:gd name="connsiteX156" fmla="*/ 2134743 w 3579591"/>
                  <a:gd name="connsiteY156" fmla="*/ 511778 h 565975"/>
                  <a:gd name="connsiteX157" fmla="*/ 2134743 w 3579591"/>
                  <a:gd name="connsiteY157" fmla="*/ 518255 h 565975"/>
                  <a:gd name="connsiteX158" fmla="*/ 2227231 w 3579591"/>
                  <a:gd name="connsiteY158" fmla="*/ 518255 h 565975"/>
                  <a:gd name="connsiteX159" fmla="*/ 2227231 w 3579591"/>
                  <a:gd name="connsiteY159" fmla="*/ 524637 h 565975"/>
                  <a:gd name="connsiteX160" fmla="*/ 2246186 w 3579591"/>
                  <a:gd name="connsiteY160" fmla="*/ 524637 h 565975"/>
                  <a:gd name="connsiteX161" fmla="*/ 2246186 w 3579591"/>
                  <a:gd name="connsiteY161" fmla="*/ 531114 h 565975"/>
                  <a:gd name="connsiteX162" fmla="*/ 3100007 w 3579591"/>
                  <a:gd name="connsiteY162" fmla="*/ 531114 h 565975"/>
                  <a:gd name="connsiteX163" fmla="*/ 3100007 w 3579591"/>
                  <a:gd name="connsiteY163" fmla="*/ 565975 h 565975"/>
                  <a:gd name="connsiteX164" fmla="*/ 3579591 w 3579591"/>
                  <a:gd name="connsiteY164" fmla="*/ 565975 h 565975"/>
                  <a:gd name="connsiteX0" fmla="*/ 0 w 3573304"/>
                  <a:gd name="connsiteY0" fmla="*/ 0 h 559879"/>
                  <a:gd name="connsiteX1" fmla="*/ 4191 w 3573304"/>
                  <a:gd name="connsiteY1" fmla="*/ 0 h 559879"/>
                  <a:gd name="connsiteX2" fmla="*/ 4191 w 3573304"/>
                  <a:gd name="connsiteY2" fmla="*/ 6096 h 559879"/>
                  <a:gd name="connsiteX3" fmla="*/ 8382 w 3573304"/>
                  <a:gd name="connsiteY3" fmla="*/ 6096 h 559879"/>
                  <a:gd name="connsiteX4" fmla="*/ 8382 w 3573304"/>
                  <a:gd name="connsiteY4" fmla="*/ 12192 h 559879"/>
                  <a:gd name="connsiteX5" fmla="*/ 10477 w 3573304"/>
                  <a:gd name="connsiteY5" fmla="*/ 12192 h 559879"/>
                  <a:gd name="connsiteX6" fmla="*/ 10477 w 3573304"/>
                  <a:gd name="connsiteY6" fmla="*/ 18193 h 559879"/>
                  <a:gd name="connsiteX7" fmla="*/ 12668 w 3573304"/>
                  <a:gd name="connsiteY7" fmla="*/ 18193 h 559879"/>
                  <a:gd name="connsiteX8" fmla="*/ 12668 w 3573304"/>
                  <a:gd name="connsiteY8" fmla="*/ 24289 h 559879"/>
                  <a:gd name="connsiteX9" fmla="*/ 23145 w 3573304"/>
                  <a:gd name="connsiteY9" fmla="*/ 24289 h 559879"/>
                  <a:gd name="connsiteX10" fmla="*/ 23145 w 3573304"/>
                  <a:gd name="connsiteY10" fmla="*/ 30385 h 559879"/>
                  <a:gd name="connsiteX11" fmla="*/ 29432 w 3573304"/>
                  <a:gd name="connsiteY11" fmla="*/ 30385 h 559879"/>
                  <a:gd name="connsiteX12" fmla="*/ 29432 w 3573304"/>
                  <a:gd name="connsiteY12" fmla="*/ 36385 h 559879"/>
                  <a:gd name="connsiteX13" fmla="*/ 44196 w 3573304"/>
                  <a:gd name="connsiteY13" fmla="*/ 36385 h 559879"/>
                  <a:gd name="connsiteX14" fmla="*/ 44196 w 3573304"/>
                  <a:gd name="connsiteY14" fmla="*/ 42481 h 559879"/>
                  <a:gd name="connsiteX15" fmla="*/ 52578 w 3573304"/>
                  <a:gd name="connsiteY15" fmla="*/ 42481 h 559879"/>
                  <a:gd name="connsiteX16" fmla="*/ 52578 w 3573304"/>
                  <a:gd name="connsiteY16" fmla="*/ 48577 h 559879"/>
                  <a:gd name="connsiteX17" fmla="*/ 63151 w 3573304"/>
                  <a:gd name="connsiteY17" fmla="*/ 48577 h 559879"/>
                  <a:gd name="connsiteX18" fmla="*/ 63151 w 3573304"/>
                  <a:gd name="connsiteY18" fmla="*/ 54578 h 559879"/>
                  <a:gd name="connsiteX19" fmla="*/ 75724 w 3573304"/>
                  <a:gd name="connsiteY19" fmla="*/ 54578 h 559879"/>
                  <a:gd name="connsiteX20" fmla="*/ 75724 w 3573304"/>
                  <a:gd name="connsiteY20" fmla="*/ 60674 h 559879"/>
                  <a:gd name="connsiteX21" fmla="*/ 82010 w 3573304"/>
                  <a:gd name="connsiteY21" fmla="*/ 60674 h 559879"/>
                  <a:gd name="connsiteX22" fmla="*/ 82010 w 3573304"/>
                  <a:gd name="connsiteY22" fmla="*/ 72771 h 559879"/>
                  <a:gd name="connsiteX23" fmla="*/ 86201 w 3573304"/>
                  <a:gd name="connsiteY23" fmla="*/ 72771 h 559879"/>
                  <a:gd name="connsiteX24" fmla="*/ 86201 w 3573304"/>
                  <a:gd name="connsiteY24" fmla="*/ 78867 h 559879"/>
                  <a:gd name="connsiteX25" fmla="*/ 98869 w 3573304"/>
                  <a:gd name="connsiteY25" fmla="*/ 78867 h 559879"/>
                  <a:gd name="connsiteX26" fmla="*/ 98869 w 3573304"/>
                  <a:gd name="connsiteY26" fmla="*/ 84963 h 559879"/>
                  <a:gd name="connsiteX27" fmla="*/ 113538 w 3573304"/>
                  <a:gd name="connsiteY27" fmla="*/ 84963 h 559879"/>
                  <a:gd name="connsiteX28" fmla="*/ 113538 w 3573304"/>
                  <a:gd name="connsiteY28" fmla="*/ 90964 h 559879"/>
                  <a:gd name="connsiteX29" fmla="*/ 117824 w 3573304"/>
                  <a:gd name="connsiteY29" fmla="*/ 90964 h 559879"/>
                  <a:gd name="connsiteX30" fmla="*/ 117824 w 3573304"/>
                  <a:gd name="connsiteY30" fmla="*/ 97060 h 559879"/>
                  <a:gd name="connsiteX31" fmla="*/ 128301 w 3573304"/>
                  <a:gd name="connsiteY31" fmla="*/ 97060 h 559879"/>
                  <a:gd name="connsiteX32" fmla="*/ 128301 w 3573304"/>
                  <a:gd name="connsiteY32" fmla="*/ 103156 h 559879"/>
                  <a:gd name="connsiteX33" fmla="*/ 136684 w 3573304"/>
                  <a:gd name="connsiteY33" fmla="*/ 103156 h 559879"/>
                  <a:gd name="connsiteX34" fmla="*/ 136684 w 3573304"/>
                  <a:gd name="connsiteY34" fmla="*/ 109252 h 559879"/>
                  <a:gd name="connsiteX35" fmla="*/ 151447 w 3573304"/>
                  <a:gd name="connsiteY35" fmla="*/ 109252 h 559879"/>
                  <a:gd name="connsiteX36" fmla="*/ 151447 w 3573304"/>
                  <a:gd name="connsiteY36" fmla="*/ 115252 h 559879"/>
                  <a:gd name="connsiteX37" fmla="*/ 155638 w 3573304"/>
                  <a:gd name="connsiteY37" fmla="*/ 115252 h 559879"/>
                  <a:gd name="connsiteX38" fmla="*/ 155638 w 3573304"/>
                  <a:gd name="connsiteY38" fmla="*/ 121348 h 559879"/>
                  <a:gd name="connsiteX39" fmla="*/ 159829 w 3573304"/>
                  <a:gd name="connsiteY39" fmla="*/ 121348 h 559879"/>
                  <a:gd name="connsiteX40" fmla="*/ 159829 w 3573304"/>
                  <a:gd name="connsiteY40" fmla="*/ 127444 h 559879"/>
                  <a:gd name="connsiteX41" fmla="*/ 172498 w 3573304"/>
                  <a:gd name="connsiteY41" fmla="*/ 127444 h 559879"/>
                  <a:gd name="connsiteX42" fmla="*/ 172498 w 3573304"/>
                  <a:gd name="connsiteY42" fmla="*/ 133445 h 559879"/>
                  <a:gd name="connsiteX43" fmla="*/ 201930 w 3573304"/>
                  <a:gd name="connsiteY43" fmla="*/ 133445 h 559879"/>
                  <a:gd name="connsiteX44" fmla="*/ 201930 w 3573304"/>
                  <a:gd name="connsiteY44" fmla="*/ 139541 h 559879"/>
                  <a:gd name="connsiteX45" fmla="*/ 210312 w 3573304"/>
                  <a:gd name="connsiteY45" fmla="*/ 139541 h 559879"/>
                  <a:gd name="connsiteX46" fmla="*/ 210312 w 3573304"/>
                  <a:gd name="connsiteY46" fmla="*/ 145637 h 559879"/>
                  <a:gd name="connsiteX47" fmla="*/ 212407 w 3573304"/>
                  <a:gd name="connsiteY47" fmla="*/ 145637 h 559879"/>
                  <a:gd name="connsiteX48" fmla="*/ 212407 w 3573304"/>
                  <a:gd name="connsiteY48" fmla="*/ 151638 h 559879"/>
                  <a:gd name="connsiteX49" fmla="*/ 227171 w 3573304"/>
                  <a:gd name="connsiteY49" fmla="*/ 151638 h 559879"/>
                  <a:gd name="connsiteX50" fmla="*/ 227171 w 3573304"/>
                  <a:gd name="connsiteY50" fmla="*/ 163830 h 559879"/>
                  <a:gd name="connsiteX51" fmla="*/ 229267 w 3573304"/>
                  <a:gd name="connsiteY51" fmla="*/ 163830 h 559879"/>
                  <a:gd name="connsiteX52" fmla="*/ 229267 w 3573304"/>
                  <a:gd name="connsiteY52" fmla="*/ 169831 h 559879"/>
                  <a:gd name="connsiteX53" fmla="*/ 235553 w 3573304"/>
                  <a:gd name="connsiteY53" fmla="*/ 169831 h 559879"/>
                  <a:gd name="connsiteX54" fmla="*/ 235553 w 3573304"/>
                  <a:gd name="connsiteY54" fmla="*/ 175927 h 559879"/>
                  <a:gd name="connsiteX55" fmla="*/ 239744 w 3573304"/>
                  <a:gd name="connsiteY55" fmla="*/ 175927 h 559879"/>
                  <a:gd name="connsiteX56" fmla="*/ 239744 w 3573304"/>
                  <a:gd name="connsiteY56" fmla="*/ 182023 h 559879"/>
                  <a:gd name="connsiteX57" fmla="*/ 256603 w 3573304"/>
                  <a:gd name="connsiteY57" fmla="*/ 182023 h 559879"/>
                  <a:gd name="connsiteX58" fmla="*/ 256603 w 3573304"/>
                  <a:gd name="connsiteY58" fmla="*/ 194119 h 559879"/>
                  <a:gd name="connsiteX59" fmla="*/ 260794 w 3573304"/>
                  <a:gd name="connsiteY59" fmla="*/ 194119 h 559879"/>
                  <a:gd name="connsiteX60" fmla="*/ 260794 w 3573304"/>
                  <a:gd name="connsiteY60" fmla="*/ 200215 h 559879"/>
                  <a:gd name="connsiteX61" fmla="*/ 283940 w 3573304"/>
                  <a:gd name="connsiteY61" fmla="*/ 200215 h 559879"/>
                  <a:gd name="connsiteX62" fmla="*/ 283940 w 3573304"/>
                  <a:gd name="connsiteY62" fmla="*/ 206311 h 559879"/>
                  <a:gd name="connsiteX63" fmla="*/ 288131 w 3573304"/>
                  <a:gd name="connsiteY63" fmla="*/ 206311 h 559879"/>
                  <a:gd name="connsiteX64" fmla="*/ 288131 w 3573304"/>
                  <a:gd name="connsiteY64" fmla="*/ 212312 h 559879"/>
                  <a:gd name="connsiteX65" fmla="*/ 294418 w 3573304"/>
                  <a:gd name="connsiteY65" fmla="*/ 212312 h 559879"/>
                  <a:gd name="connsiteX66" fmla="*/ 294418 w 3573304"/>
                  <a:gd name="connsiteY66" fmla="*/ 224504 h 559879"/>
                  <a:gd name="connsiteX67" fmla="*/ 313372 w 3573304"/>
                  <a:gd name="connsiteY67" fmla="*/ 224504 h 559879"/>
                  <a:gd name="connsiteX68" fmla="*/ 313372 w 3573304"/>
                  <a:gd name="connsiteY68" fmla="*/ 230505 h 559879"/>
                  <a:gd name="connsiteX69" fmla="*/ 321754 w 3573304"/>
                  <a:gd name="connsiteY69" fmla="*/ 230505 h 559879"/>
                  <a:gd name="connsiteX70" fmla="*/ 321754 w 3573304"/>
                  <a:gd name="connsiteY70" fmla="*/ 236601 h 559879"/>
                  <a:gd name="connsiteX71" fmla="*/ 334423 w 3573304"/>
                  <a:gd name="connsiteY71" fmla="*/ 236601 h 559879"/>
                  <a:gd name="connsiteX72" fmla="*/ 334423 w 3573304"/>
                  <a:gd name="connsiteY72" fmla="*/ 242697 h 559879"/>
                  <a:gd name="connsiteX73" fmla="*/ 351282 w 3573304"/>
                  <a:gd name="connsiteY73" fmla="*/ 242697 h 559879"/>
                  <a:gd name="connsiteX74" fmla="*/ 351282 w 3573304"/>
                  <a:gd name="connsiteY74" fmla="*/ 248698 h 559879"/>
                  <a:gd name="connsiteX75" fmla="*/ 378619 w 3573304"/>
                  <a:gd name="connsiteY75" fmla="*/ 248698 h 559879"/>
                  <a:gd name="connsiteX76" fmla="*/ 378619 w 3573304"/>
                  <a:gd name="connsiteY76" fmla="*/ 254794 h 559879"/>
                  <a:gd name="connsiteX77" fmla="*/ 380714 w 3573304"/>
                  <a:gd name="connsiteY77" fmla="*/ 254794 h 559879"/>
                  <a:gd name="connsiteX78" fmla="*/ 380714 w 3573304"/>
                  <a:gd name="connsiteY78" fmla="*/ 260890 h 559879"/>
                  <a:gd name="connsiteX79" fmla="*/ 391191 w 3573304"/>
                  <a:gd name="connsiteY79" fmla="*/ 260890 h 559879"/>
                  <a:gd name="connsiteX80" fmla="*/ 391191 w 3573304"/>
                  <a:gd name="connsiteY80" fmla="*/ 266890 h 559879"/>
                  <a:gd name="connsiteX81" fmla="*/ 397478 w 3573304"/>
                  <a:gd name="connsiteY81" fmla="*/ 266890 h 559879"/>
                  <a:gd name="connsiteX82" fmla="*/ 397478 w 3573304"/>
                  <a:gd name="connsiteY82" fmla="*/ 279082 h 559879"/>
                  <a:gd name="connsiteX83" fmla="*/ 405955 w 3573304"/>
                  <a:gd name="connsiteY83" fmla="*/ 279082 h 559879"/>
                  <a:gd name="connsiteX84" fmla="*/ 405955 w 3573304"/>
                  <a:gd name="connsiteY84" fmla="*/ 285083 h 559879"/>
                  <a:gd name="connsiteX85" fmla="*/ 412242 w 3573304"/>
                  <a:gd name="connsiteY85" fmla="*/ 285083 h 559879"/>
                  <a:gd name="connsiteX86" fmla="*/ 412242 w 3573304"/>
                  <a:gd name="connsiteY86" fmla="*/ 297275 h 559879"/>
                  <a:gd name="connsiteX87" fmla="*/ 414337 w 3573304"/>
                  <a:gd name="connsiteY87" fmla="*/ 297275 h 559879"/>
                  <a:gd name="connsiteX88" fmla="*/ 414337 w 3573304"/>
                  <a:gd name="connsiteY88" fmla="*/ 303371 h 559879"/>
                  <a:gd name="connsiteX89" fmla="*/ 426910 w 3573304"/>
                  <a:gd name="connsiteY89" fmla="*/ 303371 h 559879"/>
                  <a:gd name="connsiteX90" fmla="*/ 426910 w 3573304"/>
                  <a:gd name="connsiteY90" fmla="*/ 309372 h 559879"/>
                  <a:gd name="connsiteX91" fmla="*/ 450056 w 3573304"/>
                  <a:gd name="connsiteY91" fmla="*/ 309372 h 559879"/>
                  <a:gd name="connsiteX92" fmla="*/ 450056 w 3573304"/>
                  <a:gd name="connsiteY92" fmla="*/ 315468 h 559879"/>
                  <a:gd name="connsiteX93" fmla="*/ 456438 w 3573304"/>
                  <a:gd name="connsiteY93" fmla="*/ 315468 h 559879"/>
                  <a:gd name="connsiteX94" fmla="*/ 456438 w 3573304"/>
                  <a:gd name="connsiteY94" fmla="*/ 321564 h 559879"/>
                  <a:gd name="connsiteX95" fmla="*/ 464820 w 3573304"/>
                  <a:gd name="connsiteY95" fmla="*/ 321564 h 559879"/>
                  <a:gd name="connsiteX96" fmla="*/ 464820 w 3573304"/>
                  <a:gd name="connsiteY96" fmla="*/ 327565 h 559879"/>
                  <a:gd name="connsiteX97" fmla="*/ 473202 w 3573304"/>
                  <a:gd name="connsiteY97" fmla="*/ 327565 h 559879"/>
                  <a:gd name="connsiteX98" fmla="*/ 473202 w 3573304"/>
                  <a:gd name="connsiteY98" fmla="*/ 333661 h 559879"/>
                  <a:gd name="connsiteX99" fmla="*/ 477393 w 3573304"/>
                  <a:gd name="connsiteY99" fmla="*/ 333661 h 559879"/>
                  <a:gd name="connsiteX100" fmla="*/ 477393 w 3573304"/>
                  <a:gd name="connsiteY100" fmla="*/ 339757 h 559879"/>
                  <a:gd name="connsiteX101" fmla="*/ 551021 w 3573304"/>
                  <a:gd name="connsiteY101" fmla="*/ 339757 h 559879"/>
                  <a:gd name="connsiteX102" fmla="*/ 551021 w 3573304"/>
                  <a:gd name="connsiteY102" fmla="*/ 345757 h 559879"/>
                  <a:gd name="connsiteX103" fmla="*/ 572071 w 3573304"/>
                  <a:gd name="connsiteY103" fmla="*/ 345757 h 559879"/>
                  <a:gd name="connsiteX104" fmla="*/ 572071 w 3573304"/>
                  <a:gd name="connsiteY104" fmla="*/ 351853 h 559879"/>
                  <a:gd name="connsiteX105" fmla="*/ 578358 w 3573304"/>
                  <a:gd name="connsiteY105" fmla="*/ 351853 h 559879"/>
                  <a:gd name="connsiteX106" fmla="*/ 578358 w 3573304"/>
                  <a:gd name="connsiteY106" fmla="*/ 357949 h 559879"/>
                  <a:gd name="connsiteX107" fmla="*/ 620458 w 3573304"/>
                  <a:gd name="connsiteY107" fmla="*/ 357949 h 559879"/>
                  <a:gd name="connsiteX108" fmla="*/ 620458 w 3573304"/>
                  <a:gd name="connsiteY108" fmla="*/ 363950 h 559879"/>
                  <a:gd name="connsiteX109" fmla="*/ 635127 w 3573304"/>
                  <a:gd name="connsiteY109" fmla="*/ 363950 h 559879"/>
                  <a:gd name="connsiteX110" fmla="*/ 635127 w 3573304"/>
                  <a:gd name="connsiteY110" fmla="*/ 370046 h 559879"/>
                  <a:gd name="connsiteX111" fmla="*/ 664654 w 3573304"/>
                  <a:gd name="connsiteY111" fmla="*/ 370046 h 559879"/>
                  <a:gd name="connsiteX112" fmla="*/ 664654 w 3573304"/>
                  <a:gd name="connsiteY112" fmla="*/ 376142 h 559879"/>
                  <a:gd name="connsiteX113" fmla="*/ 666750 w 3573304"/>
                  <a:gd name="connsiteY113" fmla="*/ 376142 h 559879"/>
                  <a:gd name="connsiteX114" fmla="*/ 666750 w 3573304"/>
                  <a:gd name="connsiteY114" fmla="*/ 382143 h 559879"/>
                  <a:gd name="connsiteX115" fmla="*/ 689800 w 3573304"/>
                  <a:gd name="connsiteY115" fmla="*/ 382143 h 559879"/>
                  <a:gd name="connsiteX116" fmla="*/ 689800 w 3573304"/>
                  <a:gd name="connsiteY116" fmla="*/ 388239 h 559879"/>
                  <a:gd name="connsiteX117" fmla="*/ 702469 w 3573304"/>
                  <a:gd name="connsiteY117" fmla="*/ 388239 h 559879"/>
                  <a:gd name="connsiteX118" fmla="*/ 702469 w 3573304"/>
                  <a:gd name="connsiteY118" fmla="*/ 394335 h 559879"/>
                  <a:gd name="connsiteX119" fmla="*/ 738187 w 3573304"/>
                  <a:gd name="connsiteY119" fmla="*/ 394335 h 559879"/>
                  <a:gd name="connsiteX120" fmla="*/ 738187 w 3573304"/>
                  <a:gd name="connsiteY120" fmla="*/ 400431 h 559879"/>
                  <a:gd name="connsiteX121" fmla="*/ 853916 w 3573304"/>
                  <a:gd name="connsiteY121" fmla="*/ 400431 h 559879"/>
                  <a:gd name="connsiteX122" fmla="*/ 853916 w 3573304"/>
                  <a:gd name="connsiteY122" fmla="*/ 406432 h 559879"/>
                  <a:gd name="connsiteX123" fmla="*/ 891730 w 3573304"/>
                  <a:gd name="connsiteY123" fmla="*/ 406432 h 559879"/>
                  <a:gd name="connsiteX124" fmla="*/ 891730 w 3573304"/>
                  <a:gd name="connsiteY124" fmla="*/ 412623 h 559879"/>
                  <a:gd name="connsiteX125" fmla="*/ 944308 w 3573304"/>
                  <a:gd name="connsiteY125" fmla="*/ 412623 h 559879"/>
                  <a:gd name="connsiteX126" fmla="*/ 944308 w 3573304"/>
                  <a:gd name="connsiteY126" fmla="*/ 418719 h 559879"/>
                  <a:gd name="connsiteX127" fmla="*/ 963263 w 3573304"/>
                  <a:gd name="connsiteY127" fmla="*/ 418719 h 559879"/>
                  <a:gd name="connsiteX128" fmla="*/ 963263 w 3573304"/>
                  <a:gd name="connsiteY128" fmla="*/ 424815 h 559879"/>
                  <a:gd name="connsiteX129" fmla="*/ 973741 w 3573304"/>
                  <a:gd name="connsiteY129" fmla="*/ 424815 h 559879"/>
                  <a:gd name="connsiteX130" fmla="*/ 973741 w 3573304"/>
                  <a:gd name="connsiteY130" fmla="*/ 431006 h 559879"/>
                  <a:gd name="connsiteX131" fmla="*/ 1007459 w 3573304"/>
                  <a:gd name="connsiteY131" fmla="*/ 431006 h 559879"/>
                  <a:gd name="connsiteX132" fmla="*/ 1007459 w 3573304"/>
                  <a:gd name="connsiteY132" fmla="*/ 437102 h 559879"/>
                  <a:gd name="connsiteX133" fmla="*/ 1013746 w 3573304"/>
                  <a:gd name="connsiteY133" fmla="*/ 437102 h 559879"/>
                  <a:gd name="connsiteX134" fmla="*/ 1013746 w 3573304"/>
                  <a:gd name="connsiteY134" fmla="*/ 443198 h 559879"/>
                  <a:gd name="connsiteX135" fmla="*/ 1028414 w 3573304"/>
                  <a:gd name="connsiteY135" fmla="*/ 443198 h 559879"/>
                  <a:gd name="connsiteX136" fmla="*/ 1028414 w 3573304"/>
                  <a:gd name="connsiteY136" fmla="*/ 449294 h 559879"/>
                  <a:gd name="connsiteX137" fmla="*/ 1041082 w 3573304"/>
                  <a:gd name="connsiteY137" fmla="*/ 449294 h 559879"/>
                  <a:gd name="connsiteX138" fmla="*/ 1041082 w 3573304"/>
                  <a:gd name="connsiteY138" fmla="*/ 455485 h 559879"/>
                  <a:gd name="connsiteX139" fmla="*/ 1066324 w 3573304"/>
                  <a:gd name="connsiteY139" fmla="*/ 455485 h 559879"/>
                  <a:gd name="connsiteX140" fmla="*/ 1066324 w 3573304"/>
                  <a:gd name="connsiteY140" fmla="*/ 461581 h 559879"/>
                  <a:gd name="connsiteX141" fmla="*/ 1295590 w 3573304"/>
                  <a:gd name="connsiteY141" fmla="*/ 461581 h 559879"/>
                  <a:gd name="connsiteX142" fmla="*/ 1295590 w 3573304"/>
                  <a:gd name="connsiteY142" fmla="*/ 467773 h 559879"/>
                  <a:gd name="connsiteX143" fmla="*/ 1409128 w 3573304"/>
                  <a:gd name="connsiteY143" fmla="*/ 467773 h 559879"/>
                  <a:gd name="connsiteX144" fmla="*/ 1409128 w 3573304"/>
                  <a:gd name="connsiteY144" fmla="*/ 473964 h 559879"/>
                  <a:gd name="connsiteX145" fmla="*/ 1678305 w 3573304"/>
                  <a:gd name="connsiteY145" fmla="*/ 473964 h 559879"/>
                  <a:gd name="connsiteX146" fmla="*/ 1678305 w 3573304"/>
                  <a:gd name="connsiteY146" fmla="*/ 480250 h 559879"/>
                  <a:gd name="connsiteX147" fmla="*/ 1751933 w 3573304"/>
                  <a:gd name="connsiteY147" fmla="*/ 480250 h 559879"/>
                  <a:gd name="connsiteX148" fmla="*/ 1751933 w 3573304"/>
                  <a:gd name="connsiteY148" fmla="*/ 486537 h 559879"/>
                  <a:gd name="connsiteX149" fmla="*/ 1831848 w 3573304"/>
                  <a:gd name="connsiteY149" fmla="*/ 486537 h 559879"/>
                  <a:gd name="connsiteX150" fmla="*/ 1831848 w 3573304"/>
                  <a:gd name="connsiteY150" fmla="*/ 492823 h 559879"/>
                  <a:gd name="connsiteX151" fmla="*/ 1993773 w 3573304"/>
                  <a:gd name="connsiteY151" fmla="*/ 492823 h 559879"/>
                  <a:gd name="connsiteX152" fmla="*/ 1993773 w 3573304"/>
                  <a:gd name="connsiteY152" fmla="*/ 499300 h 559879"/>
                  <a:gd name="connsiteX153" fmla="*/ 2010632 w 3573304"/>
                  <a:gd name="connsiteY153" fmla="*/ 499300 h 559879"/>
                  <a:gd name="connsiteX154" fmla="*/ 2010632 w 3573304"/>
                  <a:gd name="connsiteY154" fmla="*/ 505682 h 559879"/>
                  <a:gd name="connsiteX155" fmla="*/ 2128456 w 3573304"/>
                  <a:gd name="connsiteY155" fmla="*/ 505682 h 559879"/>
                  <a:gd name="connsiteX156" fmla="*/ 2128456 w 3573304"/>
                  <a:gd name="connsiteY156" fmla="*/ 512159 h 559879"/>
                  <a:gd name="connsiteX157" fmla="*/ 2220944 w 3573304"/>
                  <a:gd name="connsiteY157" fmla="*/ 512159 h 559879"/>
                  <a:gd name="connsiteX158" fmla="*/ 2220944 w 3573304"/>
                  <a:gd name="connsiteY158" fmla="*/ 518541 h 559879"/>
                  <a:gd name="connsiteX159" fmla="*/ 2239899 w 3573304"/>
                  <a:gd name="connsiteY159" fmla="*/ 518541 h 559879"/>
                  <a:gd name="connsiteX160" fmla="*/ 2239899 w 3573304"/>
                  <a:gd name="connsiteY160" fmla="*/ 525018 h 559879"/>
                  <a:gd name="connsiteX161" fmla="*/ 3093720 w 3573304"/>
                  <a:gd name="connsiteY161" fmla="*/ 525018 h 559879"/>
                  <a:gd name="connsiteX162" fmla="*/ 3093720 w 3573304"/>
                  <a:gd name="connsiteY162" fmla="*/ 559879 h 559879"/>
                  <a:gd name="connsiteX163" fmla="*/ 3573304 w 3573304"/>
                  <a:gd name="connsiteY163" fmla="*/ 559879 h 559879"/>
                  <a:gd name="connsiteX0" fmla="*/ 0 w 3573304"/>
                  <a:gd name="connsiteY0" fmla="*/ 0 h 559879"/>
                  <a:gd name="connsiteX1" fmla="*/ 4191 w 3573304"/>
                  <a:gd name="connsiteY1" fmla="*/ 6096 h 559879"/>
                  <a:gd name="connsiteX2" fmla="*/ 8382 w 3573304"/>
                  <a:gd name="connsiteY2" fmla="*/ 6096 h 559879"/>
                  <a:gd name="connsiteX3" fmla="*/ 8382 w 3573304"/>
                  <a:gd name="connsiteY3" fmla="*/ 12192 h 559879"/>
                  <a:gd name="connsiteX4" fmla="*/ 10477 w 3573304"/>
                  <a:gd name="connsiteY4" fmla="*/ 12192 h 559879"/>
                  <a:gd name="connsiteX5" fmla="*/ 10477 w 3573304"/>
                  <a:gd name="connsiteY5" fmla="*/ 18193 h 559879"/>
                  <a:gd name="connsiteX6" fmla="*/ 12668 w 3573304"/>
                  <a:gd name="connsiteY6" fmla="*/ 18193 h 559879"/>
                  <a:gd name="connsiteX7" fmla="*/ 12668 w 3573304"/>
                  <a:gd name="connsiteY7" fmla="*/ 24289 h 559879"/>
                  <a:gd name="connsiteX8" fmla="*/ 23145 w 3573304"/>
                  <a:gd name="connsiteY8" fmla="*/ 24289 h 559879"/>
                  <a:gd name="connsiteX9" fmla="*/ 23145 w 3573304"/>
                  <a:gd name="connsiteY9" fmla="*/ 30385 h 559879"/>
                  <a:gd name="connsiteX10" fmla="*/ 29432 w 3573304"/>
                  <a:gd name="connsiteY10" fmla="*/ 30385 h 559879"/>
                  <a:gd name="connsiteX11" fmla="*/ 29432 w 3573304"/>
                  <a:gd name="connsiteY11" fmla="*/ 36385 h 559879"/>
                  <a:gd name="connsiteX12" fmla="*/ 44196 w 3573304"/>
                  <a:gd name="connsiteY12" fmla="*/ 36385 h 559879"/>
                  <a:gd name="connsiteX13" fmla="*/ 44196 w 3573304"/>
                  <a:gd name="connsiteY13" fmla="*/ 42481 h 559879"/>
                  <a:gd name="connsiteX14" fmla="*/ 52578 w 3573304"/>
                  <a:gd name="connsiteY14" fmla="*/ 42481 h 559879"/>
                  <a:gd name="connsiteX15" fmla="*/ 52578 w 3573304"/>
                  <a:gd name="connsiteY15" fmla="*/ 48577 h 559879"/>
                  <a:gd name="connsiteX16" fmla="*/ 63151 w 3573304"/>
                  <a:gd name="connsiteY16" fmla="*/ 48577 h 559879"/>
                  <a:gd name="connsiteX17" fmla="*/ 63151 w 3573304"/>
                  <a:gd name="connsiteY17" fmla="*/ 54578 h 559879"/>
                  <a:gd name="connsiteX18" fmla="*/ 75724 w 3573304"/>
                  <a:gd name="connsiteY18" fmla="*/ 54578 h 559879"/>
                  <a:gd name="connsiteX19" fmla="*/ 75724 w 3573304"/>
                  <a:gd name="connsiteY19" fmla="*/ 60674 h 559879"/>
                  <a:gd name="connsiteX20" fmla="*/ 82010 w 3573304"/>
                  <a:gd name="connsiteY20" fmla="*/ 60674 h 559879"/>
                  <a:gd name="connsiteX21" fmla="*/ 82010 w 3573304"/>
                  <a:gd name="connsiteY21" fmla="*/ 72771 h 559879"/>
                  <a:gd name="connsiteX22" fmla="*/ 86201 w 3573304"/>
                  <a:gd name="connsiteY22" fmla="*/ 72771 h 559879"/>
                  <a:gd name="connsiteX23" fmla="*/ 86201 w 3573304"/>
                  <a:gd name="connsiteY23" fmla="*/ 78867 h 559879"/>
                  <a:gd name="connsiteX24" fmla="*/ 98869 w 3573304"/>
                  <a:gd name="connsiteY24" fmla="*/ 78867 h 559879"/>
                  <a:gd name="connsiteX25" fmla="*/ 98869 w 3573304"/>
                  <a:gd name="connsiteY25" fmla="*/ 84963 h 559879"/>
                  <a:gd name="connsiteX26" fmla="*/ 113538 w 3573304"/>
                  <a:gd name="connsiteY26" fmla="*/ 84963 h 559879"/>
                  <a:gd name="connsiteX27" fmla="*/ 113538 w 3573304"/>
                  <a:gd name="connsiteY27" fmla="*/ 90964 h 559879"/>
                  <a:gd name="connsiteX28" fmla="*/ 117824 w 3573304"/>
                  <a:gd name="connsiteY28" fmla="*/ 90964 h 559879"/>
                  <a:gd name="connsiteX29" fmla="*/ 117824 w 3573304"/>
                  <a:gd name="connsiteY29" fmla="*/ 97060 h 559879"/>
                  <a:gd name="connsiteX30" fmla="*/ 128301 w 3573304"/>
                  <a:gd name="connsiteY30" fmla="*/ 97060 h 559879"/>
                  <a:gd name="connsiteX31" fmla="*/ 128301 w 3573304"/>
                  <a:gd name="connsiteY31" fmla="*/ 103156 h 559879"/>
                  <a:gd name="connsiteX32" fmla="*/ 136684 w 3573304"/>
                  <a:gd name="connsiteY32" fmla="*/ 103156 h 559879"/>
                  <a:gd name="connsiteX33" fmla="*/ 136684 w 3573304"/>
                  <a:gd name="connsiteY33" fmla="*/ 109252 h 559879"/>
                  <a:gd name="connsiteX34" fmla="*/ 151447 w 3573304"/>
                  <a:gd name="connsiteY34" fmla="*/ 109252 h 559879"/>
                  <a:gd name="connsiteX35" fmla="*/ 151447 w 3573304"/>
                  <a:gd name="connsiteY35" fmla="*/ 115252 h 559879"/>
                  <a:gd name="connsiteX36" fmla="*/ 155638 w 3573304"/>
                  <a:gd name="connsiteY36" fmla="*/ 115252 h 559879"/>
                  <a:gd name="connsiteX37" fmla="*/ 155638 w 3573304"/>
                  <a:gd name="connsiteY37" fmla="*/ 121348 h 559879"/>
                  <a:gd name="connsiteX38" fmla="*/ 159829 w 3573304"/>
                  <a:gd name="connsiteY38" fmla="*/ 121348 h 559879"/>
                  <a:gd name="connsiteX39" fmla="*/ 159829 w 3573304"/>
                  <a:gd name="connsiteY39" fmla="*/ 127444 h 559879"/>
                  <a:gd name="connsiteX40" fmla="*/ 172498 w 3573304"/>
                  <a:gd name="connsiteY40" fmla="*/ 127444 h 559879"/>
                  <a:gd name="connsiteX41" fmla="*/ 172498 w 3573304"/>
                  <a:gd name="connsiteY41" fmla="*/ 133445 h 559879"/>
                  <a:gd name="connsiteX42" fmla="*/ 201930 w 3573304"/>
                  <a:gd name="connsiteY42" fmla="*/ 133445 h 559879"/>
                  <a:gd name="connsiteX43" fmla="*/ 201930 w 3573304"/>
                  <a:gd name="connsiteY43" fmla="*/ 139541 h 559879"/>
                  <a:gd name="connsiteX44" fmla="*/ 210312 w 3573304"/>
                  <a:gd name="connsiteY44" fmla="*/ 139541 h 559879"/>
                  <a:gd name="connsiteX45" fmla="*/ 210312 w 3573304"/>
                  <a:gd name="connsiteY45" fmla="*/ 145637 h 559879"/>
                  <a:gd name="connsiteX46" fmla="*/ 212407 w 3573304"/>
                  <a:gd name="connsiteY46" fmla="*/ 145637 h 559879"/>
                  <a:gd name="connsiteX47" fmla="*/ 212407 w 3573304"/>
                  <a:gd name="connsiteY47" fmla="*/ 151638 h 559879"/>
                  <a:gd name="connsiteX48" fmla="*/ 227171 w 3573304"/>
                  <a:gd name="connsiteY48" fmla="*/ 151638 h 559879"/>
                  <a:gd name="connsiteX49" fmla="*/ 227171 w 3573304"/>
                  <a:gd name="connsiteY49" fmla="*/ 163830 h 559879"/>
                  <a:gd name="connsiteX50" fmla="*/ 229267 w 3573304"/>
                  <a:gd name="connsiteY50" fmla="*/ 163830 h 559879"/>
                  <a:gd name="connsiteX51" fmla="*/ 229267 w 3573304"/>
                  <a:gd name="connsiteY51" fmla="*/ 169831 h 559879"/>
                  <a:gd name="connsiteX52" fmla="*/ 235553 w 3573304"/>
                  <a:gd name="connsiteY52" fmla="*/ 169831 h 559879"/>
                  <a:gd name="connsiteX53" fmla="*/ 235553 w 3573304"/>
                  <a:gd name="connsiteY53" fmla="*/ 175927 h 559879"/>
                  <a:gd name="connsiteX54" fmla="*/ 239744 w 3573304"/>
                  <a:gd name="connsiteY54" fmla="*/ 175927 h 559879"/>
                  <a:gd name="connsiteX55" fmla="*/ 239744 w 3573304"/>
                  <a:gd name="connsiteY55" fmla="*/ 182023 h 559879"/>
                  <a:gd name="connsiteX56" fmla="*/ 256603 w 3573304"/>
                  <a:gd name="connsiteY56" fmla="*/ 182023 h 559879"/>
                  <a:gd name="connsiteX57" fmla="*/ 256603 w 3573304"/>
                  <a:gd name="connsiteY57" fmla="*/ 194119 h 559879"/>
                  <a:gd name="connsiteX58" fmla="*/ 260794 w 3573304"/>
                  <a:gd name="connsiteY58" fmla="*/ 194119 h 559879"/>
                  <a:gd name="connsiteX59" fmla="*/ 260794 w 3573304"/>
                  <a:gd name="connsiteY59" fmla="*/ 200215 h 559879"/>
                  <a:gd name="connsiteX60" fmla="*/ 283940 w 3573304"/>
                  <a:gd name="connsiteY60" fmla="*/ 200215 h 559879"/>
                  <a:gd name="connsiteX61" fmla="*/ 283940 w 3573304"/>
                  <a:gd name="connsiteY61" fmla="*/ 206311 h 559879"/>
                  <a:gd name="connsiteX62" fmla="*/ 288131 w 3573304"/>
                  <a:gd name="connsiteY62" fmla="*/ 206311 h 559879"/>
                  <a:gd name="connsiteX63" fmla="*/ 288131 w 3573304"/>
                  <a:gd name="connsiteY63" fmla="*/ 212312 h 559879"/>
                  <a:gd name="connsiteX64" fmla="*/ 294418 w 3573304"/>
                  <a:gd name="connsiteY64" fmla="*/ 212312 h 559879"/>
                  <a:gd name="connsiteX65" fmla="*/ 294418 w 3573304"/>
                  <a:gd name="connsiteY65" fmla="*/ 224504 h 559879"/>
                  <a:gd name="connsiteX66" fmla="*/ 313372 w 3573304"/>
                  <a:gd name="connsiteY66" fmla="*/ 224504 h 559879"/>
                  <a:gd name="connsiteX67" fmla="*/ 313372 w 3573304"/>
                  <a:gd name="connsiteY67" fmla="*/ 230505 h 559879"/>
                  <a:gd name="connsiteX68" fmla="*/ 321754 w 3573304"/>
                  <a:gd name="connsiteY68" fmla="*/ 230505 h 559879"/>
                  <a:gd name="connsiteX69" fmla="*/ 321754 w 3573304"/>
                  <a:gd name="connsiteY69" fmla="*/ 236601 h 559879"/>
                  <a:gd name="connsiteX70" fmla="*/ 334423 w 3573304"/>
                  <a:gd name="connsiteY70" fmla="*/ 236601 h 559879"/>
                  <a:gd name="connsiteX71" fmla="*/ 334423 w 3573304"/>
                  <a:gd name="connsiteY71" fmla="*/ 242697 h 559879"/>
                  <a:gd name="connsiteX72" fmla="*/ 351282 w 3573304"/>
                  <a:gd name="connsiteY72" fmla="*/ 242697 h 559879"/>
                  <a:gd name="connsiteX73" fmla="*/ 351282 w 3573304"/>
                  <a:gd name="connsiteY73" fmla="*/ 248698 h 559879"/>
                  <a:gd name="connsiteX74" fmla="*/ 378619 w 3573304"/>
                  <a:gd name="connsiteY74" fmla="*/ 248698 h 559879"/>
                  <a:gd name="connsiteX75" fmla="*/ 378619 w 3573304"/>
                  <a:gd name="connsiteY75" fmla="*/ 254794 h 559879"/>
                  <a:gd name="connsiteX76" fmla="*/ 380714 w 3573304"/>
                  <a:gd name="connsiteY76" fmla="*/ 254794 h 559879"/>
                  <a:gd name="connsiteX77" fmla="*/ 380714 w 3573304"/>
                  <a:gd name="connsiteY77" fmla="*/ 260890 h 559879"/>
                  <a:gd name="connsiteX78" fmla="*/ 391191 w 3573304"/>
                  <a:gd name="connsiteY78" fmla="*/ 260890 h 559879"/>
                  <a:gd name="connsiteX79" fmla="*/ 391191 w 3573304"/>
                  <a:gd name="connsiteY79" fmla="*/ 266890 h 559879"/>
                  <a:gd name="connsiteX80" fmla="*/ 397478 w 3573304"/>
                  <a:gd name="connsiteY80" fmla="*/ 266890 h 559879"/>
                  <a:gd name="connsiteX81" fmla="*/ 397478 w 3573304"/>
                  <a:gd name="connsiteY81" fmla="*/ 279082 h 559879"/>
                  <a:gd name="connsiteX82" fmla="*/ 405955 w 3573304"/>
                  <a:gd name="connsiteY82" fmla="*/ 279082 h 559879"/>
                  <a:gd name="connsiteX83" fmla="*/ 405955 w 3573304"/>
                  <a:gd name="connsiteY83" fmla="*/ 285083 h 559879"/>
                  <a:gd name="connsiteX84" fmla="*/ 412242 w 3573304"/>
                  <a:gd name="connsiteY84" fmla="*/ 285083 h 559879"/>
                  <a:gd name="connsiteX85" fmla="*/ 412242 w 3573304"/>
                  <a:gd name="connsiteY85" fmla="*/ 297275 h 559879"/>
                  <a:gd name="connsiteX86" fmla="*/ 414337 w 3573304"/>
                  <a:gd name="connsiteY86" fmla="*/ 297275 h 559879"/>
                  <a:gd name="connsiteX87" fmla="*/ 414337 w 3573304"/>
                  <a:gd name="connsiteY87" fmla="*/ 303371 h 559879"/>
                  <a:gd name="connsiteX88" fmla="*/ 426910 w 3573304"/>
                  <a:gd name="connsiteY88" fmla="*/ 303371 h 559879"/>
                  <a:gd name="connsiteX89" fmla="*/ 426910 w 3573304"/>
                  <a:gd name="connsiteY89" fmla="*/ 309372 h 559879"/>
                  <a:gd name="connsiteX90" fmla="*/ 450056 w 3573304"/>
                  <a:gd name="connsiteY90" fmla="*/ 309372 h 559879"/>
                  <a:gd name="connsiteX91" fmla="*/ 450056 w 3573304"/>
                  <a:gd name="connsiteY91" fmla="*/ 315468 h 559879"/>
                  <a:gd name="connsiteX92" fmla="*/ 456438 w 3573304"/>
                  <a:gd name="connsiteY92" fmla="*/ 315468 h 559879"/>
                  <a:gd name="connsiteX93" fmla="*/ 456438 w 3573304"/>
                  <a:gd name="connsiteY93" fmla="*/ 321564 h 559879"/>
                  <a:gd name="connsiteX94" fmla="*/ 464820 w 3573304"/>
                  <a:gd name="connsiteY94" fmla="*/ 321564 h 559879"/>
                  <a:gd name="connsiteX95" fmla="*/ 464820 w 3573304"/>
                  <a:gd name="connsiteY95" fmla="*/ 327565 h 559879"/>
                  <a:gd name="connsiteX96" fmla="*/ 473202 w 3573304"/>
                  <a:gd name="connsiteY96" fmla="*/ 327565 h 559879"/>
                  <a:gd name="connsiteX97" fmla="*/ 473202 w 3573304"/>
                  <a:gd name="connsiteY97" fmla="*/ 333661 h 559879"/>
                  <a:gd name="connsiteX98" fmla="*/ 477393 w 3573304"/>
                  <a:gd name="connsiteY98" fmla="*/ 333661 h 559879"/>
                  <a:gd name="connsiteX99" fmla="*/ 477393 w 3573304"/>
                  <a:gd name="connsiteY99" fmla="*/ 339757 h 559879"/>
                  <a:gd name="connsiteX100" fmla="*/ 551021 w 3573304"/>
                  <a:gd name="connsiteY100" fmla="*/ 339757 h 559879"/>
                  <a:gd name="connsiteX101" fmla="*/ 551021 w 3573304"/>
                  <a:gd name="connsiteY101" fmla="*/ 345757 h 559879"/>
                  <a:gd name="connsiteX102" fmla="*/ 572071 w 3573304"/>
                  <a:gd name="connsiteY102" fmla="*/ 345757 h 559879"/>
                  <a:gd name="connsiteX103" fmla="*/ 572071 w 3573304"/>
                  <a:gd name="connsiteY103" fmla="*/ 351853 h 559879"/>
                  <a:gd name="connsiteX104" fmla="*/ 578358 w 3573304"/>
                  <a:gd name="connsiteY104" fmla="*/ 351853 h 559879"/>
                  <a:gd name="connsiteX105" fmla="*/ 578358 w 3573304"/>
                  <a:gd name="connsiteY105" fmla="*/ 357949 h 559879"/>
                  <a:gd name="connsiteX106" fmla="*/ 620458 w 3573304"/>
                  <a:gd name="connsiteY106" fmla="*/ 357949 h 559879"/>
                  <a:gd name="connsiteX107" fmla="*/ 620458 w 3573304"/>
                  <a:gd name="connsiteY107" fmla="*/ 363950 h 559879"/>
                  <a:gd name="connsiteX108" fmla="*/ 635127 w 3573304"/>
                  <a:gd name="connsiteY108" fmla="*/ 363950 h 559879"/>
                  <a:gd name="connsiteX109" fmla="*/ 635127 w 3573304"/>
                  <a:gd name="connsiteY109" fmla="*/ 370046 h 559879"/>
                  <a:gd name="connsiteX110" fmla="*/ 664654 w 3573304"/>
                  <a:gd name="connsiteY110" fmla="*/ 370046 h 559879"/>
                  <a:gd name="connsiteX111" fmla="*/ 664654 w 3573304"/>
                  <a:gd name="connsiteY111" fmla="*/ 376142 h 559879"/>
                  <a:gd name="connsiteX112" fmla="*/ 666750 w 3573304"/>
                  <a:gd name="connsiteY112" fmla="*/ 376142 h 559879"/>
                  <a:gd name="connsiteX113" fmla="*/ 666750 w 3573304"/>
                  <a:gd name="connsiteY113" fmla="*/ 382143 h 559879"/>
                  <a:gd name="connsiteX114" fmla="*/ 689800 w 3573304"/>
                  <a:gd name="connsiteY114" fmla="*/ 382143 h 559879"/>
                  <a:gd name="connsiteX115" fmla="*/ 689800 w 3573304"/>
                  <a:gd name="connsiteY115" fmla="*/ 388239 h 559879"/>
                  <a:gd name="connsiteX116" fmla="*/ 702469 w 3573304"/>
                  <a:gd name="connsiteY116" fmla="*/ 388239 h 559879"/>
                  <a:gd name="connsiteX117" fmla="*/ 702469 w 3573304"/>
                  <a:gd name="connsiteY117" fmla="*/ 394335 h 559879"/>
                  <a:gd name="connsiteX118" fmla="*/ 738187 w 3573304"/>
                  <a:gd name="connsiteY118" fmla="*/ 394335 h 559879"/>
                  <a:gd name="connsiteX119" fmla="*/ 738187 w 3573304"/>
                  <a:gd name="connsiteY119" fmla="*/ 400431 h 559879"/>
                  <a:gd name="connsiteX120" fmla="*/ 853916 w 3573304"/>
                  <a:gd name="connsiteY120" fmla="*/ 400431 h 559879"/>
                  <a:gd name="connsiteX121" fmla="*/ 853916 w 3573304"/>
                  <a:gd name="connsiteY121" fmla="*/ 406432 h 559879"/>
                  <a:gd name="connsiteX122" fmla="*/ 891730 w 3573304"/>
                  <a:gd name="connsiteY122" fmla="*/ 406432 h 559879"/>
                  <a:gd name="connsiteX123" fmla="*/ 891730 w 3573304"/>
                  <a:gd name="connsiteY123" fmla="*/ 412623 h 559879"/>
                  <a:gd name="connsiteX124" fmla="*/ 944308 w 3573304"/>
                  <a:gd name="connsiteY124" fmla="*/ 412623 h 559879"/>
                  <a:gd name="connsiteX125" fmla="*/ 944308 w 3573304"/>
                  <a:gd name="connsiteY125" fmla="*/ 418719 h 559879"/>
                  <a:gd name="connsiteX126" fmla="*/ 963263 w 3573304"/>
                  <a:gd name="connsiteY126" fmla="*/ 418719 h 559879"/>
                  <a:gd name="connsiteX127" fmla="*/ 963263 w 3573304"/>
                  <a:gd name="connsiteY127" fmla="*/ 424815 h 559879"/>
                  <a:gd name="connsiteX128" fmla="*/ 973741 w 3573304"/>
                  <a:gd name="connsiteY128" fmla="*/ 424815 h 559879"/>
                  <a:gd name="connsiteX129" fmla="*/ 973741 w 3573304"/>
                  <a:gd name="connsiteY129" fmla="*/ 431006 h 559879"/>
                  <a:gd name="connsiteX130" fmla="*/ 1007459 w 3573304"/>
                  <a:gd name="connsiteY130" fmla="*/ 431006 h 559879"/>
                  <a:gd name="connsiteX131" fmla="*/ 1007459 w 3573304"/>
                  <a:gd name="connsiteY131" fmla="*/ 437102 h 559879"/>
                  <a:gd name="connsiteX132" fmla="*/ 1013746 w 3573304"/>
                  <a:gd name="connsiteY132" fmla="*/ 437102 h 559879"/>
                  <a:gd name="connsiteX133" fmla="*/ 1013746 w 3573304"/>
                  <a:gd name="connsiteY133" fmla="*/ 443198 h 559879"/>
                  <a:gd name="connsiteX134" fmla="*/ 1028414 w 3573304"/>
                  <a:gd name="connsiteY134" fmla="*/ 443198 h 559879"/>
                  <a:gd name="connsiteX135" fmla="*/ 1028414 w 3573304"/>
                  <a:gd name="connsiteY135" fmla="*/ 449294 h 559879"/>
                  <a:gd name="connsiteX136" fmla="*/ 1041082 w 3573304"/>
                  <a:gd name="connsiteY136" fmla="*/ 449294 h 559879"/>
                  <a:gd name="connsiteX137" fmla="*/ 1041082 w 3573304"/>
                  <a:gd name="connsiteY137" fmla="*/ 455485 h 559879"/>
                  <a:gd name="connsiteX138" fmla="*/ 1066324 w 3573304"/>
                  <a:gd name="connsiteY138" fmla="*/ 455485 h 559879"/>
                  <a:gd name="connsiteX139" fmla="*/ 1066324 w 3573304"/>
                  <a:gd name="connsiteY139" fmla="*/ 461581 h 559879"/>
                  <a:gd name="connsiteX140" fmla="*/ 1295590 w 3573304"/>
                  <a:gd name="connsiteY140" fmla="*/ 461581 h 559879"/>
                  <a:gd name="connsiteX141" fmla="*/ 1295590 w 3573304"/>
                  <a:gd name="connsiteY141" fmla="*/ 467773 h 559879"/>
                  <a:gd name="connsiteX142" fmla="*/ 1409128 w 3573304"/>
                  <a:gd name="connsiteY142" fmla="*/ 467773 h 559879"/>
                  <a:gd name="connsiteX143" fmla="*/ 1409128 w 3573304"/>
                  <a:gd name="connsiteY143" fmla="*/ 473964 h 559879"/>
                  <a:gd name="connsiteX144" fmla="*/ 1678305 w 3573304"/>
                  <a:gd name="connsiteY144" fmla="*/ 473964 h 559879"/>
                  <a:gd name="connsiteX145" fmla="*/ 1678305 w 3573304"/>
                  <a:gd name="connsiteY145" fmla="*/ 480250 h 559879"/>
                  <a:gd name="connsiteX146" fmla="*/ 1751933 w 3573304"/>
                  <a:gd name="connsiteY146" fmla="*/ 480250 h 559879"/>
                  <a:gd name="connsiteX147" fmla="*/ 1751933 w 3573304"/>
                  <a:gd name="connsiteY147" fmla="*/ 486537 h 559879"/>
                  <a:gd name="connsiteX148" fmla="*/ 1831848 w 3573304"/>
                  <a:gd name="connsiteY148" fmla="*/ 486537 h 559879"/>
                  <a:gd name="connsiteX149" fmla="*/ 1831848 w 3573304"/>
                  <a:gd name="connsiteY149" fmla="*/ 492823 h 559879"/>
                  <a:gd name="connsiteX150" fmla="*/ 1993773 w 3573304"/>
                  <a:gd name="connsiteY150" fmla="*/ 492823 h 559879"/>
                  <a:gd name="connsiteX151" fmla="*/ 1993773 w 3573304"/>
                  <a:gd name="connsiteY151" fmla="*/ 499300 h 559879"/>
                  <a:gd name="connsiteX152" fmla="*/ 2010632 w 3573304"/>
                  <a:gd name="connsiteY152" fmla="*/ 499300 h 559879"/>
                  <a:gd name="connsiteX153" fmla="*/ 2010632 w 3573304"/>
                  <a:gd name="connsiteY153" fmla="*/ 505682 h 559879"/>
                  <a:gd name="connsiteX154" fmla="*/ 2128456 w 3573304"/>
                  <a:gd name="connsiteY154" fmla="*/ 505682 h 559879"/>
                  <a:gd name="connsiteX155" fmla="*/ 2128456 w 3573304"/>
                  <a:gd name="connsiteY155" fmla="*/ 512159 h 559879"/>
                  <a:gd name="connsiteX156" fmla="*/ 2220944 w 3573304"/>
                  <a:gd name="connsiteY156" fmla="*/ 512159 h 559879"/>
                  <a:gd name="connsiteX157" fmla="*/ 2220944 w 3573304"/>
                  <a:gd name="connsiteY157" fmla="*/ 518541 h 559879"/>
                  <a:gd name="connsiteX158" fmla="*/ 2239899 w 3573304"/>
                  <a:gd name="connsiteY158" fmla="*/ 518541 h 559879"/>
                  <a:gd name="connsiteX159" fmla="*/ 2239899 w 3573304"/>
                  <a:gd name="connsiteY159" fmla="*/ 525018 h 559879"/>
                  <a:gd name="connsiteX160" fmla="*/ 3093720 w 3573304"/>
                  <a:gd name="connsiteY160" fmla="*/ 525018 h 559879"/>
                  <a:gd name="connsiteX161" fmla="*/ 3093720 w 3573304"/>
                  <a:gd name="connsiteY161" fmla="*/ 559879 h 559879"/>
                  <a:gd name="connsiteX162" fmla="*/ 3573304 w 3573304"/>
                  <a:gd name="connsiteY162" fmla="*/ 559879 h 559879"/>
                  <a:gd name="connsiteX0" fmla="*/ 0 w 3573304"/>
                  <a:gd name="connsiteY0" fmla="*/ 0 h 559879"/>
                  <a:gd name="connsiteX1" fmla="*/ 4191 w 3573304"/>
                  <a:gd name="connsiteY1" fmla="*/ 6096 h 559879"/>
                  <a:gd name="connsiteX2" fmla="*/ 8382 w 3573304"/>
                  <a:gd name="connsiteY2" fmla="*/ 12192 h 559879"/>
                  <a:gd name="connsiteX3" fmla="*/ 10477 w 3573304"/>
                  <a:gd name="connsiteY3" fmla="*/ 12192 h 559879"/>
                  <a:gd name="connsiteX4" fmla="*/ 10477 w 3573304"/>
                  <a:gd name="connsiteY4" fmla="*/ 18193 h 559879"/>
                  <a:gd name="connsiteX5" fmla="*/ 12668 w 3573304"/>
                  <a:gd name="connsiteY5" fmla="*/ 18193 h 559879"/>
                  <a:gd name="connsiteX6" fmla="*/ 12668 w 3573304"/>
                  <a:gd name="connsiteY6" fmla="*/ 24289 h 559879"/>
                  <a:gd name="connsiteX7" fmla="*/ 23145 w 3573304"/>
                  <a:gd name="connsiteY7" fmla="*/ 24289 h 559879"/>
                  <a:gd name="connsiteX8" fmla="*/ 23145 w 3573304"/>
                  <a:gd name="connsiteY8" fmla="*/ 30385 h 559879"/>
                  <a:gd name="connsiteX9" fmla="*/ 29432 w 3573304"/>
                  <a:gd name="connsiteY9" fmla="*/ 30385 h 559879"/>
                  <a:gd name="connsiteX10" fmla="*/ 29432 w 3573304"/>
                  <a:gd name="connsiteY10" fmla="*/ 36385 h 559879"/>
                  <a:gd name="connsiteX11" fmla="*/ 44196 w 3573304"/>
                  <a:gd name="connsiteY11" fmla="*/ 36385 h 559879"/>
                  <a:gd name="connsiteX12" fmla="*/ 44196 w 3573304"/>
                  <a:gd name="connsiteY12" fmla="*/ 42481 h 559879"/>
                  <a:gd name="connsiteX13" fmla="*/ 52578 w 3573304"/>
                  <a:gd name="connsiteY13" fmla="*/ 42481 h 559879"/>
                  <a:gd name="connsiteX14" fmla="*/ 52578 w 3573304"/>
                  <a:gd name="connsiteY14" fmla="*/ 48577 h 559879"/>
                  <a:gd name="connsiteX15" fmla="*/ 63151 w 3573304"/>
                  <a:gd name="connsiteY15" fmla="*/ 48577 h 559879"/>
                  <a:gd name="connsiteX16" fmla="*/ 63151 w 3573304"/>
                  <a:gd name="connsiteY16" fmla="*/ 54578 h 559879"/>
                  <a:gd name="connsiteX17" fmla="*/ 75724 w 3573304"/>
                  <a:gd name="connsiteY17" fmla="*/ 54578 h 559879"/>
                  <a:gd name="connsiteX18" fmla="*/ 75724 w 3573304"/>
                  <a:gd name="connsiteY18" fmla="*/ 60674 h 559879"/>
                  <a:gd name="connsiteX19" fmla="*/ 82010 w 3573304"/>
                  <a:gd name="connsiteY19" fmla="*/ 60674 h 559879"/>
                  <a:gd name="connsiteX20" fmla="*/ 82010 w 3573304"/>
                  <a:gd name="connsiteY20" fmla="*/ 72771 h 559879"/>
                  <a:gd name="connsiteX21" fmla="*/ 86201 w 3573304"/>
                  <a:gd name="connsiteY21" fmla="*/ 72771 h 559879"/>
                  <a:gd name="connsiteX22" fmla="*/ 86201 w 3573304"/>
                  <a:gd name="connsiteY22" fmla="*/ 78867 h 559879"/>
                  <a:gd name="connsiteX23" fmla="*/ 98869 w 3573304"/>
                  <a:gd name="connsiteY23" fmla="*/ 78867 h 559879"/>
                  <a:gd name="connsiteX24" fmla="*/ 98869 w 3573304"/>
                  <a:gd name="connsiteY24" fmla="*/ 84963 h 559879"/>
                  <a:gd name="connsiteX25" fmla="*/ 113538 w 3573304"/>
                  <a:gd name="connsiteY25" fmla="*/ 84963 h 559879"/>
                  <a:gd name="connsiteX26" fmla="*/ 113538 w 3573304"/>
                  <a:gd name="connsiteY26" fmla="*/ 90964 h 559879"/>
                  <a:gd name="connsiteX27" fmla="*/ 117824 w 3573304"/>
                  <a:gd name="connsiteY27" fmla="*/ 90964 h 559879"/>
                  <a:gd name="connsiteX28" fmla="*/ 117824 w 3573304"/>
                  <a:gd name="connsiteY28" fmla="*/ 97060 h 559879"/>
                  <a:gd name="connsiteX29" fmla="*/ 128301 w 3573304"/>
                  <a:gd name="connsiteY29" fmla="*/ 97060 h 559879"/>
                  <a:gd name="connsiteX30" fmla="*/ 128301 w 3573304"/>
                  <a:gd name="connsiteY30" fmla="*/ 103156 h 559879"/>
                  <a:gd name="connsiteX31" fmla="*/ 136684 w 3573304"/>
                  <a:gd name="connsiteY31" fmla="*/ 103156 h 559879"/>
                  <a:gd name="connsiteX32" fmla="*/ 136684 w 3573304"/>
                  <a:gd name="connsiteY32" fmla="*/ 109252 h 559879"/>
                  <a:gd name="connsiteX33" fmla="*/ 151447 w 3573304"/>
                  <a:gd name="connsiteY33" fmla="*/ 109252 h 559879"/>
                  <a:gd name="connsiteX34" fmla="*/ 151447 w 3573304"/>
                  <a:gd name="connsiteY34" fmla="*/ 115252 h 559879"/>
                  <a:gd name="connsiteX35" fmla="*/ 155638 w 3573304"/>
                  <a:gd name="connsiteY35" fmla="*/ 115252 h 559879"/>
                  <a:gd name="connsiteX36" fmla="*/ 155638 w 3573304"/>
                  <a:gd name="connsiteY36" fmla="*/ 121348 h 559879"/>
                  <a:gd name="connsiteX37" fmla="*/ 159829 w 3573304"/>
                  <a:gd name="connsiteY37" fmla="*/ 121348 h 559879"/>
                  <a:gd name="connsiteX38" fmla="*/ 159829 w 3573304"/>
                  <a:gd name="connsiteY38" fmla="*/ 127444 h 559879"/>
                  <a:gd name="connsiteX39" fmla="*/ 172498 w 3573304"/>
                  <a:gd name="connsiteY39" fmla="*/ 127444 h 559879"/>
                  <a:gd name="connsiteX40" fmla="*/ 172498 w 3573304"/>
                  <a:gd name="connsiteY40" fmla="*/ 133445 h 559879"/>
                  <a:gd name="connsiteX41" fmla="*/ 201930 w 3573304"/>
                  <a:gd name="connsiteY41" fmla="*/ 133445 h 559879"/>
                  <a:gd name="connsiteX42" fmla="*/ 201930 w 3573304"/>
                  <a:gd name="connsiteY42" fmla="*/ 139541 h 559879"/>
                  <a:gd name="connsiteX43" fmla="*/ 210312 w 3573304"/>
                  <a:gd name="connsiteY43" fmla="*/ 139541 h 559879"/>
                  <a:gd name="connsiteX44" fmla="*/ 210312 w 3573304"/>
                  <a:gd name="connsiteY44" fmla="*/ 145637 h 559879"/>
                  <a:gd name="connsiteX45" fmla="*/ 212407 w 3573304"/>
                  <a:gd name="connsiteY45" fmla="*/ 145637 h 559879"/>
                  <a:gd name="connsiteX46" fmla="*/ 212407 w 3573304"/>
                  <a:gd name="connsiteY46" fmla="*/ 151638 h 559879"/>
                  <a:gd name="connsiteX47" fmla="*/ 227171 w 3573304"/>
                  <a:gd name="connsiteY47" fmla="*/ 151638 h 559879"/>
                  <a:gd name="connsiteX48" fmla="*/ 227171 w 3573304"/>
                  <a:gd name="connsiteY48" fmla="*/ 163830 h 559879"/>
                  <a:gd name="connsiteX49" fmla="*/ 229267 w 3573304"/>
                  <a:gd name="connsiteY49" fmla="*/ 163830 h 559879"/>
                  <a:gd name="connsiteX50" fmla="*/ 229267 w 3573304"/>
                  <a:gd name="connsiteY50" fmla="*/ 169831 h 559879"/>
                  <a:gd name="connsiteX51" fmla="*/ 235553 w 3573304"/>
                  <a:gd name="connsiteY51" fmla="*/ 169831 h 559879"/>
                  <a:gd name="connsiteX52" fmla="*/ 235553 w 3573304"/>
                  <a:gd name="connsiteY52" fmla="*/ 175927 h 559879"/>
                  <a:gd name="connsiteX53" fmla="*/ 239744 w 3573304"/>
                  <a:gd name="connsiteY53" fmla="*/ 175927 h 559879"/>
                  <a:gd name="connsiteX54" fmla="*/ 239744 w 3573304"/>
                  <a:gd name="connsiteY54" fmla="*/ 182023 h 559879"/>
                  <a:gd name="connsiteX55" fmla="*/ 256603 w 3573304"/>
                  <a:gd name="connsiteY55" fmla="*/ 182023 h 559879"/>
                  <a:gd name="connsiteX56" fmla="*/ 256603 w 3573304"/>
                  <a:gd name="connsiteY56" fmla="*/ 194119 h 559879"/>
                  <a:gd name="connsiteX57" fmla="*/ 260794 w 3573304"/>
                  <a:gd name="connsiteY57" fmla="*/ 194119 h 559879"/>
                  <a:gd name="connsiteX58" fmla="*/ 260794 w 3573304"/>
                  <a:gd name="connsiteY58" fmla="*/ 200215 h 559879"/>
                  <a:gd name="connsiteX59" fmla="*/ 283940 w 3573304"/>
                  <a:gd name="connsiteY59" fmla="*/ 200215 h 559879"/>
                  <a:gd name="connsiteX60" fmla="*/ 283940 w 3573304"/>
                  <a:gd name="connsiteY60" fmla="*/ 206311 h 559879"/>
                  <a:gd name="connsiteX61" fmla="*/ 288131 w 3573304"/>
                  <a:gd name="connsiteY61" fmla="*/ 206311 h 559879"/>
                  <a:gd name="connsiteX62" fmla="*/ 288131 w 3573304"/>
                  <a:gd name="connsiteY62" fmla="*/ 212312 h 559879"/>
                  <a:gd name="connsiteX63" fmla="*/ 294418 w 3573304"/>
                  <a:gd name="connsiteY63" fmla="*/ 212312 h 559879"/>
                  <a:gd name="connsiteX64" fmla="*/ 294418 w 3573304"/>
                  <a:gd name="connsiteY64" fmla="*/ 224504 h 559879"/>
                  <a:gd name="connsiteX65" fmla="*/ 313372 w 3573304"/>
                  <a:gd name="connsiteY65" fmla="*/ 224504 h 559879"/>
                  <a:gd name="connsiteX66" fmla="*/ 313372 w 3573304"/>
                  <a:gd name="connsiteY66" fmla="*/ 230505 h 559879"/>
                  <a:gd name="connsiteX67" fmla="*/ 321754 w 3573304"/>
                  <a:gd name="connsiteY67" fmla="*/ 230505 h 559879"/>
                  <a:gd name="connsiteX68" fmla="*/ 321754 w 3573304"/>
                  <a:gd name="connsiteY68" fmla="*/ 236601 h 559879"/>
                  <a:gd name="connsiteX69" fmla="*/ 334423 w 3573304"/>
                  <a:gd name="connsiteY69" fmla="*/ 236601 h 559879"/>
                  <a:gd name="connsiteX70" fmla="*/ 334423 w 3573304"/>
                  <a:gd name="connsiteY70" fmla="*/ 242697 h 559879"/>
                  <a:gd name="connsiteX71" fmla="*/ 351282 w 3573304"/>
                  <a:gd name="connsiteY71" fmla="*/ 242697 h 559879"/>
                  <a:gd name="connsiteX72" fmla="*/ 351282 w 3573304"/>
                  <a:gd name="connsiteY72" fmla="*/ 248698 h 559879"/>
                  <a:gd name="connsiteX73" fmla="*/ 378619 w 3573304"/>
                  <a:gd name="connsiteY73" fmla="*/ 248698 h 559879"/>
                  <a:gd name="connsiteX74" fmla="*/ 378619 w 3573304"/>
                  <a:gd name="connsiteY74" fmla="*/ 254794 h 559879"/>
                  <a:gd name="connsiteX75" fmla="*/ 380714 w 3573304"/>
                  <a:gd name="connsiteY75" fmla="*/ 254794 h 559879"/>
                  <a:gd name="connsiteX76" fmla="*/ 380714 w 3573304"/>
                  <a:gd name="connsiteY76" fmla="*/ 260890 h 559879"/>
                  <a:gd name="connsiteX77" fmla="*/ 391191 w 3573304"/>
                  <a:gd name="connsiteY77" fmla="*/ 260890 h 559879"/>
                  <a:gd name="connsiteX78" fmla="*/ 391191 w 3573304"/>
                  <a:gd name="connsiteY78" fmla="*/ 266890 h 559879"/>
                  <a:gd name="connsiteX79" fmla="*/ 397478 w 3573304"/>
                  <a:gd name="connsiteY79" fmla="*/ 266890 h 559879"/>
                  <a:gd name="connsiteX80" fmla="*/ 397478 w 3573304"/>
                  <a:gd name="connsiteY80" fmla="*/ 279082 h 559879"/>
                  <a:gd name="connsiteX81" fmla="*/ 405955 w 3573304"/>
                  <a:gd name="connsiteY81" fmla="*/ 279082 h 559879"/>
                  <a:gd name="connsiteX82" fmla="*/ 405955 w 3573304"/>
                  <a:gd name="connsiteY82" fmla="*/ 285083 h 559879"/>
                  <a:gd name="connsiteX83" fmla="*/ 412242 w 3573304"/>
                  <a:gd name="connsiteY83" fmla="*/ 285083 h 559879"/>
                  <a:gd name="connsiteX84" fmla="*/ 412242 w 3573304"/>
                  <a:gd name="connsiteY84" fmla="*/ 297275 h 559879"/>
                  <a:gd name="connsiteX85" fmla="*/ 414337 w 3573304"/>
                  <a:gd name="connsiteY85" fmla="*/ 297275 h 559879"/>
                  <a:gd name="connsiteX86" fmla="*/ 414337 w 3573304"/>
                  <a:gd name="connsiteY86" fmla="*/ 303371 h 559879"/>
                  <a:gd name="connsiteX87" fmla="*/ 426910 w 3573304"/>
                  <a:gd name="connsiteY87" fmla="*/ 303371 h 559879"/>
                  <a:gd name="connsiteX88" fmla="*/ 426910 w 3573304"/>
                  <a:gd name="connsiteY88" fmla="*/ 309372 h 559879"/>
                  <a:gd name="connsiteX89" fmla="*/ 450056 w 3573304"/>
                  <a:gd name="connsiteY89" fmla="*/ 309372 h 559879"/>
                  <a:gd name="connsiteX90" fmla="*/ 450056 w 3573304"/>
                  <a:gd name="connsiteY90" fmla="*/ 315468 h 559879"/>
                  <a:gd name="connsiteX91" fmla="*/ 456438 w 3573304"/>
                  <a:gd name="connsiteY91" fmla="*/ 315468 h 559879"/>
                  <a:gd name="connsiteX92" fmla="*/ 456438 w 3573304"/>
                  <a:gd name="connsiteY92" fmla="*/ 321564 h 559879"/>
                  <a:gd name="connsiteX93" fmla="*/ 464820 w 3573304"/>
                  <a:gd name="connsiteY93" fmla="*/ 321564 h 559879"/>
                  <a:gd name="connsiteX94" fmla="*/ 464820 w 3573304"/>
                  <a:gd name="connsiteY94" fmla="*/ 327565 h 559879"/>
                  <a:gd name="connsiteX95" fmla="*/ 473202 w 3573304"/>
                  <a:gd name="connsiteY95" fmla="*/ 327565 h 559879"/>
                  <a:gd name="connsiteX96" fmla="*/ 473202 w 3573304"/>
                  <a:gd name="connsiteY96" fmla="*/ 333661 h 559879"/>
                  <a:gd name="connsiteX97" fmla="*/ 477393 w 3573304"/>
                  <a:gd name="connsiteY97" fmla="*/ 333661 h 559879"/>
                  <a:gd name="connsiteX98" fmla="*/ 477393 w 3573304"/>
                  <a:gd name="connsiteY98" fmla="*/ 339757 h 559879"/>
                  <a:gd name="connsiteX99" fmla="*/ 551021 w 3573304"/>
                  <a:gd name="connsiteY99" fmla="*/ 339757 h 559879"/>
                  <a:gd name="connsiteX100" fmla="*/ 551021 w 3573304"/>
                  <a:gd name="connsiteY100" fmla="*/ 345757 h 559879"/>
                  <a:gd name="connsiteX101" fmla="*/ 572071 w 3573304"/>
                  <a:gd name="connsiteY101" fmla="*/ 345757 h 559879"/>
                  <a:gd name="connsiteX102" fmla="*/ 572071 w 3573304"/>
                  <a:gd name="connsiteY102" fmla="*/ 351853 h 559879"/>
                  <a:gd name="connsiteX103" fmla="*/ 578358 w 3573304"/>
                  <a:gd name="connsiteY103" fmla="*/ 351853 h 559879"/>
                  <a:gd name="connsiteX104" fmla="*/ 578358 w 3573304"/>
                  <a:gd name="connsiteY104" fmla="*/ 357949 h 559879"/>
                  <a:gd name="connsiteX105" fmla="*/ 620458 w 3573304"/>
                  <a:gd name="connsiteY105" fmla="*/ 357949 h 559879"/>
                  <a:gd name="connsiteX106" fmla="*/ 620458 w 3573304"/>
                  <a:gd name="connsiteY106" fmla="*/ 363950 h 559879"/>
                  <a:gd name="connsiteX107" fmla="*/ 635127 w 3573304"/>
                  <a:gd name="connsiteY107" fmla="*/ 363950 h 559879"/>
                  <a:gd name="connsiteX108" fmla="*/ 635127 w 3573304"/>
                  <a:gd name="connsiteY108" fmla="*/ 370046 h 559879"/>
                  <a:gd name="connsiteX109" fmla="*/ 664654 w 3573304"/>
                  <a:gd name="connsiteY109" fmla="*/ 370046 h 559879"/>
                  <a:gd name="connsiteX110" fmla="*/ 664654 w 3573304"/>
                  <a:gd name="connsiteY110" fmla="*/ 376142 h 559879"/>
                  <a:gd name="connsiteX111" fmla="*/ 666750 w 3573304"/>
                  <a:gd name="connsiteY111" fmla="*/ 376142 h 559879"/>
                  <a:gd name="connsiteX112" fmla="*/ 666750 w 3573304"/>
                  <a:gd name="connsiteY112" fmla="*/ 382143 h 559879"/>
                  <a:gd name="connsiteX113" fmla="*/ 689800 w 3573304"/>
                  <a:gd name="connsiteY113" fmla="*/ 382143 h 559879"/>
                  <a:gd name="connsiteX114" fmla="*/ 689800 w 3573304"/>
                  <a:gd name="connsiteY114" fmla="*/ 388239 h 559879"/>
                  <a:gd name="connsiteX115" fmla="*/ 702469 w 3573304"/>
                  <a:gd name="connsiteY115" fmla="*/ 388239 h 559879"/>
                  <a:gd name="connsiteX116" fmla="*/ 702469 w 3573304"/>
                  <a:gd name="connsiteY116" fmla="*/ 394335 h 559879"/>
                  <a:gd name="connsiteX117" fmla="*/ 738187 w 3573304"/>
                  <a:gd name="connsiteY117" fmla="*/ 394335 h 559879"/>
                  <a:gd name="connsiteX118" fmla="*/ 738187 w 3573304"/>
                  <a:gd name="connsiteY118" fmla="*/ 400431 h 559879"/>
                  <a:gd name="connsiteX119" fmla="*/ 853916 w 3573304"/>
                  <a:gd name="connsiteY119" fmla="*/ 400431 h 559879"/>
                  <a:gd name="connsiteX120" fmla="*/ 853916 w 3573304"/>
                  <a:gd name="connsiteY120" fmla="*/ 406432 h 559879"/>
                  <a:gd name="connsiteX121" fmla="*/ 891730 w 3573304"/>
                  <a:gd name="connsiteY121" fmla="*/ 406432 h 559879"/>
                  <a:gd name="connsiteX122" fmla="*/ 891730 w 3573304"/>
                  <a:gd name="connsiteY122" fmla="*/ 412623 h 559879"/>
                  <a:gd name="connsiteX123" fmla="*/ 944308 w 3573304"/>
                  <a:gd name="connsiteY123" fmla="*/ 412623 h 559879"/>
                  <a:gd name="connsiteX124" fmla="*/ 944308 w 3573304"/>
                  <a:gd name="connsiteY124" fmla="*/ 418719 h 559879"/>
                  <a:gd name="connsiteX125" fmla="*/ 963263 w 3573304"/>
                  <a:gd name="connsiteY125" fmla="*/ 418719 h 559879"/>
                  <a:gd name="connsiteX126" fmla="*/ 963263 w 3573304"/>
                  <a:gd name="connsiteY126" fmla="*/ 424815 h 559879"/>
                  <a:gd name="connsiteX127" fmla="*/ 973741 w 3573304"/>
                  <a:gd name="connsiteY127" fmla="*/ 424815 h 559879"/>
                  <a:gd name="connsiteX128" fmla="*/ 973741 w 3573304"/>
                  <a:gd name="connsiteY128" fmla="*/ 431006 h 559879"/>
                  <a:gd name="connsiteX129" fmla="*/ 1007459 w 3573304"/>
                  <a:gd name="connsiteY129" fmla="*/ 431006 h 559879"/>
                  <a:gd name="connsiteX130" fmla="*/ 1007459 w 3573304"/>
                  <a:gd name="connsiteY130" fmla="*/ 437102 h 559879"/>
                  <a:gd name="connsiteX131" fmla="*/ 1013746 w 3573304"/>
                  <a:gd name="connsiteY131" fmla="*/ 437102 h 559879"/>
                  <a:gd name="connsiteX132" fmla="*/ 1013746 w 3573304"/>
                  <a:gd name="connsiteY132" fmla="*/ 443198 h 559879"/>
                  <a:gd name="connsiteX133" fmla="*/ 1028414 w 3573304"/>
                  <a:gd name="connsiteY133" fmla="*/ 443198 h 559879"/>
                  <a:gd name="connsiteX134" fmla="*/ 1028414 w 3573304"/>
                  <a:gd name="connsiteY134" fmla="*/ 449294 h 559879"/>
                  <a:gd name="connsiteX135" fmla="*/ 1041082 w 3573304"/>
                  <a:gd name="connsiteY135" fmla="*/ 449294 h 559879"/>
                  <a:gd name="connsiteX136" fmla="*/ 1041082 w 3573304"/>
                  <a:gd name="connsiteY136" fmla="*/ 455485 h 559879"/>
                  <a:gd name="connsiteX137" fmla="*/ 1066324 w 3573304"/>
                  <a:gd name="connsiteY137" fmla="*/ 455485 h 559879"/>
                  <a:gd name="connsiteX138" fmla="*/ 1066324 w 3573304"/>
                  <a:gd name="connsiteY138" fmla="*/ 461581 h 559879"/>
                  <a:gd name="connsiteX139" fmla="*/ 1295590 w 3573304"/>
                  <a:gd name="connsiteY139" fmla="*/ 461581 h 559879"/>
                  <a:gd name="connsiteX140" fmla="*/ 1295590 w 3573304"/>
                  <a:gd name="connsiteY140" fmla="*/ 467773 h 559879"/>
                  <a:gd name="connsiteX141" fmla="*/ 1409128 w 3573304"/>
                  <a:gd name="connsiteY141" fmla="*/ 467773 h 559879"/>
                  <a:gd name="connsiteX142" fmla="*/ 1409128 w 3573304"/>
                  <a:gd name="connsiteY142" fmla="*/ 473964 h 559879"/>
                  <a:gd name="connsiteX143" fmla="*/ 1678305 w 3573304"/>
                  <a:gd name="connsiteY143" fmla="*/ 473964 h 559879"/>
                  <a:gd name="connsiteX144" fmla="*/ 1678305 w 3573304"/>
                  <a:gd name="connsiteY144" fmla="*/ 480250 h 559879"/>
                  <a:gd name="connsiteX145" fmla="*/ 1751933 w 3573304"/>
                  <a:gd name="connsiteY145" fmla="*/ 480250 h 559879"/>
                  <a:gd name="connsiteX146" fmla="*/ 1751933 w 3573304"/>
                  <a:gd name="connsiteY146" fmla="*/ 486537 h 559879"/>
                  <a:gd name="connsiteX147" fmla="*/ 1831848 w 3573304"/>
                  <a:gd name="connsiteY147" fmla="*/ 486537 h 559879"/>
                  <a:gd name="connsiteX148" fmla="*/ 1831848 w 3573304"/>
                  <a:gd name="connsiteY148" fmla="*/ 492823 h 559879"/>
                  <a:gd name="connsiteX149" fmla="*/ 1993773 w 3573304"/>
                  <a:gd name="connsiteY149" fmla="*/ 492823 h 559879"/>
                  <a:gd name="connsiteX150" fmla="*/ 1993773 w 3573304"/>
                  <a:gd name="connsiteY150" fmla="*/ 499300 h 559879"/>
                  <a:gd name="connsiteX151" fmla="*/ 2010632 w 3573304"/>
                  <a:gd name="connsiteY151" fmla="*/ 499300 h 559879"/>
                  <a:gd name="connsiteX152" fmla="*/ 2010632 w 3573304"/>
                  <a:gd name="connsiteY152" fmla="*/ 505682 h 559879"/>
                  <a:gd name="connsiteX153" fmla="*/ 2128456 w 3573304"/>
                  <a:gd name="connsiteY153" fmla="*/ 505682 h 559879"/>
                  <a:gd name="connsiteX154" fmla="*/ 2128456 w 3573304"/>
                  <a:gd name="connsiteY154" fmla="*/ 512159 h 559879"/>
                  <a:gd name="connsiteX155" fmla="*/ 2220944 w 3573304"/>
                  <a:gd name="connsiteY155" fmla="*/ 512159 h 559879"/>
                  <a:gd name="connsiteX156" fmla="*/ 2220944 w 3573304"/>
                  <a:gd name="connsiteY156" fmla="*/ 518541 h 559879"/>
                  <a:gd name="connsiteX157" fmla="*/ 2239899 w 3573304"/>
                  <a:gd name="connsiteY157" fmla="*/ 518541 h 559879"/>
                  <a:gd name="connsiteX158" fmla="*/ 2239899 w 3573304"/>
                  <a:gd name="connsiteY158" fmla="*/ 525018 h 559879"/>
                  <a:gd name="connsiteX159" fmla="*/ 3093720 w 3573304"/>
                  <a:gd name="connsiteY159" fmla="*/ 525018 h 559879"/>
                  <a:gd name="connsiteX160" fmla="*/ 3093720 w 3573304"/>
                  <a:gd name="connsiteY160" fmla="*/ 559879 h 559879"/>
                  <a:gd name="connsiteX161" fmla="*/ 3573304 w 3573304"/>
                  <a:gd name="connsiteY161" fmla="*/ 559879 h 559879"/>
                  <a:gd name="connsiteX0" fmla="*/ 0 w 3573304"/>
                  <a:gd name="connsiteY0" fmla="*/ 0 h 559879"/>
                  <a:gd name="connsiteX1" fmla="*/ 8382 w 3573304"/>
                  <a:gd name="connsiteY1" fmla="*/ 12192 h 559879"/>
                  <a:gd name="connsiteX2" fmla="*/ 10477 w 3573304"/>
                  <a:gd name="connsiteY2" fmla="*/ 12192 h 559879"/>
                  <a:gd name="connsiteX3" fmla="*/ 10477 w 3573304"/>
                  <a:gd name="connsiteY3" fmla="*/ 18193 h 559879"/>
                  <a:gd name="connsiteX4" fmla="*/ 12668 w 3573304"/>
                  <a:gd name="connsiteY4" fmla="*/ 18193 h 559879"/>
                  <a:gd name="connsiteX5" fmla="*/ 12668 w 3573304"/>
                  <a:gd name="connsiteY5" fmla="*/ 24289 h 559879"/>
                  <a:gd name="connsiteX6" fmla="*/ 23145 w 3573304"/>
                  <a:gd name="connsiteY6" fmla="*/ 24289 h 559879"/>
                  <a:gd name="connsiteX7" fmla="*/ 23145 w 3573304"/>
                  <a:gd name="connsiteY7" fmla="*/ 30385 h 559879"/>
                  <a:gd name="connsiteX8" fmla="*/ 29432 w 3573304"/>
                  <a:gd name="connsiteY8" fmla="*/ 30385 h 559879"/>
                  <a:gd name="connsiteX9" fmla="*/ 29432 w 3573304"/>
                  <a:gd name="connsiteY9" fmla="*/ 36385 h 559879"/>
                  <a:gd name="connsiteX10" fmla="*/ 44196 w 3573304"/>
                  <a:gd name="connsiteY10" fmla="*/ 36385 h 559879"/>
                  <a:gd name="connsiteX11" fmla="*/ 44196 w 3573304"/>
                  <a:gd name="connsiteY11" fmla="*/ 42481 h 559879"/>
                  <a:gd name="connsiteX12" fmla="*/ 52578 w 3573304"/>
                  <a:gd name="connsiteY12" fmla="*/ 42481 h 559879"/>
                  <a:gd name="connsiteX13" fmla="*/ 52578 w 3573304"/>
                  <a:gd name="connsiteY13" fmla="*/ 48577 h 559879"/>
                  <a:gd name="connsiteX14" fmla="*/ 63151 w 3573304"/>
                  <a:gd name="connsiteY14" fmla="*/ 48577 h 559879"/>
                  <a:gd name="connsiteX15" fmla="*/ 63151 w 3573304"/>
                  <a:gd name="connsiteY15" fmla="*/ 54578 h 559879"/>
                  <a:gd name="connsiteX16" fmla="*/ 75724 w 3573304"/>
                  <a:gd name="connsiteY16" fmla="*/ 54578 h 559879"/>
                  <a:gd name="connsiteX17" fmla="*/ 75724 w 3573304"/>
                  <a:gd name="connsiteY17" fmla="*/ 60674 h 559879"/>
                  <a:gd name="connsiteX18" fmla="*/ 82010 w 3573304"/>
                  <a:gd name="connsiteY18" fmla="*/ 60674 h 559879"/>
                  <a:gd name="connsiteX19" fmla="*/ 82010 w 3573304"/>
                  <a:gd name="connsiteY19" fmla="*/ 72771 h 559879"/>
                  <a:gd name="connsiteX20" fmla="*/ 86201 w 3573304"/>
                  <a:gd name="connsiteY20" fmla="*/ 72771 h 559879"/>
                  <a:gd name="connsiteX21" fmla="*/ 86201 w 3573304"/>
                  <a:gd name="connsiteY21" fmla="*/ 78867 h 559879"/>
                  <a:gd name="connsiteX22" fmla="*/ 98869 w 3573304"/>
                  <a:gd name="connsiteY22" fmla="*/ 78867 h 559879"/>
                  <a:gd name="connsiteX23" fmla="*/ 98869 w 3573304"/>
                  <a:gd name="connsiteY23" fmla="*/ 84963 h 559879"/>
                  <a:gd name="connsiteX24" fmla="*/ 113538 w 3573304"/>
                  <a:gd name="connsiteY24" fmla="*/ 84963 h 559879"/>
                  <a:gd name="connsiteX25" fmla="*/ 113538 w 3573304"/>
                  <a:gd name="connsiteY25" fmla="*/ 90964 h 559879"/>
                  <a:gd name="connsiteX26" fmla="*/ 117824 w 3573304"/>
                  <a:gd name="connsiteY26" fmla="*/ 90964 h 559879"/>
                  <a:gd name="connsiteX27" fmla="*/ 117824 w 3573304"/>
                  <a:gd name="connsiteY27" fmla="*/ 97060 h 559879"/>
                  <a:gd name="connsiteX28" fmla="*/ 128301 w 3573304"/>
                  <a:gd name="connsiteY28" fmla="*/ 97060 h 559879"/>
                  <a:gd name="connsiteX29" fmla="*/ 128301 w 3573304"/>
                  <a:gd name="connsiteY29" fmla="*/ 103156 h 559879"/>
                  <a:gd name="connsiteX30" fmla="*/ 136684 w 3573304"/>
                  <a:gd name="connsiteY30" fmla="*/ 103156 h 559879"/>
                  <a:gd name="connsiteX31" fmla="*/ 136684 w 3573304"/>
                  <a:gd name="connsiteY31" fmla="*/ 109252 h 559879"/>
                  <a:gd name="connsiteX32" fmla="*/ 151447 w 3573304"/>
                  <a:gd name="connsiteY32" fmla="*/ 109252 h 559879"/>
                  <a:gd name="connsiteX33" fmla="*/ 151447 w 3573304"/>
                  <a:gd name="connsiteY33" fmla="*/ 115252 h 559879"/>
                  <a:gd name="connsiteX34" fmla="*/ 155638 w 3573304"/>
                  <a:gd name="connsiteY34" fmla="*/ 115252 h 559879"/>
                  <a:gd name="connsiteX35" fmla="*/ 155638 w 3573304"/>
                  <a:gd name="connsiteY35" fmla="*/ 121348 h 559879"/>
                  <a:gd name="connsiteX36" fmla="*/ 159829 w 3573304"/>
                  <a:gd name="connsiteY36" fmla="*/ 121348 h 559879"/>
                  <a:gd name="connsiteX37" fmla="*/ 159829 w 3573304"/>
                  <a:gd name="connsiteY37" fmla="*/ 127444 h 559879"/>
                  <a:gd name="connsiteX38" fmla="*/ 172498 w 3573304"/>
                  <a:gd name="connsiteY38" fmla="*/ 127444 h 559879"/>
                  <a:gd name="connsiteX39" fmla="*/ 172498 w 3573304"/>
                  <a:gd name="connsiteY39" fmla="*/ 133445 h 559879"/>
                  <a:gd name="connsiteX40" fmla="*/ 201930 w 3573304"/>
                  <a:gd name="connsiteY40" fmla="*/ 133445 h 559879"/>
                  <a:gd name="connsiteX41" fmla="*/ 201930 w 3573304"/>
                  <a:gd name="connsiteY41" fmla="*/ 139541 h 559879"/>
                  <a:gd name="connsiteX42" fmla="*/ 210312 w 3573304"/>
                  <a:gd name="connsiteY42" fmla="*/ 139541 h 559879"/>
                  <a:gd name="connsiteX43" fmla="*/ 210312 w 3573304"/>
                  <a:gd name="connsiteY43" fmla="*/ 145637 h 559879"/>
                  <a:gd name="connsiteX44" fmla="*/ 212407 w 3573304"/>
                  <a:gd name="connsiteY44" fmla="*/ 145637 h 559879"/>
                  <a:gd name="connsiteX45" fmla="*/ 212407 w 3573304"/>
                  <a:gd name="connsiteY45" fmla="*/ 151638 h 559879"/>
                  <a:gd name="connsiteX46" fmla="*/ 227171 w 3573304"/>
                  <a:gd name="connsiteY46" fmla="*/ 151638 h 559879"/>
                  <a:gd name="connsiteX47" fmla="*/ 227171 w 3573304"/>
                  <a:gd name="connsiteY47" fmla="*/ 163830 h 559879"/>
                  <a:gd name="connsiteX48" fmla="*/ 229267 w 3573304"/>
                  <a:gd name="connsiteY48" fmla="*/ 163830 h 559879"/>
                  <a:gd name="connsiteX49" fmla="*/ 229267 w 3573304"/>
                  <a:gd name="connsiteY49" fmla="*/ 169831 h 559879"/>
                  <a:gd name="connsiteX50" fmla="*/ 235553 w 3573304"/>
                  <a:gd name="connsiteY50" fmla="*/ 169831 h 559879"/>
                  <a:gd name="connsiteX51" fmla="*/ 235553 w 3573304"/>
                  <a:gd name="connsiteY51" fmla="*/ 175927 h 559879"/>
                  <a:gd name="connsiteX52" fmla="*/ 239744 w 3573304"/>
                  <a:gd name="connsiteY52" fmla="*/ 175927 h 559879"/>
                  <a:gd name="connsiteX53" fmla="*/ 239744 w 3573304"/>
                  <a:gd name="connsiteY53" fmla="*/ 182023 h 559879"/>
                  <a:gd name="connsiteX54" fmla="*/ 256603 w 3573304"/>
                  <a:gd name="connsiteY54" fmla="*/ 182023 h 559879"/>
                  <a:gd name="connsiteX55" fmla="*/ 256603 w 3573304"/>
                  <a:gd name="connsiteY55" fmla="*/ 194119 h 559879"/>
                  <a:gd name="connsiteX56" fmla="*/ 260794 w 3573304"/>
                  <a:gd name="connsiteY56" fmla="*/ 194119 h 559879"/>
                  <a:gd name="connsiteX57" fmla="*/ 260794 w 3573304"/>
                  <a:gd name="connsiteY57" fmla="*/ 200215 h 559879"/>
                  <a:gd name="connsiteX58" fmla="*/ 283940 w 3573304"/>
                  <a:gd name="connsiteY58" fmla="*/ 200215 h 559879"/>
                  <a:gd name="connsiteX59" fmla="*/ 283940 w 3573304"/>
                  <a:gd name="connsiteY59" fmla="*/ 206311 h 559879"/>
                  <a:gd name="connsiteX60" fmla="*/ 288131 w 3573304"/>
                  <a:gd name="connsiteY60" fmla="*/ 206311 h 559879"/>
                  <a:gd name="connsiteX61" fmla="*/ 288131 w 3573304"/>
                  <a:gd name="connsiteY61" fmla="*/ 212312 h 559879"/>
                  <a:gd name="connsiteX62" fmla="*/ 294418 w 3573304"/>
                  <a:gd name="connsiteY62" fmla="*/ 212312 h 559879"/>
                  <a:gd name="connsiteX63" fmla="*/ 294418 w 3573304"/>
                  <a:gd name="connsiteY63" fmla="*/ 224504 h 559879"/>
                  <a:gd name="connsiteX64" fmla="*/ 313372 w 3573304"/>
                  <a:gd name="connsiteY64" fmla="*/ 224504 h 559879"/>
                  <a:gd name="connsiteX65" fmla="*/ 313372 w 3573304"/>
                  <a:gd name="connsiteY65" fmla="*/ 230505 h 559879"/>
                  <a:gd name="connsiteX66" fmla="*/ 321754 w 3573304"/>
                  <a:gd name="connsiteY66" fmla="*/ 230505 h 559879"/>
                  <a:gd name="connsiteX67" fmla="*/ 321754 w 3573304"/>
                  <a:gd name="connsiteY67" fmla="*/ 236601 h 559879"/>
                  <a:gd name="connsiteX68" fmla="*/ 334423 w 3573304"/>
                  <a:gd name="connsiteY68" fmla="*/ 236601 h 559879"/>
                  <a:gd name="connsiteX69" fmla="*/ 334423 w 3573304"/>
                  <a:gd name="connsiteY69" fmla="*/ 242697 h 559879"/>
                  <a:gd name="connsiteX70" fmla="*/ 351282 w 3573304"/>
                  <a:gd name="connsiteY70" fmla="*/ 242697 h 559879"/>
                  <a:gd name="connsiteX71" fmla="*/ 351282 w 3573304"/>
                  <a:gd name="connsiteY71" fmla="*/ 248698 h 559879"/>
                  <a:gd name="connsiteX72" fmla="*/ 378619 w 3573304"/>
                  <a:gd name="connsiteY72" fmla="*/ 248698 h 559879"/>
                  <a:gd name="connsiteX73" fmla="*/ 378619 w 3573304"/>
                  <a:gd name="connsiteY73" fmla="*/ 254794 h 559879"/>
                  <a:gd name="connsiteX74" fmla="*/ 380714 w 3573304"/>
                  <a:gd name="connsiteY74" fmla="*/ 254794 h 559879"/>
                  <a:gd name="connsiteX75" fmla="*/ 380714 w 3573304"/>
                  <a:gd name="connsiteY75" fmla="*/ 260890 h 559879"/>
                  <a:gd name="connsiteX76" fmla="*/ 391191 w 3573304"/>
                  <a:gd name="connsiteY76" fmla="*/ 260890 h 559879"/>
                  <a:gd name="connsiteX77" fmla="*/ 391191 w 3573304"/>
                  <a:gd name="connsiteY77" fmla="*/ 266890 h 559879"/>
                  <a:gd name="connsiteX78" fmla="*/ 397478 w 3573304"/>
                  <a:gd name="connsiteY78" fmla="*/ 266890 h 559879"/>
                  <a:gd name="connsiteX79" fmla="*/ 397478 w 3573304"/>
                  <a:gd name="connsiteY79" fmla="*/ 279082 h 559879"/>
                  <a:gd name="connsiteX80" fmla="*/ 405955 w 3573304"/>
                  <a:gd name="connsiteY80" fmla="*/ 279082 h 559879"/>
                  <a:gd name="connsiteX81" fmla="*/ 405955 w 3573304"/>
                  <a:gd name="connsiteY81" fmla="*/ 285083 h 559879"/>
                  <a:gd name="connsiteX82" fmla="*/ 412242 w 3573304"/>
                  <a:gd name="connsiteY82" fmla="*/ 285083 h 559879"/>
                  <a:gd name="connsiteX83" fmla="*/ 412242 w 3573304"/>
                  <a:gd name="connsiteY83" fmla="*/ 297275 h 559879"/>
                  <a:gd name="connsiteX84" fmla="*/ 414337 w 3573304"/>
                  <a:gd name="connsiteY84" fmla="*/ 297275 h 559879"/>
                  <a:gd name="connsiteX85" fmla="*/ 414337 w 3573304"/>
                  <a:gd name="connsiteY85" fmla="*/ 303371 h 559879"/>
                  <a:gd name="connsiteX86" fmla="*/ 426910 w 3573304"/>
                  <a:gd name="connsiteY86" fmla="*/ 303371 h 559879"/>
                  <a:gd name="connsiteX87" fmla="*/ 426910 w 3573304"/>
                  <a:gd name="connsiteY87" fmla="*/ 309372 h 559879"/>
                  <a:gd name="connsiteX88" fmla="*/ 450056 w 3573304"/>
                  <a:gd name="connsiteY88" fmla="*/ 309372 h 559879"/>
                  <a:gd name="connsiteX89" fmla="*/ 450056 w 3573304"/>
                  <a:gd name="connsiteY89" fmla="*/ 315468 h 559879"/>
                  <a:gd name="connsiteX90" fmla="*/ 456438 w 3573304"/>
                  <a:gd name="connsiteY90" fmla="*/ 315468 h 559879"/>
                  <a:gd name="connsiteX91" fmla="*/ 456438 w 3573304"/>
                  <a:gd name="connsiteY91" fmla="*/ 321564 h 559879"/>
                  <a:gd name="connsiteX92" fmla="*/ 464820 w 3573304"/>
                  <a:gd name="connsiteY92" fmla="*/ 321564 h 559879"/>
                  <a:gd name="connsiteX93" fmla="*/ 464820 w 3573304"/>
                  <a:gd name="connsiteY93" fmla="*/ 327565 h 559879"/>
                  <a:gd name="connsiteX94" fmla="*/ 473202 w 3573304"/>
                  <a:gd name="connsiteY94" fmla="*/ 327565 h 559879"/>
                  <a:gd name="connsiteX95" fmla="*/ 473202 w 3573304"/>
                  <a:gd name="connsiteY95" fmla="*/ 333661 h 559879"/>
                  <a:gd name="connsiteX96" fmla="*/ 477393 w 3573304"/>
                  <a:gd name="connsiteY96" fmla="*/ 333661 h 559879"/>
                  <a:gd name="connsiteX97" fmla="*/ 477393 w 3573304"/>
                  <a:gd name="connsiteY97" fmla="*/ 339757 h 559879"/>
                  <a:gd name="connsiteX98" fmla="*/ 551021 w 3573304"/>
                  <a:gd name="connsiteY98" fmla="*/ 339757 h 559879"/>
                  <a:gd name="connsiteX99" fmla="*/ 551021 w 3573304"/>
                  <a:gd name="connsiteY99" fmla="*/ 345757 h 559879"/>
                  <a:gd name="connsiteX100" fmla="*/ 572071 w 3573304"/>
                  <a:gd name="connsiteY100" fmla="*/ 345757 h 559879"/>
                  <a:gd name="connsiteX101" fmla="*/ 572071 w 3573304"/>
                  <a:gd name="connsiteY101" fmla="*/ 351853 h 559879"/>
                  <a:gd name="connsiteX102" fmla="*/ 578358 w 3573304"/>
                  <a:gd name="connsiteY102" fmla="*/ 351853 h 559879"/>
                  <a:gd name="connsiteX103" fmla="*/ 578358 w 3573304"/>
                  <a:gd name="connsiteY103" fmla="*/ 357949 h 559879"/>
                  <a:gd name="connsiteX104" fmla="*/ 620458 w 3573304"/>
                  <a:gd name="connsiteY104" fmla="*/ 357949 h 559879"/>
                  <a:gd name="connsiteX105" fmla="*/ 620458 w 3573304"/>
                  <a:gd name="connsiteY105" fmla="*/ 363950 h 559879"/>
                  <a:gd name="connsiteX106" fmla="*/ 635127 w 3573304"/>
                  <a:gd name="connsiteY106" fmla="*/ 363950 h 559879"/>
                  <a:gd name="connsiteX107" fmla="*/ 635127 w 3573304"/>
                  <a:gd name="connsiteY107" fmla="*/ 370046 h 559879"/>
                  <a:gd name="connsiteX108" fmla="*/ 664654 w 3573304"/>
                  <a:gd name="connsiteY108" fmla="*/ 370046 h 559879"/>
                  <a:gd name="connsiteX109" fmla="*/ 664654 w 3573304"/>
                  <a:gd name="connsiteY109" fmla="*/ 376142 h 559879"/>
                  <a:gd name="connsiteX110" fmla="*/ 666750 w 3573304"/>
                  <a:gd name="connsiteY110" fmla="*/ 376142 h 559879"/>
                  <a:gd name="connsiteX111" fmla="*/ 666750 w 3573304"/>
                  <a:gd name="connsiteY111" fmla="*/ 382143 h 559879"/>
                  <a:gd name="connsiteX112" fmla="*/ 689800 w 3573304"/>
                  <a:gd name="connsiteY112" fmla="*/ 382143 h 559879"/>
                  <a:gd name="connsiteX113" fmla="*/ 689800 w 3573304"/>
                  <a:gd name="connsiteY113" fmla="*/ 388239 h 559879"/>
                  <a:gd name="connsiteX114" fmla="*/ 702469 w 3573304"/>
                  <a:gd name="connsiteY114" fmla="*/ 388239 h 559879"/>
                  <a:gd name="connsiteX115" fmla="*/ 702469 w 3573304"/>
                  <a:gd name="connsiteY115" fmla="*/ 394335 h 559879"/>
                  <a:gd name="connsiteX116" fmla="*/ 738187 w 3573304"/>
                  <a:gd name="connsiteY116" fmla="*/ 394335 h 559879"/>
                  <a:gd name="connsiteX117" fmla="*/ 738187 w 3573304"/>
                  <a:gd name="connsiteY117" fmla="*/ 400431 h 559879"/>
                  <a:gd name="connsiteX118" fmla="*/ 853916 w 3573304"/>
                  <a:gd name="connsiteY118" fmla="*/ 400431 h 559879"/>
                  <a:gd name="connsiteX119" fmla="*/ 853916 w 3573304"/>
                  <a:gd name="connsiteY119" fmla="*/ 406432 h 559879"/>
                  <a:gd name="connsiteX120" fmla="*/ 891730 w 3573304"/>
                  <a:gd name="connsiteY120" fmla="*/ 406432 h 559879"/>
                  <a:gd name="connsiteX121" fmla="*/ 891730 w 3573304"/>
                  <a:gd name="connsiteY121" fmla="*/ 412623 h 559879"/>
                  <a:gd name="connsiteX122" fmla="*/ 944308 w 3573304"/>
                  <a:gd name="connsiteY122" fmla="*/ 412623 h 559879"/>
                  <a:gd name="connsiteX123" fmla="*/ 944308 w 3573304"/>
                  <a:gd name="connsiteY123" fmla="*/ 418719 h 559879"/>
                  <a:gd name="connsiteX124" fmla="*/ 963263 w 3573304"/>
                  <a:gd name="connsiteY124" fmla="*/ 418719 h 559879"/>
                  <a:gd name="connsiteX125" fmla="*/ 963263 w 3573304"/>
                  <a:gd name="connsiteY125" fmla="*/ 424815 h 559879"/>
                  <a:gd name="connsiteX126" fmla="*/ 973741 w 3573304"/>
                  <a:gd name="connsiteY126" fmla="*/ 424815 h 559879"/>
                  <a:gd name="connsiteX127" fmla="*/ 973741 w 3573304"/>
                  <a:gd name="connsiteY127" fmla="*/ 431006 h 559879"/>
                  <a:gd name="connsiteX128" fmla="*/ 1007459 w 3573304"/>
                  <a:gd name="connsiteY128" fmla="*/ 431006 h 559879"/>
                  <a:gd name="connsiteX129" fmla="*/ 1007459 w 3573304"/>
                  <a:gd name="connsiteY129" fmla="*/ 437102 h 559879"/>
                  <a:gd name="connsiteX130" fmla="*/ 1013746 w 3573304"/>
                  <a:gd name="connsiteY130" fmla="*/ 437102 h 559879"/>
                  <a:gd name="connsiteX131" fmla="*/ 1013746 w 3573304"/>
                  <a:gd name="connsiteY131" fmla="*/ 443198 h 559879"/>
                  <a:gd name="connsiteX132" fmla="*/ 1028414 w 3573304"/>
                  <a:gd name="connsiteY132" fmla="*/ 443198 h 559879"/>
                  <a:gd name="connsiteX133" fmla="*/ 1028414 w 3573304"/>
                  <a:gd name="connsiteY133" fmla="*/ 449294 h 559879"/>
                  <a:gd name="connsiteX134" fmla="*/ 1041082 w 3573304"/>
                  <a:gd name="connsiteY134" fmla="*/ 449294 h 559879"/>
                  <a:gd name="connsiteX135" fmla="*/ 1041082 w 3573304"/>
                  <a:gd name="connsiteY135" fmla="*/ 455485 h 559879"/>
                  <a:gd name="connsiteX136" fmla="*/ 1066324 w 3573304"/>
                  <a:gd name="connsiteY136" fmla="*/ 455485 h 559879"/>
                  <a:gd name="connsiteX137" fmla="*/ 1066324 w 3573304"/>
                  <a:gd name="connsiteY137" fmla="*/ 461581 h 559879"/>
                  <a:gd name="connsiteX138" fmla="*/ 1295590 w 3573304"/>
                  <a:gd name="connsiteY138" fmla="*/ 461581 h 559879"/>
                  <a:gd name="connsiteX139" fmla="*/ 1295590 w 3573304"/>
                  <a:gd name="connsiteY139" fmla="*/ 467773 h 559879"/>
                  <a:gd name="connsiteX140" fmla="*/ 1409128 w 3573304"/>
                  <a:gd name="connsiteY140" fmla="*/ 467773 h 559879"/>
                  <a:gd name="connsiteX141" fmla="*/ 1409128 w 3573304"/>
                  <a:gd name="connsiteY141" fmla="*/ 473964 h 559879"/>
                  <a:gd name="connsiteX142" fmla="*/ 1678305 w 3573304"/>
                  <a:gd name="connsiteY142" fmla="*/ 473964 h 559879"/>
                  <a:gd name="connsiteX143" fmla="*/ 1678305 w 3573304"/>
                  <a:gd name="connsiteY143" fmla="*/ 480250 h 559879"/>
                  <a:gd name="connsiteX144" fmla="*/ 1751933 w 3573304"/>
                  <a:gd name="connsiteY144" fmla="*/ 480250 h 559879"/>
                  <a:gd name="connsiteX145" fmla="*/ 1751933 w 3573304"/>
                  <a:gd name="connsiteY145" fmla="*/ 486537 h 559879"/>
                  <a:gd name="connsiteX146" fmla="*/ 1831848 w 3573304"/>
                  <a:gd name="connsiteY146" fmla="*/ 486537 h 559879"/>
                  <a:gd name="connsiteX147" fmla="*/ 1831848 w 3573304"/>
                  <a:gd name="connsiteY147" fmla="*/ 492823 h 559879"/>
                  <a:gd name="connsiteX148" fmla="*/ 1993773 w 3573304"/>
                  <a:gd name="connsiteY148" fmla="*/ 492823 h 559879"/>
                  <a:gd name="connsiteX149" fmla="*/ 1993773 w 3573304"/>
                  <a:gd name="connsiteY149" fmla="*/ 499300 h 559879"/>
                  <a:gd name="connsiteX150" fmla="*/ 2010632 w 3573304"/>
                  <a:gd name="connsiteY150" fmla="*/ 499300 h 559879"/>
                  <a:gd name="connsiteX151" fmla="*/ 2010632 w 3573304"/>
                  <a:gd name="connsiteY151" fmla="*/ 505682 h 559879"/>
                  <a:gd name="connsiteX152" fmla="*/ 2128456 w 3573304"/>
                  <a:gd name="connsiteY152" fmla="*/ 505682 h 559879"/>
                  <a:gd name="connsiteX153" fmla="*/ 2128456 w 3573304"/>
                  <a:gd name="connsiteY153" fmla="*/ 512159 h 559879"/>
                  <a:gd name="connsiteX154" fmla="*/ 2220944 w 3573304"/>
                  <a:gd name="connsiteY154" fmla="*/ 512159 h 559879"/>
                  <a:gd name="connsiteX155" fmla="*/ 2220944 w 3573304"/>
                  <a:gd name="connsiteY155" fmla="*/ 518541 h 559879"/>
                  <a:gd name="connsiteX156" fmla="*/ 2239899 w 3573304"/>
                  <a:gd name="connsiteY156" fmla="*/ 518541 h 559879"/>
                  <a:gd name="connsiteX157" fmla="*/ 2239899 w 3573304"/>
                  <a:gd name="connsiteY157" fmla="*/ 525018 h 559879"/>
                  <a:gd name="connsiteX158" fmla="*/ 3093720 w 3573304"/>
                  <a:gd name="connsiteY158" fmla="*/ 525018 h 559879"/>
                  <a:gd name="connsiteX159" fmla="*/ 3093720 w 3573304"/>
                  <a:gd name="connsiteY159" fmla="*/ 559879 h 559879"/>
                  <a:gd name="connsiteX160" fmla="*/ 3573304 w 3573304"/>
                  <a:gd name="connsiteY160" fmla="*/ 559879 h 559879"/>
                  <a:gd name="connsiteX0" fmla="*/ 0 w 3564922"/>
                  <a:gd name="connsiteY0" fmla="*/ 0 h 547687"/>
                  <a:gd name="connsiteX1" fmla="*/ 2095 w 3564922"/>
                  <a:gd name="connsiteY1" fmla="*/ 0 h 547687"/>
                  <a:gd name="connsiteX2" fmla="*/ 2095 w 3564922"/>
                  <a:gd name="connsiteY2" fmla="*/ 6001 h 547687"/>
                  <a:gd name="connsiteX3" fmla="*/ 4286 w 3564922"/>
                  <a:gd name="connsiteY3" fmla="*/ 6001 h 547687"/>
                  <a:gd name="connsiteX4" fmla="*/ 4286 w 3564922"/>
                  <a:gd name="connsiteY4" fmla="*/ 12097 h 547687"/>
                  <a:gd name="connsiteX5" fmla="*/ 14763 w 3564922"/>
                  <a:gd name="connsiteY5" fmla="*/ 12097 h 547687"/>
                  <a:gd name="connsiteX6" fmla="*/ 14763 w 3564922"/>
                  <a:gd name="connsiteY6" fmla="*/ 18193 h 547687"/>
                  <a:gd name="connsiteX7" fmla="*/ 21050 w 3564922"/>
                  <a:gd name="connsiteY7" fmla="*/ 18193 h 547687"/>
                  <a:gd name="connsiteX8" fmla="*/ 21050 w 3564922"/>
                  <a:gd name="connsiteY8" fmla="*/ 24193 h 547687"/>
                  <a:gd name="connsiteX9" fmla="*/ 35814 w 3564922"/>
                  <a:gd name="connsiteY9" fmla="*/ 24193 h 547687"/>
                  <a:gd name="connsiteX10" fmla="*/ 35814 w 3564922"/>
                  <a:gd name="connsiteY10" fmla="*/ 30289 h 547687"/>
                  <a:gd name="connsiteX11" fmla="*/ 44196 w 3564922"/>
                  <a:gd name="connsiteY11" fmla="*/ 30289 h 547687"/>
                  <a:gd name="connsiteX12" fmla="*/ 44196 w 3564922"/>
                  <a:gd name="connsiteY12" fmla="*/ 36385 h 547687"/>
                  <a:gd name="connsiteX13" fmla="*/ 54769 w 3564922"/>
                  <a:gd name="connsiteY13" fmla="*/ 36385 h 547687"/>
                  <a:gd name="connsiteX14" fmla="*/ 54769 w 3564922"/>
                  <a:gd name="connsiteY14" fmla="*/ 42386 h 547687"/>
                  <a:gd name="connsiteX15" fmla="*/ 67342 w 3564922"/>
                  <a:gd name="connsiteY15" fmla="*/ 42386 h 547687"/>
                  <a:gd name="connsiteX16" fmla="*/ 67342 w 3564922"/>
                  <a:gd name="connsiteY16" fmla="*/ 48482 h 547687"/>
                  <a:gd name="connsiteX17" fmla="*/ 73628 w 3564922"/>
                  <a:gd name="connsiteY17" fmla="*/ 48482 h 547687"/>
                  <a:gd name="connsiteX18" fmla="*/ 73628 w 3564922"/>
                  <a:gd name="connsiteY18" fmla="*/ 60579 h 547687"/>
                  <a:gd name="connsiteX19" fmla="*/ 77819 w 3564922"/>
                  <a:gd name="connsiteY19" fmla="*/ 60579 h 547687"/>
                  <a:gd name="connsiteX20" fmla="*/ 77819 w 3564922"/>
                  <a:gd name="connsiteY20" fmla="*/ 66675 h 547687"/>
                  <a:gd name="connsiteX21" fmla="*/ 90487 w 3564922"/>
                  <a:gd name="connsiteY21" fmla="*/ 66675 h 547687"/>
                  <a:gd name="connsiteX22" fmla="*/ 90487 w 3564922"/>
                  <a:gd name="connsiteY22" fmla="*/ 72771 h 547687"/>
                  <a:gd name="connsiteX23" fmla="*/ 105156 w 3564922"/>
                  <a:gd name="connsiteY23" fmla="*/ 72771 h 547687"/>
                  <a:gd name="connsiteX24" fmla="*/ 105156 w 3564922"/>
                  <a:gd name="connsiteY24" fmla="*/ 78772 h 547687"/>
                  <a:gd name="connsiteX25" fmla="*/ 109442 w 3564922"/>
                  <a:gd name="connsiteY25" fmla="*/ 78772 h 547687"/>
                  <a:gd name="connsiteX26" fmla="*/ 109442 w 3564922"/>
                  <a:gd name="connsiteY26" fmla="*/ 84868 h 547687"/>
                  <a:gd name="connsiteX27" fmla="*/ 119919 w 3564922"/>
                  <a:gd name="connsiteY27" fmla="*/ 84868 h 547687"/>
                  <a:gd name="connsiteX28" fmla="*/ 119919 w 3564922"/>
                  <a:gd name="connsiteY28" fmla="*/ 90964 h 547687"/>
                  <a:gd name="connsiteX29" fmla="*/ 128302 w 3564922"/>
                  <a:gd name="connsiteY29" fmla="*/ 90964 h 547687"/>
                  <a:gd name="connsiteX30" fmla="*/ 128302 w 3564922"/>
                  <a:gd name="connsiteY30" fmla="*/ 97060 h 547687"/>
                  <a:gd name="connsiteX31" fmla="*/ 143065 w 3564922"/>
                  <a:gd name="connsiteY31" fmla="*/ 97060 h 547687"/>
                  <a:gd name="connsiteX32" fmla="*/ 143065 w 3564922"/>
                  <a:gd name="connsiteY32" fmla="*/ 103060 h 547687"/>
                  <a:gd name="connsiteX33" fmla="*/ 147256 w 3564922"/>
                  <a:gd name="connsiteY33" fmla="*/ 103060 h 547687"/>
                  <a:gd name="connsiteX34" fmla="*/ 147256 w 3564922"/>
                  <a:gd name="connsiteY34" fmla="*/ 109156 h 547687"/>
                  <a:gd name="connsiteX35" fmla="*/ 151447 w 3564922"/>
                  <a:gd name="connsiteY35" fmla="*/ 109156 h 547687"/>
                  <a:gd name="connsiteX36" fmla="*/ 151447 w 3564922"/>
                  <a:gd name="connsiteY36" fmla="*/ 115252 h 547687"/>
                  <a:gd name="connsiteX37" fmla="*/ 164116 w 3564922"/>
                  <a:gd name="connsiteY37" fmla="*/ 115252 h 547687"/>
                  <a:gd name="connsiteX38" fmla="*/ 164116 w 3564922"/>
                  <a:gd name="connsiteY38" fmla="*/ 121253 h 547687"/>
                  <a:gd name="connsiteX39" fmla="*/ 193548 w 3564922"/>
                  <a:gd name="connsiteY39" fmla="*/ 121253 h 547687"/>
                  <a:gd name="connsiteX40" fmla="*/ 193548 w 3564922"/>
                  <a:gd name="connsiteY40" fmla="*/ 127349 h 547687"/>
                  <a:gd name="connsiteX41" fmla="*/ 201930 w 3564922"/>
                  <a:gd name="connsiteY41" fmla="*/ 127349 h 547687"/>
                  <a:gd name="connsiteX42" fmla="*/ 201930 w 3564922"/>
                  <a:gd name="connsiteY42" fmla="*/ 133445 h 547687"/>
                  <a:gd name="connsiteX43" fmla="*/ 204025 w 3564922"/>
                  <a:gd name="connsiteY43" fmla="*/ 133445 h 547687"/>
                  <a:gd name="connsiteX44" fmla="*/ 204025 w 3564922"/>
                  <a:gd name="connsiteY44" fmla="*/ 139446 h 547687"/>
                  <a:gd name="connsiteX45" fmla="*/ 218789 w 3564922"/>
                  <a:gd name="connsiteY45" fmla="*/ 139446 h 547687"/>
                  <a:gd name="connsiteX46" fmla="*/ 218789 w 3564922"/>
                  <a:gd name="connsiteY46" fmla="*/ 151638 h 547687"/>
                  <a:gd name="connsiteX47" fmla="*/ 220885 w 3564922"/>
                  <a:gd name="connsiteY47" fmla="*/ 151638 h 547687"/>
                  <a:gd name="connsiteX48" fmla="*/ 220885 w 3564922"/>
                  <a:gd name="connsiteY48" fmla="*/ 157639 h 547687"/>
                  <a:gd name="connsiteX49" fmla="*/ 227171 w 3564922"/>
                  <a:gd name="connsiteY49" fmla="*/ 157639 h 547687"/>
                  <a:gd name="connsiteX50" fmla="*/ 227171 w 3564922"/>
                  <a:gd name="connsiteY50" fmla="*/ 163735 h 547687"/>
                  <a:gd name="connsiteX51" fmla="*/ 231362 w 3564922"/>
                  <a:gd name="connsiteY51" fmla="*/ 163735 h 547687"/>
                  <a:gd name="connsiteX52" fmla="*/ 231362 w 3564922"/>
                  <a:gd name="connsiteY52" fmla="*/ 169831 h 547687"/>
                  <a:gd name="connsiteX53" fmla="*/ 248221 w 3564922"/>
                  <a:gd name="connsiteY53" fmla="*/ 169831 h 547687"/>
                  <a:gd name="connsiteX54" fmla="*/ 248221 w 3564922"/>
                  <a:gd name="connsiteY54" fmla="*/ 181927 h 547687"/>
                  <a:gd name="connsiteX55" fmla="*/ 252412 w 3564922"/>
                  <a:gd name="connsiteY55" fmla="*/ 181927 h 547687"/>
                  <a:gd name="connsiteX56" fmla="*/ 252412 w 3564922"/>
                  <a:gd name="connsiteY56" fmla="*/ 188023 h 547687"/>
                  <a:gd name="connsiteX57" fmla="*/ 275558 w 3564922"/>
                  <a:gd name="connsiteY57" fmla="*/ 188023 h 547687"/>
                  <a:gd name="connsiteX58" fmla="*/ 275558 w 3564922"/>
                  <a:gd name="connsiteY58" fmla="*/ 194119 h 547687"/>
                  <a:gd name="connsiteX59" fmla="*/ 279749 w 3564922"/>
                  <a:gd name="connsiteY59" fmla="*/ 194119 h 547687"/>
                  <a:gd name="connsiteX60" fmla="*/ 279749 w 3564922"/>
                  <a:gd name="connsiteY60" fmla="*/ 200120 h 547687"/>
                  <a:gd name="connsiteX61" fmla="*/ 286036 w 3564922"/>
                  <a:gd name="connsiteY61" fmla="*/ 200120 h 547687"/>
                  <a:gd name="connsiteX62" fmla="*/ 286036 w 3564922"/>
                  <a:gd name="connsiteY62" fmla="*/ 212312 h 547687"/>
                  <a:gd name="connsiteX63" fmla="*/ 304990 w 3564922"/>
                  <a:gd name="connsiteY63" fmla="*/ 212312 h 547687"/>
                  <a:gd name="connsiteX64" fmla="*/ 304990 w 3564922"/>
                  <a:gd name="connsiteY64" fmla="*/ 218313 h 547687"/>
                  <a:gd name="connsiteX65" fmla="*/ 313372 w 3564922"/>
                  <a:gd name="connsiteY65" fmla="*/ 218313 h 547687"/>
                  <a:gd name="connsiteX66" fmla="*/ 313372 w 3564922"/>
                  <a:gd name="connsiteY66" fmla="*/ 224409 h 547687"/>
                  <a:gd name="connsiteX67" fmla="*/ 326041 w 3564922"/>
                  <a:gd name="connsiteY67" fmla="*/ 224409 h 547687"/>
                  <a:gd name="connsiteX68" fmla="*/ 326041 w 3564922"/>
                  <a:gd name="connsiteY68" fmla="*/ 230505 h 547687"/>
                  <a:gd name="connsiteX69" fmla="*/ 342900 w 3564922"/>
                  <a:gd name="connsiteY69" fmla="*/ 230505 h 547687"/>
                  <a:gd name="connsiteX70" fmla="*/ 342900 w 3564922"/>
                  <a:gd name="connsiteY70" fmla="*/ 236506 h 547687"/>
                  <a:gd name="connsiteX71" fmla="*/ 370237 w 3564922"/>
                  <a:gd name="connsiteY71" fmla="*/ 236506 h 547687"/>
                  <a:gd name="connsiteX72" fmla="*/ 370237 w 3564922"/>
                  <a:gd name="connsiteY72" fmla="*/ 242602 h 547687"/>
                  <a:gd name="connsiteX73" fmla="*/ 372332 w 3564922"/>
                  <a:gd name="connsiteY73" fmla="*/ 242602 h 547687"/>
                  <a:gd name="connsiteX74" fmla="*/ 372332 w 3564922"/>
                  <a:gd name="connsiteY74" fmla="*/ 248698 h 547687"/>
                  <a:gd name="connsiteX75" fmla="*/ 382809 w 3564922"/>
                  <a:gd name="connsiteY75" fmla="*/ 248698 h 547687"/>
                  <a:gd name="connsiteX76" fmla="*/ 382809 w 3564922"/>
                  <a:gd name="connsiteY76" fmla="*/ 254698 h 547687"/>
                  <a:gd name="connsiteX77" fmla="*/ 389096 w 3564922"/>
                  <a:gd name="connsiteY77" fmla="*/ 254698 h 547687"/>
                  <a:gd name="connsiteX78" fmla="*/ 389096 w 3564922"/>
                  <a:gd name="connsiteY78" fmla="*/ 266890 h 547687"/>
                  <a:gd name="connsiteX79" fmla="*/ 397573 w 3564922"/>
                  <a:gd name="connsiteY79" fmla="*/ 266890 h 547687"/>
                  <a:gd name="connsiteX80" fmla="*/ 397573 w 3564922"/>
                  <a:gd name="connsiteY80" fmla="*/ 272891 h 547687"/>
                  <a:gd name="connsiteX81" fmla="*/ 403860 w 3564922"/>
                  <a:gd name="connsiteY81" fmla="*/ 272891 h 547687"/>
                  <a:gd name="connsiteX82" fmla="*/ 403860 w 3564922"/>
                  <a:gd name="connsiteY82" fmla="*/ 285083 h 547687"/>
                  <a:gd name="connsiteX83" fmla="*/ 405955 w 3564922"/>
                  <a:gd name="connsiteY83" fmla="*/ 285083 h 547687"/>
                  <a:gd name="connsiteX84" fmla="*/ 405955 w 3564922"/>
                  <a:gd name="connsiteY84" fmla="*/ 291179 h 547687"/>
                  <a:gd name="connsiteX85" fmla="*/ 418528 w 3564922"/>
                  <a:gd name="connsiteY85" fmla="*/ 291179 h 547687"/>
                  <a:gd name="connsiteX86" fmla="*/ 418528 w 3564922"/>
                  <a:gd name="connsiteY86" fmla="*/ 297180 h 547687"/>
                  <a:gd name="connsiteX87" fmla="*/ 441674 w 3564922"/>
                  <a:gd name="connsiteY87" fmla="*/ 297180 h 547687"/>
                  <a:gd name="connsiteX88" fmla="*/ 441674 w 3564922"/>
                  <a:gd name="connsiteY88" fmla="*/ 303276 h 547687"/>
                  <a:gd name="connsiteX89" fmla="*/ 448056 w 3564922"/>
                  <a:gd name="connsiteY89" fmla="*/ 303276 h 547687"/>
                  <a:gd name="connsiteX90" fmla="*/ 448056 w 3564922"/>
                  <a:gd name="connsiteY90" fmla="*/ 309372 h 547687"/>
                  <a:gd name="connsiteX91" fmla="*/ 456438 w 3564922"/>
                  <a:gd name="connsiteY91" fmla="*/ 309372 h 547687"/>
                  <a:gd name="connsiteX92" fmla="*/ 456438 w 3564922"/>
                  <a:gd name="connsiteY92" fmla="*/ 315373 h 547687"/>
                  <a:gd name="connsiteX93" fmla="*/ 464820 w 3564922"/>
                  <a:gd name="connsiteY93" fmla="*/ 315373 h 547687"/>
                  <a:gd name="connsiteX94" fmla="*/ 464820 w 3564922"/>
                  <a:gd name="connsiteY94" fmla="*/ 321469 h 547687"/>
                  <a:gd name="connsiteX95" fmla="*/ 469011 w 3564922"/>
                  <a:gd name="connsiteY95" fmla="*/ 321469 h 547687"/>
                  <a:gd name="connsiteX96" fmla="*/ 469011 w 3564922"/>
                  <a:gd name="connsiteY96" fmla="*/ 327565 h 547687"/>
                  <a:gd name="connsiteX97" fmla="*/ 542639 w 3564922"/>
                  <a:gd name="connsiteY97" fmla="*/ 327565 h 547687"/>
                  <a:gd name="connsiteX98" fmla="*/ 542639 w 3564922"/>
                  <a:gd name="connsiteY98" fmla="*/ 333565 h 547687"/>
                  <a:gd name="connsiteX99" fmla="*/ 563689 w 3564922"/>
                  <a:gd name="connsiteY99" fmla="*/ 333565 h 547687"/>
                  <a:gd name="connsiteX100" fmla="*/ 563689 w 3564922"/>
                  <a:gd name="connsiteY100" fmla="*/ 339661 h 547687"/>
                  <a:gd name="connsiteX101" fmla="*/ 569976 w 3564922"/>
                  <a:gd name="connsiteY101" fmla="*/ 339661 h 547687"/>
                  <a:gd name="connsiteX102" fmla="*/ 569976 w 3564922"/>
                  <a:gd name="connsiteY102" fmla="*/ 345757 h 547687"/>
                  <a:gd name="connsiteX103" fmla="*/ 612076 w 3564922"/>
                  <a:gd name="connsiteY103" fmla="*/ 345757 h 547687"/>
                  <a:gd name="connsiteX104" fmla="*/ 612076 w 3564922"/>
                  <a:gd name="connsiteY104" fmla="*/ 351758 h 547687"/>
                  <a:gd name="connsiteX105" fmla="*/ 626745 w 3564922"/>
                  <a:gd name="connsiteY105" fmla="*/ 351758 h 547687"/>
                  <a:gd name="connsiteX106" fmla="*/ 626745 w 3564922"/>
                  <a:gd name="connsiteY106" fmla="*/ 357854 h 547687"/>
                  <a:gd name="connsiteX107" fmla="*/ 656272 w 3564922"/>
                  <a:gd name="connsiteY107" fmla="*/ 357854 h 547687"/>
                  <a:gd name="connsiteX108" fmla="*/ 656272 w 3564922"/>
                  <a:gd name="connsiteY108" fmla="*/ 363950 h 547687"/>
                  <a:gd name="connsiteX109" fmla="*/ 658368 w 3564922"/>
                  <a:gd name="connsiteY109" fmla="*/ 363950 h 547687"/>
                  <a:gd name="connsiteX110" fmla="*/ 658368 w 3564922"/>
                  <a:gd name="connsiteY110" fmla="*/ 369951 h 547687"/>
                  <a:gd name="connsiteX111" fmla="*/ 681418 w 3564922"/>
                  <a:gd name="connsiteY111" fmla="*/ 369951 h 547687"/>
                  <a:gd name="connsiteX112" fmla="*/ 681418 w 3564922"/>
                  <a:gd name="connsiteY112" fmla="*/ 376047 h 547687"/>
                  <a:gd name="connsiteX113" fmla="*/ 694087 w 3564922"/>
                  <a:gd name="connsiteY113" fmla="*/ 376047 h 547687"/>
                  <a:gd name="connsiteX114" fmla="*/ 694087 w 3564922"/>
                  <a:gd name="connsiteY114" fmla="*/ 382143 h 547687"/>
                  <a:gd name="connsiteX115" fmla="*/ 729805 w 3564922"/>
                  <a:gd name="connsiteY115" fmla="*/ 382143 h 547687"/>
                  <a:gd name="connsiteX116" fmla="*/ 729805 w 3564922"/>
                  <a:gd name="connsiteY116" fmla="*/ 388239 h 547687"/>
                  <a:gd name="connsiteX117" fmla="*/ 845534 w 3564922"/>
                  <a:gd name="connsiteY117" fmla="*/ 388239 h 547687"/>
                  <a:gd name="connsiteX118" fmla="*/ 845534 w 3564922"/>
                  <a:gd name="connsiteY118" fmla="*/ 394240 h 547687"/>
                  <a:gd name="connsiteX119" fmla="*/ 883348 w 3564922"/>
                  <a:gd name="connsiteY119" fmla="*/ 394240 h 547687"/>
                  <a:gd name="connsiteX120" fmla="*/ 883348 w 3564922"/>
                  <a:gd name="connsiteY120" fmla="*/ 400431 h 547687"/>
                  <a:gd name="connsiteX121" fmla="*/ 935926 w 3564922"/>
                  <a:gd name="connsiteY121" fmla="*/ 400431 h 547687"/>
                  <a:gd name="connsiteX122" fmla="*/ 935926 w 3564922"/>
                  <a:gd name="connsiteY122" fmla="*/ 406527 h 547687"/>
                  <a:gd name="connsiteX123" fmla="*/ 954881 w 3564922"/>
                  <a:gd name="connsiteY123" fmla="*/ 406527 h 547687"/>
                  <a:gd name="connsiteX124" fmla="*/ 954881 w 3564922"/>
                  <a:gd name="connsiteY124" fmla="*/ 412623 h 547687"/>
                  <a:gd name="connsiteX125" fmla="*/ 965359 w 3564922"/>
                  <a:gd name="connsiteY125" fmla="*/ 412623 h 547687"/>
                  <a:gd name="connsiteX126" fmla="*/ 965359 w 3564922"/>
                  <a:gd name="connsiteY126" fmla="*/ 418814 h 547687"/>
                  <a:gd name="connsiteX127" fmla="*/ 999077 w 3564922"/>
                  <a:gd name="connsiteY127" fmla="*/ 418814 h 547687"/>
                  <a:gd name="connsiteX128" fmla="*/ 999077 w 3564922"/>
                  <a:gd name="connsiteY128" fmla="*/ 424910 h 547687"/>
                  <a:gd name="connsiteX129" fmla="*/ 1005364 w 3564922"/>
                  <a:gd name="connsiteY129" fmla="*/ 424910 h 547687"/>
                  <a:gd name="connsiteX130" fmla="*/ 1005364 w 3564922"/>
                  <a:gd name="connsiteY130" fmla="*/ 431006 h 547687"/>
                  <a:gd name="connsiteX131" fmla="*/ 1020032 w 3564922"/>
                  <a:gd name="connsiteY131" fmla="*/ 431006 h 547687"/>
                  <a:gd name="connsiteX132" fmla="*/ 1020032 w 3564922"/>
                  <a:gd name="connsiteY132" fmla="*/ 437102 h 547687"/>
                  <a:gd name="connsiteX133" fmla="*/ 1032700 w 3564922"/>
                  <a:gd name="connsiteY133" fmla="*/ 437102 h 547687"/>
                  <a:gd name="connsiteX134" fmla="*/ 1032700 w 3564922"/>
                  <a:gd name="connsiteY134" fmla="*/ 443293 h 547687"/>
                  <a:gd name="connsiteX135" fmla="*/ 1057942 w 3564922"/>
                  <a:gd name="connsiteY135" fmla="*/ 443293 h 547687"/>
                  <a:gd name="connsiteX136" fmla="*/ 1057942 w 3564922"/>
                  <a:gd name="connsiteY136" fmla="*/ 449389 h 547687"/>
                  <a:gd name="connsiteX137" fmla="*/ 1287208 w 3564922"/>
                  <a:gd name="connsiteY137" fmla="*/ 449389 h 547687"/>
                  <a:gd name="connsiteX138" fmla="*/ 1287208 w 3564922"/>
                  <a:gd name="connsiteY138" fmla="*/ 455581 h 547687"/>
                  <a:gd name="connsiteX139" fmla="*/ 1400746 w 3564922"/>
                  <a:gd name="connsiteY139" fmla="*/ 455581 h 547687"/>
                  <a:gd name="connsiteX140" fmla="*/ 1400746 w 3564922"/>
                  <a:gd name="connsiteY140" fmla="*/ 461772 h 547687"/>
                  <a:gd name="connsiteX141" fmla="*/ 1669923 w 3564922"/>
                  <a:gd name="connsiteY141" fmla="*/ 461772 h 547687"/>
                  <a:gd name="connsiteX142" fmla="*/ 1669923 w 3564922"/>
                  <a:gd name="connsiteY142" fmla="*/ 468058 h 547687"/>
                  <a:gd name="connsiteX143" fmla="*/ 1743551 w 3564922"/>
                  <a:gd name="connsiteY143" fmla="*/ 468058 h 547687"/>
                  <a:gd name="connsiteX144" fmla="*/ 1743551 w 3564922"/>
                  <a:gd name="connsiteY144" fmla="*/ 474345 h 547687"/>
                  <a:gd name="connsiteX145" fmla="*/ 1823466 w 3564922"/>
                  <a:gd name="connsiteY145" fmla="*/ 474345 h 547687"/>
                  <a:gd name="connsiteX146" fmla="*/ 1823466 w 3564922"/>
                  <a:gd name="connsiteY146" fmla="*/ 480631 h 547687"/>
                  <a:gd name="connsiteX147" fmla="*/ 1985391 w 3564922"/>
                  <a:gd name="connsiteY147" fmla="*/ 480631 h 547687"/>
                  <a:gd name="connsiteX148" fmla="*/ 1985391 w 3564922"/>
                  <a:gd name="connsiteY148" fmla="*/ 487108 h 547687"/>
                  <a:gd name="connsiteX149" fmla="*/ 2002250 w 3564922"/>
                  <a:gd name="connsiteY149" fmla="*/ 487108 h 547687"/>
                  <a:gd name="connsiteX150" fmla="*/ 2002250 w 3564922"/>
                  <a:gd name="connsiteY150" fmla="*/ 493490 h 547687"/>
                  <a:gd name="connsiteX151" fmla="*/ 2120074 w 3564922"/>
                  <a:gd name="connsiteY151" fmla="*/ 493490 h 547687"/>
                  <a:gd name="connsiteX152" fmla="*/ 2120074 w 3564922"/>
                  <a:gd name="connsiteY152" fmla="*/ 499967 h 547687"/>
                  <a:gd name="connsiteX153" fmla="*/ 2212562 w 3564922"/>
                  <a:gd name="connsiteY153" fmla="*/ 499967 h 547687"/>
                  <a:gd name="connsiteX154" fmla="*/ 2212562 w 3564922"/>
                  <a:gd name="connsiteY154" fmla="*/ 506349 h 547687"/>
                  <a:gd name="connsiteX155" fmla="*/ 2231517 w 3564922"/>
                  <a:gd name="connsiteY155" fmla="*/ 506349 h 547687"/>
                  <a:gd name="connsiteX156" fmla="*/ 2231517 w 3564922"/>
                  <a:gd name="connsiteY156" fmla="*/ 512826 h 547687"/>
                  <a:gd name="connsiteX157" fmla="*/ 3085338 w 3564922"/>
                  <a:gd name="connsiteY157" fmla="*/ 512826 h 547687"/>
                  <a:gd name="connsiteX158" fmla="*/ 3085338 w 3564922"/>
                  <a:gd name="connsiteY158" fmla="*/ 547687 h 547687"/>
                  <a:gd name="connsiteX159" fmla="*/ 3564922 w 3564922"/>
                  <a:gd name="connsiteY159" fmla="*/ 547687 h 547687"/>
                  <a:gd name="connsiteX0" fmla="*/ 0 w 3564922"/>
                  <a:gd name="connsiteY0" fmla="*/ 0 h 547687"/>
                  <a:gd name="connsiteX1" fmla="*/ 2095 w 3564922"/>
                  <a:gd name="connsiteY1" fmla="*/ 0 h 547687"/>
                  <a:gd name="connsiteX2" fmla="*/ 2095 w 3564922"/>
                  <a:gd name="connsiteY2" fmla="*/ 6001 h 547687"/>
                  <a:gd name="connsiteX3" fmla="*/ 4286 w 3564922"/>
                  <a:gd name="connsiteY3" fmla="*/ 12097 h 547687"/>
                  <a:gd name="connsiteX4" fmla="*/ 14763 w 3564922"/>
                  <a:gd name="connsiteY4" fmla="*/ 12097 h 547687"/>
                  <a:gd name="connsiteX5" fmla="*/ 14763 w 3564922"/>
                  <a:gd name="connsiteY5" fmla="*/ 18193 h 547687"/>
                  <a:gd name="connsiteX6" fmla="*/ 21050 w 3564922"/>
                  <a:gd name="connsiteY6" fmla="*/ 18193 h 547687"/>
                  <a:gd name="connsiteX7" fmla="*/ 21050 w 3564922"/>
                  <a:gd name="connsiteY7" fmla="*/ 24193 h 547687"/>
                  <a:gd name="connsiteX8" fmla="*/ 35814 w 3564922"/>
                  <a:gd name="connsiteY8" fmla="*/ 24193 h 547687"/>
                  <a:gd name="connsiteX9" fmla="*/ 35814 w 3564922"/>
                  <a:gd name="connsiteY9" fmla="*/ 30289 h 547687"/>
                  <a:gd name="connsiteX10" fmla="*/ 44196 w 3564922"/>
                  <a:gd name="connsiteY10" fmla="*/ 30289 h 547687"/>
                  <a:gd name="connsiteX11" fmla="*/ 44196 w 3564922"/>
                  <a:gd name="connsiteY11" fmla="*/ 36385 h 547687"/>
                  <a:gd name="connsiteX12" fmla="*/ 54769 w 3564922"/>
                  <a:gd name="connsiteY12" fmla="*/ 36385 h 547687"/>
                  <a:gd name="connsiteX13" fmla="*/ 54769 w 3564922"/>
                  <a:gd name="connsiteY13" fmla="*/ 42386 h 547687"/>
                  <a:gd name="connsiteX14" fmla="*/ 67342 w 3564922"/>
                  <a:gd name="connsiteY14" fmla="*/ 42386 h 547687"/>
                  <a:gd name="connsiteX15" fmla="*/ 67342 w 3564922"/>
                  <a:gd name="connsiteY15" fmla="*/ 48482 h 547687"/>
                  <a:gd name="connsiteX16" fmla="*/ 73628 w 3564922"/>
                  <a:gd name="connsiteY16" fmla="*/ 48482 h 547687"/>
                  <a:gd name="connsiteX17" fmla="*/ 73628 w 3564922"/>
                  <a:gd name="connsiteY17" fmla="*/ 60579 h 547687"/>
                  <a:gd name="connsiteX18" fmla="*/ 77819 w 3564922"/>
                  <a:gd name="connsiteY18" fmla="*/ 60579 h 547687"/>
                  <a:gd name="connsiteX19" fmla="*/ 77819 w 3564922"/>
                  <a:gd name="connsiteY19" fmla="*/ 66675 h 547687"/>
                  <a:gd name="connsiteX20" fmla="*/ 90487 w 3564922"/>
                  <a:gd name="connsiteY20" fmla="*/ 66675 h 547687"/>
                  <a:gd name="connsiteX21" fmla="*/ 90487 w 3564922"/>
                  <a:gd name="connsiteY21" fmla="*/ 72771 h 547687"/>
                  <a:gd name="connsiteX22" fmla="*/ 105156 w 3564922"/>
                  <a:gd name="connsiteY22" fmla="*/ 72771 h 547687"/>
                  <a:gd name="connsiteX23" fmla="*/ 105156 w 3564922"/>
                  <a:gd name="connsiteY23" fmla="*/ 78772 h 547687"/>
                  <a:gd name="connsiteX24" fmla="*/ 109442 w 3564922"/>
                  <a:gd name="connsiteY24" fmla="*/ 78772 h 547687"/>
                  <a:gd name="connsiteX25" fmla="*/ 109442 w 3564922"/>
                  <a:gd name="connsiteY25" fmla="*/ 84868 h 547687"/>
                  <a:gd name="connsiteX26" fmla="*/ 119919 w 3564922"/>
                  <a:gd name="connsiteY26" fmla="*/ 84868 h 547687"/>
                  <a:gd name="connsiteX27" fmla="*/ 119919 w 3564922"/>
                  <a:gd name="connsiteY27" fmla="*/ 90964 h 547687"/>
                  <a:gd name="connsiteX28" fmla="*/ 128302 w 3564922"/>
                  <a:gd name="connsiteY28" fmla="*/ 90964 h 547687"/>
                  <a:gd name="connsiteX29" fmla="*/ 128302 w 3564922"/>
                  <a:gd name="connsiteY29" fmla="*/ 97060 h 547687"/>
                  <a:gd name="connsiteX30" fmla="*/ 143065 w 3564922"/>
                  <a:gd name="connsiteY30" fmla="*/ 97060 h 547687"/>
                  <a:gd name="connsiteX31" fmla="*/ 143065 w 3564922"/>
                  <a:gd name="connsiteY31" fmla="*/ 103060 h 547687"/>
                  <a:gd name="connsiteX32" fmla="*/ 147256 w 3564922"/>
                  <a:gd name="connsiteY32" fmla="*/ 103060 h 547687"/>
                  <a:gd name="connsiteX33" fmla="*/ 147256 w 3564922"/>
                  <a:gd name="connsiteY33" fmla="*/ 109156 h 547687"/>
                  <a:gd name="connsiteX34" fmla="*/ 151447 w 3564922"/>
                  <a:gd name="connsiteY34" fmla="*/ 109156 h 547687"/>
                  <a:gd name="connsiteX35" fmla="*/ 151447 w 3564922"/>
                  <a:gd name="connsiteY35" fmla="*/ 115252 h 547687"/>
                  <a:gd name="connsiteX36" fmla="*/ 164116 w 3564922"/>
                  <a:gd name="connsiteY36" fmla="*/ 115252 h 547687"/>
                  <a:gd name="connsiteX37" fmla="*/ 164116 w 3564922"/>
                  <a:gd name="connsiteY37" fmla="*/ 121253 h 547687"/>
                  <a:gd name="connsiteX38" fmla="*/ 193548 w 3564922"/>
                  <a:gd name="connsiteY38" fmla="*/ 121253 h 547687"/>
                  <a:gd name="connsiteX39" fmla="*/ 193548 w 3564922"/>
                  <a:gd name="connsiteY39" fmla="*/ 127349 h 547687"/>
                  <a:gd name="connsiteX40" fmla="*/ 201930 w 3564922"/>
                  <a:gd name="connsiteY40" fmla="*/ 127349 h 547687"/>
                  <a:gd name="connsiteX41" fmla="*/ 201930 w 3564922"/>
                  <a:gd name="connsiteY41" fmla="*/ 133445 h 547687"/>
                  <a:gd name="connsiteX42" fmla="*/ 204025 w 3564922"/>
                  <a:gd name="connsiteY42" fmla="*/ 133445 h 547687"/>
                  <a:gd name="connsiteX43" fmla="*/ 204025 w 3564922"/>
                  <a:gd name="connsiteY43" fmla="*/ 139446 h 547687"/>
                  <a:gd name="connsiteX44" fmla="*/ 218789 w 3564922"/>
                  <a:gd name="connsiteY44" fmla="*/ 139446 h 547687"/>
                  <a:gd name="connsiteX45" fmla="*/ 218789 w 3564922"/>
                  <a:gd name="connsiteY45" fmla="*/ 151638 h 547687"/>
                  <a:gd name="connsiteX46" fmla="*/ 220885 w 3564922"/>
                  <a:gd name="connsiteY46" fmla="*/ 151638 h 547687"/>
                  <a:gd name="connsiteX47" fmla="*/ 220885 w 3564922"/>
                  <a:gd name="connsiteY47" fmla="*/ 157639 h 547687"/>
                  <a:gd name="connsiteX48" fmla="*/ 227171 w 3564922"/>
                  <a:gd name="connsiteY48" fmla="*/ 157639 h 547687"/>
                  <a:gd name="connsiteX49" fmla="*/ 227171 w 3564922"/>
                  <a:gd name="connsiteY49" fmla="*/ 163735 h 547687"/>
                  <a:gd name="connsiteX50" fmla="*/ 231362 w 3564922"/>
                  <a:gd name="connsiteY50" fmla="*/ 163735 h 547687"/>
                  <a:gd name="connsiteX51" fmla="*/ 231362 w 3564922"/>
                  <a:gd name="connsiteY51" fmla="*/ 169831 h 547687"/>
                  <a:gd name="connsiteX52" fmla="*/ 248221 w 3564922"/>
                  <a:gd name="connsiteY52" fmla="*/ 169831 h 547687"/>
                  <a:gd name="connsiteX53" fmla="*/ 248221 w 3564922"/>
                  <a:gd name="connsiteY53" fmla="*/ 181927 h 547687"/>
                  <a:gd name="connsiteX54" fmla="*/ 252412 w 3564922"/>
                  <a:gd name="connsiteY54" fmla="*/ 181927 h 547687"/>
                  <a:gd name="connsiteX55" fmla="*/ 252412 w 3564922"/>
                  <a:gd name="connsiteY55" fmla="*/ 188023 h 547687"/>
                  <a:gd name="connsiteX56" fmla="*/ 275558 w 3564922"/>
                  <a:gd name="connsiteY56" fmla="*/ 188023 h 547687"/>
                  <a:gd name="connsiteX57" fmla="*/ 275558 w 3564922"/>
                  <a:gd name="connsiteY57" fmla="*/ 194119 h 547687"/>
                  <a:gd name="connsiteX58" fmla="*/ 279749 w 3564922"/>
                  <a:gd name="connsiteY58" fmla="*/ 194119 h 547687"/>
                  <a:gd name="connsiteX59" fmla="*/ 279749 w 3564922"/>
                  <a:gd name="connsiteY59" fmla="*/ 200120 h 547687"/>
                  <a:gd name="connsiteX60" fmla="*/ 286036 w 3564922"/>
                  <a:gd name="connsiteY60" fmla="*/ 200120 h 547687"/>
                  <a:gd name="connsiteX61" fmla="*/ 286036 w 3564922"/>
                  <a:gd name="connsiteY61" fmla="*/ 212312 h 547687"/>
                  <a:gd name="connsiteX62" fmla="*/ 304990 w 3564922"/>
                  <a:gd name="connsiteY62" fmla="*/ 212312 h 547687"/>
                  <a:gd name="connsiteX63" fmla="*/ 304990 w 3564922"/>
                  <a:gd name="connsiteY63" fmla="*/ 218313 h 547687"/>
                  <a:gd name="connsiteX64" fmla="*/ 313372 w 3564922"/>
                  <a:gd name="connsiteY64" fmla="*/ 218313 h 547687"/>
                  <a:gd name="connsiteX65" fmla="*/ 313372 w 3564922"/>
                  <a:gd name="connsiteY65" fmla="*/ 224409 h 547687"/>
                  <a:gd name="connsiteX66" fmla="*/ 326041 w 3564922"/>
                  <a:gd name="connsiteY66" fmla="*/ 224409 h 547687"/>
                  <a:gd name="connsiteX67" fmla="*/ 326041 w 3564922"/>
                  <a:gd name="connsiteY67" fmla="*/ 230505 h 547687"/>
                  <a:gd name="connsiteX68" fmla="*/ 342900 w 3564922"/>
                  <a:gd name="connsiteY68" fmla="*/ 230505 h 547687"/>
                  <a:gd name="connsiteX69" fmla="*/ 342900 w 3564922"/>
                  <a:gd name="connsiteY69" fmla="*/ 236506 h 547687"/>
                  <a:gd name="connsiteX70" fmla="*/ 370237 w 3564922"/>
                  <a:gd name="connsiteY70" fmla="*/ 236506 h 547687"/>
                  <a:gd name="connsiteX71" fmla="*/ 370237 w 3564922"/>
                  <a:gd name="connsiteY71" fmla="*/ 242602 h 547687"/>
                  <a:gd name="connsiteX72" fmla="*/ 372332 w 3564922"/>
                  <a:gd name="connsiteY72" fmla="*/ 242602 h 547687"/>
                  <a:gd name="connsiteX73" fmla="*/ 372332 w 3564922"/>
                  <a:gd name="connsiteY73" fmla="*/ 248698 h 547687"/>
                  <a:gd name="connsiteX74" fmla="*/ 382809 w 3564922"/>
                  <a:gd name="connsiteY74" fmla="*/ 248698 h 547687"/>
                  <a:gd name="connsiteX75" fmla="*/ 382809 w 3564922"/>
                  <a:gd name="connsiteY75" fmla="*/ 254698 h 547687"/>
                  <a:gd name="connsiteX76" fmla="*/ 389096 w 3564922"/>
                  <a:gd name="connsiteY76" fmla="*/ 254698 h 547687"/>
                  <a:gd name="connsiteX77" fmla="*/ 389096 w 3564922"/>
                  <a:gd name="connsiteY77" fmla="*/ 266890 h 547687"/>
                  <a:gd name="connsiteX78" fmla="*/ 397573 w 3564922"/>
                  <a:gd name="connsiteY78" fmla="*/ 266890 h 547687"/>
                  <a:gd name="connsiteX79" fmla="*/ 397573 w 3564922"/>
                  <a:gd name="connsiteY79" fmla="*/ 272891 h 547687"/>
                  <a:gd name="connsiteX80" fmla="*/ 403860 w 3564922"/>
                  <a:gd name="connsiteY80" fmla="*/ 272891 h 547687"/>
                  <a:gd name="connsiteX81" fmla="*/ 403860 w 3564922"/>
                  <a:gd name="connsiteY81" fmla="*/ 285083 h 547687"/>
                  <a:gd name="connsiteX82" fmla="*/ 405955 w 3564922"/>
                  <a:gd name="connsiteY82" fmla="*/ 285083 h 547687"/>
                  <a:gd name="connsiteX83" fmla="*/ 405955 w 3564922"/>
                  <a:gd name="connsiteY83" fmla="*/ 291179 h 547687"/>
                  <a:gd name="connsiteX84" fmla="*/ 418528 w 3564922"/>
                  <a:gd name="connsiteY84" fmla="*/ 291179 h 547687"/>
                  <a:gd name="connsiteX85" fmla="*/ 418528 w 3564922"/>
                  <a:gd name="connsiteY85" fmla="*/ 297180 h 547687"/>
                  <a:gd name="connsiteX86" fmla="*/ 441674 w 3564922"/>
                  <a:gd name="connsiteY86" fmla="*/ 297180 h 547687"/>
                  <a:gd name="connsiteX87" fmla="*/ 441674 w 3564922"/>
                  <a:gd name="connsiteY87" fmla="*/ 303276 h 547687"/>
                  <a:gd name="connsiteX88" fmla="*/ 448056 w 3564922"/>
                  <a:gd name="connsiteY88" fmla="*/ 303276 h 547687"/>
                  <a:gd name="connsiteX89" fmla="*/ 448056 w 3564922"/>
                  <a:gd name="connsiteY89" fmla="*/ 309372 h 547687"/>
                  <a:gd name="connsiteX90" fmla="*/ 456438 w 3564922"/>
                  <a:gd name="connsiteY90" fmla="*/ 309372 h 547687"/>
                  <a:gd name="connsiteX91" fmla="*/ 456438 w 3564922"/>
                  <a:gd name="connsiteY91" fmla="*/ 315373 h 547687"/>
                  <a:gd name="connsiteX92" fmla="*/ 464820 w 3564922"/>
                  <a:gd name="connsiteY92" fmla="*/ 315373 h 547687"/>
                  <a:gd name="connsiteX93" fmla="*/ 464820 w 3564922"/>
                  <a:gd name="connsiteY93" fmla="*/ 321469 h 547687"/>
                  <a:gd name="connsiteX94" fmla="*/ 469011 w 3564922"/>
                  <a:gd name="connsiteY94" fmla="*/ 321469 h 547687"/>
                  <a:gd name="connsiteX95" fmla="*/ 469011 w 3564922"/>
                  <a:gd name="connsiteY95" fmla="*/ 327565 h 547687"/>
                  <a:gd name="connsiteX96" fmla="*/ 542639 w 3564922"/>
                  <a:gd name="connsiteY96" fmla="*/ 327565 h 547687"/>
                  <a:gd name="connsiteX97" fmla="*/ 542639 w 3564922"/>
                  <a:gd name="connsiteY97" fmla="*/ 333565 h 547687"/>
                  <a:gd name="connsiteX98" fmla="*/ 563689 w 3564922"/>
                  <a:gd name="connsiteY98" fmla="*/ 333565 h 547687"/>
                  <a:gd name="connsiteX99" fmla="*/ 563689 w 3564922"/>
                  <a:gd name="connsiteY99" fmla="*/ 339661 h 547687"/>
                  <a:gd name="connsiteX100" fmla="*/ 569976 w 3564922"/>
                  <a:gd name="connsiteY100" fmla="*/ 339661 h 547687"/>
                  <a:gd name="connsiteX101" fmla="*/ 569976 w 3564922"/>
                  <a:gd name="connsiteY101" fmla="*/ 345757 h 547687"/>
                  <a:gd name="connsiteX102" fmla="*/ 612076 w 3564922"/>
                  <a:gd name="connsiteY102" fmla="*/ 345757 h 547687"/>
                  <a:gd name="connsiteX103" fmla="*/ 612076 w 3564922"/>
                  <a:gd name="connsiteY103" fmla="*/ 351758 h 547687"/>
                  <a:gd name="connsiteX104" fmla="*/ 626745 w 3564922"/>
                  <a:gd name="connsiteY104" fmla="*/ 351758 h 547687"/>
                  <a:gd name="connsiteX105" fmla="*/ 626745 w 3564922"/>
                  <a:gd name="connsiteY105" fmla="*/ 357854 h 547687"/>
                  <a:gd name="connsiteX106" fmla="*/ 656272 w 3564922"/>
                  <a:gd name="connsiteY106" fmla="*/ 357854 h 547687"/>
                  <a:gd name="connsiteX107" fmla="*/ 656272 w 3564922"/>
                  <a:gd name="connsiteY107" fmla="*/ 363950 h 547687"/>
                  <a:gd name="connsiteX108" fmla="*/ 658368 w 3564922"/>
                  <a:gd name="connsiteY108" fmla="*/ 363950 h 547687"/>
                  <a:gd name="connsiteX109" fmla="*/ 658368 w 3564922"/>
                  <a:gd name="connsiteY109" fmla="*/ 369951 h 547687"/>
                  <a:gd name="connsiteX110" fmla="*/ 681418 w 3564922"/>
                  <a:gd name="connsiteY110" fmla="*/ 369951 h 547687"/>
                  <a:gd name="connsiteX111" fmla="*/ 681418 w 3564922"/>
                  <a:gd name="connsiteY111" fmla="*/ 376047 h 547687"/>
                  <a:gd name="connsiteX112" fmla="*/ 694087 w 3564922"/>
                  <a:gd name="connsiteY112" fmla="*/ 376047 h 547687"/>
                  <a:gd name="connsiteX113" fmla="*/ 694087 w 3564922"/>
                  <a:gd name="connsiteY113" fmla="*/ 382143 h 547687"/>
                  <a:gd name="connsiteX114" fmla="*/ 729805 w 3564922"/>
                  <a:gd name="connsiteY114" fmla="*/ 382143 h 547687"/>
                  <a:gd name="connsiteX115" fmla="*/ 729805 w 3564922"/>
                  <a:gd name="connsiteY115" fmla="*/ 388239 h 547687"/>
                  <a:gd name="connsiteX116" fmla="*/ 845534 w 3564922"/>
                  <a:gd name="connsiteY116" fmla="*/ 388239 h 547687"/>
                  <a:gd name="connsiteX117" fmla="*/ 845534 w 3564922"/>
                  <a:gd name="connsiteY117" fmla="*/ 394240 h 547687"/>
                  <a:gd name="connsiteX118" fmla="*/ 883348 w 3564922"/>
                  <a:gd name="connsiteY118" fmla="*/ 394240 h 547687"/>
                  <a:gd name="connsiteX119" fmla="*/ 883348 w 3564922"/>
                  <a:gd name="connsiteY119" fmla="*/ 400431 h 547687"/>
                  <a:gd name="connsiteX120" fmla="*/ 935926 w 3564922"/>
                  <a:gd name="connsiteY120" fmla="*/ 400431 h 547687"/>
                  <a:gd name="connsiteX121" fmla="*/ 935926 w 3564922"/>
                  <a:gd name="connsiteY121" fmla="*/ 406527 h 547687"/>
                  <a:gd name="connsiteX122" fmla="*/ 954881 w 3564922"/>
                  <a:gd name="connsiteY122" fmla="*/ 406527 h 547687"/>
                  <a:gd name="connsiteX123" fmla="*/ 954881 w 3564922"/>
                  <a:gd name="connsiteY123" fmla="*/ 412623 h 547687"/>
                  <a:gd name="connsiteX124" fmla="*/ 965359 w 3564922"/>
                  <a:gd name="connsiteY124" fmla="*/ 412623 h 547687"/>
                  <a:gd name="connsiteX125" fmla="*/ 965359 w 3564922"/>
                  <a:gd name="connsiteY125" fmla="*/ 418814 h 547687"/>
                  <a:gd name="connsiteX126" fmla="*/ 999077 w 3564922"/>
                  <a:gd name="connsiteY126" fmla="*/ 418814 h 547687"/>
                  <a:gd name="connsiteX127" fmla="*/ 999077 w 3564922"/>
                  <a:gd name="connsiteY127" fmla="*/ 424910 h 547687"/>
                  <a:gd name="connsiteX128" fmla="*/ 1005364 w 3564922"/>
                  <a:gd name="connsiteY128" fmla="*/ 424910 h 547687"/>
                  <a:gd name="connsiteX129" fmla="*/ 1005364 w 3564922"/>
                  <a:gd name="connsiteY129" fmla="*/ 431006 h 547687"/>
                  <a:gd name="connsiteX130" fmla="*/ 1020032 w 3564922"/>
                  <a:gd name="connsiteY130" fmla="*/ 431006 h 547687"/>
                  <a:gd name="connsiteX131" fmla="*/ 1020032 w 3564922"/>
                  <a:gd name="connsiteY131" fmla="*/ 437102 h 547687"/>
                  <a:gd name="connsiteX132" fmla="*/ 1032700 w 3564922"/>
                  <a:gd name="connsiteY132" fmla="*/ 437102 h 547687"/>
                  <a:gd name="connsiteX133" fmla="*/ 1032700 w 3564922"/>
                  <a:gd name="connsiteY133" fmla="*/ 443293 h 547687"/>
                  <a:gd name="connsiteX134" fmla="*/ 1057942 w 3564922"/>
                  <a:gd name="connsiteY134" fmla="*/ 443293 h 547687"/>
                  <a:gd name="connsiteX135" fmla="*/ 1057942 w 3564922"/>
                  <a:gd name="connsiteY135" fmla="*/ 449389 h 547687"/>
                  <a:gd name="connsiteX136" fmla="*/ 1287208 w 3564922"/>
                  <a:gd name="connsiteY136" fmla="*/ 449389 h 547687"/>
                  <a:gd name="connsiteX137" fmla="*/ 1287208 w 3564922"/>
                  <a:gd name="connsiteY137" fmla="*/ 455581 h 547687"/>
                  <a:gd name="connsiteX138" fmla="*/ 1400746 w 3564922"/>
                  <a:gd name="connsiteY138" fmla="*/ 455581 h 547687"/>
                  <a:gd name="connsiteX139" fmla="*/ 1400746 w 3564922"/>
                  <a:gd name="connsiteY139" fmla="*/ 461772 h 547687"/>
                  <a:gd name="connsiteX140" fmla="*/ 1669923 w 3564922"/>
                  <a:gd name="connsiteY140" fmla="*/ 461772 h 547687"/>
                  <a:gd name="connsiteX141" fmla="*/ 1669923 w 3564922"/>
                  <a:gd name="connsiteY141" fmla="*/ 468058 h 547687"/>
                  <a:gd name="connsiteX142" fmla="*/ 1743551 w 3564922"/>
                  <a:gd name="connsiteY142" fmla="*/ 468058 h 547687"/>
                  <a:gd name="connsiteX143" fmla="*/ 1743551 w 3564922"/>
                  <a:gd name="connsiteY143" fmla="*/ 474345 h 547687"/>
                  <a:gd name="connsiteX144" fmla="*/ 1823466 w 3564922"/>
                  <a:gd name="connsiteY144" fmla="*/ 474345 h 547687"/>
                  <a:gd name="connsiteX145" fmla="*/ 1823466 w 3564922"/>
                  <a:gd name="connsiteY145" fmla="*/ 480631 h 547687"/>
                  <a:gd name="connsiteX146" fmla="*/ 1985391 w 3564922"/>
                  <a:gd name="connsiteY146" fmla="*/ 480631 h 547687"/>
                  <a:gd name="connsiteX147" fmla="*/ 1985391 w 3564922"/>
                  <a:gd name="connsiteY147" fmla="*/ 487108 h 547687"/>
                  <a:gd name="connsiteX148" fmla="*/ 2002250 w 3564922"/>
                  <a:gd name="connsiteY148" fmla="*/ 487108 h 547687"/>
                  <a:gd name="connsiteX149" fmla="*/ 2002250 w 3564922"/>
                  <a:gd name="connsiteY149" fmla="*/ 493490 h 547687"/>
                  <a:gd name="connsiteX150" fmla="*/ 2120074 w 3564922"/>
                  <a:gd name="connsiteY150" fmla="*/ 493490 h 547687"/>
                  <a:gd name="connsiteX151" fmla="*/ 2120074 w 3564922"/>
                  <a:gd name="connsiteY151" fmla="*/ 499967 h 547687"/>
                  <a:gd name="connsiteX152" fmla="*/ 2212562 w 3564922"/>
                  <a:gd name="connsiteY152" fmla="*/ 499967 h 547687"/>
                  <a:gd name="connsiteX153" fmla="*/ 2212562 w 3564922"/>
                  <a:gd name="connsiteY153" fmla="*/ 506349 h 547687"/>
                  <a:gd name="connsiteX154" fmla="*/ 2231517 w 3564922"/>
                  <a:gd name="connsiteY154" fmla="*/ 506349 h 547687"/>
                  <a:gd name="connsiteX155" fmla="*/ 2231517 w 3564922"/>
                  <a:gd name="connsiteY155" fmla="*/ 512826 h 547687"/>
                  <a:gd name="connsiteX156" fmla="*/ 3085338 w 3564922"/>
                  <a:gd name="connsiteY156" fmla="*/ 512826 h 547687"/>
                  <a:gd name="connsiteX157" fmla="*/ 3085338 w 3564922"/>
                  <a:gd name="connsiteY157" fmla="*/ 547687 h 547687"/>
                  <a:gd name="connsiteX158" fmla="*/ 3564922 w 3564922"/>
                  <a:gd name="connsiteY158" fmla="*/ 547687 h 547687"/>
                  <a:gd name="connsiteX0" fmla="*/ 0 w 3564922"/>
                  <a:gd name="connsiteY0" fmla="*/ 0 h 547687"/>
                  <a:gd name="connsiteX1" fmla="*/ 2095 w 3564922"/>
                  <a:gd name="connsiteY1" fmla="*/ 6001 h 547687"/>
                  <a:gd name="connsiteX2" fmla="*/ 4286 w 3564922"/>
                  <a:gd name="connsiteY2" fmla="*/ 12097 h 547687"/>
                  <a:gd name="connsiteX3" fmla="*/ 14763 w 3564922"/>
                  <a:gd name="connsiteY3" fmla="*/ 12097 h 547687"/>
                  <a:gd name="connsiteX4" fmla="*/ 14763 w 3564922"/>
                  <a:gd name="connsiteY4" fmla="*/ 18193 h 547687"/>
                  <a:gd name="connsiteX5" fmla="*/ 21050 w 3564922"/>
                  <a:gd name="connsiteY5" fmla="*/ 18193 h 547687"/>
                  <a:gd name="connsiteX6" fmla="*/ 21050 w 3564922"/>
                  <a:gd name="connsiteY6" fmla="*/ 24193 h 547687"/>
                  <a:gd name="connsiteX7" fmla="*/ 35814 w 3564922"/>
                  <a:gd name="connsiteY7" fmla="*/ 24193 h 547687"/>
                  <a:gd name="connsiteX8" fmla="*/ 35814 w 3564922"/>
                  <a:gd name="connsiteY8" fmla="*/ 30289 h 547687"/>
                  <a:gd name="connsiteX9" fmla="*/ 44196 w 3564922"/>
                  <a:gd name="connsiteY9" fmla="*/ 30289 h 547687"/>
                  <a:gd name="connsiteX10" fmla="*/ 44196 w 3564922"/>
                  <a:gd name="connsiteY10" fmla="*/ 36385 h 547687"/>
                  <a:gd name="connsiteX11" fmla="*/ 54769 w 3564922"/>
                  <a:gd name="connsiteY11" fmla="*/ 36385 h 547687"/>
                  <a:gd name="connsiteX12" fmla="*/ 54769 w 3564922"/>
                  <a:gd name="connsiteY12" fmla="*/ 42386 h 547687"/>
                  <a:gd name="connsiteX13" fmla="*/ 67342 w 3564922"/>
                  <a:gd name="connsiteY13" fmla="*/ 42386 h 547687"/>
                  <a:gd name="connsiteX14" fmla="*/ 67342 w 3564922"/>
                  <a:gd name="connsiteY14" fmla="*/ 48482 h 547687"/>
                  <a:gd name="connsiteX15" fmla="*/ 73628 w 3564922"/>
                  <a:gd name="connsiteY15" fmla="*/ 48482 h 547687"/>
                  <a:gd name="connsiteX16" fmla="*/ 73628 w 3564922"/>
                  <a:gd name="connsiteY16" fmla="*/ 60579 h 547687"/>
                  <a:gd name="connsiteX17" fmla="*/ 77819 w 3564922"/>
                  <a:gd name="connsiteY17" fmla="*/ 60579 h 547687"/>
                  <a:gd name="connsiteX18" fmla="*/ 77819 w 3564922"/>
                  <a:gd name="connsiteY18" fmla="*/ 66675 h 547687"/>
                  <a:gd name="connsiteX19" fmla="*/ 90487 w 3564922"/>
                  <a:gd name="connsiteY19" fmla="*/ 66675 h 547687"/>
                  <a:gd name="connsiteX20" fmla="*/ 90487 w 3564922"/>
                  <a:gd name="connsiteY20" fmla="*/ 72771 h 547687"/>
                  <a:gd name="connsiteX21" fmla="*/ 105156 w 3564922"/>
                  <a:gd name="connsiteY21" fmla="*/ 72771 h 547687"/>
                  <a:gd name="connsiteX22" fmla="*/ 105156 w 3564922"/>
                  <a:gd name="connsiteY22" fmla="*/ 78772 h 547687"/>
                  <a:gd name="connsiteX23" fmla="*/ 109442 w 3564922"/>
                  <a:gd name="connsiteY23" fmla="*/ 78772 h 547687"/>
                  <a:gd name="connsiteX24" fmla="*/ 109442 w 3564922"/>
                  <a:gd name="connsiteY24" fmla="*/ 84868 h 547687"/>
                  <a:gd name="connsiteX25" fmla="*/ 119919 w 3564922"/>
                  <a:gd name="connsiteY25" fmla="*/ 84868 h 547687"/>
                  <a:gd name="connsiteX26" fmla="*/ 119919 w 3564922"/>
                  <a:gd name="connsiteY26" fmla="*/ 90964 h 547687"/>
                  <a:gd name="connsiteX27" fmla="*/ 128302 w 3564922"/>
                  <a:gd name="connsiteY27" fmla="*/ 90964 h 547687"/>
                  <a:gd name="connsiteX28" fmla="*/ 128302 w 3564922"/>
                  <a:gd name="connsiteY28" fmla="*/ 97060 h 547687"/>
                  <a:gd name="connsiteX29" fmla="*/ 143065 w 3564922"/>
                  <a:gd name="connsiteY29" fmla="*/ 97060 h 547687"/>
                  <a:gd name="connsiteX30" fmla="*/ 143065 w 3564922"/>
                  <a:gd name="connsiteY30" fmla="*/ 103060 h 547687"/>
                  <a:gd name="connsiteX31" fmla="*/ 147256 w 3564922"/>
                  <a:gd name="connsiteY31" fmla="*/ 103060 h 547687"/>
                  <a:gd name="connsiteX32" fmla="*/ 147256 w 3564922"/>
                  <a:gd name="connsiteY32" fmla="*/ 109156 h 547687"/>
                  <a:gd name="connsiteX33" fmla="*/ 151447 w 3564922"/>
                  <a:gd name="connsiteY33" fmla="*/ 109156 h 547687"/>
                  <a:gd name="connsiteX34" fmla="*/ 151447 w 3564922"/>
                  <a:gd name="connsiteY34" fmla="*/ 115252 h 547687"/>
                  <a:gd name="connsiteX35" fmla="*/ 164116 w 3564922"/>
                  <a:gd name="connsiteY35" fmla="*/ 115252 h 547687"/>
                  <a:gd name="connsiteX36" fmla="*/ 164116 w 3564922"/>
                  <a:gd name="connsiteY36" fmla="*/ 121253 h 547687"/>
                  <a:gd name="connsiteX37" fmla="*/ 193548 w 3564922"/>
                  <a:gd name="connsiteY37" fmla="*/ 121253 h 547687"/>
                  <a:gd name="connsiteX38" fmla="*/ 193548 w 3564922"/>
                  <a:gd name="connsiteY38" fmla="*/ 127349 h 547687"/>
                  <a:gd name="connsiteX39" fmla="*/ 201930 w 3564922"/>
                  <a:gd name="connsiteY39" fmla="*/ 127349 h 547687"/>
                  <a:gd name="connsiteX40" fmla="*/ 201930 w 3564922"/>
                  <a:gd name="connsiteY40" fmla="*/ 133445 h 547687"/>
                  <a:gd name="connsiteX41" fmla="*/ 204025 w 3564922"/>
                  <a:gd name="connsiteY41" fmla="*/ 133445 h 547687"/>
                  <a:gd name="connsiteX42" fmla="*/ 204025 w 3564922"/>
                  <a:gd name="connsiteY42" fmla="*/ 139446 h 547687"/>
                  <a:gd name="connsiteX43" fmla="*/ 218789 w 3564922"/>
                  <a:gd name="connsiteY43" fmla="*/ 139446 h 547687"/>
                  <a:gd name="connsiteX44" fmla="*/ 218789 w 3564922"/>
                  <a:gd name="connsiteY44" fmla="*/ 151638 h 547687"/>
                  <a:gd name="connsiteX45" fmla="*/ 220885 w 3564922"/>
                  <a:gd name="connsiteY45" fmla="*/ 151638 h 547687"/>
                  <a:gd name="connsiteX46" fmla="*/ 220885 w 3564922"/>
                  <a:gd name="connsiteY46" fmla="*/ 157639 h 547687"/>
                  <a:gd name="connsiteX47" fmla="*/ 227171 w 3564922"/>
                  <a:gd name="connsiteY47" fmla="*/ 157639 h 547687"/>
                  <a:gd name="connsiteX48" fmla="*/ 227171 w 3564922"/>
                  <a:gd name="connsiteY48" fmla="*/ 163735 h 547687"/>
                  <a:gd name="connsiteX49" fmla="*/ 231362 w 3564922"/>
                  <a:gd name="connsiteY49" fmla="*/ 163735 h 547687"/>
                  <a:gd name="connsiteX50" fmla="*/ 231362 w 3564922"/>
                  <a:gd name="connsiteY50" fmla="*/ 169831 h 547687"/>
                  <a:gd name="connsiteX51" fmla="*/ 248221 w 3564922"/>
                  <a:gd name="connsiteY51" fmla="*/ 169831 h 547687"/>
                  <a:gd name="connsiteX52" fmla="*/ 248221 w 3564922"/>
                  <a:gd name="connsiteY52" fmla="*/ 181927 h 547687"/>
                  <a:gd name="connsiteX53" fmla="*/ 252412 w 3564922"/>
                  <a:gd name="connsiteY53" fmla="*/ 181927 h 547687"/>
                  <a:gd name="connsiteX54" fmla="*/ 252412 w 3564922"/>
                  <a:gd name="connsiteY54" fmla="*/ 188023 h 547687"/>
                  <a:gd name="connsiteX55" fmla="*/ 275558 w 3564922"/>
                  <a:gd name="connsiteY55" fmla="*/ 188023 h 547687"/>
                  <a:gd name="connsiteX56" fmla="*/ 275558 w 3564922"/>
                  <a:gd name="connsiteY56" fmla="*/ 194119 h 547687"/>
                  <a:gd name="connsiteX57" fmla="*/ 279749 w 3564922"/>
                  <a:gd name="connsiteY57" fmla="*/ 194119 h 547687"/>
                  <a:gd name="connsiteX58" fmla="*/ 279749 w 3564922"/>
                  <a:gd name="connsiteY58" fmla="*/ 200120 h 547687"/>
                  <a:gd name="connsiteX59" fmla="*/ 286036 w 3564922"/>
                  <a:gd name="connsiteY59" fmla="*/ 200120 h 547687"/>
                  <a:gd name="connsiteX60" fmla="*/ 286036 w 3564922"/>
                  <a:gd name="connsiteY60" fmla="*/ 212312 h 547687"/>
                  <a:gd name="connsiteX61" fmla="*/ 304990 w 3564922"/>
                  <a:gd name="connsiteY61" fmla="*/ 212312 h 547687"/>
                  <a:gd name="connsiteX62" fmla="*/ 304990 w 3564922"/>
                  <a:gd name="connsiteY62" fmla="*/ 218313 h 547687"/>
                  <a:gd name="connsiteX63" fmla="*/ 313372 w 3564922"/>
                  <a:gd name="connsiteY63" fmla="*/ 218313 h 547687"/>
                  <a:gd name="connsiteX64" fmla="*/ 313372 w 3564922"/>
                  <a:gd name="connsiteY64" fmla="*/ 224409 h 547687"/>
                  <a:gd name="connsiteX65" fmla="*/ 326041 w 3564922"/>
                  <a:gd name="connsiteY65" fmla="*/ 224409 h 547687"/>
                  <a:gd name="connsiteX66" fmla="*/ 326041 w 3564922"/>
                  <a:gd name="connsiteY66" fmla="*/ 230505 h 547687"/>
                  <a:gd name="connsiteX67" fmla="*/ 342900 w 3564922"/>
                  <a:gd name="connsiteY67" fmla="*/ 230505 h 547687"/>
                  <a:gd name="connsiteX68" fmla="*/ 342900 w 3564922"/>
                  <a:gd name="connsiteY68" fmla="*/ 236506 h 547687"/>
                  <a:gd name="connsiteX69" fmla="*/ 370237 w 3564922"/>
                  <a:gd name="connsiteY69" fmla="*/ 236506 h 547687"/>
                  <a:gd name="connsiteX70" fmla="*/ 370237 w 3564922"/>
                  <a:gd name="connsiteY70" fmla="*/ 242602 h 547687"/>
                  <a:gd name="connsiteX71" fmla="*/ 372332 w 3564922"/>
                  <a:gd name="connsiteY71" fmla="*/ 242602 h 547687"/>
                  <a:gd name="connsiteX72" fmla="*/ 372332 w 3564922"/>
                  <a:gd name="connsiteY72" fmla="*/ 248698 h 547687"/>
                  <a:gd name="connsiteX73" fmla="*/ 382809 w 3564922"/>
                  <a:gd name="connsiteY73" fmla="*/ 248698 h 547687"/>
                  <a:gd name="connsiteX74" fmla="*/ 382809 w 3564922"/>
                  <a:gd name="connsiteY74" fmla="*/ 254698 h 547687"/>
                  <a:gd name="connsiteX75" fmla="*/ 389096 w 3564922"/>
                  <a:gd name="connsiteY75" fmla="*/ 254698 h 547687"/>
                  <a:gd name="connsiteX76" fmla="*/ 389096 w 3564922"/>
                  <a:gd name="connsiteY76" fmla="*/ 266890 h 547687"/>
                  <a:gd name="connsiteX77" fmla="*/ 397573 w 3564922"/>
                  <a:gd name="connsiteY77" fmla="*/ 266890 h 547687"/>
                  <a:gd name="connsiteX78" fmla="*/ 397573 w 3564922"/>
                  <a:gd name="connsiteY78" fmla="*/ 272891 h 547687"/>
                  <a:gd name="connsiteX79" fmla="*/ 403860 w 3564922"/>
                  <a:gd name="connsiteY79" fmla="*/ 272891 h 547687"/>
                  <a:gd name="connsiteX80" fmla="*/ 403860 w 3564922"/>
                  <a:gd name="connsiteY80" fmla="*/ 285083 h 547687"/>
                  <a:gd name="connsiteX81" fmla="*/ 405955 w 3564922"/>
                  <a:gd name="connsiteY81" fmla="*/ 285083 h 547687"/>
                  <a:gd name="connsiteX82" fmla="*/ 405955 w 3564922"/>
                  <a:gd name="connsiteY82" fmla="*/ 291179 h 547687"/>
                  <a:gd name="connsiteX83" fmla="*/ 418528 w 3564922"/>
                  <a:gd name="connsiteY83" fmla="*/ 291179 h 547687"/>
                  <a:gd name="connsiteX84" fmla="*/ 418528 w 3564922"/>
                  <a:gd name="connsiteY84" fmla="*/ 297180 h 547687"/>
                  <a:gd name="connsiteX85" fmla="*/ 441674 w 3564922"/>
                  <a:gd name="connsiteY85" fmla="*/ 297180 h 547687"/>
                  <a:gd name="connsiteX86" fmla="*/ 441674 w 3564922"/>
                  <a:gd name="connsiteY86" fmla="*/ 303276 h 547687"/>
                  <a:gd name="connsiteX87" fmla="*/ 448056 w 3564922"/>
                  <a:gd name="connsiteY87" fmla="*/ 303276 h 547687"/>
                  <a:gd name="connsiteX88" fmla="*/ 448056 w 3564922"/>
                  <a:gd name="connsiteY88" fmla="*/ 309372 h 547687"/>
                  <a:gd name="connsiteX89" fmla="*/ 456438 w 3564922"/>
                  <a:gd name="connsiteY89" fmla="*/ 309372 h 547687"/>
                  <a:gd name="connsiteX90" fmla="*/ 456438 w 3564922"/>
                  <a:gd name="connsiteY90" fmla="*/ 315373 h 547687"/>
                  <a:gd name="connsiteX91" fmla="*/ 464820 w 3564922"/>
                  <a:gd name="connsiteY91" fmla="*/ 315373 h 547687"/>
                  <a:gd name="connsiteX92" fmla="*/ 464820 w 3564922"/>
                  <a:gd name="connsiteY92" fmla="*/ 321469 h 547687"/>
                  <a:gd name="connsiteX93" fmla="*/ 469011 w 3564922"/>
                  <a:gd name="connsiteY93" fmla="*/ 321469 h 547687"/>
                  <a:gd name="connsiteX94" fmla="*/ 469011 w 3564922"/>
                  <a:gd name="connsiteY94" fmla="*/ 327565 h 547687"/>
                  <a:gd name="connsiteX95" fmla="*/ 542639 w 3564922"/>
                  <a:gd name="connsiteY95" fmla="*/ 327565 h 547687"/>
                  <a:gd name="connsiteX96" fmla="*/ 542639 w 3564922"/>
                  <a:gd name="connsiteY96" fmla="*/ 333565 h 547687"/>
                  <a:gd name="connsiteX97" fmla="*/ 563689 w 3564922"/>
                  <a:gd name="connsiteY97" fmla="*/ 333565 h 547687"/>
                  <a:gd name="connsiteX98" fmla="*/ 563689 w 3564922"/>
                  <a:gd name="connsiteY98" fmla="*/ 339661 h 547687"/>
                  <a:gd name="connsiteX99" fmla="*/ 569976 w 3564922"/>
                  <a:gd name="connsiteY99" fmla="*/ 339661 h 547687"/>
                  <a:gd name="connsiteX100" fmla="*/ 569976 w 3564922"/>
                  <a:gd name="connsiteY100" fmla="*/ 345757 h 547687"/>
                  <a:gd name="connsiteX101" fmla="*/ 612076 w 3564922"/>
                  <a:gd name="connsiteY101" fmla="*/ 345757 h 547687"/>
                  <a:gd name="connsiteX102" fmla="*/ 612076 w 3564922"/>
                  <a:gd name="connsiteY102" fmla="*/ 351758 h 547687"/>
                  <a:gd name="connsiteX103" fmla="*/ 626745 w 3564922"/>
                  <a:gd name="connsiteY103" fmla="*/ 351758 h 547687"/>
                  <a:gd name="connsiteX104" fmla="*/ 626745 w 3564922"/>
                  <a:gd name="connsiteY104" fmla="*/ 357854 h 547687"/>
                  <a:gd name="connsiteX105" fmla="*/ 656272 w 3564922"/>
                  <a:gd name="connsiteY105" fmla="*/ 357854 h 547687"/>
                  <a:gd name="connsiteX106" fmla="*/ 656272 w 3564922"/>
                  <a:gd name="connsiteY106" fmla="*/ 363950 h 547687"/>
                  <a:gd name="connsiteX107" fmla="*/ 658368 w 3564922"/>
                  <a:gd name="connsiteY107" fmla="*/ 363950 h 547687"/>
                  <a:gd name="connsiteX108" fmla="*/ 658368 w 3564922"/>
                  <a:gd name="connsiteY108" fmla="*/ 369951 h 547687"/>
                  <a:gd name="connsiteX109" fmla="*/ 681418 w 3564922"/>
                  <a:gd name="connsiteY109" fmla="*/ 369951 h 547687"/>
                  <a:gd name="connsiteX110" fmla="*/ 681418 w 3564922"/>
                  <a:gd name="connsiteY110" fmla="*/ 376047 h 547687"/>
                  <a:gd name="connsiteX111" fmla="*/ 694087 w 3564922"/>
                  <a:gd name="connsiteY111" fmla="*/ 376047 h 547687"/>
                  <a:gd name="connsiteX112" fmla="*/ 694087 w 3564922"/>
                  <a:gd name="connsiteY112" fmla="*/ 382143 h 547687"/>
                  <a:gd name="connsiteX113" fmla="*/ 729805 w 3564922"/>
                  <a:gd name="connsiteY113" fmla="*/ 382143 h 547687"/>
                  <a:gd name="connsiteX114" fmla="*/ 729805 w 3564922"/>
                  <a:gd name="connsiteY114" fmla="*/ 388239 h 547687"/>
                  <a:gd name="connsiteX115" fmla="*/ 845534 w 3564922"/>
                  <a:gd name="connsiteY115" fmla="*/ 388239 h 547687"/>
                  <a:gd name="connsiteX116" fmla="*/ 845534 w 3564922"/>
                  <a:gd name="connsiteY116" fmla="*/ 394240 h 547687"/>
                  <a:gd name="connsiteX117" fmla="*/ 883348 w 3564922"/>
                  <a:gd name="connsiteY117" fmla="*/ 394240 h 547687"/>
                  <a:gd name="connsiteX118" fmla="*/ 883348 w 3564922"/>
                  <a:gd name="connsiteY118" fmla="*/ 400431 h 547687"/>
                  <a:gd name="connsiteX119" fmla="*/ 935926 w 3564922"/>
                  <a:gd name="connsiteY119" fmla="*/ 400431 h 547687"/>
                  <a:gd name="connsiteX120" fmla="*/ 935926 w 3564922"/>
                  <a:gd name="connsiteY120" fmla="*/ 406527 h 547687"/>
                  <a:gd name="connsiteX121" fmla="*/ 954881 w 3564922"/>
                  <a:gd name="connsiteY121" fmla="*/ 406527 h 547687"/>
                  <a:gd name="connsiteX122" fmla="*/ 954881 w 3564922"/>
                  <a:gd name="connsiteY122" fmla="*/ 412623 h 547687"/>
                  <a:gd name="connsiteX123" fmla="*/ 965359 w 3564922"/>
                  <a:gd name="connsiteY123" fmla="*/ 412623 h 547687"/>
                  <a:gd name="connsiteX124" fmla="*/ 965359 w 3564922"/>
                  <a:gd name="connsiteY124" fmla="*/ 418814 h 547687"/>
                  <a:gd name="connsiteX125" fmla="*/ 999077 w 3564922"/>
                  <a:gd name="connsiteY125" fmla="*/ 418814 h 547687"/>
                  <a:gd name="connsiteX126" fmla="*/ 999077 w 3564922"/>
                  <a:gd name="connsiteY126" fmla="*/ 424910 h 547687"/>
                  <a:gd name="connsiteX127" fmla="*/ 1005364 w 3564922"/>
                  <a:gd name="connsiteY127" fmla="*/ 424910 h 547687"/>
                  <a:gd name="connsiteX128" fmla="*/ 1005364 w 3564922"/>
                  <a:gd name="connsiteY128" fmla="*/ 431006 h 547687"/>
                  <a:gd name="connsiteX129" fmla="*/ 1020032 w 3564922"/>
                  <a:gd name="connsiteY129" fmla="*/ 431006 h 547687"/>
                  <a:gd name="connsiteX130" fmla="*/ 1020032 w 3564922"/>
                  <a:gd name="connsiteY130" fmla="*/ 437102 h 547687"/>
                  <a:gd name="connsiteX131" fmla="*/ 1032700 w 3564922"/>
                  <a:gd name="connsiteY131" fmla="*/ 437102 h 547687"/>
                  <a:gd name="connsiteX132" fmla="*/ 1032700 w 3564922"/>
                  <a:gd name="connsiteY132" fmla="*/ 443293 h 547687"/>
                  <a:gd name="connsiteX133" fmla="*/ 1057942 w 3564922"/>
                  <a:gd name="connsiteY133" fmla="*/ 443293 h 547687"/>
                  <a:gd name="connsiteX134" fmla="*/ 1057942 w 3564922"/>
                  <a:gd name="connsiteY134" fmla="*/ 449389 h 547687"/>
                  <a:gd name="connsiteX135" fmla="*/ 1287208 w 3564922"/>
                  <a:gd name="connsiteY135" fmla="*/ 449389 h 547687"/>
                  <a:gd name="connsiteX136" fmla="*/ 1287208 w 3564922"/>
                  <a:gd name="connsiteY136" fmla="*/ 455581 h 547687"/>
                  <a:gd name="connsiteX137" fmla="*/ 1400746 w 3564922"/>
                  <a:gd name="connsiteY137" fmla="*/ 455581 h 547687"/>
                  <a:gd name="connsiteX138" fmla="*/ 1400746 w 3564922"/>
                  <a:gd name="connsiteY138" fmla="*/ 461772 h 547687"/>
                  <a:gd name="connsiteX139" fmla="*/ 1669923 w 3564922"/>
                  <a:gd name="connsiteY139" fmla="*/ 461772 h 547687"/>
                  <a:gd name="connsiteX140" fmla="*/ 1669923 w 3564922"/>
                  <a:gd name="connsiteY140" fmla="*/ 468058 h 547687"/>
                  <a:gd name="connsiteX141" fmla="*/ 1743551 w 3564922"/>
                  <a:gd name="connsiteY141" fmla="*/ 468058 h 547687"/>
                  <a:gd name="connsiteX142" fmla="*/ 1743551 w 3564922"/>
                  <a:gd name="connsiteY142" fmla="*/ 474345 h 547687"/>
                  <a:gd name="connsiteX143" fmla="*/ 1823466 w 3564922"/>
                  <a:gd name="connsiteY143" fmla="*/ 474345 h 547687"/>
                  <a:gd name="connsiteX144" fmla="*/ 1823466 w 3564922"/>
                  <a:gd name="connsiteY144" fmla="*/ 480631 h 547687"/>
                  <a:gd name="connsiteX145" fmla="*/ 1985391 w 3564922"/>
                  <a:gd name="connsiteY145" fmla="*/ 480631 h 547687"/>
                  <a:gd name="connsiteX146" fmla="*/ 1985391 w 3564922"/>
                  <a:gd name="connsiteY146" fmla="*/ 487108 h 547687"/>
                  <a:gd name="connsiteX147" fmla="*/ 2002250 w 3564922"/>
                  <a:gd name="connsiteY147" fmla="*/ 487108 h 547687"/>
                  <a:gd name="connsiteX148" fmla="*/ 2002250 w 3564922"/>
                  <a:gd name="connsiteY148" fmla="*/ 493490 h 547687"/>
                  <a:gd name="connsiteX149" fmla="*/ 2120074 w 3564922"/>
                  <a:gd name="connsiteY149" fmla="*/ 493490 h 547687"/>
                  <a:gd name="connsiteX150" fmla="*/ 2120074 w 3564922"/>
                  <a:gd name="connsiteY150" fmla="*/ 499967 h 547687"/>
                  <a:gd name="connsiteX151" fmla="*/ 2212562 w 3564922"/>
                  <a:gd name="connsiteY151" fmla="*/ 499967 h 547687"/>
                  <a:gd name="connsiteX152" fmla="*/ 2212562 w 3564922"/>
                  <a:gd name="connsiteY152" fmla="*/ 506349 h 547687"/>
                  <a:gd name="connsiteX153" fmla="*/ 2231517 w 3564922"/>
                  <a:gd name="connsiteY153" fmla="*/ 506349 h 547687"/>
                  <a:gd name="connsiteX154" fmla="*/ 2231517 w 3564922"/>
                  <a:gd name="connsiteY154" fmla="*/ 512826 h 547687"/>
                  <a:gd name="connsiteX155" fmla="*/ 3085338 w 3564922"/>
                  <a:gd name="connsiteY155" fmla="*/ 512826 h 547687"/>
                  <a:gd name="connsiteX156" fmla="*/ 3085338 w 3564922"/>
                  <a:gd name="connsiteY156" fmla="*/ 547687 h 547687"/>
                  <a:gd name="connsiteX157" fmla="*/ 3564922 w 3564922"/>
                  <a:gd name="connsiteY157" fmla="*/ 547687 h 547687"/>
                  <a:gd name="connsiteX0" fmla="*/ 0 w 3562827"/>
                  <a:gd name="connsiteY0" fmla="*/ 0 h 541686"/>
                  <a:gd name="connsiteX1" fmla="*/ 2191 w 3562827"/>
                  <a:gd name="connsiteY1" fmla="*/ 6096 h 541686"/>
                  <a:gd name="connsiteX2" fmla="*/ 12668 w 3562827"/>
                  <a:gd name="connsiteY2" fmla="*/ 6096 h 541686"/>
                  <a:gd name="connsiteX3" fmla="*/ 12668 w 3562827"/>
                  <a:gd name="connsiteY3" fmla="*/ 12192 h 541686"/>
                  <a:gd name="connsiteX4" fmla="*/ 18955 w 3562827"/>
                  <a:gd name="connsiteY4" fmla="*/ 12192 h 541686"/>
                  <a:gd name="connsiteX5" fmla="*/ 18955 w 3562827"/>
                  <a:gd name="connsiteY5" fmla="*/ 18192 h 541686"/>
                  <a:gd name="connsiteX6" fmla="*/ 33719 w 3562827"/>
                  <a:gd name="connsiteY6" fmla="*/ 18192 h 541686"/>
                  <a:gd name="connsiteX7" fmla="*/ 33719 w 3562827"/>
                  <a:gd name="connsiteY7" fmla="*/ 24288 h 541686"/>
                  <a:gd name="connsiteX8" fmla="*/ 42101 w 3562827"/>
                  <a:gd name="connsiteY8" fmla="*/ 24288 h 541686"/>
                  <a:gd name="connsiteX9" fmla="*/ 42101 w 3562827"/>
                  <a:gd name="connsiteY9" fmla="*/ 30384 h 541686"/>
                  <a:gd name="connsiteX10" fmla="*/ 52674 w 3562827"/>
                  <a:gd name="connsiteY10" fmla="*/ 30384 h 541686"/>
                  <a:gd name="connsiteX11" fmla="*/ 52674 w 3562827"/>
                  <a:gd name="connsiteY11" fmla="*/ 36385 h 541686"/>
                  <a:gd name="connsiteX12" fmla="*/ 65247 w 3562827"/>
                  <a:gd name="connsiteY12" fmla="*/ 36385 h 541686"/>
                  <a:gd name="connsiteX13" fmla="*/ 65247 w 3562827"/>
                  <a:gd name="connsiteY13" fmla="*/ 42481 h 541686"/>
                  <a:gd name="connsiteX14" fmla="*/ 71533 w 3562827"/>
                  <a:gd name="connsiteY14" fmla="*/ 42481 h 541686"/>
                  <a:gd name="connsiteX15" fmla="*/ 71533 w 3562827"/>
                  <a:gd name="connsiteY15" fmla="*/ 54578 h 541686"/>
                  <a:gd name="connsiteX16" fmla="*/ 75724 w 3562827"/>
                  <a:gd name="connsiteY16" fmla="*/ 54578 h 541686"/>
                  <a:gd name="connsiteX17" fmla="*/ 75724 w 3562827"/>
                  <a:gd name="connsiteY17" fmla="*/ 60674 h 541686"/>
                  <a:gd name="connsiteX18" fmla="*/ 88392 w 3562827"/>
                  <a:gd name="connsiteY18" fmla="*/ 60674 h 541686"/>
                  <a:gd name="connsiteX19" fmla="*/ 88392 w 3562827"/>
                  <a:gd name="connsiteY19" fmla="*/ 66770 h 541686"/>
                  <a:gd name="connsiteX20" fmla="*/ 103061 w 3562827"/>
                  <a:gd name="connsiteY20" fmla="*/ 66770 h 541686"/>
                  <a:gd name="connsiteX21" fmla="*/ 103061 w 3562827"/>
                  <a:gd name="connsiteY21" fmla="*/ 72771 h 541686"/>
                  <a:gd name="connsiteX22" fmla="*/ 107347 w 3562827"/>
                  <a:gd name="connsiteY22" fmla="*/ 72771 h 541686"/>
                  <a:gd name="connsiteX23" fmla="*/ 107347 w 3562827"/>
                  <a:gd name="connsiteY23" fmla="*/ 78867 h 541686"/>
                  <a:gd name="connsiteX24" fmla="*/ 117824 w 3562827"/>
                  <a:gd name="connsiteY24" fmla="*/ 78867 h 541686"/>
                  <a:gd name="connsiteX25" fmla="*/ 117824 w 3562827"/>
                  <a:gd name="connsiteY25" fmla="*/ 84963 h 541686"/>
                  <a:gd name="connsiteX26" fmla="*/ 126207 w 3562827"/>
                  <a:gd name="connsiteY26" fmla="*/ 84963 h 541686"/>
                  <a:gd name="connsiteX27" fmla="*/ 126207 w 3562827"/>
                  <a:gd name="connsiteY27" fmla="*/ 91059 h 541686"/>
                  <a:gd name="connsiteX28" fmla="*/ 140970 w 3562827"/>
                  <a:gd name="connsiteY28" fmla="*/ 91059 h 541686"/>
                  <a:gd name="connsiteX29" fmla="*/ 140970 w 3562827"/>
                  <a:gd name="connsiteY29" fmla="*/ 97059 h 541686"/>
                  <a:gd name="connsiteX30" fmla="*/ 145161 w 3562827"/>
                  <a:gd name="connsiteY30" fmla="*/ 97059 h 541686"/>
                  <a:gd name="connsiteX31" fmla="*/ 145161 w 3562827"/>
                  <a:gd name="connsiteY31" fmla="*/ 103155 h 541686"/>
                  <a:gd name="connsiteX32" fmla="*/ 149352 w 3562827"/>
                  <a:gd name="connsiteY32" fmla="*/ 103155 h 541686"/>
                  <a:gd name="connsiteX33" fmla="*/ 149352 w 3562827"/>
                  <a:gd name="connsiteY33" fmla="*/ 109251 h 541686"/>
                  <a:gd name="connsiteX34" fmla="*/ 162021 w 3562827"/>
                  <a:gd name="connsiteY34" fmla="*/ 109251 h 541686"/>
                  <a:gd name="connsiteX35" fmla="*/ 162021 w 3562827"/>
                  <a:gd name="connsiteY35" fmla="*/ 115252 h 541686"/>
                  <a:gd name="connsiteX36" fmla="*/ 191453 w 3562827"/>
                  <a:gd name="connsiteY36" fmla="*/ 115252 h 541686"/>
                  <a:gd name="connsiteX37" fmla="*/ 191453 w 3562827"/>
                  <a:gd name="connsiteY37" fmla="*/ 121348 h 541686"/>
                  <a:gd name="connsiteX38" fmla="*/ 199835 w 3562827"/>
                  <a:gd name="connsiteY38" fmla="*/ 121348 h 541686"/>
                  <a:gd name="connsiteX39" fmla="*/ 199835 w 3562827"/>
                  <a:gd name="connsiteY39" fmla="*/ 127444 h 541686"/>
                  <a:gd name="connsiteX40" fmla="*/ 201930 w 3562827"/>
                  <a:gd name="connsiteY40" fmla="*/ 127444 h 541686"/>
                  <a:gd name="connsiteX41" fmla="*/ 201930 w 3562827"/>
                  <a:gd name="connsiteY41" fmla="*/ 133445 h 541686"/>
                  <a:gd name="connsiteX42" fmla="*/ 216694 w 3562827"/>
                  <a:gd name="connsiteY42" fmla="*/ 133445 h 541686"/>
                  <a:gd name="connsiteX43" fmla="*/ 216694 w 3562827"/>
                  <a:gd name="connsiteY43" fmla="*/ 145637 h 541686"/>
                  <a:gd name="connsiteX44" fmla="*/ 218790 w 3562827"/>
                  <a:gd name="connsiteY44" fmla="*/ 145637 h 541686"/>
                  <a:gd name="connsiteX45" fmla="*/ 218790 w 3562827"/>
                  <a:gd name="connsiteY45" fmla="*/ 151638 h 541686"/>
                  <a:gd name="connsiteX46" fmla="*/ 225076 w 3562827"/>
                  <a:gd name="connsiteY46" fmla="*/ 151638 h 541686"/>
                  <a:gd name="connsiteX47" fmla="*/ 225076 w 3562827"/>
                  <a:gd name="connsiteY47" fmla="*/ 157734 h 541686"/>
                  <a:gd name="connsiteX48" fmla="*/ 229267 w 3562827"/>
                  <a:gd name="connsiteY48" fmla="*/ 157734 h 541686"/>
                  <a:gd name="connsiteX49" fmla="*/ 229267 w 3562827"/>
                  <a:gd name="connsiteY49" fmla="*/ 163830 h 541686"/>
                  <a:gd name="connsiteX50" fmla="*/ 246126 w 3562827"/>
                  <a:gd name="connsiteY50" fmla="*/ 163830 h 541686"/>
                  <a:gd name="connsiteX51" fmla="*/ 246126 w 3562827"/>
                  <a:gd name="connsiteY51" fmla="*/ 175926 h 541686"/>
                  <a:gd name="connsiteX52" fmla="*/ 250317 w 3562827"/>
                  <a:gd name="connsiteY52" fmla="*/ 175926 h 541686"/>
                  <a:gd name="connsiteX53" fmla="*/ 250317 w 3562827"/>
                  <a:gd name="connsiteY53" fmla="*/ 182022 h 541686"/>
                  <a:gd name="connsiteX54" fmla="*/ 273463 w 3562827"/>
                  <a:gd name="connsiteY54" fmla="*/ 182022 h 541686"/>
                  <a:gd name="connsiteX55" fmla="*/ 273463 w 3562827"/>
                  <a:gd name="connsiteY55" fmla="*/ 188118 h 541686"/>
                  <a:gd name="connsiteX56" fmla="*/ 277654 w 3562827"/>
                  <a:gd name="connsiteY56" fmla="*/ 188118 h 541686"/>
                  <a:gd name="connsiteX57" fmla="*/ 277654 w 3562827"/>
                  <a:gd name="connsiteY57" fmla="*/ 194119 h 541686"/>
                  <a:gd name="connsiteX58" fmla="*/ 283941 w 3562827"/>
                  <a:gd name="connsiteY58" fmla="*/ 194119 h 541686"/>
                  <a:gd name="connsiteX59" fmla="*/ 283941 w 3562827"/>
                  <a:gd name="connsiteY59" fmla="*/ 206311 h 541686"/>
                  <a:gd name="connsiteX60" fmla="*/ 302895 w 3562827"/>
                  <a:gd name="connsiteY60" fmla="*/ 206311 h 541686"/>
                  <a:gd name="connsiteX61" fmla="*/ 302895 w 3562827"/>
                  <a:gd name="connsiteY61" fmla="*/ 212312 h 541686"/>
                  <a:gd name="connsiteX62" fmla="*/ 311277 w 3562827"/>
                  <a:gd name="connsiteY62" fmla="*/ 212312 h 541686"/>
                  <a:gd name="connsiteX63" fmla="*/ 311277 w 3562827"/>
                  <a:gd name="connsiteY63" fmla="*/ 218408 h 541686"/>
                  <a:gd name="connsiteX64" fmla="*/ 323946 w 3562827"/>
                  <a:gd name="connsiteY64" fmla="*/ 218408 h 541686"/>
                  <a:gd name="connsiteX65" fmla="*/ 323946 w 3562827"/>
                  <a:gd name="connsiteY65" fmla="*/ 224504 h 541686"/>
                  <a:gd name="connsiteX66" fmla="*/ 340805 w 3562827"/>
                  <a:gd name="connsiteY66" fmla="*/ 224504 h 541686"/>
                  <a:gd name="connsiteX67" fmla="*/ 340805 w 3562827"/>
                  <a:gd name="connsiteY67" fmla="*/ 230505 h 541686"/>
                  <a:gd name="connsiteX68" fmla="*/ 368142 w 3562827"/>
                  <a:gd name="connsiteY68" fmla="*/ 230505 h 541686"/>
                  <a:gd name="connsiteX69" fmla="*/ 368142 w 3562827"/>
                  <a:gd name="connsiteY69" fmla="*/ 236601 h 541686"/>
                  <a:gd name="connsiteX70" fmla="*/ 370237 w 3562827"/>
                  <a:gd name="connsiteY70" fmla="*/ 236601 h 541686"/>
                  <a:gd name="connsiteX71" fmla="*/ 370237 w 3562827"/>
                  <a:gd name="connsiteY71" fmla="*/ 242697 h 541686"/>
                  <a:gd name="connsiteX72" fmla="*/ 380714 w 3562827"/>
                  <a:gd name="connsiteY72" fmla="*/ 242697 h 541686"/>
                  <a:gd name="connsiteX73" fmla="*/ 380714 w 3562827"/>
                  <a:gd name="connsiteY73" fmla="*/ 248697 h 541686"/>
                  <a:gd name="connsiteX74" fmla="*/ 387001 w 3562827"/>
                  <a:gd name="connsiteY74" fmla="*/ 248697 h 541686"/>
                  <a:gd name="connsiteX75" fmla="*/ 387001 w 3562827"/>
                  <a:gd name="connsiteY75" fmla="*/ 260889 h 541686"/>
                  <a:gd name="connsiteX76" fmla="*/ 395478 w 3562827"/>
                  <a:gd name="connsiteY76" fmla="*/ 260889 h 541686"/>
                  <a:gd name="connsiteX77" fmla="*/ 395478 w 3562827"/>
                  <a:gd name="connsiteY77" fmla="*/ 266890 h 541686"/>
                  <a:gd name="connsiteX78" fmla="*/ 401765 w 3562827"/>
                  <a:gd name="connsiteY78" fmla="*/ 266890 h 541686"/>
                  <a:gd name="connsiteX79" fmla="*/ 401765 w 3562827"/>
                  <a:gd name="connsiteY79" fmla="*/ 279082 h 541686"/>
                  <a:gd name="connsiteX80" fmla="*/ 403860 w 3562827"/>
                  <a:gd name="connsiteY80" fmla="*/ 279082 h 541686"/>
                  <a:gd name="connsiteX81" fmla="*/ 403860 w 3562827"/>
                  <a:gd name="connsiteY81" fmla="*/ 285178 h 541686"/>
                  <a:gd name="connsiteX82" fmla="*/ 416433 w 3562827"/>
                  <a:gd name="connsiteY82" fmla="*/ 285178 h 541686"/>
                  <a:gd name="connsiteX83" fmla="*/ 416433 w 3562827"/>
                  <a:gd name="connsiteY83" fmla="*/ 291179 h 541686"/>
                  <a:gd name="connsiteX84" fmla="*/ 439579 w 3562827"/>
                  <a:gd name="connsiteY84" fmla="*/ 291179 h 541686"/>
                  <a:gd name="connsiteX85" fmla="*/ 439579 w 3562827"/>
                  <a:gd name="connsiteY85" fmla="*/ 297275 h 541686"/>
                  <a:gd name="connsiteX86" fmla="*/ 445961 w 3562827"/>
                  <a:gd name="connsiteY86" fmla="*/ 297275 h 541686"/>
                  <a:gd name="connsiteX87" fmla="*/ 445961 w 3562827"/>
                  <a:gd name="connsiteY87" fmla="*/ 303371 h 541686"/>
                  <a:gd name="connsiteX88" fmla="*/ 454343 w 3562827"/>
                  <a:gd name="connsiteY88" fmla="*/ 303371 h 541686"/>
                  <a:gd name="connsiteX89" fmla="*/ 454343 w 3562827"/>
                  <a:gd name="connsiteY89" fmla="*/ 309372 h 541686"/>
                  <a:gd name="connsiteX90" fmla="*/ 462725 w 3562827"/>
                  <a:gd name="connsiteY90" fmla="*/ 309372 h 541686"/>
                  <a:gd name="connsiteX91" fmla="*/ 462725 w 3562827"/>
                  <a:gd name="connsiteY91" fmla="*/ 315468 h 541686"/>
                  <a:gd name="connsiteX92" fmla="*/ 466916 w 3562827"/>
                  <a:gd name="connsiteY92" fmla="*/ 315468 h 541686"/>
                  <a:gd name="connsiteX93" fmla="*/ 466916 w 3562827"/>
                  <a:gd name="connsiteY93" fmla="*/ 321564 h 541686"/>
                  <a:gd name="connsiteX94" fmla="*/ 540544 w 3562827"/>
                  <a:gd name="connsiteY94" fmla="*/ 321564 h 541686"/>
                  <a:gd name="connsiteX95" fmla="*/ 540544 w 3562827"/>
                  <a:gd name="connsiteY95" fmla="*/ 327564 h 541686"/>
                  <a:gd name="connsiteX96" fmla="*/ 561594 w 3562827"/>
                  <a:gd name="connsiteY96" fmla="*/ 327564 h 541686"/>
                  <a:gd name="connsiteX97" fmla="*/ 561594 w 3562827"/>
                  <a:gd name="connsiteY97" fmla="*/ 333660 h 541686"/>
                  <a:gd name="connsiteX98" fmla="*/ 567881 w 3562827"/>
                  <a:gd name="connsiteY98" fmla="*/ 333660 h 541686"/>
                  <a:gd name="connsiteX99" fmla="*/ 567881 w 3562827"/>
                  <a:gd name="connsiteY99" fmla="*/ 339756 h 541686"/>
                  <a:gd name="connsiteX100" fmla="*/ 609981 w 3562827"/>
                  <a:gd name="connsiteY100" fmla="*/ 339756 h 541686"/>
                  <a:gd name="connsiteX101" fmla="*/ 609981 w 3562827"/>
                  <a:gd name="connsiteY101" fmla="*/ 345757 h 541686"/>
                  <a:gd name="connsiteX102" fmla="*/ 624650 w 3562827"/>
                  <a:gd name="connsiteY102" fmla="*/ 345757 h 541686"/>
                  <a:gd name="connsiteX103" fmla="*/ 624650 w 3562827"/>
                  <a:gd name="connsiteY103" fmla="*/ 351853 h 541686"/>
                  <a:gd name="connsiteX104" fmla="*/ 654177 w 3562827"/>
                  <a:gd name="connsiteY104" fmla="*/ 351853 h 541686"/>
                  <a:gd name="connsiteX105" fmla="*/ 654177 w 3562827"/>
                  <a:gd name="connsiteY105" fmla="*/ 357949 h 541686"/>
                  <a:gd name="connsiteX106" fmla="*/ 656273 w 3562827"/>
                  <a:gd name="connsiteY106" fmla="*/ 357949 h 541686"/>
                  <a:gd name="connsiteX107" fmla="*/ 656273 w 3562827"/>
                  <a:gd name="connsiteY107" fmla="*/ 363950 h 541686"/>
                  <a:gd name="connsiteX108" fmla="*/ 679323 w 3562827"/>
                  <a:gd name="connsiteY108" fmla="*/ 363950 h 541686"/>
                  <a:gd name="connsiteX109" fmla="*/ 679323 w 3562827"/>
                  <a:gd name="connsiteY109" fmla="*/ 370046 h 541686"/>
                  <a:gd name="connsiteX110" fmla="*/ 691992 w 3562827"/>
                  <a:gd name="connsiteY110" fmla="*/ 370046 h 541686"/>
                  <a:gd name="connsiteX111" fmla="*/ 691992 w 3562827"/>
                  <a:gd name="connsiteY111" fmla="*/ 376142 h 541686"/>
                  <a:gd name="connsiteX112" fmla="*/ 727710 w 3562827"/>
                  <a:gd name="connsiteY112" fmla="*/ 376142 h 541686"/>
                  <a:gd name="connsiteX113" fmla="*/ 727710 w 3562827"/>
                  <a:gd name="connsiteY113" fmla="*/ 382238 h 541686"/>
                  <a:gd name="connsiteX114" fmla="*/ 843439 w 3562827"/>
                  <a:gd name="connsiteY114" fmla="*/ 382238 h 541686"/>
                  <a:gd name="connsiteX115" fmla="*/ 843439 w 3562827"/>
                  <a:gd name="connsiteY115" fmla="*/ 388239 h 541686"/>
                  <a:gd name="connsiteX116" fmla="*/ 881253 w 3562827"/>
                  <a:gd name="connsiteY116" fmla="*/ 388239 h 541686"/>
                  <a:gd name="connsiteX117" fmla="*/ 881253 w 3562827"/>
                  <a:gd name="connsiteY117" fmla="*/ 394430 h 541686"/>
                  <a:gd name="connsiteX118" fmla="*/ 933831 w 3562827"/>
                  <a:gd name="connsiteY118" fmla="*/ 394430 h 541686"/>
                  <a:gd name="connsiteX119" fmla="*/ 933831 w 3562827"/>
                  <a:gd name="connsiteY119" fmla="*/ 400526 h 541686"/>
                  <a:gd name="connsiteX120" fmla="*/ 952786 w 3562827"/>
                  <a:gd name="connsiteY120" fmla="*/ 400526 h 541686"/>
                  <a:gd name="connsiteX121" fmla="*/ 952786 w 3562827"/>
                  <a:gd name="connsiteY121" fmla="*/ 406622 h 541686"/>
                  <a:gd name="connsiteX122" fmla="*/ 963264 w 3562827"/>
                  <a:gd name="connsiteY122" fmla="*/ 406622 h 541686"/>
                  <a:gd name="connsiteX123" fmla="*/ 963264 w 3562827"/>
                  <a:gd name="connsiteY123" fmla="*/ 412813 h 541686"/>
                  <a:gd name="connsiteX124" fmla="*/ 996982 w 3562827"/>
                  <a:gd name="connsiteY124" fmla="*/ 412813 h 541686"/>
                  <a:gd name="connsiteX125" fmla="*/ 996982 w 3562827"/>
                  <a:gd name="connsiteY125" fmla="*/ 418909 h 541686"/>
                  <a:gd name="connsiteX126" fmla="*/ 1003269 w 3562827"/>
                  <a:gd name="connsiteY126" fmla="*/ 418909 h 541686"/>
                  <a:gd name="connsiteX127" fmla="*/ 1003269 w 3562827"/>
                  <a:gd name="connsiteY127" fmla="*/ 425005 h 541686"/>
                  <a:gd name="connsiteX128" fmla="*/ 1017937 w 3562827"/>
                  <a:gd name="connsiteY128" fmla="*/ 425005 h 541686"/>
                  <a:gd name="connsiteX129" fmla="*/ 1017937 w 3562827"/>
                  <a:gd name="connsiteY129" fmla="*/ 431101 h 541686"/>
                  <a:gd name="connsiteX130" fmla="*/ 1030605 w 3562827"/>
                  <a:gd name="connsiteY130" fmla="*/ 431101 h 541686"/>
                  <a:gd name="connsiteX131" fmla="*/ 1030605 w 3562827"/>
                  <a:gd name="connsiteY131" fmla="*/ 437292 h 541686"/>
                  <a:gd name="connsiteX132" fmla="*/ 1055847 w 3562827"/>
                  <a:gd name="connsiteY132" fmla="*/ 437292 h 541686"/>
                  <a:gd name="connsiteX133" fmla="*/ 1055847 w 3562827"/>
                  <a:gd name="connsiteY133" fmla="*/ 443388 h 541686"/>
                  <a:gd name="connsiteX134" fmla="*/ 1285113 w 3562827"/>
                  <a:gd name="connsiteY134" fmla="*/ 443388 h 541686"/>
                  <a:gd name="connsiteX135" fmla="*/ 1285113 w 3562827"/>
                  <a:gd name="connsiteY135" fmla="*/ 449580 h 541686"/>
                  <a:gd name="connsiteX136" fmla="*/ 1398651 w 3562827"/>
                  <a:gd name="connsiteY136" fmla="*/ 449580 h 541686"/>
                  <a:gd name="connsiteX137" fmla="*/ 1398651 w 3562827"/>
                  <a:gd name="connsiteY137" fmla="*/ 455771 h 541686"/>
                  <a:gd name="connsiteX138" fmla="*/ 1667828 w 3562827"/>
                  <a:gd name="connsiteY138" fmla="*/ 455771 h 541686"/>
                  <a:gd name="connsiteX139" fmla="*/ 1667828 w 3562827"/>
                  <a:gd name="connsiteY139" fmla="*/ 462057 h 541686"/>
                  <a:gd name="connsiteX140" fmla="*/ 1741456 w 3562827"/>
                  <a:gd name="connsiteY140" fmla="*/ 462057 h 541686"/>
                  <a:gd name="connsiteX141" fmla="*/ 1741456 w 3562827"/>
                  <a:gd name="connsiteY141" fmla="*/ 468344 h 541686"/>
                  <a:gd name="connsiteX142" fmla="*/ 1821371 w 3562827"/>
                  <a:gd name="connsiteY142" fmla="*/ 468344 h 541686"/>
                  <a:gd name="connsiteX143" fmla="*/ 1821371 w 3562827"/>
                  <a:gd name="connsiteY143" fmla="*/ 474630 h 541686"/>
                  <a:gd name="connsiteX144" fmla="*/ 1983296 w 3562827"/>
                  <a:gd name="connsiteY144" fmla="*/ 474630 h 541686"/>
                  <a:gd name="connsiteX145" fmla="*/ 1983296 w 3562827"/>
                  <a:gd name="connsiteY145" fmla="*/ 481107 h 541686"/>
                  <a:gd name="connsiteX146" fmla="*/ 2000155 w 3562827"/>
                  <a:gd name="connsiteY146" fmla="*/ 481107 h 541686"/>
                  <a:gd name="connsiteX147" fmla="*/ 2000155 w 3562827"/>
                  <a:gd name="connsiteY147" fmla="*/ 487489 h 541686"/>
                  <a:gd name="connsiteX148" fmla="*/ 2117979 w 3562827"/>
                  <a:gd name="connsiteY148" fmla="*/ 487489 h 541686"/>
                  <a:gd name="connsiteX149" fmla="*/ 2117979 w 3562827"/>
                  <a:gd name="connsiteY149" fmla="*/ 493966 h 541686"/>
                  <a:gd name="connsiteX150" fmla="*/ 2210467 w 3562827"/>
                  <a:gd name="connsiteY150" fmla="*/ 493966 h 541686"/>
                  <a:gd name="connsiteX151" fmla="*/ 2210467 w 3562827"/>
                  <a:gd name="connsiteY151" fmla="*/ 500348 h 541686"/>
                  <a:gd name="connsiteX152" fmla="*/ 2229422 w 3562827"/>
                  <a:gd name="connsiteY152" fmla="*/ 500348 h 541686"/>
                  <a:gd name="connsiteX153" fmla="*/ 2229422 w 3562827"/>
                  <a:gd name="connsiteY153" fmla="*/ 506825 h 541686"/>
                  <a:gd name="connsiteX154" fmla="*/ 3083243 w 3562827"/>
                  <a:gd name="connsiteY154" fmla="*/ 506825 h 541686"/>
                  <a:gd name="connsiteX155" fmla="*/ 3083243 w 3562827"/>
                  <a:gd name="connsiteY155" fmla="*/ 541686 h 541686"/>
                  <a:gd name="connsiteX156" fmla="*/ 3562827 w 3562827"/>
                  <a:gd name="connsiteY156" fmla="*/ 541686 h 541686"/>
                  <a:gd name="connsiteX0" fmla="*/ 0 w 3560636"/>
                  <a:gd name="connsiteY0" fmla="*/ 0 h 535590"/>
                  <a:gd name="connsiteX1" fmla="*/ 10477 w 3560636"/>
                  <a:gd name="connsiteY1" fmla="*/ 0 h 535590"/>
                  <a:gd name="connsiteX2" fmla="*/ 10477 w 3560636"/>
                  <a:gd name="connsiteY2" fmla="*/ 6096 h 535590"/>
                  <a:gd name="connsiteX3" fmla="*/ 16764 w 3560636"/>
                  <a:gd name="connsiteY3" fmla="*/ 6096 h 535590"/>
                  <a:gd name="connsiteX4" fmla="*/ 16764 w 3560636"/>
                  <a:gd name="connsiteY4" fmla="*/ 12096 h 535590"/>
                  <a:gd name="connsiteX5" fmla="*/ 31528 w 3560636"/>
                  <a:gd name="connsiteY5" fmla="*/ 12096 h 535590"/>
                  <a:gd name="connsiteX6" fmla="*/ 31528 w 3560636"/>
                  <a:gd name="connsiteY6" fmla="*/ 18192 h 535590"/>
                  <a:gd name="connsiteX7" fmla="*/ 39910 w 3560636"/>
                  <a:gd name="connsiteY7" fmla="*/ 18192 h 535590"/>
                  <a:gd name="connsiteX8" fmla="*/ 39910 w 3560636"/>
                  <a:gd name="connsiteY8" fmla="*/ 24288 h 535590"/>
                  <a:gd name="connsiteX9" fmla="*/ 50483 w 3560636"/>
                  <a:gd name="connsiteY9" fmla="*/ 24288 h 535590"/>
                  <a:gd name="connsiteX10" fmla="*/ 50483 w 3560636"/>
                  <a:gd name="connsiteY10" fmla="*/ 30289 h 535590"/>
                  <a:gd name="connsiteX11" fmla="*/ 63056 w 3560636"/>
                  <a:gd name="connsiteY11" fmla="*/ 30289 h 535590"/>
                  <a:gd name="connsiteX12" fmla="*/ 63056 w 3560636"/>
                  <a:gd name="connsiteY12" fmla="*/ 36385 h 535590"/>
                  <a:gd name="connsiteX13" fmla="*/ 69342 w 3560636"/>
                  <a:gd name="connsiteY13" fmla="*/ 36385 h 535590"/>
                  <a:gd name="connsiteX14" fmla="*/ 69342 w 3560636"/>
                  <a:gd name="connsiteY14" fmla="*/ 48482 h 535590"/>
                  <a:gd name="connsiteX15" fmla="*/ 73533 w 3560636"/>
                  <a:gd name="connsiteY15" fmla="*/ 48482 h 535590"/>
                  <a:gd name="connsiteX16" fmla="*/ 73533 w 3560636"/>
                  <a:gd name="connsiteY16" fmla="*/ 54578 h 535590"/>
                  <a:gd name="connsiteX17" fmla="*/ 86201 w 3560636"/>
                  <a:gd name="connsiteY17" fmla="*/ 54578 h 535590"/>
                  <a:gd name="connsiteX18" fmla="*/ 86201 w 3560636"/>
                  <a:gd name="connsiteY18" fmla="*/ 60674 h 535590"/>
                  <a:gd name="connsiteX19" fmla="*/ 100870 w 3560636"/>
                  <a:gd name="connsiteY19" fmla="*/ 60674 h 535590"/>
                  <a:gd name="connsiteX20" fmla="*/ 100870 w 3560636"/>
                  <a:gd name="connsiteY20" fmla="*/ 66675 h 535590"/>
                  <a:gd name="connsiteX21" fmla="*/ 105156 w 3560636"/>
                  <a:gd name="connsiteY21" fmla="*/ 66675 h 535590"/>
                  <a:gd name="connsiteX22" fmla="*/ 105156 w 3560636"/>
                  <a:gd name="connsiteY22" fmla="*/ 72771 h 535590"/>
                  <a:gd name="connsiteX23" fmla="*/ 115633 w 3560636"/>
                  <a:gd name="connsiteY23" fmla="*/ 72771 h 535590"/>
                  <a:gd name="connsiteX24" fmla="*/ 115633 w 3560636"/>
                  <a:gd name="connsiteY24" fmla="*/ 78867 h 535590"/>
                  <a:gd name="connsiteX25" fmla="*/ 124016 w 3560636"/>
                  <a:gd name="connsiteY25" fmla="*/ 78867 h 535590"/>
                  <a:gd name="connsiteX26" fmla="*/ 124016 w 3560636"/>
                  <a:gd name="connsiteY26" fmla="*/ 84963 h 535590"/>
                  <a:gd name="connsiteX27" fmla="*/ 138779 w 3560636"/>
                  <a:gd name="connsiteY27" fmla="*/ 84963 h 535590"/>
                  <a:gd name="connsiteX28" fmla="*/ 138779 w 3560636"/>
                  <a:gd name="connsiteY28" fmla="*/ 90963 h 535590"/>
                  <a:gd name="connsiteX29" fmla="*/ 142970 w 3560636"/>
                  <a:gd name="connsiteY29" fmla="*/ 90963 h 535590"/>
                  <a:gd name="connsiteX30" fmla="*/ 142970 w 3560636"/>
                  <a:gd name="connsiteY30" fmla="*/ 97059 h 535590"/>
                  <a:gd name="connsiteX31" fmla="*/ 147161 w 3560636"/>
                  <a:gd name="connsiteY31" fmla="*/ 97059 h 535590"/>
                  <a:gd name="connsiteX32" fmla="*/ 147161 w 3560636"/>
                  <a:gd name="connsiteY32" fmla="*/ 103155 h 535590"/>
                  <a:gd name="connsiteX33" fmla="*/ 159830 w 3560636"/>
                  <a:gd name="connsiteY33" fmla="*/ 103155 h 535590"/>
                  <a:gd name="connsiteX34" fmla="*/ 159830 w 3560636"/>
                  <a:gd name="connsiteY34" fmla="*/ 109156 h 535590"/>
                  <a:gd name="connsiteX35" fmla="*/ 189262 w 3560636"/>
                  <a:gd name="connsiteY35" fmla="*/ 109156 h 535590"/>
                  <a:gd name="connsiteX36" fmla="*/ 189262 w 3560636"/>
                  <a:gd name="connsiteY36" fmla="*/ 115252 h 535590"/>
                  <a:gd name="connsiteX37" fmla="*/ 197644 w 3560636"/>
                  <a:gd name="connsiteY37" fmla="*/ 115252 h 535590"/>
                  <a:gd name="connsiteX38" fmla="*/ 197644 w 3560636"/>
                  <a:gd name="connsiteY38" fmla="*/ 121348 h 535590"/>
                  <a:gd name="connsiteX39" fmla="*/ 199739 w 3560636"/>
                  <a:gd name="connsiteY39" fmla="*/ 121348 h 535590"/>
                  <a:gd name="connsiteX40" fmla="*/ 199739 w 3560636"/>
                  <a:gd name="connsiteY40" fmla="*/ 127349 h 535590"/>
                  <a:gd name="connsiteX41" fmla="*/ 214503 w 3560636"/>
                  <a:gd name="connsiteY41" fmla="*/ 127349 h 535590"/>
                  <a:gd name="connsiteX42" fmla="*/ 214503 w 3560636"/>
                  <a:gd name="connsiteY42" fmla="*/ 139541 h 535590"/>
                  <a:gd name="connsiteX43" fmla="*/ 216599 w 3560636"/>
                  <a:gd name="connsiteY43" fmla="*/ 139541 h 535590"/>
                  <a:gd name="connsiteX44" fmla="*/ 216599 w 3560636"/>
                  <a:gd name="connsiteY44" fmla="*/ 145542 h 535590"/>
                  <a:gd name="connsiteX45" fmla="*/ 222885 w 3560636"/>
                  <a:gd name="connsiteY45" fmla="*/ 145542 h 535590"/>
                  <a:gd name="connsiteX46" fmla="*/ 222885 w 3560636"/>
                  <a:gd name="connsiteY46" fmla="*/ 151638 h 535590"/>
                  <a:gd name="connsiteX47" fmla="*/ 227076 w 3560636"/>
                  <a:gd name="connsiteY47" fmla="*/ 151638 h 535590"/>
                  <a:gd name="connsiteX48" fmla="*/ 227076 w 3560636"/>
                  <a:gd name="connsiteY48" fmla="*/ 157734 h 535590"/>
                  <a:gd name="connsiteX49" fmla="*/ 243935 w 3560636"/>
                  <a:gd name="connsiteY49" fmla="*/ 157734 h 535590"/>
                  <a:gd name="connsiteX50" fmla="*/ 243935 w 3560636"/>
                  <a:gd name="connsiteY50" fmla="*/ 169830 h 535590"/>
                  <a:gd name="connsiteX51" fmla="*/ 248126 w 3560636"/>
                  <a:gd name="connsiteY51" fmla="*/ 169830 h 535590"/>
                  <a:gd name="connsiteX52" fmla="*/ 248126 w 3560636"/>
                  <a:gd name="connsiteY52" fmla="*/ 175926 h 535590"/>
                  <a:gd name="connsiteX53" fmla="*/ 271272 w 3560636"/>
                  <a:gd name="connsiteY53" fmla="*/ 175926 h 535590"/>
                  <a:gd name="connsiteX54" fmla="*/ 271272 w 3560636"/>
                  <a:gd name="connsiteY54" fmla="*/ 182022 h 535590"/>
                  <a:gd name="connsiteX55" fmla="*/ 275463 w 3560636"/>
                  <a:gd name="connsiteY55" fmla="*/ 182022 h 535590"/>
                  <a:gd name="connsiteX56" fmla="*/ 275463 w 3560636"/>
                  <a:gd name="connsiteY56" fmla="*/ 188023 h 535590"/>
                  <a:gd name="connsiteX57" fmla="*/ 281750 w 3560636"/>
                  <a:gd name="connsiteY57" fmla="*/ 188023 h 535590"/>
                  <a:gd name="connsiteX58" fmla="*/ 281750 w 3560636"/>
                  <a:gd name="connsiteY58" fmla="*/ 200215 h 535590"/>
                  <a:gd name="connsiteX59" fmla="*/ 300704 w 3560636"/>
                  <a:gd name="connsiteY59" fmla="*/ 200215 h 535590"/>
                  <a:gd name="connsiteX60" fmla="*/ 300704 w 3560636"/>
                  <a:gd name="connsiteY60" fmla="*/ 206216 h 535590"/>
                  <a:gd name="connsiteX61" fmla="*/ 309086 w 3560636"/>
                  <a:gd name="connsiteY61" fmla="*/ 206216 h 535590"/>
                  <a:gd name="connsiteX62" fmla="*/ 309086 w 3560636"/>
                  <a:gd name="connsiteY62" fmla="*/ 212312 h 535590"/>
                  <a:gd name="connsiteX63" fmla="*/ 321755 w 3560636"/>
                  <a:gd name="connsiteY63" fmla="*/ 212312 h 535590"/>
                  <a:gd name="connsiteX64" fmla="*/ 321755 w 3560636"/>
                  <a:gd name="connsiteY64" fmla="*/ 218408 h 535590"/>
                  <a:gd name="connsiteX65" fmla="*/ 338614 w 3560636"/>
                  <a:gd name="connsiteY65" fmla="*/ 218408 h 535590"/>
                  <a:gd name="connsiteX66" fmla="*/ 338614 w 3560636"/>
                  <a:gd name="connsiteY66" fmla="*/ 224409 h 535590"/>
                  <a:gd name="connsiteX67" fmla="*/ 365951 w 3560636"/>
                  <a:gd name="connsiteY67" fmla="*/ 224409 h 535590"/>
                  <a:gd name="connsiteX68" fmla="*/ 365951 w 3560636"/>
                  <a:gd name="connsiteY68" fmla="*/ 230505 h 535590"/>
                  <a:gd name="connsiteX69" fmla="*/ 368046 w 3560636"/>
                  <a:gd name="connsiteY69" fmla="*/ 230505 h 535590"/>
                  <a:gd name="connsiteX70" fmla="*/ 368046 w 3560636"/>
                  <a:gd name="connsiteY70" fmla="*/ 236601 h 535590"/>
                  <a:gd name="connsiteX71" fmla="*/ 378523 w 3560636"/>
                  <a:gd name="connsiteY71" fmla="*/ 236601 h 535590"/>
                  <a:gd name="connsiteX72" fmla="*/ 378523 w 3560636"/>
                  <a:gd name="connsiteY72" fmla="*/ 242601 h 535590"/>
                  <a:gd name="connsiteX73" fmla="*/ 384810 w 3560636"/>
                  <a:gd name="connsiteY73" fmla="*/ 242601 h 535590"/>
                  <a:gd name="connsiteX74" fmla="*/ 384810 w 3560636"/>
                  <a:gd name="connsiteY74" fmla="*/ 254793 h 535590"/>
                  <a:gd name="connsiteX75" fmla="*/ 393287 w 3560636"/>
                  <a:gd name="connsiteY75" fmla="*/ 254793 h 535590"/>
                  <a:gd name="connsiteX76" fmla="*/ 393287 w 3560636"/>
                  <a:gd name="connsiteY76" fmla="*/ 260794 h 535590"/>
                  <a:gd name="connsiteX77" fmla="*/ 399574 w 3560636"/>
                  <a:gd name="connsiteY77" fmla="*/ 260794 h 535590"/>
                  <a:gd name="connsiteX78" fmla="*/ 399574 w 3560636"/>
                  <a:gd name="connsiteY78" fmla="*/ 272986 h 535590"/>
                  <a:gd name="connsiteX79" fmla="*/ 401669 w 3560636"/>
                  <a:gd name="connsiteY79" fmla="*/ 272986 h 535590"/>
                  <a:gd name="connsiteX80" fmla="*/ 401669 w 3560636"/>
                  <a:gd name="connsiteY80" fmla="*/ 279082 h 535590"/>
                  <a:gd name="connsiteX81" fmla="*/ 414242 w 3560636"/>
                  <a:gd name="connsiteY81" fmla="*/ 279082 h 535590"/>
                  <a:gd name="connsiteX82" fmla="*/ 414242 w 3560636"/>
                  <a:gd name="connsiteY82" fmla="*/ 285083 h 535590"/>
                  <a:gd name="connsiteX83" fmla="*/ 437388 w 3560636"/>
                  <a:gd name="connsiteY83" fmla="*/ 285083 h 535590"/>
                  <a:gd name="connsiteX84" fmla="*/ 437388 w 3560636"/>
                  <a:gd name="connsiteY84" fmla="*/ 291179 h 535590"/>
                  <a:gd name="connsiteX85" fmla="*/ 443770 w 3560636"/>
                  <a:gd name="connsiteY85" fmla="*/ 291179 h 535590"/>
                  <a:gd name="connsiteX86" fmla="*/ 443770 w 3560636"/>
                  <a:gd name="connsiteY86" fmla="*/ 297275 h 535590"/>
                  <a:gd name="connsiteX87" fmla="*/ 452152 w 3560636"/>
                  <a:gd name="connsiteY87" fmla="*/ 297275 h 535590"/>
                  <a:gd name="connsiteX88" fmla="*/ 452152 w 3560636"/>
                  <a:gd name="connsiteY88" fmla="*/ 303276 h 535590"/>
                  <a:gd name="connsiteX89" fmla="*/ 460534 w 3560636"/>
                  <a:gd name="connsiteY89" fmla="*/ 303276 h 535590"/>
                  <a:gd name="connsiteX90" fmla="*/ 460534 w 3560636"/>
                  <a:gd name="connsiteY90" fmla="*/ 309372 h 535590"/>
                  <a:gd name="connsiteX91" fmla="*/ 464725 w 3560636"/>
                  <a:gd name="connsiteY91" fmla="*/ 309372 h 535590"/>
                  <a:gd name="connsiteX92" fmla="*/ 464725 w 3560636"/>
                  <a:gd name="connsiteY92" fmla="*/ 315468 h 535590"/>
                  <a:gd name="connsiteX93" fmla="*/ 538353 w 3560636"/>
                  <a:gd name="connsiteY93" fmla="*/ 315468 h 535590"/>
                  <a:gd name="connsiteX94" fmla="*/ 538353 w 3560636"/>
                  <a:gd name="connsiteY94" fmla="*/ 321468 h 535590"/>
                  <a:gd name="connsiteX95" fmla="*/ 559403 w 3560636"/>
                  <a:gd name="connsiteY95" fmla="*/ 321468 h 535590"/>
                  <a:gd name="connsiteX96" fmla="*/ 559403 w 3560636"/>
                  <a:gd name="connsiteY96" fmla="*/ 327564 h 535590"/>
                  <a:gd name="connsiteX97" fmla="*/ 565690 w 3560636"/>
                  <a:gd name="connsiteY97" fmla="*/ 327564 h 535590"/>
                  <a:gd name="connsiteX98" fmla="*/ 565690 w 3560636"/>
                  <a:gd name="connsiteY98" fmla="*/ 333660 h 535590"/>
                  <a:gd name="connsiteX99" fmla="*/ 607790 w 3560636"/>
                  <a:gd name="connsiteY99" fmla="*/ 333660 h 535590"/>
                  <a:gd name="connsiteX100" fmla="*/ 607790 w 3560636"/>
                  <a:gd name="connsiteY100" fmla="*/ 339661 h 535590"/>
                  <a:gd name="connsiteX101" fmla="*/ 622459 w 3560636"/>
                  <a:gd name="connsiteY101" fmla="*/ 339661 h 535590"/>
                  <a:gd name="connsiteX102" fmla="*/ 622459 w 3560636"/>
                  <a:gd name="connsiteY102" fmla="*/ 345757 h 535590"/>
                  <a:gd name="connsiteX103" fmla="*/ 651986 w 3560636"/>
                  <a:gd name="connsiteY103" fmla="*/ 345757 h 535590"/>
                  <a:gd name="connsiteX104" fmla="*/ 651986 w 3560636"/>
                  <a:gd name="connsiteY104" fmla="*/ 351853 h 535590"/>
                  <a:gd name="connsiteX105" fmla="*/ 654082 w 3560636"/>
                  <a:gd name="connsiteY105" fmla="*/ 351853 h 535590"/>
                  <a:gd name="connsiteX106" fmla="*/ 654082 w 3560636"/>
                  <a:gd name="connsiteY106" fmla="*/ 357854 h 535590"/>
                  <a:gd name="connsiteX107" fmla="*/ 677132 w 3560636"/>
                  <a:gd name="connsiteY107" fmla="*/ 357854 h 535590"/>
                  <a:gd name="connsiteX108" fmla="*/ 677132 w 3560636"/>
                  <a:gd name="connsiteY108" fmla="*/ 363950 h 535590"/>
                  <a:gd name="connsiteX109" fmla="*/ 689801 w 3560636"/>
                  <a:gd name="connsiteY109" fmla="*/ 363950 h 535590"/>
                  <a:gd name="connsiteX110" fmla="*/ 689801 w 3560636"/>
                  <a:gd name="connsiteY110" fmla="*/ 370046 h 535590"/>
                  <a:gd name="connsiteX111" fmla="*/ 725519 w 3560636"/>
                  <a:gd name="connsiteY111" fmla="*/ 370046 h 535590"/>
                  <a:gd name="connsiteX112" fmla="*/ 725519 w 3560636"/>
                  <a:gd name="connsiteY112" fmla="*/ 376142 h 535590"/>
                  <a:gd name="connsiteX113" fmla="*/ 841248 w 3560636"/>
                  <a:gd name="connsiteY113" fmla="*/ 376142 h 535590"/>
                  <a:gd name="connsiteX114" fmla="*/ 841248 w 3560636"/>
                  <a:gd name="connsiteY114" fmla="*/ 382143 h 535590"/>
                  <a:gd name="connsiteX115" fmla="*/ 879062 w 3560636"/>
                  <a:gd name="connsiteY115" fmla="*/ 382143 h 535590"/>
                  <a:gd name="connsiteX116" fmla="*/ 879062 w 3560636"/>
                  <a:gd name="connsiteY116" fmla="*/ 388334 h 535590"/>
                  <a:gd name="connsiteX117" fmla="*/ 931640 w 3560636"/>
                  <a:gd name="connsiteY117" fmla="*/ 388334 h 535590"/>
                  <a:gd name="connsiteX118" fmla="*/ 931640 w 3560636"/>
                  <a:gd name="connsiteY118" fmla="*/ 394430 h 535590"/>
                  <a:gd name="connsiteX119" fmla="*/ 950595 w 3560636"/>
                  <a:gd name="connsiteY119" fmla="*/ 394430 h 535590"/>
                  <a:gd name="connsiteX120" fmla="*/ 950595 w 3560636"/>
                  <a:gd name="connsiteY120" fmla="*/ 400526 h 535590"/>
                  <a:gd name="connsiteX121" fmla="*/ 961073 w 3560636"/>
                  <a:gd name="connsiteY121" fmla="*/ 400526 h 535590"/>
                  <a:gd name="connsiteX122" fmla="*/ 961073 w 3560636"/>
                  <a:gd name="connsiteY122" fmla="*/ 406717 h 535590"/>
                  <a:gd name="connsiteX123" fmla="*/ 994791 w 3560636"/>
                  <a:gd name="connsiteY123" fmla="*/ 406717 h 535590"/>
                  <a:gd name="connsiteX124" fmla="*/ 994791 w 3560636"/>
                  <a:gd name="connsiteY124" fmla="*/ 412813 h 535590"/>
                  <a:gd name="connsiteX125" fmla="*/ 1001078 w 3560636"/>
                  <a:gd name="connsiteY125" fmla="*/ 412813 h 535590"/>
                  <a:gd name="connsiteX126" fmla="*/ 1001078 w 3560636"/>
                  <a:gd name="connsiteY126" fmla="*/ 418909 h 535590"/>
                  <a:gd name="connsiteX127" fmla="*/ 1015746 w 3560636"/>
                  <a:gd name="connsiteY127" fmla="*/ 418909 h 535590"/>
                  <a:gd name="connsiteX128" fmla="*/ 1015746 w 3560636"/>
                  <a:gd name="connsiteY128" fmla="*/ 425005 h 535590"/>
                  <a:gd name="connsiteX129" fmla="*/ 1028414 w 3560636"/>
                  <a:gd name="connsiteY129" fmla="*/ 425005 h 535590"/>
                  <a:gd name="connsiteX130" fmla="*/ 1028414 w 3560636"/>
                  <a:gd name="connsiteY130" fmla="*/ 431196 h 535590"/>
                  <a:gd name="connsiteX131" fmla="*/ 1053656 w 3560636"/>
                  <a:gd name="connsiteY131" fmla="*/ 431196 h 535590"/>
                  <a:gd name="connsiteX132" fmla="*/ 1053656 w 3560636"/>
                  <a:gd name="connsiteY132" fmla="*/ 437292 h 535590"/>
                  <a:gd name="connsiteX133" fmla="*/ 1282922 w 3560636"/>
                  <a:gd name="connsiteY133" fmla="*/ 437292 h 535590"/>
                  <a:gd name="connsiteX134" fmla="*/ 1282922 w 3560636"/>
                  <a:gd name="connsiteY134" fmla="*/ 443484 h 535590"/>
                  <a:gd name="connsiteX135" fmla="*/ 1396460 w 3560636"/>
                  <a:gd name="connsiteY135" fmla="*/ 443484 h 535590"/>
                  <a:gd name="connsiteX136" fmla="*/ 1396460 w 3560636"/>
                  <a:gd name="connsiteY136" fmla="*/ 449675 h 535590"/>
                  <a:gd name="connsiteX137" fmla="*/ 1665637 w 3560636"/>
                  <a:gd name="connsiteY137" fmla="*/ 449675 h 535590"/>
                  <a:gd name="connsiteX138" fmla="*/ 1665637 w 3560636"/>
                  <a:gd name="connsiteY138" fmla="*/ 455961 h 535590"/>
                  <a:gd name="connsiteX139" fmla="*/ 1739265 w 3560636"/>
                  <a:gd name="connsiteY139" fmla="*/ 455961 h 535590"/>
                  <a:gd name="connsiteX140" fmla="*/ 1739265 w 3560636"/>
                  <a:gd name="connsiteY140" fmla="*/ 462248 h 535590"/>
                  <a:gd name="connsiteX141" fmla="*/ 1819180 w 3560636"/>
                  <a:gd name="connsiteY141" fmla="*/ 462248 h 535590"/>
                  <a:gd name="connsiteX142" fmla="*/ 1819180 w 3560636"/>
                  <a:gd name="connsiteY142" fmla="*/ 468534 h 535590"/>
                  <a:gd name="connsiteX143" fmla="*/ 1981105 w 3560636"/>
                  <a:gd name="connsiteY143" fmla="*/ 468534 h 535590"/>
                  <a:gd name="connsiteX144" fmla="*/ 1981105 w 3560636"/>
                  <a:gd name="connsiteY144" fmla="*/ 475011 h 535590"/>
                  <a:gd name="connsiteX145" fmla="*/ 1997964 w 3560636"/>
                  <a:gd name="connsiteY145" fmla="*/ 475011 h 535590"/>
                  <a:gd name="connsiteX146" fmla="*/ 1997964 w 3560636"/>
                  <a:gd name="connsiteY146" fmla="*/ 481393 h 535590"/>
                  <a:gd name="connsiteX147" fmla="*/ 2115788 w 3560636"/>
                  <a:gd name="connsiteY147" fmla="*/ 481393 h 535590"/>
                  <a:gd name="connsiteX148" fmla="*/ 2115788 w 3560636"/>
                  <a:gd name="connsiteY148" fmla="*/ 487870 h 535590"/>
                  <a:gd name="connsiteX149" fmla="*/ 2208276 w 3560636"/>
                  <a:gd name="connsiteY149" fmla="*/ 487870 h 535590"/>
                  <a:gd name="connsiteX150" fmla="*/ 2208276 w 3560636"/>
                  <a:gd name="connsiteY150" fmla="*/ 494252 h 535590"/>
                  <a:gd name="connsiteX151" fmla="*/ 2227231 w 3560636"/>
                  <a:gd name="connsiteY151" fmla="*/ 494252 h 535590"/>
                  <a:gd name="connsiteX152" fmla="*/ 2227231 w 3560636"/>
                  <a:gd name="connsiteY152" fmla="*/ 500729 h 535590"/>
                  <a:gd name="connsiteX153" fmla="*/ 3081052 w 3560636"/>
                  <a:gd name="connsiteY153" fmla="*/ 500729 h 535590"/>
                  <a:gd name="connsiteX154" fmla="*/ 3081052 w 3560636"/>
                  <a:gd name="connsiteY154" fmla="*/ 535590 h 535590"/>
                  <a:gd name="connsiteX155" fmla="*/ 3560636 w 3560636"/>
                  <a:gd name="connsiteY155" fmla="*/ 535590 h 535590"/>
                  <a:gd name="connsiteX0" fmla="*/ 0 w 3550159"/>
                  <a:gd name="connsiteY0" fmla="*/ 0 h 535590"/>
                  <a:gd name="connsiteX1" fmla="*/ 0 w 3550159"/>
                  <a:gd name="connsiteY1" fmla="*/ 6096 h 535590"/>
                  <a:gd name="connsiteX2" fmla="*/ 6287 w 3550159"/>
                  <a:gd name="connsiteY2" fmla="*/ 6096 h 535590"/>
                  <a:gd name="connsiteX3" fmla="*/ 6287 w 3550159"/>
                  <a:gd name="connsiteY3" fmla="*/ 12096 h 535590"/>
                  <a:gd name="connsiteX4" fmla="*/ 21051 w 3550159"/>
                  <a:gd name="connsiteY4" fmla="*/ 12096 h 535590"/>
                  <a:gd name="connsiteX5" fmla="*/ 21051 w 3550159"/>
                  <a:gd name="connsiteY5" fmla="*/ 18192 h 535590"/>
                  <a:gd name="connsiteX6" fmla="*/ 29433 w 3550159"/>
                  <a:gd name="connsiteY6" fmla="*/ 18192 h 535590"/>
                  <a:gd name="connsiteX7" fmla="*/ 29433 w 3550159"/>
                  <a:gd name="connsiteY7" fmla="*/ 24288 h 535590"/>
                  <a:gd name="connsiteX8" fmla="*/ 40006 w 3550159"/>
                  <a:gd name="connsiteY8" fmla="*/ 24288 h 535590"/>
                  <a:gd name="connsiteX9" fmla="*/ 40006 w 3550159"/>
                  <a:gd name="connsiteY9" fmla="*/ 30289 h 535590"/>
                  <a:gd name="connsiteX10" fmla="*/ 52579 w 3550159"/>
                  <a:gd name="connsiteY10" fmla="*/ 30289 h 535590"/>
                  <a:gd name="connsiteX11" fmla="*/ 52579 w 3550159"/>
                  <a:gd name="connsiteY11" fmla="*/ 36385 h 535590"/>
                  <a:gd name="connsiteX12" fmla="*/ 58865 w 3550159"/>
                  <a:gd name="connsiteY12" fmla="*/ 36385 h 535590"/>
                  <a:gd name="connsiteX13" fmla="*/ 58865 w 3550159"/>
                  <a:gd name="connsiteY13" fmla="*/ 48482 h 535590"/>
                  <a:gd name="connsiteX14" fmla="*/ 63056 w 3550159"/>
                  <a:gd name="connsiteY14" fmla="*/ 48482 h 535590"/>
                  <a:gd name="connsiteX15" fmla="*/ 63056 w 3550159"/>
                  <a:gd name="connsiteY15" fmla="*/ 54578 h 535590"/>
                  <a:gd name="connsiteX16" fmla="*/ 75724 w 3550159"/>
                  <a:gd name="connsiteY16" fmla="*/ 54578 h 535590"/>
                  <a:gd name="connsiteX17" fmla="*/ 75724 w 3550159"/>
                  <a:gd name="connsiteY17" fmla="*/ 60674 h 535590"/>
                  <a:gd name="connsiteX18" fmla="*/ 90393 w 3550159"/>
                  <a:gd name="connsiteY18" fmla="*/ 60674 h 535590"/>
                  <a:gd name="connsiteX19" fmla="*/ 90393 w 3550159"/>
                  <a:gd name="connsiteY19" fmla="*/ 66675 h 535590"/>
                  <a:gd name="connsiteX20" fmla="*/ 94679 w 3550159"/>
                  <a:gd name="connsiteY20" fmla="*/ 66675 h 535590"/>
                  <a:gd name="connsiteX21" fmla="*/ 94679 w 3550159"/>
                  <a:gd name="connsiteY21" fmla="*/ 72771 h 535590"/>
                  <a:gd name="connsiteX22" fmla="*/ 105156 w 3550159"/>
                  <a:gd name="connsiteY22" fmla="*/ 72771 h 535590"/>
                  <a:gd name="connsiteX23" fmla="*/ 105156 w 3550159"/>
                  <a:gd name="connsiteY23" fmla="*/ 78867 h 535590"/>
                  <a:gd name="connsiteX24" fmla="*/ 113539 w 3550159"/>
                  <a:gd name="connsiteY24" fmla="*/ 78867 h 535590"/>
                  <a:gd name="connsiteX25" fmla="*/ 113539 w 3550159"/>
                  <a:gd name="connsiteY25" fmla="*/ 84963 h 535590"/>
                  <a:gd name="connsiteX26" fmla="*/ 128302 w 3550159"/>
                  <a:gd name="connsiteY26" fmla="*/ 84963 h 535590"/>
                  <a:gd name="connsiteX27" fmla="*/ 128302 w 3550159"/>
                  <a:gd name="connsiteY27" fmla="*/ 90963 h 535590"/>
                  <a:gd name="connsiteX28" fmla="*/ 132493 w 3550159"/>
                  <a:gd name="connsiteY28" fmla="*/ 90963 h 535590"/>
                  <a:gd name="connsiteX29" fmla="*/ 132493 w 3550159"/>
                  <a:gd name="connsiteY29" fmla="*/ 97059 h 535590"/>
                  <a:gd name="connsiteX30" fmla="*/ 136684 w 3550159"/>
                  <a:gd name="connsiteY30" fmla="*/ 97059 h 535590"/>
                  <a:gd name="connsiteX31" fmla="*/ 136684 w 3550159"/>
                  <a:gd name="connsiteY31" fmla="*/ 103155 h 535590"/>
                  <a:gd name="connsiteX32" fmla="*/ 149353 w 3550159"/>
                  <a:gd name="connsiteY32" fmla="*/ 103155 h 535590"/>
                  <a:gd name="connsiteX33" fmla="*/ 149353 w 3550159"/>
                  <a:gd name="connsiteY33" fmla="*/ 109156 h 535590"/>
                  <a:gd name="connsiteX34" fmla="*/ 178785 w 3550159"/>
                  <a:gd name="connsiteY34" fmla="*/ 109156 h 535590"/>
                  <a:gd name="connsiteX35" fmla="*/ 178785 w 3550159"/>
                  <a:gd name="connsiteY35" fmla="*/ 115252 h 535590"/>
                  <a:gd name="connsiteX36" fmla="*/ 187167 w 3550159"/>
                  <a:gd name="connsiteY36" fmla="*/ 115252 h 535590"/>
                  <a:gd name="connsiteX37" fmla="*/ 187167 w 3550159"/>
                  <a:gd name="connsiteY37" fmla="*/ 121348 h 535590"/>
                  <a:gd name="connsiteX38" fmla="*/ 189262 w 3550159"/>
                  <a:gd name="connsiteY38" fmla="*/ 121348 h 535590"/>
                  <a:gd name="connsiteX39" fmla="*/ 189262 w 3550159"/>
                  <a:gd name="connsiteY39" fmla="*/ 127349 h 535590"/>
                  <a:gd name="connsiteX40" fmla="*/ 204026 w 3550159"/>
                  <a:gd name="connsiteY40" fmla="*/ 127349 h 535590"/>
                  <a:gd name="connsiteX41" fmla="*/ 204026 w 3550159"/>
                  <a:gd name="connsiteY41" fmla="*/ 139541 h 535590"/>
                  <a:gd name="connsiteX42" fmla="*/ 206122 w 3550159"/>
                  <a:gd name="connsiteY42" fmla="*/ 139541 h 535590"/>
                  <a:gd name="connsiteX43" fmla="*/ 206122 w 3550159"/>
                  <a:gd name="connsiteY43" fmla="*/ 145542 h 535590"/>
                  <a:gd name="connsiteX44" fmla="*/ 212408 w 3550159"/>
                  <a:gd name="connsiteY44" fmla="*/ 145542 h 535590"/>
                  <a:gd name="connsiteX45" fmla="*/ 212408 w 3550159"/>
                  <a:gd name="connsiteY45" fmla="*/ 151638 h 535590"/>
                  <a:gd name="connsiteX46" fmla="*/ 216599 w 3550159"/>
                  <a:gd name="connsiteY46" fmla="*/ 151638 h 535590"/>
                  <a:gd name="connsiteX47" fmla="*/ 216599 w 3550159"/>
                  <a:gd name="connsiteY47" fmla="*/ 157734 h 535590"/>
                  <a:gd name="connsiteX48" fmla="*/ 233458 w 3550159"/>
                  <a:gd name="connsiteY48" fmla="*/ 157734 h 535590"/>
                  <a:gd name="connsiteX49" fmla="*/ 233458 w 3550159"/>
                  <a:gd name="connsiteY49" fmla="*/ 169830 h 535590"/>
                  <a:gd name="connsiteX50" fmla="*/ 237649 w 3550159"/>
                  <a:gd name="connsiteY50" fmla="*/ 169830 h 535590"/>
                  <a:gd name="connsiteX51" fmla="*/ 237649 w 3550159"/>
                  <a:gd name="connsiteY51" fmla="*/ 175926 h 535590"/>
                  <a:gd name="connsiteX52" fmla="*/ 260795 w 3550159"/>
                  <a:gd name="connsiteY52" fmla="*/ 175926 h 535590"/>
                  <a:gd name="connsiteX53" fmla="*/ 260795 w 3550159"/>
                  <a:gd name="connsiteY53" fmla="*/ 182022 h 535590"/>
                  <a:gd name="connsiteX54" fmla="*/ 264986 w 3550159"/>
                  <a:gd name="connsiteY54" fmla="*/ 182022 h 535590"/>
                  <a:gd name="connsiteX55" fmla="*/ 264986 w 3550159"/>
                  <a:gd name="connsiteY55" fmla="*/ 188023 h 535590"/>
                  <a:gd name="connsiteX56" fmla="*/ 271273 w 3550159"/>
                  <a:gd name="connsiteY56" fmla="*/ 188023 h 535590"/>
                  <a:gd name="connsiteX57" fmla="*/ 271273 w 3550159"/>
                  <a:gd name="connsiteY57" fmla="*/ 200215 h 535590"/>
                  <a:gd name="connsiteX58" fmla="*/ 290227 w 3550159"/>
                  <a:gd name="connsiteY58" fmla="*/ 200215 h 535590"/>
                  <a:gd name="connsiteX59" fmla="*/ 290227 w 3550159"/>
                  <a:gd name="connsiteY59" fmla="*/ 206216 h 535590"/>
                  <a:gd name="connsiteX60" fmla="*/ 298609 w 3550159"/>
                  <a:gd name="connsiteY60" fmla="*/ 206216 h 535590"/>
                  <a:gd name="connsiteX61" fmla="*/ 298609 w 3550159"/>
                  <a:gd name="connsiteY61" fmla="*/ 212312 h 535590"/>
                  <a:gd name="connsiteX62" fmla="*/ 311278 w 3550159"/>
                  <a:gd name="connsiteY62" fmla="*/ 212312 h 535590"/>
                  <a:gd name="connsiteX63" fmla="*/ 311278 w 3550159"/>
                  <a:gd name="connsiteY63" fmla="*/ 218408 h 535590"/>
                  <a:gd name="connsiteX64" fmla="*/ 328137 w 3550159"/>
                  <a:gd name="connsiteY64" fmla="*/ 218408 h 535590"/>
                  <a:gd name="connsiteX65" fmla="*/ 328137 w 3550159"/>
                  <a:gd name="connsiteY65" fmla="*/ 224409 h 535590"/>
                  <a:gd name="connsiteX66" fmla="*/ 355474 w 3550159"/>
                  <a:gd name="connsiteY66" fmla="*/ 224409 h 535590"/>
                  <a:gd name="connsiteX67" fmla="*/ 355474 w 3550159"/>
                  <a:gd name="connsiteY67" fmla="*/ 230505 h 535590"/>
                  <a:gd name="connsiteX68" fmla="*/ 357569 w 3550159"/>
                  <a:gd name="connsiteY68" fmla="*/ 230505 h 535590"/>
                  <a:gd name="connsiteX69" fmla="*/ 357569 w 3550159"/>
                  <a:gd name="connsiteY69" fmla="*/ 236601 h 535590"/>
                  <a:gd name="connsiteX70" fmla="*/ 368046 w 3550159"/>
                  <a:gd name="connsiteY70" fmla="*/ 236601 h 535590"/>
                  <a:gd name="connsiteX71" fmla="*/ 368046 w 3550159"/>
                  <a:gd name="connsiteY71" fmla="*/ 242601 h 535590"/>
                  <a:gd name="connsiteX72" fmla="*/ 374333 w 3550159"/>
                  <a:gd name="connsiteY72" fmla="*/ 242601 h 535590"/>
                  <a:gd name="connsiteX73" fmla="*/ 374333 w 3550159"/>
                  <a:gd name="connsiteY73" fmla="*/ 254793 h 535590"/>
                  <a:gd name="connsiteX74" fmla="*/ 382810 w 3550159"/>
                  <a:gd name="connsiteY74" fmla="*/ 254793 h 535590"/>
                  <a:gd name="connsiteX75" fmla="*/ 382810 w 3550159"/>
                  <a:gd name="connsiteY75" fmla="*/ 260794 h 535590"/>
                  <a:gd name="connsiteX76" fmla="*/ 389097 w 3550159"/>
                  <a:gd name="connsiteY76" fmla="*/ 260794 h 535590"/>
                  <a:gd name="connsiteX77" fmla="*/ 389097 w 3550159"/>
                  <a:gd name="connsiteY77" fmla="*/ 272986 h 535590"/>
                  <a:gd name="connsiteX78" fmla="*/ 391192 w 3550159"/>
                  <a:gd name="connsiteY78" fmla="*/ 272986 h 535590"/>
                  <a:gd name="connsiteX79" fmla="*/ 391192 w 3550159"/>
                  <a:gd name="connsiteY79" fmla="*/ 279082 h 535590"/>
                  <a:gd name="connsiteX80" fmla="*/ 403765 w 3550159"/>
                  <a:gd name="connsiteY80" fmla="*/ 279082 h 535590"/>
                  <a:gd name="connsiteX81" fmla="*/ 403765 w 3550159"/>
                  <a:gd name="connsiteY81" fmla="*/ 285083 h 535590"/>
                  <a:gd name="connsiteX82" fmla="*/ 426911 w 3550159"/>
                  <a:gd name="connsiteY82" fmla="*/ 285083 h 535590"/>
                  <a:gd name="connsiteX83" fmla="*/ 426911 w 3550159"/>
                  <a:gd name="connsiteY83" fmla="*/ 291179 h 535590"/>
                  <a:gd name="connsiteX84" fmla="*/ 433293 w 3550159"/>
                  <a:gd name="connsiteY84" fmla="*/ 291179 h 535590"/>
                  <a:gd name="connsiteX85" fmla="*/ 433293 w 3550159"/>
                  <a:gd name="connsiteY85" fmla="*/ 297275 h 535590"/>
                  <a:gd name="connsiteX86" fmla="*/ 441675 w 3550159"/>
                  <a:gd name="connsiteY86" fmla="*/ 297275 h 535590"/>
                  <a:gd name="connsiteX87" fmla="*/ 441675 w 3550159"/>
                  <a:gd name="connsiteY87" fmla="*/ 303276 h 535590"/>
                  <a:gd name="connsiteX88" fmla="*/ 450057 w 3550159"/>
                  <a:gd name="connsiteY88" fmla="*/ 303276 h 535590"/>
                  <a:gd name="connsiteX89" fmla="*/ 450057 w 3550159"/>
                  <a:gd name="connsiteY89" fmla="*/ 309372 h 535590"/>
                  <a:gd name="connsiteX90" fmla="*/ 454248 w 3550159"/>
                  <a:gd name="connsiteY90" fmla="*/ 309372 h 535590"/>
                  <a:gd name="connsiteX91" fmla="*/ 454248 w 3550159"/>
                  <a:gd name="connsiteY91" fmla="*/ 315468 h 535590"/>
                  <a:gd name="connsiteX92" fmla="*/ 527876 w 3550159"/>
                  <a:gd name="connsiteY92" fmla="*/ 315468 h 535590"/>
                  <a:gd name="connsiteX93" fmla="*/ 527876 w 3550159"/>
                  <a:gd name="connsiteY93" fmla="*/ 321468 h 535590"/>
                  <a:gd name="connsiteX94" fmla="*/ 548926 w 3550159"/>
                  <a:gd name="connsiteY94" fmla="*/ 321468 h 535590"/>
                  <a:gd name="connsiteX95" fmla="*/ 548926 w 3550159"/>
                  <a:gd name="connsiteY95" fmla="*/ 327564 h 535590"/>
                  <a:gd name="connsiteX96" fmla="*/ 555213 w 3550159"/>
                  <a:gd name="connsiteY96" fmla="*/ 327564 h 535590"/>
                  <a:gd name="connsiteX97" fmla="*/ 555213 w 3550159"/>
                  <a:gd name="connsiteY97" fmla="*/ 333660 h 535590"/>
                  <a:gd name="connsiteX98" fmla="*/ 597313 w 3550159"/>
                  <a:gd name="connsiteY98" fmla="*/ 333660 h 535590"/>
                  <a:gd name="connsiteX99" fmla="*/ 597313 w 3550159"/>
                  <a:gd name="connsiteY99" fmla="*/ 339661 h 535590"/>
                  <a:gd name="connsiteX100" fmla="*/ 611982 w 3550159"/>
                  <a:gd name="connsiteY100" fmla="*/ 339661 h 535590"/>
                  <a:gd name="connsiteX101" fmla="*/ 611982 w 3550159"/>
                  <a:gd name="connsiteY101" fmla="*/ 345757 h 535590"/>
                  <a:gd name="connsiteX102" fmla="*/ 641509 w 3550159"/>
                  <a:gd name="connsiteY102" fmla="*/ 345757 h 535590"/>
                  <a:gd name="connsiteX103" fmla="*/ 641509 w 3550159"/>
                  <a:gd name="connsiteY103" fmla="*/ 351853 h 535590"/>
                  <a:gd name="connsiteX104" fmla="*/ 643605 w 3550159"/>
                  <a:gd name="connsiteY104" fmla="*/ 351853 h 535590"/>
                  <a:gd name="connsiteX105" fmla="*/ 643605 w 3550159"/>
                  <a:gd name="connsiteY105" fmla="*/ 357854 h 535590"/>
                  <a:gd name="connsiteX106" fmla="*/ 666655 w 3550159"/>
                  <a:gd name="connsiteY106" fmla="*/ 357854 h 535590"/>
                  <a:gd name="connsiteX107" fmla="*/ 666655 w 3550159"/>
                  <a:gd name="connsiteY107" fmla="*/ 363950 h 535590"/>
                  <a:gd name="connsiteX108" fmla="*/ 679324 w 3550159"/>
                  <a:gd name="connsiteY108" fmla="*/ 363950 h 535590"/>
                  <a:gd name="connsiteX109" fmla="*/ 679324 w 3550159"/>
                  <a:gd name="connsiteY109" fmla="*/ 370046 h 535590"/>
                  <a:gd name="connsiteX110" fmla="*/ 715042 w 3550159"/>
                  <a:gd name="connsiteY110" fmla="*/ 370046 h 535590"/>
                  <a:gd name="connsiteX111" fmla="*/ 715042 w 3550159"/>
                  <a:gd name="connsiteY111" fmla="*/ 376142 h 535590"/>
                  <a:gd name="connsiteX112" fmla="*/ 830771 w 3550159"/>
                  <a:gd name="connsiteY112" fmla="*/ 376142 h 535590"/>
                  <a:gd name="connsiteX113" fmla="*/ 830771 w 3550159"/>
                  <a:gd name="connsiteY113" fmla="*/ 382143 h 535590"/>
                  <a:gd name="connsiteX114" fmla="*/ 868585 w 3550159"/>
                  <a:gd name="connsiteY114" fmla="*/ 382143 h 535590"/>
                  <a:gd name="connsiteX115" fmla="*/ 868585 w 3550159"/>
                  <a:gd name="connsiteY115" fmla="*/ 388334 h 535590"/>
                  <a:gd name="connsiteX116" fmla="*/ 921163 w 3550159"/>
                  <a:gd name="connsiteY116" fmla="*/ 388334 h 535590"/>
                  <a:gd name="connsiteX117" fmla="*/ 921163 w 3550159"/>
                  <a:gd name="connsiteY117" fmla="*/ 394430 h 535590"/>
                  <a:gd name="connsiteX118" fmla="*/ 940118 w 3550159"/>
                  <a:gd name="connsiteY118" fmla="*/ 394430 h 535590"/>
                  <a:gd name="connsiteX119" fmla="*/ 940118 w 3550159"/>
                  <a:gd name="connsiteY119" fmla="*/ 400526 h 535590"/>
                  <a:gd name="connsiteX120" fmla="*/ 950596 w 3550159"/>
                  <a:gd name="connsiteY120" fmla="*/ 400526 h 535590"/>
                  <a:gd name="connsiteX121" fmla="*/ 950596 w 3550159"/>
                  <a:gd name="connsiteY121" fmla="*/ 406717 h 535590"/>
                  <a:gd name="connsiteX122" fmla="*/ 984314 w 3550159"/>
                  <a:gd name="connsiteY122" fmla="*/ 406717 h 535590"/>
                  <a:gd name="connsiteX123" fmla="*/ 984314 w 3550159"/>
                  <a:gd name="connsiteY123" fmla="*/ 412813 h 535590"/>
                  <a:gd name="connsiteX124" fmla="*/ 990601 w 3550159"/>
                  <a:gd name="connsiteY124" fmla="*/ 412813 h 535590"/>
                  <a:gd name="connsiteX125" fmla="*/ 990601 w 3550159"/>
                  <a:gd name="connsiteY125" fmla="*/ 418909 h 535590"/>
                  <a:gd name="connsiteX126" fmla="*/ 1005269 w 3550159"/>
                  <a:gd name="connsiteY126" fmla="*/ 418909 h 535590"/>
                  <a:gd name="connsiteX127" fmla="*/ 1005269 w 3550159"/>
                  <a:gd name="connsiteY127" fmla="*/ 425005 h 535590"/>
                  <a:gd name="connsiteX128" fmla="*/ 1017937 w 3550159"/>
                  <a:gd name="connsiteY128" fmla="*/ 425005 h 535590"/>
                  <a:gd name="connsiteX129" fmla="*/ 1017937 w 3550159"/>
                  <a:gd name="connsiteY129" fmla="*/ 431196 h 535590"/>
                  <a:gd name="connsiteX130" fmla="*/ 1043179 w 3550159"/>
                  <a:gd name="connsiteY130" fmla="*/ 431196 h 535590"/>
                  <a:gd name="connsiteX131" fmla="*/ 1043179 w 3550159"/>
                  <a:gd name="connsiteY131" fmla="*/ 437292 h 535590"/>
                  <a:gd name="connsiteX132" fmla="*/ 1272445 w 3550159"/>
                  <a:gd name="connsiteY132" fmla="*/ 437292 h 535590"/>
                  <a:gd name="connsiteX133" fmla="*/ 1272445 w 3550159"/>
                  <a:gd name="connsiteY133" fmla="*/ 443484 h 535590"/>
                  <a:gd name="connsiteX134" fmla="*/ 1385983 w 3550159"/>
                  <a:gd name="connsiteY134" fmla="*/ 443484 h 535590"/>
                  <a:gd name="connsiteX135" fmla="*/ 1385983 w 3550159"/>
                  <a:gd name="connsiteY135" fmla="*/ 449675 h 535590"/>
                  <a:gd name="connsiteX136" fmla="*/ 1655160 w 3550159"/>
                  <a:gd name="connsiteY136" fmla="*/ 449675 h 535590"/>
                  <a:gd name="connsiteX137" fmla="*/ 1655160 w 3550159"/>
                  <a:gd name="connsiteY137" fmla="*/ 455961 h 535590"/>
                  <a:gd name="connsiteX138" fmla="*/ 1728788 w 3550159"/>
                  <a:gd name="connsiteY138" fmla="*/ 455961 h 535590"/>
                  <a:gd name="connsiteX139" fmla="*/ 1728788 w 3550159"/>
                  <a:gd name="connsiteY139" fmla="*/ 462248 h 535590"/>
                  <a:gd name="connsiteX140" fmla="*/ 1808703 w 3550159"/>
                  <a:gd name="connsiteY140" fmla="*/ 462248 h 535590"/>
                  <a:gd name="connsiteX141" fmla="*/ 1808703 w 3550159"/>
                  <a:gd name="connsiteY141" fmla="*/ 468534 h 535590"/>
                  <a:gd name="connsiteX142" fmla="*/ 1970628 w 3550159"/>
                  <a:gd name="connsiteY142" fmla="*/ 468534 h 535590"/>
                  <a:gd name="connsiteX143" fmla="*/ 1970628 w 3550159"/>
                  <a:gd name="connsiteY143" fmla="*/ 475011 h 535590"/>
                  <a:gd name="connsiteX144" fmla="*/ 1987487 w 3550159"/>
                  <a:gd name="connsiteY144" fmla="*/ 475011 h 535590"/>
                  <a:gd name="connsiteX145" fmla="*/ 1987487 w 3550159"/>
                  <a:gd name="connsiteY145" fmla="*/ 481393 h 535590"/>
                  <a:gd name="connsiteX146" fmla="*/ 2105311 w 3550159"/>
                  <a:gd name="connsiteY146" fmla="*/ 481393 h 535590"/>
                  <a:gd name="connsiteX147" fmla="*/ 2105311 w 3550159"/>
                  <a:gd name="connsiteY147" fmla="*/ 487870 h 535590"/>
                  <a:gd name="connsiteX148" fmla="*/ 2197799 w 3550159"/>
                  <a:gd name="connsiteY148" fmla="*/ 487870 h 535590"/>
                  <a:gd name="connsiteX149" fmla="*/ 2197799 w 3550159"/>
                  <a:gd name="connsiteY149" fmla="*/ 494252 h 535590"/>
                  <a:gd name="connsiteX150" fmla="*/ 2216754 w 3550159"/>
                  <a:gd name="connsiteY150" fmla="*/ 494252 h 535590"/>
                  <a:gd name="connsiteX151" fmla="*/ 2216754 w 3550159"/>
                  <a:gd name="connsiteY151" fmla="*/ 500729 h 535590"/>
                  <a:gd name="connsiteX152" fmla="*/ 3070575 w 3550159"/>
                  <a:gd name="connsiteY152" fmla="*/ 500729 h 535590"/>
                  <a:gd name="connsiteX153" fmla="*/ 3070575 w 3550159"/>
                  <a:gd name="connsiteY153" fmla="*/ 535590 h 535590"/>
                  <a:gd name="connsiteX154" fmla="*/ 3550159 w 3550159"/>
                  <a:gd name="connsiteY154" fmla="*/ 535590 h 535590"/>
                  <a:gd name="connsiteX0" fmla="*/ 0 w 3550159"/>
                  <a:gd name="connsiteY0" fmla="*/ 0 h 529494"/>
                  <a:gd name="connsiteX1" fmla="*/ 6287 w 3550159"/>
                  <a:gd name="connsiteY1" fmla="*/ 0 h 529494"/>
                  <a:gd name="connsiteX2" fmla="*/ 6287 w 3550159"/>
                  <a:gd name="connsiteY2" fmla="*/ 6000 h 529494"/>
                  <a:gd name="connsiteX3" fmla="*/ 21051 w 3550159"/>
                  <a:gd name="connsiteY3" fmla="*/ 6000 h 529494"/>
                  <a:gd name="connsiteX4" fmla="*/ 21051 w 3550159"/>
                  <a:gd name="connsiteY4" fmla="*/ 12096 h 529494"/>
                  <a:gd name="connsiteX5" fmla="*/ 29433 w 3550159"/>
                  <a:gd name="connsiteY5" fmla="*/ 12096 h 529494"/>
                  <a:gd name="connsiteX6" fmla="*/ 29433 w 3550159"/>
                  <a:gd name="connsiteY6" fmla="*/ 18192 h 529494"/>
                  <a:gd name="connsiteX7" fmla="*/ 40006 w 3550159"/>
                  <a:gd name="connsiteY7" fmla="*/ 18192 h 529494"/>
                  <a:gd name="connsiteX8" fmla="*/ 40006 w 3550159"/>
                  <a:gd name="connsiteY8" fmla="*/ 24193 h 529494"/>
                  <a:gd name="connsiteX9" fmla="*/ 52579 w 3550159"/>
                  <a:gd name="connsiteY9" fmla="*/ 24193 h 529494"/>
                  <a:gd name="connsiteX10" fmla="*/ 52579 w 3550159"/>
                  <a:gd name="connsiteY10" fmla="*/ 30289 h 529494"/>
                  <a:gd name="connsiteX11" fmla="*/ 58865 w 3550159"/>
                  <a:gd name="connsiteY11" fmla="*/ 30289 h 529494"/>
                  <a:gd name="connsiteX12" fmla="*/ 58865 w 3550159"/>
                  <a:gd name="connsiteY12" fmla="*/ 42386 h 529494"/>
                  <a:gd name="connsiteX13" fmla="*/ 63056 w 3550159"/>
                  <a:gd name="connsiteY13" fmla="*/ 42386 h 529494"/>
                  <a:gd name="connsiteX14" fmla="*/ 63056 w 3550159"/>
                  <a:gd name="connsiteY14" fmla="*/ 48482 h 529494"/>
                  <a:gd name="connsiteX15" fmla="*/ 75724 w 3550159"/>
                  <a:gd name="connsiteY15" fmla="*/ 48482 h 529494"/>
                  <a:gd name="connsiteX16" fmla="*/ 75724 w 3550159"/>
                  <a:gd name="connsiteY16" fmla="*/ 54578 h 529494"/>
                  <a:gd name="connsiteX17" fmla="*/ 90393 w 3550159"/>
                  <a:gd name="connsiteY17" fmla="*/ 54578 h 529494"/>
                  <a:gd name="connsiteX18" fmla="*/ 90393 w 3550159"/>
                  <a:gd name="connsiteY18" fmla="*/ 60579 h 529494"/>
                  <a:gd name="connsiteX19" fmla="*/ 94679 w 3550159"/>
                  <a:gd name="connsiteY19" fmla="*/ 60579 h 529494"/>
                  <a:gd name="connsiteX20" fmla="*/ 94679 w 3550159"/>
                  <a:gd name="connsiteY20" fmla="*/ 66675 h 529494"/>
                  <a:gd name="connsiteX21" fmla="*/ 105156 w 3550159"/>
                  <a:gd name="connsiteY21" fmla="*/ 66675 h 529494"/>
                  <a:gd name="connsiteX22" fmla="*/ 105156 w 3550159"/>
                  <a:gd name="connsiteY22" fmla="*/ 72771 h 529494"/>
                  <a:gd name="connsiteX23" fmla="*/ 113539 w 3550159"/>
                  <a:gd name="connsiteY23" fmla="*/ 72771 h 529494"/>
                  <a:gd name="connsiteX24" fmla="*/ 113539 w 3550159"/>
                  <a:gd name="connsiteY24" fmla="*/ 78867 h 529494"/>
                  <a:gd name="connsiteX25" fmla="*/ 128302 w 3550159"/>
                  <a:gd name="connsiteY25" fmla="*/ 78867 h 529494"/>
                  <a:gd name="connsiteX26" fmla="*/ 128302 w 3550159"/>
                  <a:gd name="connsiteY26" fmla="*/ 84867 h 529494"/>
                  <a:gd name="connsiteX27" fmla="*/ 132493 w 3550159"/>
                  <a:gd name="connsiteY27" fmla="*/ 84867 h 529494"/>
                  <a:gd name="connsiteX28" fmla="*/ 132493 w 3550159"/>
                  <a:gd name="connsiteY28" fmla="*/ 90963 h 529494"/>
                  <a:gd name="connsiteX29" fmla="*/ 136684 w 3550159"/>
                  <a:gd name="connsiteY29" fmla="*/ 90963 h 529494"/>
                  <a:gd name="connsiteX30" fmla="*/ 136684 w 3550159"/>
                  <a:gd name="connsiteY30" fmla="*/ 97059 h 529494"/>
                  <a:gd name="connsiteX31" fmla="*/ 149353 w 3550159"/>
                  <a:gd name="connsiteY31" fmla="*/ 97059 h 529494"/>
                  <a:gd name="connsiteX32" fmla="*/ 149353 w 3550159"/>
                  <a:gd name="connsiteY32" fmla="*/ 103060 h 529494"/>
                  <a:gd name="connsiteX33" fmla="*/ 178785 w 3550159"/>
                  <a:gd name="connsiteY33" fmla="*/ 103060 h 529494"/>
                  <a:gd name="connsiteX34" fmla="*/ 178785 w 3550159"/>
                  <a:gd name="connsiteY34" fmla="*/ 109156 h 529494"/>
                  <a:gd name="connsiteX35" fmla="*/ 187167 w 3550159"/>
                  <a:gd name="connsiteY35" fmla="*/ 109156 h 529494"/>
                  <a:gd name="connsiteX36" fmla="*/ 187167 w 3550159"/>
                  <a:gd name="connsiteY36" fmla="*/ 115252 h 529494"/>
                  <a:gd name="connsiteX37" fmla="*/ 189262 w 3550159"/>
                  <a:gd name="connsiteY37" fmla="*/ 115252 h 529494"/>
                  <a:gd name="connsiteX38" fmla="*/ 189262 w 3550159"/>
                  <a:gd name="connsiteY38" fmla="*/ 121253 h 529494"/>
                  <a:gd name="connsiteX39" fmla="*/ 204026 w 3550159"/>
                  <a:gd name="connsiteY39" fmla="*/ 121253 h 529494"/>
                  <a:gd name="connsiteX40" fmla="*/ 204026 w 3550159"/>
                  <a:gd name="connsiteY40" fmla="*/ 133445 h 529494"/>
                  <a:gd name="connsiteX41" fmla="*/ 206122 w 3550159"/>
                  <a:gd name="connsiteY41" fmla="*/ 133445 h 529494"/>
                  <a:gd name="connsiteX42" fmla="*/ 206122 w 3550159"/>
                  <a:gd name="connsiteY42" fmla="*/ 139446 h 529494"/>
                  <a:gd name="connsiteX43" fmla="*/ 212408 w 3550159"/>
                  <a:gd name="connsiteY43" fmla="*/ 139446 h 529494"/>
                  <a:gd name="connsiteX44" fmla="*/ 212408 w 3550159"/>
                  <a:gd name="connsiteY44" fmla="*/ 145542 h 529494"/>
                  <a:gd name="connsiteX45" fmla="*/ 216599 w 3550159"/>
                  <a:gd name="connsiteY45" fmla="*/ 145542 h 529494"/>
                  <a:gd name="connsiteX46" fmla="*/ 216599 w 3550159"/>
                  <a:gd name="connsiteY46" fmla="*/ 151638 h 529494"/>
                  <a:gd name="connsiteX47" fmla="*/ 233458 w 3550159"/>
                  <a:gd name="connsiteY47" fmla="*/ 151638 h 529494"/>
                  <a:gd name="connsiteX48" fmla="*/ 233458 w 3550159"/>
                  <a:gd name="connsiteY48" fmla="*/ 163734 h 529494"/>
                  <a:gd name="connsiteX49" fmla="*/ 237649 w 3550159"/>
                  <a:gd name="connsiteY49" fmla="*/ 163734 h 529494"/>
                  <a:gd name="connsiteX50" fmla="*/ 237649 w 3550159"/>
                  <a:gd name="connsiteY50" fmla="*/ 169830 h 529494"/>
                  <a:gd name="connsiteX51" fmla="*/ 260795 w 3550159"/>
                  <a:gd name="connsiteY51" fmla="*/ 169830 h 529494"/>
                  <a:gd name="connsiteX52" fmla="*/ 260795 w 3550159"/>
                  <a:gd name="connsiteY52" fmla="*/ 175926 h 529494"/>
                  <a:gd name="connsiteX53" fmla="*/ 264986 w 3550159"/>
                  <a:gd name="connsiteY53" fmla="*/ 175926 h 529494"/>
                  <a:gd name="connsiteX54" fmla="*/ 264986 w 3550159"/>
                  <a:gd name="connsiteY54" fmla="*/ 181927 h 529494"/>
                  <a:gd name="connsiteX55" fmla="*/ 271273 w 3550159"/>
                  <a:gd name="connsiteY55" fmla="*/ 181927 h 529494"/>
                  <a:gd name="connsiteX56" fmla="*/ 271273 w 3550159"/>
                  <a:gd name="connsiteY56" fmla="*/ 194119 h 529494"/>
                  <a:gd name="connsiteX57" fmla="*/ 290227 w 3550159"/>
                  <a:gd name="connsiteY57" fmla="*/ 194119 h 529494"/>
                  <a:gd name="connsiteX58" fmla="*/ 290227 w 3550159"/>
                  <a:gd name="connsiteY58" fmla="*/ 200120 h 529494"/>
                  <a:gd name="connsiteX59" fmla="*/ 298609 w 3550159"/>
                  <a:gd name="connsiteY59" fmla="*/ 200120 h 529494"/>
                  <a:gd name="connsiteX60" fmla="*/ 298609 w 3550159"/>
                  <a:gd name="connsiteY60" fmla="*/ 206216 h 529494"/>
                  <a:gd name="connsiteX61" fmla="*/ 311278 w 3550159"/>
                  <a:gd name="connsiteY61" fmla="*/ 206216 h 529494"/>
                  <a:gd name="connsiteX62" fmla="*/ 311278 w 3550159"/>
                  <a:gd name="connsiteY62" fmla="*/ 212312 h 529494"/>
                  <a:gd name="connsiteX63" fmla="*/ 328137 w 3550159"/>
                  <a:gd name="connsiteY63" fmla="*/ 212312 h 529494"/>
                  <a:gd name="connsiteX64" fmla="*/ 328137 w 3550159"/>
                  <a:gd name="connsiteY64" fmla="*/ 218313 h 529494"/>
                  <a:gd name="connsiteX65" fmla="*/ 355474 w 3550159"/>
                  <a:gd name="connsiteY65" fmla="*/ 218313 h 529494"/>
                  <a:gd name="connsiteX66" fmla="*/ 355474 w 3550159"/>
                  <a:gd name="connsiteY66" fmla="*/ 224409 h 529494"/>
                  <a:gd name="connsiteX67" fmla="*/ 357569 w 3550159"/>
                  <a:gd name="connsiteY67" fmla="*/ 224409 h 529494"/>
                  <a:gd name="connsiteX68" fmla="*/ 357569 w 3550159"/>
                  <a:gd name="connsiteY68" fmla="*/ 230505 h 529494"/>
                  <a:gd name="connsiteX69" fmla="*/ 368046 w 3550159"/>
                  <a:gd name="connsiteY69" fmla="*/ 230505 h 529494"/>
                  <a:gd name="connsiteX70" fmla="*/ 368046 w 3550159"/>
                  <a:gd name="connsiteY70" fmla="*/ 236505 h 529494"/>
                  <a:gd name="connsiteX71" fmla="*/ 374333 w 3550159"/>
                  <a:gd name="connsiteY71" fmla="*/ 236505 h 529494"/>
                  <a:gd name="connsiteX72" fmla="*/ 374333 w 3550159"/>
                  <a:gd name="connsiteY72" fmla="*/ 248697 h 529494"/>
                  <a:gd name="connsiteX73" fmla="*/ 382810 w 3550159"/>
                  <a:gd name="connsiteY73" fmla="*/ 248697 h 529494"/>
                  <a:gd name="connsiteX74" fmla="*/ 382810 w 3550159"/>
                  <a:gd name="connsiteY74" fmla="*/ 254698 h 529494"/>
                  <a:gd name="connsiteX75" fmla="*/ 389097 w 3550159"/>
                  <a:gd name="connsiteY75" fmla="*/ 254698 h 529494"/>
                  <a:gd name="connsiteX76" fmla="*/ 389097 w 3550159"/>
                  <a:gd name="connsiteY76" fmla="*/ 266890 h 529494"/>
                  <a:gd name="connsiteX77" fmla="*/ 391192 w 3550159"/>
                  <a:gd name="connsiteY77" fmla="*/ 266890 h 529494"/>
                  <a:gd name="connsiteX78" fmla="*/ 391192 w 3550159"/>
                  <a:gd name="connsiteY78" fmla="*/ 272986 h 529494"/>
                  <a:gd name="connsiteX79" fmla="*/ 403765 w 3550159"/>
                  <a:gd name="connsiteY79" fmla="*/ 272986 h 529494"/>
                  <a:gd name="connsiteX80" fmla="*/ 403765 w 3550159"/>
                  <a:gd name="connsiteY80" fmla="*/ 278987 h 529494"/>
                  <a:gd name="connsiteX81" fmla="*/ 426911 w 3550159"/>
                  <a:gd name="connsiteY81" fmla="*/ 278987 h 529494"/>
                  <a:gd name="connsiteX82" fmla="*/ 426911 w 3550159"/>
                  <a:gd name="connsiteY82" fmla="*/ 285083 h 529494"/>
                  <a:gd name="connsiteX83" fmla="*/ 433293 w 3550159"/>
                  <a:gd name="connsiteY83" fmla="*/ 285083 h 529494"/>
                  <a:gd name="connsiteX84" fmla="*/ 433293 w 3550159"/>
                  <a:gd name="connsiteY84" fmla="*/ 291179 h 529494"/>
                  <a:gd name="connsiteX85" fmla="*/ 441675 w 3550159"/>
                  <a:gd name="connsiteY85" fmla="*/ 291179 h 529494"/>
                  <a:gd name="connsiteX86" fmla="*/ 441675 w 3550159"/>
                  <a:gd name="connsiteY86" fmla="*/ 297180 h 529494"/>
                  <a:gd name="connsiteX87" fmla="*/ 450057 w 3550159"/>
                  <a:gd name="connsiteY87" fmla="*/ 297180 h 529494"/>
                  <a:gd name="connsiteX88" fmla="*/ 450057 w 3550159"/>
                  <a:gd name="connsiteY88" fmla="*/ 303276 h 529494"/>
                  <a:gd name="connsiteX89" fmla="*/ 454248 w 3550159"/>
                  <a:gd name="connsiteY89" fmla="*/ 303276 h 529494"/>
                  <a:gd name="connsiteX90" fmla="*/ 454248 w 3550159"/>
                  <a:gd name="connsiteY90" fmla="*/ 309372 h 529494"/>
                  <a:gd name="connsiteX91" fmla="*/ 527876 w 3550159"/>
                  <a:gd name="connsiteY91" fmla="*/ 309372 h 529494"/>
                  <a:gd name="connsiteX92" fmla="*/ 527876 w 3550159"/>
                  <a:gd name="connsiteY92" fmla="*/ 315372 h 529494"/>
                  <a:gd name="connsiteX93" fmla="*/ 548926 w 3550159"/>
                  <a:gd name="connsiteY93" fmla="*/ 315372 h 529494"/>
                  <a:gd name="connsiteX94" fmla="*/ 548926 w 3550159"/>
                  <a:gd name="connsiteY94" fmla="*/ 321468 h 529494"/>
                  <a:gd name="connsiteX95" fmla="*/ 555213 w 3550159"/>
                  <a:gd name="connsiteY95" fmla="*/ 321468 h 529494"/>
                  <a:gd name="connsiteX96" fmla="*/ 555213 w 3550159"/>
                  <a:gd name="connsiteY96" fmla="*/ 327564 h 529494"/>
                  <a:gd name="connsiteX97" fmla="*/ 597313 w 3550159"/>
                  <a:gd name="connsiteY97" fmla="*/ 327564 h 529494"/>
                  <a:gd name="connsiteX98" fmla="*/ 597313 w 3550159"/>
                  <a:gd name="connsiteY98" fmla="*/ 333565 h 529494"/>
                  <a:gd name="connsiteX99" fmla="*/ 611982 w 3550159"/>
                  <a:gd name="connsiteY99" fmla="*/ 333565 h 529494"/>
                  <a:gd name="connsiteX100" fmla="*/ 611982 w 3550159"/>
                  <a:gd name="connsiteY100" fmla="*/ 339661 h 529494"/>
                  <a:gd name="connsiteX101" fmla="*/ 641509 w 3550159"/>
                  <a:gd name="connsiteY101" fmla="*/ 339661 h 529494"/>
                  <a:gd name="connsiteX102" fmla="*/ 641509 w 3550159"/>
                  <a:gd name="connsiteY102" fmla="*/ 345757 h 529494"/>
                  <a:gd name="connsiteX103" fmla="*/ 643605 w 3550159"/>
                  <a:gd name="connsiteY103" fmla="*/ 345757 h 529494"/>
                  <a:gd name="connsiteX104" fmla="*/ 643605 w 3550159"/>
                  <a:gd name="connsiteY104" fmla="*/ 351758 h 529494"/>
                  <a:gd name="connsiteX105" fmla="*/ 666655 w 3550159"/>
                  <a:gd name="connsiteY105" fmla="*/ 351758 h 529494"/>
                  <a:gd name="connsiteX106" fmla="*/ 666655 w 3550159"/>
                  <a:gd name="connsiteY106" fmla="*/ 357854 h 529494"/>
                  <a:gd name="connsiteX107" fmla="*/ 679324 w 3550159"/>
                  <a:gd name="connsiteY107" fmla="*/ 357854 h 529494"/>
                  <a:gd name="connsiteX108" fmla="*/ 679324 w 3550159"/>
                  <a:gd name="connsiteY108" fmla="*/ 363950 h 529494"/>
                  <a:gd name="connsiteX109" fmla="*/ 715042 w 3550159"/>
                  <a:gd name="connsiteY109" fmla="*/ 363950 h 529494"/>
                  <a:gd name="connsiteX110" fmla="*/ 715042 w 3550159"/>
                  <a:gd name="connsiteY110" fmla="*/ 370046 h 529494"/>
                  <a:gd name="connsiteX111" fmla="*/ 830771 w 3550159"/>
                  <a:gd name="connsiteY111" fmla="*/ 370046 h 529494"/>
                  <a:gd name="connsiteX112" fmla="*/ 830771 w 3550159"/>
                  <a:gd name="connsiteY112" fmla="*/ 376047 h 529494"/>
                  <a:gd name="connsiteX113" fmla="*/ 868585 w 3550159"/>
                  <a:gd name="connsiteY113" fmla="*/ 376047 h 529494"/>
                  <a:gd name="connsiteX114" fmla="*/ 868585 w 3550159"/>
                  <a:gd name="connsiteY114" fmla="*/ 382238 h 529494"/>
                  <a:gd name="connsiteX115" fmla="*/ 921163 w 3550159"/>
                  <a:gd name="connsiteY115" fmla="*/ 382238 h 529494"/>
                  <a:gd name="connsiteX116" fmla="*/ 921163 w 3550159"/>
                  <a:gd name="connsiteY116" fmla="*/ 388334 h 529494"/>
                  <a:gd name="connsiteX117" fmla="*/ 940118 w 3550159"/>
                  <a:gd name="connsiteY117" fmla="*/ 388334 h 529494"/>
                  <a:gd name="connsiteX118" fmla="*/ 940118 w 3550159"/>
                  <a:gd name="connsiteY118" fmla="*/ 394430 h 529494"/>
                  <a:gd name="connsiteX119" fmla="*/ 950596 w 3550159"/>
                  <a:gd name="connsiteY119" fmla="*/ 394430 h 529494"/>
                  <a:gd name="connsiteX120" fmla="*/ 950596 w 3550159"/>
                  <a:gd name="connsiteY120" fmla="*/ 400621 h 529494"/>
                  <a:gd name="connsiteX121" fmla="*/ 984314 w 3550159"/>
                  <a:gd name="connsiteY121" fmla="*/ 400621 h 529494"/>
                  <a:gd name="connsiteX122" fmla="*/ 984314 w 3550159"/>
                  <a:gd name="connsiteY122" fmla="*/ 406717 h 529494"/>
                  <a:gd name="connsiteX123" fmla="*/ 990601 w 3550159"/>
                  <a:gd name="connsiteY123" fmla="*/ 406717 h 529494"/>
                  <a:gd name="connsiteX124" fmla="*/ 990601 w 3550159"/>
                  <a:gd name="connsiteY124" fmla="*/ 412813 h 529494"/>
                  <a:gd name="connsiteX125" fmla="*/ 1005269 w 3550159"/>
                  <a:gd name="connsiteY125" fmla="*/ 412813 h 529494"/>
                  <a:gd name="connsiteX126" fmla="*/ 1005269 w 3550159"/>
                  <a:gd name="connsiteY126" fmla="*/ 418909 h 529494"/>
                  <a:gd name="connsiteX127" fmla="*/ 1017937 w 3550159"/>
                  <a:gd name="connsiteY127" fmla="*/ 418909 h 529494"/>
                  <a:gd name="connsiteX128" fmla="*/ 1017937 w 3550159"/>
                  <a:gd name="connsiteY128" fmla="*/ 425100 h 529494"/>
                  <a:gd name="connsiteX129" fmla="*/ 1043179 w 3550159"/>
                  <a:gd name="connsiteY129" fmla="*/ 425100 h 529494"/>
                  <a:gd name="connsiteX130" fmla="*/ 1043179 w 3550159"/>
                  <a:gd name="connsiteY130" fmla="*/ 431196 h 529494"/>
                  <a:gd name="connsiteX131" fmla="*/ 1272445 w 3550159"/>
                  <a:gd name="connsiteY131" fmla="*/ 431196 h 529494"/>
                  <a:gd name="connsiteX132" fmla="*/ 1272445 w 3550159"/>
                  <a:gd name="connsiteY132" fmla="*/ 437388 h 529494"/>
                  <a:gd name="connsiteX133" fmla="*/ 1385983 w 3550159"/>
                  <a:gd name="connsiteY133" fmla="*/ 437388 h 529494"/>
                  <a:gd name="connsiteX134" fmla="*/ 1385983 w 3550159"/>
                  <a:gd name="connsiteY134" fmla="*/ 443579 h 529494"/>
                  <a:gd name="connsiteX135" fmla="*/ 1655160 w 3550159"/>
                  <a:gd name="connsiteY135" fmla="*/ 443579 h 529494"/>
                  <a:gd name="connsiteX136" fmla="*/ 1655160 w 3550159"/>
                  <a:gd name="connsiteY136" fmla="*/ 449865 h 529494"/>
                  <a:gd name="connsiteX137" fmla="*/ 1728788 w 3550159"/>
                  <a:gd name="connsiteY137" fmla="*/ 449865 h 529494"/>
                  <a:gd name="connsiteX138" fmla="*/ 1728788 w 3550159"/>
                  <a:gd name="connsiteY138" fmla="*/ 456152 h 529494"/>
                  <a:gd name="connsiteX139" fmla="*/ 1808703 w 3550159"/>
                  <a:gd name="connsiteY139" fmla="*/ 456152 h 529494"/>
                  <a:gd name="connsiteX140" fmla="*/ 1808703 w 3550159"/>
                  <a:gd name="connsiteY140" fmla="*/ 462438 h 529494"/>
                  <a:gd name="connsiteX141" fmla="*/ 1970628 w 3550159"/>
                  <a:gd name="connsiteY141" fmla="*/ 462438 h 529494"/>
                  <a:gd name="connsiteX142" fmla="*/ 1970628 w 3550159"/>
                  <a:gd name="connsiteY142" fmla="*/ 468915 h 529494"/>
                  <a:gd name="connsiteX143" fmla="*/ 1987487 w 3550159"/>
                  <a:gd name="connsiteY143" fmla="*/ 468915 h 529494"/>
                  <a:gd name="connsiteX144" fmla="*/ 1987487 w 3550159"/>
                  <a:gd name="connsiteY144" fmla="*/ 475297 h 529494"/>
                  <a:gd name="connsiteX145" fmla="*/ 2105311 w 3550159"/>
                  <a:gd name="connsiteY145" fmla="*/ 475297 h 529494"/>
                  <a:gd name="connsiteX146" fmla="*/ 2105311 w 3550159"/>
                  <a:gd name="connsiteY146" fmla="*/ 481774 h 529494"/>
                  <a:gd name="connsiteX147" fmla="*/ 2197799 w 3550159"/>
                  <a:gd name="connsiteY147" fmla="*/ 481774 h 529494"/>
                  <a:gd name="connsiteX148" fmla="*/ 2197799 w 3550159"/>
                  <a:gd name="connsiteY148" fmla="*/ 488156 h 529494"/>
                  <a:gd name="connsiteX149" fmla="*/ 2216754 w 3550159"/>
                  <a:gd name="connsiteY149" fmla="*/ 488156 h 529494"/>
                  <a:gd name="connsiteX150" fmla="*/ 2216754 w 3550159"/>
                  <a:gd name="connsiteY150" fmla="*/ 494633 h 529494"/>
                  <a:gd name="connsiteX151" fmla="*/ 3070575 w 3550159"/>
                  <a:gd name="connsiteY151" fmla="*/ 494633 h 529494"/>
                  <a:gd name="connsiteX152" fmla="*/ 3070575 w 3550159"/>
                  <a:gd name="connsiteY152" fmla="*/ 529494 h 529494"/>
                  <a:gd name="connsiteX153" fmla="*/ 3550159 w 3550159"/>
                  <a:gd name="connsiteY153" fmla="*/ 529494 h 529494"/>
                  <a:gd name="connsiteX0" fmla="*/ 0 w 3550159"/>
                  <a:gd name="connsiteY0" fmla="*/ 0 h 529494"/>
                  <a:gd name="connsiteX1" fmla="*/ 6287 w 3550159"/>
                  <a:gd name="connsiteY1" fmla="*/ 0 h 529494"/>
                  <a:gd name="connsiteX2" fmla="*/ 21051 w 3550159"/>
                  <a:gd name="connsiteY2" fmla="*/ 6000 h 529494"/>
                  <a:gd name="connsiteX3" fmla="*/ 21051 w 3550159"/>
                  <a:gd name="connsiteY3" fmla="*/ 12096 h 529494"/>
                  <a:gd name="connsiteX4" fmla="*/ 29433 w 3550159"/>
                  <a:gd name="connsiteY4" fmla="*/ 12096 h 529494"/>
                  <a:gd name="connsiteX5" fmla="*/ 29433 w 3550159"/>
                  <a:gd name="connsiteY5" fmla="*/ 18192 h 529494"/>
                  <a:gd name="connsiteX6" fmla="*/ 40006 w 3550159"/>
                  <a:gd name="connsiteY6" fmla="*/ 18192 h 529494"/>
                  <a:gd name="connsiteX7" fmla="*/ 40006 w 3550159"/>
                  <a:gd name="connsiteY7" fmla="*/ 24193 h 529494"/>
                  <a:gd name="connsiteX8" fmla="*/ 52579 w 3550159"/>
                  <a:gd name="connsiteY8" fmla="*/ 24193 h 529494"/>
                  <a:gd name="connsiteX9" fmla="*/ 52579 w 3550159"/>
                  <a:gd name="connsiteY9" fmla="*/ 30289 h 529494"/>
                  <a:gd name="connsiteX10" fmla="*/ 58865 w 3550159"/>
                  <a:gd name="connsiteY10" fmla="*/ 30289 h 529494"/>
                  <a:gd name="connsiteX11" fmla="*/ 58865 w 3550159"/>
                  <a:gd name="connsiteY11" fmla="*/ 42386 h 529494"/>
                  <a:gd name="connsiteX12" fmla="*/ 63056 w 3550159"/>
                  <a:gd name="connsiteY12" fmla="*/ 42386 h 529494"/>
                  <a:gd name="connsiteX13" fmla="*/ 63056 w 3550159"/>
                  <a:gd name="connsiteY13" fmla="*/ 48482 h 529494"/>
                  <a:gd name="connsiteX14" fmla="*/ 75724 w 3550159"/>
                  <a:gd name="connsiteY14" fmla="*/ 48482 h 529494"/>
                  <a:gd name="connsiteX15" fmla="*/ 75724 w 3550159"/>
                  <a:gd name="connsiteY15" fmla="*/ 54578 h 529494"/>
                  <a:gd name="connsiteX16" fmla="*/ 90393 w 3550159"/>
                  <a:gd name="connsiteY16" fmla="*/ 54578 h 529494"/>
                  <a:gd name="connsiteX17" fmla="*/ 90393 w 3550159"/>
                  <a:gd name="connsiteY17" fmla="*/ 60579 h 529494"/>
                  <a:gd name="connsiteX18" fmla="*/ 94679 w 3550159"/>
                  <a:gd name="connsiteY18" fmla="*/ 60579 h 529494"/>
                  <a:gd name="connsiteX19" fmla="*/ 94679 w 3550159"/>
                  <a:gd name="connsiteY19" fmla="*/ 66675 h 529494"/>
                  <a:gd name="connsiteX20" fmla="*/ 105156 w 3550159"/>
                  <a:gd name="connsiteY20" fmla="*/ 66675 h 529494"/>
                  <a:gd name="connsiteX21" fmla="*/ 105156 w 3550159"/>
                  <a:gd name="connsiteY21" fmla="*/ 72771 h 529494"/>
                  <a:gd name="connsiteX22" fmla="*/ 113539 w 3550159"/>
                  <a:gd name="connsiteY22" fmla="*/ 72771 h 529494"/>
                  <a:gd name="connsiteX23" fmla="*/ 113539 w 3550159"/>
                  <a:gd name="connsiteY23" fmla="*/ 78867 h 529494"/>
                  <a:gd name="connsiteX24" fmla="*/ 128302 w 3550159"/>
                  <a:gd name="connsiteY24" fmla="*/ 78867 h 529494"/>
                  <a:gd name="connsiteX25" fmla="*/ 128302 w 3550159"/>
                  <a:gd name="connsiteY25" fmla="*/ 84867 h 529494"/>
                  <a:gd name="connsiteX26" fmla="*/ 132493 w 3550159"/>
                  <a:gd name="connsiteY26" fmla="*/ 84867 h 529494"/>
                  <a:gd name="connsiteX27" fmla="*/ 132493 w 3550159"/>
                  <a:gd name="connsiteY27" fmla="*/ 90963 h 529494"/>
                  <a:gd name="connsiteX28" fmla="*/ 136684 w 3550159"/>
                  <a:gd name="connsiteY28" fmla="*/ 90963 h 529494"/>
                  <a:gd name="connsiteX29" fmla="*/ 136684 w 3550159"/>
                  <a:gd name="connsiteY29" fmla="*/ 97059 h 529494"/>
                  <a:gd name="connsiteX30" fmla="*/ 149353 w 3550159"/>
                  <a:gd name="connsiteY30" fmla="*/ 97059 h 529494"/>
                  <a:gd name="connsiteX31" fmla="*/ 149353 w 3550159"/>
                  <a:gd name="connsiteY31" fmla="*/ 103060 h 529494"/>
                  <a:gd name="connsiteX32" fmla="*/ 178785 w 3550159"/>
                  <a:gd name="connsiteY32" fmla="*/ 103060 h 529494"/>
                  <a:gd name="connsiteX33" fmla="*/ 178785 w 3550159"/>
                  <a:gd name="connsiteY33" fmla="*/ 109156 h 529494"/>
                  <a:gd name="connsiteX34" fmla="*/ 187167 w 3550159"/>
                  <a:gd name="connsiteY34" fmla="*/ 109156 h 529494"/>
                  <a:gd name="connsiteX35" fmla="*/ 187167 w 3550159"/>
                  <a:gd name="connsiteY35" fmla="*/ 115252 h 529494"/>
                  <a:gd name="connsiteX36" fmla="*/ 189262 w 3550159"/>
                  <a:gd name="connsiteY36" fmla="*/ 115252 h 529494"/>
                  <a:gd name="connsiteX37" fmla="*/ 189262 w 3550159"/>
                  <a:gd name="connsiteY37" fmla="*/ 121253 h 529494"/>
                  <a:gd name="connsiteX38" fmla="*/ 204026 w 3550159"/>
                  <a:gd name="connsiteY38" fmla="*/ 121253 h 529494"/>
                  <a:gd name="connsiteX39" fmla="*/ 204026 w 3550159"/>
                  <a:gd name="connsiteY39" fmla="*/ 133445 h 529494"/>
                  <a:gd name="connsiteX40" fmla="*/ 206122 w 3550159"/>
                  <a:gd name="connsiteY40" fmla="*/ 133445 h 529494"/>
                  <a:gd name="connsiteX41" fmla="*/ 206122 w 3550159"/>
                  <a:gd name="connsiteY41" fmla="*/ 139446 h 529494"/>
                  <a:gd name="connsiteX42" fmla="*/ 212408 w 3550159"/>
                  <a:gd name="connsiteY42" fmla="*/ 139446 h 529494"/>
                  <a:gd name="connsiteX43" fmla="*/ 212408 w 3550159"/>
                  <a:gd name="connsiteY43" fmla="*/ 145542 h 529494"/>
                  <a:gd name="connsiteX44" fmla="*/ 216599 w 3550159"/>
                  <a:gd name="connsiteY44" fmla="*/ 145542 h 529494"/>
                  <a:gd name="connsiteX45" fmla="*/ 216599 w 3550159"/>
                  <a:gd name="connsiteY45" fmla="*/ 151638 h 529494"/>
                  <a:gd name="connsiteX46" fmla="*/ 233458 w 3550159"/>
                  <a:gd name="connsiteY46" fmla="*/ 151638 h 529494"/>
                  <a:gd name="connsiteX47" fmla="*/ 233458 w 3550159"/>
                  <a:gd name="connsiteY47" fmla="*/ 163734 h 529494"/>
                  <a:gd name="connsiteX48" fmla="*/ 237649 w 3550159"/>
                  <a:gd name="connsiteY48" fmla="*/ 163734 h 529494"/>
                  <a:gd name="connsiteX49" fmla="*/ 237649 w 3550159"/>
                  <a:gd name="connsiteY49" fmla="*/ 169830 h 529494"/>
                  <a:gd name="connsiteX50" fmla="*/ 260795 w 3550159"/>
                  <a:gd name="connsiteY50" fmla="*/ 169830 h 529494"/>
                  <a:gd name="connsiteX51" fmla="*/ 260795 w 3550159"/>
                  <a:gd name="connsiteY51" fmla="*/ 175926 h 529494"/>
                  <a:gd name="connsiteX52" fmla="*/ 264986 w 3550159"/>
                  <a:gd name="connsiteY52" fmla="*/ 175926 h 529494"/>
                  <a:gd name="connsiteX53" fmla="*/ 264986 w 3550159"/>
                  <a:gd name="connsiteY53" fmla="*/ 181927 h 529494"/>
                  <a:gd name="connsiteX54" fmla="*/ 271273 w 3550159"/>
                  <a:gd name="connsiteY54" fmla="*/ 181927 h 529494"/>
                  <a:gd name="connsiteX55" fmla="*/ 271273 w 3550159"/>
                  <a:gd name="connsiteY55" fmla="*/ 194119 h 529494"/>
                  <a:gd name="connsiteX56" fmla="*/ 290227 w 3550159"/>
                  <a:gd name="connsiteY56" fmla="*/ 194119 h 529494"/>
                  <a:gd name="connsiteX57" fmla="*/ 290227 w 3550159"/>
                  <a:gd name="connsiteY57" fmla="*/ 200120 h 529494"/>
                  <a:gd name="connsiteX58" fmla="*/ 298609 w 3550159"/>
                  <a:gd name="connsiteY58" fmla="*/ 200120 h 529494"/>
                  <a:gd name="connsiteX59" fmla="*/ 298609 w 3550159"/>
                  <a:gd name="connsiteY59" fmla="*/ 206216 h 529494"/>
                  <a:gd name="connsiteX60" fmla="*/ 311278 w 3550159"/>
                  <a:gd name="connsiteY60" fmla="*/ 206216 h 529494"/>
                  <a:gd name="connsiteX61" fmla="*/ 311278 w 3550159"/>
                  <a:gd name="connsiteY61" fmla="*/ 212312 h 529494"/>
                  <a:gd name="connsiteX62" fmla="*/ 328137 w 3550159"/>
                  <a:gd name="connsiteY62" fmla="*/ 212312 h 529494"/>
                  <a:gd name="connsiteX63" fmla="*/ 328137 w 3550159"/>
                  <a:gd name="connsiteY63" fmla="*/ 218313 h 529494"/>
                  <a:gd name="connsiteX64" fmla="*/ 355474 w 3550159"/>
                  <a:gd name="connsiteY64" fmla="*/ 218313 h 529494"/>
                  <a:gd name="connsiteX65" fmla="*/ 355474 w 3550159"/>
                  <a:gd name="connsiteY65" fmla="*/ 224409 h 529494"/>
                  <a:gd name="connsiteX66" fmla="*/ 357569 w 3550159"/>
                  <a:gd name="connsiteY66" fmla="*/ 224409 h 529494"/>
                  <a:gd name="connsiteX67" fmla="*/ 357569 w 3550159"/>
                  <a:gd name="connsiteY67" fmla="*/ 230505 h 529494"/>
                  <a:gd name="connsiteX68" fmla="*/ 368046 w 3550159"/>
                  <a:gd name="connsiteY68" fmla="*/ 230505 h 529494"/>
                  <a:gd name="connsiteX69" fmla="*/ 368046 w 3550159"/>
                  <a:gd name="connsiteY69" fmla="*/ 236505 h 529494"/>
                  <a:gd name="connsiteX70" fmla="*/ 374333 w 3550159"/>
                  <a:gd name="connsiteY70" fmla="*/ 236505 h 529494"/>
                  <a:gd name="connsiteX71" fmla="*/ 374333 w 3550159"/>
                  <a:gd name="connsiteY71" fmla="*/ 248697 h 529494"/>
                  <a:gd name="connsiteX72" fmla="*/ 382810 w 3550159"/>
                  <a:gd name="connsiteY72" fmla="*/ 248697 h 529494"/>
                  <a:gd name="connsiteX73" fmla="*/ 382810 w 3550159"/>
                  <a:gd name="connsiteY73" fmla="*/ 254698 h 529494"/>
                  <a:gd name="connsiteX74" fmla="*/ 389097 w 3550159"/>
                  <a:gd name="connsiteY74" fmla="*/ 254698 h 529494"/>
                  <a:gd name="connsiteX75" fmla="*/ 389097 w 3550159"/>
                  <a:gd name="connsiteY75" fmla="*/ 266890 h 529494"/>
                  <a:gd name="connsiteX76" fmla="*/ 391192 w 3550159"/>
                  <a:gd name="connsiteY76" fmla="*/ 266890 h 529494"/>
                  <a:gd name="connsiteX77" fmla="*/ 391192 w 3550159"/>
                  <a:gd name="connsiteY77" fmla="*/ 272986 h 529494"/>
                  <a:gd name="connsiteX78" fmla="*/ 403765 w 3550159"/>
                  <a:gd name="connsiteY78" fmla="*/ 272986 h 529494"/>
                  <a:gd name="connsiteX79" fmla="*/ 403765 w 3550159"/>
                  <a:gd name="connsiteY79" fmla="*/ 278987 h 529494"/>
                  <a:gd name="connsiteX80" fmla="*/ 426911 w 3550159"/>
                  <a:gd name="connsiteY80" fmla="*/ 278987 h 529494"/>
                  <a:gd name="connsiteX81" fmla="*/ 426911 w 3550159"/>
                  <a:gd name="connsiteY81" fmla="*/ 285083 h 529494"/>
                  <a:gd name="connsiteX82" fmla="*/ 433293 w 3550159"/>
                  <a:gd name="connsiteY82" fmla="*/ 285083 h 529494"/>
                  <a:gd name="connsiteX83" fmla="*/ 433293 w 3550159"/>
                  <a:gd name="connsiteY83" fmla="*/ 291179 h 529494"/>
                  <a:gd name="connsiteX84" fmla="*/ 441675 w 3550159"/>
                  <a:gd name="connsiteY84" fmla="*/ 291179 h 529494"/>
                  <a:gd name="connsiteX85" fmla="*/ 441675 w 3550159"/>
                  <a:gd name="connsiteY85" fmla="*/ 297180 h 529494"/>
                  <a:gd name="connsiteX86" fmla="*/ 450057 w 3550159"/>
                  <a:gd name="connsiteY86" fmla="*/ 297180 h 529494"/>
                  <a:gd name="connsiteX87" fmla="*/ 450057 w 3550159"/>
                  <a:gd name="connsiteY87" fmla="*/ 303276 h 529494"/>
                  <a:gd name="connsiteX88" fmla="*/ 454248 w 3550159"/>
                  <a:gd name="connsiteY88" fmla="*/ 303276 h 529494"/>
                  <a:gd name="connsiteX89" fmla="*/ 454248 w 3550159"/>
                  <a:gd name="connsiteY89" fmla="*/ 309372 h 529494"/>
                  <a:gd name="connsiteX90" fmla="*/ 527876 w 3550159"/>
                  <a:gd name="connsiteY90" fmla="*/ 309372 h 529494"/>
                  <a:gd name="connsiteX91" fmla="*/ 527876 w 3550159"/>
                  <a:gd name="connsiteY91" fmla="*/ 315372 h 529494"/>
                  <a:gd name="connsiteX92" fmla="*/ 548926 w 3550159"/>
                  <a:gd name="connsiteY92" fmla="*/ 315372 h 529494"/>
                  <a:gd name="connsiteX93" fmla="*/ 548926 w 3550159"/>
                  <a:gd name="connsiteY93" fmla="*/ 321468 h 529494"/>
                  <a:gd name="connsiteX94" fmla="*/ 555213 w 3550159"/>
                  <a:gd name="connsiteY94" fmla="*/ 321468 h 529494"/>
                  <a:gd name="connsiteX95" fmla="*/ 555213 w 3550159"/>
                  <a:gd name="connsiteY95" fmla="*/ 327564 h 529494"/>
                  <a:gd name="connsiteX96" fmla="*/ 597313 w 3550159"/>
                  <a:gd name="connsiteY96" fmla="*/ 327564 h 529494"/>
                  <a:gd name="connsiteX97" fmla="*/ 597313 w 3550159"/>
                  <a:gd name="connsiteY97" fmla="*/ 333565 h 529494"/>
                  <a:gd name="connsiteX98" fmla="*/ 611982 w 3550159"/>
                  <a:gd name="connsiteY98" fmla="*/ 333565 h 529494"/>
                  <a:gd name="connsiteX99" fmla="*/ 611982 w 3550159"/>
                  <a:gd name="connsiteY99" fmla="*/ 339661 h 529494"/>
                  <a:gd name="connsiteX100" fmla="*/ 641509 w 3550159"/>
                  <a:gd name="connsiteY100" fmla="*/ 339661 h 529494"/>
                  <a:gd name="connsiteX101" fmla="*/ 641509 w 3550159"/>
                  <a:gd name="connsiteY101" fmla="*/ 345757 h 529494"/>
                  <a:gd name="connsiteX102" fmla="*/ 643605 w 3550159"/>
                  <a:gd name="connsiteY102" fmla="*/ 345757 h 529494"/>
                  <a:gd name="connsiteX103" fmla="*/ 643605 w 3550159"/>
                  <a:gd name="connsiteY103" fmla="*/ 351758 h 529494"/>
                  <a:gd name="connsiteX104" fmla="*/ 666655 w 3550159"/>
                  <a:gd name="connsiteY104" fmla="*/ 351758 h 529494"/>
                  <a:gd name="connsiteX105" fmla="*/ 666655 w 3550159"/>
                  <a:gd name="connsiteY105" fmla="*/ 357854 h 529494"/>
                  <a:gd name="connsiteX106" fmla="*/ 679324 w 3550159"/>
                  <a:gd name="connsiteY106" fmla="*/ 357854 h 529494"/>
                  <a:gd name="connsiteX107" fmla="*/ 679324 w 3550159"/>
                  <a:gd name="connsiteY107" fmla="*/ 363950 h 529494"/>
                  <a:gd name="connsiteX108" fmla="*/ 715042 w 3550159"/>
                  <a:gd name="connsiteY108" fmla="*/ 363950 h 529494"/>
                  <a:gd name="connsiteX109" fmla="*/ 715042 w 3550159"/>
                  <a:gd name="connsiteY109" fmla="*/ 370046 h 529494"/>
                  <a:gd name="connsiteX110" fmla="*/ 830771 w 3550159"/>
                  <a:gd name="connsiteY110" fmla="*/ 370046 h 529494"/>
                  <a:gd name="connsiteX111" fmla="*/ 830771 w 3550159"/>
                  <a:gd name="connsiteY111" fmla="*/ 376047 h 529494"/>
                  <a:gd name="connsiteX112" fmla="*/ 868585 w 3550159"/>
                  <a:gd name="connsiteY112" fmla="*/ 376047 h 529494"/>
                  <a:gd name="connsiteX113" fmla="*/ 868585 w 3550159"/>
                  <a:gd name="connsiteY113" fmla="*/ 382238 h 529494"/>
                  <a:gd name="connsiteX114" fmla="*/ 921163 w 3550159"/>
                  <a:gd name="connsiteY114" fmla="*/ 382238 h 529494"/>
                  <a:gd name="connsiteX115" fmla="*/ 921163 w 3550159"/>
                  <a:gd name="connsiteY115" fmla="*/ 388334 h 529494"/>
                  <a:gd name="connsiteX116" fmla="*/ 940118 w 3550159"/>
                  <a:gd name="connsiteY116" fmla="*/ 388334 h 529494"/>
                  <a:gd name="connsiteX117" fmla="*/ 940118 w 3550159"/>
                  <a:gd name="connsiteY117" fmla="*/ 394430 h 529494"/>
                  <a:gd name="connsiteX118" fmla="*/ 950596 w 3550159"/>
                  <a:gd name="connsiteY118" fmla="*/ 394430 h 529494"/>
                  <a:gd name="connsiteX119" fmla="*/ 950596 w 3550159"/>
                  <a:gd name="connsiteY119" fmla="*/ 400621 h 529494"/>
                  <a:gd name="connsiteX120" fmla="*/ 984314 w 3550159"/>
                  <a:gd name="connsiteY120" fmla="*/ 400621 h 529494"/>
                  <a:gd name="connsiteX121" fmla="*/ 984314 w 3550159"/>
                  <a:gd name="connsiteY121" fmla="*/ 406717 h 529494"/>
                  <a:gd name="connsiteX122" fmla="*/ 990601 w 3550159"/>
                  <a:gd name="connsiteY122" fmla="*/ 406717 h 529494"/>
                  <a:gd name="connsiteX123" fmla="*/ 990601 w 3550159"/>
                  <a:gd name="connsiteY123" fmla="*/ 412813 h 529494"/>
                  <a:gd name="connsiteX124" fmla="*/ 1005269 w 3550159"/>
                  <a:gd name="connsiteY124" fmla="*/ 412813 h 529494"/>
                  <a:gd name="connsiteX125" fmla="*/ 1005269 w 3550159"/>
                  <a:gd name="connsiteY125" fmla="*/ 418909 h 529494"/>
                  <a:gd name="connsiteX126" fmla="*/ 1017937 w 3550159"/>
                  <a:gd name="connsiteY126" fmla="*/ 418909 h 529494"/>
                  <a:gd name="connsiteX127" fmla="*/ 1017937 w 3550159"/>
                  <a:gd name="connsiteY127" fmla="*/ 425100 h 529494"/>
                  <a:gd name="connsiteX128" fmla="*/ 1043179 w 3550159"/>
                  <a:gd name="connsiteY128" fmla="*/ 425100 h 529494"/>
                  <a:gd name="connsiteX129" fmla="*/ 1043179 w 3550159"/>
                  <a:gd name="connsiteY129" fmla="*/ 431196 h 529494"/>
                  <a:gd name="connsiteX130" fmla="*/ 1272445 w 3550159"/>
                  <a:gd name="connsiteY130" fmla="*/ 431196 h 529494"/>
                  <a:gd name="connsiteX131" fmla="*/ 1272445 w 3550159"/>
                  <a:gd name="connsiteY131" fmla="*/ 437388 h 529494"/>
                  <a:gd name="connsiteX132" fmla="*/ 1385983 w 3550159"/>
                  <a:gd name="connsiteY132" fmla="*/ 437388 h 529494"/>
                  <a:gd name="connsiteX133" fmla="*/ 1385983 w 3550159"/>
                  <a:gd name="connsiteY133" fmla="*/ 443579 h 529494"/>
                  <a:gd name="connsiteX134" fmla="*/ 1655160 w 3550159"/>
                  <a:gd name="connsiteY134" fmla="*/ 443579 h 529494"/>
                  <a:gd name="connsiteX135" fmla="*/ 1655160 w 3550159"/>
                  <a:gd name="connsiteY135" fmla="*/ 449865 h 529494"/>
                  <a:gd name="connsiteX136" fmla="*/ 1728788 w 3550159"/>
                  <a:gd name="connsiteY136" fmla="*/ 449865 h 529494"/>
                  <a:gd name="connsiteX137" fmla="*/ 1728788 w 3550159"/>
                  <a:gd name="connsiteY137" fmla="*/ 456152 h 529494"/>
                  <a:gd name="connsiteX138" fmla="*/ 1808703 w 3550159"/>
                  <a:gd name="connsiteY138" fmla="*/ 456152 h 529494"/>
                  <a:gd name="connsiteX139" fmla="*/ 1808703 w 3550159"/>
                  <a:gd name="connsiteY139" fmla="*/ 462438 h 529494"/>
                  <a:gd name="connsiteX140" fmla="*/ 1970628 w 3550159"/>
                  <a:gd name="connsiteY140" fmla="*/ 462438 h 529494"/>
                  <a:gd name="connsiteX141" fmla="*/ 1970628 w 3550159"/>
                  <a:gd name="connsiteY141" fmla="*/ 468915 h 529494"/>
                  <a:gd name="connsiteX142" fmla="*/ 1987487 w 3550159"/>
                  <a:gd name="connsiteY142" fmla="*/ 468915 h 529494"/>
                  <a:gd name="connsiteX143" fmla="*/ 1987487 w 3550159"/>
                  <a:gd name="connsiteY143" fmla="*/ 475297 h 529494"/>
                  <a:gd name="connsiteX144" fmla="*/ 2105311 w 3550159"/>
                  <a:gd name="connsiteY144" fmla="*/ 475297 h 529494"/>
                  <a:gd name="connsiteX145" fmla="*/ 2105311 w 3550159"/>
                  <a:gd name="connsiteY145" fmla="*/ 481774 h 529494"/>
                  <a:gd name="connsiteX146" fmla="*/ 2197799 w 3550159"/>
                  <a:gd name="connsiteY146" fmla="*/ 481774 h 529494"/>
                  <a:gd name="connsiteX147" fmla="*/ 2197799 w 3550159"/>
                  <a:gd name="connsiteY147" fmla="*/ 488156 h 529494"/>
                  <a:gd name="connsiteX148" fmla="*/ 2216754 w 3550159"/>
                  <a:gd name="connsiteY148" fmla="*/ 488156 h 529494"/>
                  <a:gd name="connsiteX149" fmla="*/ 2216754 w 3550159"/>
                  <a:gd name="connsiteY149" fmla="*/ 494633 h 529494"/>
                  <a:gd name="connsiteX150" fmla="*/ 3070575 w 3550159"/>
                  <a:gd name="connsiteY150" fmla="*/ 494633 h 529494"/>
                  <a:gd name="connsiteX151" fmla="*/ 3070575 w 3550159"/>
                  <a:gd name="connsiteY151" fmla="*/ 529494 h 529494"/>
                  <a:gd name="connsiteX152" fmla="*/ 3550159 w 3550159"/>
                  <a:gd name="connsiteY152" fmla="*/ 529494 h 529494"/>
                  <a:gd name="connsiteX0" fmla="*/ 0 w 3550159"/>
                  <a:gd name="connsiteY0" fmla="*/ 0 h 529494"/>
                  <a:gd name="connsiteX1" fmla="*/ 21051 w 3550159"/>
                  <a:gd name="connsiteY1" fmla="*/ 6000 h 529494"/>
                  <a:gd name="connsiteX2" fmla="*/ 21051 w 3550159"/>
                  <a:gd name="connsiteY2" fmla="*/ 12096 h 529494"/>
                  <a:gd name="connsiteX3" fmla="*/ 29433 w 3550159"/>
                  <a:gd name="connsiteY3" fmla="*/ 12096 h 529494"/>
                  <a:gd name="connsiteX4" fmla="*/ 29433 w 3550159"/>
                  <a:gd name="connsiteY4" fmla="*/ 18192 h 529494"/>
                  <a:gd name="connsiteX5" fmla="*/ 40006 w 3550159"/>
                  <a:gd name="connsiteY5" fmla="*/ 18192 h 529494"/>
                  <a:gd name="connsiteX6" fmla="*/ 40006 w 3550159"/>
                  <a:gd name="connsiteY6" fmla="*/ 24193 h 529494"/>
                  <a:gd name="connsiteX7" fmla="*/ 52579 w 3550159"/>
                  <a:gd name="connsiteY7" fmla="*/ 24193 h 529494"/>
                  <a:gd name="connsiteX8" fmla="*/ 52579 w 3550159"/>
                  <a:gd name="connsiteY8" fmla="*/ 30289 h 529494"/>
                  <a:gd name="connsiteX9" fmla="*/ 58865 w 3550159"/>
                  <a:gd name="connsiteY9" fmla="*/ 30289 h 529494"/>
                  <a:gd name="connsiteX10" fmla="*/ 58865 w 3550159"/>
                  <a:gd name="connsiteY10" fmla="*/ 42386 h 529494"/>
                  <a:gd name="connsiteX11" fmla="*/ 63056 w 3550159"/>
                  <a:gd name="connsiteY11" fmla="*/ 42386 h 529494"/>
                  <a:gd name="connsiteX12" fmla="*/ 63056 w 3550159"/>
                  <a:gd name="connsiteY12" fmla="*/ 48482 h 529494"/>
                  <a:gd name="connsiteX13" fmla="*/ 75724 w 3550159"/>
                  <a:gd name="connsiteY13" fmla="*/ 48482 h 529494"/>
                  <a:gd name="connsiteX14" fmla="*/ 75724 w 3550159"/>
                  <a:gd name="connsiteY14" fmla="*/ 54578 h 529494"/>
                  <a:gd name="connsiteX15" fmla="*/ 90393 w 3550159"/>
                  <a:gd name="connsiteY15" fmla="*/ 54578 h 529494"/>
                  <a:gd name="connsiteX16" fmla="*/ 90393 w 3550159"/>
                  <a:gd name="connsiteY16" fmla="*/ 60579 h 529494"/>
                  <a:gd name="connsiteX17" fmla="*/ 94679 w 3550159"/>
                  <a:gd name="connsiteY17" fmla="*/ 60579 h 529494"/>
                  <a:gd name="connsiteX18" fmla="*/ 94679 w 3550159"/>
                  <a:gd name="connsiteY18" fmla="*/ 66675 h 529494"/>
                  <a:gd name="connsiteX19" fmla="*/ 105156 w 3550159"/>
                  <a:gd name="connsiteY19" fmla="*/ 66675 h 529494"/>
                  <a:gd name="connsiteX20" fmla="*/ 105156 w 3550159"/>
                  <a:gd name="connsiteY20" fmla="*/ 72771 h 529494"/>
                  <a:gd name="connsiteX21" fmla="*/ 113539 w 3550159"/>
                  <a:gd name="connsiteY21" fmla="*/ 72771 h 529494"/>
                  <a:gd name="connsiteX22" fmla="*/ 113539 w 3550159"/>
                  <a:gd name="connsiteY22" fmla="*/ 78867 h 529494"/>
                  <a:gd name="connsiteX23" fmla="*/ 128302 w 3550159"/>
                  <a:gd name="connsiteY23" fmla="*/ 78867 h 529494"/>
                  <a:gd name="connsiteX24" fmla="*/ 128302 w 3550159"/>
                  <a:gd name="connsiteY24" fmla="*/ 84867 h 529494"/>
                  <a:gd name="connsiteX25" fmla="*/ 132493 w 3550159"/>
                  <a:gd name="connsiteY25" fmla="*/ 84867 h 529494"/>
                  <a:gd name="connsiteX26" fmla="*/ 132493 w 3550159"/>
                  <a:gd name="connsiteY26" fmla="*/ 90963 h 529494"/>
                  <a:gd name="connsiteX27" fmla="*/ 136684 w 3550159"/>
                  <a:gd name="connsiteY27" fmla="*/ 90963 h 529494"/>
                  <a:gd name="connsiteX28" fmla="*/ 136684 w 3550159"/>
                  <a:gd name="connsiteY28" fmla="*/ 97059 h 529494"/>
                  <a:gd name="connsiteX29" fmla="*/ 149353 w 3550159"/>
                  <a:gd name="connsiteY29" fmla="*/ 97059 h 529494"/>
                  <a:gd name="connsiteX30" fmla="*/ 149353 w 3550159"/>
                  <a:gd name="connsiteY30" fmla="*/ 103060 h 529494"/>
                  <a:gd name="connsiteX31" fmla="*/ 178785 w 3550159"/>
                  <a:gd name="connsiteY31" fmla="*/ 103060 h 529494"/>
                  <a:gd name="connsiteX32" fmla="*/ 178785 w 3550159"/>
                  <a:gd name="connsiteY32" fmla="*/ 109156 h 529494"/>
                  <a:gd name="connsiteX33" fmla="*/ 187167 w 3550159"/>
                  <a:gd name="connsiteY33" fmla="*/ 109156 h 529494"/>
                  <a:gd name="connsiteX34" fmla="*/ 187167 w 3550159"/>
                  <a:gd name="connsiteY34" fmla="*/ 115252 h 529494"/>
                  <a:gd name="connsiteX35" fmla="*/ 189262 w 3550159"/>
                  <a:gd name="connsiteY35" fmla="*/ 115252 h 529494"/>
                  <a:gd name="connsiteX36" fmla="*/ 189262 w 3550159"/>
                  <a:gd name="connsiteY36" fmla="*/ 121253 h 529494"/>
                  <a:gd name="connsiteX37" fmla="*/ 204026 w 3550159"/>
                  <a:gd name="connsiteY37" fmla="*/ 121253 h 529494"/>
                  <a:gd name="connsiteX38" fmla="*/ 204026 w 3550159"/>
                  <a:gd name="connsiteY38" fmla="*/ 133445 h 529494"/>
                  <a:gd name="connsiteX39" fmla="*/ 206122 w 3550159"/>
                  <a:gd name="connsiteY39" fmla="*/ 133445 h 529494"/>
                  <a:gd name="connsiteX40" fmla="*/ 206122 w 3550159"/>
                  <a:gd name="connsiteY40" fmla="*/ 139446 h 529494"/>
                  <a:gd name="connsiteX41" fmla="*/ 212408 w 3550159"/>
                  <a:gd name="connsiteY41" fmla="*/ 139446 h 529494"/>
                  <a:gd name="connsiteX42" fmla="*/ 212408 w 3550159"/>
                  <a:gd name="connsiteY42" fmla="*/ 145542 h 529494"/>
                  <a:gd name="connsiteX43" fmla="*/ 216599 w 3550159"/>
                  <a:gd name="connsiteY43" fmla="*/ 145542 h 529494"/>
                  <a:gd name="connsiteX44" fmla="*/ 216599 w 3550159"/>
                  <a:gd name="connsiteY44" fmla="*/ 151638 h 529494"/>
                  <a:gd name="connsiteX45" fmla="*/ 233458 w 3550159"/>
                  <a:gd name="connsiteY45" fmla="*/ 151638 h 529494"/>
                  <a:gd name="connsiteX46" fmla="*/ 233458 w 3550159"/>
                  <a:gd name="connsiteY46" fmla="*/ 163734 h 529494"/>
                  <a:gd name="connsiteX47" fmla="*/ 237649 w 3550159"/>
                  <a:gd name="connsiteY47" fmla="*/ 163734 h 529494"/>
                  <a:gd name="connsiteX48" fmla="*/ 237649 w 3550159"/>
                  <a:gd name="connsiteY48" fmla="*/ 169830 h 529494"/>
                  <a:gd name="connsiteX49" fmla="*/ 260795 w 3550159"/>
                  <a:gd name="connsiteY49" fmla="*/ 169830 h 529494"/>
                  <a:gd name="connsiteX50" fmla="*/ 260795 w 3550159"/>
                  <a:gd name="connsiteY50" fmla="*/ 175926 h 529494"/>
                  <a:gd name="connsiteX51" fmla="*/ 264986 w 3550159"/>
                  <a:gd name="connsiteY51" fmla="*/ 175926 h 529494"/>
                  <a:gd name="connsiteX52" fmla="*/ 264986 w 3550159"/>
                  <a:gd name="connsiteY52" fmla="*/ 181927 h 529494"/>
                  <a:gd name="connsiteX53" fmla="*/ 271273 w 3550159"/>
                  <a:gd name="connsiteY53" fmla="*/ 181927 h 529494"/>
                  <a:gd name="connsiteX54" fmla="*/ 271273 w 3550159"/>
                  <a:gd name="connsiteY54" fmla="*/ 194119 h 529494"/>
                  <a:gd name="connsiteX55" fmla="*/ 290227 w 3550159"/>
                  <a:gd name="connsiteY55" fmla="*/ 194119 h 529494"/>
                  <a:gd name="connsiteX56" fmla="*/ 290227 w 3550159"/>
                  <a:gd name="connsiteY56" fmla="*/ 200120 h 529494"/>
                  <a:gd name="connsiteX57" fmla="*/ 298609 w 3550159"/>
                  <a:gd name="connsiteY57" fmla="*/ 200120 h 529494"/>
                  <a:gd name="connsiteX58" fmla="*/ 298609 w 3550159"/>
                  <a:gd name="connsiteY58" fmla="*/ 206216 h 529494"/>
                  <a:gd name="connsiteX59" fmla="*/ 311278 w 3550159"/>
                  <a:gd name="connsiteY59" fmla="*/ 206216 h 529494"/>
                  <a:gd name="connsiteX60" fmla="*/ 311278 w 3550159"/>
                  <a:gd name="connsiteY60" fmla="*/ 212312 h 529494"/>
                  <a:gd name="connsiteX61" fmla="*/ 328137 w 3550159"/>
                  <a:gd name="connsiteY61" fmla="*/ 212312 h 529494"/>
                  <a:gd name="connsiteX62" fmla="*/ 328137 w 3550159"/>
                  <a:gd name="connsiteY62" fmla="*/ 218313 h 529494"/>
                  <a:gd name="connsiteX63" fmla="*/ 355474 w 3550159"/>
                  <a:gd name="connsiteY63" fmla="*/ 218313 h 529494"/>
                  <a:gd name="connsiteX64" fmla="*/ 355474 w 3550159"/>
                  <a:gd name="connsiteY64" fmla="*/ 224409 h 529494"/>
                  <a:gd name="connsiteX65" fmla="*/ 357569 w 3550159"/>
                  <a:gd name="connsiteY65" fmla="*/ 224409 h 529494"/>
                  <a:gd name="connsiteX66" fmla="*/ 357569 w 3550159"/>
                  <a:gd name="connsiteY66" fmla="*/ 230505 h 529494"/>
                  <a:gd name="connsiteX67" fmla="*/ 368046 w 3550159"/>
                  <a:gd name="connsiteY67" fmla="*/ 230505 h 529494"/>
                  <a:gd name="connsiteX68" fmla="*/ 368046 w 3550159"/>
                  <a:gd name="connsiteY68" fmla="*/ 236505 h 529494"/>
                  <a:gd name="connsiteX69" fmla="*/ 374333 w 3550159"/>
                  <a:gd name="connsiteY69" fmla="*/ 236505 h 529494"/>
                  <a:gd name="connsiteX70" fmla="*/ 374333 w 3550159"/>
                  <a:gd name="connsiteY70" fmla="*/ 248697 h 529494"/>
                  <a:gd name="connsiteX71" fmla="*/ 382810 w 3550159"/>
                  <a:gd name="connsiteY71" fmla="*/ 248697 h 529494"/>
                  <a:gd name="connsiteX72" fmla="*/ 382810 w 3550159"/>
                  <a:gd name="connsiteY72" fmla="*/ 254698 h 529494"/>
                  <a:gd name="connsiteX73" fmla="*/ 389097 w 3550159"/>
                  <a:gd name="connsiteY73" fmla="*/ 254698 h 529494"/>
                  <a:gd name="connsiteX74" fmla="*/ 389097 w 3550159"/>
                  <a:gd name="connsiteY74" fmla="*/ 266890 h 529494"/>
                  <a:gd name="connsiteX75" fmla="*/ 391192 w 3550159"/>
                  <a:gd name="connsiteY75" fmla="*/ 266890 h 529494"/>
                  <a:gd name="connsiteX76" fmla="*/ 391192 w 3550159"/>
                  <a:gd name="connsiteY76" fmla="*/ 272986 h 529494"/>
                  <a:gd name="connsiteX77" fmla="*/ 403765 w 3550159"/>
                  <a:gd name="connsiteY77" fmla="*/ 272986 h 529494"/>
                  <a:gd name="connsiteX78" fmla="*/ 403765 w 3550159"/>
                  <a:gd name="connsiteY78" fmla="*/ 278987 h 529494"/>
                  <a:gd name="connsiteX79" fmla="*/ 426911 w 3550159"/>
                  <a:gd name="connsiteY79" fmla="*/ 278987 h 529494"/>
                  <a:gd name="connsiteX80" fmla="*/ 426911 w 3550159"/>
                  <a:gd name="connsiteY80" fmla="*/ 285083 h 529494"/>
                  <a:gd name="connsiteX81" fmla="*/ 433293 w 3550159"/>
                  <a:gd name="connsiteY81" fmla="*/ 285083 h 529494"/>
                  <a:gd name="connsiteX82" fmla="*/ 433293 w 3550159"/>
                  <a:gd name="connsiteY82" fmla="*/ 291179 h 529494"/>
                  <a:gd name="connsiteX83" fmla="*/ 441675 w 3550159"/>
                  <a:gd name="connsiteY83" fmla="*/ 291179 h 529494"/>
                  <a:gd name="connsiteX84" fmla="*/ 441675 w 3550159"/>
                  <a:gd name="connsiteY84" fmla="*/ 297180 h 529494"/>
                  <a:gd name="connsiteX85" fmla="*/ 450057 w 3550159"/>
                  <a:gd name="connsiteY85" fmla="*/ 297180 h 529494"/>
                  <a:gd name="connsiteX86" fmla="*/ 450057 w 3550159"/>
                  <a:gd name="connsiteY86" fmla="*/ 303276 h 529494"/>
                  <a:gd name="connsiteX87" fmla="*/ 454248 w 3550159"/>
                  <a:gd name="connsiteY87" fmla="*/ 303276 h 529494"/>
                  <a:gd name="connsiteX88" fmla="*/ 454248 w 3550159"/>
                  <a:gd name="connsiteY88" fmla="*/ 309372 h 529494"/>
                  <a:gd name="connsiteX89" fmla="*/ 527876 w 3550159"/>
                  <a:gd name="connsiteY89" fmla="*/ 309372 h 529494"/>
                  <a:gd name="connsiteX90" fmla="*/ 527876 w 3550159"/>
                  <a:gd name="connsiteY90" fmla="*/ 315372 h 529494"/>
                  <a:gd name="connsiteX91" fmla="*/ 548926 w 3550159"/>
                  <a:gd name="connsiteY91" fmla="*/ 315372 h 529494"/>
                  <a:gd name="connsiteX92" fmla="*/ 548926 w 3550159"/>
                  <a:gd name="connsiteY92" fmla="*/ 321468 h 529494"/>
                  <a:gd name="connsiteX93" fmla="*/ 555213 w 3550159"/>
                  <a:gd name="connsiteY93" fmla="*/ 321468 h 529494"/>
                  <a:gd name="connsiteX94" fmla="*/ 555213 w 3550159"/>
                  <a:gd name="connsiteY94" fmla="*/ 327564 h 529494"/>
                  <a:gd name="connsiteX95" fmla="*/ 597313 w 3550159"/>
                  <a:gd name="connsiteY95" fmla="*/ 327564 h 529494"/>
                  <a:gd name="connsiteX96" fmla="*/ 597313 w 3550159"/>
                  <a:gd name="connsiteY96" fmla="*/ 333565 h 529494"/>
                  <a:gd name="connsiteX97" fmla="*/ 611982 w 3550159"/>
                  <a:gd name="connsiteY97" fmla="*/ 333565 h 529494"/>
                  <a:gd name="connsiteX98" fmla="*/ 611982 w 3550159"/>
                  <a:gd name="connsiteY98" fmla="*/ 339661 h 529494"/>
                  <a:gd name="connsiteX99" fmla="*/ 641509 w 3550159"/>
                  <a:gd name="connsiteY99" fmla="*/ 339661 h 529494"/>
                  <a:gd name="connsiteX100" fmla="*/ 641509 w 3550159"/>
                  <a:gd name="connsiteY100" fmla="*/ 345757 h 529494"/>
                  <a:gd name="connsiteX101" fmla="*/ 643605 w 3550159"/>
                  <a:gd name="connsiteY101" fmla="*/ 345757 h 529494"/>
                  <a:gd name="connsiteX102" fmla="*/ 643605 w 3550159"/>
                  <a:gd name="connsiteY102" fmla="*/ 351758 h 529494"/>
                  <a:gd name="connsiteX103" fmla="*/ 666655 w 3550159"/>
                  <a:gd name="connsiteY103" fmla="*/ 351758 h 529494"/>
                  <a:gd name="connsiteX104" fmla="*/ 666655 w 3550159"/>
                  <a:gd name="connsiteY104" fmla="*/ 357854 h 529494"/>
                  <a:gd name="connsiteX105" fmla="*/ 679324 w 3550159"/>
                  <a:gd name="connsiteY105" fmla="*/ 357854 h 529494"/>
                  <a:gd name="connsiteX106" fmla="*/ 679324 w 3550159"/>
                  <a:gd name="connsiteY106" fmla="*/ 363950 h 529494"/>
                  <a:gd name="connsiteX107" fmla="*/ 715042 w 3550159"/>
                  <a:gd name="connsiteY107" fmla="*/ 363950 h 529494"/>
                  <a:gd name="connsiteX108" fmla="*/ 715042 w 3550159"/>
                  <a:gd name="connsiteY108" fmla="*/ 370046 h 529494"/>
                  <a:gd name="connsiteX109" fmla="*/ 830771 w 3550159"/>
                  <a:gd name="connsiteY109" fmla="*/ 370046 h 529494"/>
                  <a:gd name="connsiteX110" fmla="*/ 830771 w 3550159"/>
                  <a:gd name="connsiteY110" fmla="*/ 376047 h 529494"/>
                  <a:gd name="connsiteX111" fmla="*/ 868585 w 3550159"/>
                  <a:gd name="connsiteY111" fmla="*/ 376047 h 529494"/>
                  <a:gd name="connsiteX112" fmla="*/ 868585 w 3550159"/>
                  <a:gd name="connsiteY112" fmla="*/ 382238 h 529494"/>
                  <a:gd name="connsiteX113" fmla="*/ 921163 w 3550159"/>
                  <a:gd name="connsiteY113" fmla="*/ 382238 h 529494"/>
                  <a:gd name="connsiteX114" fmla="*/ 921163 w 3550159"/>
                  <a:gd name="connsiteY114" fmla="*/ 388334 h 529494"/>
                  <a:gd name="connsiteX115" fmla="*/ 940118 w 3550159"/>
                  <a:gd name="connsiteY115" fmla="*/ 388334 h 529494"/>
                  <a:gd name="connsiteX116" fmla="*/ 940118 w 3550159"/>
                  <a:gd name="connsiteY116" fmla="*/ 394430 h 529494"/>
                  <a:gd name="connsiteX117" fmla="*/ 950596 w 3550159"/>
                  <a:gd name="connsiteY117" fmla="*/ 394430 h 529494"/>
                  <a:gd name="connsiteX118" fmla="*/ 950596 w 3550159"/>
                  <a:gd name="connsiteY118" fmla="*/ 400621 h 529494"/>
                  <a:gd name="connsiteX119" fmla="*/ 984314 w 3550159"/>
                  <a:gd name="connsiteY119" fmla="*/ 400621 h 529494"/>
                  <a:gd name="connsiteX120" fmla="*/ 984314 w 3550159"/>
                  <a:gd name="connsiteY120" fmla="*/ 406717 h 529494"/>
                  <a:gd name="connsiteX121" fmla="*/ 990601 w 3550159"/>
                  <a:gd name="connsiteY121" fmla="*/ 406717 h 529494"/>
                  <a:gd name="connsiteX122" fmla="*/ 990601 w 3550159"/>
                  <a:gd name="connsiteY122" fmla="*/ 412813 h 529494"/>
                  <a:gd name="connsiteX123" fmla="*/ 1005269 w 3550159"/>
                  <a:gd name="connsiteY123" fmla="*/ 412813 h 529494"/>
                  <a:gd name="connsiteX124" fmla="*/ 1005269 w 3550159"/>
                  <a:gd name="connsiteY124" fmla="*/ 418909 h 529494"/>
                  <a:gd name="connsiteX125" fmla="*/ 1017937 w 3550159"/>
                  <a:gd name="connsiteY125" fmla="*/ 418909 h 529494"/>
                  <a:gd name="connsiteX126" fmla="*/ 1017937 w 3550159"/>
                  <a:gd name="connsiteY126" fmla="*/ 425100 h 529494"/>
                  <a:gd name="connsiteX127" fmla="*/ 1043179 w 3550159"/>
                  <a:gd name="connsiteY127" fmla="*/ 425100 h 529494"/>
                  <a:gd name="connsiteX128" fmla="*/ 1043179 w 3550159"/>
                  <a:gd name="connsiteY128" fmla="*/ 431196 h 529494"/>
                  <a:gd name="connsiteX129" fmla="*/ 1272445 w 3550159"/>
                  <a:gd name="connsiteY129" fmla="*/ 431196 h 529494"/>
                  <a:gd name="connsiteX130" fmla="*/ 1272445 w 3550159"/>
                  <a:gd name="connsiteY130" fmla="*/ 437388 h 529494"/>
                  <a:gd name="connsiteX131" fmla="*/ 1385983 w 3550159"/>
                  <a:gd name="connsiteY131" fmla="*/ 437388 h 529494"/>
                  <a:gd name="connsiteX132" fmla="*/ 1385983 w 3550159"/>
                  <a:gd name="connsiteY132" fmla="*/ 443579 h 529494"/>
                  <a:gd name="connsiteX133" fmla="*/ 1655160 w 3550159"/>
                  <a:gd name="connsiteY133" fmla="*/ 443579 h 529494"/>
                  <a:gd name="connsiteX134" fmla="*/ 1655160 w 3550159"/>
                  <a:gd name="connsiteY134" fmla="*/ 449865 h 529494"/>
                  <a:gd name="connsiteX135" fmla="*/ 1728788 w 3550159"/>
                  <a:gd name="connsiteY135" fmla="*/ 449865 h 529494"/>
                  <a:gd name="connsiteX136" fmla="*/ 1728788 w 3550159"/>
                  <a:gd name="connsiteY136" fmla="*/ 456152 h 529494"/>
                  <a:gd name="connsiteX137" fmla="*/ 1808703 w 3550159"/>
                  <a:gd name="connsiteY137" fmla="*/ 456152 h 529494"/>
                  <a:gd name="connsiteX138" fmla="*/ 1808703 w 3550159"/>
                  <a:gd name="connsiteY138" fmla="*/ 462438 h 529494"/>
                  <a:gd name="connsiteX139" fmla="*/ 1970628 w 3550159"/>
                  <a:gd name="connsiteY139" fmla="*/ 462438 h 529494"/>
                  <a:gd name="connsiteX140" fmla="*/ 1970628 w 3550159"/>
                  <a:gd name="connsiteY140" fmla="*/ 468915 h 529494"/>
                  <a:gd name="connsiteX141" fmla="*/ 1987487 w 3550159"/>
                  <a:gd name="connsiteY141" fmla="*/ 468915 h 529494"/>
                  <a:gd name="connsiteX142" fmla="*/ 1987487 w 3550159"/>
                  <a:gd name="connsiteY142" fmla="*/ 475297 h 529494"/>
                  <a:gd name="connsiteX143" fmla="*/ 2105311 w 3550159"/>
                  <a:gd name="connsiteY143" fmla="*/ 475297 h 529494"/>
                  <a:gd name="connsiteX144" fmla="*/ 2105311 w 3550159"/>
                  <a:gd name="connsiteY144" fmla="*/ 481774 h 529494"/>
                  <a:gd name="connsiteX145" fmla="*/ 2197799 w 3550159"/>
                  <a:gd name="connsiteY145" fmla="*/ 481774 h 529494"/>
                  <a:gd name="connsiteX146" fmla="*/ 2197799 w 3550159"/>
                  <a:gd name="connsiteY146" fmla="*/ 488156 h 529494"/>
                  <a:gd name="connsiteX147" fmla="*/ 2216754 w 3550159"/>
                  <a:gd name="connsiteY147" fmla="*/ 488156 h 529494"/>
                  <a:gd name="connsiteX148" fmla="*/ 2216754 w 3550159"/>
                  <a:gd name="connsiteY148" fmla="*/ 494633 h 529494"/>
                  <a:gd name="connsiteX149" fmla="*/ 3070575 w 3550159"/>
                  <a:gd name="connsiteY149" fmla="*/ 494633 h 529494"/>
                  <a:gd name="connsiteX150" fmla="*/ 3070575 w 3550159"/>
                  <a:gd name="connsiteY150" fmla="*/ 529494 h 529494"/>
                  <a:gd name="connsiteX151" fmla="*/ 3550159 w 3550159"/>
                  <a:gd name="connsiteY151" fmla="*/ 529494 h 529494"/>
                  <a:gd name="connsiteX0" fmla="*/ 0 w 3550159"/>
                  <a:gd name="connsiteY0" fmla="*/ 0 h 529494"/>
                  <a:gd name="connsiteX1" fmla="*/ 21051 w 3550159"/>
                  <a:gd name="connsiteY1" fmla="*/ 6000 h 529494"/>
                  <a:gd name="connsiteX2" fmla="*/ 21051 w 3550159"/>
                  <a:gd name="connsiteY2" fmla="*/ 12096 h 529494"/>
                  <a:gd name="connsiteX3" fmla="*/ 29433 w 3550159"/>
                  <a:gd name="connsiteY3" fmla="*/ 12096 h 529494"/>
                  <a:gd name="connsiteX4" fmla="*/ 40006 w 3550159"/>
                  <a:gd name="connsiteY4" fmla="*/ 18192 h 529494"/>
                  <a:gd name="connsiteX5" fmla="*/ 40006 w 3550159"/>
                  <a:gd name="connsiteY5" fmla="*/ 24193 h 529494"/>
                  <a:gd name="connsiteX6" fmla="*/ 52579 w 3550159"/>
                  <a:gd name="connsiteY6" fmla="*/ 24193 h 529494"/>
                  <a:gd name="connsiteX7" fmla="*/ 52579 w 3550159"/>
                  <a:gd name="connsiteY7" fmla="*/ 30289 h 529494"/>
                  <a:gd name="connsiteX8" fmla="*/ 58865 w 3550159"/>
                  <a:gd name="connsiteY8" fmla="*/ 30289 h 529494"/>
                  <a:gd name="connsiteX9" fmla="*/ 58865 w 3550159"/>
                  <a:gd name="connsiteY9" fmla="*/ 42386 h 529494"/>
                  <a:gd name="connsiteX10" fmla="*/ 63056 w 3550159"/>
                  <a:gd name="connsiteY10" fmla="*/ 42386 h 529494"/>
                  <a:gd name="connsiteX11" fmla="*/ 63056 w 3550159"/>
                  <a:gd name="connsiteY11" fmla="*/ 48482 h 529494"/>
                  <a:gd name="connsiteX12" fmla="*/ 75724 w 3550159"/>
                  <a:gd name="connsiteY12" fmla="*/ 48482 h 529494"/>
                  <a:gd name="connsiteX13" fmla="*/ 75724 w 3550159"/>
                  <a:gd name="connsiteY13" fmla="*/ 54578 h 529494"/>
                  <a:gd name="connsiteX14" fmla="*/ 90393 w 3550159"/>
                  <a:gd name="connsiteY14" fmla="*/ 54578 h 529494"/>
                  <a:gd name="connsiteX15" fmla="*/ 90393 w 3550159"/>
                  <a:gd name="connsiteY15" fmla="*/ 60579 h 529494"/>
                  <a:gd name="connsiteX16" fmla="*/ 94679 w 3550159"/>
                  <a:gd name="connsiteY16" fmla="*/ 60579 h 529494"/>
                  <a:gd name="connsiteX17" fmla="*/ 94679 w 3550159"/>
                  <a:gd name="connsiteY17" fmla="*/ 66675 h 529494"/>
                  <a:gd name="connsiteX18" fmla="*/ 105156 w 3550159"/>
                  <a:gd name="connsiteY18" fmla="*/ 66675 h 529494"/>
                  <a:gd name="connsiteX19" fmla="*/ 105156 w 3550159"/>
                  <a:gd name="connsiteY19" fmla="*/ 72771 h 529494"/>
                  <a:gd name="connsiteX20" fmla="*/ 113539 w 3550159"/>
                  <a:gd name="connsiteY20" fmla="*/ 72771 h 529494"/>
                  <a:gd name="connsiteX21" fmla="*/ 113539 w 3550159"/>
                  <a:gd name="connsiteY21" fmla="*/ 78867 h 529494"/>
                  <a:gd name="connsiteX22" fmla="*/ 128302 w 3550159"/>
                  <a:gd name="connsiteY22" fmla="*/ 78867 h 529494"/>
                  <a:gd name="connsiteX23" fmla="*/ 128302 w 3550159"/>
                  <a:gd name="connsiteY23" fmla="*/ 84867 h 529494"/>
                  <a:gd name="connsiteX24" fmla="*/ 132493 w 3550159"/>
                  <a:gd name="connsiteY24" fmla="*/ 84867 h 529494"/>
                  <a:gd name="connsiteX25" fmla="*/ 132493 w 3550159"/>
                  <a:gd name="connsiteY25" fmla="*/ 90963 h 529494"/>
                  <a:gd name="connsiteX26" fmla="*/ 136684 w 3550159"/>
                  <a:gd name="connsiteY26" fmla="*/ 90963 h 529494"/>
                  <a:gd name="connsiteX27" fmla="*/ 136684 w 3550159"/>
                  <a:gd name="connsiteY27" fmla="*/ 97059 h 529494"/>
                  <a:gd name="connsiteX28" fmla="*/ 149353 w 3550159"/>
                  <a:gd name="connsiteY28" fmla="*/ 97059 h 529494"/>
                  <a:gd name="connsiteX29" fmla="*/ 149353 w 3550159"/>
                  <a:gd name="connsiteY29" fmla="*/ 103060 h 529494"/>
                  <a:gd name="connsiteX30" fmla="*/ 178785 w 3550159"/>
                  <a:gd name="connsiteY30" fmla="*/ 103060 h 529494"/>
                  <a:gd name="connsiteX31" fmla="*/ 178785 w 3550159"/>
                  <a:gd name="connsiteY31" fmla="*/ 109156 h 529494"/>
                  <a:gd name="connsiteX32" fmla="*/ 187167 w 3550159"/>
                  <a:gd name="connsiteY32" fmla="*/ 109156 h 529494"/>
                  <a:gd name="connsiteX33" fmla="*/ 187167 w 3550159"/>
                  <a:gd name="connsiteY33" fmla="*/ 115252 h 529494"/>
                  <a:gd name="connsiteX34" fmla="*/ 189262 w 3550159"/>
                  <a:gd name="connsiteY34" fmla="*/ 115252 h 529494"/>
                  <a:gd name="connsiteX35" fmla="*/ 189262 w 3550159"/>
                  <a:gd name="connsiteY35" fmla="*/ 121253 h 529494"/>
                  <a:gd name="connsiteX36" fmla="*/ 204026 w 3550159"/>
                  <a:gd name="connsiteY36" fmla="*/ 121253 h 529494"/>
                  <a:gd name="connsiteX37" fmla="*/ 204026 w 3550159"/>
                  <a:gd name="connsiteY37" fmla="*/ 133445 h 529494"/>
                  <a:gd name="connsiteX38" fmla="*/ 206122 w 3550159"/>
                  <a:gd name="connsiteY38" fmla="*/ 133445 h 529494"/>
                  <a:gd name="connsiteX39" fmla="*/ 206122 w 3550159"/>
                  <a:gd name="connsiteY39" fmla="*/ 139446 h 529494"/>
                  <a:gd name="connsiteX40" fmla="*/ 212408 w 3550159"/>
                  <a:gd name="connsiteY40" fmla="*/ 139446 h 529494"/>
                  <a:gd name="connsiteX41" fmla="*/ 212408 w 3550159"/>
                  <a:gd name="connsiteY41" fmla="*/ 145542 h 529494"/>
                  <a:gd name="connsiteX42" fmla="*/ 216599 w 3550159"/>
                  <a:gd name="connsiteY42" fmla="*/ 145542 h 529494"/>
                  <a:gd name="connsiteX43" fmla="*/ 216599 w 3550159"/>
                  <a:gd name="connsiteY43" fmla="*/ 151638 h 529494"/>
                  <a:gd name="connsiteX44" fmla="*/ 233458 w 3550159"/>
                  <a:gd name="connsiteY44" fmla="*/ 151638 h 529494"/>
                  <a:gd name="connsiteX45" fmla="*/ 233458 w 3550159"/>
                  <a:gd name="connsiteY45" fmla="*/ 163734 h 529494"/>
                  <a:gd name="connsiteX46" fmla="*/ 237649 w 3550159"/>
                  <a:gd name="connsiteY46" fmla="*/ 163734 h 529494"/>
                  <a:gd name="connsiteX47" fmla="*/ 237649 w 3550159"/>
                  <a:gd name="connsiteY47" fmla="*/ 169830 h 529494"/>
                  <a:gd name="connsiteX48" fmla="*/ 260795 w 3550159"/>
                  <a:gd name="connsiteY48" fmla="*/ 169830 h 529494"/>
                  <a:gd name="connsiteX49" fmla="*/ 260795 w 3550159"/>
                  <a:gd name="connsiteY49" fmla="*/ 175926 h 529494"/>
                  <a:gd name="connsiteX50" fmla="*/ 264986 w 3550159"/>
                  <a:gd name="connsiteY50" fmla="*/ 175926 h 529494"/>
                  <a:gd name="connsiteX51" fmla="*/ 264986 w 3550159"/>
                  <a:gd name="connsiteY51" fmla="*/ 181927 h 529494"/>
                  <a:gd name="connsiteX52" fmla="*/ 271273 w 3550159"/>
                  <a:gd name="connsiteY52" fmla="*/ 181927 h 529494"/>
                  <a:gd name="connsiteX53" fmla="*/ 271273 w 3550159"/>
                  <a:gd name="connsiteY53" fmla="*/ 194119 h 529494"/>
                  <a:gd name="connsiteX54" fmla="*/ 290227 w 3550159"/>
                  <a:gd name="connsiteY54" fmla="*/ 194119 h 529494"/>
                  <a:gd name="connsiteX55" fmla="*/ 290227 w 3550159"/>
                  <a:gd name="connsiteY55" fmla="*/ 200120 h 529494"/>
                  <a:gd name="connsiteX56" fmla="*/ 298609 w 3550159"/>
                  <a:gd name="connsiteY56" fmla="*/ 200120 h 529494"/>
                  <a:gd name="connsiteX57" fmla="*/ 298609 w 3550159"/>
                  <a:gd name="connsiteY57" fmla="*/ 206216 h 529494"/>
                  <a:gd name="connsiteX58" fmla="*/ 311278 w 3550159"/>
                  <a:gd name="connsiteY58" fmla="*/ 206216 h 529494"/>
                  <a:gd name="connsiteX59" fmla="*/ 311278 w 3550159"/>
                  <a:gd name="connsiteY59" fmla="*/ 212312 h 529494"/>
                  <a:gd name="connsiteX60" fmla="*/ 328137 w 3550159"/>
                  <a:gd name="connsiteY60" fmla="*/ 212312 h 529494"/>
                  <a:gd name="connsiteX61" fmla="*/ 328137 w 3550159"/>
                  <a:gd name="connsiteY61" fmla="*/ 218313 h 529494"/>
                  <a:gd name="connsiteX62" fmla="*/ 355474 w 3550159"/>
                  <a:gd name="connsiteY62" fmla="*/ 218313 h 529494"/>
                  <a:gd name="connsiteX63" fmla="*/ 355474 w 3550159"/>
                  <a:gd name="connsiteY63" fmla="*/ 224409 h 529494"/>
                  <a:gd name="connsiteX64" fmla="*/ 357569 w 3550159"/>
                  <a:gd name="connsiteY64" fmla="*/ 224409 h 529494"/>
                  <a:gd name="connsiteX65" fmla="*/ 357569 w 3550159"/>
                  <a:gd name="connsiteY65" fmla="*/ 230505 h 529494"/>
                  <a:gd name="connsiteX66" fmla="*/ 368046 w 3550159"/>
                  <a:gd name="connsiteY66" fmla="*/ 230505 h 529494"/>
                  <a:gd name="connsiteX67" fmla="*/ 368046 w 3550159"/>
                  <a:gd name="connsiteY67" fmla="*/ 236505 h 529494"/>
                  <a:gd name="connsiteX68" fmla="*/ 374333 w 3550159"/>
                  <a:gd name="connsiteY68" fmla="*/ 236505 h 529494"/>
                  <a:gd name="connsiteX69" fmla="*/ 374333 w 3550159"/>
                  <a:gd name="connsiteY69" fmla="*/ 248697 h 529494"/>
                  <a:gd name="connsiteX70" fmla="*/ 382810 w 3550159"/>
                  <a:gd name="connsiteY70" fmla="*/ 248697 h 529494"/>
                  <a:gd name="connsiteX71" fmla="*/ 382810 w 3550159"/>
                  <a:gd name="connsiteY71" fmla="*/ 254698 h 529494"/>
                  <a:gd name="connsiteX72" fmla="*/ 389097 w 3550159"/>
                  <a:gd name="connsiteY72" fmla="*/ 254698 h 529494"/>
                  <a:gd name="connsiteX73" fmla="*/ 389097 w 3550159"/>
                  <a:gd name="connsiteY73" fmla="*/ 266890 h 529494"/>
                  <a:gd name="connsiteX74" fmla="*/ 391192 w 3550159"/>
                  <a:gd name="connsiteY74" fmla="*/ 266890 h 529494"/>
                  <a:gd name="connsiteX75" fmla="*/ 391192 w 3550159"/>
                  <a:gd name="connsiteY75" fmla="*/ 272986 h 529494"/>
                  <a:gd name="connsiteX76" fmla="*/ 403765 w 3550159"/>
                  <a:gd name="connsiteY76" fmla="*/ 272986 h 529494"/>
                  <a:gd name="connsiteX77" fmla="*/ 403765 w 3550159"/>
                  <a:gd name="connsiteY77" fmla="*/ 278987 h 529494"/>
                  <a:gd name="connsiteX78" fmla="*/ 426911 w 3550159"/>
                  <a:gd name="connsiteY78" fmla="*/ 278987 h 529494"/>
                  <a:gd name="connsiteX79" fmla="*/ 426911 w 3550159"/>
                  <a:gd name="connsiteY79" fmla="*/ 285083 h 529494"/>
                  <a:gd name="connsiteX80" fmla="*/ 433293 w 3550159"/>
                  <a:gd name="connsiteY80" fmla="*/ 285083 h 529494"/>
                  <a:gd name="connsiteX81" fmla="*/ 433293 w 3550159"/>
                  <a:gd name="connsiteY81" fmla="*/ 291179 h 529494"/>
                  <a:gd name="connsiteX82" fmla="*/ 441675 w 3550159"/>
                  <a:gd name="connsiteY82" fmla="*/ 291179 h 529494"/>
                  <a:gd name="connsiteX83" fmla="*/ 441675 w 3550159"/>
                  <a:gd name="connsiteY83" fmla="*/ 297180 h 529494"/>
                  <a:gd name="connsiteX84" fmla="*/ 450057 w 3550159"/>
                  <a:gd name="connsiteY84" fmla="*/ 297180 h 529494"/>
                  <a:gd name="connsiteX85" fmla="*/ 450057 w 3550159"/>
                  <a:gd name="connsiteY85" fmla="*/ 303276 h 529494"/>
                  <a:gd name="connsiteX86" fmla="*/ 454248 w 3550159"/>
                  <a:gd name="connsiteY86" fmla="*/ 303276 h 529494"/>
                  <a:gd name="connsiteX87" fmla="*/ 454248 w 3550159"/>
                  <a:gd name="connsiteY87" fmla="*/ 309372 h 529494"/>
                  <a:gd name="connsiteX88" fmla="*/ 527876 w 3550159"/>
                  <a:gd name="connsiteY88" fmla="*/ 309372 h 529494"/>
                  <a:gd name="connsiteX89" fmla="*/ 527876 w 3550159"/>
                  <a:gd name="connsiteY89" fmla="*/ 315372 h 529494"/>
                  <a:gd name="connsiteX90" fmla="*/ 548926 w 3550159"/>
                  <a:gd name="connsiteY90" fmla="*/ 315372 h 529494"/>
                  <a:gd name="connsiteX91" fmla="*/ 548926 w 3550159"/>
                  <a:gd name="connsiteY91" fmla="*/ 321468 h 529494"/>
                  <a:gd name="connsiteX92" fmla="*/ 555213 w 3550159"/>
                  <a:gd name="connsiteY92" fmla="*/ 321468 h 529494"/>
                  <a:gd name="connsiteX93" fmla="*/ 555213 w 3550159"/>
                  <a:gd name="connsiteY93" fmla="*/ 327564 h 529494"/>
                  <a:gd name="connsiteX94" fmla="*/ 597313 w 3550159"/>
                  <a:gd name="connsiteY94" fmla="*/ 327564 h 529494"/>
                  <a:gd name="connsiteX95" fmla="*/ 597313 w 3550159"/>
                  <a:gd name="connsiteY95" fmla="*/ 333565 h 529494"/>
                  <a:gd name="connsiteX96" fmla="*/ 611982 w 3550159"/>
                  <a:gd name="connsiteY96" fmla="*/ 333565 h 529494"/>
                  <a:gd name="connsiteX97" fmla="*/ 611982 w 3550159"/>
                  <a:gd name="connsiteY97" fmla="*/ 339661 h 529494"/>
                  <a:gd name="connsiteX98" fmla="*/ 641509 w 3550159"/>
                  <a:gd name="connsiteY98" fmla="*/ 339661 h 529494"/>
                  <a:gd name="connsiteX99" fmla="*/ 641509 w 3550159"/>
                  <a:gd name="connsiteY99" fmla="*/ 345757 h 529494"/>
                  <a:gd name="connsiteX100" fmla="*/ 643605 w 3550159"/>
                  <a:gd name="connsiteY100" fmla="*/ 345757 h 529494"/>
                  <a:gd name="connsiteX101" fmla="*/ 643605 w 3550159"/>
                  <a:gd name="connsiteY101" fmla="*/ 351758 h 529494"/>
                  <a:gd name="connsiteX102" fmla="*/ 666655 w 3550159"/>
                  <a:gd name="connsiteY102" fmla="*/ 351758 h 529494"/>
                  <a:gd name="connsiteX103" fmla="*/ 666655 w 3550159"/>
                  <a:gd name="connsiteY103" fmla="*/ 357854 h 529494"/>
                  <a:gd name="connsiteX104" fmla="*/ 679324 w 3550159"/>
                  <a:gd name="connsiteY104" fmla="*/ 357854 h 529494"/>
                  <a:gd name="connsiteX105" fmla="*/ 679324 w 3550159"/>
                  <a:gd name="connsiteY105" fmla="*/ 363950 h 529494"/>
                  <a:gd name="connsiteX106" fmla="*/ 715042 w 3550159"/>
                  <a:gd name="connsiteY106" fmla="*/ 363950 h 529494"/>
                  <a:gd name="connsiteX107" fmla="*/ 715042 w 3550159"/>
                  <a:gd name="connsiteY107" fmla="*/ 370046 h 529494"/>
                  <a:gd name="connsiteX108" fmla="*/ 830771 w 3550159"/>
                  <a:gd name="connsiteY108" fmla="*/ 370046 h 529494"/>
                  <a:gd name="connsiteX109" fmla="*/ 830771 w 3550159"/>
                  <a:gd name="connsiteY109" fmla="*/ 376047 h 529494"/>
                  <a:gd name="connsiteX110" fmla="*/ 868585 w 3550159"/>
                  <a:gd name="connsiteY110" fmla="*/ 376047 h 529494"/>
                  <a:gd name="connsiteX111" fmla="*/ 868585 w 3550159"/>
                  <a:gd name="connsiteY111" fmla="*/ 382238 h 529494"/>
                  <a:gd name="connsiteX112" fmla="*/ 921163 w 3550159"/>
                  <a:gd name="connsiteY112" fmla="*/ 382238 h 529494"/>
                  <a:gd name="connsiteX113" fmla="*/ 921163 w 3550159"/>
                  <a:gd name="connsiteY113" fmla="*/ 388334 h 529494"/>
                  <a:gd name="connsiteX114" fmla="*/ 940118 w 3550159"/>
                  <a:gd name="connsiteY114" fmla="*/ 388334 h 529494"/>
                  <a:gd name="connsiteX115" fmla="*/ 940118 w 3550159"/>
                  <a:gd name="connsiteY115" fmla="*/ 394430 h 529494"/>
                  <a:gd name="connsiteX116" fmla="*/ 950596 w 3550159"/>
                  <a:gd name="connsiteY116" fmla="*/ 394430 h 529494"/>
                  <a:gd name="connsiteX117" fmla="*/ 950596 w 3550159"/>
                  <a:gd name="connsiteY117" fmla="*/ 400621 h 529494"/>
                  <a:gd name="connsiteX118" fmla="*/ 984314 w 3550159"/>
                  <a:gd name="connsiteY118" fmla="*/ 400621 h 529494"/>
                  <a:gd name="connsiteX119" fmla="*/ 984314 w 3550159"/>
                  <a:gd name="connsiteY119" fmla="*/ 406717 h 529494"/>
                  <a:gd name="connsiteX120" fmla="*/ 990601 w 3550159"/>
                  <a:gd name="connsiteY120" fmla="*/ 406717 h 529494"/>
                  <a:gd name="connsiteX121" fmla="*/ 990601 w 3550159"/>
                  <a:gd name="connsiteY121" fmla="*/ 412813 h 529494"/>
                  <a:gd name="connsiteX122" fmla="*/ 1005269 w 3550159"/>
                  <a:gd name="connsiteY122" fmla="*/ 412813 h 529494"/>
                  <a:gd name="connsiteX123" fmla="*/ 1005269 w 3550159"/>
                  <a:gd name="connsiteY123" fmla="*/ 418909 h 529494"/>
                  <a:gd name="connsiteX124" fmla="*/ 1017937 w 3550159"/>
                  <a:gd name="connsiteY124" fmla="*/ 418909 h 529494"/>
                  <a:gd name="connsiteX125" fmla="*/ 1017937 w 3550159"/>
                  <a:gd name="connsiteY125" fmla="*/ 425100 h 529494"/>
                  <a:gd name="connsiteX126" fmla="*/ 1043179 w 3550159"/>
                  <a:gd name="connsiteY126" fmla="*/ 425100 h 529494"/>
                  <a:gd name="connsiteX127" fmla="*/ 1043179 w 3550159"/>
                  <a:gd name="connsiteY127" fmla="*/ 431196 h 529494"/>
                  <a:gd name="connsiteX128" fmla="*/ 1272445 w 3550159"/>
                  <a:gd name="connsiteY128" fmla="*/ 431196 h 529494"/>
                  <a:gd name="connsiteX129" fmla="*/ 1272445 w 3550159"/>
                  <a:gd name="connsiteY129" fmla="*/ 437388 h 529494"/>
                  <a:gd name="connsiteX130" fmla="*/ 1385983 w 3550159"/>
                  <a:gd name="connsiteY130" fmla="*/ 437388 h 529494"/>
                  <a:gd name="connsiteX131" fmla="*/ 1385983 w 3550159"/>
                  <a:gd name="connsiteY131" fmla="*/ 443579 h 529494"/>
                  <a:gd name="connsiteX132" fmla="*/ 1655160 w 3550159"/>
                  <a:gd name="connsiteY132" fmla="*/ 443579 h 529494"/>
                  <a:gd name="connsiteX133" fmla="*/ 1655160 w 3550159"/>
                  <a:gd name="connsiteY133" fmla="*/ 449865 h 529494"/>
                  <a:gd name="connsiteX134" fmla="*/ 1728788 w 3550159"/>
                  <a:gd name="connsiteY134" fmla="*/ 449865 h 529494"/>
                  <a:gd name="connsiteX135" fmla="*/ 1728788 w 3550159"/>
                  <a:gd name="connsiteY135" fmla="*/ 456152 h 529494"/>
                  <a:gd name="connsiteX136" fmla="*/ 1808703 w 3550159"/>
                  <a:gd name="connsiteY136" fmla="*/ 456152 h 529494"/>
                  <a:gd name="connsiteX137" fmla="*/ 1808703 w 3550159"/>
                  <a:gd name="connsiteY137" fmla="*/ 462438 h 529494"/>
                  <a:gd name="connsiteX138" fmla="*/ 1970628 w 3550159"/>
                  <a:gd name="connsiteY138" fmla="*/ 462438 h 529494"/>
                  <a:gd name="connsiteX139" fmla="*/ 1970628 w 3550159"/>
                  <a:gd name="connsiteY139" fmla="*/ 468915 h 529494"/>
                  <a:gd name="connsiteX140" fmla="*/ 1987487 w 3550159"/>
                  <a:gd name="connsiteY140" fmla="*/ 468915 h 529494"/>
                  <a:gd name="connsiteX141" fmla="*/ 1987487 w 3550159"/>
                  <a:gd name="connsiteY141" fmla="*/ 475297 h 529494"/>
                  <a:gd name="connsiteX142" fmla="*/ 2105311 w 3550159"/>
                  <a:gd name="connsiteY142" fmla="*/ 475297 h 529494"/>
                  <a:gd name="connsiteX143" fmla="*/ 2105311 w 3550159"/>
                  <a:gd name="connsiteY143" fmla="*/ 481774 h 529494"/>
                  <a:gd name="connsiteX144" fmla="*/ 2197799 w 3550159"/>
                  <a:gd name="connsiteY144" fmla="*/ 481774 h 529494"/>
                  <a:gd name="connsiteX145" fmla="*/ 2197799 w 3550159"/>
                  <a:gd name="connsiteY145" fmla="*/ 488156 h 529494"/>
                  <a:gd name="connsiteX146" fmla="*/ 2216754 w 3550159"/>
                  <a:gd name="connsiteY146" fmla="*/ 488156 h 529494"/>
                  <a:gd name="connsiteX147" fmla="*/ 2216754 w 3550159"/>
                  <a:gd name="connsiteY147" fmla="*/ 494633 h 529494"/>
                  <a:gd name="connsiteX148" fmla="*/ 3070575 w 3550159"/>
                  <a:gd name="connsiteY148" fmla="*/ 494633 h 529494"/>
                  <a:gd name="connsiteX149" fmla="*/ 3070575 w 3550159"/>
                  <a:gd name="connsiteY149" fmla="*/ 529494 h 529494"/>
                  <a:gd name="connsiteX150" fmla="*/ 3550159 w 3550159"/>
                  <a:gd name="connsiteY150" fmla="*/ 529494 h 529494"/>
                  <a:gd name="connsiteX0" fmla="*/ 0 w 3529108"/>
                  <a:gd name="connsiteY0" fmla="*/ 0 h 523494"/>
                  <a:gd name="connsiteX1" fmla="*/ 0 w 3529108"/>
                  <a:gd name="connsiteY1" fmla="*/ 6096 h 523494"/>
                  <a:gd name="connsiteX2" fmla="*/ 8382 w 3529108"/>
                  <a:gd name="connsiteY2" fmla="*/ 6096 h 523494"/>
                  <a:gd name="connsiteX3" fmla="*/ 18955 w 3529108"/>
                  <a:gd name="connsiteY3" fmla="*/ 12192 h 523494"/>
                  <a:gd name="connsiteX4" fmla="*/ 18955 w 3529108"/>
                  <a:gd name="connsiteY4" fmla="*/ 18193 h 523494"/>
                  <a:gd name="connsiteX5" fmla="*/ 31528 w 3529108"/>
                  <a:gd name="connsiteY5" fmla="*/ 18193 h 523494"/>
                  <a:gd name="connsiteX6" fmla="*/ 31528 w 3529108"/>
                  <a:gd name="connsiteY6" fmla="*/ 24289 h 523494"/>
                  <a:gd name="connsiteX7" fmla="*/ 37814 w 3529108"/>
                  <a:gd name="connsiteY7" fmla="*/ 24289 h 523494"/>
                  <a:gd name="connsiteX8" fmla="*/ 37814 w 3529108"/>
                  <a:gd name="connsiteY8" fmla="*/ 36386 h 523494"/>
                  <a:gd name="connsiteX9" fmla="*/ 42005 w 3529108"/>
                  <a:gd name="connsiteY9" fmla="*/ 36386 h 523494"/>
                  <a:gd name="connsiteX10" fmla="*/ 42005 w 3529108"/>
                  <a:gd name="connsiteY10" fmla="*/ 42482 h 523494"/>
                  <a:gd name="connsiteX11" fmla="*/ 54673 w 3529108"/>
                  <a:gd name="connsiteY11" fmla="*/ 42482 h 523494"/>
                  <a:gd name="connsiteX12" fmla="*/ 54673 w 3529108"/>
                  <a:gd name="connsiteY12" fmla="*/ 48578 h 523494"/>
                  <a:gd name="connsiteX13" fmla="*/ 69342 w 3529108"/>
                  <a:gd name="connsiteY13" fmla="*/ 48578 h 523494"/>
                  <a:gd name="connsiteX14" fmla="*/ 69342 w 3529108"/>
                  <a:gd name="connsiteY14" fmla="*/ 54579 h 523494"/>
                  <a:gd name="connsiteX15" fmla="*/ 73628 w 3529108"/>
                  <a:gd name="connsiteY15" fmla="*/ 54579 h 523494"/>
                  <a:gd name="connsiteX16" fmla="*/ 73628 w 3529108"/>
                  <a:gd name="connsiteY16" fmla="*/ 60675 h 523494"/>
                  <a:gd name="connsiteX17" fmla="*/ 84105 w 3529108"/>
                  <a:gd name="connsiteY17" fmla="*/ 60675 h 523494"/>
                  <a:gd name="connsiteX18" fmla="*/ 84105 w 3529108"/>
                  <a:gd name="connsiteY18" fmla="*/ 66771 h 523494"/>
                  <a:gd name="connsiteX19" fmla="*/ 92488 w 3529108"/>
                  <a:gd name="connsiteY19" fmla="*/ 66771 h 523494"/>
                  <a:gd name="connsiteX20" fmla="*/ 92488 w 3529108"/>
                  <a:gd name="connsiteY20" fmla="*/ 72867 h 523494"/>
                  <a:gd name="connsiteX21" fmla="*/ 107251 w 3529108"/>
                  <a:gd name="connsiteY21" fmla="*/ 72867 h 523494"/>
                  <a:gd name="connsiteX22" fmla="*/ 107251 w 3529108"/>
                  <a:gd name="connsiteY22" fmla="*/ 78867 h 523494"/>
                  <a:gd name="connsiteX23" fmla="*/ 111442 w 3529108"/>
                  <a:gd name="connsiteY23" fmla="*/ 78867 h 523494"/>
                  <a:gd name="connsiteX24" fmla="*/ 111442 w 3529108"/>
                  <a:gd name="connsiteY24" fmla="*/ 84963 h 523494"/>
                  <a:gd name="connsiteX25" fmla="*/ 115633 w 3529108"/>
                  <a:gd name="connsiteY25" fmla="*/ 84963 h 523494"/>
                  <a:gd name="connsiteX26" fmla="*/ 115633 w 3529108"/>
                  <a:gd name="connsiteY26" fmla="*/ 91059 h 523494"/>
                  <a:gd name="connsiteX27" fmla="*/ 128302 w 3529108"/>
                  <a:gd name="connsiteY27" fmla="*/ 91059 h 523494"/>
                  <a:gd name="connsiteX28" fmla="*/ 128302 w 3529108"/>
                  <a:gd name="connsiteY28" fmla="*/ 97060 h 523494"/>
                  <a:gd name="connsiteX29" fmla="*/ 157734 w 3529108"/>
                  <a:gd name="connsiteY29" fmla="*/ 97060 h 523494"/>
                  <a:gd name="connsiteX30" fmla="*/ 157734 w 3529108"/>
                  <a:gd name="connsiteY30" fmla="*/ 103156 h 523494"/>
                  <a:gd name="connsiteX31" fmla="*/ 166116 w 3529108"/>
                  <a:gd name="connsiteY31" fmla="*/ 103156 h 523494"/>
                  <a:gd name="connsiteX32" fmla="*/ 166116 w 3529108"/>
                  <a:gd name="connsiteY32" fmla="*/ 109252 h 523494"/>
                  <a:gd name="connsiteX33" fmla="*/ 168211 w 3529108"/>
                  <a:gd name="connsiteY33" fmla="*/ 109252 h 523494"/>
                  <a:gd name="connsiteX34" fmla="*/ 168211 w 3529108"/>
                  <a:gd name="connsiteY34" fmla="*/ 115253 h 523494"/>
                  <a:gd name="connsiteX35" fmla="*/ 182975 w 3529108"/>
                  <a:gd name="connsiteY35" fmla="*/ 115253 h 523494"/>
                  <a:gd name="connsiteX36" fmla="*/ 182975 w 3529108"/>
                  <a:gd name="connsiteY36" fmla="*/ 127445 h 523494"/>
                  <a:gd name="connsiteX37" fmla="*/ 185071 w 3529108"/>
                  <a:gd name="connsiteY37" fmla="*/ 127445 h 523494"/>
                  <a:gd name="connsiteX38" fmla="*/ 185071 w 3529108"/>
                  <a:gd name="connsiteY38" fmla="*/ 133446 h 523494"/>
                  <a:gd name="connsiteX39" fmla="*/ 191357 w 3529108"/>
                  <a:gd name="connsiteY39" fmla="*/ 133446 h 523494"/>
                  <a:gd name="connsiteX40" fmla="*/ 191357 w 3529108"/>
                  <a:gd name="connsiteY40" fmla="*/ 139542 h 523494"/>
                  <a:gd name="connsiteX41" fmla="*/ 195548 w 3529108"/>
                  <a:gd name="connsiteY41" fmla="*/ 139542 h 523494"/>
                  <a:gd name="connsiteX42" fmla="*/ 195548 w 3529108"/>
                  <a:gd name="connsiteY42" fmla="*/ 145638 h 523494"/>
                  <a:gd name="connsiteX43" fmla="*/ 212407 w 3529108"/>
                  <a:gd name="connsiteY43" fmla="*/ 145638 h 523494"/>
                  <a:gd name="connsiteX44" fmla="*/ 212407 w 3529108"/>
                  <a:gd name="connsiteY44" fmla="*/ 157734 h 523494"/>
                  <a:gd name="connsiteX45" fmla="*/ 216598 w 3529108"/>
                  <a:gd name="connsiteY45" fmla="*/ 157734 h 523494"/>
                  <a:gd name="connsiteX46" fmla="*/ 216598 w 3529108"/>
                  <a:gd name="connsiteY46" fmla="*/ 163830 h 523494"/>
                  <a:gd name="connsiteX47" fmla="*/ 239744 w 3529108"/>
                  <a:gd name="connsiteY47" fmla="*/ 163830 h 523494"/>
                  <a:gd name="connsiteX48" fmla="*/ 239744 w 3529108"/>
                  <a:gd name="connsiteY48" fmla="*/ 169926 h 523494"/>
                  <a:gd name="connsiteX49" fmla="*/ 243935 w 3529108"/>
                  <a:gd name="connsiteY49" fmla="*/ 169926 h 523494"/>
                  <a:gd name="connsiteX50" fmla="*/ 243935 w 3529108"/>
                  <a:gd name="connsiteY50" fmla="*/ 175927 h 523494"/>
                  <a:gd name="connsiteX51" fmla="*/ 250222 w 3529108"/>
                  <a:gd name="connsiteY51" fmla="*/ 175927 h 523494"/>
                  <a:gd name="connsiteX52" fmla="*/ 250222 w 3529108"/>
                  <a:gd name="connsiteY52" fmla="*/ 188119 h 523494"/>
                  <a:gd name="connsiteX53" fmla="*/ 269176 w 3529108"/>
                  <a:gd name="connsiteY53" fmla="*/ 188119 h 523494"/>
                  <a:gd name="connsiteX54" fmla="*/ 269176 w 3529108"/>
                  <a:gd name="connsiteY54" fmla="*/ 194120 h 523494"/>
                  <a:gd name="connsiteX55" fmla="*/ 277558 w 3529108"/>
                  <a:gd name="connsiteY55" fmla="*/ 194120 h 523494"/>
                  <a:gd name="connsiteX56" fmla="*/ 277558 w 3529108"/>
                  <a:gd name="connsiteY56" fmla="*/ 200216 h 523494"/>
                  <a:gd name="connsiteX57" fmla="*/ 290227 w 3529108"/>
                  <a:gd name="connsiteY57" fmla="*/ 200216 h 523494"/>
                  <a:gd name="connsiteX58" fmla="*/ 290227 w 3529108"/>
                  <a:gd name="connsiteY58" fmla="*/ 206312 h 523494"/>
                  <a:gd name="connsiteX59" fmla="*/ 307086 w 3529108"/>
                  <a:gd name="connsiteY59" fmla="*/ 206312 h 523494"/>
                  <a:gd name="connsiteX60" fmla="*/ 307086 w 3529108"/>
                  <a:gd name="connsiteY60" fmla="*/ 212313 h 523494"/>
                  <a:gd name="connsiteX61" fmla="*/ 334423 w 3529108"/>
                  <a:gd name="connsiteY61" fmla="*/ 212313 h 523494"/>
                  <a:gd name="connsiteX62" fmla="*/ 334423 w 3529108"/>
                  <a:gd name="connsiteY62" fmla="*/ 218409 h 523494"/>
                  <a:gd name="connsiteX63" fmla="*/ 336518 w 3529108"/>
                  <a:gd name="connsiteY63" fmla="*/ 218409 h 523494"/>
                  <a:gd name="connsiteX64" fmla="*/ 336518 w 3529108"/>
                  <a:gd name="connsiteY64" fmla="*/ 224505 h 523494"/>
                  <a:gd name="connsiteX65" fmla="*/ 346995 w 3529108"/>
                  <a:gd name="connsiteY65" fmla="*/ 224505 h 523494"/>
                  <a:gd name="connsiteX66" fmla="*/ 346995 w 3529108"/>
                  <a:gd name="connsiteY66" fmla="*/ 230505 h 523494"/>
                  <a:gd name="connsiteX67" fmla="*/ 353282 w 3529108"/>
                  <a:gd name="connsiteY67" fmla="*/ 230505 h 523494"/>
                  <a:gd name="connsiteX68" fmla="*/ 353282 w 3529108"/>
                  <a:gd name="connsiteY68" fmla="*/ 242697 h 523494"/>
                  <a:gd name="connsiteX69" fmla="*/ 361759 w 3529108"/>
                  <a:gd name="connsiteY69" fmla="*/ 242697 h 523494"/>
                  <a:gd name="connsiteX70" fmla="*/ 361759 w 3529108"/>
                  <a:gd name="connsiteY70" fmla="*/ 248698 h 523494"/>
                  <a:gd name="connsiteX71" fmla="*/ 368046 w 3529108"/>
                  <a:gd name="connsiteY71" fmla="*/ 248698 h 523494"/>
                  <a:gd name="connsiteX72" fmla="*/ 368046 w 3529108"/>
                  <a:gd name="connsiteY72" fmla="*/ 260890 h 523494"/>
                  <a:gd name="connsiteX73" fmla="*/ 370141 w 3529108"/>
                  <a:gd name="connsiteY73" fmla="*/ 260890 h 523494"/>
                  <a:gd name="connsiteX74" fmla="*/ 370141 w 3529108"/>
                  <a:gd name="connsiteY74" fmla="*/ 266986 h 523494"/>
                  <a:gd name="connsiteX75" fmla="*/ 382714 w 3529108"/>
                  <a:gd name="connsiteY75" fmla="*/ 266986 h 523494"/>
                  <a:gd name="connsiteX76" fmla="*/ 382714 w 3529108"/>
                  <a:gd name="connsiteY76" fmla="*/ 272987 h 523494"/>
                  <a:gd name="connsiteX77" fmla="*/ 405860 w 3529108"/>
                  <a:gd name="connsiteY77" fmla="*/ 272987 h 523494"/>
                  <a:gd name="connsiteX78" fmla="*/ 405860 w 3529108"/>
                  <a:gd name="connsiteY78" fmla="*/ 279083 h 523494"/>
                  <a:gd name="connsiteX79" fmla="*/ 412242 w 3529108"/>
                  <a:gd name="connsiteY79" fmla="*/ 279083 h 523494"/>
                  <a:gd name="connsiteX80" fmla="*/ 412242 w 3529108"/>
                  <a:gd name="connsiteY80" fmla="*/ 285179 h 523494"/>
                  <a:gd name="connsiteX81" fmla="*/ 420624 w 3529108"/>
                  <a:gd name="connsiteY81" fmla="*/ 285179 h 523494"/>
                  <a:gd name="connsiteX82" fmla="*/ 420624 w 3529108"/>
                  <a:gd name="connsiteY82" fmla="*/ 291180 h 523494"/>
                  <a:gd name="connsiteX83" fmla="*/ 429006 w 3529108"/>
                  <a:gd name="connsiteY83" fmla="*/ 291180 h 523494"/>
                  <a:gd name="connsiteX84" fmla="*/ 429006 w 3529108"/>
                  <a:gd name="connsiteY84" fmla="*/ 297276 h 523494"/>
                  <a:gd name="connsiteX85" fmla="*/ 433197 w 3529108"/>
                  <a:gd name="connsiteY85" fmla="*/ 297276 h 523494"/>
                  <a:gd name="connsiteX86" fmla="*/ 433197 w 3529108"/>
                  <a:gd name="connsiteY86" fmla="*/ 303372 h 523494"/>
                  <a:gd name="connsiteX87" fmla="*/ 506825 w 3529108"/>
                  <a:gd name="connsiteY87" fmla="*/ 303372 h 523494"/>
                  <a:gd name="connsiteX88" fmla="*/ 506825 w 3529108"/>
                  <a:gd name="connsiteY88" fmla="*/ 309372 h 523494"/>
                  <a:gd name="connsiteX89" fmla="*/ 527875 w 3529108"/>
                  <a:gd name="connsiteY89" fmla="*/ 309372 h 523494"/>
                  <a:gd name="connsiteX90" fmla="*/ 527875 w 3529108"/>
                  <a:gd name="connsiteY90" fmla="*/ 315468 h 523494"/>
                  <a:gd name="connsiteX91" fmla="*/ 534162 w 3529108"/>
                  <a:gd name="connsiteY91" fmla="*/ 315468 h 523494"/>
                  <a:gd name="connsiteX92" fmla="*/ 534162 w 3529108"/>
                  <a:gd name="connsiteY92" fmla="*/ 321564 h 523494"/>
                  <a:gd name="connsiteX93" fmla="*/ 576262 w 3529108"/>
                  <a:gd name="connsiteY93" fmla="*/ 321564 h 523494"/>
                  <a:gd name="connsiteX94" fmla="*/ 576262 w 3529108"/>
                  <a:gd name="connsiteY94" fmla="*/ 327565 h 523494"/>
                  <a:gd name="connsiteX95" fmla="*/ 590931 w 3529108"/>
                  <a:gd name="connsiteY95" fmla="*/ 327565 h 523494"/>
                  <a:gd name="connsiteX96" fmla="*/ 590931 w 3529108"/>
                  <a:gd name="connsiteY96" fmla="*/ 333661 h 523494"/>
                  <a:gd name="connsiteX97" fmla="*/ 620458 w 3529108"/>
                  <a:gd name="connsiteY97" fmla="*/ 333661 h 523494"/>
                  <a:gd name="connsiteX98" fmla="*/ 620458 w 3529108"/>
                  <a:gd name="connsiteY98" fmla="*/ 339757 h 523494"/>
                  <a:gd name="connsiteX99" fmla="*/ 622554 w 3529108"/>
                  <a:gd name="connsiteY99" fmla="*/ 339757 h 523494"/>
                  <a:gd name="connsiteX100" fmla="*/ 622554 w 3529108"/>
                  <a:gd name="connsiteY100" fmla="*/ 345758 h 523494"/>
                  <a:gd name="connsiteX101" fmla="*/ 645604 w 3529108"/>
                  <a:gd name="connsiteY101" fmla="*/ 345758 h 523494"/>
                  <a:gd name="connsiteX102" fmla="*/ 645604 w 3529108"/>
                  <a:gd name="connsiteY102" fmla="*/ 351854 h 523494"/>
                  <a:gd name="connsiteX103" fmla="*/ 658273 w 3529108"/>
                  <a:gd name="connsiteY103" fmla="*/ 351854 h 523494"/>
                  <a:gd name="connsiteX104" fmla="*/ 658273 w 3529108"/>
                  <a:gd name="connsiteY104" fmla="*/ 357950 h 523494"/>
                  <a:gd name="connsiteX105" fmla="*/ 693991 w 3529108"/>
                  <a:gd name="connsiteY105" fmla="*/ 357950 h 523494"/>
                  <a:gd name="connsiteX106" fmla="*/ 693991 w 3529108"/>
                  <a:gd name="connsiteY106" fmla="*/ 364046 h 523494"/>
                  <a:gd name="connsiteX107" fmla="*/ 809720 w 3529108"/>
                  <a:gd name="connsiteY107" fmla="*/ 364046 h 523494"/>
                  <a:gd name="connsiteX108" fmla="*/ 809720 w 3529108"/>
                  <a:gd name="connsiteY108" fmla="*/ 370047 h 523494"/>
                  <a:gd name="connsiteX109" fmla="*/ 847534 w 3529108"/>
                  <a:gd name="connsiteY109" fmla="*/ 370047 h 523494"/>
                  <a:gd name="connsiteX110" fmla="*/ 847534 w 3529108"/>
                  <a:gd name="connsiteY110" fmla="*/ 376238 h 523494"/>
                  <a:gd name="connsiteX111" fmla="*/ 900112 w 3529108"/>
                  <a:gd name="connsiteY111" fmla="*/ 376238 h 523494"/>
                  <a:gd name="connsiteX112" fmla="*/ 900112 w 3529108"/>
                  <a:gd name="connsiteY112" fmla="*/ 382334 h 523494"/>
                  <a:gd name="connsiteX113" fmla="*/ 919067 w 3529108"/>
                  <a:gd name="connsiteY113" fmla="*/ 382334 h 523494"/>
                  <a:gd name="connsiteX114" fmla="*/ 919067 w 3529108"/>
                  <a:gd name="connsiteY114" fmla="*/ 388430 h 523494"/>
                  <a:gd name="connsiteX115" fmla="*/ 929545 w 3529108"/>
                  <a:gd name="connsiteY115" fmla="*/ 388430 h 523494"/>
                  <a:gd name="connsiteX116" fmla="*/ 929545 w 3529108"/>
                  <a:gd name="connsiteY116" fmla="*/ 394621 h 523494"/>
                  <a:gd name="connsiteX117" fmla="*/ 963263 w 3529108"/>
                  <a:gd name="connsiteY117" fmla="*/ 394621 h 523494"/>
                  <a:gd name="connsiteX118" fmla="*/ 963263 w 3529108"/>
                  <a:gd name="connsiteY118" fmla="*/ 400717 h 523494"/>
                  <a:gd name="connsiteX119" fmla="*/ 969550 w 3529108"/>
                  <a:gd name="connsiteY119" fmla="*/ 400717 h 523494"/>
                  <a:gd name="connsiteX120" fmla="*/ 969550 w 3529108"/>
                  <a:gd name="connsiteY120" fmla="*/ 406813 h 523494"/>
                  <a:gd name="connsiteX121" fmla="*/ 984218 w 3529108"/>
                  <a:gd name="connsiteY121" fmla="*/ 406813 h 523494"/>
                  <a:gd name="connsiteX122" fmla="*/ 984218 w 3529108"/>
                  <a:gd name="connsiteY122" fmla="*/ 412909 h 523494"/>
                  <a:gd name="connsiteX123" fmla="*/ 996886 w 3529108"/>
                  <a:gd name="connsiteY123" fmla="*/ 412909 h 523494"/>
                  <a:gd name="connsiteX124" fmla="*/ 996886 w 3529108"/>
                  <a:gd name="connsiteY124" fmla="*/ 419100 h 523494"/>
                  <a:gd name="connsiteX125" fmla="*/ 1022128 w 3529108"/>
                  <a:gd name="connsiteY125" fmla="*/ 419100 h 523494"/>
                  <a:gd name="connsiteX126" fmla="*/ 1022128 w 3529108"/>
                  <a:gd name="connsiteY126" fmla="*/ 425196 h 523494"/>
                  <a:gd name="connsiteX127" fmla="*/ 1251394 w 3529108"/>
                  <a:gd name="connsiteY127" fmla="*/ 425196 h 523494"/>
                  <a:gd name="connsiteX128" fmla="*/ 1251394 w 3529108"/>
                  <a:gd name="connsiteY128" fmla="*/ 431388 h 523494"/>
                  <a:gd name="connsiteX129" fmla="*/ 1364932 w 3529108"/>
                  <a:gd name="connsiteY129" fmla="*/ 431388 h 523494"/>
                  <a:gd name="connsiteX130" fmla="*/ 1364932 w 3529108"/>
                  <a:gd name="connsiteY130" fmla="*/ 437579 h 523494"/>
                  <a:gd name="connsiteX131" fmla="*/ 1634109 w 3529108"/>
                  <a:gd name="connsiteY131" fmla="*/ 437579 h 523494"/>
                  <a:gd name="connsiteX132" fmla="*/ 1634109 w 3529108"/>
                  <a:gd name="connsiteY132" fmla="*/ 443865 h 523494"/>
                  <a:gd name="connsiteX133" fmla="*/ 1707737 w 3529108"/>
                  <a:gd name="connsiteY133" fmla="*/ 443865 h 523494"/>
                  <a:gd name="connsiteX134" fmla="*/ 1707737 w 3529108"/>
                  <a:gd name="connsiteY134" fmla="*/ 450152 h 523494"/>
                  <a:gd name="connsiteX135" fmla="*/ 1787652 w 3529108"/>
                  <a:gd name="connsiteY135" fmla="*/ 450152 h 523494"/>
                  <a:gd name="connsiteX136" fmla="*/ 1787652 w 3529108"/>
                  <a:gd name="connsiteY136" fmla="*/ 456438 h 523494"/>
                  <a:gd name="connsiteX137" fmla="*/ 1949577 w 3529108"/>
                  <a:gd name="connsiteY137" fmla="*/ 456438 h 523494"/>
                  <a:gd name="connsiteX138" fmla="*/ 1949577 w 3529108"/>
                  <a:gd name="connsiteY138" fmla="*/ 462915 h 523494"/>
                  <a:gd name="connsiteX139" fmla="*/ 1966436 w 3529108"/>
                  <a:gd name="connsiteY139" fmla="*/ 462915 h 523494"/>
                  <a:gd name="connsiteX140" fmla="*/ 1966436 w 3529108"/>
                  <a:gd name="connsiteY140" fmla="*/ 469297 h 523494"/>
                  <a:gd name="connsiteX141" fmla="*/ 2084260 w 3529108"/>
                  <a:gd name="connsiteY141" fmla="*/ 469297 h 523494"/>
                  <a:gd name="connsiteX142" fmla="*/ 2084260 w 3529108"/>
                  <a:gd name="connsiteY142" fmla="*/ 475774 h 523494"/>
                  <a:gd name="connsiteX143" fmla="*/ 2176748 w 3529108"/>
                  <a:gd name="connsiteY143" fmla="*/ 475774 h 523494"/>
                  <a:gd name="connsiteX144" fmla="*/ 2176748 w 3529108"/>
                  <a:gd name="connsiteY144" fmla="*/ 482156 h 523494"/>
                  <a:gd name="connsiteX145" fmla="*/ 2195703 w 3529108"/>
                  <a:gd name="connsiteY145" fmla="*/ 482156 h 523494"/>
                  <a:gd name="connsiteX146" fmla="*/ 2195703 w 3529108"/>
                  <a:gd name="connsiteY146" fmla="*/ 488633 h 523494"/>
                  <a:gd name="connsiteX147" fmla="*/ 3049524 w 3529108"/>
                  <a:gd name="connsiteY147" fmla="*/ 488633 h 523494"/>
                  <a:gd name="connsiteX148" fmla="*/ 3049524 w 3529108"/>
                  <a:gd name="connsiteY148" fmla="*/ 523494 h 523494"/>
                  <a:gd name="connsiteX149" fmla="*/ 3529108 w 3529108"/>
                  <a:gd name="connsiteY149" fmla="*/ 523494 h 523494"/>
                  <a:gd name="connsiteX0" fmla="*/ 0 w 3529108"/>
                  <a:gd name="connsiteY0" fmla="*/ 0 h 523494"/>
                  <a:gd name="connsiteX1" fmla="*/ 0 w 3529108"/>
                  <a:gd name="connsiteY1" fmla="*/ 6096 h 523494"/>
                  <a:gd name="connsiteX2" fmla="*/ 18955 w 3529108"/>
                  <a:gd name="connsiteY2" fmla="*/ 12192 h 523494"/>
                  <a:gd name="connsiteX3" fmla="*/ 18955 w 3529108"/>
                  <a:gd name="connsiteY3" fmla="*/ 18193 h 523494"/>
                  <a:gd name="connsiteX4" fmla="*/ 31528 w 3529108"/>
                  <a:gd name="connsiteY4" fmla="*/ 18193 h 523494"/>
                  <a:gd name="connsiteX5" fmla="*/ 31528 w 3529108"/>
                  <a:gd name="connsiteY5" fmla="*/ 24289 h 523494"/>
                  <a:gd name="connsiteX6" fmla="*/ 37814 w 3529108"/>
                  <a:gd name="connsiteY6" fmla="*/ 24289 h 523494"/>
                  <a:gd name="connsiteX7" fmla="*/ 37814 w 3529108"/>
                  <a:gd name="connsiteY7" fmla="*/ 36386 h 523494"/>
                  <a:gd name="connsiteX8" fmla="*/ 42005 w 3529108"/>
                  <a:gd name="connsiteY8" fmla="*/ 36386 h 523494"/>
                  <a:gd name="connsiteX9" fmla="*/ 42005 w 3529108"/>
                  <a:gd name="connsiteY9" fmla="*/ 42482 h 523494"/>
                  <a:gd name="connsiteX10" fmla="*/ 54673 w 3529108"/>
                  <a:gd name="connsiteY10" fmla="*/ 42482 h 523494"/>
                  <a:gd name="connsiteX11" fmla="*/ 54673 w 3529108"/>
                  <a:gd name="connsiteY11" fmla="*/ 48578 h 523494"/>
                  <a:gd name="connsiteX12" fmla="*/ 69342 w 3529108"/>
                  <a:gd name="connsiteY12" fmla="*/ 48578 h 523494"/>
                  <a:gd name="connsiteX13" fmla="*/ 69342 w 3529108"/>
                  <a:gd name="connsiteY13" fmla="*/ 54579 h 523494"/>
                  <a:gd name="connsiteX14" fmla="*/ 73628 w 3529108"/>
                  <a:gd name="connsiteY14" fmla="*/ 54579 h 523494"/>
                  <a:gd name="connsiteX15" fmla="*/ 73628 w 3529108"/>
                  <a:gd name="connsiteY15" fmla="*/ 60675 h 523494"/>
                  <a:gd name="connsiteX16" fmla="*/ 84105 w 3529108"/>
                  <a:gd name="connsiteY16" fmla="*/ 60675 h 523494"/>
                  <a:gd name="connsiteX17" fmla="*/ 84105 w 3529108"/>
                  <a:gd name="connsiteY17" fmla="*/ 66771 h 523494"/>
                  <a:gd name="connsiteX18" fmla="*/ 92488 w 3529108"/>
                  <a:gd name="connsiteY18" fmla="*/ 66771 h 523494"/>
                  <a:gd name="connsiteX19" fmla="*/ 92488 w 3529108"/>
                  <a:gd name="connsiteY19" fmla="*/ 72867 h 523494"/>
                  <a:gd name="connsiteX20" fmla="*/ 107251 w 3529108"/>
                  <a:gd name="connsiteY20" fmla="*/ 72867 h 523494"/>
                  <a:gd name="connsiteX21" fmla="*/ 107251 w 3529108"/>
                  <a:gd name="connsiteY21" fmla="*/ 78867 h 523494"/>
                  <a:gd name="connsiteX22" fmla="*/ 111442 w 3529108"/>
                  <a:gd name="connsiteY22" fmla="*/ 78867 h 523494"/>
                  <a:gd name="connsiteX23" fmla="*/ 111442 w 3529108"/>
                  <a:gd name="connsiteY23" fmla="*/ 84963 h 523494"/>
                  <a:gd name="connsiteX24" fmla="*/ 115633 w 3529108"/>
                  <a:gd name="connsiteY24" fmla="*/ 84963 h 523494"/>
                  <a:gd name="connsiteX25" fmla="*/ 115633 w 3529108"/>
                  <a:gd name="connsiteY25" fmla="*/ 91059 h 523494"/>
                  <a:gd name="connsiteX26" fmla="*/ 128302 w 3529108"/>
                  <a:gd name="connsiteY26" fmla="*/ 91059 h 523494"/>
                  <a:gd name="connsiteX27" fmla="*/ 128302 w 3529108"/>
                  <a:gd name="connsiteY27" fmla="*/ 97060 h 523494"/>
                  <a:gd name="connsiteX28" fmla="*/ 157734 w 3529108"/>
                  <a:gd name="connsiteY28" fmla="*/ 97060 h 523494"/>
                  <a:gd name="connsiteX29" fmla="*/ 157734 w 3529108"/>
                  <a:gd name="connsiteY29" fmla="*/ 103156 h 523494"/>
                  <a:gd name="connsiteX30" fmla="*/ 166116 w 3529108"/>
                  <a:gd name="connsiteY30" fmla="*/ 103156 h 523494"/>
                  <a:gd name="connsiteX31" fmla="*/ 166116 w 3529108"/>
                  <a:gd name="connsiteY31" fmla="*/ 109252 h 523494"/>
                  <a:gd name="connsiteX32" fmla="*/ 168211 w 3529108"/>
                  <a:gd name="connsiteY32" fmla="*/ 109252 h 523494"/>
                  <a:gd name="connsiteX33" fmla="*/ 168211 w 3529108"/>
                  <a:gd name="connsiteY33" fmla="*/ 115253 h 523494"/>
                  <a:gd name="connsiteX34" fmla="*/ 182975 w 3529108"/>
                  <a:gd name="connsiteY34" fmla="*/ 115253 h 523494"/>
                  <a:gd name="connsiteX35" fmla="*/ 182975 w 3529108"/>
                  <a:gd name="connsiteY35" fmla="*/ 127445 h 523494"/>
                  <a:gd name="connsiteX36" fmla="*/ 185071 w 3529108"/>
                  <a:gd name="connsiteY36" fmla="*/ 127445 h 523494"/>
                  <a:gd name="connsiteX37" fmla="*/ 185071 w 3529108"/>
                  <a:gd name="connsiteY37" fmla="*/ 133446 h 523494"/>
                  <a:gd name="connsiteX38" fmla="*/ 191357 w 3529108"/>
                  <a:gd name="connsiteY38" fmla="*/ 133446 h 523494"/>
                  <a:gd name="connsiteX39" fmla="*/ 191357 w 3529108"/>
                  <a:gd name="connsiteY39" fmla="*/ 139542 h 523494"/>
                  <a:gd name="connsiteX40" fmla="*/ 195548 w 3529108"/>
                  <a:gd name="connsiteY40" fmla="*/ 139542 h 523494"/>
                  <a:gd name="connsiteX41" fmla="*/ 195548 w 3529108"/>
                  <a:gd name="connsiteY41" fmla="*/ 145638 h 523494"/>
                  <a:gd name="connsiteX42" fmla="*/ 212407 w 3529108"/>
                  <a:gd name="connsiteY42" fmla="*/ 145638 h 523494"/>
                  <a:gd name="connsiteX43" fmla="*/ 212407 w 3529108"/>
                  <a:gd name="connsiteY43" fmla="*/ 157734 h 523494"/>
                  <a:gd name="connsiteX44" fmla="*/ 216598 w 3529108"/>
                  <a:gd name="connsiteY44" fmla="*/ 157734 h 523494"/>
                  <a:gd name="connsiteX45" fmla="*/ 216598 w 3529108"/>
                  <a:gd name="connsiteY45" fmla="*/ 163830 h 523494"/>
                  <a:gd name="connsiteX46" fmla="*/ 239744 w 3529108"/>
                  <a:gd name="connsiteY46" fmla="*/ 163830 h 523494"/>
                  <a:gd name="connsiteX47" fmla="*/ 239744 w 3529108"/>
                  <a:gd name="connsiteY47" fmla="*/ 169926 h 523494"/>
                  <a:gd name="connsiteX48" fmla="*/ 243935 w 3529108"/>
                  <a:gd name="connsiteY48" fmla="*/ 169926 h 523494"/>
                  <a:gd name="connsiteX49" fmla="*/ 243935 w 3529108"/>
                  <a:gd name="connsiteY49" fmla="*/ 175927 h 523494"/>
                  <a:gd name="connsiteX50" fmla="*/ 250222 w 3529108"/>
                  <a:gd name="connsiteY50" fmla="*/ 175927 h 523494"/>
                  <a:gd name="connsiteX51" fmla="*/ 250222 w 3529108"/>
                  <a:gd name="connsiteY51" fmla="*/ 188119 h 523494"/>
                  <a:gd name="connsiteX52" fmla="*/ 269176 w 3529108"/>
                  <a:gd name="connsiteY52" fmla="*/ 188119 h 523494"/>
                  <a:gd name="connsiteX53" fmla="*/ 269176 w 3529108"/>
                  <a:gd name="connsiteY53" fmla="*/ 194120 h 523494"/>
                  <a:gd name="connsiteX54" fmla="*/ 277558 w 3529108"/>
                  <a:gd name="connsiteY54" fmla="*/ 194120 h 523494"/>
                  <a:gd name="connsiteX55" fmla="*/ 277558 w 3529108"/>
                  <a:gd name="connsiteY55" fmla="*/ 200216 h 523494"/>
                  <a:gd name="connsiteX56" fmla="*/ 290227 w 3529108"/>
                  <a:gd name="connsiteY56" fmla="*/ 200216 h 523494"/>
                  <a:gd name="connsiteX57" fmla="*/ 290227 w 3529108"/>
                  <a:gd name="connsiteY57" fmla="*/ 206312 h 523494"/>
                  <a:gd name="connsiteX58" fmla="*/ 307086 w 3529108"/>
                  <a:gd name="connsiteY58" fmla="*/ 206312 h 523494"/>
                  <a:gd name="connsiteX59" fmla="*/ 307086 w 3529108"/>
                  <a:gd name="connsiteY59" fmla="*/ 212313 h 523494"/>
                  <a:gd name="connsiteX60" fmla="*/ 334423 w 3529108"/>
                  <a:gd name="connsiteY60" fmla="*/ 212313 h 523494"/>
                  <a:gd name="connsiteX61" fmla="*/ 334423 w 3529108"/>
                  <a:gd name="connsiteY61" fmla="*/ 218409 h 523494"/>
                  <a:gd name="connsiteX62" fmla="*/ 336518 w 3529108"/>
                  <a:gd name="connsiteY62" fmla="*/ 218409 h 523494"/>
                  <a:gd name="connsiteX63" fmla="*/ 336518 w 3529108"/>
                  <a:gd name="connsiteY63" fmla="*/ 224505 h 523494"/>
                  <a:gd name="connsiteX64" fmla="*/ 346995 w 3529108"/>
                  <a:gd name="connsiteY64" fmla="*/ 224505 h 523494"/>
                  <a:gd name="connsiteX65" fmla="*/ 346995 w 3529108"/>
                  <a:gd name="connsiteY65" fmla="*/ 230505 h 523494"/>
                  <a:gd name="connsiteX66" fmla="*/ 353282 w 3529108"/>
                  <a:gd name="connsiteY66" fmla="*/ 230505 h 523494"/>
                  <a:gd name="connsiteX67" fmla="*/ 353282 w 3529108"/>
                  <a:gd name="connsiteY67" fmla="*/ 242697 h 523494"/>
                  <a:gd name="connsiteX68" fmla="*/ 361759 w 3529108"/>
                  <a:gd name="connsiteY68" fmla="*/ 242697 h 523494"/>
                  <a:gd name="connsiteX69" fmla="*/ 361759 w 3529108"/>
                  <a:gd name="connsiteY69" fmla="*/ 248698 h 523494"/>
                  <a:gd name="connsiteX70" fmla="*/ 368046 w 3529108"/>
                  <a:gd name="connsiteY70" fmla="*/ 248698 h 523494"/>
                  <a:gd name="connsiteX71" fmla="*/ 368046 w 3529108"/>
                  <a:gd name="connsiteY71" fmla="*/ 260890 h 523494"/>
                  <a:gd name="connsiteX72" fmla="*/ 370141 w 3529108"/>
                  <a:gd name="connsiteY72" fmla="*/ 260890 h 523494"/>
                  <a:gd name="connsiteX73" fmla="*/ 370141 w 3529108"/>
                  <a:gd name="connsiteY73" fmla="*/ 266986 h 523494"/>
                  <a:gd name="connsiteX74" fmla="*/ 382714 w 3529108"/>
                  <a:gd name="connsiteY74" fmla="*/ 266986 h 523494"/>
                  <a:gd name="connsiteX75" fmla="*/ 382714 w 3529108"/>
                  <a:gd name="connsiteY75" fmla="*/ 272987 h 523494"/>
                  <a:gd name="connsiteX76" fmla="*/ 405860 w 3529108"/>
                  <a:gd name="connsiteY76" fmla="*/ 272987 h 523494"/>
                  <a:gd name="connsiteX77" fmla="*/ 405860 w 3529108"/>
                  <a:gd name="connsiteY77" fmla="*/ 279083 h 523494"/>
                  <a:gd name="connsiteX78" fmla="*/ 412242 w 3529108"/>
                  <a:gd name="connsiteY78" fmla="*/ 279083 h 523494"/>
                  <a:gd name="connsiteX79" fmla="*/ 412242 w 3529108"/>
                  <a:gd name="connsiteY79" fmla="*/ 285179 h 523494"/>
                  <a:gd name="connsiteX80" fmla="*/ 420624 w 3529108"/>
                  <a:gd name="connsiteY80" fmla="*/ 285179 h 523494"/>
                  <a:gd name="connsiteX81" fmla="*/ 420624 w 3529108"/>
                  <a:gd name="connsiteY81" fmla="*/ 291180 h 523494"/>
                  <a:gd name="connsiteX82" fmla="*/ 429006 w 3529108"/>
                  <a:gd name="connsiteY82" fmla="*/ 291180 h 523494"/>
                  <a:gd name="connsiteX83" fmla="*/ 429006 w 3529108"/>
                  <a:gd name="connsiteY83" fmla="*/ 297276 h 523494"/>
                  <a:gd name="connsiteX84" fmla="*/ 433197 w 3529108"/>
                  <a:gd name="connsiteY84" fmla="*/ 297276 h 523494"/>
                  <a:gd name="connsiteX85" fmla="*/ 433197 w 3529108"/>
                  <a:gd name="connsiteY85" fmla="*/ 303372 h 523494"/>
                  <a:gd name="connsiteX86" fmla="*/ 506825 w 3529108"/>
                  <a:gd name="connsiteY86" fmla="*/ 303372 h 523494"/>
                  <a:gd name="connsiteX87" fmla="*/ 506825 w 3529108"/>
                  <a:gd name="connsiteY87" fmla="*/ 309372 h 523494"/>
                  <a:gd name="connsiteX88" fmla="*/ 527875 w 3529108"/>
                  <a:gd name="connsiteY88" fmla="*/ 309372 h 523494"/>
                  <a:gd name="connsiteX89" fmla="*/ 527875 w 3529108"/>
                  <a:gd name="connsiteY89" fmla="*/ 315468 h 523494"/>
                  <a:gd name="connsiteX90" fmla="*/ 534162 w 3529108"/>
                  <a:gd name="connsiteY90" fmla="*/ 315468 h 523494"/>
                  <a:gd name="connsiteX91" fmla="*/ 534162 w 3529108"/>
                  <a:gd name="connsiteY91" fmla="*/ 321564 h 523494"/>
                  <a:gd name="connsiteX92" fmla="*/ 576262 w 3529108"/>
                  <a:gd name="connsiteY92" fmla="*/ 321564 h 523494"/>
                  <a:gd name="connsiteX93" fmla="*/ 576262 w 3529108"/>
                  <a:gd name="connsiteY93" fmla="*/ 327565 h 523494"/>
                  <a:gd name="connsiteX94" fmla="*/ 590931 w 3529108"/>
                  <a:gd name="connsiteY94" fmla="*/ 327565 h 523494"/>
                  <a:gd name="connsiteX95" fmla="*/ 590931 w 3529108"/>
                  <a:gd name="connsiteY95" fmla="*/ 333661 h 523494"/>
                  <a:gd name="connsiteX96" fmla="*/ 620458 w 3529108"/>
                  <a:gd name="connsiteY96" fmla="*/ 333661 h 523494"/>
                  <a:gd name="connsiteX97" fmla="*/ 620458 w 3529108"/>
                  <a:gd name="connsiteY97" fmla="*/ 339757 h 523494"/>
                  <a:gd name="connsiteX98" fmla="*/ 622554 w 3529108"/>
                  <a:gd name="connsiteY98" fmla="*/ 339757 h 523494"/>
                  <a:gd name="connsiteX99" fmla="*/ 622554 w 3529108"/>
                  <a:gd name="connsiteY99" fmla="*/ 345758 h 523494"/>
                  <a:gd name="connsiteX100" fmla="*/ 645604 w 3529108"/>
                  <a:gd name="connsiteY100" fmla="*/ 345758 h 523494"/>
                  <a:gd name="connsiteX101" fmla="*/ 645604 w 3529108"/>
                  <a:gd name="connsiteY101" fmla="*/ 351854 h 523494"/>
                  <a:gd name="connsiteX102" fmla="*/ 658273 w 3529108"/>
                  <a:gd name="connsiteY102" fmla="*/ 351854 h 523494"/>
                  <a:gd name="connsiteX103" fmla="*/ 658273 w 3529108"/>
                  <a:gd name="connsiteY103" fmla="*/ 357950 h 523494"/>
                  <a:gd name="connsiteX104" fmla="*/ 693991 w 3529108"/>
                  <a:gd name="connsiteY104" fmla="*/ 357950 h 523494"/>
                  <a:gd name="connsiteX105" fmla="*/ 693991 w 3529108"/>
                  <a:gd name="connsiteY105" fmla="*/ 364046 h 523494"/>
                  <a:gd name="connsiteX106" fmla="*/ 809720 w 3529108"/>
                  <a:gd name="connsiteY106" fmla="*/ 364046 h 523494"/>
                  <a:gd name="connsiteX107" fmla="*/ 809720 w 3529108"/>
                  <a:gd name="connsiteY107" fmla="*/ 370047 h 523494"/>
                  <a:gd name="connsiteX108" fmla="*/ 847534 w 3529108"/>
                  <a:gd name="connsiteY108" fmla="*/ 370047 h 523494"/>
                  <a:gd name="connsiteX109" fmla="*/ 847534 w 3529108"/>
                  <a:gd name="connsiteY109" fmla="*/ 376238 h 523494"/>
                  <a:gd name="connsiteX110" fmla="*/ 900112 w 3529108"/>
                  <a:gd name="connsiteY110" fmla="*/ 376238 h 523494"/>
                  <a:gd name="connsiteX111" fmla="*/ 900112 w 3529108"/>
                  <a:gd name="connsiteY111" fmla="*/ 382334 h 523494"/>
                  <a:gd name="connsiteX112" fmla="*/ 919067 w 3529108"/>
                  <a:gd name="connsiteY112" fmla="*/ 382334 h 523494"/>
                  <a:gd name="connsiteX113" fmla="*/ 919067 w 3529108"/>
                  <a:gd name="connsiteY113" fmla="*/ 388430 h 523494"/>
                  <a:gd name="connsiteX114" fmla="*/ 929545 w 3529108"/>
                  <a:gd name="connsiteY114" fmla="*/ 388430 h 523494"/>
                  <a:gd name="connsiteX115" fmla="*/ 929545 w 3529108"/>
                  <a:gd name="connsiteY115" fmla="*/ 394621 h 523494"/>
                  <a:gd name="connsiteX116" fmla="*/ 963263 w 3529108"/>
                  <a:gd name="connsiteY116" fmla="*/ 394621 h 523494"/>
                  <a:gd name="connsiteX117" fmla="*/ 963263 w 3529108"/>
                  <a:gd name="connsiteY117" fmla="*/ 400717 h 523494"/>
                  <a:gd name="connsiteX118" fmla="*/ 969550 w 3529108"/>
                  <a:gd name="connsiteY118" fmla="*/ 400717 h 523494"/>
                  <a:gd name="connsiteX119" fmla="*/ 969550 w 3529108"/>
                  <a:gd name="connsiteY119" fmla="*/ 406813 h 523494"/>
                  <a:gd name="connsiteX120" fmla="*/ 984218 w 3529108"/>
                  <a:gd name="connsiteY120" fmla="*/ 406813 h 523494"/>
                  <a:gd name="connsiteX121" fmla="*/ 984218 w 3529108"/>
                  <a:gd name="connsiteY121" fmla="*/ 412909 h 523494"/>
                  <a:gd name="connsiteX122" fmla="*/ 996886 w 3529108"/>
                  <a:gd name="connsiteY122" fmla="*/ 412909 h 523494"/>
                  <a:gd name="connsiteX123" fmla="*/ 996886 w 3529108"/>
                  <a:gd name="connsiteY123" fmla="*/ 419100 h 523494"/>
                  <a:gd name="connsiteX124" fmla="*/ 1022128 w 3529108"/>
                  <a:gd name="connsiteY124" fmla="*/ 419100 h 523494"/>
                  <a:gd name="connsiteX125" fmla="*/ 1022128 w 3529108"/>
                  <a:gd name="connsiteY125" fmla="*/ 425196 h 523494"/>
                  <a:gd name="connsiteX126" fmla="*/ 1251394 w 3529108"/>
                  <a:gd name="connsiteY126" fmla="*/ 425196 h 523494"/>
                  <a:gd name="connsiteX127" fmla="*/ 1251394 w 3529108"/>
                  <a:gd name="connsiteY127" fmla="*/ 431388 h 523494"/>
                  <a:gd name="connsiteX128" fmla="*/ 1364932 w 3529108"/>
                  <a:gd name="connsiteY128" fmla="*/ 431388 h 523494"/>
                  <a:gd name="connsiteX129" fmla="*/ 1364932 w 3529108"/>
                  <a:gd name="connsiteY129" fmla="*/ 437579 h 523494"/>
                  <a:gd name="connsiteX130" fmla="*/ 1634109 w 3529108"/>
                  <a:gd name="connsiteY130" fmla="*/ 437579 h 523494"/>
                  <a:gd name="connsiteX131" fmla="*/ 1634109 w 3529108"/>
                  <a:gd name="connsiteY131" fmla="*/ 443865 h 523494"/>
                  <a:gd name="connsiteX132" fmla="*/ 1707737 w 3529108"/>
                  <a:gd name="connsiteY132" fmla="*/ 443865 h 523494"/>
                  <a:gd name="connsiteX133" fmla="*/ 1707737 w 3529108"/>
                  <a:gd name="connsiteY133" fmla="*/ 450152 h 523494"/>
                  <a:gd name="connsiteX134" fmla="*/ 1787652 w 3529108"/>
                  <a:gd name="connsiteY134" fmla="*/ 450152 h 523494"/>
                  <a:gd name="connsiteX135" fmla="*/ 1787652 w 3529108"/>
                  <a:gd name="connsiteY135" fmla="*/ 456438 h 523494"/>
                  <a:gd name="connsiteX136" fmla="*/ 1949577 w 3529108"/>
                  <a:gd name="connsiteY136" fmla="*/ 456438 h 523494"/>
                  <a:gd name="connsiteX137" fmla="*/ 1949577 w 3529108"/>
                  <a:gd name="connsiteY137" fmla="*/ 462915 h 523494"/>
                  <a:gd name="connsiteX138" fmla="*/ 1966436 w 3529108"/>
                  <a:gd name="connsiteY138" fmla="*/ 462915 h 523494"/>
                  <a:gd name="connsiteX139" fmla="*/ 1966436 w 3529108"/>
                  <a:gd name="connsiteY139" fmla="*/ 469297 h 523494"/>
                  <a:gd name="connsiteX140" fmla="*/ 2084260 w 3529108"/>
                  <a:gd name="connsiteY140" fmla="*/ 469297 h 523494"/>
                  <a:gd name="connsiteX141" fmla="*/ 2084260 w 3529108"/>
                  <a:gd name="connsiteY141" fmla="*/ 475774 h 523494"/>
                  <a:gd name="connsiteX142" fmla="*/ 2176748 w 3529108"/>
                  <a:gd name="connsiteY142" fmla="*/ 475774 h 523494"/>
                  <a:gd name="connsiteX143" fmla="*/ 2176748 w 3529108"/>
                  <a:gd name="connsiteY143" fmla="*/ 482156 h 523494"/>
                  <a:gd name="connsiteX144" fmla="*/ 2195703 w 3529108"/>
                  <a:gd name="connsiteY144" fmla="*/ 482156 h 523494"/>
                  <a:gd name="connsiteX145" fmla="*/ 2195703 w 3529108"/>
                  <a:gd name="connsiteY145" fmla="*/ 488633 h 523494"/>
                  <a:gd name="connsiteX146" fmla="*/ 3049524 w 3529108"/>
                  <a:gd name="connsiteY146" fmla="*/ 488633 h 523494"/>
                  <a:gd name="connsiteX147" fmla="*/ 3049524 w 3529108"/>
                  <a:gd name="connsiteY147" fmla="*/ 523494 h 523494"/>
                  <a:gd name="connsiteX148" fmla="*/ 3529108 w 3529108"/>
                  <a:gd name="connsiteY148" fmla="*/ 523494 h 523494"/>
                  <a:gd name="connsiteX0" fmla="*/ 0 w 3529108"/>
                  <a:gd name="connsiteY0" fmla="*/ 0 h 523494"/>
                  <a:gd name="connsiteX1" fmla="*/ 18955 w 3529108"/>
                  <a:gd name="connsiteY1" fmla="*/ 12192 h 523494"/>
                  <a:gd name="connsiteX2" fmla="*/ 18955 w 3529108"/>
                  <a:gd name="connsiteY2" fmla="*/ 18193 h 523494"/>
                  <a:gd name="connsiteX3" fmla="*/ 31528 w 3529108"/>
                  <a:gd name="connsiteY3" fmla="*/ 18193 h 523494"/>
                  <a:gd name="connsiteX4" fmla="*/ 31528 w 3529108"/>
                  <a:gd name="connsiteY4" fmla="*/ 24289 h 523494"/>
                  <a:gd name="connsiteX5" fmla="*/ 37814 w 3529108"/>
                  <a:gd name="connsiteY5" fmla="*/ 24289 h 523494"/>
                  <a:gd name="connsiteX6" fmla="*/ 37814 w 3529108"/>
                  <a:gd name="connsiteY6" fmla="*/ 36386 h 523494"/>
                  <a:gd name="connsiteX7" fmla="*/ 42005 w 3529108"/>
                  <a:gd name="connsiteY7" fmla="*/ 36386 h 523494"/>
                  <a:gd name="connsiteX8" fmla="*/ 42005 w 3529108"/>
                  <a:gd name="connsiteY8" fmla="*/ 42482 h 523494"/>
                  <a:gd name="connsiteX9" fmla="*/ 54673 w 3529108"/>
                  <a:gd name="connsiteY9" fmla="*/ 42482 h 523494"/>
                  <a:gd name="connsiteX10" fmla="*/ 54673 w 3529108"/>
                  <a:gd name="connsiteY10" fmla="*/ 48578 h 523494"/>
                  <a:gd name="connsiteX11" fmla="*/ 69342 w 3529108"/>
                  <a:gd name="connsiteY11" fmla="*/ 48578 h 523494"/>
                  <a:gd name="connsiteX12" fmla="*/ 69342 w 3529108"/>
                  <a:gd name="connsiteY12" fmla="*/ 54579 h 523494"/>
                  <a:gd name="connsiteX13" fmla="*/ 73628 w 3529108"/>
                  <a:gd name="connsiteY13" fmla="*/ 54579 h 523494"/>
                  <a:gd name="connsiteX14" fmla="*/ 73628 w 3529108"/>
                  <a:gd name="connsiteY14" fmla="*/ 60675 h 523494"/>
                  <a:gd name="connsiteX15" fmla="*/ 84105 w 3529108"/>
                  <a:gd name="connsiteY15" fmla="*/ 60675 h 523494"/>
                  <a:gd name="connsiteX16" fmla="*/ 84105 w 3529108"/>
                  <a:gd name="connsiteY16" fmla="*/ 66771 h 523494"/>
                  <a:gd name="connsiteX17" fmla="*/ 92488 w 3529108"/>
                  <a:gd name="connsiteY17" fmla="*/ 66771 h 523494"/>
                  <a:gd name="connsiteX18" fmla="*/ 92488 w 3529108"/>
                  <a:gd name="connsiteY18" fmla="*/ 72867 h 523494"/>
                  <a:gd name="connsiteX19" fmla="*/ 107251 w 3529108"/>
                  <a:gd name="connsiteY19" fmla="*/ 72867 h 523494"/>
                  <a:gd name="connsiteX20" fmla="*/ 107251 w 3529108"/>
                  <a:gd name="connsiteY20" fmla="*/ 78867 h 523494"/>
                  <a:gd name="connsiteX21" fmla="*/ 111442 w 3529108"/>
                  <a:gd name="connsiteY21" fmla="*/ 78867 h 523494"/>
                  <a:gd name="connsiteX22" fmla="*/ 111442 w 3529108"/>
                  <a:gd name="connsiteY22" fmla="*/ 84963 h 523494"/>
                  <a:gd name="connsiteX23" fmla="*/ 115633 w 3529108"/>
                  <a:gd name="connsiteY23" fmla="*/ 84963 h 523494"/>
                  <a:gd name="connsiteX24" fmla="*/ 115633 w 3529108"/>
                  <a:gd name="connsiteY24" fmla="*/ 91059 h 523494"/>
                  <a:gd name="connsiteX25" fmla="*/ 128302 w 3529108"/>
                  <a:gd name="connsiteY25" fmla="*/ 91059 h 523494"/>
                  <a:gd name="connsiteX26" fmla="*/ 128302 w 3529108"/>
                  <a:gd name="connsiteY26" fmla="*/ 97060 h 523494"/>
                  <a:gd name="connsiteX27" fmla="*/ 157734 w 3529108"/>
                  <a:gd name="connsiteY27" fmla="*/ 97060 h 523494"/>
                  <a:gd name="connsiteX28" fmla="*/ 157734 w 3529108"/>
                  <a:gd name="connsiteY28" fmla="*/ 103156 h 523494"/>
                  <a:gd name="connsiteX29" fmla="*/ 166116 w 3529108"/>
                  <a:gd name="connsiteY29" fmla="*/ 103156 h 523494"/>
                  <a:gd name="connsiteX30" fmla="*/ 166116 w 3529108"/>
                  <a:gd name="connsiteY30" fmla="*/ 109252 h 523494"/>
                  <a:gd name="connsiteX31" fmla="*/ 168211 w 3529108"/>
                  <a:gd name="connsiteY31" fmla="*/ 109252 h 523494"/>
                  <a:gd name="connsiteX32" fmla="*/ 168211 w 3529108"/>
                  <a:gd name="connsiteY32" fmla="*/ 115253 h 523494"/>
                  <a:gd name="connsiteX33" fmla="*/ 182975 w 3529108"/>
                  <a:gd name="connsiteY33" fmla="*/ 115253 h 523494"/>
                  <a:gd name="connsiteX34" fmla="*/ 182975 w 3529108"/>
                  <a:gd name="connsiteY34" fmla="*/ 127445 h 523494"/>
                  <a:gd name="connsiteX35" fmla="*/ 185071 w 3529108"/>
                  <a:gd name="connsiteY35" fmla="*/ 127445 h 523494"/>
                  <a:gd name="connsiteX36" fmla="*/ 185071 w 3529108"/>
                  <a:gd name="connsiteY36" fmla="*/ 133446 h 523494"/>
                  <a:gd name="connsiteX37" fmla="*/ 191357 w 3529108"/>
                  <a:gd name="connsiteY37" fmla="*/ 133446 h 523494"/>
                  <a:gd name="connsiteX38" fmla="*/ 191357 w 3529108"/>
                  <a:gd name="connsiteY38" fmla="*/ 139542 h 523494"/>
                  <a:gd name="connsiteX39" fmla="*/ 195548 w 3529108"/>
                  <a:gd name="connsiteY39" fmla="*/ 139542 h 523494"/>
                  <a:gd name="connsiteX40" fmla="*/ 195548 w 3529108"/>
                  <a:gd name="connsiteY40" fmla="*/ 145638 h 523494"/>
                  <a:gd name="connsiteX41" fmla="*/ 212407 w 3529108"/>
                  <a:gd name="connsiteY41" fmla="*/ 145638 h 523494"/>
                  <a:gd name="connsiteX42" fmla="*/ 212407 w 3529108"/>
                  <a:gd name="connsiteY42" fmla="*/ 157734 h 523494"/>
                  <a:gd name="connsiteX43" fmla="*/ 216598 w 3529108"/>
                  <a:gd name="connsiteY43" fmla="*/ 157734 h 523494"/>
                  <a:gd name="connsiteX44" fmla="*/ 216598 w 3529108"/>
                  <a:gd name="connsiteY44" fmla="*/ 163830 h 523494"/>
                  <a:gd name="connsiteX45" fmla="*/ 239744 w 3529108"/>
                  <a:gd name="connsiteY45" fmla="*/ 163830 h 523494"/>
                  <a:gd name="connsiteX46" fmla="*/ 239744 w 3529108"/>
                  <a:gd name="connsiteY46" fmla="*/ 169926 h 523494"/>
                  <a:gd name="connsiteX47" fmla="*/ 243935 w 3529108"/>
                  <a:gd name="connsiteY47" fmla="*/ 169926 h 523494"/>
                  <a:gd name="connsiteX48" fmla="*/ 243935 w 3529108"/>
                  <a:gd name="connsiteY48" fmla="*/ 175927 h 523494"/>
                  <a:gd name="connsiteX49" fmla="*/ 250222 w 3529108"/>
                  <a:gd name="connsiteY49" fmla="*/ 175927 h 523494"/>
                  <a:gd name="connsiteX50" fmla="*/ 250222 w 3529108"/>
                  <a:gd name="connsiteY50" fmla="*/ 188119 h 523494"/>
                  <a:gd name="connsiteX51" fmla="*/ 269176 w 3529108"/>
                  <a:gd name="connsiteY51" fmla="*/ 188119 h 523494"/>
                  <a:gd name="connsiteX52" fmla="*/ 269176 w 3529108"/>
                  <a:gd name="connsiteY52" fmla="*/ 194120 h 523494"/>
                  <a:gd name="connsiteX53" fmla="*/ 277558 w 3529108"/>
                  <a:gd name="connsiteY53" fmla="*/ 194120 h 523494"/>
                  <a:gd name="connsiteX54" fmla="*/ 277558 w 3529108"/>
                  <a:gd name="connsiteY54" fmla="*/ 200216 h 523494"/>
                  <a:gd name="connsiteX55" fmla="*/ 290227 w 3529108"/>
                  <a:gd name="connsiteY55" fmla="*/ 200216 h 523494"/>
                  <a:gd name="connsiteX56" fmla="*/ 290227 w 3529108"/>
                  <a:gd name="connsiteY56" fmla="*/ 206312 h 523494"/>
                  <a:gd name="connsiteX57" fmla="*/ 307086 w 3529108"/>
                  <a:gd name="connsiteY57" fmla="*/ 206312 h 523494"/>
                  <a:gd name="connsiteX58" fmla="*/ 307086 w 3529108"/>
                  <a:gd name="connsiteY58" fmla="*/ 212313 h 523494"/>
                  <a:gd name="connsiteX59" fmla="*/ 334423 w 3529108"/>
                  <a:gd name="connsiteY59" fmla="*/ 212313 h 523494"/>
                  <a:gd name="connsiteX60" fmla="*/ 334423 w 3529108"/>
                  <a:gd name="connsiteY60" fmla="*/ 218409 h 523494"/>
                  <a:gd name="connsiteX61" fmla="*/ 336518 w 3529108"/>
                  <a:gd name="connsiteY61" fmla="*/ 218409 h 523494"/>
                  <a:gd name="connsiteX62" fmla="*/ 336518 w 3529108"/>
                  <a:gd name="connsiteY62" fmla="*/ 224505 h 523494"/>
                  <a:gd name="connsiteX63" fmla="*/ 346995 w 3529108"/>
                  <a:gd name="connsiteY63" fmla="*/ 224505 h 523494"/>
                  <a:gd name="connsiteX64" fmla="*/ 346995 w 3529108"/>
                  <a:gd name="connsiteY64" fmla="*/ 230505 h 523494"/>
                  <a:gd name="connsiteX65" fmla="*/ 353282 w 3529108"/>
                  <a:gd name="connsiteY65" fmla="*/ 230505 h 523494"/>
                  <a:gd name="connsiteX66" fmla="*/ 353282 w 3529108"/>
                  <a:gd name="connsiteY66" fmla="*/ 242697 h 523494"/>
                  <a:gd name="connsiteX67" fmla="*/ 361759 w 3529108"/>
                  <a:gd name="connsiteY67" fmla="*/ 242697 h 523494"/>
                  <a:gd name="connsiteX68" fmla="*/ 361759 w 3529108"/>
                  <a:gd name="connsiteY68" fmla="*/ 248698 h 523494"/>
                  <a:gd name="connsiteX69" fmla="*/ 368046 w 3529108"/>
                  <a:gd name="connsiteY69" fmla="*/ 248698 h 523494"/>
                  <a:gd name="connsiteX70" fmla="*/ 368046 w 3529108"/>
                  <a:gd name="connsiteY70" fmla="*/ 260890 h 523494"/>
                  <a:gd name="connsiteX71" fmla="*/ 370141 w 3529108"/>
                  <a:gd name="connsiteY71" fmla="*/ 260890 h 523494"/>
                  <a:gd name="connsiteX72" fmla="*/ 370141 w 3529108"/>
                  <a:gd name="connsiteY72" fmla="*/ 266986 h 523494"/>
                  <a:gd name="connsiteX73" fmla="*/ 382714 w 3529108"/>
                  <a:gd name="connsiteY73" fmla="*/ 266986 h 523494"/>
                  <a:gd name="connsiteX74" fmla="*/ 382714 w 3529108"/>
                  <a:gd name="connsiteY74" fmla="*/ 272987 h 523494"/>
                  <a:gd name="connsiteX75" fmla="*/ 405860 w 3529108"/>
                  <a:gd name="connsiteY75" fmla="*/ 272987 h 523494"/>
                  <a:gd name="connsiteX76" fmla="*/ 405860 w 3529108"/>
                  <a:gd name="connsiteY76" fmla="*/ 279083 h 523494"/>
                  <a:gd name="connsiteX77" fmla="*/ 412242 w 3529108"/>
                  <a:gd name="connsiteY77" fmla="*/ 279083 h 523494"/>
                  <a:gd name="connsiteX78" fmla="*/ 412242 w 3529108"/>
                  <a:gd name="connsiteY78" fmla="*/ 285179 h 523494"/>
                  <a:gd name="connsiteX79" fmla="*/ 420624 w 3529108"/>
                  <a:gd name="connsiteY79" fmla="*/ 285179 h 523494"/>
                  <a:gd name="connsiteX80" fmla="*/ 420624 w 3529108"/>
                  <a:gd name="connsiteY80" fmla="*/ 291180 h 523494"/>
                  <a:gd name="connsiteX81" fmla="*/ 429006 w 3529108"/>
                  <a:gd name="connsiteY81" fmla="*/ 291180 h 523494"/>
                  <a:gd name="connsiteX82" fmla="*/ 429006 w 3529108"/>
                  <a:gd name="connsiteY82" fmla="*/ 297276 h 523494"/>
                  <a:gd name="connsiteX83" fmla="*/ 433197 w 3529108"/>
                  <a:gd name="connsiteY83" fmla="*/ 297276 h 523494"/>
                  <a:gd name="connsiteX84" fmla="*/ 433197 w 3529108"/>
                  <a:gd name="connsiteY84" fmla="*/ 303372 h 523494"/>
                  <a:gd name="connsiteX85" fmla="*/ 506825 w 3529108"/>
                  <a:gd name="connsiteY85" fmla="*/ 303372 h 523494"/>
                  <a:gd name="connsiteX86" fmla="*/ 506825 w 3529108"/>
                  <a:gd name="connsiteY86" fmla="*/ 309372 h 523494"/>
                  <a:gd name="connsiteX87" fmla="*/ 527875 w 3529108"/>
                  <a:gd name="connsiteY87" fmla="*/ 309372 h 523494"/>
                  <a:gd name="connsiteX88" fmla="*/ 527875 w 3529108"/>
                  <a:gd name="connsiteY88" fmla="*/ 315468 h 523494"/>
                  <a:gd name="connsiteX89" fmla="*/ 534162 w 3529108"/>
                  <a:gd name="connsiteY89" fmla="*/ 315468 h 523494"/>
                  <a:gd name="connsiteX90" fmla="*/ 534162 w 3529108"/>
                  <a:gd name="connsiteY90" fmla="*/ 321564 h 523494"/>
                  <a:gd name="connsiteX91" fmla="*/ 576262 w 3529108"/>
                  <a:gd name="connsiteY91" fmla="*/ 321564 h 523494"/>
                  <a:gd name="connsiteX92" fmla="*/ 576262 w 3529108"/>
                  <a:gd name="connsiteY92" fmla="*/ 327565 h 523494"/>
                  <a:gd name="connsiteX93" fmla="*/ 590931 w 3529108"/>
                  <a:gd name="connsiteY93" fmla="*/ 327565 h 523494"/>
                  <a:gd name="connsiteX94" fmla="*/ 590931 w 3529108"/>
                  <a:gd name="connsiteY94" fmla="*/ 333661 h 523494"/>
                  <a:gd name="connsiteX95" fmla="*/ 620458 w 3529108"/>
                  <a:gd name="connsiteY95" fmla="*/ 333661 h 523494"/>
                  <a:gd name="connsiteX96" fmla="*/ 620458 w 3529108"/>
                  <a:gd name="connsiteY96" fmla="*/ 339757 h 523494"/>
                  <a:gd name="connsiteX97" fmla="*/ 622554 w 3529108"/>
                  <a:gd name="connsiteY97" fmla="*/ 339757 h 523494"/>
                  <a:gd name="connsiteX98" fmla="*/ 622554 w 3529108"/>
                  <a:gd name="connsiteY98" fmla="*/ 345758 h 523494"/>
                  <a:gd name="connsiteX99" fmla="*/ 645604 w 3529108"/>
                  <a:gd name="connsiteY99" fmla="*/ 345758 h 523494"/>
                  <a:gd name="connsiteX100" fmla="*/ 645604 w 3529108"/>
                  <a:gd name="connsiteY100" fmla="*/ 351854 h 523494"/>
                  <a:gd name="connsiteX101" fmla="*/ 658273 w 3529108"/>
                  <a:gd name="connsiteY101" fmla="*/ 351854 h 523494"/>
                  <a:gd name="connsiteX102" fmla="*/ 658273 w 3529108"/>
                  <a:gd name="connsiteY102" fmla="*/ 357950 h 523494"/>
                  <a:gd name="connsiteX103" fmla="*/ 693991 w 3529108"/>
                  <a:gd name="connsiteY103" fmla="*/ 357950 h 523494"/>
                  <a:gd name="connsiteX104" fmla="*/ 693991 w 3529108"/>
                  <a:gd name="connsiteY104" fmla="*/ 364046 h 523494"/>
                  <a:gd name="connsiteX105" fmla="*/ 809720 w 3529108"/>
                  <a:gd name="connsiteY105" fmla="*/ 364046 h 523494"/>
                  <a:gd name="connsiteX106" fmla="*/ 809720 w 3529108"/>
                  <a:gd name="connsiteY106" fmla="*/ 370047 h 523494"/>
                  <a:gd name="connsiteX107" fmla="*/ 847534 w 3529108"/>
                  <a:gd name="connsiteY107" fmla="*/ 370047 h 523494"/>
                  <a:gd name="connsiteX108" fmla="*/ 847534 w 3529108"/>
                  <a:gd name="connsiteY108" fmla="*/ 376238 h 523494"/>
                  <a:gd name="connsiteX109" fmla="*/ 900112 w 3529108"/>
                  <a:gd name="connsiteY109" fmla="*/ 376238 h 523494"/>
                  <a:gd name="connsiteX110" fmla="*/ 900112 w 3529108"/>
                  <a:gd name="connsiteY110" fmla="*/ 382334 h 523494"/>
                  <a:gd name="connsiteX111" fmla="*/ 919067 w 3529108"/>
                  <a:gd name="connsiteY111" fmla="*/ 382334 h 523494"/>
                  <a:gd name="connsiteX112" fmla="*/ 919067 w 3529108"/>
                  <a:gd name="connsiteY112" fmla="*/ 388430 h 523494"/>
                  <a:gd name="connsiteX113" fmla="*/ 929545 w 3529108"/>
                  <a:gd name="connsiteY113" fmla="*/ 388430 h 523494"/>
                  <a:gd name="connsiteX114" fmla="*/ 929545 w 3529108"/>
                  <a:gd name="connsiteY114" fmla="*/ 394621 h 523494"/>
                  <a:gd name="connsiteX115" fmla="*/ 963263 w 3529108"/>
                  <a:gd name="connsiteY115" fmla="*/ 394621 h 523494"/>
                  <a:gd name="connsiteX116" fmla="*/ 963263 w 3529108"/>
                  <a:gd name="connsiteY116" fmla="*/ 400717 h 523494"/>
                  <a:gd name="connsiteX117" fmla="*/ 969550 w 3529108"/>
                  <a:gd name="connsiteY117" fmla="*/ 400717 h 523494"/>
                  <a:gd name="connsiteX118" fmla="*/ 969550 w 3529108"/>
                  <a:gd name="connsiteY118" fmla="*/ 406813 h 523494"/>
                  <a:gd name="connsiteX119" fmla="*/ 984218 w 3529108"/>
                  <a:gd name="connsiteY119" fmla="*/ 406813 h 523494"/>
                  <a:gd name="connsiteX120" fmla="*/ 984218 w 3529108"/>
                  <a:gd name="connsiteY120" fmla="*/ 412909 h 523494"/>
                  <a:gd name="connsiteX121" fmla="*/ 996886 w 3529108"/>
                  <a:gd name="connsiteY121" fmla="*/ 412909 h 523494"/>
                  <a:gd name="connsiteX122" fmla="*/ 996886 w 3529108"/>
                  <a:gd name="connsiteY122" fmla="*/ 419100 h 523494"/>
                  <a:gd name="connsiteX123" fmla="*/ 1022128 w 3529108"/>
                  <a:gd name="connsiteY123" fmla="*/ 419100 h 523494"/>
                  <a:gd name="connsiteX124" fmla="*/ 1022128 w 3529108"/>
                  <a:gd name="connsiteY124" fmla="*/ 425196 h 523494"/>
                  <a:gd name="connsiteX125" fmla="*/ 1251394 w 3529108"/>
                  <a:gd name="connsiteY125" fmla="*/ 425196 h 523494"/>
                  <a:gd name="connsiteX126" fmla="*/ 1251394 w 3529108"/>
                  <a:gd name="connsiteY126" fmla="*/ 431388 h 523494"/>
                  <a:gd name="connsiteX127" fmla="*/ 1364932 w 3529108"/>
                  <a:gd name="connsiteY127" fmla="*/ 431388 h 523494"/>
                  <a:gd name="connsiteX128" fmla="*/ 1364932 w 3529108"/>
                  <a:gd name="connsiteY128" fmla="*/ 437579 h 523494"/>
                  <a:gd name="connsiteX129" fmla="*/ 1634109 w 3529108"/>
                  <a:gd name="connsiteY129" fmla="*/ 437579 h 523494"/>
                  <a:gd name="connsiteX130" fmla="*/ 1634109 w 3529108"/>
                  <a:gd name="connsiteY130" fmla="*/ 443865 h 523494"/>
                  <a:gd name="connsiteX131" fmla="*/ 1707737 w 3529108"/>
                  <a:gd name="connsiteY131" fmla="*/ 443865 h 523494"/>
                  <a:gd name="connsiteX132" fmla="*/ 1707737 w 3529108"/>
                  <a:gd name="connsiteY132" fmla="*/ 450152 h 523494"/>
                  <a:gd name="connsiteX133" fmla="*/ 1787652 w 3529108"/>
                  <a:gd name="connsiteY133" fmla="*/ 450152 h 523494"/>
                  <a:gd name="connsiteX134" fmla="*/ 1787652 w 3529108"/>
                  <a:gd name="connsiteY134" fmla="*/ 456438 h 523494"/>
                  <a:gd name="connsiteX135" fmla="*/ 1949577 w 3529108"/>
                  <a:gd name="connsiteY135" fmla="*/ 456438 h 523494"/>
                  <a:gd name="connsiteX136" fmla="*/ 1949577 w 3529108"/>
                  <a:gd name="connsiteY136" fmla="*/ 462915 h 523494"/>
                  <a:gd name="connsiteX137" fmla="*/ 1966436 w 3529108"/>
                  <a:gd name="connsiteY137" fmla="*/ 462915 h 523494"/>
                  <a:gd name="connsiteX138" fmla="*/ 1966436 w 3529108"/>
                  <a:gd name="connsiteY138" fmla="*/ 469297 h 523494"/>
                  <a:gd name="connsiteX139" fmla="*/ 2084260 w 3529108"/>
                  <a:gd name="connsiteY139" fmla="*/ 469297 h 523494"/>
                  <a:gd name="connsiteX140" fmla="*/ 2084260 w 3529108"/>
                  <a:gd name="connsiteY140" fmla="*/ 475774 h 523494"/>
                  <a:gd name="connsiteX141" fmla="*/ 2176748 w 3529108"/>
                  <a:gd name="connsiteY141" fmla="*/ 475774 h 523494"/>
                  <a:gd name="connsiteX142" fmla="*/ 2176748 w 3529108"/>
                  <a:gd name="connsiteY142" fmla="*/ 482156 h 523494"/>
                  <a:gd name="connsiteX143" fmla="*/ 2195703 w 3529108"/>
                  <a:gd name="connsiteY143" fmla="*/ 482156 h 523494"/>
                  <a:gd name="connsiteX144" fmla="*/ 2195703 w 3529108"/>
                  <a:gd name="connsiteY144" fmla="*/ 488633 h 523494"/>
                  <a:gd name="connsiteX145" fmla="*/ 3049524 w 3529108"/>
                  <a:gd name="connsiteY145" fmla="*/ 488633 h 523494"/>
                  <a:gd name="connsiteX146" fmla="*/ 3049524 w 3529108"/>
                  <a:gd name="connsiteY146" fmla="*/ 523494 h 523494"/>
                  <a:gd name="connsiteX147" fmla="*/ 3529108 w 3529108"/>
                  <a:gd name="connsiteY147" fmla="*/ 523494 h 523494"/>
                  <a:gd name="connsiteX0" fmla="*/ 0 w 3510153"/>
                  <a:gd name="connsiteY0" fmla="*/ 0 h 511302"/>
                  <a:gd name="connsiteX1" fmla="*/ 0 w 3510153"/>
                  <a:gd name="connsiteY1" fmla="*/ 6001 h 511302"/>
                  <a:gd name="connsiteX2" fmla="*/ 12573 w 3510153"/>
                  <a:gd name="connsiteY2" fmla="*/ 6001 h 511302"/>
                  <a:gd name="connsiteX3" fmla="*/ 12573 w 3510153"/>
                  <a:gd name="connsiteY3" fmla="*/ 12097 h 511302"/>
                  <a:gd name="connsiteX4" fmla="*/ 18859 w 3510153"/>
                  <a:gd name="connsiteY4" fmla="*/ 12097 h 511302"/>
                  <a:gd name="connsiteX5" fmla="*/ 18859 w 3510153"/>
                  <a:gd name="connsiteY5" fmla="*/ 24194 h 511302"/>
                  <a:gd name="connsiteX6" fmla="*/ 23050 w 3510153"/>
                  <a:gd name="connsiteY6" fmla="*/ 24194 h 511302"/>
                  <a:gd name="connsiteX7" fmla="*/ 23050 w 3510153"/>
                  <a:gd name="connsiteY7" fmla="*/ 30290 h 511302"/>
                  <a:gd name="connsiteX8" fmla="*/ 35718 w 3510153"/>
                  <a:gd name="connsiteY8" fmla="*/ 30290 h 511302"/>
                  <a:gd name="connsiteX9" fmla="*/ 35718 w 3510153"/>
                  <a:gd name="connsiteY9" fmla="*/ 36386 h 511302"/>
                  <a:gd name="connsiteX10" fmla="*/ 50387 w 3510153"/>
                  <a:gd name="connsiteY10" fmla="*/ 36386 h 511302"/>
                  <a:gd name="connsiteX11" fmla="*/ 50387 w 3510153"/>
                  <a:gd name="connsiteY11" fmla="*/ 42387 h 511302"/>
                  <a:gd name="connsiteX12" fmla="*/ 54673 w 3510153"/>
                  <a:gd name="connsiteY12" fmla="*/ 42387 h 511302"/>
                  <a:gd name="connsiteX13" fmla="*/ 54673 w 3510153"/>
                  <a:gd name="connsiteY13" fmla="*/ 48483 h 511302"/>
                  <a:gd name="connsiteX14" fmla="*/ 65150 w 3510153"/>
                  <a:gd name="connsiteY14" fmla="*/ 48483 h 511302"/>
                  <a:gd name="connsiteX15" fmla="*/ 65150 w 3510153"/>
                  <a:gd name="connsiteY15" fmla="*/ 54579 h 511302"/>
                  <a:gd name="connsiteX16" fmla="*/ 73533 w 3510153"/>
                  <a:gd name="connsiteY16" fmla="*/ 54579 h 511302"/>
                  <a:gd name="connsiteX17" fmla="*/ 73533 w 3510153"/>
                  <a:gd name="connsiteY17" fmla="*/ 60675 h 511302"/>
                  <a:gd name="connsiteX18" fmla="*/ 88296 w 3510153"/>
                  <a:gd name="connsiteY18" fmla="*/ 60675 h 511302"/>
                  <a:gd name="connsiteX19" fmla="*/ 88296 w 3510153"/>
                  <a:gd name="connsiteY19" fmla="*/ 66675 h 511302"/>
                  <a:gd name="connsiteX20" fmla="*/ 92487 w 3510153"/>
                  <a:gd name="connsiteY20" fmla="*/ 66675 h 511302"/>
                  <a:gd name="connsiteX21" fmla="*/ 92487 w 3510153"/>
                  <a:gd name="connsiteY21" fmla="*/ 72771 h 511302"/>
                  <a:gd name="connsiteX22" fmla="*/ 96678 w 3510153"/>
                  <a:gd name="connsiteY22" fmla="*/ 72771 h 511302"/>
                  <a:gd name="connsiteX23" fmla="*/ 96678 w 3510153"/>
                  <a:gd name="connsiteY23" fmla="*/ 78867 h 511302"/>
                  <a:gd name="connsiteX24" fmla="*/ 109347 w 3510153"/>
                  <a:gd name="connsiteY24" fmla="*/ 78867 h 511302"/>
                  <a:gd name="connsiteX25" fmla="*/ 109347 w 3510153"/>
                  <a:gd name="connsiteY25" fmla="*/ 84868 h 511302"/>
                  <a:gd name="connsiteX26" fmla="*/ 138779 w 3510153"/>
                  <a:gd name="connsiteY26" fmla="*/ 84868 h 511302"/>
                  <a:gd name="connsiteX27" fmla="*/ 138779 w 3510153"/>
                  <a:gd name="connsiteY27" fmla="*/ 90964 h 511302"/>
                  <a:gd name="connsiteX28" fmla="*/ 147161 w 3510153"/>
                  <a:gd name="connsiteY28" fmla="*/ 90964 h 511302"/>
                  <a:gd name="connsiteX29" fmla="*/ 147161 w 3510153"/>
                  <a:gd name="connsiteY29" fmla="*/ 97060 h 511302"/>
                  <a:gd name="connsiteX30" fmla="*/ 149256 w 3510153"/>
                  <a:gd name="connsiteY30" fmla="*/ 97060 h 511302"/>
                  <a:gd name="connsiteX31" fmla="*/ 149256 w 3510153"/>
                  <a:gd name="connsiteY31" fmla="*/ 103061 h 511302"/>
                  <a:gd name="connsiteX32" fmla="*/ 164020 w 3510153"/>
                  <a:gd name="connsiteY32" fmla="*/ 103061 h 511302"/>
                  <a:gd name="connsiteX33" fmla="*/ 164020 w 3510153"/>
                  <a:gd name="connsiteY33" fmla="*/ 115253 h 511302"/>
                  <a:gd name="connsiteX34" fmla="*/ 166116 w 3510153"/>
                  <a:gd name="connsiteY34" fmla="*/ 115253 h 511302"/>
                  <a:gd name="connsiteX35" fmla="*/ 166116 w 3510153"/>
                  <a:gd name="connsiteY35" fmla="*/ 121254 h 511302"/>
                  <a:gd name="connsiteX36" fmla="*/ 172402 w 3510153"/>
                  <a:gd name="connsiteY36" fmla="*/ 121254 h 511302"/>
                  <a:gd name="connsiteX37" fmla="*/ 172402 w 3510153"/>
                  <a:gd name="connsiteY37" fmla="*/ 127350 h 511302"/>
                  <a:gd name="connsiteX38" fmla="*/ 176593 w 3510153"/>
                  <a:gd name="connsiteY38" fmla="*/ 127350 h 511302"/>
                  <a:gd name="connsiteX39" fmla="*/ 176593 w 3510153"/>
                  <a:gd name="connsiteY39" fmla="*/ 133446 h 511302"/>
                  <a:gd name="connsiteX40" fmla="*/ 193452 w 3510153"/>
                  <a:gd name="connsiteY40" fmla="*/ 133446 h 511302"/>
                  <a:gd name="connsiteX41" fmla="*/ 193452 w 3510153"/>
                  <a:gd name="connsiteY41" fmla="*/ 145542 h 511302"/>
                  <a:gd name="connsiteX42" fmla="*/ 197643 w 3510153"/>
                  <a:gd name="connsiteY42" fmla="*/ 145542 h 511302"/>
                  <a:gd name="connsiteX43" fmla="*/ 197643 w 3510153"/>
                  <a:gd name="connsiteY43" fmla="*/ 151638 h 511302"/>
                  <a:gd name="connsiteX44" fmla="*/ 220789 w 3510153"/>
                  <a:gd name="connsiteY44" fmla="*/ 151638 h 511302"/>
                  <a:gd name="connsiteX45" fmla="*/ 220789 w 3510153"/>
                  <a:gd name="connsiteY45" fmla="*/ 157734 h 511302"/>
                  <a:gd name="connsiteX46" fmla="*/ 224980 w 3510153"/>
                  <a:gd name="connsiteY46" fmla="*/ 157734 h 511302"/>
                  <a:gd name="connsiteX47" fmla="*/ 224980 w 3510153"/>
                  <a:gd name="connsiteY47" fmla="*/ 163735 h 511302"/>
                  <a:gd name="connsiteX48" fmla="*/ 231267 w 3510153"/>
                  <a:gd name="connsiteY48" fmla="*/ 163735 h 511302"/>
                  <a:gd name="connsiteX49" fmla="*/ 231267 w 3510153"/>
                  <a:gd name="connsiteY49" fmla="*/ 175927 h 511302"/>
                  <a:gd name="connsiteX50" fmla="*/ 250221 w 3510153"/>
                  <a:gd name="connsiteY50" fmla="*/ 175927 h 511302"/>
                  <a:gd name="connsiteX51" fmla="*/ 250221 w 3510153"/>
                  <a:gd name="connsiteY51" fmla="*/ 181928 h 511302"/>
                  <a:gd name="connsiteX52" fmla="*/ 258603 w 3510153"/>
                  <a:gd name="connsiteY52" fmla="*/ 181928 h 511302"/>
                  <a:gd name="connsiteX53" fmla="*/ 258603 w 3510153"/>
                  <a:gd name="connsiteY53" fmla="*/ 188024 h 511302"/>
                  <a:gd name="connsiteX54" fmla="*/ 271272 w 3510153"/>
                  <a:gd name="connsiteY54" fmla="*/ 188024 h 511302"/>
                  <a:gd name="connsiteX55" fmla="*/ 271272 w 3510153"/>
                  <a:gd name="connsiteY55" fmla="*/ 194120 h 511302"/>
                  <a:gd name="connsiteX56" fmla="*/ 288131 w 3510153"/>
                  <a:gd name="connsiteY56" fmla="*/ 194120 h 511302"/>
                  <a:gd name="connsiteX57" fmla="*/ 288131 w 3510153"/>
                  <a:gd name="connsiteY57" fmla="*/ 200121 h 511302"/>
                  <a:gd name="connsiteX58" fmla="*/ 315468 w 3510153"/>
                  <a:gd name="connsiteY58" fmla="*/ 200121 h 511302"/>
                  <a:gd name="connsiteX59" fmla="*/ 315468 w 3510153"/>
                  <a:gd name="connsiteY59" fmla="*/ 206217 h 511302"/>
                  <a:gd name="connsiteX60" fmla="*/ 317563 w 3510153"/>
                  <a:gd name="connsiteY60" fmla="*/ 206217 h 511302"/>
                  <a:gd name="connsiteX61" fmla="*/ 317563 w 3510153"/>
                  <a:gd name="connsiteY61" fmla="*/ 212313 h 511302"/>
                  <a:gd name="connsiteX62" fmla="*/ 328040 w 3510153"/>
                  <a:gd name="connsiteY62" fmla="*/ 212313 h 511302"/>
                  <a:gd name="connsiteX63" fmla="*/ 328040 w 3510153"/>
                  <a:gd name="connsiteY63" fmla="*/ 218313 h 511302"/>
                  <a:gd name="connsiteX64" fmla="*/ 334327 w 3510153"/>
                  <a:gd name="connsiteY64" fmla="*/ 218313 h 511302"/>
                  <a:gd name="connsiteX65" fmla="*/ 334327 w 3510153"/>
                  <a:gd name="connsiteY65" fmla="*/ 230505 h 511302"/>
                  <a:gd name="connsiteX66" fmla="*/ 342804 w 3510153"/>
                  <a:gd name="connsiteY66" fmla="*/ 230505 h 511302"/>
                  <a:gd name="connsiteX67" fmla="*/ 342804 w 3510153"/>
                  <a:gd name="connsiteY67" fmla="*/ 236506 h 511302"/>
                  <a:gd name="connsiteX68" fmla="*/ 349091 w 3510153"/>
                  <a:gd name="connsiteY68" fmla="*/ 236506 h 511302"/>
                  <a:gd name="connsiteX69" fmla="*/ 349091 w 3510153"/>
                  <a:gd name="connsiteY69" fmla="*/ 248698 h 511302"/>
                  <a:gd name="connsiteX70" fmla="*/ 351186 w 3510153"/>
                  <a:gd name="connsiteY70" fmla="*/ 248698 h 511302"/>
                  <a:gd name="connsiteX71" fmla="*/ 351186 w 3510153"/>
                  <a:gd name="connsiteY71" fmla="*/ 254794 h 511302"/>
                  <a:gd name="connsiteX72" fmla="*/ 363759 w 3510153"/>
                  <a:gd name="connsiteY72" fmla="*/ 254794 h 511302"/>
                  <a:gd name="connsiteX73" fmla="*/ 363759 w 3510153"/>
                  <a:gd name="connsiteY73" fmla="*/ 260795 h 511302"/>
                  <a:gd name="connsiteX74" fmla="*/ 386905 w 3510153"/>
                  <a:gd name="connsiteY74" fmla="*/ 260795 h 511302"/>
                  <a:gd name="connsiteX75" fmla="*/ 386905 w 3510153"/>
                  <a:gd name="connsiteY75" fmla="*/ 266891 h 511302"/>
                  <a:gd name="connsiteX76" fmla="*/ 393287 w 3510153"/>
                  <a:gd name="connsiteY76" fmla="*/ 266891 h 511302"/>
                  <a:gd name="connsiteX77" fmla="*/ 393287 w 3510153"/>
                  <a:gd name="connsiteY77" fmla="*/ 272987 h 511302"/>
                  <a:gd name="connsiteX78" fmla="*/ 401669 w 3510153"/>
                  <a:gd name="connsiteY78" fmla="*/ 272987 h 511302"/>
                  <a:gd name="connsiteX79" fmla="*/ 401669 w 3510153"/>
                  <a:gd name="connsiteY79" fmla="*/ 278988 h 511302"/>
                  <a:gd name="connsiteX80" fmla="*/ 410051 w 3510153"/>
                  <a:gd name="connsiteY80" fmla="*/ 278988 h 511302"/>
                  <a:gd name="connsiteX81" fmla="*/ 410051 w 3510153"/>
                  <a:gd name="connsiteY81" fmla="*/ 285084 h 511302"/>
                  <a:gd name="connsiteX82" fmla="*/ 414242 w 3510153"/>
                  <a:gd name="connsiteY82" fmla="*/ 285084 h 511302"/>
                  <a:gd name="connsiteX83" fmla="*/ 414242 w 3510153"/>
                  <a:gd name="connsiteY83" fmla="*/ 291180 h 511302"/>
                  <a:gd name="connsiteX84" fmla="*/ 487870 w 3510153"/>
                  <a:gd name="connsiteY84" fmla="*/ 291180 h 511302"/>
                  <a:gd name="connsiteX85" fmla="*/ 487870 w 3510153"/>
                  <a:gd name="connsiteY85" fmla="*/ 297180 h 511302"/>
                  <a:gd name="connsiteX86" fmla="*/ 508920 w 3510153"/>
                  <a:gd name="connsiteY86" fmla="*/ 297180 h 511302"/>
                  <a:gd name="connsiteX87" fmla="*/ 508920 w 3510153"/>
                  <a:gd name="connsiteY87" fmla="*/ 303276 h 511302"/>
                  <a:gd name="connsiteX88" fmla="*/ 515207 w 3510153"/>
                  <a:gd name="connsiteY88" fmla="*/ 303276 h 511302"/>
                  <a:gd name="connsiteX89" fmla="*/ 515207 w 3510153"/>
                  <a:gd name="connsiteY89" fmla="*/ 309372 h 511302"/>
                  <a:gd name="connsiteX90" fmla="*/ 557307 w 3510153"/>
                  <a:gd name="connsiteY90" fmla="*/ 309372 h 511302"/>
                  <a:gd name="connsiteX91" fmla="*/ 557307 w 3510153"/>
                  <a:gd name="connsiteY91" fmla="*/ 315373 h 511302"/>
                  <a:gd name="connsiteX92" fmla="*/ 571976 w 3510153"/>
                  <a:gd name="connsiteY92" fmla="*/ 315373 h 511302"/>
                  <a:gd name="connsiteX93" fmla="*/ 571976 w 3510153"/>
                  <a:gd name="connsiteY93" fmla="*/ 321469 h 511302"/>
                  <a:gd name="connsiteX94" fmla="*/ 601503 w 3510153"/>
                  <a:gd name="connsiteY94" fmla="*/ 321469 h 511302"/>
                  <a:gd name="connsiteX95" fmla="*/ 601503 w 3510153"/>
                  <a:gd name="connsiteY95" fmla="*/ 327565 h 511302"/>
                  <a:gd name="connsiteX96" fmla="*/ 603599 w 3510153"/>
                  <a:gd name="connsiteY96" fmla="*/ 327565 h 511302"/>
                  <a:gd name="connsiteX97" fmla="*/ 603599 w 3510153"/>
                  <a:gd name="connsiteY97" fmla="*/ 333566 h 511302"/>
                  <a:gd name="connsiteX98" fmla="*/ 626649 w 3510153"/>
                  <a:gd name="connsiteY98" fmla="*/ 333566 h 511302"/>
                  <a:gd name="connsiteX99" fmla="*/ 626649 w 3510153"/>
                  <a:gd name="connsiteY99" fmla="*/ 339662 h 511302"/>
                  <a:gd name="connsiteX100" fmla="*/ 639318 w 3510153"/>
                  <a:gd name="connsiteY100" fmla="*/ 339662 h 511302"/>
                  <a:gd name="connsiteX101" fmla="*/ 639318 w 3510153"/>
                  <a:gd name="connsiteY101" fmla="*/ 345758 h 511302"/>
                  <a:gd name="connsiteX102" fmla="*/ 675036 w 3510153"/>
                  <a:gd name="connsiteY102" fmla="*/ 345758 h 511302"/>
                  <a:gd name="connsiteX103" fmla="*/ 675036 w 3510153"/>
                  <a:gd name="connsiteY103" fmla="*/ 351854 h 511302"/>
                  <a:gd name="connsiteX104" fmla="*/ 790765 w 3510153"/>
                  <a:gd name="connsiteY104" fmla="*/ 351854 h 511302"/>
                  <a:gd name="connsiteX105" fmla="*/ 790765 w 3510153"/>
                  <a:gd name="connsiteY105" fmla="*/ 357855 h 511302"/>
                  <a:gd name="connsiteX106" fmla="*/ 828579 w 3510153"/>
                  <a:gd name="connsiteY106" fmla="*/ 357855 h 511302"/>
                  <a:gd name="connsiteX107" fmla="*/ 828579 w 3510153"/>
                  <a:gd name="connsiteY107" fmla="*/ 364046 h 511302"/>
                  <a:gd name="connsiteX108" fmla="*/ 881157 w 3510153"/>
                  <a:gd name="connsiteY108" fmla="*/ 364046 h 511302"/>
                  <a:gd name="connsiteX109" fmla="*/ 881157 w 3510153"/>
                  <a:gd name="connsiteY109" fmla="*/ 370142 h 511302"/>
                  <a:gd name="connsiteX110" fmla="*/ 900112 w 3510153"/>
                  <a:gd name="connsiteY110" fmla="*/ 370142 h 511302"/>
                  <a:gd name="connsiteX111" fmla="*/ 900112 w 3510153"/>
                  <a:gd name="connsiteY111" fmla="*/ 376238 h 511302"/>
                  <a:gd name="connsiteX112" fmla="*/ 910590 w 3510153"/>
                  <a:gd name="connsiteY112" fmla="*/ 376238 h 511302"/>
                  <a:gd name="connsiteX113" fmla="*/ 910590 w 3510153"/>
                  <a:gd name="connsiteY113" fmla="*/ 382429 h 511302"/>
                  <a:gd name="connsiteX114" fmla="*/ 944308 w 3510153"/>
                  <a:gd name="connsiteY114" fmla="*/ 382429 h 511302"/>
                  <a:gd name="connsiteX115" fmla="*/ 944308 w 3510153"/>
                  <a:gd name="connsiteY115" fmla="*/ 388525 h 511302"/>
                  <a:gd name="connsiteX116" fmla="*/ 950595 w 3510153"/>
                  <a:gd name="connsiteY116" fmla="*/ 388525 h 511302"/>
                  <a:gd name="connsiteX117" fmla="*/ 950595 w 3510153"/>
                  <a:gd name="connsiteY117" fmla="*/ 394621 h 511302"/>
                  <a:gd name="connsiteX118" fmla="*/ 965263 w 3510153"/>
                  <a:gd name="connsiteY118" fmla="*/ 394621 h 511302"/>
                  <a:gd name="connsiteX119" fmla="*/ 965263 w 3510153"/>
                  <a:gd name="connsiteY119" fmla="*/ 400717 h 511302"/>
                  <a:gd name="connsiteX120" fmla="*/ 977931 w 3510153"/>
                  <a:gd name="connsiteY120" fmla="*/ 400717 h 511302"/>
                  <a:gd name="connsiteX121" fmla="*/ 977931 w 3510153"/>
                  <a:gd name="connsiteY121" fmla="*/ 406908 h 511302"/>
                  <a:gd name="connsiteX122" fmla="*/ 1003173 w 3510153"/>
                  <a:gd name="connsiteY122" fmla="*/ 406908 h 511302"/>
                  <a:gd name="connsiteX123" fmla="*/ 1003173 w 3510153"/>
                  <a:gd name="connsiteY123" fmla="*/ 413004 h 511302"/>
                  <a:gd name="connsiteX124" fmla="*/ 1232439 w 3510153"/>
                  <a:gd name="connsiteY124" fmla="*/ 413004 h 511302"/>
                  <a:gd name="connsiteX125" fmla="*/ 1232439 w 3510153"/>
                  <a:gd name="connsiteY125" fmla="*/ 419196 h 511302"/>
                  <a:gd name="connsiteX126" fmla="*/ 1345977 w 3510153"/>
                  <a:gd name="connsiteY126" fmla="*/ 419196 h 511302"/>
                  <a:gd name="connsiteX127" fmla="*/ 1345977 w 3510153"/>
                  <a:gd name="connsiteY127" fmla="*/ 425387 h 511302"/>
                  <a:gd name="connsiteX128" fmla="*/ 1615154 w 3510153"/>
                  <a:gd name="connsiteY128" fmla="*/ 425387 h 511302"/>
                  <a:gd name="connsiteX129" fmla="*/ 1615154 w 3510153"/>
                  <a:gd name="connsiteY129" fmla="*/ 431673 h 511302"/>
                  <a:gd name="connsiteX130" fmla="*/ 1688782 w 3510153"/>
                  <a:gd name="connsiteY130" fmla="*/ 431673 h 511302"/>
                  <a:gd name="connsiteX131" fmla="*/ 1688782 w 3510153"/>
                  <a:gd name="connsiteY131" fmla="*/ 437960 h 511302"/>
                  <a:gd name="connsiteX132" fmla="*/ 1768697 w 3510153"/>
                  <a:gd name="connsiteY132" fmla="*/ 437960 h 511302"/>
                  <a:gd name="connsiteX133" fmla="*/ 1768697 w 3510153"/>
                  <a:gd name="connsiteY133" fmla="*/ 444246 h 511302"/>
                  <a:gd name="connsiteX134" fmla="*/ 1930622 w 3510153"/>
                  <a:gd name="connsiteY134" fmla="*/ 444246 h 511302"/>
                  <a:gd name="connsiteX135" fmla="*/ 1930622 w 3510153"/>
                  <a:gd name="connsiteY135" fmla="*/ 450723 h 511302"/>
                  <a:gd name="connsiteX136" fmla="*/ 1947481 w 3510153"/>
                  <a:gd name="connsiteY136" fmla="*/ 450723 h 511302"/>
                  <a:gd name="connsiteX137" fmla="*/ 1947481 w 3510153"/>
                  <a:gd name="connsiteY137" fmla="*/ 457105 h 511302"/>
                  <a:gd name="connsiteX138" fmla="*/ 2065305 w 3510153"/>
                  <a:gd name="connsiteY138" fmla="*/ 457105 h 511302"/>
                  <a:gd name="connsiteX139" fmla="*/ 2065305 w 3510153"/>
                  <a:gd name="connsiteY139" fmla="*/ 463582 h 511302"/>
                  <a:gd name="connsiteX140" fmla="*/ 2157793 w 3510153"/>
                  <a:gd name="connsiteY140" fmla="*/ 463582 h 511302"/>
                  <a:gd name="connsiteX141" fmla="*/ 2157793 w 3510153"/>
                  <a:gd name="connsiteY141" fmla="*/ 469964 h 511302"/>
                  <a:gd name="connsiteX142" fmla="*/ 2176748 w 3510153"/>
                  <a:gd name="connsiteY142" fmla="*/ 469964 h 511302"/>
                  <a:gd name="connsiteX143" fmla="*/ 2176748 w 3510153"/>
                  <a:gd name="connsiteY143" fmla="*/ 476441 h 511302"/>
                  <a:gd name="connsiteX144" fmla="*/ 3030569 w 3510153"/>
                  <a:gd name="connsiteY144" fmla="*/ 476441 h 511302"/>
                  <a:gd name="connsiteX145" fmla="*/ 3030569 w 3510153"/>
                  <a:gd name="connsiteY145" fmla="*/ 511302 h 511302"/>
                  <a:gd name="connsiteX146" fmla="*/ 3510153 w 3510153"/>
                  <a:gd name="connsiteY146" fmla="*/ 511302 h 511302"/>
                  <a:gd name="connsiteX0" fmla="*/ 0 w 3510153"/>
                  <a:gd name="connsiteY0" fmla="*/ 0 h 511302"/>
                  <a:gd name="connsiteX1" fmla="*/ 12573 w 3510153"/>
                  <a:gd name="connsiteY1" fmla="*/ 6001 h 511302"/>
                  <a:gd name="connsiteX2" fmla="*/ 12573 w 3510153"/>
                  <a:gd name="connsiteY2" fmla="*/ 12097 h 511302"/>
                  <a:gd name="connsiteX3" fmla="*/ 18859 w 3510153"/>
                  <a:gd name="connsiteY3" fmla="*/ 12097 h 511302"/>
                  <a:gd name="connsiteX4" fmla="*/ 18859 w 3510153"/>
                  <a:gd name="connsiteY4" fmla="*/ 24194 h 511302"/>
                  <a:gd name="connsiteX5" fmla="*/ 23050 w 3510153"/>
                  <a:gd name="connsiteY5" fmla="*/ 24194 h 511302"/>
                  <a:gd name="connsiteX6" fmla="*/ 23050 w 3510153"/>
                  <a:gd name="connsiteY6" fmla="*/ 30290 h 511302"/>
                  <a:gd name="connsiteX7" fmla="*/ 35718 w 3510153"/>
                  <a:gd name="connsiteY7" fmla="*/ 30290 h 511302"/>
                  <a:gd name="connsiteX8" fmla="*/ 35718 w 3510153"/>
                  <a:gd name="connsiteY8" fmla="*/ 36386 h 511302"/>
                  <a:gd name="connsiteX9" fmla="*/ 50387 w 3510153"/>
                  <a:gd name="connsiteY9" fmla="*/ 36386 h 511302"/>
                  <a:gd name="connsiteX10" fmla="*/ 50387 w 3510153"/>
                  <a:gd name="connsiteY10" fmla="*/ 42387 h 511302"/>
                  <a:gd name="connsiteX11" fmla="*/ 54673 w 3510153"/>
                  <a:gd name="connsiteY11" fmla="*/ 42387 h 511302"/>
                  <a:gd name="connsiteX12" fmla="*/ 54673 w 3510153"/>
                  <a:gd name="connsiteY12" fmla="*/ 48483 h 511302"/>
                  <a:gd name="connsiteX13" fmla="*/ 65150 w 3510153"/>
                  <a:gd name="connsiteY13" fmla="*/ 48483 h 511302"/>
                  <a:gd name="connsiteX14" fmla="*/ 65150 w 3510153"/>
                  <a:gd name="connsiteY14" fmla="*/ 54579 h 511302"/>
                  <a:gd name="connsiteX15" fmla="*/ 73533 w 3510153"/>
                  <a:gd name="connsiteY15" fmla="*/ 54579 h 511302"/>
                  <a:gd name="connsiteX16" fmla="*/ 73533 w 3510153"/>
                  <a:gd name="connsiteY16" fmla="*/ 60675 h 511302"/>
                  <a:gd name="connsiteX17" fmla="*/ 88296 w 3510153"/>
                  <a:gd name="connsiteY17" fmla="*/ 60675 h 511302"/>
                  <a:gd name="connsiteX18" fmla="*/ 88296 w 3510153"/>
                  <a:gd name="connsiteY18" fmla="*/ 66675 h 511302"/>
                  <a:gd name="connsiteX19" fmla="*/ 92487 w 3510153"/>
                  <a:gd name="connsiteY19" fmla="*/ 66675 h 511302"/>
                  <a:gd name="connsiteX20" fmla="*/ 92487 w 3510153"/>
                  <a:gd name="connsiteY20" fmla="*/ 72771 h 511302"/>
                  <a:gd name="connsiteX21" fmla="*/ 96678 w 3510153"/>
                  <a:gd name="connsiteY21" fmla="*/ 72771 h 511302"/>
                  <a:gd name="connsiteX22" fmla="*/ 96678 w 3510153"/>
                  <a:gd name="connsiteY22" fmla="*/ 78867 h 511302"/>
                  <a:gd name="connsiteX23" fmla="*/ 109347 w 3510153"/>
                  <a:gd name="connsiteY23" fmla="*/ 78867 h 511302"/>
                  <a:gd name="connsiteX24" fmla="*/ 109347 w 3510153"/>
                  <a:gd name="connsiteY24" fmla="*/ 84868 h 511302"/>
                  <a:gd name="connsiteX25" fmla="*/ 138779 w 3510153"/>
                  <a:gd name="connsiteY25" fmla="*/ 84868 h 511302"/>
                  <a:gd name="connsiteX26" fmla="*/ 138779 w 3510153"/>
                  <a:gd name="connsiteY26" fmla="*/ 90964 h 511302"/>
                  <a:gd name="connsiteX27" fmla="*/ 147161 w 3510153"/>
                  <a:gd name="connsiteY27" fmla="*/ 90964 h 511302"/>
                  <a:gd name="connsiteX28" fmla="*/ 147161 w 3510153"/>
                  <a:gd name="connsiteY28" fmla="*/ 97060 h 511302"/>
                  <a:gd name="connsiteX29" fmla="*/ 149256 w 3510153"/>
                  <a:gd name="connsiteY29" fmla="*/ 97060 h 511302"/>
                  <a:gd name="connsiteX30" fmla="*/ 149256 w 3510153"/>
                  <a:gd name="connsiteY30" fmla="*/ 103061 h 511302"/>
                  <a:gd name="connsiteX31" fmla="*/ 164020 w 3510153"/>
                  <a:gd name="connsiteY31" fmla="*/ 103061 h 511302"/>
                  <a:gd name="connsiteX32" fmla="*/ 164020 w 3510153"/>
                  <a:gd name="connsiteY32" fmla="*/ 115253 h 511302"/>
                  <a:gd name="connsiteX33" fmla="*/ 166116 w 3510153"/>
                  <a:gd name="connsiteY33" fmla="*/ 115253 h 511302"/>
                  <a:gd name="connsiteX34" fmla="*/ 166116 w 3510153"/>
                  <a:gd name="connsiteY34" fmla="*/ 121254 h 511302"/>
                  <a:gd name="connsiteX35" fmla="*/ 172402 w 3510153"/>
                  <a:gd name="connsiteY35" fmla="*/ 121254 h 511302"/>
                  <a:gd name="connsiteX36" fmla="*/ 172402 w 3510153"/>
                  <a:gd name="connsiteY36" fmla="*/ 127350 h 511302"/>
                  <a:gd name="connsiteX37" fmla="*/ 176593 w 3510153"/>
                  <a:gd name="connsiteY37" fmla="*/ 127350 h 511302"/>
                  <a:gd name="connsiteX38" fmla="*/ 176593 w 3510153"/>
                  <a:gd name="connsiteY38" fmla="*/ 133446 h 511302"/>
                  <a:gd name="connsiteX39" fmla="*/ 193452 w 3510153"/>
                  <a:gd name="connsiteY39" fmla="*/ 133446 h 511302"/>
                  <a:gd name="connsiteX40" fmla="*/ 193452 w 3510153"/>
                  <a:gd name="connsiteY40" fmla="*/ 145542 h 511302"/>
                  <a:gd name="connsiteX41" fmla="*/ 197643 w 3510153"/>
                  <a:gd name="connsiteY41" fmla="*/ 145542 h 511302"/>
                  <a:gd name="connsiteX42" fmla="*/ 197643 w 3510153"/>
                  <a:gd name="connsiteY42" fmla="*/ 151638 h 511302"/>
                  <a:gd name="connsiteX43" fmla="*/ 220789 w 3510153"/>
                  <a:gd name="connsiteY43" fmla="*/ 151638 h 511302"/>
                  <a:gd name="connsiteX44" fmla="*/ 220789 w 3510153"/>
                  <a:gd name="connsiteY44" fmla="*/ 157734 h 511302"/>
                  <a:gd name="connsiteX45" fmla="*/ 224980 w 3510153"/>
                  <a:gd name="connsiteY45" fmla="*/ 157734 h 511302"/>
                  <a:gd name="connsiteX46" fmla="*/ 224980 w 3510153"/>
                  <a:gd name="connsiteY46" fmla="*/ 163735 h 511302"/>
                  <a:gd name="connsiteX47" fmla="*/ 231267 w 3510153"/>
                  <a:gd name="connsiteY47" fmla="*/ 163735 h 511302"/>
                  <a:gd name="connsiteX48" fmla="*/ 231267 w 3510153"/>
                  <a:gd name="connsiteY48" fmla="*/ 175927 h 511302"/>
                  <a:gd name="connsiteX49" fmla="*/ 250221 w 3510153"/>
                  <a:gd name="connsiteY49" fmla="*/ 175927 h 511302"/>
                  <a:gd name="connsiteX50" fmla="*/ 250221 w 3510153"/>
                  <a:gd name="connsiteY50" fmla="*/ 181928 h 511302"/>
                  <a:gd name="connsiteX51" fmla="*/ 258603 w 3510153"/>
                  <a:gd name="connsiteY51" fmla="*/ 181928 h 511302"/>
                  <a:gd name="connsiteX52" fmla="*/ 258603 w 3510153"/>
                  <a:gd name="connsiteY52" fmla="*/ 188024 h 511302"/>
                  <a:gd name="connsiteX53" fmla="*/ 271272 w 3510153"/>
                  <a:gd name="connsiteY53" fmla="*/ 188024 h 511302"/>
                  <a:gd name="connsiteX54" fmla="*/ 271272 w 3510153"/>
                  <a:gd name="connsiteY54" fmla="*/ 194120 h 511302"/>
                  <a:gd name="connsiteX55" fmla="*/ 288131 w 3510153"/>
                  <a:gd name="connsiteY55" fmla="*/ 194120 h 511302"/>
                  <a:gd name="connsiteX56" fmla="*/ 288131 w 3510153"/>
                  <a:gd name="connsiteY56" fmla="*/ 200121 h 511302"/>
                  <a:gd name="connsiteX57" fmla="*/ 315468 w 3510153"/>
                  <a:gd name="connsiteY57" fmla="*/ 200121 h 511302"/>
                  <a:gd name="connsiteX58" fmla="*/ 315468 w 3510153"/>
                  <a:gd name="connsiteY58" fmla="*/ 206217 h 511302"/>
                  <a:gd name="connsiteX59" fmla="*/ 317563 w 3510153"/>
                  <a:gd name="connsiteY59" fmla="*/ 206217 h 511302"/>
                  <a:gd name="connsiteX60" fmla="*/ 317563 w 3510153"/>
                  <a:gd name="connsiteY60" fmla="*/ 212313 h 511302"/>
                  <a:gd name="connsiteX61" fmla="*/ 328040 w 3510153"/>
                  <a:gd name="connsiteY61" fmla="*/ 212313 h 511302"/>
                  <a:gd name="connsiteX62" fmla="*/ 328040 w 3510153"/>
                  <a:gd name="connsiteY62" fmla="*/ 218313 h 511302"/>
                  <a:gd name="connsiteX63" fmla="*/ 334327 w 3510153"/>
                  <a:gd name="connsiteY63" fmla="*/ 218313 h 511302"/>
                  <a:gd name="connsiteX64" fmla="*/ 334327 w 3510153"/>
                  <a:gd name="connsiteY64" fmla="*/ 230505 h 511302"/>
                  <a:gd name="connsiteX65" fmla="*/ 342804 w 3510153"/>
                  <a:gd name="connsiteY65" fmla="*/ 230505 h 511302"/>
                  <a:gd name="connsiteX66" fmla="*/ 342804 w 3510153"/>
                  <a:gd name="connsiteY66" fmla="*/ 236506 h 511302"/>
                  <a:gd name="connsiteX67" fmla="*/ 349091 w 3510153"/>
                  <a:gd name="connsiteY67" fmla="*/ 236506 h 511302"/>
                  <a:gd name="connsiteX68" fmla="*/ 349091 w 3510153"/>
                  <a:gd name="connsiteY68" fmla="*/ 248698 h 511302"/>
                  <a:gd name="connsiteX69" fmla="*/ 351186 w 3510153"/>
                  <a:gd name="connsiteY69" fmla="*/ 248698 h 511302"/>
                  <a:gd name="connsiteX70" fmla="*/ 351186 w 3510153"/>
                  <a:gd name="connsiteY70" fmla="*/ 254794 h 511302"/>
                  <a:gd name="connsiteX71" fmla="*/ 363759 w 3510153"/>
                  <a:gd name="connsiteY71" fmla="*/ 254794 h 511302"/>
                  <a:gd name="connsiteX72" fmla="*/ 363759 w 3510153"/>
                  <a:gd name="connsiteY72" fmla="*/ 260795 h 511302"/>
                  <a:gd name="connsiteX73" fmla="*/ 386905 w 3510153"/>
                  <a:gd name="connsiteY73" fmla="*/ 260795 h 511302"/>
                  <a:gd name="connsiteX74" fmla="*/ 386905 w 3510153"/>
                  <a:gd name="connsiteY74" fmla="*/ 266891 h 511302"/>
                  <a:gd name="connsiteX75" fmla="*/ 393287 w 3510153"/>
                  <a:gd name="connsiteY75" fmla="*/ 266891 h 511302"/>
                  <a:gd name="connsiteX76" fmla="*/ 393287 w 3510153"/>
                  <a:gd name="connsiteY76" fmla="*/ 272987 h 511302"/>
                  <a:gd name="connsiteX77" fmla="*/ 401669 w 3510153"/>
                  <a:gd name="connsiteY77" fmla="*/ 272987 h 511302"/>
                  <a:gd name="connsiteX78" fmla="*/ 401669 w 3510153"/>
                  <a:gd name="connsiteY78" fmla="*/ 278988 h 511302"/>
                  <a:gd name="connsiteX79" fmla="*/ 410051 w 3510153"/>
                  <a:gd name="connsiteY79" fmla="*/ 278988 h 511302"/>
                  <a:gd name="connsiteX80" fmla="*/ 410051 w 3510153"/>
                  <a:gd name="connsiteY80" fmla="*/ 285084 h 511302"/>
                  <a:gd name="connsiteX81" fmla="*/ 414242 w 3510153"/>
                  <a:gd name="connsiteY81" fmla="*/ 285084 h 511302"/>
                  <a:gd name="connsiteX82" fmla="*/ 414242 w 3510153"/>
                  <a:gd name="connsiteY82" fmla="*/ 291180 h 511302"/>
                  <a:gd name="connsiteX83" fmla="*/ 487870 w 3510153"/>
                  <a:gd name="connsiteY83" fmla="*/ 291180 h 511302"/>
                  <a:gd name="connsiteX84" fmla="*/ 487870 w 3510153"/>
                  <a:gd name="connsiteY84" fmla="*/ 297180 h 511302"/>
                  <a:gd name="connsiteX85" fmla="*/ 508920 w 3510153"/>
                  <a:gd name="connsiteY85" fmla="*/ 297180 h 511302"/>
                  <a:gd name="connsiteX86" fmla="*/ 508920 w 3510153"/>
                  <a:gd name="connsiteY86" fmla="*/ 303276 h 511302"/>
                  <a:gd name="connsiteX87" fmla="*/ 515207 w 3510153"/>
                  <a:gd name="connsiteY87" fmla="*/ 303276 h 511302"/>
                  <a:gd name="connsiteX88" fmla="*/ 515207 w 3510153"/>
                  <a:gd name="connsiteY88" fmla="*/ 309372 h 511302"/>
                  <a:gd name="connsiteX89" fmla="*/ 557307 w 3510153"/>
                  <a:gd name="connsiteY89" fmla="*/ 309372 h 511302"/>
                  <a:gd name="connsiteX90" fmla="*/ 557307 w 3510153"/>
                  <a:gd name="connsiteY90" fmla="*/ 315373 h 511302"/>
                  <a:gd name="connsiteX91" fmla="*/ 571976 w 3510153"/>
                  <a:gd name="connsiteY91" fmla="*/ 315373 h 511302"/>
                  <a:gd name="connsiteX92" fmla="*/ 571976 w 3510153"/>
                  <a:gd name="connsiteY92" fmla="*/ 321469 h 511302"/>
                  <a:gd name="connsiteX93" fmla="*/ 601503 w 3510153"/>
                  <a:gd name="connsiteY93" fmla="*/ 321469 h 511302"/>
                  <a:gd name="connsiteX94" fmla="*/ 601503 w 3510153"/>
                  <a:gd name="connsiteY94" fmla="*/ 327565 h 511302"/>
                  <a:gd name="connsiteX95" fmla="*/ 603599 w 3510153"/>
                  <a:gd name="connsiteY95" fmla="*/ 327565 h 511302"/>
                  <a:gd name="connsiteX96" fmla="*/ 603599 w 3510153"/>
                  <a:gd name="connsiteY96" fmla="*/ 333566 h 511302"/>
                  <a:gd name="connsiteX97" fmla="*/ 626649 w 3510153"/>
                  <a:gd name="connsiteY97" fmla="*/ 333566 h 511302"/>
                  <a:gd name="connsiteX98" fmla="*/ 626649 w 3510153"/>
                  <a:gd name="connsiteY98" fmla="*/ 339662 h 511302"/>
                  <a:gd name="connsiteX99" fmla="*/ 639318 w 3510153"/>
                  <a:gd name="connsiteY99" fmla="*/ 339662 h 511302"/>
                  <a:gd name="connsiteX100" fmla="*/ 639318 w 3510153"/>
                  <a:gd name="connsiteY100" fmla="*/ 345758 h 511302"/>
                  <a:gd name="connsiteX101" fmla="*/ 675036 w 3510153"/>
                  <a:gd name="connsiteY101" fmla="*/ 345758 h 511302"/>
                  <a:gd name="connsiteX102" fmla="*/ 675036 w 3510153"/>
                  <a:gd name="connsiteY102" fmla="*/ 351854 h 511302"/>
                  <a:gd name="connsiteX103" fmla="*/ 790765 w 3510153"/>
                  <a:gd name="connsiteY103" fmla="*/ 351854 h 511302"/>
                  <a:gd name="connsiteX104" fmla="*/ 790765 w 3510153"/>
                  <a:gd name="connsiteY104" fmla="*/ 357855 h 511302"/>
                  <a:gd name="connsiteX105" fmla="*/ 828579 w 3510153"/>
                  <a:gd name="connsiteY105" fmla="*/ 357855 h 511302"/>
                  <a:gd name="connsiteX106" fmla="*/ 828579 w 3510153"/>
                  <a:gd name="connsiteY106" fmla="*/ 364046 h 511302"/>
                  <a:gd name="connsiteX107" fmla="*/ 881157 w 3510153"/>
                  <a:gd name="connsiteY107" fmla="*/ 364046 h 511302"/>
                  <a:gd name="connsiteX108" fmla="*/ 881157 w 3510153"/>
                  <a:gd name="connsiteY108" fmla="*/ 370142 h 511302"/>
                  <a:gd name="connsiteX109" fmla="*/ 900112 w 3510153"/>
                  <a:gd name="connsiteY109" fmla="*/ 370142 h 511302"/>
                  <a:gd name="connsiteX110" fmla="*/ 900112 w 3510153"/>
                  <a:gd name="connsiteY110" fmla="*/ 376238 h 511302"/>
                  <a:gd name="connsiteX111" fmla="*/ 910590 w 3510153"/>
                  <a:gd name="connsiteY111" fmla="*/ 376238 h 511302"/>
                  <a:gd name="connsiteX112" fmla="*/ 910590 w 3510153"/>
                  <a:gd name="connsiteY112" fmla="*/ 382429 h 511302"/>
                  <a:gd name="connsiteX113" fmla="*/ 944308 w 3510153"/>
                  <a:gd name="connsiteY113" fmla="*/ 382429 h 511302"/>
                  <a:gd name="connsiteX114" fmla="*/ 944308 w 3510153"/>
                  <a:gd name="connsiteY114" fmla="*/ 388525 h 511302"/>
                  <a:gd name="connsiteX115" fmla="*/ 950595 w 3510153"/>
                  <a:gd name="connsiteY115" fmla="*/ 388525 h 511302"/>
                  <a:gd name="connsiteX116" fmla="*/ 950595 w 3510153"/>
                  <a:gd name="connsiteY116" fmla="*/ 394621 h 511302"/>
                  <a:gd name="connsiteX117" fmla="*/ 965263 w 3510153"/>
                  <a:gd name="connsiteY117" fmla="*/ 394621 h 511302"/>
                  <a:gd name="connsiteX118" fmla="*/ 965263 w 3510153"/>
                  <a:gd name="connsiteY118" fmla="*/ 400717 h 511302"/>
                  <a:gd name="connsiteX119" fmla="*/ 977931 w 3510153"/>
                  <a:gd name="connsiteY119" fmla="*/ 400717 h 511302"/>
                  <a:gd name="connsiteX120" fmla="*/ 977931 w 3510153"/>
                  <a:gd name="connsiteY120" fmla="*/ 406908 h 511302"/>
                  <a:gd name="connsiteX121" fmla="*/ 1003173 w 3510153"/>
                  <a:gd name="connsiteY121" fmla="*/ 406908 h 511302"/>
                  <a:gd name="connsiteX122" fmla="*/ 1003173 w 3510153"/>
                  <a:gd name="connsiteY122" fmla="*/ 413004 h 511302"/>
                  <a:gd name="connsiteX123" fmla="*/ 1232439 w 3510153"/>
                  <a:gd name="connsiteY123" fmla="*/ 413004 h 511302"/>
                  <a:gd name="connsiteX124" fmla="*/ 1232439 w 3510153"/>
                  <a:gd name="connsiteY124" fmla="*/ 419196 h 511302"/>
                  <a:gd name="connsiteX125" fmla="*/ 1345977 w 3510153"/>
                  <a:gd name="connsiteY125" fmla="*/ 419196 h 511302"/>
                  <a:gd name="connsiteX126" fmla="*/ 1345977 w 3510153"/>
                  <a:gd name="connsiteY126" fmla="*/ 425387 h 511302"/>
                  <a:gd name="connsiteX127" fmla="*/ 1615154 w 3510153"/>
                  <a:gd name="connsiteY127" fmla="*/ 425387 h 511302"/>
                  <a:gd name="connsiteX128" fmla="*/ 1615154 w 3510153"/>
                  <a:gd name="connsiteY128" fmla="*/ 431673 h 511302"/>
                  <a:gd name="connsiteX129" fmla="*/ 1688782 w 3510153"/>
                  <a:gd name="connsiteY129" fmla="*/ 431673 h 511302"/>
                  <a:gd name="connsiteX130" fmla="*/ 1688782 w 3510153"/>
                  <a:gd name="connsiteY130" fmla="*/ 437960 h 511302"/>
                  <a:gd name="connsiteX131" fmla="*/ 1768697 w 3510153"/>
                  <a:gd name="connsiteY131" fmla="*/ 437960 h 511302"/>
                  <a:gd name="connsiteX132" fmla="*/ 1768697 w 3510153"/>
                  <a:gd name="connsiteY132" fmla="*/ 444246 h 511302"/>
                  <a:gd name="connsiteX133" fmla="*/ 1930622 w 3510153"/>
                  <a:gd name="connsiteY133" fmla="*/ 444246 h 511302"/>
                  <a:gd name="connsiteX134" fmla="*/ 1930622 w 3510153"/>
                  <a:gd name="connsiteY134" fmla="*/ 450723 h 511302"/>
                  <a:gd name="connsiteX135" fmla="*/ 1947481 w 3510153"/>
                  <a:gd name="connsiteY135" fmla="*/ 450723 h 511302"/>
                  <a:gd name="connsiteX136" fmla="*/ 1947481 w 3510153"/>
                  <a:gd name="connsiteY136" fmla="*/ 457105 h 511302"/>
                  <a:gd name="connsiteX137" fmla="*/ 2065305 w 3510153"/>
                  <a:gd name="connsiteY137" fmla="*/ 457105 h 511302"/>
                  <a:gd name="connsiteX138" fmla="*/ 2065305 w 3510153"/>
                  <a:gd name="connsiteY138" fmla="*/ 463582 h 511302"/>
                  <a:gd name="connsiteX139" fmla="*/ 2157793 w 3510153"/>
                  <a:gd name="connsiteY139" fmla="*/ 463582 h 511302"/>
                  <a:gd name="connsiteX140" fmla="*/ 2157793 w 3510153"/>
                  <a:gd name="connsiteY140" fmla="*/ 469964 h 511302"/>
                  <a:gd name="connsiteX141" fmla="*/ 2176748 w 3510153"/>
                  <a:gd name="connsiteY141" fmla="*/ 469964 h 511302"/>
                  <a:gd name="connsiteX142" fmla="*/ 2176748 w 3510153"/>
                  <a:gd name="connsiteY142" fmla="*/ 476441 h 511302"/>
                  <a:gd name="connsiteX143" fmla="*/ 3030569 w 3510153"/>
                  <a:gd name="connsiteY143" fmla="*/ 476441 h 511302"/>
                  <a:gd name="connsiteX144" fmla="*/ 3030569 w 3510153"/>
                  <a:gd name="connsiteY144" fmla="*/ 511302 h 511302"/>
                  <a:gd name="connsiteX145" fmla="*/ 3510153 w 3510153"/>
                  <a:gd name="connsiteY145" fmla="*/ 511302 h 511302"/>
                  <a:gd name="connsiteX0" fmla="*/ 0 w 3497580"/>
                  <a:gd name="connsiteY0" fmla="*/ 0 h 505301"/>
                  <a:gd name="connsiteX1" fmla="*/ 0 w 3497580"/>
                  <a:gd name="connsiteY1" fmla="*/ 6096 h 505301"/>
                  <a:gd name="connsiteX2" fmla="*/ 6286 w 3497580"/>
                  <a:gd name="connsiteY2" fmla="*/ 6096 h 505301"/>
                  <a:gd name="connsiteX3" fmla="*/ 6286 w 3497580"/>
                  <a:gd name="connsiteY3" fmla="*/ 18193 h 505301"/>
                  <a:gd name="connsiteX4" fmla="*/ 10477 w 3497580"/>
                  <a:gd name="connsiteY4" fmla="*/ 18193 h 505301"/>
                  <a:gd name="connsiteX5" fmla="*/ 10477 w 3497580"/>
                  <a:gd name="connsiteY5" fmla="*/ 24289 h 505301"/>
                  <a:gd name="connsiteX6" fmla="*/ 23145 w 3497580"/>
                  <a:gd name="connsiteY6" fmla="*/ 24289 h 505301"/>
                  <a:gd name="connsiteX7" fmla="*/ 23145 w 3497580"/>
                  <a:gd name="connsiteY7" fmla="*/ 30385 h 505301"/>
                  <a:gd name="connsiteX8" fmla="*/ 37814 w 3497580"/>
                  <a:gd name="connsiteY8" fmla="*/ 30385 h 505301"/>
                  <a:gd name="connsiteX9" fmla="*/ 37814 w 3497580"/>
                  <a:gd name="connsiteY9" fmla="*/ 36386 h 505301"/>
                  <a:gd name="connsiteX10" fmla="*/ 42100 w 3497580"/>
                  <a:gd name="connsiteY10" fmla="*/ 36386 h 505301"/>
                  <a:gd name="connsiteX11" fmla="*/ 42100 w 3497580"/>
                  <a:gd name="connsiteY11" fmla="*/ 42482 h 505301"/>
                  <a:gd name="connsiteX12" fmla="*/ 52577 w 3497580"/>
                  <a:gd name="connsiteY12" fmla="*/ 42482 h 505301"/>
                  <a:gd name="connsiteX13" fmla="*/ 52577 w 3497580"/>
                  <a:gd name="connsiteY13" fmla="*/ 48578 h 505301"/>
                  <a:gd name="connsiteX14" fmla="*/ 60960 w 3497580"/>
                  <a:gd name="connsiteY14" fmla="*/ 48578 h 505301"/>
                  <a:gd name="connsiteX15" fmla="*/ 60960 w 3497580"/>
                  <a:gd name="connsiteY15" fmla="*/ 54674 h 505301"/>
                  <a:gd name="connsiteX16" fmla="*/ 75723 w 3497580"/>
                  <a:gd name="connsiteY16" fmla="*/ 54674 h 505301"/>
                  <a:gd name="connsiteX17" fmla="*/ 75723 w 3497580"/>
                  <a:gd name="connsiteY17" fmla="*/ 60674 h 505301"/>
                  <a:gd name="connsiteX18" fmla="*/ 79914 w 3497580"/>
                  <a:gd name="connsiteY18" fmla="*/ 60674 h 505301"/>
                  <a:gd name="connsiteX19" fmla="*/ 79914 w 3497580"/>
                  <a:gd name="connsiteY19" fmla="*/ 66770 h 505301"/>
                  <a:gd name="connsiteX20" fmla="*/ 84105 w 3497580"/>
                  <a:gd name="connsiteY20" fmla="*/ 66770 h 505301"/>
                  <a:gd name="connsiteX21" fmla="*/ 84105 w 3497580"/>
                  <a:gd name="connsiteY21" fmla="*/ 72866 h 505301"/>
                  <a:gd name="connsiteX22" fmla="*/ 96774 w 3497580"/>
                  <a:gd name="connsiteY22" fmla="*/ 72866 h 505301"/>
                  <a:gd name="connsiteX23" fmla="*/ 96774 w 3497580"/>
                  <a:gd name="connsiteY23" fmla="*/ 78867 h 505301"/>
                  <a:gd name="connsiteX24" fmla="*/ 126206 w 3497580"/>
                  <a:gd name="connsiteY24" fmla="*/ 78867 h 505301"/>
                  <a:gd name="connsiteX25" fmla="*/ 126206 w 3497580"/>
                  <a:gd name="connsiteY25" fmla="*/ 84963 h 505301"/>
                  <a:gd name="connsiteX26" fmla="*/ 134588 w 3497580"/>
                  <a:gd name="connsiteY26" fmla="*/ 84963 h 505301"/>
                  <a:gd name="connsiteX27" fmla="*/ 134588 w 3497580"/>
                  <a:gd name="connsiteY27" fmla="*/ 91059 h 505301"/>
                  <a:gd name="connsiteX28" fmla="*/ 136683 w 3497580"/>
                  <a:gd name="connsiteY28" fmla="*/ 91059 h 505301"/>
                  <a:gd name="connsiteX29" fmla="*/ 136683 w 3497580"/>
                  <a:gd name="connsiteY29" fmla="*/ 97060 h 505301"/>
                  <a:gd name="connsiteX30" fmla="*/ 151447 w 3497580"/>
                  <a:gd name="connsiteY30" fmla="*/ 97060 h 505301"/>
                  <a:gd name="connsiteX31" fmla="*/ 151447 w 3497580"/>
                  <a:gd name="connsiteY31" fmla="*/ 109252 h 505301"/>
                  <a:gd name="connsiteX32" fmla="*/ 153543 w 3497580"/>
                  <a:gd name="connsiteY32" fmla="*/ 109252 h 505301"/>
                  <a:gd name="connsiteX33" fmla="*/ 153543 w 3497580"/>
                  <a:gd name="connsiteY33" fmla="*/ 115253 h 505301"/>
                  <a:gd name="connsiteX34" fmla="*/ 159829 w 3497580"/>
                  <a:gd name="connsiteY34" fmla="*/ 115253 h 505301"/>
                  <a:gd name="connsiteX35" fmla="*/ 159829 w 3497580"/>
                  <a:gd name="connsiteY35" fmla="*/ 121349 h 505301"/>
                  <a:gd name="connsiteX36" fmla="*/ 164020 w 3497580"/>
                  <a:gd name="connsiteY36" fmla="*/ 121349 h 505301"/>
                  <a:gd name="connsiteX37" fmla="*/ 164020 w 3497580"/>
                  <a:gd name="connsiteY37" fmla="*/ 127445 h 505301"/>
                  <a:gd name="connsiteX38" fmla="*/ 180879 w 3497580"/>
                  <a:gd name="connsiteY38" fmla="*/ 127445 h 505301"/>
                  <a:gd name="connsiteX39" fmla="*/ 180879 w 3497580"/>
                  <a:gd name="connsiteY39" fmla="*/ 139541 h 505301"/>
                  <a:gd name="connsiteX40" fmla="*/ 185070 w 3497580"/>
                  <a:gd name="connsiteY40" fmla="*/ 139541 h 505301"/>
                  <a:gd name="connsiteX41" fmla="*/ 185070 w 3497580"/>
                  <a:gd name="connsiteY41" fmla="*/ 145637 h 505301"/>
                  <a:gd name="connsiteX42" fmla="*/ 208216 w 3497580"/>
                  <a:gd name="connsiteY42" fmla="*/ 145637 h 505301"/>
                  <a:gd name="connsiteX43" fmla="*/ 208216 w 3497580"/>
                  <a:gd name="connsiteY43" fmla="*/ 151733 h 505301"/>
                  <a:gd name="connsiteX44" fmla="*/ 212407 w 3497580"/>
                  <a:gd name="connsiteY44" fmla="*/ 151733 h 505301"/>
                  <a:gd name="connsiteX45" fmla="*/ 212407 w 3497580"/>
                  <a:gd name="connsiteY45" fmla="*/ 157734 h 505301"/>
                  <a:gd name="connsiteX46" fmla="*/ 218694 w 3497580"/>
                  <a:gd name="connsiteY46" fmla="*/ 157734 h 505301"/>
                  <a:gd name="connsiteX47" fmla="*/ 218694 w 3497580"/>
                  <a:gd name="connsiteY47" fmla="*/ 169926 h 505301"/>
                  <a:gd name="connsiteX48" fmla="*/ 237648 w 3497580"/>
                  <a:gd name="connsiteY48" fmla="*/ 169926 h 505301"/>
                  <a:gd name="connsiteX49" fmla="*/ 237648 w 3497580"/>
                  <a:gd name="connsiteY49" fmla="*/ 175927 h 505301"/>
                  <a:gd name="connsiteX50" fmla="*/ 246030 w 3497580"/>
                  <a:gd name="connsiteY50" fmla="*/ 175927 h 505301"/>
                  <a:gd name="connsiteX51" fmla="*/ 246030 w 3497580"/>
                  <a:gd name="connsiteY51" fmla="*/ 182023 h 505301"/>
                  <a:gd name="connsiteX52" fmla="*/ 258699 w 3497580"/>
                  <a:gd name="connsiteY52" fmla="*/ 182023 h 505301"/>
                  <a:gd name="connsiteX53" fmla="*/ 258699 w 3497580"/>
                  <a:gd name="connsiteY53" fmla="*/ 188119 h 505301"/>
                  <a:gd name="connsiteX54" fmla="*/ 275558 w 3497580"/>
                  <a:gd name="connsiteY54" fmla="*/ 188119 h 505301"/>
                  <a:gd name="connsiteX55" fmla="*/ 275558 w 3497580"/>
                  <a:gd name="connsiteY55" fmla="*/ 194120 h 505301"/>
                  <a:gd name="connsiteX56" fmla="*/ 302895 w 3497580"/>
                  <a:gd name="connsiteY56" fmla="*/ 194120 h 505301"/>
                  <a:gd name="connsiteX57" fmla="*/ 302895 w 3497580"/>
                  <a:gd name="connsiteY57" fmla="*/ 200216 h 505301"/>
                  <a:gd name="connsiteX58" fmla="*/ 304990 w 3497580"/>
                  <a:gd name="connsiteY58" fmla="*/ 200216 h 505301"/>
                  <a:gd name="connsiteX59" fmla="*/ 304990 w 3497580"/>
                  <a:gd name="connsiteY59" fmla="*/ 206312 h 505301"/>
                  <a:gd name="connsiteX60" fmla="*/ 315467 w 3497580"/>
                  <a:gd name="connsiteY60" fmla="*/ 206312 h 505301"/>
                  <a:gd name="connsiteX61" fmla="*/ 315467 w 3497580"/>
                  <a:gd name="connsiteY61" fmla="*/ 212312 h 505301"/>
                  <a:gd name="connsiteX62" fmla="*/ 321754 w 3497580"/>
                  <a:gd name="connsiteY62" fmla="*/ 212312 h 505301"/>
                  <a:gd name="connsiteX63" fmla="*/ 321754 w 3497580"/>
                  <a:gd name="connsiteY63" fmla="*/ 224504 h 505301"/>
                  <a:gd name="connsiteX64" fmla="*/ 330231 w 3497580"/>
                  <a:gd name="connsiteY64" fmla="*/ 224504 h 505301"/>
                  <a:gd name="connsiteX65" fmla="*/ 330231 w 3497580"/>
                  <a:gd name="connsiteY65" fmla="*/ 230505 h 505301"/>
                  <a:gd name="connsiteX66" fmla="*/ 336518 w 3497580"/>
                  <a:gd name="connsiteY66" fmla="*/ 230505 h 505301"/>
                  <a:gd name="connsiteX67" fmla="*/ 336518 w 3497580"/>
                  <a:gd name="connsiteY67" fmla="*/ 242697 h 505301"/>
                  <a:gd name="connsiteX68" fmla="*/ 338613 w 3497580"/>
                  <a:gd name="connsiteY68" fmla="*/ 242697 h 505301"/>
                  <a:gd name="connsiteX69" fmla="*/ 338613 w 3497580"/>
                  <a:gd name="connsiteY69" fmla="*/ 248793 h 505301"/>
                  <a:gd name="connsiteX70" fmla="*/ 351186 w 3497580"/>
                  <a:gd name="connsiteY70" fmla="*/ 248793 h 505301"/>
                  <a:gd name="connsiteX71" fmla="*/ 351186 w 3497580"/>
                  <a:gd name="connsiteY71" fmla="*/ 254794 h 505301"/>
                  <a:gd name="connsiteX72" fmla="*/ 374332 w 3497580"/>
                  <a:gd name="connsiteY72" fmla="*/ 254794 h 505301"/>
                  <a:gd name="connsiteX73" fmla="*/ 374332 w 3497580"/>
                  <a:gd name="connsiteY73" fmla="*/ 260890 h 505301"/>
                  <a:gd name="connsiteX74" fmla="*/ 380714 w 3497580"/>
                  <a:gd name="connsiteY74" fmla="*/ 260890 h 505301"/>
                  <a:gd name="connsiteX75" fmla="*/ 380714 w 3497580"/>
                  <a:gd name="connsiteY75" fmla="*/ 266986 h 505301"/>
                  <a:gd name="connsiteX76" fmla="*/ 389096 w 3497580"/>
                  <a:gd name="connsiteY76" fmla="*/ 266986 h 505301"/>
                  <a:gd name="connsiteX77" fmla="*/ 389096 w 3497580"/>
                  <a:gd name="connsiteY77" fmla="*/ 272987 h 505301"/>
                  <a:gd name="connsiteX78" fmla="*/ 397478 w 3497580"/>
                  <a:gd name="connsiteY78" fmla="*/ 272987 h 505301"/>
                  <a:gd name="connsiteX79" fmla="*/ 397478 w 3497580"/>
                  <a:gd name="connsiteY79" fmla="*/ 279083 h 505301"/>
                  <a:gd name="connsiteX80" fmla="*/ 401669 w 3497580"/>
                  <a:gd name="connsiteY80" fmla="*/ 279083 h 505301"/>
                  <a:gd name="connsiteX81" fmla="*/ 401669 w 3497580"/>
                  <a:gd name="connsiteY81" fmla="*/ 285179 h 505301"/>
                  <a:gd name="connsiteX82" fmla="*/ 475297 w 3497580"/>
                  <a:gd name="connsiteY82" fmla="*/ 285179 h 505301"/>
                  <a:gd name="connsiteX83" fmla="*/ 475297 w 3497580"/>
                  <a:gd name="connsiteY83" fmla="*/ 291179 h 505301"/>
                  <a:gd name="connsiteX84" fmla="*/ 496347 w 3497580"/>
                  <a:gd name="connsiteY84" fmla="*/ 291179 h 505301"/>
                  <a:gd name="connsiteX85" fmla="*/ 496347 w 3497580"/>
                  <a:gd name="connsiteY85" fmla="*/ 297275 h 505301"/>
                  <a:gd name="connsiteX86" fmla="*/ 502634 w 3497580"/>
                  <a:gd name="connsiteY86" fmla="*/ 297275 h 505301"/>
                  <a:gd name="connsiteX87" fmla="*/ 502634 w 3497580"/>
                  <a:gd name="connsiteY87" fmla="*/ 303371 h 505301"/>
                  <a:gd name="connsiteX88" fmla="*/ 544734 w 3497580"/>
                  <a:gd name="connsiteY88" fmla="*/ 303371 h 505301"/>
                  <a:gd name="connsiteX89" fmla="*/ 544734 w 3497580"/>
                  <a:gd name="connsiteY89" fmla="*/ 309372 h 505301"/>
                  <a:gd name="connsiteX90" fmla="*/ 559403 w 3497580"/>
                  <a:gd name="connsiteY90" fmla="*/ 309372 h 505301"/>
                  <a:gd name="connsiteX91" fmla="*/ 559403 w 3497580"/>
                  <a:gd name="connsiteY91" fmla="*/ 315468 h 505301"/>
                  <a:gd name="connsiteX92" fmla="*/ 588930 w 3497580"/>
                  <a:gd name="connsiteY92" fmla="*/ 315468 h 505301"/>
                  <a:gd name="connsiteX93" fmla="*/ 588930 w 3497580"/>
                  <a:gd name="connsiteY93" fmla="*/ 321564 h 505301"/>
                  <a:gd name="connsiteX94" fmla="*/ 591026 w 3497580"/>
                  <a:gd name="connsiteY94" fmla="*/ 321564 h 505301"/>
                  <a:gd name="connsiteX95" fmla="*/ 591026 w 3497580"/>
                  <a:gd name="connsiteY95" fmla="*/ 327565 h 505301"/>
                  <a:gd name="connsiteX96" fmla="*/ 614076 w 3497580"/>
                  <a:gd name="connsiteY96" fmla="*/ 327565 h 505301"/>
                  <a:gd name="connsiteX97" fmla="*/ 614076 w 3497580"/>
                  <a:gd name="connsiteY97" fmla="*/ 333661 h 505301"/>
                  <a:gd name="connsiteX98" fmla="*/ 626745 w 3497580"/>
                  <a:gd name="connsiteY98" fmla="*/ 333661 h 505301"/>
                  <a:gd name="connsiteX99" fmla="*/ 626745 w 3497580"/>
                  <a:gd name="connsiteY99" fmla="*/ 339757 h 505301"/>
                  <a:gd name="connsiteX100" fmla="*/ 662463 w 3497580"/>
                  <a:gd name="connsiteY100" fmla="*/ 339757 h 505301"/>
                  <a:gd name="connsiteX101" fmla="*/ 662463 w 3497580"/>
                  <a:gd name="connsiteY101" fmla="*/ 345853 h 505301"/>
                  <a:gd name="connsiteX102" fmla="*/ 778192 w 3497580"/>
                  <a:gd name="connsiteY102" fmla="*/ 345853 h 505301"/>
                  <a:gd name="connsiteX103" fmla="*/ 778192 w 3497580"/>
                  <a:gd name="connsiteY103" fmla="*/ 351854 h 505301"/>
                  <a:gd name="connsiteX104" fmla="*/ 816006 w 3497580"/>
                  <a:gd name="connsiteY104" fmla="*/ 351854 h 505301"/>
                  <a:gd name="connsiteX105" fmla="*/ 816006 w 3497580"/>
                  <a:gd name="connsiteY105" fmla="*/ 358045 h 505301"/>
                  <a:gd name="connsiteX106" fmla="*/ 868584 w 3497580"/>
                  <a:gd name="connsiteY106" fmla="*/ 358045 h 505301"/>
                  <a:gd name="connsiteX107" fmla="*/ 868584 w 3497580"/>
                  <a:gd name="connsiteY107" fmla="*/ 364141 h 505301"/>
                  <a:gd name="connsiteX108" fmla="*/ 887539 w 3497580"/>
                  <a:gd name="connsiteY108" fmla="*/ 364141 h 505301"/>
                  <a:gd name="connsiteX109" fmla="*/ 887539 w 3497580"/>
                  <a:gd name="connsiteY109" fmla="*/ 370237 h 505301"/>
                  <a:gd name="connsiteX110" fmla="*/ 898017 w 3497580"/>
                  <a:gd name="connsiteY110" fmla="*/ 370237 h 505301"/>
                  <a:gd name="connsiteX111" fmla="*/ 898017 w 3497580"/>
                  <a:gd name="connsiteY111" fmla="*/ 376428 h 505301"/>
                  <a:gd name="connsiteX112" fmla="*/ 931735 w 3497580"/>
                  <a:gd name="connsiteY112" fmla="*/ 376428 h 505301"/>
                  <a:gd name="connsiteX113" fmla="*/ 931735 w 3497580"/>
                  <a:gd name="connsiteY113" fmla="*/ 382524 h 505301"/>
                  <a:gd name="connsiteX114" fmla="*/ 938022 w 3497580"/>
                  <a:gd name="connsiteY114" fmla="*/ 382524 h 505301"/>
                  <a:gd name="connsiteX115" fmla="*/ 938022 w 3497580"/>
                  <a:gd name="connsiteY115" fmla="*/ 388620 h 505301"/>
                  <a:gd name="connsiteX116" fmla="*/ 952690 w 3497580"/>
                  <a:gd name="connsiteY116" fmla="*/ 388620 h 505301"/>
                  <a:gd name="connsiteX117" fmla="*/ 952690 w 3497580"/>
                  <a:gd name="connsiteY117" fmla="*/ 394716 h 505301"/>
                  <a:gd name="connsiteX118" fmla="*/ 965358 w 3497580"/>
                  <a:gd name="connsiteY118" fmla="*/ 394716 h 505301"/>
                  <a:gd name="connsiteX119" fmla="*/ 965358 w 3497580"/>
                  <a:gd name="connsiteY119" fmla="*/ 400907 h 505301"/>
                  <a:gd name="connsiteX120" fmla="*/ 990600 w 3497580"/>
                  <a:gd name="connsiteY120" fmla="*/ 400907 h 505301"/>
                  <a:gd name="connsiteX121" fmla="*/ 990600 w 3497580"/>
                  <a:gd name="connsiteY121" fmla="*/ 407003 h 505301"/>
                  <a:gd name="connsiteX122" fmla="*/ 1219866 w 3497580"/>
                  <a:gd name="connsiteY122" fmla="*/ 407003 h 505301"/>
                  <a:gd name="connsiteX123" fmla="*/ 1219866 w 3497580"/>
                  <a:gd name="connsiteY123" fmla="*/ 413195 h 505301"/>
                  <a:gd name="connsiteX124" fmla="*/ 1333404 w 3497580"/>
                  <a:gd name="connsiteY124" fmla="*/ 413195 h 505301"/>
                  <a:gd name="connsiteX125" fmla="*/ 1333404 w 3497580"/>
                  <a:gd name="connsiteY125" fmla="*/ 419386 h 505301"/>
                  <a:gd name="connsiteX126" fmla="*/ 1602581 w 3497580"/>
                  <a:gd name="connsiteY126" fmla="*/ 419386 h 505301"/>
                  <a:gd name="connsiteX127" fmla="*/ 1602581 w 3497580"/>
                  <a:gd name="connsiteY127" fmla="*/ 425672 h 505301"/>
                  <a:gd name="connsiteX128" fmla="*/ 1676209 w 3497580"/>
                  <a:gd name="connsiteY128" fmla="*/ 425672 h 505301"/>
                  <a:gd name="connsiteX129" fmla="*/ 1676209 w 3497580"/>
                  <a:gd name="connsiteY129" fmla="*/ 431959 h 505301"/>
                  <a:gd name="connsiteX130" fmla="*/ 1756124 w 3497580"/>
                  <a:gd name="connsiteY130" fmla="*/ 431959 h 505301"/>
                  <a:gd name="connsiteX131" fmla="*/ 1756124 w 3497580"/>
                  <a:gd name="connsiteY131" fmla="*/ 438245 h 505301"/>
                  <a:gd name="connsiteX132" fmla="*/ 1918049 w 3497580"/>
                  <a:gd name="connsiteY132" fmla="*/ 438245 h 505301"/>
                  <a:gd name="connsiteX133" fmla="*/ 1918049 w 3497580"/>
                  <a:gd name="connsiteY133" fmla="*/ 444722 h 505301"/>
                  <a:gd name="connsiteX134" fmla="*/ 1934908 w 3497580"/>
                  <a:gd name="connsiteY134" fmla="*/ 444722 h 505301"/>
                  <a:gd name="connsiteX135" fmla="*/ 1934908 w 3497580"/>
                  <a:gd name="connsiteY135" fmla="*/ 451104 h 505301"/>
                  <a:gd name="connsiteX136" fmla="*/ 2052732 w 3497580"/>
                  <a:gd name="connsiteY136" fmla="*/ 451104 h 505301"/>
                  <a:gd name="connsiteX137" fmla="*/ 2052732 w 3497580"/>
                  <a:gd name="connsiteY137" fmla="*/ 457581 h 505301"/>
                  <a:gd name="connsiteX138" fmla="*/ 2145220 w 3497580"/>
                  <a:gd name="connsiteY138" fmla="*/ 457581 h 505301"/>
                  <a:gd name="connsiteX139" fmla="*/ 2145220 w 3497580"/>
                  <a:gd name="connsiteY139" fmla="*/ 463963 h 505301"/>
                  <a:gd name="connsiteX140" fmla="*/ 2164175 w 3497580"/>
                  <a:gd name="connsiteY140" fmla="*/ 463963 h 505301"/>
                  <a:gd name="connsiteX141" fmla="*/ 2164175 w 3497580"/>
                  <a:gd name="connsiteY141" fmla="*/ 470440 h 505301"/>
                  <a:gd name="connsiteX142" fmla="*/ 3017996 w 3497580"/>
                  <a:gd name="connsiteY142" fmla="*/ 470440 h 505301"/>
                  <a:gd name="connsiteX143" fmla="*/ 3017996 w 3497580"/>
                  <a:gd name="connsiteY143" fmla="*/ 505301 h 505301"/>
                  <a:gd name="connsiteX144" fmla="*/ 3497580 w 3497580"/>
                  <a:gd name="connsiteY144" fmla="*/ 505301 h 505301"/>
                  <a:gd name="connsiteX0" fmla="*/ 0 w 3497580"/>
                  <a:gd name="connsiteY0" fmla="*/ 0 h 505301"/>
                  <a:gd name="connsiteX1" fmla="*/ 6286 w 3497580"/>
                  <a:gd name="connsiteY1" fmla="*/ 6096 h 505301"/>
                  <a:gd name="connsiteX2" fmla="*/ 6286 w 3497580"/>
                  <a:gd name="connsiteY2" fmla="*/ 18193 h 505301"/>
                  <a:gd name="connsiteX3" fmla="*/ 10477 w 3497580"/>
                  <a:gd name="connsiteY3" fmla="*/ 18193 h 505301"/>
                  <a:gd name="connsiteX4" fmla="*/ 10477 w 3497580"/>
                  <a:gd name="connsiteY4" fmla="*/ 24289 h 505301"/>
                  <a:gd name="connsiteX5" fmla="*/ 23145 w 3497580"/>
                  <a:gd name="connsiteY5" fmla="*/ 24289 h 505301"/>
                  <a:gd name="connsiteX6" fmla="*/ 23145 w 3497580"/>
                  <a:gd name="connsiteY6" fmla="*/ 30385 h 505301"/>
                  <a:gd name="connsiteX7" fmla="*/ 37814 w 3497580"/>
                  <a:gd name="connsiteY7" fmla="*/ 30385 h 505301"/>
                  <a:gd name="connsiteX8" fmla="*/ 37814 w 3497580"/>
                  <a:gd name="connsiteY8" fmla="*/ 36386 h 505301"/>
                  <a:gd name="connsiteX9" fmla="*/ 42100 w 3497580"/>
                  <a:gd name="connsiteY9" fmla="*/ 36386 h 505301"/>
                  <a:gd name="connsiteX10" fmla="*/ 42100 w 3497580"/>
                  <a:gd name="connsiteY10" fmla="*/ 42482 h 505301"/>
                  <a:gd name="connsiteX11" fmla="*/ 52577 w 3497580"/>
                  <a:gd name="connsiteY11" fmla="*/ 42482 h 505301"/>
                  <a:gd name="connsiteX12" fmla="*/ 52577 w 3497580"/>
                  <a:gd name="connsiteY12" fmla="*/ 48578 h 505301"/>
                  <a:gd name="connsiteX13" fmla="*/ 60960 w 3497580"/>
                  <a:gd name="connsiteY13" fmla="*/ 48578 h 505301"/>
                  <a:gd name="connsiteX14" fmla="*/ 60960 w 3497580"/>
                  <a:gd name="connsiteY14" fmla="*/ 54674 h 505301"/>
                  <a:gd name="connsiteX15" fmla="*/ 75723 w 3497580"/>
                  <a:gd name="connsiteY15" fmla="*/ 54674 h 505301"/>
                  <a:gd name="connsiteX16" fmla="*/ 75723 w 3497580"/>
                  <a:gd name="connsiteY16" fmla="*/ 60674 h 505301"/>
                  <a:gd name="connsiteX17" fmla="*/ 79914 w 3497580"/>
                  <a:gd name="connsiteY17" fmla="*/ 60674 h 505301"/>
                  <a:gd name="connsiteX18" fmla="*/ 79914 w 3497580"/>
                  <a:gd name="connsiteY18" fmla="*/ 66770 h 505301"/>
                  <a:gd name="connsiteX19" fmla="*/ 84105 w 3497580"/>
                  <a:gd name="connsiteY19" fmla="*/ 66770 h 505301"/>
                  <a:gd name="connsiteX20" fmla="*/ 84105 w 3497580"/>
                  <a:gd name="connsiteY20" fmla="*/ 72866 h 505301"/>
                  <a:gd name="connsiteX21" fmla="*/ 96774 w 3497580"/>
                  <a:gd name="connsiteY21" fmla="*/ 72866 h 505301"/>
                  <a:gd name="connsiteX22" fmla="*/ 96774 w 3497580"/>
                  <a:gd name="connsiteY22" fmla="*/ 78867 h 505301"/>
                  <a:gd name="connsiteX23" fmla="*/ 126206 w 3497580"/>
                  <a:gd name="connsiteY23" fmla="*/ 78867 h 505301"/>
                  <a:gd name="connsiteX24" fmla="*/ 126206 w 3497580"/>
                  <a:gd name="connsiteY24" fmla="*/ 84963 h 505301"/>
                  <a:gd name="connsiteX25" fmla="*/ 134588 w 3497580"/>
                  <a:gd name="connsiteY25" fmla="*/ 84963 h 505301"/>
                  <a:gd name="connsiteX26" fmla="*/ 134588 w 3497580"/>
                  <a:gd name="connsiteY26" fmla="*/ 91059 h 505301"/>
                  <a:gd name="connsiteX27" fmla="*/ 136683 w 3497580"/>
                  <a:gd name="connsiteY27" fmla="*/ 91059 h 505301"/>
                  <a:gd name="connsiteX28" fmla="*/ 136683 w 3497580"/>
                  <a:gd name="connsiteY28" fmla="*/ 97060 h 505301"/>
                  <a:gd name="connsiteX29" fmla="*/ 151447 w 3497580"/>
                  <a:gd name="connsiteY29" fmla="*/ 97060 h 505301"/>
                  <a:gd name="connsiteX30" fmla="*/ 151447 w 3497580"/>
                  <a:gd name="connsiteY30" fmla="*/ 109252 h 505301"/>
                  <a:gd name="connsiteX31" fmla="*/ 153543 w 3497580"/>
                  <a:gd name="connsiteY31" fmla="*/ 109252 h 505301"/>
                  <a:gd name="connsiteX32" fmla="*/ 153543 w 3497580"/>
                  <a:gd name="connsiteY32" fmla="*/ 115253 h 505301"/>
                  <a:gd name="connsiteX33" fmla="*/ 159829 w 3497580"/>
                  <a:gd name="connsiteY33" fmla="*/ 115253 h 505301"/>
                  <a:gd name="connsiteX34" fmla="*/ 159829 w 3497580"/>
                  <a:gd name="connsiteY34" fmla="*/ 121349 h 505301"/>
                  <a:gd name="connsiteX35" fmla="*/ 164020 w 3497580"/>
                  <a:gd name="connsiteY35" fmla="*/ 121349 h 505301"/>
                  <a:gd name="connsiteX36" fmla="*/ 164020 w 3497580"/>
                  <a:gd name="connsiteY36" fmla="*/ 127445 h 505301"/>
                  <a:gd name="connsiteX37" fmla="*/ 180879 w 3497580"/>
                  <a:gd name="connsiteY37" fmla="*/ 127445 h 505301"/>
                  <a:gd name="connsiteX38" fmla="*/ 180879 w 3497580"/>
                  <a:gd name="connsiteY38" fmla="*/ 139541 h 505301"/>
                  <a:gd name="connsiteX39" fmla="*/ 185070 w 3497580"/>
                  <a:gd name="connsiteY39" fmla="*/ 139541 h 505301"/>
                  <a:gd name="connsiteX40" fmla="*/ 185070 w 3497580"/>
                  <a:gd name="connsiteY40" fmla="*/ 145637 h 505301"/>
                  <a:gd name="connsiteX41" fmla="*/ 208216 w 3497580"/>
                  <a:gd name="connsiteY41" fmla="*/ 145637 h 505301"/>
                  <a:gd name="connsiteX42" fmla="*/ 208216 w 3497580"/>
                  <a:gd name="connsiteY42" fmla="*/ 151733 h 505301"/>
                  <a:gd name="connsiteX43" fmla="*/ 212407 w 3497580"/>
                  <a:gd name="connsiteY43" fmla="*/ 151733 h 505301"/>
                  <a:gd name="connsiteX44" fmla="*/ 212407 w 3497580"/>
                  <a:gd name="connsiteY44" fmla="*/ 157734 h 505301"/>
                  <a:gd name="connsiteX45" fmla="*/ 218694 w 3497580"/>
                  <a:gd name="connsiteY45" fmla="*/ 157734 h 505301"/>
                  <a:gd name="connsiteX46" fmla="*/ 218694 w 3497580"/>
                  <a:gd name="connsiteY46" fmla="*/ 169926 h 505301"/>
                  <a:gd name="connsiteX47" fmla="*/ 237648 w 3497580"/>
                  <a:gd name="connsiteY47" fmla="*/ 169926 h 505301"/>
                  <a:gd name="connsiteX48" fmla="*/ 237648 w 3497580"/>
                  <a:gd name="connsiteY48" fmla="*/ 175927 h 505301"/>
                  <a:gd name="connsiteX49" fmla="*/ 246030 w 3497580"/>
                  <a:gd name="connsiteY49" fmla="*/ 175927 h 505301"/>
                  <a:gd name="connsiteX50" fmla="*/ 246030 w 3497580"/>
                  <a:gd name="connsiteY50" fmla="*/ 182023 h 505301"/>
                  <a:gd name="connsiteX51" fmla="*/ 258699 w 3497580"/>
                  <a:gd name="connsiteY51" fmla="*/ 182023 h 505301"/>
                  <a:gd name="connsiteX52" fmla="*/ 258699 w 3497580"/>
                  <a:gd name="connsiteY52" fmla="*/ 188119 h 505301"/>
                  <a:gd name="connsiteX53" fmla="*/ 275558 w 3497580"/>
                  <a:gd name="connsiteY53" fmla="*/ 188119 h 505301"/>
                  <a:gd name="connsiteX54" fmla="*/ 275558 w 3497580"/>
                  <a:gd name="connsiteY54" fmla="*/ 194120 h 505301"/>
                  <a:gd name="connsiteX55" fmla="*/ 302895 w 3497580"/>
                  <a:gd name="connsiteY55" fmla="*/ 194120 h 505301"/>
                  <a:gd name="connsiteX56" fmla="*/ 302895 w 3497580"/>
                  <a:gd name="connsiteY56" fmla="*/ 200216 h 505301"/>
                  <a:gd name="connsiteX57" fmla="*/ 304990 w 3497580"/>
                  <a:gd name="connsiteY57" fmla="*/ 200216 h 505301"/>
                  <a:gd name="connsiteX58" fmla="*/ 304990 w 3497580"/>
                  <a:gd name="connsiteY58" fmla="*/ 206312 h 505301"/>
                  <a:gd name="connsiteX59" fmla="*/ 315467 w 3497580"/>
                  <a:gd name="connsiteY59" fmla="*/ 206312 h 505301"/>
                  <a:gd name="connsiteX60" fmla="*/ 315467 w 3497580"/>
                  <a:gd name="connsiteY60" fmla="*/ 212312 h 505301"/>
                  <a:gd name="connsiteX61" fmla="*/ 321754 w 3497580"/>
                  <a:gd name="connsiteY61" fmla="*/ 212312 h 505301"/>
                  <a:gd name="connsiteX62" fmla="*/ 321754 w 3497580"/>
                  <a:gd name="connsiteY62" fmla="*/ 224504 h 505301"/>
                  <a:gd name="connsiteX63" fmla="*/ 330231 w 3497580"/>
                  <a:gd name="connsiteY63" fmla="*/ 224504 h 505301"/>
                  <a:gd name="connsiteX64" fmla="*/ 330231 w 3497580"/>
                  <a:gd name="connsiteY64" fmla="*/ 230505 h 505301"/>
                  <a:gd name="connsiteX65" fmla="*/ 336518 w 3497580"/>
                  <a:gd name="connsiteY65" fmla="*/ 230505 h 505301"/>
                  <a:gd name="connsiteX66" fmla="*/ 336518 w 3497580"/>
                  <a:gd name="connsiteY66" fmla="*/ 242697 h 505301"/>
                  <a:gd name="connsiteX67" fmla="*/ 338613 w 3497580"/>
                  <a:gd name="connsiteY67" fmla="*/ 242697 h 505301"/>
                  <a:gd name="connsiteX68" fmla="*/ 338613 w 3497580"/>
                  <a:gd name="connsiteY68" fmla="*/ 248793 h 505301"/>
                  <a:gd name="connsiteX69" fmla="*/ 351186 w 3497580"/>
                  <a:gd name="connsiteY69" fmla="*/ 248793 h 505301"/>
                  <a:gd name="connsiteX70" fmla="*/ 351186 w 3497580"/>
                  <a:gd name="connsiteY70" fmla="*/ 254794 h 505301"/>
                  <a:gd name="connsiteX71" fmla="*/ 374332 w 3497580"/>
                  <a:gd name="connsiteY71" fmla="*/ 254794 h 505301"/>
                  <a:gd name="connsiteX72" fmla="*/ 374332 w 3497580"/>
                  <a:gd name="connsiteY72" fmla="*/ 260890 h 505301"/>
                  <a:gd name="connsiteX73" fmla="*/ 380714 w 3497580"/>
                  <a:gd name="connsiteY73" fmla="*/ 260890 h 505301"/>
                  <a:gd name="connsiteX74" fmla="*/ 380714 w 3497580"/>
                  <a:gd name="connsiteY74" fmla="*/ 266986 h 505301"/>
                  <a:gd name="connsiteX75" fmla="*/ 389096 w 3497580"/>
                  <a:gd name="connsiteY75" fmla="*/ 266986 h 505301"/>
                  <a:gd name="connsiteX76" fmla="*/ 389096 w 3497580"/>
                  <a:gd name="connsiteY76" fmla="*/ 272987 h 505301"/>
                  <a:gd name="connsiteX77" fmla="*/ 397478 w 3497580"/>
                  <a:gd name="connsiteY77" fmla="*/ 272987 h 505301"/>
                  <a:gd name="connsiteX78" fmla="*/ 397478 w 3497580"/>
                  <a:gd name="connsiteY78" fmla="*/ 279083 h 505301"/>
                  <a:gd name="connsiteX79" fmla="*/ 401669 w 3497580"/>
                  <a:gd name="connsiteY79" fmla="*/ 279083 h 505301"/>
                  <a:gd name="connsiteX80" fmla="*/ 401669 w 3497580"/>
                  <a:gd name="connsiteY80" fmla="*/ 285179 h 505301"/>
                  <a:gd name="connsiteX81" fmla="*/ 475297 w 3497580"/>
                  <a:gd name="connsiteY81" fmla="*/ 285179 h 505301"/>
                  <a:gd name="connsiteX82" fmla="*/ 475297 w 3497580"/>
                  <a:gd name="connsiteY82" fmla="*/ 291179 h 505301"/>
                  <a:gd name="connsiteX83" fmla="*/ 496347 w 3497580"/>
                  <a:gd name="connsiteY83" fmla="*/ 291179 h 505301"/>
                  <a:gd name="connsiteX84" fmla="*/ 496347 w 3497580"/>
                  <a:gd name="connsiteY84" fmla="*/ 297275 h 505301"/>
                  <a:gd name="connsiteX85" fmla="*/ 502634 w 3497580"/>
                  <a:gd name="connsiteY85" fmla="*/ 297275 h 505301"/>
                  <a:gd name="connsiteX86" fmla="*/ 502634 w 3497580"/>
                  <a:gd name="connsiteY86" fmla="*/ 303371 h 505301"/>
                  <a:gd name="connsiteX87" fmla="*/ 544734 w 3497580"/>
                  <a:gd name="connsiteY87" fmla="*/ 303371 h 505301"/>
                  <a:gd name="connsiteX88" fmla="*/ 544734 w 3497580"/>
                  <a:gd name="connsiteY88" fmla="*/ 309372 h 505301"/>
                  <a:gd name="connsiteX89" fmla="*/ 559403 w 3497580"/>
                  <a:gd name="connsiteY89" fmla="*/ 309372 h 505301"/>
                  <a:gd name="connsiteX90" fmla="*/ 559403 w 3497580"/>
                  <a:gd name="connsiteY90" fmla="*/ 315468 h 505301"/>
                  <a:gd name="connsiteX91" fmla="*/ 588930 w 3497580"/>
                  <a:gd name="connsiteY91" fmla="*/ 315468 h 505301"/>
                  <a:gd name="connsiteX92" fmla="*/ 588930 w 3497580"/>
                  <a:gd name="connsiteY92" fmla="*/ 321564 h 505301"/>
                  <a:gd name="connsiteX93" fmla="*/ 591026 w 3497580"/>
                  <a:gd name="connsiteY93" fmla="*/ 321564 h 505301"/>
                  <a:gd name="connsiteX94" fmla="*/ 591026 w 3497580"/>
                  <a:gd name="connsiteY94" fmla="*/ 327565 h 505301"/>
                  <a:gd name="connsiteX95" fmla="*/ 614076 w 3497580"/>
                  <a:gd name="connsiteY95" fmla="*/ 327565 h 505301"/>
                  <a:gd name="connsiteX96" fmla="*/ 614076 w 3497580"/>
                  <a:gd name="connsiteY96" fmla="*/ 333661 h 505301"/>
                  <a:gd name="connsiteX97" fmla="*/ 626745 w 3497580"/>
                  <a:gd name="connsiteY97" fmla="*/ 333661 h 505301"/>
                  <a:gd name="connsiteX98" fmla="*/ 626745 w 3497580"/>
                  <a:gd name="connsiteY98" fmla="*/ 339757 h 505301"/>
                  <a:gd name="connsiteX99" fmla="*/ 662463 w 3497580"/>
                  <a:gd name="connsiteY99" fmla="*/ 339757 h 505301"/>
                  <a:gd name="connsiteX100" fmla="*/ 662463 w 3497580"/>
                  <a:gd name="connsiteY100" fmla="*/ 345853 h 505301"/>
                  <a:gd name="connsiteX101" fmla="*/ 778192 w 3497580"/>
                  <a:gd name="connsiteY101" fmla="*/ 345853 h 505301"/>
                  <a:gd name="connsiteX102" fmla="*/ 778192 w 3497580"/>
                  <a:gd name="connsiteY102" fmla="*/ 351854 h 505301"/>
                  <a:gd name="connsiteX103" fmla="*/ 816006 w 3497580"/>
                  <a:gd name="connsiteY103" fmla="*/ 351854 h 505301"/>
                  <a:gd name="connsiteX104" fmla="*/ 816006 w 3497580"/>
                  <a:gd name="connsiteY104" fmla="*/ 358045 h 505301"/>
                  <a:gd name="connsiteX105" fmla="*/ 868584 w 3497580"/>
                  <a:gd name="connsiteY105" fmla="*/ 358045 h 505301"/>
                  <a:gd name="connsiteX106" fmla="*/ 868584 w 3497580"/>
                  <a:gd name="connsiteY106" fmla="*/ 364141 h 505301"/>
                  <a:gd name="connsiteX107" fmla="*/ 887539 w 3497580"/>
                  <a:gd name="connsiteY107" fmla="*/ 364141 h 505301"/>
                  <a:gd name="connsiteX108" fmla="*/ 887539 w 3497580"/>
                  <a:gd name="connsiteY108" fmla="*/ 370237 h 505301"/>
                  <a:gd name="connsiteX109" fmla="*/ 898017 w 3497580"/>
                  <a:gd name="connsiteY109" fmla="*/ 370237 h 505301"/>
                  <a:gd name="connsiteX110" fmla="*/ 898017 w 3497580"/>
                  <a:gd name="connsiteY110" fmla="*/ 376428 h 505301"/>
                  <a:gd name="connsiteX111" fmla="*/ 931735 w 3497580"/>
                  <a:gd name="connsiteY111" fmla="*/ 376428 h 505301"/>
                  <a:gd name="connsiteX112" fmla="*/ 931735 w 3497580"/>
                  <a:gd name="connsiteY112" fmla="*/ 382524 h 505301"/>
                  <a:gd name="connsiteX113" fmla="*/ 938022 w 3497580"/>
                  <a:gd name="connsiteY113" fmla="*/ 382524 h 505301"/>
                  <a:gd name="connsiteX114" fmla="*/ 938022 w 3497580"/>
                  <a:gd name="connsiteY114" fmla="*/ 388620 h 505301"/>
                  <a:gd name="connsiteX115" fmla="*/ 952690 w 3497580"/>
                  <a:gd name="connsiteY115" fmla="*/ 388620 h 505301"/>
                  <a:gd name="connsiteX116" fmla="*/ 952690 w 3497580"/>
                  <a:gd name="connsiteY116" fmla="*/ 394716 h 505301"/>
                  <a:gd name="connsiteX117" fmla="*/ 965358 w 3497580"/>
                  <a:gd name="connsiteY117" fmla="*/ 394716 h 505301"/>
                  <a:gd name="connsiteX118" fmla="*/ 965358 w 3497580"/>
                  <a:gd name="connsiteY118" fmla="*/ 400907 h 505301"/>
                  <a:gd name="connsiteX119" fmla="*/ 990600 w 3497580"/>
                  <a:gd name="connsiteY119" fmla="*/ 400907 h 505301"/>
                  <a:gd name="connsiteX120" fmla="*/ 990600 w 3497580"/>
                  <a:gd name="connsiteY120" fmla="*/ 407003 h 505301"/>
                  <a:gd name="connsiteX121" fmla="*/ 1219866 w 3497580"/>
                  <a:gd name="connsiteY121" fmla="*/ 407003 h 505301"/>
                  <a:gd name="connsiteX122" fmla="*/ 1219866 w 3497580"/>
                  <a:gd name="connsiteY122" fmla="*/ 413195 h 505301"/>
                  <a:gd name="connsiteX123" fmla="*/ 1333404 w 3497580"/>
                  <a:gd name="connsiteY123" fmla="*/ 413195 h 505301"/>
                  <a:gd name="connsiteX124" fmla="*/ 1333404 w 3497580"/>
                  <a:gd name="connsiteY124" fmla="*/ 419386 h 505301"/>
                  <a:gd name="connsiteX125" fmla="*/ 1602581 w 3497580"/>
                  <a:gd name="connsiteY125" fmla="*/ 419386 h 505301"/>
                  <a:gd name="connsiteX126" fmla="*/ 1602581 w 3497580"/>
                  <a:gd name="connsiteY126" fmla="*/ 425672 h 505301"/>
                  <a:gd name="connsiteX127" fmla="*/ 1676209 w 3497580"/>
                  <a:gd name="connsiteY127" fmla="*/ 425672 h 505301"/>
                  <a:gd name="connsiteX128" fmla="*/ 1676209 w 3497580"/>
                  <a:gd name="connsiteY128" fmla="*/ 431959 h 505301"/>
                  <a:gd name="connsiteX129" fmla="*/ 1756124 w 3497580"/>
                  <a:gd name="connsiteY129" fmla="*/ 431959 h 505301"/>
                  <a:gd name="connsiteX130" fmla="*/ 1756124 w 3497580"/>
                  <a:gd name="connsiteY130" fmla="*/ 438245 h 505301"/>
                  <a:gd name="connsiteX131" fmla="*/ 1918049 w 3497580"/>
                  <a:gd name="connsiteY131" fmla="*/ 438245 h 505301"/>
                  <a:gd name="connsiteX132" fmla="*/ 1918049 w 3497580"/>
                  <a:gd name="connsiteY132" fmla="*/ 444722 h 505301"/>
                  <a:gd name="connsiteX133" fmla="*/ 1934908 w 3497580"/>
                  <a:gd name="connsiteY133" fmla="*/ 444722 h 505301"/>
                  <a:gd name="connsiteX134" fmla="*/ 1934908 w 3497580"/>
                  <a:gd name="connsiteY134" fmla="*/ 451104 h 505301"/>
                  <a:gd name="connsiteX135" fmla="*/ 2052732 w 3497580"/>
                  <a:gd name="connsiteY135" fmla="*/ 451104 h 505301"/>
                  <a:gd name="connsiteX136" fmla="*/ 2052732 w 3497580"/>
                  <a:gd name="connsiteY136" fmla="*/ 457581 h 505301"/>
                  <a:gd name="connsiteX137" fmla="*/ 2145220 w 3497580"/>
                  <a:gd name="connsiteY137" fmla="*/ 457581 h 505301"/>
                  <a:gd name="connsiteX138" fmla="*/ 2145220 w 3497580"/>
                  <a:gd name="connsiteY138" fmla="*/ 463963 h 505301"/>
                  <a:gd name="connsiteX139" fmla="*/ 2164175 w 3497580"/>
                  <a:gd name="connsiteY139" fmla="*/ 463963 h 505301"/>
                  <a:gd name="connsiteX140" fmla="*/ 2164175 w 3497580"/>
                  <a:gd name="connsiteY140" fmla="*/ 470440 h 505301"/>
                  <a:gd name="connsiteX141" fmla="*/ 3017996 w 3497580"/>
                  <a:gd name="connsiteY141" fmla="*/ 470440 h 505301"/>
                  <a:gd name="connsiteX142" fmla="*/ 3017996 w 3497580"/>
                  <a:gd name="connsiteY142" fmla="*/ 505301 h 505301"/>
                  <a:gd name="connsiteX143" fmla="*/ 3497580 w 3497580"/>
                  <a:gd name="connsiteY143" fmla="*/ 505301 h 505301"/>
                  <a:gd name="connsiteX0" fmla="*/ 0 w 3497580"/>
                  <a:gd name="connsiteY0" fmla="*/ 0 h 505301"/>
                  <a:gd name="connsiteX1" fmla="*/ 6286 w 3497580"/>
                  <a:gd name="connsiteY1" fmla="*/ 18193 h 505301"/>
                  <a:gd name="connsiteX2" fmla="*/ 10477 w 3497580"/>
                  <a:gd name="connsiteY2" fmla="*/ 18193 h 505301"/>
                  <a:gd name="connsiteX3" fmla="*/ 10477 w 3497580"/>
                  <a:gd name="connsiteY3" fmla="*/ 24289 h 505301"/>
                  <a:gd name="connsiteX4" fmla="*/ 23145 w 3497580"/>
                  <a:gd name="connsiteY4" fmla="*/ 24289 h 505301"/>
                  <a:gd name="connsiteX5" fmla="*/ 23145 w 3497580"/>
                  <a:gd name="connsiteY5" fmla="*/ 30385 h 505301"/>
                  <a:gd name="connsiteX6" fmla="*/ 37814 w 3497580"/>
                  <a:gd name="connsiteY6" fmla="*/ 30385 h 505301"/>
                  <a:gd name="connsiteX7" fmla="*/ 37814 w 3497580"/>
                  <a:gd name="connsiteY7" fmla="*/ 36386 h 505301"/>
                  <a:gd name="connsiteX8" fmla="*/ 42100 w 3497580"/>
                  <a:gd name="connsiteY8" fmla="*/ 36386 h 505301"/>
                  <a:gd name="connsiteX9" fmla="*/ 42100 w 3497580"/>
                  <a:gd name="connsiteY9" fmla="*/ 42482 h 505301"/>
                  <a:gd name="connsiteX10" fmla="*/ 52577 w 3497580"/>
                  <a:gd name="connsiteY10" fmla="*/ 42482 h 505301"/>
                  <a:gd name="connsiteX11" fmla="*/ 52577 w 3497580"/>
                  <a:gd name="connsiteY11" fmla="*/ 48578 h 505301"/>
                  <a:gd name="connsiteX12" fmla="*/ 60960 w 3497580"/>
                  <a:gd name="connsiteY12" fmla="*/ 48578 h 505301"/>
                  <a:gd name="connsiteX13" fmla="*/ 60960 w 3497580"/>
                  <a:gd name="connsiteY13" fmla="*/ 54674 h 505301"/>
                  <a:gd name="connsiteX14" fmla="*/ 75723 w 3497580"/>
                  <a:gd name="connsiteY14" fmla="*/ 54674 h 505301"/>
                  <a:gd name="connsiteX15" fmla="*/ 75723 w 3497580"/>
                  <a:gd name="connsiteY15" fmla="*/ 60674 h 505301"/>
                  <a:gd name="connsiteX16" fmla="*/ 79914 w 3497580"/>
                  <a:gd name="connsiteY16" fmla="*/ 60674 h 505301"/>
                  <a:gd name="connsiteX17" fmla="*/ 79914 w 3497580"/>
                  <a:gd name="connsiteY17" fmla="*/ 66770 h 505301"/>
                  <a:gd name="connsiteX18" fmla="*/ 84105 w 3497580"/>
                  <a:gd name="connsiteY18" fmla="*/ 66770 h 505301"/>
                  <a:gd name="connsiteX19" fmla="*/ 84105 w 3497580"/>
                  <a:gd name="connsiteY19" fmla="*/ 72866 h 505301"/>
                  <a:gd name="connsiteX20" fmla="*/ 96774 w 3497580"/>
                  <a:gd name="connsiteY20" fmla="*/ 72866 h 505301"/>
                  <a:gd name="connsiteX21" fmla="*/ 96774 w 3497580"/>
                  <a:gd name="connsiteY21" fmla="*/ 78867 h 505301"/>
                  <a:gd name="connsiteX22" fmla="*/ 126206 w 3497580"/>
                  <a:gd name="connsiteY22" fmla="*/ 78867 h 505301"/>
                  <a:gd name="connsiteX23" fmla="*/ 126206 w 3497580"/>
                  <a:gd name="connsiteY23" fmla="*/ 84963 h 505301"/>
                  <a:gd name="connsiteX24" fmla="*/ 134588 w 3497580"/>
                  <a:gd name="connsiteY24" fmla="*/ 84963 h 505301"/>
                  <a:gd name="connsiteX25" fmla="*/ 134588 w 3497580"/>
                  <a:gd name="connsiteY25" fmla="*/ 91059 h 505301"/>
                  <a:gd name="connsiteX26" fmla="*/ 136683 w 3497580"/>
                  <a:gd name="connsiteY26" fmla="*/ 91059 h 505301"/>
                  <a:gd name="connsiteX27" fmla="*/ 136683 w 3497580"/>
                  <a:gd name="connsiteY27" fmla="*/ 97060 h 505301"/>
                  <a:gd name="connsiteX28" fmla="*/ 151447 w 3497580"/>
                  <a:gd name="connsiteY28" fmla="*/ 97060 h 505301"/>
                  <a:gd name="connsiteX29" fmla="*/ 151447 w 3497580"/>
                  <a:gd name="connsiteY29" fmla="*/ 109252 h 505301"/>
                  <a:gd name="connsiteX30" fmla="*/ 153543 w 3497580"/>
                  <a:gd name="connsiteY30" fmla="*/ 109252 h 505301"/>
                  <a:gd name="connsiteX31" fmla="*/ 153543 w 3497580"/>
                  <a:gd name="connsiteY31" fmla="*/ 115253 h 505301"/>
                  <a:gd name="connsiteX32" fmla="*/ 159829 w 3497580"/>
                  <a:gd name="connsiteY32" fmla="*/ 115253 h 505301"/>
                  <a:gd name="connsiteX33" fmla="*/ 159829 w 3497580"/>
                  <a:gd name="connsiteY33" fmla="*/ 121349 h 505301"/>
                  <a:gd name="connsiteX34" fmla="*/ 164020 w 3497580"/>
                  <a:gd name="connsiteY34" fmla="*/ 121349 h 505301"/>
                  <a:gd name="connsiteX35" fmla="*/ 164020 w 3497580"/>
                  <a:gd name="connsiteY35" fmla="*/ 127445 h 505301"/>
                  <a:gd name="connsiteX36" fmla="*/ 180879 w 3497580"/>
                  <a:gd name="connsiteY36" fmla="*/ 127445 h 505301"/>
                  <a:gd name="connsiteX37" fmla="*/ 180879 w 3497580"/>
                  <a:gd name="connsiteY37" fmla="*/ 139541 h 505301"/>
                  <a:gd name="connsiteX38" fmla="*/ 185070 w 3497580"/>
                  <a:gd name="connsiteY38" fmla="*/ 139541 h 505301"/>
                  <a:gd name="connsiteX39" fmla="*/ 185070 w 3497580"/>
                  <a:gd name="connsiteY39" fmla="*/ 145637 h 505301"/>
                  <a:gd name="connsiteX40" fmla="*/ 208216 w 3497580"/>
                  <a:gd name="connsiteY40" fmla="*/ 145637 h 505301"/>
                  <a:gd name="connsiteX41" fmla="*/ 208216 w 3497580"/>
                  <a:gd name="connsiteY41" fmla="*/ 151733 h 505301"/>
                  <a:gd name="connsiteX42" fmla="*/ 212407 w 3497580"/>
                  <a:gd name="connsiteY42" fmla="*/ 151733 h 505301"/>
                  <a:gd name="connsiteX43" fmla="*/ 212407 w 3497580"/>
                  <a:gd name="connsiteY43" fmla="*/ 157734 h 505301"/>
                  <a:gd name="connsiteX44" fmla="*/ 218694 w 3497580"/>
                  <a:gd name="connsiteY44" fmla="*/ 157734 h 505301"/>
                  <a:gd name="connsiteX45" fmla="*/ 218694 w 3497580"/>
                  <a:gd name="connsiteY45" fmla="*/ 169926 h 505301"/>
                  <a:gd name="connsiteX46" fmla="*/ 237648 w 3497580"/>
                  <a:gd name="connsiteY46" fmla="*/ 169926 h 505301"/>
                  <a:gd name="connsiteX47" fmla="*/ 237648 w 3497580"/>
                  <a:gd name="connsiteY47" fmla="*/ 175927 h 505301"/>
                  <a:gd name="connsiteX48" fmla="*/ 246030 w 3497580"/>
                  <a:gd name="connsiteY48" fmla="*/ 175927 h 505301"/>
                  <a:gd name="connsiteX49" fmla="*/ 246030 w 3497580"/>
                  <a:gd name="connsiteY49" fmla="*/ 182023 h 505301"/>
                  <a:gd name="connsiteX50" fmla="*/ 258699 w 3497580"/>
                  <a:gd name="connsiteY50" fmla="*/ 182023 h 505301"/>
                  <a:gd name="connsiteX51" fmla="*/ 258699 w 3497580"/>
                  <a:gd name="connsiteY51" fmla="*/ 188119 h 505301"/>
                  <a:gd name="connsiteX52" fmla="*/ 275558 w 3497580"/>
                  <a:gd name="connsiteY52" fmla="*/ 188119 h 505301"/>
                  <a:gd name="connsiteX53" fmla="*/ 275558 w 3497580"/>
                  <a:gd name="connsiteY53" fmla="*/ 194120 h 505301"/>
                  <a:gd name="connsiteX54" fmla="*/ 302895 w 3497580"/>
                  <a:gd name="connsiteY54" fmla="*/ 194120 h 505301"/>
                  <a:gd name="connsiteX55" fmla="*/ 302895 w 3497580"/>
                  <a:gd name="connsiteY55" fmla="*/ 200216 h 505301"/>
                  <a:gd name="connsiteX56" fmla="*/ 304990 w 3497580"/>
                  <a:gd name="connsiteY56" fmla="*/ 200216 h 505301"/>
                  <a:gd name="connsiteX57" fmla="*/ 304990 w 3497580"/>
                  <a:gd name="connsiteY57" fmla="*/ 206312 h 505301"/>
                  <a:gd name="connsiteX58" fmla="*/ 315467 w 3497580"/>
                  <a:gd name="connsiteY58" fmla="*/ 206312 h 505301"/>
                  <a:gd name="connsiteX59" fmla="*/ 315467 w 3497580"/>
                  <a:gd name="connsiteY59" fmla="*/ 212312 h 505301"/>
                  <a:gd name="connsiteX60" fmla="*/ 321754 w 3497580"/>
                  <a:gd name="connsiteY60" fmla="*/ 212312 h 505301"/>
                  <a:gd name="connsiteX61" fmla="*/ 321754 w 3497580"/>
                  <a:gd name="connsiteY61" fmla="*/ 224504 h 505301"/>
                  <a:gd name="connsiteX62" fmla="*/ 330231 w 3497580"/>
                  <a:gd name="connsiteY62" fmla="*/ 224504 h 505301"/>
                  <a:gd name="connsiteX63" fmla="*/ 330231 w 3497580"/>
                  <a:gd name="connsiteY63" fmla="*/ 230505 h 505301"/>
                  <a:gd name="connsiteX64" fmla="*/ 336518 w 3497580"/>
                  <a:gd name="connsiteY64" fmla="*/ 230505 h 505301"/>
                  <a:gd name="connsiteX65" fmla="*/ 336518 w 3497580"/>
                  <a:gd name="connsiteY65" fmla="*/ 242697 h 505301"/>
                  <a:gd name="connsiteX66" fmla="*/ 338613 w 3497580"/>
                  <a:gd name="connsiteY66" fmla="*/ 242697 h 505301"/>
                  <a:gd name="connsiteX67" fmla="*/ 338613 w 3497580"/>
                  <a:gd name="connsiteY67" fmla="*/ 248793 h 505301"/>
                  <a:gd name="connsiteX68" fmla="*/ 351186 w 3497580"/>
                  <a:gd name="connsiteY68" fmla="*/ 248793 h 505301"/>
                  <a:gd name="connsiteX69" fmla="*/ 351186 w 3497580"/>
                  <a:gd name="connsiteY69" fmla="*/ 254794 h 505301"/>
                  <a:gd name="connsiteX70" fmla="*/ 374332 w 3497580"/>
                  <a:gd name="connsiteY70" fmla="*/ 254794 h 505301"/>
                  <a:gd name="connsiteX71" fmla="*/ 374332 w 3497580"/>
                  <a:gd name="connsiteY71" fmla="*/ 260890 h 505301"/>
                  <a:gd name="connsiteX72" fmla="*/ 380714 w 3497580"/>
                  <a:gd name="connsiteY72" fmla="*/ 260890 h 505301"/>
                  <a:gd name="connsiteX73" fmla="*/ 380714 w 3497580"/>
                  <a:gd name="connsiteY73" fmla="*/ 266986 h 505301"/>
                  <a:gd name="connsiteX74" fmla="*/ 389096 w 3497580"/>
                  <a:gd name="connsiteY74" fmla="*/ 266986 h 505301"/>
                  <a:gd name="connsiteX75" fmla="*/ 389096 w 3497580"/>
                  <a:gd name="connsiteY75" fmla="*/ 272987 h 505301"/>
                  <a:gd name="connsiteX76" fmla="*/ 397478 w 3497580"/>
                  <a:gd name="connsiteY76" fmla="*/ 272987 h 505301"/>
                  <a:gd name="connsiteX77" fmla="*/ 397478 w 3497580"/>
                  <a:gd name="connsiteY77" fmla="*/ 279083 h 505301"/>
                  <a:gd name="connsiteX78" fmla="*/ 401669 w 3497580"/>
                  <a:gd name="connsiteY78" fmla="*/ 279083 h 505301"/>
                  <a:gd name="connsiteX79" fmla="*/ 401669 w 3497580"/>
                  <a:gd name="connsiteY79" fmla="*/ 285179 h 505301"/>
                  <a:gd name="connsiteX80" fmla="*/ 475297 w 3497580"/>
                  <a:gd name="connsiteY80" fmla="*/ 285179 h 505301"/>
                  <a:gd name="connsiteX81" fmla="*/ 475297 w 3497580"/>
                  <a:gd name="connsiteY81" fmla="*/ 291179 h 505301"/>
                  <a:gd name="connsiteX82" fmla="*/ 496347 w 3497580"/>
                  <a:gd name="connsiteY82" fmla="*/ 291179 h 505301"/>
                  <a:gd name="connsiteX83" fmla="*/ 496347 w 3497580"/>
                  <a:gd name="connsiteY83" fmla="*/ 297275 h 505301"/>
                  <a:gd name="connsiteX84" fmla="*/ 502634 w 3497580"/>
                  <a:gd name="connsiteY84" fmla="*/ 297275 h 505301"/>
                  <a:gd name="connsiteX85" fmla="*/ 502634 w 3497580"/>
                  <a:gd name="connsiteY85" fmla="*/ 303371 h 505301"/>
                  <a:gd name="connsiteX86" fmla="*/ 544734 w 3497580"/>
                  <a:gd name="connsiteY86" fmla="*/ 303371 h 505301"/>
                  <a:gd name="connsiteX87" fmla="*/ 544734 w 3497580"/>
                  <a:gd name="connsiteY87" fmla="*/ 309372 h 505301"/>
                  <a:gd name="connsiteX88" fmla="*/ 559403 w 3497580"/>
                  <a:gd name="connsiteY88" fmla="*/ 309372 h 505301"/>
                  <a:gd name="connsiteX89" fmla="*/ 559403 w 3497580"/>
                  <a:gd name="connsiteY89" fmla="*/ 315468 h 505301"/>
                  <a:gd name="connsiteX90" fmla="*/ 588930 w 3497580"/>
                  <a:gd name="connsiteY90" fmla="*/ 315468 h 505301"/>
                  <a:gd name="connsiteX91" fmla="*/ 588930 w 3497580"/>
                  <a:gd name="connsiteY91" fmla="*/ 321564 h 505301"/>
                  <a:gd name="connsiteX92" fmla="*/ 591026 w 3497580"/>
                  <a:gd name="connsiteY92" fmla="*/ 321564 h 505301"/>
                  <a:gd name="connsiteX93" fmla="*/ 591026 w 3497580"/>
                  <a:gd name="connsiteY93" fmla="*/ 327565 h 505301"/>
                  <a:gd name="connsiteX94" fmla="*/ 614076 w 3497580"/>
                  <a:gd name="connsiteY94" fmla="*/ 327565 h 505301"/>
                  <a:gd name="connsiteX95" fmla="*/ 614076 w 3497580"/>
                  <a:gd name="connsiteY95" fmla="*/ 333661 h 505301"/>
                  <a:gd name="connsiteX96" fmla="*/ 626745 w 3497580"/>
                  <a:gd name="connsiteY96" fmla="*/ 333661 h 505301"/>
                  <a:gd name="connsiteX97" fmla="*/ 626745 w 3497580"/>
                  <a:gd name="connsiteY97" fmla="*/ 339757 h 505301"/>
                  <a:gd name="connsiteX98" fmla="*/ 662463 w 3497580"/>
                  <a:gd name="connsiteY98" fmla="*/ 339757 h 505301"/>
                  <a:gd name="connsiteX99" fmla="*/ 662463 w 3497580"/>
                  <a:gd name="connsiteY99" fmla="*/ 345853 h 505301"/>
                  <a:gd name="connsiteX100" fmla="*/ 778192 w 3497580"/>
                  <a:gd name="connsiteY100" fmla="*/ 345853 h 505301"/>
                  <a:gd name="connsiteX101" fmla="*/ 778192 w 3497580"/>
                  <a:gd name="connsiteY101" fmla="*/ 351854 h 505301"/>
                  <a:gd name="connsiteX102" fmla="*/ 816006 w 3497580"/>
                  <a:gd name="connsiteY102" fmla="*/ 351854 h 505301"/>
                  <a:gd name="connsiteX103" fmla="*/ 816006 w 3497580"/>
                  <a:gd name="connsiteY103" fmla="*/ 358045 h 505301"/>
                  <a:gd name="connsiteX104" fmla="*/ 868584 w 3497580"/>
                  <a:gd name="connsiteY104" fmla="*/ 358045 h 505301"/>
                  <a:gd name="connsiteX105" fmla="*/ 868584 w 3497580"/>
                  <a:gd name="connsiteY105" fmla="*/ 364141 h 505301"/>
                  <a:gd name="connsiteX106" fmla="*/ 887539 w 3497580"/>
                  <a:gd name="connsiteY106" fmla="*/ 364141 h 505301"/>
                  <a:gd name="connsiteX107" fmla="*/ 887539 w 3497580"/>
                  <a:gd name="connsiteY107" fmla="*/ 370237 h 505301"/>
                  <a:gd name="connsiteX108" fmla="*/ 898017 w 3497580"/>
                  <a:gd name="connsiteY108" fmla="*/ 370237 h 505301"/>
                  <a:gd name="connsiteX109" fmla="*/ 898017 w 3497580"/>
                  <a:gd name="connsiteY109" fmla="*/ 376428 h 505301"/>
                  <a:gd name="connsiteX110" fmla="*/ 931735 w 3497580"/>
                  <a:gd name="connsiteY110" fmla="*/ 376428 h 505301"/>
                  <a:gd name="connsiteX111" fmla="*/ 931735 w 3497580"/>
                  <a:gd name="connsiteY111" fmla="*/ 382524 h 505301"/>
                  <a:gd name="connsiteX112" fmla="*/ 938022 w 3497580"/>
                  <a:gd name="connsiteY112" fmla="*/ 382524 h 505301"/>
                  <a:gd name="connsiteX113" fmla="*/ 938022 w 3497580"/>
                  <a:gd name="connsiteY113" fmla="*/ 388620 h 505301"/>
                  <a:gd name="connsiteX114" fmla="*/ 952690 w 3497580"/>
                  <a:gd name="connsiteY114" fmla="*/ 388620 h 505301"/>
                  <a:gd name="connsiteX115" fmla="*/ 952690 w 3497580"/>
                  <a:gd name="connsiteY115" fmla="*/ 394716 h 505301"/>
                  <a:gd name="connsiteX116" fmla="*/ 965358 w 3497580"/>
                  <a:gd name="connsiteY116" fmla="*/ 394716 h 505301"/>
                  <a:gd name="connsiteX117" fmla="*/ 965358 w 3497580"/>
                  <a:gd name="connsiteY117" fmla="*/ 400907 h 505301"/>
                  <a:gd name="connsiteX118" fmla="*/ 990600 w 3497580"/>
                  <a:gd name="connsiteY118" fmla="*/ 400907 h 505301"/>
                  <a:gd name="connsiteX119" fmla="*/ 990600 w 3497580"/>
                  <a:gd name="connsiteY119" fmla="*/ 407003 h 505301"/>
                  <a:gd name="connsiteX120" fmla="*/ 1219866 w 3497580"/>
                  <a:gd name="connsiteY120" fmla="*/ 407003 h 505301"/>
                  <a:gd name="connsiteX121" fmla="*/ 1219866 w 3497580"/>
                  <a:gd name="connsiteY121" fmla="*/ 413195 h 505301"/>
                  <a:gd name="connsiteX122" fmla="*/ 1333404 w 3497580"/>
                  <a:gd name="connsiteY122" fmla="*/ 413195 h 505301"/>
                  <a:gd name="connsiteX123" fmla="*/ 1333404 w 3497580"/>
                  <a:gd name="connsiteY123" fmla="*/ 419386 h 505301"/>
                  <a:gd name="connsiteX124" fmla="*/ 1602581 w 3497580"/>
                  <a:gd name="connsiteY124" fmla="*/ 419386 h 505301"/>
                  <a:gd name="connsiteX125" fmla="*/ 1602581 w 3497580"/>
                  <a:gd name="connsiteY125" fmla="*/ 425672 h 505301"/>
                  <a:gd name="connsiteX126" fmla="*/ 1676209 w 3497580"/>
                  <a:gd name="connsiteY126" fmla="*/ 425672 h 505301"/>
                  <a:gd name="connsiteX127" fmla="*/ 1676209 w 3497580"/>
                  <a:gd name="connsiteY127" fmla="*/ 431959 h 505301"/>
                  <a:gd name="connsiteX128" fmla="*/ 1756124 w 3497580"/>
                  <a:gd name="connsiteY128" fmla="*/ 431959 h 505301"/>
                  <a:gd name="connsiteX129" fmla="*/ 1756124 w 3497580"/>
                  <a:gd name="connsiteY129" fmla="*/ 438245 h 505301"/>
                  <a:gd name="connsiteX130" fmla="*/ 1918049 w 3497580"/>
                  <a:gd name="connsiteY130" fmla="*/ 438245 h 505301"/>
                  <a:gd name="connsiteX131" fmla="*/ 1918049 w 3497580"/>
                  <a:gd name="connsiteY131" fmla="*/ 444722 h 505301"/>
                  <a:gd name="connsiteX132" fmla="*/ 1934908 w 3497580"/>
                  <a:gd name="connsiteY132" fmla="*/ 444722 h 505301"/>
                  <a:gd name="connsiteX133" fmla="*/ 1934908 w 3497580"/>
                  <a:gd name="connsiteY133" fmla="*/ 451104 h 505301"/>
                  <a:gd name="connsiteX134" fmla="*/ 2052732 w 3497580"/>
                  <a:gd name="connsiteY134" fmla="*/ 451104 h 505301"/>
                  <a:gd name="connsiteX135" fmla="*/ 2052732 w 3497580"/>
                  <a:gd name="connsiteY135" fmla="*/ 457581 h 505301"/>
                  <a:gd name="connsiteX136" fmla="*/ 2145220 w 3497580"/>
                  <a:gd name="connsiteY136" fmla="*/ 457581 h 505301"/>
                  <a:gd name="connsiteX137" fmla="*/ 2145220 w 3497580"/>
                  <a:gd name="connsiteY137" fmla="*/ 463963 h 505301"/>
                  <a:gd name="connsiteX138" fmla="*/ 2164175 w 3497580"/>
                  <a:gd name="connsiteY138" fmla="*/ 463963 h 505301"/>
                  <a:gd name="connsiteX139" fmla="*/ 2164175 w 3497580"/>
                  <a:gd name="connsiteY139" fmla="*/ 470440 h 505301"/>
                  <a:gd name="connsiteX140" fmla="*/ 3017996 w 3497580"/>
                  <a:gd name="connsiteY140" fmla="*/ 470440 h 505301"/>
                  <a:gd name="connsiteX141" fmla="*/ 3017996 w 3497580"/>
                  <a:gd name="connsiteY141" fmla="*/ 505301 h 505301"/>
                  <a:gd name="connsiteX142" fmla="*/ 3497580 w 3497580"/>
                  <a:gd name="connsiteY142" fmla="*/ 505301 h 505301"/>
                  <a:gd name="connsiteX0" fmla="*/ 0 w 3491294"/>
                  <a:gd name="connsiteY0" fmla="*/ 0 h 487108"/>
                  <a:gd name="connsiteX1" fmla="*/ 4191 w 3491294"/>
                  <a:gd name="connsiteY1" fmla="*/ 0 h 487108"/>
                  <a:gd name="connsiteX2" fmla="*/ 4191 w 3491294"/>
                  <a:gd name="connsiteY2" fmla="*/ 6096 h 487108"/>
                  <a:gd name="connsiteX3" fmla="*/ 16859 w 3491294"/>
                  <a:gd name="connsiteY3" fmla="*/ 6096 h 487108"/>
                  <a:gd name="connsiteX4" fmla="*/ 16859 w 3491294"/>
                  <a:gd name="connsiteY4" fmla="*/ 12192 h 487108"/>
                  <a:gd name="connsiteX5" fmla="*/ 31528 w 3491294"/>
                  <a:gd name="connsiteY5" fmla="*/ 12192 h 487108"/>
                  <a:gd name="connsiteX6" fmla="*/ 31528 w 3491294"/>
                  <a:gd name="connsiteY6" fmla="*/ 18193 h 487108"/>
                  <a:gd name="connsiteX7" fmla="*/ 35814 w 3491294"/>
                  <a:gd name="connsiteY7" fmla="*/ 18193 h 487108"/>
                  <a:gd name="connsiteX8" fmla="*/ 35814 w 3491294"/>
                  <a:gd name="connsiteY8" fmla="*/ 24289 h 487108"/>
                  <a:gd name="connsiteX9" fmla="*/ 46291 w 3491294"/>
                  <a:gd name="connsiteY9" fmla="*/ 24289 h 487108"/>
                  <a:gd name="connsiteX10" fmla="*/ 46291 w 3491294"/>
                  <a:gd name="connsiteY10" fmla="*/ 30385 h 487108"/>
                  <a:gd name="connsiteX11" fmla="*/ 54674 w 3491294"/>
                  <a:gd name="connsiteY11" fmla="*/ 30385 h 487108"/>
                  <a:gd name="connsiteX12" fmla="*/ 54674 w 3491294"/>
                  <a:gd name="connsiteY12" fmla="*/ 36481 h 487108"/>
                  <a:gd name="connsiteX13" fmla="*/ 69437 w 3491294"/>
                  <a:gd name="connsiteY13" fmla="*/ 36481 h 487108"/>
                  <a:gd name="connsiteX14" fmla="*/ 69437 w 3491294"/>
                  <a:gd name="connsiteY14" fmla="*/ 42481 h 487108"/>
                  <a:gd name="connsiteX15" fmla="*/ 73628 w 3491294"/>
                  <a:gd name="connsiteY15" fmla="*/ 42481 h 487108"/>
                  <a:gd name="connsiteX16" fmla="*/ 73628 w 3491294"/>
                  <a:gd name="connsiteY16" fmla="*/ 48577 h 487108"/>
                  <a:gd name="connsiteX17" fmla="*/ 77819 w 3491294"/>
                  <a:gd name="connsiteY17" fmla="*/ 48577 h 487108"/>
                  <a:gd name="connsiteX18" fmla="*/ 77819 w 3491294"/>
                  <a:gd name="connsiteY18" fmla="*/ 54673 h 487108"/>
                  <a:gd name="connsiteX19" fmla="*/ 90488 w 3491294"/>
                  <a:gd name="connsiteY19" fmla="*/ 54673 h 487108"/>
                  <a:gd name="connsiteX20" fmla="*/ 90488 w 3491294"/>
                  <a:gd name="connsiteY20" fmla="*/ 60674 h 487108"/>
                  <a:gd name="connsiteX21" fmla="*/ 119920 w 3491294"/>
                  <a:gd name="connsiteY21" fmla="*/ 60674 h 487108"/>
                  <a:gd name="connsiteX22" fmla="*/ 119920 w 3491294"/>
                  <a:gd name="connsiteY22" fmla="*/ 66770 h 487108"/>
                  <a:gd name="connsiteX23" fmla="*/ 128302 w 3491294"/>
                  <a:gd name="connsiteY23" fmla="*/ 66770 h 487108"/>
                  <a:gd name="connsiteX24" fmla="*/ 128302 w 3491294"/>
                  <a:gd name="connsiteY24" fmla="*/ 72866 h 487108"/>
                  <a:gd name="connsiteX25" fmla="*/ 130397 w 3491294"/>
                  <a:gd name="connsiteY25" fmla="*/ 72866 h 487108"/>
                  <a:gd name="connsiteX26" fmla="*/ 130397 w 3491294"/>
                  <a:gd name="connsiteY26" fmla="*/ 78867 h 487108"/>
                  <a:gd name="connsiteX27" fmla="*/ 145161 w 3491294"/>
                  <a:gd name="connsiteY27" fmla="*/ 78867 h 487108"/>
                  <a:gd name="connsiteX28" fmla="*/ 145161 w 3491294"/>
                  <a:gd name="connsiteY28" fmla="*/ 91059 h 487108"/>
                  <a:gd name="connsiteX29" fmla="*/ 147257 w 3491294"/>
                  <a:gd name="connsiteY29" fmla="*/ 91059 h 487108"/>
                  <a:gd name="connsiteX30" fmla="*/ 147257 w 3491294"/>
                  <a:gd name="connsiteY30" fmla="*/ 97060 h 487108"/>
                  <a:gd name="connsiteX31" fmla="*/ 153543 w 3491294"/>
                  <a:gd name="connsiteY31" fmla="*/ 97060 h 487108"/>
                  <a:gd name="connsiteX32" fmla="*/ 153543 w 3491294"/>
                  <a:gd name="connsiteY32" fmla="*/ 103156 h 487108"/>
                  <a:gd name="connsiteX33" fmla="*/ 157734 w 3491294"/>
                  <a:gd name="connsiteY33" fmla="*/ 103156 h 487108"/>
                  <a:gd name="connsiteX34" fmla="*/ 157734 w 3491294"/>
                  <a:gd name="connsiteY34" fmla="*/ 109252 h 487108"/>
                  <a:gd name="connsiteX35" fmla="*/ 174593 w 3491294"/>
                  <a:gd name="connsiteY35" fmla="*/ 109252 h 487108"/>
                  <a:gd name="connsiteX36" fmla="*/ 174593 w 3491294"/>
                  <a:gd name="connsiteY36" fmla="*/ 121348 h 487108"/>
                  <a:gd name="connsiteX37" fmla="*/ 178784 w 3491294"/>
                  <a:gd name="connsiteY37" fmla="*/ 121348 h 487108"/>
                  <a:gd name="connsiteX38" fmla="*/ 178784 w 3491294"/>
                  <a:gd name="connsiteY38" fmla="*/ 127444 h 487108"/>
                  <a:gd name="connsiteX39" fmla="*/ 201930 w 3491294"/>
                  <a:gd name="connsiteY39" fmla="*/ 127444 h 487108"/>
                  <a:gd name="connsiteX40" fmla="*/ 201930 w 3491294"/>
                  <a:gd name="connsiteY40" fmla="*/ 133540 h 487108"/>
                  <a:gd name="connsiteX41" fmla="*/ 206121 w 3491294"/>
                  <a:gd name="connsiteY41" fmla="*/ 133540 h 487108"/>
                  <a:gd name="connsiteX42" fmla="*/ 206121 w 3491294"/>
                  <a:gd name="connsiteY42" fmla="*/ 139541 h 487108"/>
                  <a:gd name="connsiteX43" fmla="*/ 212408 w 3491294"/>
                  <a:gd name="connsiteY43" fmla="*/ 139541 h 487108"/>
                  <a:gd name="connsiteX44" fmla="*/ 212408 w 3491294"/>
                  <a:gd name="connsiteY44" fmla="*/ 151733 h 487108"/>
                  <a:gd name="connsiteX45" fmla="*/ 231362 w 3491294"/>
                  <a:gd name="connsiteY45" fmla="*/ 151733 h 487108"/>
                  <a:gd name="connsiteX46" fmla="*/ 231362 w 3491294"/>
                  <a:gd name="connsiteY46" fmla="*/ 157734 h 487108"/>
                  <a:gd name="connsiteX47" fmla="*/ 239744 w 3491294"/>
                  <a:gd name="connsiteY47" fmla="*/ 157734 h 487108"/>
                  <a:gd name="connsiteX48" fmla="*/ 239744 w 3491294"/>
                  <a:gd name="connsiteY48" fmla="*/ 163830 h 487108"/>
                  <a:gd name="connsiteX49" fmla="*/ 252413 w 3491294"/>
                  <a:gd name="connsiteY49" fmla="*/ 163830 h 487108"/>
                  <a:gd name="connsiteX50" fmla="*/ 252413 w 3491294"/>
                  <a:gd name="connsiteY50" fmla="*/ 169926 h 487108"/>
                  <a:gd name="connsiteX51" fmla="*/ 269272 w 3491294"/>
                  <a:gd name="connsiteY51" fmla="*/ 169926 h 487108"/>
                  <a:gd name="connsiteX52" fmla="*/ 269272 w 3491294"/>
                  <a:gd name="connsiteY52" fmla="*/ 175927 h 487108"/>
                  <a:gd name="connsiteX53" fmla="*/ 296609 w 3491294"/>
                  <a:gd name="connsiteY53" fmla="*/ 175927 h 487108"/>
                  <a:gd name="connsiteX54" fmla="*/ 296609 w 3491294"/>
                  <a:gd name="connsiteY54" fmla="*/ 182023 h 487108"/>
                  <a:gd name="connsiteX55" fmla="*/ 298704 w 3491294"/>
                  <a:gd name="connsiteY55" fmla="*/ 182023 h 487108"/>
                  <a:gd name="connsiteX56" fmla="*/ 298704 w 3491294"/>
                  <a:gd name="connsiteY56" fmla="*/ 188119 h 487108"/>
                  <a:gd name="connsiteX57" fmla="*/ 309181 w 3491294"/>
                  <a:gd name="connsiteY57" fmla="*/ 188119 h 487108"/>
                  <a:gd name="connsiteX58" fmla="*/ 309181 w 3491294"/>
                  <a:gd name="connsiteY58" fmla="*/ 194119 h 487108"/>
                  <a:gd name="connsiteX59" fmla="*/ 315468 w 3491294"/>
                  <a:gd name="connsiteY59" fmla="*/ 194119 h 487108"/>
                  <a:gd name="connsiteX60" fmla="*/ 315468 w 3491294"/>
                  <a:gd name="connsiteY60" fmla="*/ 206311 h 487108"/>
                  <a:gd name="connsiteX61" fmla="*/ 323945 w 3491294"/>
                  <a:gd name="connsiteY61" fmla="*/ 206311 h 487108"/>
                  <a:gd name="connsiteX62" fmla="*/ 323945 w 3491294"/>
                  <a:gd name="connsiteY62" fmla="*/ 212312 h 487108"/>
                  <a:gd name="connsiteX63" fmla="*/ 330232 w 3491294"/>
                  <a:gd name="connsiteY63" fmla="*/ 212312 h 487108"/>
                  <a:gd name="connsiteX64" fmla="*/ 330232 w 3491294"/>
                  <a:gd name="connsiteY64" fmla="*/ 224504 h 487108"/>
                  <a:gd name="connsiteX65" fmla="*/ 332327 w 3491294"/>
                  <a:gd name="connsiteY65" fmla="*/ 224504 h 487108"/>
                  <a:gd name="connsiteX66" fmla="*/ 332327 w 3491294"/>
                  <a:gd name="connsiteY66" fmla="*/ 230600 h 487108"/>
                  <a:gd name="connsiteX67" fmla="*/ 344900 w 3491294"/>
                  <a:gd name="connsiteY67" fmla="*/ 230600 h 487108"/>
                  <a:gd name="connsiteX68" fmla="*/ 344900 w 3491294"/>
                  <a:gd name="connsiteY68" fmla="*/ 236601 h 487108"/>
                  <a:gd name="connsiteX69" fmla="*/ 368046 w 3491294"/>
                  <a:gd name="connsiteY69" fmla="*/ 236601 h 487108"/>
                  <a:gd name="connsiteX70" fmla="*/ 368046 w 3491294"/>
                  <a:gd name="connsiteY70" fmla="*/ 242697 h 487108"/>
                  <a:gd name="connsiteX71" fmla="*/ 374428 w 3491294"/>
                  <a:gd name="connsiteY71" fmla="*/ 242697 h 487108"/>
                  <a:gd name="connsiteX72" fmla="*/ 374428 w 3491294"/>
                  <a:gd name="connsiteY72" fmla="*/ 248793 h 487108"/>
                  <a:gd name="connsiteX73" fmla="*/ 382810 w 3491294"/>
                  <a:gd name="connsiteY73" fmla="*/ 248793 h 487108"/>
                  <a:gd name="connsiteX74" fmla="*/ 382810 w 3491294"/>
                  <a:gd name="connsiteY74" fmla="*/ 254794 h 487108"/>
                  <a:gd name="connsiteX75" fmla="*/ 391192 w 3491294"/>
                  <a:gd name="connsiteY75" fmla="*/ 254794 h 487108"/>
                  <a:gd name="connsiteX76" fmla="*/ 391192 w 3491294"/>
                  <a:gd name="connsiteY76" fmla="*/ 260890 h 487108"/>
                  <a:gd name="connsiteX77" fmla="*/ 395383 w 3491294"/>
                  <a:gd name="connsiteY77" fmla="*/ 260890 h 487108"/>
                  <a:gd name="connsiteX78" fmla="*/ 395383 w 3491294"/>
                  <a:gd name="connsiteY78" fmla="*/ 266986 h 487108"/>
                  <a:gd name="connsiteX79" fmla="*/ 469011 w 3491294"/>
                  <a:gd name="connsiteY79" fmla="*/ 266986 h 487108"/>
                  <a:gd name="connsiteX80" fmla="*/ 469011 w 3491294"/>
                  <a:gd name="connsiteY80" fmla="*/ 272986 h 487108"/>
                  <a:gd name="connsiteX81" fmla="*/ 490061 w 3491294"/>
                  <a:gd name="connsiteY81" fmla="*/ 272986 h 487108"/>
                  <a:gd name="connsiteX82" fmla="*/ 490061 w 3491294"/>
                  <a:gd name="connsiteY82" fmla="*/ 279082 h 487108"/>
                  <a:gd name="connsiteX83" fmla="*/ 496348 w 3491294"/>
                  <a:gd name="connsiteY83" fmla="*/ 279082 h 487108"/>
                  <a:gd name="connsiteX84" fmla="*/ 496348 w 3491294"/>
                  <a:gd name="connsiteY84" fmla="*/ 285178 h 487108"/>
                  <a:gd name="connsiteX85" fmla="*/ 538448 w 3491294"/>
                  <a:gd name="connsiteY85" fmla="*/ 285178 h 487108"/>
                  <a:gd name="connsiteX86" fmla="*/ 538448 w 3491294"/>
                  <a:gd name="connsiteY86" fmla="*/ 291179 h 487108"/>
                  <a:gd name="connsiteX87" fmla="*/ 553117 w 3491294"/>
                  <a:gd name="connsiteY87" fmla="*/ 291179 h 487108"/>
                  <a:gd name="connsiteX88" fmla="*/ 553117 w 3491294"/>
                  <a:gd name="connsiteY88" fmla="*/ 297275 h 487108"/>
                  <a:gd name="connsiteX89" fmla="*/ 582644 w 3491294"/>
                  <a:gd name="connsiteY89" fmla="*/ 297275 h 487108"/>
                  <a:gd name="connsiteX90" fmla="*/ 582644 w 3491294"/>
                  <a:gd name="connsiteY90" fmla="*/ 303371 h 487108"/>
                  <a:gd name="connsiteX91" fmla="*/ 584740 w 3491294"/>
                  <a:gd name="connsiteY91" fmla="*/ 303371 h 487108"/>
                  <a:gd name="connsiteX92" fmla="*/ 584740 w 3491294"/>
                  <a:gd name="connsiteY92" fmla="*/ 309372 h 487108"/>
                  <a:gd name="connsiteX93" fmla="*/ 607790 w 3491294"/>
                  <a:gd name="connsiteY93" fmla="*/ 309372 h 487108"/>
                  <a:gd name="connsiteX94" fmla="*/ 607790 w 3491294"/>
                  <a:gd name="connsiteY94" fmla="*/ 315468 h 487108"/>
                  <a:gd name="connsiteX95" fmla="*/ 620459 w 3491294"/>
                  <a:gd name="connsiteY95" fmla="*/ 315468 h 487108"/>
                  <a:gd name="connsiteX96" fmla="*/ 620459 w 3491294"/>
                  <a:gd name="connsiteY96" fmla="*/ 321564 h 487108"/>
                  <a:gd name="connsiteX97" fmla="*/ 656177 w 3491294"/>
                  <a:gd name="connsiteY97" fmla="*/ 321564 h 487108"/>
                  <a:gd name="connsiteX98" fmla="*/ 656177 w 3491294"/>
                  <a:gd name="connsiteY98" fmla="*/ 327660 h 487108"/>
                  <a:gd name="connsiteX99" fmla="*/ 771906 w 3491294"/>
                  <a:gd name="connsiteY99" fmla="*/ 327660 h 487108"/>
                  <a:gd name="connsiteX100" fmla="*/ 771906 w 3491294"/>
                  <a:gd name="connsiteY100" fmla="*/ 333661 h 487108"/>
                  <a:gd name="connsiteX101" fmla="*/ 809720 w 3491294"/>
                  <a:gd name="connsiteY101" fmla="*/ 333661 h 487108"/>
                  <a:gd name="connsiteX102" fmla="*/ 809720 w 3491294"/>
                  <a:gd name="connsiteY102" fmla="*/ 339852 h 487108"/>
                  <a:gd name="connsiteX103" fmla="*/ 862298 w 3491294"/>
                  <a:gd name="connsiteY103" fmla="*/ 339852 h 487108"/>
                  <a:gd name="connsiteX104" fmla="*/ 862298 w 3491294"/>
                  <a:gd name="connsiteY104" fmla="*/ 345948 h 487108"/>
                  <a:gd name="connsiteX105" fmla="*/ 881253 w 3491294"/>
                  <a:gd name="connsiteY105" fmla="*/ 345948 h 487108"/>
                  <a:gd name="connsiteX106" fmla="*/ 881253 w 3491294"/>
                  <a:gd name="connsiteY106" fmla="*/ 352044 h 487108"/>
                  <a:gd name="connsiteX107" fmla="*/ 891731 w 3491294"/>
                  <a:gd name="connsiteY107" fmla="*/ 352044 h 487108"/>
                  <a:gd name="connsiteX108" fmla="*/ 891731 w 3491294"/>
                  <a:gd name="connsiteY108" fmla="*/ 358235 h 487108"/>
                  <a:gd name="connsiteX109" fmla="*/ 925449 w 3491294"/>
                  <a:gd name="connsiteY109" fmla="*/ 358235 h 487108"/>
                  <a:gd name="connsiteX110" fmla="*/ 925449 w 3491294"/>
                  <a:gd name="connsiteY110" fmla="*/ 364331 h 487108"/>
                  <a:gd name="connsiteX111" fmla="*/ 931736 w 3491294"/>
                  <a:gd name="connsiteY111" fmla="*/ 364331 h 487108"/>
                  <a:gd name="connsiteX112" fmla="*/ 931736 w 3491294"/>
                  <a:gd name="connsiteY112" fmla="*/ 370427 h 487108"/>
                  <a:gd name="connsiteX113" fmla="*/ 946404 w 3491294"/>
                  <a:gd name="connsiteY113" fmla="*/ 370427 h 487108"/>
                  <a:gd name="connsiteX114" fmla="*/ 946404 w 3491294"/>
                  <a:gd name="connsiteY114" fmla="*/ 376523 h 487108"/>
                  <a:gd name="connsiteX115" fmla="*/ 959072 w 3491294"/>
                  <a:gd name="connsiteY115" fmla="*/ 376523 h 487108"/>
                  <a:gd name="connsiteX116" fmla="*/ 959072 w 3491294"/>
                  <a:gd name="connsiteY116" fmla="*/ 382714 h 487108"/>
                  <a:gd name="connsiteX117" fmla="*/ 984314 w 3491294"/>
                  <a:gd name="connsiteY117" fmla="*/ 382714 h 487108"/>
                  <a:gd name="connsiteX118" fmla="*/ 984314 w 3491294"/>
                  <a:gd name="connsiteY118" fmla="*/ 388810 h 487108"/>
                  <a:gd name="connsiteX119" fmla="*/ 1213580 w 3491294"/>
                  <a:gd name="connsiteY119" fmla="*/ 388810 h 487108"/>
                  <a:gd name="connsiteX120" fmla="*/ 1213580 w 3491294"/>
                  <a:gd name="connsiteY120" fmla="*/ 395002 h 487108"/>
                  <a:gd name="connsiteX121" fmla="*/ 1327118 w 3491294"/>
                  <a:gd name="connsiteY121" fmla="*/ 395002 h 487108"/>
                  <a:gd name="connsiteX122" fmla="*/ 1327118 w 3491294"/>
                  <a:gd name="connsiteY122" fmla="*/ 401193 h 487108"/>
                  <a:gd name="connsiteX123" fmla="*/ 1596295 w 3491294"/>
                  <a:gd name="connsiteY123" fmla="*/ 401193 h 487108"/>
                  <a:gd name="connsiteX124" fmla="*/ 1596295 w 3491294"/>
                  <a:gd name="connsiteY124" fmla="*/ 407479 h 487108"/>
                  <a:gd name="connsiteX125" fmla="*/ 1669923 w 3491294"/>
                  <a:gd name="connsiteY125" fmla="*/ 407479 h 487108"/>
                  <a:gd name="connsiteX126" fmla="*/ 1669923 w 3491294"/>
                  <a:gd name="connsiteY126" fmla="*/ 413766 h 487108"/>
                  <a:gd name="connsiteX127" fmla="*/ 1749838 w 3491294"/>
                  <a:gd name="connsiteY127" fmla="*/ 413766 h 487108"/>
                  <a:gd name="connsiteX128" fmla="*/ 1749838 w 3491294"/>
                  <a:gd name="connsiteY128" fmla="*/ 420052 h 487108"/>
                  <a:gd name="connsiteX129" fmla="*/ 1911763 w 3491294"/>
                  <a:gd name="connsiteY129" fmla="*/ 420052 h 487108"/>
                  <a:gd name="connsiteX130" fmla="*/ 1911763 w 3491294"/>
                  <a:gd name="connsiteY130" fmla="*/ 426529 h 487108"/>
                  <a:gd name="connsiteX131" fmla="*/ 1928622 w 3491294"/>
                  <a:gd name="connsiteY131" fmla="*/ 426529 h 487108"/>
                  <a:gd name="connsiteX132" fmla="*/ 1928622 w 3491294"/>
                  <a:gd name="connsiteY132" fmla="*/ 432911 h 487108"/>
                  <a:gd name="connsiteX133" fmla="*/ 2046446 w 3491294"/>
                  <a:gd name="connsiteY133" fmla="*/ 432911 h 487108"/>
                  <a:gd name="connsiteX134" fmla="*/ 2046446 w 3491294"/>
                  <a:gd name="connsiteY134" fmla="*/ 439388 h 487108"/>
                  <a:gd name="connsiteX135" fmla="*/ 2138934 w 3491294"/>
                  <a:gd name="connsiteY135" fmla="*/ 439388 h 487108"/>
                  <a:gd name="connsiteX136" fmla="*/ 2138934 w 3491294"/>
                  <a:gd name="connsiteY136" fmla="*/ 445770 h 487108"/>
                  <a:gd name="connsiteX137" fmla="*/ 2157889 w 3491294"/>
                  <a:gd name="connsiteY137" fmla="*/ 445770 h 487108"/>
                  <a:gd name="connsiteX138" fmla="*/ 2157889 w 3491294"/>
                  <a:gd name="connsiteY138" fmla="*/ 452247 h 487108"/>
                  <a:gd name="connsiteX139" fmla="*/ 3011710 w 3491294"/>
                  <a:gd name="connsiteY139" fmla="*/ 452247 h 487108"/>
                  <a:gd name="connsiteX140" fmla="*/ 3011710 w 3491294"/>
                  <a:gd name="connsiteY140" fmla="*/ 487108 h 487108"/>
                  <a:gd name="connsiteX141" fmla="*/ 3491294 w 3491294"/>
                  <a:gd name="connsiteY141" fmla="*/ 487108 h 487108"/>
                  <a:gd name="connsiteX0" fmla="*/ 0 w 3491294"/>
                  <a:gd name="connsiteY0" fmla="*/ 0 h 487108"/>
                  <a:gd name="connsiteX1" fmla="*/ 4191 w 3491294"/>
                  <a:gd name="connsiteY1" fmla="*/ 0 h 487108"/>
                  <a:gd name="connsiteX2" fmla="*/ 16859 w 3491294"/>
                  <a:gd name="connsiteY2" fmla="*/ 6096 h 487108"/>
                  <a:gd name="connsiteX3" fmla="*/ 16859 w 3491294"/>
                  <a:gd name="connsiteY3" fmla="*/ 12192 h 487108"/>
                  <a:gd name="connsiteX4" fmla="*/ 31528 w 3491294"/>
                  <a:gd name="connsiteY4" fmla="*/ 12192 h 487108"/>
                  <a:gd name="connsiteX5" fmla="*/ 31528 w 3491294"/>
                  <a:gd name="connsiteY5" fmla="*/ 18193 h 487108"/>
                  <a:gd name="connsiteX6" fmla="*/ 35814 w 3491294"/>
                  <a:gd name="connsiteY6" fmla="*/ 18193 h 487108"/>
                  <a:gd name="connsiteX7" fmla="*/ 35814 w 3491294"/>
                  <a:gd name="connsiteY7" fmla="*/ 24289 h 487108"/>
                  <a:gd name="connsiteX8" fmla="*/ 46291 w 3491294"/>
                  <a:gd name="connsiteY8" fmla="*/ 24289 h 487108"/>
                  <a:gd name="connsiteX9" fmla="*/ 46291 w 3491294"/>
                  <a:gd name="connsiteY9" fmla="*/ 30385 h 487108"/>
                  <a:gd name="connsiteX10" fmla="*/ 54674 w 3491294"/>
                  <a:gd name="connsiteY10" fmla="*/ 30385 h 487108"/>
                  <a:gd name="connsiteX11" fmla="*/ 54674 w 3491294"/>
                  <a:gd name="connsiteY11" fmla="*/ 36481 h 487108"/>
                  <a:gd name="connsiteX12" fmla="*/ 69437 w 3491294"/>
                  <a:gd name="connsiteY12" fmla="*/ 36481 h 487108"/>
                  <a:gd name="connsiteX13" fmla="*/ 69437 w 3491294"/>
                  <a:gd name="connsiteY13" fmla="*/ 42481 h 487108"/>
                  <a:gd name="connsiteX14" fmla="*/ 73628 w 3491294"/>
                  <a:gd name="connsiteY14" fmla="*/ 42481 h 487108"/>
                  <a:gd name="connsiteX15" fmla="*/ 73628 w 3491294"/>
                  <a:gd name="connsiteY15" fmla="*/ 48577 h 487108"/>
                  <a:gd name="connsiteX16" fmla="*/ 77819 w 3491294"/>
                  <a:gd name="connsiteY16" fmla="*/ 48577 h 487108"/>
                  <a:gd name="connsiteX17" fmla="*/ 77819 w 3491294"/>
                  <a:gd name="connsiteY17" fmla="*/ 54673 h 487108"/>
                  <a:gd name="connsiteX18" fmla="*/ 90488 w 3491294"/>
                  <a:gd name="connsiteY18" fmla="*/ 54673 h 487108"/>
                  <a:gd name="connsiteX19" fmla="*/ 90488 w 3491294"/>
                  <a:gd name="connsiteY19" fmla="*/ 60674 h 487108"/>
                  <a:gd name="connsiteX20" fmla="*/ 119920 w 3491294"/>
                  <a:gd name="connsiteY20" fmla="*/ 60674 h 487108"/>
                  <a:gd name="connsiteX21" fmla="*/ 119920 w 3491294"/>
                  <a:gd name="connsiteY21" fmla="*/ 66770 h 487108"/>
                  <a:gd name="connsiteX22" fmla="*/ 128302 w 3491294"/>
                  <a:gd name="connsiteY22" fmla="*/ 66770 h 487108"/>
                  <a:gd name="connsiteX23" fmla="*/ 128302 w 3491294"/>
                  <a:gd name="connsiteY23" fmla="*/ 72866 h 487108"/>
                  <a:gd name="connsiteX24" fmla="*/ 130397 w 3491294"/>
                  <a:gd name="connsiteY24" fmla="*/ 72866 h 487108"/>
                  <a:gd name="connsiteX25" fmla="*/ 130397 w 3491294"/>
                  <a:gd name="connsiteY25" fmla="*/ 78867 h 487108"/>
                  <a:gd name="connsiteX26" fmla="*/ 145161 w 3491294"/>
                  <a:gd name="connsiteY26" fmla="*/ 78867 h 487108"/>
                  <a:gd name="connsiteX27" fmla="*/ 145161 w 3491294"/>
                  <a:gd name="connsiteY27" fmla="*/ 91059 h 487108"/>
                  <a:gd name="connsiteX28" fmla="*/ 147257 w 3491294"/>
                  <a:gd name="connsiteY28" fmla="*/ 91059 h 487108"/>
                  <a:gd name="connsiteX29" fmla="*/ 147257 w 3491294"/>
                  <a:gd name="connsiteY29" fmla="*/ 97060 h 487108"/>
                  <a:gd name="connsiteX30" fmla="*/ 153543 w 3491294"/>
                  <a:gd name="connsiteY30" fmla="*/ 97060 h 487108"/>
                  <a:gd name="connsiteX31" fmla="*/ 153543 w 3491294"/>
                  <a:gd name="connsiteY31" fmla="*/ 103156 h 487108"/>
                  <a:gd name="connsiteX32" fmla="*/ 157734 w 3491294"/>
                  <a:gd name="connsiteY32" fmla="*/ 103156 h 487108"/>
                  <a:gd name="connsiteX33" fmla="*/ 157734 w 3491294"/>
                  <a:gd name="connsiteY33" fmla="*/ 109252 h 487108"/>
                  <a:gd name="connsiteX34" fmla="*/ 174593 w 3491294"/>
                  <a:gd name="connsiteY34" fmla="*/ 109252 h 487108"/>
                  <a:gd name="connsiteX35" fmla="*/ 174593 w 3491294"/>
                  <a:gd name="connsiteY35" fmla="*/ 121348 h 487108"/>
                  <a:gd name="connsiteX36" fmla="*/ 178784 w 3491294"/>
                  <a:gd name="connsiteY36" fmla="*/ 121348 h 487108"/>
                  <a:gd name="connsiteX37" fmla="*/ 178784 w 3491294"/>
                  <a:gd name="connsiteY37" fmla="*/ 127444 h 487108"/>
                  <a:gd name="connsiteX38" fmla="*/ 201930 w 3491294"/>
                  <a:gd name="connsiteY38" fmla="*/ 127444 h 487108"/>
                  <a:gd name="connsiteX39" fmla="*/ 201930 w 3491294"/>
                  <a:gd name="connsiteY39" fmla="*/ 133540 h 487108"/>
                  <a:gd name="connsiteX40" fmla="*/ 206121 w 3491294"/>
                  <a:gd name="connsiteY40" fmla="*/ 133540 h 487108"/>
                  <a:gd name="connsiteX41" fmla="*/ 206121 w 3491294"/>
                  <a:gd name="connsiteY41" fmla="*/ 139541 h 487108"/>
                  <a:gd name="connsiteX42" fmla="*/ 212408 w 3491294"/>
                  <a:gd name="connsiteY42" fmla="*/ 139541 h 487108"/>
                  <a:gd name="connsiteX43" fmla="*/ 212408 w 3491294"/>
                  <a:gd name="connsiteY43" fmla="*/ 151733 h 487108"/>
                  <a:gd name="connsiteX44" fmla="*/ 231362 w 3491294"/>
                  <a:gd name="connsiteY44" fmla="*/ 151733 h 487108"/>
                  <a:gd name="connsiteX45" fmla="*/ 231362 w 3491294"/>
                  <a:gd name="connsiteY45" fmla="*/ 157734 h 487108"/>
                  <a:gd name="connsiteX46" fmla="*/ 239744 w 3491294"/>
                  <a:gd name="connsiteY46" fmla="*/ 157734 h 487108"/>
                  <a:gd name="connsiteX47" fmla="*/ 239744 w 3491294"/>
                  <a:gd name="connsiteY47" fmla="*/ 163830 h 487108"/>
                  <a:gd name="connsiteX48" fmla="*/ 252413 w 3491294"/>
                  <a:gd name="connsiteY48" fmla="*/ 163830 h 487108"/>
                  <a:gd name="connsiteX49" fmla="*/ 252413 w 3491294"/>
                  <a:gd name="connsiteY49" fmla="*/ 169926 h 487108"/>
                  <a:gd name="connsiteX50" fmla="*/ 269272 w 3491294"/>
                  <a:gd name="connsiteY50" fmla="*/ 169926 h 487108"/>
                  <a:gd name="connsiteX51" fmla="*/ 269272 w 3491294"/>
                  <a:gd name="connsiteY51" fmla="*/ 175927 h 487108"/>
                  <a:gd name="connsiteX52" fmla="*/ 296609 w 3491294"/>
                  <a:gd name="connsiteY52" fmla="*/ 175927 h 487108"/>
                  <a:gd name="connsiteX53" fmla="*/ 296609 w 3491294"/>
                  <a:gd name="connsiteY53" fmla="*/ 182023 h 487108"/>
                  <a:gd name="connsiteX54" fmla="*/ 298704 w 3491294"/>
                  <a:gd name="connsiteY54" fmla="*/ 182023 h 487108"/>
                  <a:gd name="connsiteX55" fmla="*/ 298704 w 3491294"/>
                  <a:gd name="connsiteY55" fmla="*/ 188119 h 487108"/>
                  <a:gd name="connsiteX56" fmla="*/ 309181 w 3491294"/>
                  <a:gd name="connsiteY56" fmla="*/ 188119 h 487108"/>
                  <a:gd name="connsiteX57" fmla="*/ 309181 w 3491294"/>
                  <a:gd name="connsiteY57" fmla="*/ 194119 h 487108"/>
                  <a:gd name="connsiteX58" fmla="*/ 315468 w 3491294"/>
                  <a:gd name="connsiteY58" fmla="*/ 194119 h 487108"/>
                  <a:gd name="connsiteX59" fmla="*/ 315468 w 3491294"/>
                  <a:gd name="connsiteY59" fmla="*/ 206311 h 487108"/>
                  <a:gd name="connsiteX60" fmla="*/ 323945 w 3491294"/>
                  <a:gd name="connsiteY60" fmla="*/ 206311 h 487108"/>
                  <a:gd name="connsiteX61" fmla="*/ 323945 w 3491294"/>
                  <a:gd name="connsiteY61" fmla="*/ 212312 h 487108"/>
                  <a:gd name="connsiteX62" fmla="*/ 330232 w 3491294"/>
                  <a:gd name="connsiteY62" fmla="*/ 212312 h 487108"/>
                  <a:gd name="connsiteX63" fmla="*/ 330232 w 3491294"/>
                  <a:gd name="connsiteY63" fmla="*/ 224504 h 487108"/>
                  <a:gd name="connsiteX64" fmla="*/ 332327 w 3491294"/>
                  <a:gd name="connsiteY64" fmla="*/ 224504 h 487108"/>
                  <a:gd name="connsiteX65" fmla="*/ 332327 w 3491294"/>
                  <a:gd name="connsiteY65" fmla="*/ 230600 h 487108"/>
                  <a:gd name="connsiteX66" fmla="*/ 344900 w 3491294"/>
                  <a:gd name="connsiteY66" fmla="*/ 230600 h 487108"/>
                  <a:gd name="connsiteX67" fmla="*/ 344900 w 3491294"/>
                  <a:gd name="connsiteY67" fmla="*/ 236601 h 487108"/>
                  <a:gd name="connsiteX68" fmla="*/ 368046 w 3491294"/>
                  <a:gd name="connsiteY68" fmla="*/ 236601 h 487108"/>
                  <a:gd name="connsiteX69" fmla="*/ 368046 w 3491294"/>
                  <a:gd name="connsiteY69" fmla="*/ 242697 h 487108"/>
                  <a:gd name="connsiteX70" fmla="*/ 374428 w 3491294"/>
                  <a:gd name="connsiteY70" fmla="*/ 242697 h 487108"/>
                  <a:gd name="connsiteX71" fmla="*/ 374428 w 3491294"/>
                  <a:gd name="connsiteY71" fmla="*/ 248793 h 487108"/>
                  <a:gd name="connsiteX72" fmla="*/ 382810 w 3491294"/>
                  <a:gd name="connsiteY72" fmla="*/ 248793 h 487108"/>
                  <a:gd name="connsiteX73" fmla="*/ 382810 w 3491294"/>
                  <a:gd name="connsiteY73" fmla="*/ 254794 h 487108"/>
                  <a:gd name="connsiteX74" fmla="*/ 391192 w 3491294"/>
                  <a:gd name="connsiteY74" fmla="*/ 254794 h 487108"/>
                  <a:gd name="connsiteX75" fmla="*/ 391192 w 3491294"/>
                  <a:gd name="connsiteY75" fmla="*/ 260890 h 487108"/>
                  <a:gd name="connsiteX76" fmla="*/ 395383 w 3491294"/>
                  <a:gd name="connsiteY76" fmla="*/ 260890 h 487108"/>
                  <a:gd name="connsiteX77" fmla="*/ 395383 w 3491294"/>
                  <a:gd name="connsiteY77" fmla="*/ 266986 h 487108"/>
                  <a:gd name="connsiteX78" fmla="*/ 469011 w 3491294"/>
                  <a:gd name="connsiteY78" fmla="*/ 266986 h 487108"/>
                  <a:gd name="connsiteX79" fmla="*/ 469011 w 3491294"/>
                  <a:gd name="connsiteY79" fmla="*/ 272986 h 487108"/>
                  <a:gd name="connsiteX80" fmla="*/ 490061 w 3491294"/>
                  <a:gd name="connsiteY80" fmla="*/ 272986 h 487108"/>
                  <a:gd name="connsiteX81" fmla="*/ 490061 w 3491294"/>
                  <a:gd name="connsiteY81" fmla="*/ 279082 h 487108"/>
                  <a:gd name="connsiteX82" fmla="*/ 496348 w 3491294"/>
                  <a:gd name="connsiteY82" fmla="*/ 279082 h 487108"/>
                  <a:gd name="connsiteX83" fmla="*/ 496348 w 3491294"/>
                  <a:gd name="connsiteY83" fmla="*/ 285178 h 487108"/>
                  <a:gd name="connsiteX84" fmla="*/ 538448 w 3491294"/>
                  <a:gd name="connsiteY84" fmla="*/ 285178 h 487108"/>
                  <a:gd name="connsiteX85" fmla="*/ 538448 w 3491294"/>
                  <a:gd name="connsiteY85" fmla="*/ 291179 h 487108"/>
                  <a:gd name="connsiteX86" fmla="*/ 553117 w 3491294"/>
                  <a:gd name="connsiteY86" fmla="*/ 291179 h 487108"/>
                  <a:gd name="connsiteX87" fmla="*/ 553117 w 3491294"/>
                  <a:gd name="connsiteY87" fmla="*/ 297275 h 487108"/>
                  <a:gd name="connsiteX88" fmla="*/ 582644 w 3491294"/>
                  <a:gd name="connsiteY88" fmla="*/ 297275 h 487108"/>
                  <a:gd name="connsiteX89" fmla="*/ 582644 w 3491294"/>
                  <a:gd name="connsiteY89" fmla="*/ 303371 h 487108"/>
                  <a:gd name="connsiteX90" fmla="*/ 584740 w 3491294"/>
                  <a:gd name="connsiteY90" fmla="*/ 303371 h 487108"/>
                  <a:gd name="connsiteX91" fmla="*/ 584740 w 3491294"/>
                  <a:gd name="connsiteY91" fmla="*/ 309372 h 487108"/>
                  <a:gd name="connsiteX92" fmla="*/ 607790 w 3491294"/>
                  <a:gd name="connsiteY92" fmla="*/ 309372 h 487108"/>
                  <a:gd name="connsiteX93" fmla="*/ 607790 w 3491294"/>
                  <a:gd name="connsiteY93" fmla="*/ 315468 h 487108"/>
                  <a:gd name="connsiteX94" fmla="*/ 620459 w 3491294"/>
                  <a:gd name="connsiteY94" fmla="*/ 315468 h 487108"/>
                  <a:gd name="connsiteX95" fmla="*/ 620459 w 3491294"/>
                  <a:gd name="connsiteY95" fmla="*/ 321564 h 487108"/>
                  <a:gd name="connsiteX96" fmla="*/ 656177 w 3491294"/>
                  <a:gd name="connsiteY96" fmla="*/ 321564 h 487108"/>
                  <a:gd name="connsiteX97" fmla="*/ 656177 w 3491294"/>
                  <a:gd name="connsiteY97" fmla="*/ 327660 h 487108"/>
                  <a:gd name="connsiteX98" fmla="*/ 771906 w 3491294"/>
                  <a:gd name="connsiteY98" fmla="*/ 327660 h 487108"/>
                  <a:gd name="connsiteX99" fmla="*/ 771906 w 3491294"/>
                  <a:gd name="connsiteY99" fmla="*/ 333661 h 487108"/>
                  <a:gd name="connsiteX100" fmla="*/ 809720 w 3491294"/>
                  <a:gd name="connsiteY100" fmla="*/ 333661 h 487108"/>
                  <a:gd name="connsiteX101" fmla="*/ 809720 w 3491294"/>
                  <a:gd name="connsiteY101" fmla="*/ 339852 h 487108"/>
                  <a:gd name="connsiteX102" fmla="*/ 862298 w 3491294"/>
                  <a:gd name="connsiteY102" fmla="*/ 339852 h 487108"/>
                  <a:gd name="connsiteX103" fmla="*/ 862298 w 3491294"/>
                  <a:gd name="connsiteY103" fmla="*/ 345948 h 487108"/>
                  <a:gd name="connsiteX104" fmla="*/ 881253 w 3491294"/>
                  <a:gd name="connsiteY104" fmla="*/ 345948 h 487108"/>
                  <a:gd name="connsiteX105" fmla="*/ 881253 w 3491294"/>
                  <a:gd name="connsiteY105" fmla="*/ 352044 h 487108"/>
                  <a:gd name="connsiteX106" fmla="*/ 891731 w 3491294"/>
                  <a:gd name="connsiteY106" fmla="*/ 352044 h 487108"/>
                  <a:gd name="connsiteX107" fmla="*/ 891731 w 3491294"/>
                  <a:gd name="connsiteY107" fmla="*/ 358235 h 487108"/>
                  <a:gd name="connsiteX108" fmla="*/ 925449 w 3491294"/>
                  <a:gd name="connsiteY108" fmla="*/ 358235 h 487108"/>
                  <a:gd name="connsiteX109" fmla="*/ 925449 w 3491294"/>
                  <a:gd name="connsiteY109" fmla="*/ 364331 h 487108"/>
                  <a:gd name="connsiteX110" fmla="*/ 931736 w 3491294"/>
                  <a:gd name="connsiteY110" fmla="*/ 364331 h 487108"/>
                  <a:gd name="connsiteX111" fmla="*/ 931736 w 3491294"/>
                  <a:gd name="connsiteY111" fmla="*/ 370427 h 487108"/>
                  <a:gd name="connsiteX112" fmla="*/ 946404 w 3491294"/>
                  <a:gd name="connsiteY112" fmla="*/ 370427 h 487108"/>
                  <a:gd name="connsiteX113" fmla="*/ 946404 w 3491294"/>
                  <a:gd name="connsiteY113" fmla="*/ 376523 h 487108"/>
                  <a:gd name="connsiteX114" fmla="*/ 959072 w 3491294"/>
                  <a:gd name="connsiteY114" fmla="*/ 376523 h 487108"/>
                  <a:gd name="connsiteX115" fmla="*/ 959072 w 3491294"/>
                  <a:gd name="connsiteY115" fmla="*/ 382714 h 487108"/>
                  <a:gd name="connsiteX116" fmla="*/ 984314 w 3491294"/>
                  <a:gd name="connsiteY116" fmla="*/ 382714 h 487108"/>
                  <a:gd name="connsiteX117" fmla="*/ 984314 w 3491294"/>
                  <a:gd name="connsiteY117" fmla="*/ 388810 h 487108"/>
                  <a:gd name="connsiteX118" fmla="*/ 1213580 w 3491294"/>
                  <a:gd name="connsiteY118" fmla="*/ 388810 h 487108"/>
                  <a:gd name="connsiteX119" fmla="*/ 1213580 w 3491294"/>
                  <a:gd name="connsiteY119" fmla="*/ 395002 h 487108"/>
                  <a:gd name="connsiteX120" fmla="*/ 1327118 w 3491294"/>
                  <a:gd name="connsiteY120" fmla="*/ 395002 h 487108"/>
                  <a:gd name="connsiteX121" fmla="*/ 1327118 w 3491294"/>
                  <a:gd name="connsiteY121" fmla="*/ 401193 h 487108"/>
                  <a:gd name="connsiteX122" fmla="*/ 1596295 w 3491294"/>
                  <a:gd name="connsiteY122" fmla="*/ 401193 h 487108"/>
                  <a:gd name="connsiteX123" fmla="*/ 1596295 w 3491294"/>
                  <a:gd name="connsiteY123" fmla="*/ 407479 h 487108"/>
                  <a:gd name="connsiteX124" fmla="*/ 1669923 w 3491294"/>
                  <a:gd name="connsiteY124" fmla="*/ 407479 h 487108"/>
                  <a:gd name="connsiteX125" fmla="*/ 1669923 w 3491294"/>
                  <a:gd name="connsiteY125" fmla="*/ 413766 h 487108"/>
                  <a:gd name="connsiteX126" fmla="*/ 1749838 w 3491294"/>
                  <a:gd name="connsiteY126" fmla="*/ 413766 h 487108"/>
                  <a:gd name="connsiteX127" fmla="*/ 1749838 w 3491294"/>
                  <a:gd name="connsiteY127" fmla="*/ 420052 h 487108"/>
                  <a:gd name="connsiteX128" fmla="*/ 1911763 w 3491294"/>
                  <a:gd name="connsiteY128" fmla="*/ 420052 h 487108"/>
                  <a:gd name="connsiteX129" fmla="*/ 1911763 w 3491294"/>
                  <a:gd name="connsiteY129" fmla="*/ 426529 h 487108"/>
                  <a:gd name="connsiteX130" fmla="*/ 1928622 w 3491294"/>
                  <a:gd name="connsiteY130" fmla="*/ 426529 h 487108"/>
                  <a:gd name="connsiteX131" fmla="*/ 1928622 w 3491294"/>
                  <a:gd name="connsiteY131" fmla="*/ 432911 h 487108"/>
                  <a:gd name="connsiteX132" fmla="*/ 2046446 w 3491294"/>
                  <a:gd name="connsiteY132" fmla="*/ 432911 h 487108"/>
                  <a:gd name="connsiteX133" fmla="*/ 2046446 w 3491294"/>
                  <a:gd name="connsiteY133" fmla="*/ 439388 h 487108"/>
                  <a:gd name="connsiteX134" fmla="*/ 2138934 w 3491294"/>
                  <a:gd name="connsiteY134" fmla="*/ 439388 h 487108"/>
                  <a:gd name="connsiteX135" fmla="*/ 2138934 w 3491294"/>
                  <a:gd name="connsiteY135" fmla="*/ 445770 h 487108"/>
                  <a:gd name="connsiteX136" fmla="*/ 2157889 w 3491294"/>
                  <a:gd name="connsiteY136" fmla="*/ 445770 h 487108"/>
                  <a:gd name="connsiteX137" fmla="*/ 2157889 w 3491294"/>
                  <a:gd name="connsiteY137" fmla="*/ 452247 h 487108"/>
                  <a:gd name="connsiteX138" fmla="*/ 3011710 w 3491294"/>
                  <a:gd name="connsiteY138" fmla="*/ 452247 h 487108"/>
                  <a:gd name="connsiteX139" fmla="*/ 3011710 w 3491294"/>
                  <a:gd name="connsiteY139" fmla="*/ 487108 h 487108"/>
                  <a:gd name="connsiteX140" fmla="*/ 3491294 w 3491294"/>
                  <a:gd name="connsiteY140" fmla="*/ 487108 h 487108"/>
                  <a:gd name="connsiteX0" fmla="*/ 0 w 3491294"/>
                  <a:gd name="connsiteY0" fmla="*/ 0 h 487108"/>
                  <a:gd name="connsiteX1" fmla="*/ 16859 w 3491294"/>
                  <a:gd name="connsiteY1" fmla="*/ 6096 h 487108"/>
                  <a:gd name="connsiteX2" fmla="*/ 16859 w 3491294"/>
                  <a:gd name="connsiteY2" fmla="*/ 12192 h 487108"/>
                  <a:gd name="connsiteX3" fmla="*/ 31528 w 3491294"/>
                  <a:gd name="connsiteY3" fmla="*/ 12192 h 487108"/>
                  <a:gd name="connsiteX4" fmla="*/ 31528 w 3491294"/>
                  <a:gd name="connsiteY4" fmla="*/ 18193 h 487108"/>
                  <a:gd name="connsiteX5" fmla="*/ 35814 w 3491294"/>
                  <a:gd name="connsiteY5" fmla="*/ 18193 h 487108"/>
                  <a:gd name="connsiteX6" fmla="*/ 35814 w 3491294"/>
                  <a:gd name="connsiteY6" fmla="*/ 24289 h 487108"/>
                  <a:gd name="connsiteX7" fmla="*/ 46291 w 3491294"/>
                  <a:gd name="connsiteY7" fmla="*/ 24289 h 487108"/>
                  <a:gd name="connsiteX8" fmla="*/ 46291 w 3491294"/>
                  <a:gd name="connsiteY8" fmla="*/ 30385 h 487108"/>
                  <a:gd name="connsiteX9" fmla="*/ 54674 w 3491294"/>
                  <a:gd name="connsiteY9" fmla="*/ 30385 h 487108"/>
                  <a:gd name="connsiteX10" fmla="*/ 54674 w 3491294"/>
                  <a:gd name="connsiteY10" fmla="*/ 36481 h 487108"/>
                  <a:gd name="connsiteX11" fmla="*/ 69437 w 3491294"/>
                  <a:gd name="connsiteY11" fmla="*/ 36481 h 487108"/>
                  <a:gd name="connsiteX12" fmla="*/ 69437 w 3491294"/>
                  <a:gd name="connsiteY12" fmla="*/ 42481 h 487108"/>
                  <a:gd name="connsiteX13" fmla="*/ 73628 w 3491294"/>
                  <a:gd name="connsiteY13" fmla="*/ 42481 h 487108"/>
                  <a:gd name="connsiteX14" fmla="*/ 73628 w 3491294"/>
                  <a:gd name="connsiteY14" fmla="*/ 48577 h 487108"/>
                  <a:gd name="connsiteX15" fmla="*/ 77819 w 3491294"/>
                  <a:gd name="connsiteY15" fmla="*/ 48577 h 487108"/>
                  <a:gd name="connsiteX16" fmla="*/ 77819 w 3491294"/>
                  <a:gd name="connsiteY16" fmla="*/ 54673 h 487108"/>
                  <a:gd name="connsiteX17" fmla="*/ 90488 w 3491294"/>
                  <a:gd name="connsiteY17" fmla="*/ 54673 h 487108"/>
                  <a:gd name="connsiteX18" fmla="*/ 90488 w 3491294"/>
                  <a:gd name="connsiteY18" fmla="*/ 60674 h 487108"/>
                  <a:gd name="connsiteX19" fmla="*/ 119920 w 3491294"/>
                  <a:gd name="connsiteY19" fmla="*/ 60674 h 487108"/>
                  <a:gd name="connsiteX20" fmla="*/ 119920 w 3491294"/>
                  <a:gd name="connsiteY20" fmla="*/ 66770 h 487108"/>
                  <a:gd name="connsiteX21" fmla="*/ 128302 w 3491294"/>
                  <a:gd name="connsiteY21" fmla="*/ 66770 h 487108"/>
                  <a:gd name="connsiteX22" fmla="*/ 128302 w 3491294"/>
                  <a:gd name="connsiteY22" fmla="*/ 72866 h 487108"/>
                  <a:gd name="connsiteX23" fmla="*/ 130397 w 3491294"/>
                  <a:gd name="connsiteY23" fmla="*/ 72866 h 487108"/>
                  <a:gd name="connsiteX24" fmla="*/ 130397 w 3491294"/>
                  <a:gd name="connsiteY24" fmla="*/ 78867 h 487108"/>
                  <a:gd name="connsiteX25" fmla="*/ 145161 w 3491294"/>
                  <a:gd name="connsiteY25" fmla="*/ 78867 h 487108"/>
                  <a:gd name="connsiteX26" fmla="*/ 145161 w 3491294"/>
                  <a:gd name="connsiteY26" fmla="*/ 91059 h 487108"/>
                  <a:gd name="connsiteX27" fmla="*/ 147257 w 3491294"/>
                  <a:gd name="connsiteY27" fmla="*/ 91059 h 487108"/>
                  <a:gd name="connsiteX28" fmla="*/ 147257 w 3491294"/>
                  <a:gd name="connsiteY28" fmla="*/ 97060 h 487108"/>
                  <a:gd name="connsiteX29" fmla="*/ 153543 w 3491294"/>
                  <a:gd name="connsiteY29" fmla="*/ 97060 h 487108"/>
                  <a:gd name="connsiteX30" fmla="*/ 153543 w 3491294"/>
                  <a:gd name="connsiteY30" fmla="*/ 103156 h 487108"/>
                  <a:gd name="connsiteX31" fmla="*/ 157734 w 3491294"/>
                  <a:gd name="connsiteY31" fmla="*/ 103156 h 487108"/>
                  <a:gd name="connsiteX32" fmla="*/ 157734 w 3491294"/>
                  <a:gd name="connsiteY32" fmla="*/ 109252 h 487108"/>
                  <a:gd name="connsiteX33" fmla="*/ 174593 w 3491294"/>
                  <a:gd name="connsiteY33" fmla="*/ 109252 h 487108"/>
                  <a:gd name="connsiteX34" fmla="*/ 174593 w 3491294"/>
                  <a:gd name="connsiteY34" fmla="*/ 121348 h 487108"/>
                  <a:gd name="connsiteX35" fmla="*/ 178784 w 3491294"/>
                  <a:gd name="connsiteY35" fmla="*/ 121348 h 487108"/>
                  <a:gd name="connsiteX36" fmla="*/ 178784 w 3491294"/>
                  <a:gd name="connsiteY36" fmla="*/ 127444 h 487108"/>
                  <a:gd name="connsiteX37" fmla="*/ 201930 w 3491294"/>
                  <a:gd name="connsiteY37" fmla="*/ 127444 h 487108"/>
                  <a:gd name="connsiteX38" fmla="*/ 201930 w 3491294"/>
                  <a:gd name="connsiteY38" fmla="*/ 133540 h 487108"/>
                  <a:gd name="connsiteX39" fmla="*/ 206121 w 3491294"/>
                  <a:gd name="connsiteY39" fmla="*/ 133540 h 487108"/>
                  <a:gd name="connsiteX40" fmla="*/ 206121 w 3491294"/>
                  <a:gd name="connsiteY40" fmla="*/ 139541 h 487108"/>
                  <a:gd name="connsiteX41" fmla="*/ 212408 w 3491294"/>
                  <a:gd name="connsiteY41" fmla="*/ 139541 h 487108"/>
                  <a:gd name="connsiteX42" fmla="*/ 212408 w 3491294"/>
                  <a:gd name="connsiteY42" fmla="*/ 151733 h 487108"/>
                  <a:gd name="connsiteX43" fmla="*/ 231362 w 3491294"/>
                  <a:gd name="connsiteY43" fmla="*/ 151733 h 487108"/>
                  <a:gd name="connsiteX44" fmla="*/ 231362 w 3491294"/>
                  <a:gd name="connsiteY44" fmla="*/ 157734 h 487108"/>
                  <a:gd name="connsiteX45" fmla="*/ 239744 w 3491294"/>
                  <a:gd name="connsiteY45" fmla="*/ 157734 h 487108"/>
                  <a:gd name="connsiteX46" fmla="*/ 239744 w 3491294"/>
                  <a:gd name="connsiteY46" fmla="*/ 163830 h 487108"/>
                  <a:gd name="connsiteX47" fmla="*/ 252413 w 3491294"/>
                  <a:gd name="connsiteY47" fmla="*/ 163830 h 487108"/>
                  <a:gd name="connsiteX48" fmla="*/ 252413 w 3491294"/>
                  <a:gd name="connsiteY48" fmla="*/ 169926 h 487108"/>
                  <a:gd name="connsiteX49" fmla="*/ 269272 w 3491294"/>
                  <a:gd name="connsiteY49" fmla="*/ 169926 h 487108"/>
                  <a:gd name="connsiteX50" fmla="*/ 269272 w 3491294"/>
                  <a:gd name="connsiteY50" fmla="*/ 175927 h 487108"/>
                  <a:gd name="connsiteX51" fmla="*/ 296609 w 3491294"/>
                  <a:gd name="connsiteY51" fmla="*/ 175927 h 487108"/>
                  <a:gd name="connsiteX52" fmla="*/ 296609 w 3491294"/>
                  <a:gd name="connsiteY52" fmla="*/ 182023 h 487108"/>
                  <a:gd name="connsiteX53" fmla="*/ 298704 w 3491294"/>
                  <a:gd name="connsiteY53" fmla="*/ 182023 h 487108"/>
                  <a:gd name="connsiteX54" fmla="*/ 298704 w 3491294"/>
                  <a:gd name="connsiteY54" fmla="*/ 188119 h 487108"/>
                  <a:gd name="connsiteX55" fmla="*/ 309181 w 3491294"/>
                  <a:gd name="connsiteY55" fmla="*/ 188119 h 487108"/>
                  <a:gd name="connsiteX56" fmla="*/ 309181 w 3491294"/>
                  <a:gd name="connsiteY56" fmla="*/ 194119 h 487108"/>
                  <a:gd name="connsiteX57" fmla="*/ 315468 w 3491294"/>
                  <a:gd name="connsiteY57" fmla="*/ 194119 h 487108"/>
                  <a:gd name="connsiteX58" fmla="*/ 315468 w 3491294"/>
                  <a:gd name="connsiteY58" fmla="*/ 206311 h 487108"/>
                  <a:gd name="connsiteX59" fmla="*/ 323945 w 3491294"/>
                  <a:gd name="connsiteY59" fmla="*/ 206311 h 487108"/>
                  <a:gd name="connsiteX60" fmla="*/ 323945 w 3491294"/>
                  <a:gd name="connsiteY60" fmla="*/ 212312 h 487108"/>
                  <a:gd name="connsiteX61" fmla="*/ 330232 w 3491294"/>
                  <a:gd name="connsiteY61" fmla="*/ 212312 h 487108"/>
                  <a:gd name="connsiteX62" fmla="*/ 330232 w 3491294"/>
                  <a:gd name="connsiteY62" fmla="*/ 224504 h 487108"/>
                  <a:gd name="connsiteX63" fmla="*/ 332327 w 3491294"/>
                  <a:gd name="connsiteY63" fmla="*/ 224504 h 487108"/>
                  <a:gd name="connsiteX64" fmla="*/ 332327 w 3491294"/>
                  <a:gd name="connsiteY64" fmla="*/ 230600 h 487108"/>
                  <a:gd name="connsiteX65" fmla="*/ 344900 w 3491294"/>
                  <a:gd name="connsiteY65" fmla="*/ 230600 h 487108"/>
                  <a:gd name="connsiteX66" fmla="*/ 344900 w 3491294"/>
                  <a:gd name="connsiteY66" fmla="*/ 236601 h 487108"/>
                  <a:gd name="connsiteX67" fmla="*/ 368046 w 3491294"/>
                  <a:gd name="connsiteY67" fmla="*/ 236601 h 487108"/>
                  <a:gd name="connsiteX68" fmla="*/ 368046 w 3491294"/>
                  <a:gd name="connsiteY68" fmla="*/ 242697 h 487108"/>
                  <a:gd name="connsiteX69" fmla="*/ 374428 w 3491294"/>
                  <a:gd name="connsiteY69" fmla="*/ 242697 h 487108"/>
                  <a:gd name="connsiteX70" fmla="*/ 374428 w 3491294"/>
                  <a:gd name="connsiteY70" fmla="*/ 248793 h 487108"/>
                  <a:gd name="connsiteX71" fmla="*/ 382810 w 3491294"/>
                  <a:gd name="connsiteY71" fmla="*/ 248793 h 487108"/>
                  <a:gd name="connsiteX72" fmla="*/ 382810 w 3491294"/>
                  <a:gd name="connsiteY72" fmla="*/ 254794 h 487108"/>
                  <a:gd name="connsiteX73" fmla="*/ 391192 w 3491294"/>
                  <a:gd name="connsiteY73" fmla="*/ 254794 h 487108"/>
                  <a:gd name="connsiteX74" fmla="*/ 391192 w 3491294"/>
                  <a:gd name="connsiteY74" fmla="*/ 260890 h 487108"/>
                  <a:gd name="connsiteX75" fmla="*/ 395383 w 3491294"/>
                  <a:gd name="connsiteY75" fmla="*/ 260890 h 487108"/>
                  <a:gd name="connsiteX76" fmla="*/ 395383 w 3491294"/>
                  <a:gd name="connsiteY76" fmla="*/ 266986 h 487108"/>
                  <a:gd name="connsiteX77" fmla="*/ 469011 w 3491294"/>
                  <a:gd name="connsiteY77" fmla="*/ 266986 h 487108"/>
                  <a:gd name="connsiteX78" fmla="*/ 469011 w 3491294"/>
                  <a:gd name="connsiteY78" fmla="*/ 272986 h 487108"/>
                  <a:gd name="connsiteX79" fmla="*/ 490061 w 3491294"/>
                  <a:gd name="connsiteY79" fmla="*/ 272986 h 487108"/>
                  <a:gd name="connsiteX80" fmla="*/ 490061 w 3491294"/>
                  <a:gd name="connsiteY80" fmla="*/ 279082 h 487108"/>
                  <a:gd name="connsiteX81" fmla="*/ 496348 w 3491294"/>
                  <a:gd name="connsiteY81" fmla="*/ 279082 h 487108"/>
                  <a:gd name="connsiteX82" fmla="*/ 496348 w 3491294"/>
                  <a:gd name="connsiteY82" fmla="*/ 285178 h 487108"/>
                  <a:gd name="connsiteX83" fmla="*/ 538448 w 3491294"/>
                  <a:gd name="connsiteY83" fmla="*/ 285178 h 487108"/>
                  <a:gd name="connsiteX84" fmla="*/ 538448 w 3491294"/>
                  <a:gd name="connsiteY84" fmla="*/ 291179 h 487108"/>
                  <a:gd name="connsiteX85" fmla="*/ 553117 w 3491294"/>
                  <a:gd name="connsiteY85" fmla="*/ 291179 h 487108"/>
                  <a:gd name="connsiteX86" fmla="*/ 553117 w 3491294"/>
                  <a:gd name="connsiteY86" fmla="*/ 297275 h 487108"/>
                  <a:gd name="connsiteX87" fmla="*/ 582644 w 3491294"/>
                  <a:gd name="connsiteY87" fmla="*/ 297275 h 487108"/>
                  <a:gd name="connsiteX88" fmla="*/ 582644 w 3491294"/>
                  <a:gd name="connsiteY88" fmla="*/ 303371 h 487108"/>
                  <a:gd name="connsiteX89" fmla="*/ 584740 w 3491294"/>
                  <a:gd name="connsiteY89" fmla="*/ 303371 h 487108"/>
                  <a:gd name="connsiteX90" fmla="*/ 584740 w 3491294"/>
                  <a:gd name="connsiteY90" fmla="*/ 309372 h 487108"/>
                  <a:gd name="connsiteX91" fmla="*/ 607790 w 3491294"/>
                  <a:gd name="connsiteY91" fmla="*/ 309372 h 487108"/>
                  <a:gd name="connsiteX92" fmla="*/ 607790 w 3491294"/>
                  <a:gd name="connsiteY92" fmla="*/ 315468 h 487108"/>
                  <a:gd name="connsiteX93" fmla="*/ 620459 w 3491294"/>
                  <a:gd name="connsiteY93" fmla="*/ 315468 h 487108"/>
                  <a:gd name="connsiteX94" fmla="*/ 620459 w 3491294"/>
                  <a:gd name="connsiteY94" fmla="*/ 321564 h 487108"/>
                  <a:gd name="connsiteX95" fmla="*/ 656177 w 3491294"/>
                  <a:gd name="connsiteY95" fmla="*/ 321564 h 487108"/>
                  <a:gd name="connsiteX96" fmla="*/ 656177 w 3491294"/>
                  <a:gd name="connsiteY96" fmla="*/ 327660 h 487108"/>
                  <a:gd name="connsiteX97" fmla="*/ 771906 w 3491294"/>
                  <a:gd name="connsiteY97" fmla="*/ 327660 h 487108"/>
                  <a:gd name="connsiteX98" fmla="*/ 771906 w 3491294"/>
                  <a:gd name="connsiteY98" fmla="*/ 333661 h 487108"/>
                  <a:gd name="connsiteX99" fmla="*/ 809720 w 3491294"/>
                  <a:gd name="connsiteY99" fmla="*/ 333661 h 487108"/>
                  <a:gd name="connsiteX100" fmla="*/ 809720 w 3491294"/>
                  <a:gd name="connsiteY100" fmla="*/ 339852 h 487108"/>
                  <a:gd name="connsiteX101" fmla="*/ 862298 w 3491294"/>
                  <a:gd name="connsiteY101" fmla="*/ 339852 h 487108"/>
                  <a:gd name="connsiteX102" fmla="*/ 862298 w 3491294"/>
                  <a:gd name="connsiteY102" fmla="*/ 345948 h 487108"/>
                  <a:gd name="connsiteX103" fmla="*/ 881253 w 3491294"/>
                  <a:gd name="connsiteY103" fmla="*/ 345948 h 487108"/>
                  <a:gd name="connsiteX104" fmla="*/ 881253 w 3491294"/>
                  <a:gd name="connsiteY104" fmla="*/ 352044 h 487108"/>
                  <a:gd name="connsiteX105" fmla="*/ 891731 w 3491294"/>
                  <a:gd name="connsiteY105" fmla="*/ 352044 h 487108"/>
                  <a:gd name="connsiteX106" fmla="*/ 891731 w 3491294"/>
                  <a:gd name="connsiteY106" fmla="*/ 358235 h 487108"/>
                  <a:gd name="connsiteX107" fmla="*/ 925449 w 3491294"/>
                  <a:gd name="connsiteY107" fmla="*/ 358235 h 487108"/>
                  <a:gd name="connsiteX108" fmla="*/ 925449 w 3491294"/>
                  <a:gd name="connsiteY108" fmla="*/ 364331 h 487108"/>
                  <a:gd name="connsiteX109" fmla="*/ 931736 w 3491294"/>
                  <a:gd name="connsiteY109" fmla="*/ 364331 h 487108"/>
                  <a:gd name="connsiteX110" fmla="*/ 931736 w 3491294"/>
                  <a:gd name="connsiteY110" fmla="*/ 370427 h 487108"/>
                  <a:gd name="connsiteX111" fmla="*/ 946404 w 3491294"/>
                  <a:gd name="connsiteY111" fmla="*/ 370427 h 487108"/>
                  <a:gd name="connsiteX112" fmla="*/ 946404 w 3491294"/>
                  <a:gd name="connsiteY112" fmla="*/ 376523 h 487108"/>
                  <a:gd name="connsiteX113" fmla="*/ 959072 w 3491294"/>
                  <a:gd name="connsiteY113" fmla="*/ 376523 h 487108"/>
                  <a:gd name="connsiteX114" fmla="*/ 959072 w 3491294"/>
                  <a:gd name="connsiteY114" fmla="*/ 382714 h 487108"/>
                  <a:gd name="connsiteX115" fmla="*/ 984314 w 3491294"/>
                  <a:gd name="connsiteY115" fmla="*/ 382714 h 487108"/>
                  <a:gd name="connsiteX116" fmla="*/ 984314 w 3491294"/>
                  <a:gd name="connsiteY116" fmla="*/ 388810 h 487108"/>
                  <a:gd name="connsiteX117" fmla="*/ 1213580 w 3491294"/>
                  <a:gd name="connsiteY117" fmla="*/ 388810 h 487108"/>
                  <a:gd name="connsiteX118" fmla="*/ 1213580 w 3491294"/>
                  <a:gd name="connsiteY118" fmla="*/ 395002 h 487108"/>
                  <a:gd name="connsiteX119" fmla="*/ 1327118 w 3491294"/>
                  <a:gd name="connsiteY119" fmla="*/ 395002 h 487108"/>
                  <a:gd name="connsiteX120" fmla="*/ 1327118 w 3491294"/>
                  <a:gd name="connsiteY120" fmla="*/ 401193 h 487108"/>
                  <a:gd name="connsiteX121" fmla="*/ 1596295 w 3491294"/>
                  <a:gd name="connsiteY121" fmla="*/ 401193 h 487108"/>
                  <a:gd name="connsiteX122" fmla="*/ 1596295 w 3491294"/>
                  <a:gd name="connsiteY122" fmla="*/ 407479 h 487108"/>
                  <a:gd name="connsiteX123" fmla="*/ 1669923 w 3491294"/>
                  <a:gd name="connsiteY123" fmla="*/ 407479 h 487108"/>
                  <a:gd name="connsiteX124" fmla="*/ 1669923 w 3491294"/>
                  <a:gd name="connsiteY124" fmla="*/ 413766 h 487108"/>
                  <a:gd name="connsiteX125" fmla="*/ 1749838 w 3491294"/>
                  <a:gd name="connsiteY125" fmla="*/ 413766 h 487108"/>
                  <a:gd name="connsiteX126" fmla="*/ 1749838 w 3491294"/>
                  <a:gd name="connsiteY126" fmla="*/ 420052 h 487108"/>
                  <a:gd name="connsiteX127" fmla="*/ 1911763 w 3491294"/>
                  <a:gd name="connsiteY127" fmla="*/ 420052 h 487108"/>
                  <a:gd name="connsiteX128" fmla="*/ 1911763 w 3491294"/>
                  <a:gd name="connsiteY128" fmla="*/ 426529 h 487108"/>
                  <a:gd name="connsiteX129" fmla="*/ 1928622 w 3491294"/>
                  <a:gd name="connsiteY129" fmla="*/ 426529 h 487108"/>
                  <a:gd name="connsiteX130" fmla="*/ 1928622 w 3491294"/>
                  <a:gd name="connsiteY130" fmla="*/ 432911 h 487108"/>
                  <a:gd name="connsiteX131" fmla="*/ 2046446 w 3491294"/>
                  <a:gd name="connsiteY131" fmla="*/ 432911 h 487108"/>
                  <a:gd name="connsiteX132" fmla="*/ 2046446 w 3491294"/>
                  <a:gd name="connsiteY132" fmla="*/ 439388 h 487108"/>
                  <a:gd name="connsiteX133" fmla="*/ 2138934 w 3491294"/>
                  <a:gd name="connsiteY133" fmla="*/ 439388 h 487108"/>
                  <a:gd name="connsiteX134" fmla="*/ 2138934 w 3491294"/>
                  <a:gd name="connsiteY134" fmla="*/ 445770 h 487108"/>
                  <a:gd name="connsiteX135" fmla="*/ 2157889 w 3491294"/>
                  <a:gd name="connsiteY135" fmla="*/ 445770 h 487108"/>
                  <a:gd name="connsiteX136" fmla="*/ 2157889 w 3491294"/>
                  <a:gd name="connsiteY136" fmla="*/ 452247 h 487108"/>
                  <a:gd name="connsiteX137" fmla="*/ 3011710 w 3491294"/>
                  <a:gd name="connsiteY137" fmla="*/ 452247 h 487108"/>
                  <a:gd name="connsiteX138" fmla="*/ 3011710 w 3491294"/>
                  <a:gd name="connsiteY138" fmla="*/ 487108 h 487108"/>
                  <a:gd name="connsiteX139" fmla="*/ 3491294 w 3491294"/>
                  <a:gd name="connsiteY139" fmla="*/ 487108 h 487108"/>
                  <a:gd name="connsiteX0" fmla="*/ 0 w 3474435"/>
                  <a:gd name="connsiteY0" fmla="*/ 0 h 481012"/>
                  <a:gd name="connsiteX1" fmla="*/ 0 w 3474435"/>
                  <a:gd name="connsiteY1" fmla="*/ 6096 h 481012"/>
                  <a:gd name="connsiteX2" fmla="*/ 14669 w 3474435"/>
                  <a:gd name="connsiteY2" fmla="*/ 6096 h 481012"/>
                  <a:gd name="connsiteX3" fmla="*/ 14669 w 3474435"/>
                  <a:gd name="connsiteY3" fmla="*/ 12097 h 481012"/>
                  <a:gd name="connsiteX4" fmla="*/ 18955 w 3474435"/>
                  <a:gd name="connsiteY4" fmla="*/ 12097 h 481012"/>
                  <a:gd name="connsiteX5" fmla="*/ 18955 w 3474435"/>
                  <a:gd name="connsiteY5" fmla="*/ 18193 h 481012"/>
                  <a:gd name="connsiteX6" fmla="*/ 29432 w 3474435"/>
                  <a:gd name="connsiteY6" fmla="*/ 18193 h 481012"/>
                  <a:gd name="connsiteX7" fmla="*/ 29432 w 3474435"/>
                  <a:gd name="connsiteY7" fmla="*/ 24289 h 481012"/>
                  <a:gd name="connsiteX8" fmla="*/ 37815 w 3474435"/>
                  <a:gd name="connsiteY8" fmla="*/ 24289 h 481012"/>
                  <a:gd name="connsiteX9" fmla="*/ 37815 w 3474435"/>
                  <a:gd name="connsiteY9" fmla="*/ 30385 h 481012"/>
                  <a:gd name="connsiteX10" fmla="*/ 52578 w 3474435"/>
                  <a:gd name="connsiteY10" fmla="*/ 30385 h 481012"/>
                  <a:gd name="connsiteX11" fmla="*/ 52578 w 3474435"/>
                  <a:gd name="connsiteY11" fmla="*/ 36385 h 481012"/>
                  <a:gd name="connsiteX12" fmla="*/ 56769 w 3474435"/>
                  <a:gd name="connsiteY12" fmla="*/ 36385 h 481012"/>
                  <a:gd name="connsiteX13" fmla="*/ 56769 w 3474435"/>
                  <a:gd name="connsiteY13" fmla="*/ 42481 h 481012"/>
                  <a:gd name="connsiteX14" fmla="*/ 60960 w 3474435"/>
                  <a:gd name="connsiteY14" fmla="*/ 42481 h 481012"/>
                  <a:gd name="connsiteX15" fmla="*/ 60960 w 3474435"/>
                  <a:gd name="connsiteY15" fmla="*/ 48577 h 481012"/>
                  <a:gd name="connsiteX16" fmla="*/ 73629 w 3474435"/>
                  <a:gd name="connsiteY16" fmla="*/ 48577 h 481012"/>
                  <a:gd name="connsiteX17" fmla="*/ 73629 w 3474435"/>
                  <a:gd name="connsiteY17" fmla="*/ 54578 h 481012"/>
                  <a:gd name="connsiteX18" fmla="*/ 103061 w 3474435"/>
                  <a:gd name="connsiteY18" fmla="*/ 54578 h 481012"/>
                  <a:gd name="connsiteX19" fmla="*/ 103061 w 3474435"/>
                  <a:gd name="connsiteY19" fmla="*/ 60674 h 481012"/>
                  <a:gd name="connsiteX20" fmla="*/ 111443 w 3474435"/>
                  <a:gd name="connsiteY20" fmla="*/ 60674 h 481012"/>
                  <a:gd name="connsiteX21" fmla="*/ 111443 w 3474435"/>
                  <a:gd name="connsiteY21" fmla="*/ 66770 h 481012"/>
                  <a:gd name="connsiteX22" fmla="*/ 113538 w 3474435"/>
                  <a:gd name="connsiteY22" fmla="*/ 66770 h 481012"/>
                  <a:gd name="connsiteX23" fmla="*/ 113538 w 3474435"/>
                  <a:gd name="connsiteY23" fmla="*/ 72771 h 481012"/>
                  <a:gd name="connsiteX24" fmla="*/ 128302 w 3474435"/>
                  <a:gd name="connsiteY24" fmla="*/ 72771 h 481012"/>
                  <a:gd name="connsiteX25" fmla="*/ 128302 w 3474435"/>
                  <a:gd name="connsiteY25" fmla="*/ 84963 h 481012"/>
                  <a:gd name="connsiteX26" fmla="*/ 130398 w 3474435"/>
                  <a:gd name="connsiteY26" fmla="*/ 84963 h 481012"/>
                  <a:gd name="connsiteX27" fmla="*/ 130398 w 3474435"/>
                  <a:gd name="connsiteY27" fmla="*/ 90964 h 481012"/>
                  <a:gd name="connsiteX28" fmla="*/ 136684 w 3474435"/>
                  <a:gd name="connsiteY28" fmla="*/ 90964 h 481012"/>
                  <a:gd name="connsiteX29" fmla="*/ 136684 w 3474435"/>
                  <a:gd name="connsiteY29" fmla="*/ 97060 h 481012"/>
                  <a:gd name="connsiteX30" fmla="*/ 140875 w 3474435"/>
                  <a:gd name="connsiteY30" fmla="*/ 97060 h 481012"/>
                  <a:gd name="connsiteX31" fmla="*/ 140875 w 3474435"/>
                  <a:gd name="connsiteY31" fmla="*/ 103156 h 481012"/>
                  <a:gd name="connsiteX32" fmla="*/ 157734 w 3474435"/>
                  <a:gd name="connsiteY32" fmla="*/ 103156 h 481012"/>
                  <a:gd name="connsiteX33" fmla="*/ 157734 w 3474435"/>
                  <a:gd name="connsiteY33" fmla="*/ 115252 h 481012"/>
                  <a:gd name="connsiteX34" fmla="*/ 161925 w 3474435"/>
                  <a:gd name="connsiteY34" fmla="*/ 115252 h 481012"/>
                  <a:gd name="connsiteX35" fmla="*/ 161925 w 3474435"/>
                  <a:gd name="connsiteY35" fmla="*/ 121348 h 481012"/>
                  <a:gd name="connsiteX36" fmla="*/ 185071 w 3474435"/>
                  <a:gd name="connsiteY36" fmla="*/ 121348 h 481012"/>
                  <a:gd name="connsiteX37" fmla="*/ 185071 w 3474435"/>
                  <a:gd name="connsiteY37" fmla="*/ 127444 h 481012"/>
                  <a:gd name="connsiteX38" fmla="*/ 189262 w 3474435"/>
                  <a:gd name="connsiteY38" fmla="*/ 127444 h 481012"/>
                  <a:gd name="connsiteX39" fmla="*/ 189262 w 3474435"/>
                  <a:gd name="connsiteY39" fmla="*/ 133445 h 481012"/>
                  <a:gd name="connsiteX40" fmla="*/ 195549 w 3474435"/>
                  <a:gd name="connsiteY40" fmla="*/ 133445 h 481012"/>
                  <a:gd name="connsiteX41" fmla="*/ 195549 w 3474435"/>
                  <a:gd name="connsiteY41" fmla="*/ 145637 h 481012"/>
                  <a:gd name="connsiteX42" fmla="*/ 214503 w 3474435"/>
                  <a:gd name="connsiteY42" fmla="*/ 145637 h 481012"/>
                  <a:gd name="connsiteX43" fmla="*/ 214503 w 3474435"/>
                  <a:gd name="connsiteY43" fmla="*/ 151638 h 481012"/>
                  <a:gd name="connsiteX44" fmla="*/ 222885 w 3474435"/>
                  <a:gd name="connsiteY44" fmla="*/ 151638 h 481012"/>
                  <a:gd name="connsiteX45" fmla="*/ 222885 w 3474435"/>
                  <a:gd name="connsiteY45" fmla="*/ 157734 h 481012"/>
                  <a:gd name="connsiteX46" fmla="*/ 235554 w 3474435"/>
                  <a:gd name="connsiteY46" fmla="*/ 157734 h 481012"/>
                  <a:gd name="connsiteX47" fmla="*/ 235554 w 3474435"/>
                  <a:gd name="connsiteY47" fmla="*/ 163830 h 481012"/>
                  <a:gd name="connsiteX48" fmla="*/ 252413 w 3474435"/>
                  <a:gd name="connsiteY48" fmla="*/ 163830 h 481012"/>
                  <a:gd name="connsiteX49" fmla="*/ 252413 w 3474435"/>
                  <a:gd name="connsiteY49" fmla="*/ 169831 h 481012"/>
                  <a:gd name="connsiteX50" fmla="*/ 279750 w 3474435"/>
                  <a:gd name="connsiteY50" fmla="*/ 169831 h 481012"/>
                  <a:gd name="connsiteX51" fmla="*/ 279750 w 3474435"/>
                  <a:gd name="connsiteY51" fmla="*/ 175927 h 481012"/>
                  <a:gd name="connsiteX52" fmla="*/ 281845 w 3474435"/>
                  <a:gd name="connsiteY52" fmla="*/ 175927 h 481012"/>
                  <a:gd name="connsiteX53" fmla="*/ 281845 w 3474435"/>
                  <a:gd name="connsiteY53" fmla="*/ 182023 h 481012"/>
                  <a:gd name="connsiteX54" fmla="*/ 292322 w 3474435"/>
                  <a:gd name="connsiteY54" fmla="*/ 182023 h 481012"/>
                  <a:gd name="connsiteX55" fmla="*/ 292322 w 3474435"/>
                  <a:gd name="connsiteY55" fmla="*/ 188023 h 481012"/>
                  <a:gd name="connsiteX56" fmla="*/ 298609 w 3474435"/>
                  <a:gd name="connsiteY56" fmla="*/ 188023 h 481012"/>
                  <a:gd name="connsiteX57" fmla="*/ 298609 w 3474435"/>
                  <a:gd name="connsiteY57" fmla="*/ 200215 h 481012"/>
                  <a:gd name="connsiteX58" fmla="*/ 307086 w 3474435"/>
                  <a:gd name="connsiteY58" fmla="*/ 200215 h 481012"/>
                  <a:gd name="connsiteX59" fmla="*/ 307086 w 3474435"/>
                  <a:gd name="connsiteY59" fmla="*/ 206216 h 481012"/>
                  <a:gd name="connsiteX60" fmla="*/ 313373 w 3474435"/>
                  <a:gd name="connsiteY60" fmla="*/ 206216 h 481012"/>
                  <a:gd name="connsiteX61" fmla="*/ 313373 w 3474435"/>
                  <a:gd name="connsiteY61" fmla="*/ 218408 h 481012"/>
                  <a:gd name="connsiteX62" fmla="*/ 315468 w 3474435"/>
                  <a:gd name="connsiteY62" fmla="*/ 218408 h 481012"/>
                  <a:gd name="connsiteX63" fmla="*/ 315468 w 3474435"/>
                  <a:gd name="connsiteY63" fmla="*/ 224504 h 481012"/>
                  <a:gd name="connsiteX64" fmla="*/ 328041 w 3474435"/>
                  <a:gd name="connsiteY64" fmla="*/ 224504 h 481012"/>
                  <a:gd name="connsiteX65" fmla="*/ 328041 w 3474435"/>
                  <a:gd name="connsiteY65" fmla="*/ 230505 h 481012"/>
                  <a:gd name="connsiteX66" fmla="*/ 351187 w 3474435"/>
                  <a:gd name="connsiteY66" fmla="*/ 230505 h 481012"/>
                  <a:gd name="connsiteX67" fmla="*/ 351187 w 3474435"/>
                  <a:gd name="connsiteY67" fmla="*/ 236601 h 481012"/>
                  <a:gd name="connsiteX68" fmla="*/ 357569 w 3474435"/>
                  <a:gd name="connsiteY68" fmla="*/ 236601 h 481012"/>
                  <a:gd name="connsiteX69" fmla="*/ 357569 w 3474435"/>
                  <a:gd name="connsiteY69" fmla="*/ 242697 h 481012"/>
                  <a:gd name="connsiteX70" fmla="*/ 365951 w 3474435"/>
                  <a:gd name="connsiteY70" fmla="*/ 242697 h 481012"/>
                  <a:gd name="connsiteX71" fmla="*/ 365951 w 3474435"/>
                  <a:gd name="connsiteY71" fmla="*/ 248698 h 481012"/>
                  <a:gd name="connsiteX72" fmla="*/ 374333 w 3474435"/>
                  <a:gd name="connsiteY72" fmla="*/ 248698 h 481012"/>
                  <a:gd name="connsiteX73" fmla="*/ 374333 w 3474435"/>
                  <a:gd name="connsiteY73" fmla="*/ 254794 h 481012"/>
                  <a:gd name="connsiteX74" fmla="*/ 378524 w 3474435"/>
                  <a:gd name="connsiteY74" fmla="*/ 254794 h 481012"/>
                  <a:gd name="connsiteX75" fmla="*/ 378524 w 3474435"/>
                  <a:gd name="connsiteY75" fmla="*/ 260890 h 481012"/>
                  <a:gd name="connsiteX76" fmla="*/ 452152 w 3474435"/>
                  <a:gd name="connsiteY76" fmla="*/ 260890 h 481012"/>
                  <a:gd name="connsiteX77" fmla="*/ 452152 w 3474435"/>
                  <a:gd name="connsiteY77" fmla="*/ 266890 h 481012"/>
                  <a:gd name="connsiteX78" fmla="*/ 473202 w 3474435"/>
                  <a:gd name="connsiteY78" fmla="*/ 266890 h 481012"/>
                  <a:gd name="connsiteX79" fmla="*/ 473202 w 3474435"/>
                  <a:gd name="connsiteY79" fmla="*/ 272986 h 481012"/>
                  <a:gd name="connsiteX80" fmla="*/ 479489 w 3474435"/>
                  <a:gd name="connsiteY80" fmla="*/ 272986 h 481012"/>
                  <a:gd name="connsiteX81" fmla="*/ 479489 w 3474435"/>
                  <a:gd name="connsiteY81" fmla="*/ 279082 h 481012"/>
                  <a:gd name="connsiteX82" fmla="*/ 521589 w 3474435"/>
                  <a:gd name="connsiteY82" fmla="*/ 279082 h 481012"/>
                  <a:gd name="connsiteX83" fmla="*/ 521589 w 3474435"/>
                  <a:gd name="connsiteY83" fmla="*/ 285083 h 481012"/>
                  <a:gd name="connsiteX84" fmla="*/ 536258 w 3474435"/>
                  <a:gd name="connsiteY84" fmla="*/ 285083 h 481012"/>
                  <a:gd name="connsiteX85" fmla="*/ 536258 w 3474435"/>
                  <a:gd name="connsiteY85" fmla="*/ 291179 h 481012"/>
                  <a:gd name="connsiteX86" fmla="*/ 565785 w 3474435"/>
                  <a:gd name="connsiteY86" fmla="*/ 291179 h 481012"/>
                  <a:gd name="connsiteX87" fmla="*/ 565785 w 3474435"/>
                  <a:gd name="connsiteY87" fmla="*/ 297275 h 481012"/>
                  <a:gd name="connsiteX88" fmla="*/ 567881 w 3474435"/>
                  <a:gd name="connsiteY88" fmla="*/ 297275 h 481012"/>
                  <a:gd name="connsiteX89" fmla="*/ 567881 w 3474435"/>
                  <a:gd name="connsiteY89" fmla="*/ 303276 h 481012"/>
                  <a:gd name="connsiteX90" fmla="*/ 590931 w 3474435"/>
                  <a:gd name="connsiteY90" fmla="*/ 303276 h 481012"/>
                  <a:gd name="connsiteX91" fmla="*/ 590931 w 3474435"/>
                  <a:gd name="connsiteY91" fmla="*/ 309372 h 481012"/>
                  <a:gd name="connsiteX92" fmla="*/ 603600 w 3474435"/>
                  <a:gd name="connsiteY92" fmla="*/ 309372 h 481012"/>
                  <a:gd name="connsiteX93" fmla="*/ 603600 w 3474435"/>
                  <a:gd name="connsiteY93" fmla="*/ 315468 h 481012"/>
                  <a:gd name="connsiteX94" fmla="*/ 639318 w 3474435"/>
                  <a:gd name="connsiteY94" fmla="*/ 315468 h 481012"/>
                  <a:gd name="connsiteX95" fmla="*/ 639318 w 3474435"/>
                  <a:gd name="connsiteY95" fmla="*/ 321564 h 481012"/>
                  <a:gd name="connsiteX96" fmla="*/ 755047 w 3474435"/>
                  <a:gd name="connsiteY96" fmla="*/ 321564 h 481012"/>
                  <a:gd name="connsiteX97" fmla="*/ 755047 w 3474435"/>
                  <a:gd name="connsiteY97" fmla="*/ 327565 h 481012"/>
                  <a:gd name="connsiteX98" fmla="*/ 792861 w 3474435"/>
                  <a:gd name="connsiteY98" fmla="*/ 327565 h 481012"/>
                  <a:gd name="connsiteX99" fmla="*/ 792861 w 3474435"/>
                  <a:gd name="connsiteY99" fmla="*/ 333756 h 481012"/>
                  <a:gd name="connsiteX100" fmla="*/ 845439 w 3474435"/>
                  <a:gd name="connsiteY100" fmla="*/ 333756 h 481012"/>
                  <a:gd name="connsiteX101" fmla="*/ 845439 w 3474435"/>
                  <a:gd name="connsiteY101" fmla="*/ 339852 h 481012"/>
                  <a:gd name="connsiteX102" fmla="*/ 864394 w 3474435"/>
                  <a:gd name="connsiteY102" fmla="*/ 339852 h 481012"/>
                  <a:gd name="connsiteX103" fmla="*/ 864394 w 3474435"/>
                  <a:gd name="connsiteY103" fmla="*/ 345948 h 481012"/>
                  <a:gd name="connsiteX104" fmla="*/ 874872 w 3474435"/>
                  <a:gd name="connsiteY104" fmla="*/ 345948 h 481012"/>
                  <a:gd name="connsiteX105" fmla="*/ 874872 w 3474435"/>
                  <a:gd name="connsiteY105" fmla="*/ 352139 h 481012"/>
                  <a:gd name="connsiteX106" fmla="*/ 908590 w 3474435"/>
                  <a:gd name="connsiteY106" fmla="*/ 352139 h 481012"/>
                  <a:gd name="connsiteX107" fmla="*/ 908590 w 3474435"/>
                  <a:gd name="connsiteY107" fmla="*/ 358235 h 481012"/>
                  <a:gd name="connsiteX108" fmla="*/ 914877 w 3474435"/>
                  <a:gd name="connsiteY108" fmla="*/ 358235 h 481012"/>
                  <a:gd name="connsiteX109" fmla="*/ 914877 w 3474435"/>
                  <a:gd name="connsiteY109" fmla="*/ 364331 h 481012"/>
                  <a:gd name="connsiteX110" fmla="*/ 929545 w 3474435"/>
                  <a:gd name="connsiteY110" fmla="*/ 364331 h 481012"/>
                  <a:gd name="connsiteX111" fmla="*/ 929545 w 3474435"/>
                  <a:gd name="connsiteY111" fmla="*/ 370427 h 481012"/>
                  <a:gd name="connsiteX112" fmla="*/ 942213 w 3474435"/>
                  <a:gd name="connsiteY112" fmla="*/ 370427 h 481012"/>
                  <a:gd name="connsiteX113" fmla="*/ 942213 w 3474435"/>
                  <a:gd name="connsiteY113" fmla="*/ 376618 h 481012"/>
                  <a:gd name="connsiteX114" fmla="*/ 967455 w 3474435"/>
                  <a:gd name="connsiteY114" fmla="*/ 376618 h 481012"/>
                  <a:gd name="connsiteX115" fmla="*/ 967455 w 3474435"/>
                  <a:gd name="connsiteY115" fmla="*/ 382714 h 481012"/>
                  <a:gd name="connsiteX116" fmla="*/ 1196721 w 3474435"/>
                  <a:gd name="connsiteY116" fmla="*/ 382714 h 481012"/>
                  <a:gd name="connsiteX117" fmla="*/ 1196721 w 3474435"/>
                  <a:gd name="connsiteY117" fmla="*/ 388906 h 481012"/>
                  <a:gd name="connsiteX118" fmla="*/ 1310259 w 3474435"/>
                  <a:gd name="connsiteY118" fmla="*/ 388906 h 481012"/>
                  <a:gd name="connsiteX119" fmla="*/ 1310259 w 3474435"/>
                  <a:gd name="connsiteY119" fmla="*/ 395097 h 481012"/>
                  <a:gd name="connsiteX120" fmla="*/ 1579436 w 3474435"/>
                  <a:gd name="connsiteY120" fmla="*/ 395097 h 481012"/>
                  <a:gd name="connsiteX121" fmla="*/ 1579436 w 3474435"/>
                  <a:gd name="connsiteY121" fmla="*/ 401383 h 481012"/>
                  <a:gd name="connsiteX122" fmla="*/ 1653064 w 3474435"/>
                  <a:gd name="connsiteY122" fmla="*/ 401383 h 481012"/>
                  <a:gd name="connsiteX123" fmla="*/ 1653064 w 3474435"/>
                  <a:gd name="connsiteY123" fmla="*/ 407670 h 481012"/>
                  <a:gd name="connsiteX124" fmla="*/ 1732979 w 3474435"/>
                  <a:gd name="connsiteY124" fmla="*/ 407670 h 481012"/>
                  <a:gd name="connsiteX125" fmla="*/ 1732979 w 3474435"/>
                  <a:gd name="connsiteY125" fmla="*/ 413956 h 481012"/>
                  <a:gd name="connsiteX126" fmla="*/ 1894904 w 3474435"/>
                  <a:gd name="connsiteY126" fmla="*/ 413956 h 481012"/>
                  <a:gd name="connsiteX127" fmla="*/ 1894904 w 3474435"/>
                  <a:gd name="connsiteY127" fmla="*/ 420433 h 481012"/>
                  <a:gd name="connsiteX128" fmla="*/ 1911763 w 3474435"/>
                  <a:gd name="connsiteY128" fmla="*/ 420433 h 481012"/>
                  <a:gd name="connsiteX129" fmla="*/ 1911763 w 3474435"/>
                  <a:gd name="connsiteY129" fmla="*/ 426815 h 481012"/>
                  <a:gd name="connsiteX130" fmla="*/ 2029587 w 3474435"/>
                  <a:gd name="connsiteY130" fmla="*/ 426815 h 481012"/>
                  <a:gd name="connsiteX131" fmla="*/ 2029587 w 3474435"/>
                  <a:gd name="connsiteY131" fmla="*/ 433292 h 481012"/>
                  <a:gd name="connsiteX132" fmla="*/ 2122075 w 3474435"/>
                  <a:gd name="connsiteY132" fmla="*/ 433292 h 481012"/>
                  <a:gd name="connsiteX133" fmla="*/ 2122075 w 3474435"/>
                  <a:gd name="connsiteY133" fmla="*/ 439674 h 481012"/>
                  <a:gd name="connsiteX134" fmla="*/ 2141030 w 3474435"/>
                  <a:gd name="connsiteY134" fmla="*/ 439674 h 481012"/>
                  <a:gd name="connsiteX135" fmla="*/ 2141030 w 3474435"/>
                  <a:gd name="connsiteY135" fmla="*/ 446151 h 481012"/>
                  <a:gd name="connsiteX136" fmla="*/ 2994851 w 3474435"/>
                  <a:gd name="connsiteY136" fmla="*/ 446151 h 481012"/>
                  <a:gd name="connsiteX137" fmla="*/ 2994851 w 3474435"/>
                  <a:gd name="connsiteY137" fmla="*/ 481012 h 481012"/>
                  <a:gd name="connsiteX138" fmla="*/ 3474435 w 3474435"/>
                  <a:gd name="connsiteY138" fmla="*/ 481012 h 481012"/>
                  <a:gd name="connsiteX0" fmla="*/ 0 w 3474435"/>
                  <a:gd name="connsiteY0" fmla="*/ 0 h 474916"/>
                  <a:gd name="connsiteX1" fmla="*/ 14669 w 3474435"/>
                  <a:gd name="connsiteY1" fmla="*/ 0 h 474916"/>
                  <a:gd name="connsiteX2" fmla="*/ 14669 w 3474435"/>
                  <a:gd name="connsiteY2" fmla="*/ 6001 h 474916"/>
                  <a:gd name="connsiteX3" fmla="*/ 18955 w 3474435"/>
                  <a:gd name="connsiteY3" fmla="*/ 6001 h 474916"/>
                  <a:gd name="connsiteX4" fmla="*/ 18955 w 3474435"/>
                  <a:gd name="connsiteY4" fmla="*/ 12097 h 474916"/>
                  <a:gd name="connsiteX5" fmla="*/ 29432 w 3474435"/>
                  <a:gd name="connsiteY5" fmla="*/ 12097 h 474916"/>
                  <a:gd name="connsiteX6" fmla="*/ 29432 w 3474435"/>
                  <a:gd name="connsiteY6" fmla="*/ 18193 h 474916"/>
                  <a:gd name="connsiteX7" fmla="*/ 37815 w 3474435"/>
                  <a:gd name="connsiteY7" fmla="*/ 18193 h 474916"/>
                  <a:gd name="connsiteX8" fmla="*/ 37815 w 3474435"/>
                  <a:gd name="connsiteY8" fmla="*/ 24289 h 474916"/>
                  <a:gd name="connsiteX9" fmla="*/ 52578 w 3474435"/>
                  <a:gd name="connsiteY9" fmla="*/ 24289 h 474916"/>
                  <a:gd name="connsiteX10" fmla="*/ 52578 w 3474435"/>
                  <a:gd name="connsiteY10" fmla="*/ 30289 h 474916"/>
                  <a:gd name="connsiteX11" fmla="*/ 56769 w 3474435"/>
                  <a:gd name="connsiteY11" fmla="*/ 30289 h 474916"/>
                  <a:gd name="connsiteX12" fmla="*/ 56769 w 3474435"/>
                  <a:gd name="connsiteY12" fmla="*/ 36385 h 474916"/>
                  <a:gd name="connsiteX13" fmla="*/ 60960 w 3474435"/>
                  <a:gd name="connsiteY13" fmla="*/ 36385 h 474916"/>
                  <a:gd name="connsiteX14" fmla="*/ 60960 w 3474435"/>
                  <a:gd name="connsiteY14" fmla="*/ 42481 h 474916"/>
                  <a:gd name="connsiteX15" fmla="*/ 73629 w 3474435"/>
                  <a:gd name="connsiteY15" fmla="*/ 42481 h 474916"/>
                  <a:gd name="connsiteX16" fmla="*/ 73629 w 3474435"/>
                  <a:gd name="connsiteY16" fmla="*/ 48482 h 474916"/>
                  <a:gd name="connsiteX17" fmla="*/ 103061 w 3474435"/>
                  <a:gd name="connsiteY17" fmla="*/ 48482 h 474916"/>
                  <a:gd name="connsiteX18" fmla="*/ 103061 w 3474435"/>
                  <a:gd name="connsiteY18" fmla="*/ 54578 h 474916"/>
                  <a:gd name="connsiteX19" fmla="*/ 111443 w 3474435"/>
                  <a:gd name="connsiteY19" fmla="*/ 54578 h 474916"/>
                  <a:gd name="connsiteX20" fmla="*/ 111443 w 3474435"/>
                  <a:gd name="connsiteY20" fmla="*/ 60674 h 474916"/>
                  <a:gd name="connsiteX21" fmla="*/ 113538 w 3474435"/>
                  <a:gd name="connsiteY21" fmla="*/ 60674 h 474916"/>
                  <a:gd name="connsiteX22" fmla="*/ 113538 w 3474435"/>
                  <a:gd name="connsiteY22" fmla="*/ 66675 h 474916"/>
                  <a:gd name="connsiteX23" fmla="*/ 128302 w 3474435"/>
                  <a:gd name="connsiteY23" fmla="*/ 66675 h 474916"/>
                  <a:gd name="connsiteX24" fmla="*/ 128302 w 3474435"/>
                  <a:gd name="connsiteY24" fmla="*/ 78867 h 474916"/>
                  <a:gd name="connsiteX25" fmla="*/ 130398 w 3474435"/>
                  <a:gd name="connsiteY25" fmla="*/ 78867 h 474916"/>
                  <a:gd name="connsiteX26" fmla="*/ 130398 w 3474435"/>
                  <a:gd name="connsiteY26" fmla="*/ 84868 h 474916"/>
                  <a:gd name="connsiteX27" fmla="*/ 136684 w 3474435"/>
                  <a:gd name="connsiteY27" fmla="*/ 84868 h 474916"/>
                  <a:gd name="connsiteX28" fmla="*/ 136684 w 3474435"/>
                  <a:gd name="connsiteY28" fmla="*/ 90964 h 474916"/>
                  <a:gd name="connsiteX29" fmla="*/ 140875 w 3474435"/>
                  <a:gd name="connsiteY29" fmla="*/ 90964 h 474916"/>
                  <a:gd name="connsiteX30" fmla="*/ 140875 w 3474435"/>
                  <a:gd name="connsiteY30" fmla="*/ 97060 h 474916"/>
                  <a:gd name="connsiteX31" fmla="*/ 157734 w 3474435"/>
                  <a:gd name="connsiteY31" fmla="*/ 97060 h 474916"/>
                  <a:gd name="connsiteX32" fmla="*/ 157734 w 3474435"/>
                  <a:gd name="connsiteY32" fmla="*/ 109156 h 474916"/>
                  <a:gd name="connsiteX33" fmla="*/ 161925 w 3474435"/>
                  <a:gd name="connsiteY33" fmla="*/ 109156 h 474916"/>
                  <a:gd name="connsiteX34" fmla="*/ 161925 w 3474435"/>
                  <a:gd name="connsiteY34" fmla="*/ 115252 h 474916"/>
                  <a:gd name="connsiteX35" fmla="*/ 185071 w 3474435"/>
                  <a:gd name="connsiteY35" fmla="*/ 115252 h 474916"/>
                  <a:gd name="connsiteX36" fmla="*/ 185071 w 3474435"/>
                  <a:gd name="connsiteY36" fmla="*/ 121348 h 474916"/>
                  <a:gd name="connsiteX37" fmla="*/ 189262 w 3474435"/>
                  <a:gd name="connsiteY37" fmla="*/ 121348 h 474916"/>
                  <a:gd name="connsiteX38" fmla="*/ 189262 w 3474435"/>
                  <a:gd name="connsiteY38" fmla="*/ 127349 h 474916"/>
                  <a:gd name="connsiteX39" fmla="*/ 195549 w 3474435"/>
                  <a:gd name="connsiteY39" fmla="*/ 127349 h 474916"/>
                  <a:gd name="connsiteX40" fmla="*/ 195549 w 3474435"/>
                  <a:gd name="connsiteY40" fmla="*/ 139541 h 474916"/>
                  <a:gd name="connsiteX41" fmla="*/ 214503 w 3474435"/>
                  <a:gd name="connsiteY41" fmla="*/ 139541 h 474916"/>
                  <a:gd name="connsiteX42" fmla="*/ 214503 w 3474435"/>
                  <a:gd name="connsiteY42" fmla="*/ 145542 h 474916"/>
                  <a:gd name="connsiteX43" fmla="*/ 222885 w 3474435"/>
                  <a:gd name="connsiteY43" fmla="*/ 145542 h 474916"/>
                  <a:gd name="connsiteX44" fmla="*/ 222885 w 3474435"/>
                  <a:gd name="connsiteY44" fmla="*/ 151638 h 474916"/>
                  <a:gd name="connsiteX45" fmla="*/ 235554 w 3474435"/>
                  <a:gd name="connsiteY45" fmla="*/ 151638 h 474916"/>
                  <a:gd name="connsiteX46" fmla="*/ 235554 w 3474435"/>
                  <a:gd name="connsiteY46" fmla="*/ 157734 h 474916"/>
                  <a:gd name="connsiteX47" fmla="*/ 252413 w 3474435"/>
                  <a:gd name="connsiteY47" fmla="*/ 157734 h 474916"/>
                  <a:gd name="connsiteX48" fmla="*/ 252413 w 3474435"/>
                  <a:gd name="connsiteY48" fmla="*/ 163735 h 474916"/>
                  <a:gd name="connsiteX49" fmla="*/ 279750 w 3474435"/>
                  <a:gd name="connsiteY49" fmla="*/ 163735 h 474916"/>
                  <a:gd name="connsiteX50" fmla="*/ 279750 w 3474435"/>
                  <a:gd name="connsiteY50" fmla="*/ 169831 h 474916"/>
                  <a:gd name="connsiteX51" fmla="*/ 281845 w 3474435"/>
                  <a:gd name="connsiteY51" fmla="*/ 169831 h 474916"/>
                  <a:gd name="connsiteX52" fmla="*/ 281845 w 3474435"/>
                  <a:gd name="connsiteY52" fmla="*/ 175927 h 474916"/>
                  <a:gd name="connsiteX53" fmla="*/ 292322 w 3474435"/>
                  <a:gd name="connsiteY53" fmla="*/ 175927 h 474916"/>
                  <a:gd name="connsiteX54" fmla="*/ 292322 w 3474435"/>
                  <a:gd name="connsiteY54" fmla="*/ 181927 h 474916"/>
                  <a:gd name="connsiteX55" fmla="*/ 298609 w 3474435"/>
                  <a:gd name="connsiteY55" fmla="*/ 181927 h 474916"/>
                  <a:gd name="connsiteX56" fmla="*/ 298609 w 3474435"/>
                  <a:gd name="connsiteY56" fmla="*/ 194119 h 474916"/>
                  <a:gd name="connsiteX57" fmla="*/ 307086 w 3474435"/>
                  <a:gd name="connsiteY57" fmla="*/ 194119 h 474916"/>
                  <a:gd name="connsiteX58" fmla="*/ 307086 w 3474435"/>
                  <a:gd name="connsiteY58" fmla="*/ 200120 h 474916"/>
                  <a:gd name="connsiteX59" fmla="*/ 313373 w 3474435"/>
                  <a:gd name="connsiteY59" fmla="*/ 200120 h 474916"/>
                  <a:gd name="connsiteX60" fmla="*/ 313373 w 3474435"/>
                  <a:gd name="connsiteY60" fmla="*/ 212312 h 474916"/>
                  <a:gd name="connsiteX61" fmla="*/ 315468 w 3474435"/>
                  <a:gd name="connsiteY61" fmla="*/ 212312 h 474916"/>
                  <a:gd name="connsiteX62" fmla="*/ 315468 w 3474435"/>
                  <a:gd name="connsiteY62" fmla="*/ 218408 h 474916"/>
                  <a:gd name="connsiteX63" fmla="*/ 328041 w 3474435"/>
                  <a:gd name="connsiteY63" fmla="*/ 218408 h 474916"/>
                  <a:gd name="connsiteX64" fmla="*/ 328041 w 3474435"/>
                  <a:gd name="connsiteY64" fmla="*/ 224409 h 474916"/>
                  <a:gd name="connsiteX65" fmla="*/ 351187 w 3474435"/>
                  <a:gd name="connsiteY65" fmla="*/ 224409 h 474916"/>
                  <a:gd name="connsiteX66" fmla="*/ 351187 w 3474435"/>
                  <a:gd name="connsiteY66" fmla="*/ 230505 h 474916"/>
                  <a:gd name="connsiteX67" fmla="*/ 357569 w 3474435"/>
                  <a:gd name="connsiteY67" fmla="*/ 230505 h 474916"/>
                  <a:gd name="connsiteX68" fmla="*/ 357569 w 3474435"/>
                  <a:gd name="connsiteY68" fmla="*/ 236601 h 474916"/>
                  <a:gd name="connsiteX69" fmla="*/ 365951 w 3474435"/>
                  <a:gd name="connsiteY69" fmla="*/ 236601 h 474916"/>
                  <a:gd name="connsiteX70" fmla="*/ 365951 w 3474435"/>
                  <a:gd name="connsiteY70" fmla="*/ 242602 h 474916"/>
                  <a:gd name="connsiteX71" fmla="*/ 374333 w 3474435"/>
                  <a:gd name="connsiteY71" fmla="*/ 242602 h 474916"/>
                  <a:gd name="connsiteX72" fmla="*/ 374333 w 3474435"/>
                  <a:gd name="connsiteY72" fmla="*/ 248698 h 474916"/>
                  <a:gd name="connsiteX73" fmla="*/ 378524 w 3474435"/>
                  <a:gd name="connsiteY73" fmla="*/ 248698 h 474916"/>
                  <a:gd name="connsiteX74" fmla="*/ 378524 w 3474435"/>
                  <a:gd name="connsiteY74" fmla="*/ 254794 h 474916"/>
                  <a:gd name="connsiteX75" fmla="*/ 452152 w 3474435"/>
                  <a:gd name="connsiteY75" fmla="*/ 254794 h 474916"/>
                  <a:gd name="connsiteX76" fmla="*/ 452152 w 3474435"/>
                  <a:gd name="connsiteY76" fmla="*/ 260794 h 474916"/>
                  <a:gd name="connsiteX77" fmla="*/ 473202 w 3474435"/>
                  <a:gd name="connsiteY77" fmla="*/ 260794 h 474916"/>
                  <a:gd name="connsiteX78" fmla="*/ 473202 w 3474435"/>
                  <a:gd name="connsiteY78" fmla="*/ 266890 h 474916"/>
                  <a:gd name="connsiteX79" fmla="*/ 479489 w 3474435"/>
                  <a:gd name="connsiteY79" fmla="*/ 266890 h 474916"/>
                  <a:gd name="connsiteX80" fmla="*/ 479489 w 3474435"/>
                  <a:gd name="connsiteY80" fmla="*/ 272986 h 474916"/>
                  <a:gd name="connsiteX81" fmla="*/ 521589 w 3474435"/>
                  <a:gd name="connsiteY81" fmla="*/ 272986 h 474916"/>
                  <a:gd name="connsiteX82" fmla="*/ 521589 w 3474435"/>
                  <a:gd name="connsiteY82" fmla="*/ 278987 h 474916"/>
                  <a:gd name="connsiteX83" fmla="*/ 536258 w 3474435"/>
                  <a:gd name="connsiteY83" fmla="*/ 278987 h 474916"/>
                  <a:gd name="connsiteX84" fmla="*/ 536258 w 3474435"/>
                  <a:gd name="connsiteY84" fmla="*/ 285083 h 474916"/>
                  <a:gd name="connsiteX85" fmla="*/ 565785 w 3474435"/>
                  <a:gd name="connsiteY85" fmla="*/ 285083 h 474916"/>
                  <a:gd name="connsiteX86" fmla="*/ 565785 w 3474435"/>
                  <a:gd name="connsiteY86" fmla="*/ 291179 h 474916"/>
                  <a:gd name="connsiteX87" fmla="*/ 567881 w 3474435"/>
                  <a:gd name="connsiteY87" fmla="*/ 291179 h 474916"/>
                  <a:gd name="connsiteX88" fmla="*/ 567881 w 3474435"/>
                  <a:gd name="connsiteY88" fmla="*/ 297180 h 474916"/>
                  <a:gd name="connsiteX89" fmla="*/ 590931 w 3474435"/>
                  <a:gd name="connsiteY89" fmla="*/ 297180 h 474916"/>
                  <a:gd name="connsiteX90" fmla="*/ 590931 w 3474435"/>
                  <a:gd name="connsiteY90" fmla="*/ 303276 h 474916"/>
                  <a:gd name="connsiteX91" fmla="*/ 603600 w 3474435"/>
                  <a:gd name="connsiteY91" fmla="*/ 303276 h 474916"/>
                  <a:gd name="connsiteX92" fmla="*/ 603600 w 3474435"/>
                  <a:gd name="connsiteY92" fmla="*/ 309372 h 474916"/>
                  <a:gd name="connsiteX93" fmla="*/ 639318 w 3474435"/>
                  <a:gd name="connsiteY93" fmla="*/ 309372 h 474916"/>
                  <a:gd name="connsiteX94" fmla="*/ 639318 w 3474435"/>
                  <a:gd name="connsiteY94" fmla="*/ 315468 h 474916"/>
                  <a:gd name="connsiteX95" fmla="*/ 755047 w 3474435"/>
                  <a:gd name="connsiteY95" fmla="*/ 315468 h 474916"/>
                  <a:gd name="connsiteX96" fmla="*/ 755047 w 3474435"/>
                  <a:gd name="connsiteY96" fmla="*/ 321469 h 474916"/>
                  <a:gd name="connsiteX97" fmla="*/ 792861 w 3474435"/>
                  <a:gd name="connsiteY97" fmla="*/ 321469 h 474916"/>
                  <a:gd name="connsiteX98" fmla="*/ 792861 w 3474435"/>
                  <a:gd name="connsiteY98" fmla="*/ 327660 h 474916"/>
                  <a:gd name="connsiteX99" fmla="*/ 845439 w 3474435"/>
                  <a:gd name="connsiteY99" fmla="*/ 327660 h 474916"/>
                  <a:gd name="connsiteX100" fmla="*/ 845439 w 3474435"/>
                  <a:gd name="connsiteY100" fmla="*/ 333756 h 474916"/>
                  <a:gd name="connsiteX101" fmla="*/ 864394 w 3474435"/>
                  <a:gd name="connsiteY101" fmla="*/ 333756 h 474916"/>
                  <a:gd name="connsiteX102" fmla="*/ 864394 w 3474435"/>
                  <a:gd name="connsiteY102" fmla="*/ 339852 h 474916"/>
                  <a:gd name="connsiteX103" fmla="*/ 874872 w 3474435"/>
                  <a:gd name="connsiteY103" fmla="*/ 339852 h 474916"/>
                  <a:gd name="connsiteX104" fmla="*/ 874872 w 3474435"/>
                  <a:gd name="connsiteY104" fmla="*/ 346043 h 474916"/>
                  <a:gd name="connsiteX105" fmla="*/ 908590 w 3474435"/>
                  <a:gd name="connsiteY105" fmla="*/ 346043 h 474916"/>
                  <a:gd name="connsiteX106" fmla="*/ 908590 w 3474435"/>
                  <a:gd name="connsiteY106" fmla="*/ 352139 h 474916"/>
                  <a:gd name="connsiteX107" fmla="*/ 914877 w 3474435"/>
                  <a:gd name="connsiteY107" fmla="*/ 352139 h 474916"/>
                  <a:gd name="connsiteX108" fmla="*/ 914877 w 3474435"/>
                  <a:gd name="connsiteY108" fmla="*/ 358235 h 474916"/>
                  <a:gd name="connsiteX109" fmla="*/ 929545 w 3474435"/>
                  <a:gd name="connsiteY109" fmla="*/ 358235 h 474916"/>
                  <a:gd name="connsiteX110" fmla="*/ 929545 w 3474435"/>
                  <a:gd name="connsiteY110" fmla="*/ 364331 h 474916"/>
                  <a:gd name="connsiteX111" fmla="*/ 942213 w 3474435"/>
                  <a:gd name="connsiteY111" fmla="*/ 364331 h 474916"/>
                  <a:gd name="connsiteX112" fmla="*/ 942213 w 3474435"/>
                  <a:gd name="connsiteY112" fmla="*/ 370522 h 474916"/>
                  <a:gd name="connsiteX113" fmla="*/ 967455 w 3474435"/>
                  <a:gd name="connsiteY113" fmla="*/ 370522 h 474916"/>
                  <a:gd name="connsiteX114" fmla="*/ 967455 w 3474435"/>
                  <a:gd name="connsiteY114" fmla="*/ 376618 h 474916"/>
                  <a:gd name="connsiteX115" fmla="*/ 1196721 w 3474435"/>
                  <a:gd name="connsiteY115" fmla="*/ 376618 h 474916"/>
                  <a:gd name="connsiteX116" fmla="*/ 1196721 w 3474435"/>
                  <a:gd name="connsiteY116" fmla="*/ 382810 h 474916"/>
                  <a:gd name="connsiteX117" fmla="*/ 1310259 w 3474435"/>
                  <a:gd name="connsiteY117" fmla="*/ 382810 h 474916"/>
                  <a:gd name="connsiteX118" fmla="*/ 1310259 w 3474435"/>
                  <a:gd name="connsiteY118" fmla="*/ 389001 h 474916"/>
                  <a:gd name="connsiteX119" fmla="*/ 1579436 w 3474435"/>
                  <a:gd name="connsiteY119" fmla="*/ 389001 h 474916"/>
                  <a:gd name="connsiteX120" fmla="*/ 1579436 w 3474435"/>
                  <a:gd name="connsiteY120" fmla="*/ 395287 h 474916"/>
                  <a:gd name="connsiteX121" fmla="*/ 1653064 w 3474435"/>
                  <a:gd name="connsiteY121" fmla="*/ 395287 h 474916"/>
                  <a:gd name="connsiteX122" fmla="*/ 1653064 w 3474435"/>
                  <a:gd name="connsiteY122" fmla="*/ 401574 h 474916"/>
                  <a:gd name="connsiteX123" fmla="*/ 1732979 w 3474435"/>
                  <a:gd name="connsiteY123" fmla="*/ 401574 h 474916"/>
                  <a:gd name="connsiteX124" fmla="*/ 1732979 w 3474435"/>
                  <a:gd name="connsiteY124" fmla="*/ 407860 h 474916"/>
                  <a:gd name="connsiteX125" fmla="*/ 1894904 w 3474435"/>
                  <a:gd name="connsiteY125" fmla="*/ 407860 h 474916"/>
                  <a:gd name="connsiteX126" fmla="*/ 1894904 w 3474435"/>
                  <a:gd name="connsiteY126" fmla="*/ 414337 h 474916"/>
                  <a:gd name="connsiteX127" fmla="*/ 1911763 w 3474435"/>
                  <a:gd name="connsiteY127" fmla="*/ 414337 h 474916"/>
                  <a:gd name="connsiteX128" fmla="*/ 1911763 w 3474435"/>
                  <a:gd name="connsiteY128" fmla="*/ 420719 h 474916"/>
                  <a:gd name="connsiteX129" fmla="*/ 2029587 w 3474435"/>
                  <a:gd name="connsiteY129" fmla="*/ 420719 h 474916"/>
                  <a:gd name="connsiteX130" fmla="*/ 2029587 w 3474435"/>
                  <a:gd name="connsiteY130" fmla="*/ 427196 h 474916"/>
                  <a:gd name="connsiteX131" fmla="*/ 2122075 w 3474435"/>
                  <a:gd name="connsiteY131" fmla="*/ 427196 h 474916"/>
                  <a:gd name="connsiteX132" fmla="*/ 2122075 w 3474435"/>
                  <a:gd name="connsiteY132" fmla="*/ 433578 h 474916"/>
                  <a:gd name="connsiteX133" fmla="*/ 2141030 w 3474435"/>
                  <a:gd name="connsiteY133" fmla="*/ 433578 h 474916"/>
                  <a:gd name="connsiteX134" fmla="*/ 2141030 w 3474435"/>
                  <a:gd name="connsiteY134" fmla="*/ 440055 h 474916"/>
                  <a:gd name="connsiteX135" fmla="*/ 2994851 w 3474435"/>
                  <a:gd name="connsiteY135" fmla="*/ 440055 h 474916"/>
                  <a:gd name="connsiteX136" fmla="*/ 2994851 w 3474435"/>
                  <a:gd name="connsiteY136" fmla="*/ 474916 h 474916"/>
                  <a:gd name="connsiteX137" fmla="*/ 3474435 w 3474435"/>
                  <a:gd name="connsiteY137" fmla="*/ 474916 h 474916"/>
                  <a:gd name="connsiteX0" fmla="*/ 0 w 3474435"/>
                  <a:gd name="connsiteY0" fmla="*/ 0 h 474916"/>
                  <a:gd name="connsiteX1" fmla="*/ 14669 w 3474435"/>
                  <a:gd name="connsiteY1" fmla="*/ 6001 h 474916"/>
                  <a:gd name="connsiteX2" fmla="*/ 18955 w 3474435"/>
                  <a:gd name="connsiteY2" fmla="*/ 6001 h 474916"/>
                  <a:gd name="connsiteX3" fmla="*/ 18955 w 3474435"/>
                  <a:gd name="connsiteY3" fmla="*/ 12097 h 474916"/>
                  <a:gd name="connsiteX4" fmla="*/ 29432 w 3474435"/>
                  <a:gd name="connsiteY4" fmla="*/ 12097 h 474916"/>
                  <a:gd name="connsiteX5" fmla="*/ 29432 w 3474435"/>
                  <a:gd name="connsiteY5" fmla="*/ 18193 h 474916"/>
                  <a:gd name="connsiteX6" fmla="*/ 37815 w 3474435"/>
                  <a:gd name="connsiteY6" fmla="*/ 18193 h 474916"/>
                  <a:gd name="connsiteX7" fmla="*/ 37815 w 3474435"/>
                  <a:gd name="connsiteY7" fmla="*/ 24289 h 474916"/>
                  <a:gd name="connsiteX8" fmla="*/ 52578 w 3474435"/>
                  <a:gd name="connsiteY8" fmla="*/ 24289 h 474916"/>
                  <a:gd name="connsiteX9" fmla="*/ 52578 w 3474435"/>
                  <a:gd name="connsiteY9" fmla="*/ 30289 h 474916"/>
                  <a:gd name="connsiteX10" fmla="*/ 56769 w 3474435"/>
                  <a:gd name="connsiteY10" fmla="*/ 30289 h 474916"/>
                  <a:gd name="connsiteX11" fmla="*/ 56769 w 3474435"/>
                  <a:gd name="connsiteY11" fmla="*/ 36385 h 474916"/>
                  <a:gd name="connsiteX12" fmla="*/ 60960 w 3474435"/>
                  <a:gd name="connsiteY12" fmla="*/ 36385 h 474916"/>
                  <a:gd name="connsiteX13" fmla="*/ 60960 w 3474435"/>
                  <a:gd name="connsiteY13" fmla="*/ 42481 h 474916"/>
                  <a:gd name="connsiteX14" fmla="*/ 73629 w 3474435"/>
                  <a:gd name="connsiteY14" fmla="*/ 42481 h 474916"/>
                  <a:gd name="connsiteX15" fmla="*/ 73629 w 3474435"/>
                  <a:gd name="connsiteY15" fmla="*/ 48482 h 474916"/>
                  <a:gd name="connsiteX16" fmla="*/ 103061 w 3474435"/>
                  <a:gd name="connsiteY16" fmla="*/ 48482 h 474916"/>
                  <a:gd name="connsiteX17" fmla="*/ 103061 w 3474435"/>
                  <a:gd name="connsiteY17" fmla="*/ 54578 h 474916"/>
                  <a:gd name="connsiteX18" fmla="*/ 111443 w 3474435"/>
                  <a:gd name="connsiteY18" fmla="*/ 54578 h 474916"/>
                  <a:gd name="connsiteX19" fmla="*/ 111443 w 3474435"/>
                  <a:gd name="connsiteY19" fmla="*/ 60674 h 474916"/>
                  <a:gd name="connsiteX20" fmla="*/ 113538 w 3474435"/>
                  <a:gd name="connsiteY20" fmla="*/ 60674 h 474916"/>
                  <a:gd name="connsiteX21" fmla="*/ 113538 w 3474435"/>
                  <a:gd name="connsiteY21" fmla="*/ 66675 h 474916"/>
                  <a:gd name="connsiteX22" fmla="*/ 128302 w 3474435"/>
                  <a:gd name="connsiteY22" fmla="*/ 66675 h 474916"/>
                  <a:gd name="connsiteX23" fmla="*/ 128302 w 3474435"/>
                  <a:gd name="connsiteY23" fmla="*/ 78867 h 474916"/>
                  <a:gd name="connsiteX24" fmla="*/ 130398 w 3474435"/>
                  <a:gd name="connsiteY24" fmla="*/ 78867 h 474916"/>
                  <a:gd name="connsiteX25" fmla="*/ 130398 w 3474435"/>
                  <a:gd name="connsiteY25" fmla="*/ 84868 h 474916"/>
                  <a:gd name="connsiteX26" fmla="*/ 136684 w 3474435"/>
                  <a:gd name="connsiteY26" fmla="*/ 84868 h 474916"/>
                  <a:gd name="connsiteX27" fmla="*/ 136684 w 3474435"/>
                  <a:gd name="connsiteY27" fmla="*/ 90964 h 474916"/>
                  <a:gd name="connsiteX28" fmla="*/ 140875 w 3474435"/>
                  <a:gd name="connsiteY28" fmla="*/ 90964 h 474916"/>
                  <a:gd name="connsiteX29" fmla="*/ 140875 w 3474435"/>
                  <a:gd name="connsiteY29" fmla="*/ 97060 h 474916"/>
                  <a:gd name="connsiteX30" fmla="*/ 157734 w 3474435"/>
                  <a:gd name="connsiteY30" fmla="*/ 97060 h 474916"/>
                  <a:gd name="connsiteX31" fmla="*/ 157734 w 3474435"/>
                  <a:gd name="connsiteY31" fmla="*/ 109156 h 474916"/>
                  <a:gd name="connsiteX32" fmla="*/ 161925 w 3474435"/>
                  <a:gd name="connsiteY32" fmla="*/ 109156 h 474916"/>
                  <a:gd name="connsiteX33" fmla="*/ 161925 w 3474435"/>
                  <a:gd name="connsiteY33" fmla="*/ 115252 h 474916"/>
                  <a:gd name="connsiteX34" fmla="*/ 185071 w 3474435"/>
                  <a:gd name="connsiteY34" fmla="*/ 115252 h 474916"/>
                  <a:gd name="connsiteX35" fmla="*/ 185071 w 3474435"/>
                  <a:gd name="connsiteY35" fmla="*/ 121348 h 474916"/>
                  <a:gd name="connsiteX36" fmla="*/ 189262 w 3474435"/>
                  <a:gd name="connsiteY36" fmla="*/ 121348 h 474916"/>
                  <a:gd name="connsiteX37" fmla="*/ 189262 w 3474435"/>
                  <a:gd name="connsiteY37" fmla="*/ 127349 h 474916"/>
                  <a:gd name="connsiteX38" fmla="*/ 195549 w 3474435"/>
                  <a:gd name="connsiteY38" fmla="*/ 127349 h 474916"/>
                  <a:gd name="connsiteX39" fmla="*/ 195549 w 3474435"/>
                  <a:gd name="connsiteY39" fmla="*/ 139541 h 474916"/>
                  <a:gd name="connsiteX40" fmla="*/ 214503 w 3474435"/>
                  <a:gd name="connsiteY40" fmla="*/ 139541 h 474916"/>
                  <a:gd name="connsiteX41" fmla="*/ 214503 w 3474435"/>
                  <a:gd name="connsiteY41" fmla="*/ 145542 h 474916"/>
                  <a:gd name="connsiteX42" fmla="*/ 222885 w 3474435"/>
                  <a:gd name="connsiteY42" fmla="*/ 145542 h 474916"/>
                  <a:gd name="connsiteX43" fmla="*/ 222885 w 3474435"/>
                  <a:gd name="connsiteY43" fmla="*/ 151638 h 474916"/>
                  <a:gd name="connsiteX44" fmla="*/ 235554 w 3474435"/>
                  <a:gd name="connsiteY44" fmla="*/ 151638 h 474916"/>
                  <a:gd name="connsiteX45" fmla="*/ 235554 w 3474435"/>
                  <a:gd name="connsiteY45" fmla="*/ 157734 h 474916"/>
                  <a:gd name="connsiteX46" fmla="*/ 252413 w 3474435"/>
                  <a:gd name="connsiteY46" fmla="*/ 157734 h 474916"/>
                  <a:gd name="connsiteX47" fmla="*/ 252413 w 3474435"/>
                  <a:gd name="connsiteY47" fmla="*/ 163735 h 474916"/>
                  <a:gd name="connsiteX48" fmla="*/ 279750 w 3474435"/>
                  <a:gd name="connsiteY48" fmla="*/ 163735 h 474916"/>
                  <a:gd name="connsiteX49" fmla="*/ 279750 w 3474435"/>
                  <a:gd name="connsiteY49" fmla="*/ 169831 h 474916"/>
                  <a:gd name="connsiteX50" fmla="*/ 281845 w 3474435"/>
                  <a:gd name="connsiteY50" fmla="*/ 169831 h 474916"/>
                  <a:gd name="connsiteX51" fmla="*/ 281845 w 3474435"/>
                  <a:gd name="connsiteY51" fmla="*/ 175927 h 474916"/>
                  <a:gd name="connsiteX52" fmla="*/ 292322 w 3474435"/>
                  <a:gd name="connsiteY52" fmla="*/ 175927 h 474916"/>
                  <a:gd name="connsiteX53" fmla="*/ 292322 w 3474435"/>
                  <a:gd name="connsiteY53" fmla="*/ 181927 h 474916"/>
                  <a:gd name="connsiteX54" fmla="*/ 298609 w 3474435"/>
                  <a:gd name="connsiteY54" fmla="*/ 181927 h 474916"/>
                  <a:gd name="connsiteX55" fmla="*/ 298609 w 3474435"/>
                  <a:gd name="connsiteY55" fmla="*/ 194119 h 474916"/>
                  <a:gd name="connsiteX56" fmla="*/ 307086 w 3474435"/>
                  <a:gd name="connsiteY56" fmla="*/ 194119 h 474916"/>
                  <a:gd name="connsiteX57" fmla="*/ 307086 w 3474435"/>
                  <a:gd name="connsiteY57" fmla="*/ 200120 h 474916"/>
                  <a:gd name="connsiteX58" fmla="*/ 313373 w 3474435"/>
                  <a:gd name="connsiteY58" fmla="*/ 200120 h 474916"/>
                  <a:gd name="connsiteX59" fmla="*/ 313373 w 3474435"/>
                  <a:gd name="connsiteY59" fmla="*/ 212312 h 474916"/>
                  <a:gd name="connsiteX60" fmla="*/ 315468 w 3474435"/>
                  <a:gd name="connsiteY60" fmla="*/ 212312 h 474916"/>
                  <a:gd name="connsiteX61" fmla="*/ 315468 w 3474435"/>
                  <a:gd name="connsiteY61" fmla="*/ 218408 h 474916"/>
                  <a:gd name="connsiteX62" fmla="*/ 328041 w 3474435"/>
                  <a:gd name="connsiteY62" fmla="*/ 218408 h 474916"/>
                  <a:gd name="connsiteX63" fmla="*/ 328041 w 3474435"/>
                  <a:gd name="connsiteY63" fmla="*/ 224409 h 474916"/>
                  <a:gd name="connsiteX64" fmla="*/ 351187 w 3474435"/>
                  <a:gd name="connsiteY64" fmla="*/ 224409 h 474916"/>
                  <a:gd name="connsiteX65" fmla="*/ 351187 w 3474435"/>
                  <a:gd name="connsiteY65" fmla="*/ 230505 h 474916"/>
                  <a:gd name="connsiteX66" fmla="*/ 357569 w 3474435"/>
                  <a:gd name="connsiteY66" fmla="*/ 230505 h 474916"/>
                  <a:gd name="connsiteX67" fmla="*/ 357569 w 3474435"/>
                  <a:gd name="connsiteY67" fmla="*/ 236601 h 474916"/>
                  <a:gd name="connsiteX68" fmla="*/ 365951 w 3474435"/>
                  <a:gd name="connsiteY68" fmla="*/ 236601 h 474916"/>
                  <a:gd name="connsiteX69" fmla="*/ 365951 w 3474435"/>
                  <a:gd name="connsiteY69" fmla="*/ 242602 h 474916"/>
                  <a:gd name="connsiteX70" fmla="*/ 374333 w 3474435"/>
                  <a:gd name="connsiteY70" fmla="*/ 242602 h 474916"/>
                  <a:gd name="connsiteX71" fmla="*/ 374333 w 3474435"/>
                  <a:gd name="connsiteY71" fmla="*/ 248698 h 474916"/>
                  <a:gd name="connsiteX72" fmla="*/ 378524 w 3474435"/>
                  <a:gd name="connsiteY72" fmla="*/ 248698 h 474916"/>
                  <a:gd name="connsiteX73" fmla="*/ 378524 w 3474435"/>
                  <a:gd name="connsiteY73" fmla="*/ 254794 h 474916"/>
                  <a:gd name="connsiteX74" fmla="*/ 452152 w 3474435"/>
                  <a:gd name="connsiteY74" fmla="*/ 254794 h 474916"/>
                  <a:gd name="connsiteX75" fmla="*/ 452152 w 3474435"/>
                  <a:gd name="connsiteY75" fmla="*/ 260794 h 474916"/>
                  <a:gd name="connsiteX76" fmla="*/ 473202 w 3474435"/>
                  <a:gd name="connsiteY76" fmla="*/ 260794 h 474916"/>
                  <a:gd name="connsiteX77" fmla="*/ 473202 w 3474435"/>
                  <a:gd name="connsiteY77" fmla="*/ 266890 h 474916"/>
                  <a:gd name="connsiteX78" fmla="*/ 479489 w 3474435"/>
                  <a:gd name="connsiteY78" fmla="*/ 266890 h 474916"/>
                  <a:gd name="connsiteX79" fmla="*/ 479489 w 3474435"/>
                  <a:gd name="connsiteY79" fmla="*/ 272986 h 474916"/>
                  <a:gd name="connsiteX80" fmla="*/ 521589 w 3474435"/>
                  <a:gd name="connsiteY80" fmla="*/ 272986 h 474916"/>
                  <a:gd name="connsiteX81" fmla="*/ 521589 w 3474435"/>
                  <a:gd name="connsiteY81" fmla="*/ 278987 h 474916"/>
                  <a:gd name="connsiteX82" fmla="*/ 536258 w 3474435"/>
                  <a:gd name="connsiteY82" fmla="*/ 278987 h 474916"/>
                  <a:gd name="connsiteX83" fmla="*/ 536258 w 3474435"/>
                  <a:gd name="connsiteY83" fmla="*/ 285083 h 474916"/>
                  <a:gd name="connsiteX84" fmla="*/ 565785 w 3474435"/>
                  <a:gd name="connsiteY84" fmla="*/ 285083 h 474916"/>
                  <a:gd name="connsiteX85" fmla="*/ 565785 w 3474435"/>
                  <a:gd name="connsiteY85" fmla="*/ 291179 h 474916"/>
                  <a:gd name="connsiteX86" fmla="*/ 567881 w 3474435"/>
                  <a:gd name="connsiteY86" fmla="*/ 291179 h 474916"/>
                  <a:gd name="connsiteX87" fmla="*/ 567881 w 3474435"/>
                  <a:gd name="connsiteY87" fmla="*/ 297180 h 474916"/>
                  <a:gd name="connsiteX88" fmla="*/ 590931 w 3474435"/>
                  <a:gd name="connsiteY88" fmla="*/ 297180 h 474916"/>
                  <a:gd name="connsiteX89" fmla="*/ 590931 w 3474435"/>
                  <a:gd name="connsiteY89" fmla="*/ 303276 h 474916"/>
                  <a:gd name="connsiteX90" fmla="*/ 603600 w 3474435"/>
                  <a:gd name="connsiteY90" fmla="*/ 303276 h 474916"/>
                  <a:gd name="connsiteX91" fmla="*/ 603600 w 3474435"/>
                  <a:gd name="connsiteY91" fmla="*/ 309372 h 474916"/>
                  <a:gd name="connsiteX92" fmla="*/ 639318 w 3474435"/>
                  <a:gd name="connsiteY92" fmla="*/ 309372 h 474916"/>
                  <a:gd name="connsiteX93" fmla="*/ 639318 w 3474435"/>
                  <a:gd name="connsiteY93" fmla="*/ 315468 h 474916"/>
                  <a:gd name="connsiteX94" fmla="*/ 755047 w 3474435"/>
                  <a:gd name="connsiteY94" fmla="*/ 315468 h 474916"/>
                  <a:gd name="connsiteX95" fmla="*/ 755047 w 3474435"/>
                  <a:gd name="connsiteY95" fmla="*/ 321469 h 474916"/>
                  <a:gd name="connsiteX96" fmla="*/ 792861 w 3474435"/>
                  <a:gd name="connsiteY96" fmla="*/ 321469 h 474916"/>
                  <a:gd name="connsiteX97" fmla="*/ 792861 w 3474435"/>
                  <a:gd name="connsiteY97" fmla="*/ 327660 h 474916"/>
                  <a:gd name="connsiteX98" fmla="*/ 845439 w 3474435"/>
                  <a:gd name="connsiteY98" fmla="*/ 327660 h 474916"/>
                  <a:gd name="connsiteX99" fmla="*/ 845439 w 3474435"/>
                  <a:gd name="connsiteY99" fmla="*/ 333756 h 474916"/>
                  <a:gd name="connsiteX100" fmla="*/ 864394 w 3474435"/>
                  <a:gd name="connsiteY100" fmla="*/ 333756 h 474916"/>
                  <a:gd name="connsiteX101" fmla="*/ 864394 w 3474435"/>
                  <a:gd name="connsiteY101" fmla="*/ 339852 h 474916"/>
                  <a:gd name="connsiteX102" fmla="*/ 874872 w 3474435"/>
                  <a:gd name="connsiteY102" fmla="*/ 339852 h 474916"/>
                  <a:gd name="connsiteX103" fmla="*/ 874872 w 3474435"/>
                  <a:gd name="connsiteY103" fmla="*/ 346043 h 474916"/>
                  <a:gd name="connsiteX104" fmla="*/ 908590 w 3474435"/>
                  <a:gd name="connsiteY104" fmla="*/ 346043 h 474916"/>
                  <a:gd name="connsiteX105" fmla="*/ 908590 w 3474435"/>
                  <a:gd name="connsiteY105" fmla="*/ 352139 h 474916"/>
                  <a:gd name="connsiteX106" fmla="*/ 914877 w 3474435"/>
                  <a:gd name="connsiteY106" fmla="*/ 352139 h 474916"/>
                  <a:gd name="connsiteX107" fmla="*/ 914877 w 3474435"/>
                  <a:gd name="connsiteY107" fmla="*/ 358235 h 474916"/>
                  <a:gd name="connsiteX108" fmla="*/ 929545 w 3474435"/>
                  <a:gd name="connsiteY108" fmla="*/ 358235 h 474916"/>
                  <a:gd name="connsiteX109" fmla="*/ 929545 w 3474435"/>
                  <a:gd name="connsiteY109" fmla="*/ 364331 h 474916"/>
                  <a:gd name="connsiteX110" fmla="*/ 942213 w 3474435"/>
                  <a:gd name="connsiteY110" fmla="*/ 364331 h 474916"/>
                  <a:gd name="connsiteX111" fmla="*/ 942213 w 3474435"/>
                  <a:gd name="connsiteY111" fmla="*/ 370522 h 474916"/>
                  <a:gd name="connsiteX112" fmla="*/ 967455 w 3474435"/>
                  <a:gd name="connsiteY112" fmla="*/ 370522 h 474916"/>
                  <a:gd name="connsiteX113" fmla="*/ 967455 w 3474435"/>
                  <a:gd name="connsiteY113" fmla="*/ 376618 h 474916"/>
                  <a:gd name="connsiteX114" fmla="*/ 1196721 w 3474435"/>
                  <a:gd name="connsiteY114" fmla="*/ 376618 h 474916"/>
                  <a:gd name="connsiteX115" fmla="*/ 1196721 w 3474435"/>
                  <a:gd name="connsiteY115" fmla="*/ 382810 h 474916"/>
                  <a:gd name="connsiteX116" fmla="*/ 1310259 w 3474435"/>
                  <a:gd name="connsiteY116" fmla="*/ 382810 h 474916"/>
                  <a:gd name="connsiteX117" fmla="*/ 1310259 w 3474435"/>
                  <a:gd name="connsiteY117" fmla="*/ 389001 h 474916"/>
                  <a:gd name="connsiteX118" fmla="*/ 1579436 w 3474435"/>
                  <a:gd name="connsiteY118" fmla="*/ 389001 h 474916"/>
                  <a:gd name="connsiteX119" fmla="*/ 1579436 w 3474435"/>
                  <a:gd name="connsiteY119" fmla="*/ 395287 h 474916"/>
                  <a:gd name="connsiteX120" fmla="*/ 1653064 w 3474435"/>
                  <a:gd name="connsiteY120" fmla="*/ 395287 h 474916"/>
                  <a:gd name="connsiteX121" fmla="*/ 1653064 w 3474435"/>
                  <a:gd name="connsiteY121" fmla="*/ 401574 h 474916"/>
                  <a:gd name="connsiteX122" fmla="*/ 1732979 w 3474435"/>
                  <a:gd name="connsiteY122" fmla="*/ 401574 h 474916"/>
                  <a:gd name="connsiteX123" fmla="*/ 1732979 w 3474435"/>
                  <a:gd name="connsiteY123" fmla="*/ 407860 h 474916"/>
                  <a:gd name="connsiteX124" fmla="*/ 1894904 w 3474435"/>
                  <a:gd name="connsiteY124" fmla="*/ 407860 h 474916"/>
                  <a:gd name="connsiteX125" fmla="*/ 1894904 w 3474435"/>
                  <a:gd name="connsiteY125" fmla="*/ 414337 h 474916"/>
                  <a:gd name="connsiteX126" fmla="*/ 1911763 w 3474435"/>
                  <a:gd name="connsiteY126" fmla="*/ 414337 h 474916"/>
                  <a:gd name="connsiteX127" fmla="*/ 1911763 w 3474435"/>
                  <a:gd name="connsiteY127" fmla="*/ 420719 h 474916"/>
                  <a:gd name="connsiteX128" fmla="*/ 2029587 w 3474435"/>
                  <a:gd name="connsiteY128" fmla="*/ 420719 h 474916"/>
                  <a:gd name="connsiteX129" fmla="*/ 2029587 w 3474435"/>
                  <a:gd name="connsiteY129" fmla="*/ 427196 h 474916"/>
                  <a:gd name="connsiteX130" fmla="*/ 2122075 w 3474435"/>
                  <a:gd name="connsiteY130" fmla="*/ 427196 h 474916"/>
                  <a:gd name="connsiteX131" fmla="*/ 2122075 w 3474435"/>
                  <a:gd name="connsiteY131" fmla="*/ 433578 h 474916"/>
                  <a:gd name="connsiteX132" fmla="*/ 2141030 w 3474435"/>
                  <a:gd name="connsiteY132" fmla="*/ 433578 h 474916"/>
                  <a:gd name="connsiteX133" fmla="*/ 2141030 w 3474435"/>
                  <a:gd name="connsiteY133" fmla="*/ 440055 h 474916"/>
                  <a:gd name="connsiteX134" fmla="*/ 2994851 w 3474435"/>
                  <a:gd name="connsiteY134" fmla="*/ 440055 h 474916"/>
                  <a:gd name="connsiteX135" fmla="*/ 2994851 w 3474435"/>
                  <a:gd name="connsiteY135" fmla="*/ 474916 h 474916"/>
                  <a:gd name="connsiteX136" fmla="*/ 3474435 w 3474435"/>
                  <a:gd name="connsiteY136" fmla="*/ 474916 h 474916"/>
                  <a:gd name="connsiteX0" fmla="*/ 0 w 3459766"/>
                  <a:gd name="connsiteY0" fmla="*/ 0 h 468915"/>
                  <a:gd name="connsiteX1" fmla="*/ 4286 w 3459766"/>
                  <a:gd name="connsiteY1" fmla="*/ 0 h 468915"/>
                  <a:gd name="connsiteX2" fmla="*/ 4286 w 3459766"/>
                  <a:gd name="connsiteY2" fmla="*/ 6096 h 468915"/>
                  <a:gd name="connsiteX3" fmla="*/ 14763 w 3459766"/>
                  <a:gd name="connsiteY3" fmla="*/ 6096 h 468915"/>
                  <a:gd name="connsiteX4" fmla="*/ 14763 w 3459766"/>
                  <a:gd name="connsiteY4" fmla="*/ 12192 h 468915"/>
                  <a:gd name="connsiteX5" fmla="*/ 23146 w 3459766"/>
                  <a:gd name="connsiteY5" fmla="*/ 12192 h 468915"/>
                  <a:gd name="connsiteX6" fmla="*/ 23146 w 3459766"/>
                  <a:gd name="connsiteY6" fmla="*/ 18288 h 468915"/>
                  <a:gd name="connsiteX7" fmla="*/ 37909 w 3459766"/>
                  <a:gd name="connsiteY7" fmla="*/ 18288 h 468915"/>
                  <a:gd name="connsiteX8" fmla="*/ 37909 w 3459766"/>
                  <a:gd name="connsiteY8" fmla="*/ 24288 h 468915"/>
                  <a:gd name="connsiteX9" fmla="*/ 42100 w 3459766"/>
                  <a:gd name="connsiteY9" fmla="*/ 24288 h 468915"/>
                  <a:gd name="connsiteX10" fmla="*/ 42100 w 3459766"/>
                  <a:gd name="connsiteY10" fmla="*/ 30384 h 468915"/>
                  <a:gd name="connsiteX11" fmla="*/ 46291 w 3459766"/>
                  <a:gd name="connsiteY11" fmla="*/ 30384 h 468915"/>
                  <a:gd name="connsiteX12" fmla="*/ 46291 w 3459766"/>
                  <a:gd name="connsiteY12" fmla="*/ 36480 h 468915"/>
                  <a:gd name="connsiteX13" fmla="*/ 58960 w 3459766"/>
                  <a:gd name="connsiteY13" fmla="*/ 36480 h 468915"/>
                  <a:gd name="connsiteX14" fmla="*/ 58960 w 3459766"/>
                  <a:gd name="connsiteY14" fmla="*/ 42481 h 468915"/>
                  <a:gd name="connsiteX15" fmla="*/ 88392 w 3459766"/>
                  <a:gd name="connsiteY15" fmla="*/ 42481 h 468915"/>
                  <a:gd name="connsiteX16" fmla="*/ 88392 w 3459766"/>
                  <a:gd name="connsiteY16" fmla="*/ 48577 h 468915"/>
                  <a:gd name="connsiteX17" fmla="*/ 96774 w 3459766"/>
                  <a:gd name="connsiteY17" fmla="*/ 48577 h 468915"/>
                  <a:gd name="connsiteX18" fmla="*/ 96774 w 3459766"/>
                  <a:gd name="connsiteY18" fmla="*/ 54673 h 468915"/>
                  <a:gd name="connsiteX19" fmla="*/ 98869 w 3459766"/>
                  <a:gd name="connsiteY19" fmla="*/ 54673 h 468915"/>
                  <a:gd name="connsiteX20" fmla="*/ 98869 w 3459766"/>
                  <a:gd name="connsiteY20" fmla="*/ 60674 h 468915"/>
                  <a:gd name="connsiteX21" fmla="*/ 113633 w 3459766"/>
                  <a:gd name="connsiteY21" fmla="*/ 60674 h 468915"/>
                  <a:gd name="connsiteX22" fmla="*/ 113633 w 3459766"/>
                  <a:gd name="connsiteY22" fmla="*/ 72866 h 468915"/>
                  <a:gd name="connsiteX23" fmla="*/ 115729 w 3459766"/>
                  <a:gd name="connsiteY23" fmla="*/ 72866 h 468915"/>
                  <a:gd name="connsiteX24" fmla="*/ 115729 w 3459766"/>
                  <a:gd name="connsiteY24" fmla="*/ 78867 h 468915"/>
                  <a:gd name="connsiteX25" fmla="*/ 122015 w 3459766"/>
                  <a:gd name="connsiteY25" fmla="*/ 78867 h 468915"/>
                  <a:gd name="connsiteX26" fmla="*/ 122015 w 3459766"/>
                  <a:gd name="connsiteY26" fmla="*/ 84963 h 468915"/>
                  <a:gd name="connsiteX27" fmla="*/ 126206 w 3459766"/>
                  <a:gd name="connsiteY27" fmla="*/ 84963 h 468915"/>
                  <a:gd name="connsiteX28" fmla="*/ 126206 w 3459766"/>
                  <a:gd name="connsiteY28" fmla="*/ 91059 h 468915"/>
                  <a:gd name="connsiteX29" fmla="*/ 143065 w 3459766"/>
                  <a:gd name="connsiteY29" fmla="*/ 91059 h 468915"/>
                  <a:gd name="connsiteX30" fmla="*/ 143065 w 3459766"/>
                  <a:gd name="connsiteY30" fmla="*/ 103155 h 468915"/>
                  <a:gd name="connsiteX31" fmla="*/ 147256 w 3459766"/>
                  <a:gd name="connsiteY31" fmla="*/ 103155 h 468915"/>
                  <a:gd name="connsiteX32" fmla="*/ 147256 w 3459766"/>
                  <a:gd name="connsiteY32" fmla="*/ 109251 h 468915"/>
                  <a:gd name="connsiteX33" fmla="*/ 170402 w 3459766"/>
                  <a:gd name="connsiteY33" fmla="*/ 109251 h 468915"/>
                  <a:gd name="connsiteX34" fmla="*/ 170402 w 3459766"/>
                  <a:gd name="connsiteY34" fmla="*/ 115347 h 468915"/>
                  <a:gd name="connsiteX35" fmla="*/ 174593 w 3459766"/>
                  <a:gd name="connsiteY35" fmla="*/ 115347 h 468915"/>
                  <a:gd name="connsiteX36" fmla="*/ 174593 w 3459766"/>
                  <a:gd name="connsiteY36" fmla="*/ 121348 h 468915"/>
                  <a:gd name="connsiteX37" fmla="*/ 180880 w 3459766"/>
                  <a:gd name="connsiteY37" fmla="*/ 121348 h 468915"/>
                  <a:gd name="connsiteX38" fmla="*/ 180880 w 3459766"/>
                  <a:gd name="connsiteY38" fmla="*/ 133540 h 468915"/>
                  <a:gd name="connsiteX39" fmla="*/ 199834 w 3459766"/>
                  <a:gd name="connsiteY39" fmla="*/ 133540 h 468915"/>
                  <a:gd name="connsiteX40" fmla="*/ 199834 w 3459766"/>
                  <a:gd name="connsiteY40" fmla="*/ 139541 h 468915"/>
                  <a:gd name="connsiteX41" fmla="*/ 208216 w 3459766"/>
                  <a:gd name="connsiteY41" fmla="*/ 139541 h 468915"/>
                  <a:gd name="connsiteX42" fmla="*/ 208216 w 3459766"/>
                  <a:gd name="connsiteY42" fmla="*/ 145637 h 468915"/>
                  <a:gd name="connsiteX43" fmla="*/ 220885 w 3459766"/>
                  <a:gd name="connsiteY43" fmla="*/ 145637 h 468915"/>
                  <a:gd name="connsiteX44" fmla="*/ 220885 w 3459766"/>
                  <a:gd name="connsiteY44" fmla="*/ 151733 h 468915"/>
                  <a:gd name="connsiteX45" fmla="*/ 237744 w 3459766"/>
                  <a:gd name="connsiteY45" fmla="*/ 151733 h 468915"/>
                  <a:gd name="connsiteX46" fmla="*/ 237744 w 3459766"/>
                  <a:gd name="connsiteY46" fmla="*/ 157734 h 468915"/>
                  <a:gd name="connsiteX47" fmla="*/ 265081 w 3459766"/>
                  <a:gd name="connsiteY47" fmla="*/ 157734 h 468915"/>
                  <a:gd name="connsiteX48" fmla="*/ 265081 w 3459766"/>
                  <a:gd name="connsiteY48" fmla="*/ 163830 h 468915"/>
                  <a:gd name="connsiteX49" fmla="*/ 267176 w 3459766"/>
                  <a:gd name="connsiteY49" fmla="*/ 163830 h 468915"/>
                  <a:gd name="connsiteX50" fmla="*/ 267176 w 3459766"/>
                  <a:gd name="connsiteY50" fmla="*/ 169926 h 468915"/>
                  <a:gd name="connsiteX51" fmla="*/ 277653 w 3459766"/>
                  <a:gd name="connsiteY51" fmla="*/ 169926 h 468915"/>
                  <a:gd name="connsiteX52" fmla="*/ 277653 w 3459766"/>
                  <a:gd name="connsiteY52" fmla="*/ 175926 h 468915"/>
                  <a:gd name="connsiteX53" fmla="*/ 283940 w 3459766"/>
                  <a:gd name="connsiteY53" fmla="*/ 175926 h 468915"/>
                  <a:gd name="connsiteX54" fmla="*/ 283940 w 3459766"/>
                  <a:gd name="connsiteY54" fmla="*/ 188118 h 468915"/>
                  <a:gd name="connsiteX55" fmla="*/ 292417 w 3459766"/>
                  <a:gd name="connsiteY55" fmla="*/ 188118 h 468915"/>
                  <a:gd name="connsiteX56" fmla="*/ 292417 w 3459766"/>
                  <a:gd name="connsiteY56" fmla="*/ 194119 h 468915"/>
                  <a:gd name="connsiteX57" fmla="*/ 298704 w 3459766"/>
                  <a:gd name="connsiteY57" fmla="*/ 194119 h 468915"/>
                  <a:gd name="connsiteX58" fmla="*/ 298704 w 3459766"/>
                  <a:gd name="connsiteY58" fmla="*/ 206311 h 468915"/>
                  <a:gd name="connsiteX59" fmla="*/ 300799 w 3459766"/>
                  <a:gd name="connsiteY59" fmla="*/ 206311 h 468915"/>
                  <a:gd name="connsiteX60" fmla="*/ 300799 w 3459766"/>
                  <a:gd name="connsiteY60" fmla="*/ 212407 h 468915"/>
                  <a:gd name="connsiteX61" fmla="*/ 313372 w 3459766"/>
                  <a:gd name="connsiteY61" fmla="*/ 212407 h 468915"/>
                  <a:gd name="connsiteX62" fmla="*/ 313372 w 3459766"/>
                  <a:gd name="connsiteY62" fmla="*/ 218408 h 468915"/>
                  <a:gd name="connsiteX63" fmla="*/ 336518 w 3459766"/>
                  <a:gd name="connsiteY63" fmla="*/ 218408 h 468915"/>
                  <a:gd name="connsiteX64" fmla="*/ 336518 w 3459766"/>
                  <a:gd name="connsiteY64" fmla="*/ 224504 h 468915"/>
                  <a:gd name="connsiteX65" fmla="*/ 342900 w 3459766"/>
                  <a:gd name="connsiteY65" fmla="*/ 224504 h 468915"/>
                  <a:gd name="connsiteX66" fmla="*/ 342900 w 3459766"/>
                  <a:gd name="connsiteY66" fmla="*/ 230600 h 468915"/>
                  <a:gd name="connsiteX67" fmla="*/ 351282 w 3459766"/>
                  <a:gd name="connsiteY67" fmla="*/ 230600 h 468915"/>
                  <a:gd name="connsiteX68" fmla="*/ 351282 w 3459766"/>
                  <a:gd name="connsiteY68" fmla="*/ 236601 h 468915"/>
                  <a:gd name="connsiteX69" fmla="*/ 359664 w 3459766"/>
                  <a:gd name="connsiteY69" fmla="*/ 236601 h 468915"/>
                  <a:gd name="connsiteX70" fmla="*/ 359664 w 3459766"/>
                  <a:gd name="connsiteY70" fmla="*/ 242697 h 468915"/>
                  <a:gd name="connsiteX71" fmla="*/ 363855 w 3459766"/>
                  <a:gd name="connsiteY71" fmla="*/ 242697 h 468915"/>
                  <a:gd name="connsiteX72" fmla="*/ 363855 w 3459766"/>
                  <a:gd name="connsiteY72" fmla="*/ 248793 h 468915"/>
                  <a:gd name="connsiteX73" fmla="*/ 437483 w 3459766"/>
                  <a:gd name="connsiteY73" fmla="*/ 248793 h 468915"/>
                  <a:gd name="connsiteX74" fmla="*/ 437483 w 3459766"/>
                  <a:gd name="connsiteY74" fmla="*/ 254793 h 468915"/>
                  <a:gd name="connsiteX75" fmla="*/ 458533 w 3459766"/>
                  <a:gd name="connsiteY75" fmla="*/ 254793 h 468915"/>
                  <a:gd name="connsiteX76" fmla="*/ 458533 w 3459766"/>
                  <a:gd name="connsiteY76" fmla="*/ 260889 h 468915"/>
                  <a:gd name="connsiteX77" fmla="*/ 464820 w 3459766"/>
                  <a:gd name="connsiteY77" fmla="*/ 260889 h 468915"/>
                  <a:gd name="connsiteX78" fmla="*/ 464820 w 3459766"/>
                  <a:gd name="connsiteY78" fmla="*/ 266985 h 468915"/>
                  <a:gd name="connsiteX79" fmla="*/ 506920 w 3459766"/>
                  <a:gd name="connsiteY79" fmla="*/ 266985 h 468915"/>
                  <a:gd name="connsiteX80" fmla="*/ 506920 w 3459766"/>
                  <a:gd name="connsiteY80" fmla="*/ 272986 h 468915"/>
                  <a:gd name="connsiteX81" fmla="*/ 521589 w 3459766"/>
                  <a:gd name="connsiteY81" fmla="*/ 272986 h 468915"/>
                  <a:gd name="connsiteX82" fmla="*/ 521589 w 3459766"/>
                  <a:gd name="connsiteY82" fmla="*/ 279082 h 468915"/>
                  <a:gd name="connsiteX83" fmla="*/ 551116 w 3459766"/>
                  <a:gd name="connsiteY83" fmla="*/ 279082 h 468915"/>
                  <a:gd name="connsiteX84" fmla="*/ 551116 w 3459766"/>
                  <a:gd name="connsiteY84" fmla="*/ 285178 h 468915"/>
                  <a:gd name="connsiteX85" fmla="*/ 553212 w 3459766"/>
                  <a:gd name="connsiteY85" fmla="*/ 285178 h 468915"/>
                  <a:gd name="connsiteX86" fmla="*/ 553212 w 3459766"/>
                  <a:gd name="connsiteY86" fmla="*/ 291179 h 468915"/>
                  <a:gd name="connsiteX87" fmla="*/ 576262 w 3459766"/>
                  <a:gd name="connsiteY87" fmla="*/ 291179 h 468915"/>
                  <a:gd name="connsiteX88" fmla="*/ 576262 w 3459766"/>
                  <a:gd name="connsiteY88" fmla="*/ 297275 h 468915"/>
                  <a:gd name="connsiteX89" fmla="*/ 588931 w 3459766"/>
                  <a:gd name="connsiteY89" fmla="*/ 297275 h 468915"/>
                  <a:gd name="connsiteX90" fmla="*/ 588931 w 3459766"/>
                  <a:gd name="connsiteY90" fmla="*/ 303371 h 468915"/>
                  <a:gd name="connsiteX91" fmla="*/ 624649 w 3459766"/>
                  <a:gd name="connsiteY91" fmla="*/ 303371 h 468915"/>
                  <a:gd name="connsiteX92" fmla="*/ 624649 w 3459766"/>
                  <a:gd name="connsiteY92" fmla="*/ 309467 h 468915"/>
                  <a:gd name="connsiteX93" fmla="*/ 740378 w 3459766"/>
                  <a:gd name="connsiteY93" fmla="*/ 309467 h 468915"/>
                  <a:gd name="connsiteX94" fmla="*/ 740378 w 3459766"/>
                  <a:gd name="connsiteY94" fmla="*/ 315468 h 468915"/>
                  <a:gd name="connsiteX95" fmla="*/ 778192 w 3459766"/>
                  <a:gd name="connsiteY95" fmla="*/ 315468 h 468915"/>
                  <a:gd name="connsiteX96" fmla="*/ 778192 w 3459766"/>
                  <a:gd name="connsiteY96" fmla="*/ 321659 h 468915"/>
                  <a:gd name="connsiteX97" fmla="*/ 830770 w 3459766"/>
                  <a:gd name="connsiteY97" fmla="*/ 321659 h 468915"/>
                  <a:gd name="connsiteX98" fmla="*/ 830770 w 3459766"/>
                  <a:gd name="connsiteY98" fmla="*/ 327755 h 468915"/>
                  <a:gd name="connsiteX99" fmla="*/ 849725 w 3459766"/>
                  <a:gd name="connsiteY99" fmla="*/ 327755 h 468915"/>
                  <a:gd name="connsiteX100" fmla="*/ 849725 w 3459766"/>
                  <a:gd name="connsiteY100" fmla="*/ 333851 h 468915"/>
                  <a:gd name="connsiteX101" fmla="*/ 860203 w 3459766"/>
                  <a:gd name="connsiteY101" fmla="*/ 333851 h 468915"/>
                  <a:gd name="connsiteX102" fmla="*/ 860203 w 3459766"/>
                  <a:gd name="connsiteY102" fmla="*/ 340042 h 468915"/>
                  <a:gd name="connsiteX103" fmla="*/ 893921 w 3459766"/>
                  <a:gd name="connsiteY103" fmla="*/ 340042 h 468915"/>
                  <a:gd name="connsiteX104" fmla="*/ 893921 w 3459766"/>
                  <a:gd name="connsiteY104" fmla="*/ 346138 h 468915"/>
                  <a:gd name="connsiteX105" fmla="*/ 900208 w 3459766"/>
                  <a:gd name="connsiteY105" fmla="*/ 346138 h 468915"/>
                  <a:gd name="connsiteX106" fmla="*/ 900208 w 3459766"/>
                  <a:gd name="connsiteY106" fmla="*/ 352234 h 468915"/>
                  <a:gd name="connsiteX107" fmla="*/ 914876 w 3459766"/>
                  <a:gd name="connsiteY107" fmla="*/ 352234 h 468915"/>
                  <a:gd name="connsiteX108" fmla="*/ 914876 w 3459766"/>
                  <a:gd name="connsiteY108" fmla="*/ 358330 h 468915"/>
                  <a:gd name="connsiteX109" fmla="*/ 927544 w 3459766"/>
                  <a:gd name="connsiteY109" fmla="*/ 358330 h 468915"/>
                  <a:gd name="connsiteX110" fmla="*/ 927544 w 3459766"/>
                  <a:gd name="connsiteY110" fmla="*/ 364521 h 468915"/>
                  <a:gd name="connsiteX111" fmla="*/ 952786 w 3459766"/>
                  <a:gd name="connsiteY111" fmla="*/ 364521 h 468915"/>
                  <a:gd name="connsiteX112" fmla="*/ 952786 w 3459766"/>
                  <a:gd name="connsiteY112" fmla="*/ 370617 h 468915"/>
                  <a:gd name="connsiteX113" fmla="*/ 1182052 w 3459766"/>
                  <a:gd name="connsiteY113" fmla="*/ 370617 h 468915"/>
                  <a:gd name="connsiteX114" fmla="*/ 1182052 w 3459766"/>
                  <a:gd name="connsiteY114" fmla="*/ 376809 h 468915"/>
                  <a:gd name="connsiteX115" fmla="*/ 1295590 w 3459766"/>
                  <a:gd name="connsiteY115" fmla="*/ 376809 h 468915"/>
                  <a:gd name="connsiteX116" fmla="*/ 1295590 w 3459766"/>
                  <a:gd name="connsiteY116" fmla="*/ 383000 h 468915"/>
                  <a:gd name="connsiteX117" fmla="*/ 1564767 w 3459766"/>
                  <a:gd name="connsiteY117" fmla="*/ 383000 h 468915"/>
                  <a:gd name="connsiteX118" fmla="*/ 1564767 w 3459766"/>
                  <a:gd name="connsiteY118" fmla="*/ 389286 h 468915"/>
                  <a:gd name="connsiteX119" fmla="*/ 1638395 w 3459766"/>
                  <a:gd name="connsiteY119" fmla="*/ 389286 h 468915"/>
                  <a:gd name="connsiteX120" fmla="*/ 1638395 w 3459766"/>
                  <a:gd name="connsiteY120" fmla="*/ 395573 h 468915"/>
                  <a:gd name="connsiteX121" fmla="*/ 1718310 w 3459766"/>
                  <a:gd name="connsiteY121" fmla="*/ 395573 h 468915"/>
                  <a:gd name="connsiteX122" fmla="*/ 1718310 w 3459766"/>
                  <a:gd name="connsiteY122" fmla="*/ 401859 h 468915"/>
                  <a:gd name="connsiteX123" fmla="*/ 1880235 w 3459766"/>
                  <a:gd name="connsiteY123" fmla="*/ 401859 h 468915"/>
                  <a:gd name="connsiteX124" fmla="*/ 1880235 w 3459766"/>
                  <a:gd name="connsiteY124" fmla="*/ 408336 h 468915"/>
                  <a:gd name="connsiteX125" fmla="*/ 1897094 w 3459766"/>
                  <a:gd name="connsiteY125" fmla="*/ 408336 h 468915"/>
                  <a:gd name="connsiteX126" fmla="*/ 1897094 w 3459766"/>
                  <a:gd name="connsiteY126" fmla="*/ 414718 h 468915"/>
                  <a:gd name="connsiteX127" fmla="*/ 2014918 w 3459766"/>
                  <a:gd name="connsiteY127" fmla="*/ 414718 h 468915"/>
                  <a:gd name="connsiteX128" fmla="*/ 2014918 w 3459766"/>
                  <a:gd name="connsiteY128" fmla="*/ 421195 h 468915"/>
                  <a:gd name="connsiteX129" fmla="*/ 2107406 w 3459766"/>
                  <a:gd name="connsiteY129" fmla="*/ 421195 h 468915"/>
                  <a:gd name="connsiteX130" fmla="*/ 2107406 w 3459766"/>
                  <a:gd name="connsiteY130" fmla="*/ 427577 h 468915"/>
                  <a:gd name="connsiteX131" fmla="*/ 2126361 w 3459766"/>
                  <a:gd name="connsiteY131" fmla="*/ 427577 h 468915"/>
                  <a:gd name="connsiteX132" fmla="*/ 2126361 w 3459766"/>
                  <a:gd name="connsiteY132" fmla="*/ 434054 h 468915"/>
                  <a:gd name="connsiteX133" fmla="*/ 2980182 w 3459766"/>
                  <a:gd name="connsiteY133" fmla="*/ 434054 h 468915"/>
                  <a:gd name="connsiteX134" fmla="*/ 2980182 w 3459766"/>
                  <a:gd name="connsiteY134" fmla="*/ 468915 h 468915"/>
                  <a:gd name="connsiteX135" fmla="*/ 3459766 w 3459766"/>
                  <a:gd name="connsiteY135" fmla="*/ 468915 h 468915"/>
                  <a:gd name="connsiteX0" fmla="*/ 0 w 3455480"/>
                  <a:gd name="connsiteY0" fmla="*/ 0 h 468915"/>
                  <a:gd name="connsiteX1" fmla="*/ 0 w 3455480"/>
                  <a:gd name="connsiteY1" fmla="*/ 6096 h 468915"/>
                  <a:gd name="connsiteX2" fmla="*/ 10477 w 3455480"/>
                  <a:gd name="connsiteY2" fmla="*/ 6096 h 468915"/>
                  <a:gd name="connsiteX3" fmla="*/ 10477 w 3455480"/>
                  <a:gd name="connsiteY3" fmla="*/ 12192 h 468915"/>
                  <a:gd name="connsiteX4" fmla="*/ 18860 w 3455480"/>
                  <a:gd name="connsiteY4" fmla="*/ 12192 h 468915"/>
                  <a:gd name="connsiteX5" fmla="*/ 18860 w 3455480"/>
                  <a:gd name="connsiteY5" fmla="*/ 18288 h 468915"/>
                  <a:gd name="connsiteX6" fmla="*/ 33623 w 3455480"/>
                  <a:gd name="connsiteY6" fmla="*/ 18288 h 468915"/>
                  <a:gd name="connsiteX7" fmla="*/ 33623 w 3455480"/>
                  <a:gd name="connsiteY7" fmla="*/ 24288 h 468915"/>
                  <a:gd name="connsiteX8" fmla="*/ 37814 w 3455480"/>
                  <a:gd name="connsiteY8" fmla="*/ 24288 h 468915"/>
                  <a:gd name="connsiteX9" fmla="*/ 37814 w 3455480"/>
                  <a:gd name="connsiteY9" fmla="*/ 30384 h 468915"/>
                  <a:gd name="connsiteX10" fmla="*/ 42005 w 3455480"/>
                  <a:gd name="connsiteY10" fmla="*/ 30384 h 468915"/>
                  <a:gd name="connsiteX11" fmla="*/ 42005 w 3455480"/>
                  <a:gd name="connsiteY11" fmla="*/ 36480 h 468915"/>
                  <a:gd name="connsiteX12" fmla="*/ 54674 w 3455480"/>
                  <a:gd name="connsiteY12" fmla="*/ 36480 h 468915"/>
                  <a:gd name="connsiteX13" fmla="*/ 54674 w 3455480"/>
                  <a:gd name="connsiteY13" fmla="*/ 42481 h 468915"/>
                  <a:gd name="connsiteX14" fmla="*/ 84106 w 3455480"/>
                  <a:gd name="connsiteY14" fmla="*/ 42481 h 468915"/>
                  <a:gd name="connsiteX15" fmla="*/ 84106 w 3455480"/>
                  <a:gd name="connsiteY15" fmla="*/ 48577 h 468915"/>
                  <a:gd name="connsiteX16" fmla="*/ 92488 w 3455480"/>
                  <a:gd name="connsiteY16" fmla="*/ 48577 h 468915"/>
                  <a:gd name="connsiteX17" fmla="*/ 92488 w 3455480"/>
                  <a:gd name="connsiteY17" fmla="*/ 54673 h 468915"/>
                  <a:gd name="connsiteX18" fmla="*/ 94583 w 3455480"/>
                  <a:gd name="connsiteY18" fmla="*/ 54673 h 468915"/>
                  <a:gd name="connsiteX19" fmla="*/ 94583 w 3455480"/>
                  <a:gd name="connsiteY19" fmla="*/ 60674 h 468915"/>
                  <a:gd name="connsiteX20" fmla="*/ 109347 w 3455480"/>
                  <a:gd name="connsiteY20" fmla="*/ 60674 h 468915"/>
                  <a:gd name="connsiteX21" fmla="*/ 109347 w 3455480"/>
                  <a:gd name="connsiteY21" fmla="*/ 72866 h 468915"/>
                  <a:gd name="connsiteX22" fmla="*/ 111443 w 3455480"/>
                  <a:gd name="connsiteY22" fmla="*/ 72866 h 468915"/>
                  <a:gd name="connsiteX23" fmla="*/ 111443 w 3455480"/>
                  <a:gd name="connsiteY23" fmla="*/ 78867 h 468915"/>
                  <a:gd name="connsiteX24" fmla="*/ 117729 w 3455480"/>
                  <a:gd name="connsiteY24" fmla="*/ 78867 h 468915"/>
                  <a:gd name="connsiteX25" fmla="*/ 117729 w 3455480"/>
                  <a:gd name="connsiteY25" fmla="*/ 84963 h 468915"/>
                  <a:gd name="connsiteX26" fmla="*/ 121920 w 3455480"/>
                  <a:gd name="connsiteY26" fmla="*/ 84963 h 468915"/>
                  <a:gd name="connsiteX27" fmla="*/ 121920 w 3455480"/>
                  <a:gd name="connsiteY27" fmla="*/ 91059 h 468915"/>
                  <a:gd name="connsiteX28" fmla="*/ 138779 w 3455480"/>
                  <a:gd name="connsiteY28" fmla="*/ 91059 h 468915"/>
                  <a:gd name="connsiteX29" fmla="*/ 138779 w 3455480"/>
                  <a:gd name="connsiteY29" fmla="*/ 103155 h 468915"/>
                  <a:gd name="connsiteX30" fmla="*/ 142970 w 3455480"/>
                  <a:gd name="connsiteY30" fmla="*/ 103155 h 468915"/>
                  <a:gd name="connsiteX31" fmla="*/ 142970 w 3455480"/>
                  <a:gd name="connsiteY31" fmla="*/ 109251 h 468915"/>
                  <a:gd name="connsiteX32" fmla="*/ 166116 w 3455480"/>
                  <a:gd name="connsiteY32" fmla="*/ 109251 h 468915"/>
                  <a:gd name="connsiteX33" fmla="*/ 166116 w 3455480"/>
                  <a:gd name="connsiteY33" fmla="*/ 115347 h 468915"/>
                  <a:gd name="connsiteX34" fmla="*/ 170307 w 3455480"/>
                  <a:gd name="connsiteY34" fmla="*/ 115347 h 468915"/>
                  <a:gd name="connsiteX35" fmla="*/ 170307 w 3455480"/>
                  <a:gd name="connsiteY35" fmla="*/ 121348 h 468915"/>
                  <a:gd name="connsiteX36" fmla="*/ 176594 w 3455480"/>
                  <a:gd name="connsiteY36" fmla="*/ 121348 h 468915"/>
                  <a:gd name="connsiteX37" fmla="*/ 176594 w 3455480"/>
                  <a:gd name="connsiteY37" fmla="*/ 133540 h 468915"/>
                  <a:gd name="connsiteX38" fmla="*/ 195548 w 3455480"/>
                  <a:gd name="connsiteY38" fmla="*/ 133540 h 468915"/>
                  <a:gd name="connsiteX39" fmla="*/ 195548 w 3455480"/>
                  <a:gd name="connsiteY39" fmla="*/ 139541 h 468915"/>
                  <a:gd name="connsiteX40" fmla="*/ 203930 w 3455480"/>
                  <a:gd name="connsiteY40" fmla="*/ 139541 h 468915"/>
                  <a:gd name="connsiteX41" fmla="*/ 203930 w 3455480"/>
                  <a:gd name="connsiteY41" fmla="*/ 145637 h 468915"/>
                  <a:gd name="connsiteX42" fmla="*/ 216599 w 3455480"/>
                  <a:gd name="connsiteY42" fmla="*/ 145637 h 468915"/>
                  <a:gd name="connsiteX43" fmla="*/ 216599 w 3455480"/>
                  <a:gd name="connsiteY43" fmla="*/ 151733 h 468915"/>
                  <a:gd name="connsiteX44" fmla="*/ 233458 w 3455480"/>
                  <a:gd name="connsiteY44" fmla="*/ 151733 h 468915"/>
                  <a:gd name="connsiteX45" fmla="*/ 233458 w 3455480"/>
                  <a:gd name="connsiteY45" fmla="*/ 157734 h 468915"/>
                  <a:gd name="connsiteX46" fmla="*/ 260795 w 3455480"/>
                  <a:gd name="connsiteY46" fmla="*/ 157734 h 468915"/>
                  <a:gd name="connsiteX47" fmla="*/ 260795 w 3455480"/>
                  <a:gd name="connsiteY47" fmla="*/ 163830 h 468915"/>
                  <a:gd name="connsiteX48" fmla="*/ 262890 w 3455480"/>
                  <a:gd name="connsiteY48" fmla="*/ 163830 h 468915"/>
                  <a:gd name="connsiteX49" fmla="*/ 262890 w 3455480"/>
                  <a:gd name="connsiteY49" fmla="*/ 169926 h 468915"/>
                  <a:gd name="connsiteX50" fmla="*/ 273367 w 3455480"/>
                  <a:gd name="connsiteY50" fmla="*/ 169926 h 468915"/>
                  <a:gd name="connsiteX51" fmla="*/ 273367 w 3455480"/>
                  <a:gd name="connsiteY51" fmla="*/ 175926 h 468915"/>
                  <a:gd name="connsiteX52" fmla="*/ 279654 w 3455480"/>
                  <a:gd name="connsiteY52" fmla="*/ 175926 h 468915"/>
                  <a:gd name="connsiteX53" fmla="*/ 279654 w 3455480"/>
                  <a:gd name="connsiteY53" fmla="*/ 188118 h 468915"/>
                  <a:gd name="connsiteX54" fmla="*/ 288131 w 3455480"/>
                  <a:gd name="connsiteY54" fmla="*/ 188118 h 468915"/>
                  <a:gd name="connsiteX55" fmla="*/ 288131 w 3455480"/>
                  <a:gd name="connsiteY55" fmla="*/ 194119 h 468915"/>
                  <a:gd name="connsiteX56" fmla="*/ 294418 w 3455480"/>
                  <a:gd name="connsiteY56" fmla="*/ 194119 h 468915"/>
                  <a:gd name="connsiteX57" fmla="*/ 294418 w 3455480"/>
                  <a:gd name="connsiteY57" fmla="*/ 206311 h 468915"/>
                  <a:gd name="connsiteX58" fmla="*/ 296513 w 3455480"/>
                  <a:gd name="connsiteY58" fmla="*/ 206311 h 468915"/>
                  <a:gd name="connsiteX59" fmla="*/ 296513 w 3455480"/>
                  <a:gd name="connsiteY59" fmla="*/ 212407 h 468915"/>
                  <a:gd name="connsiteX60" fmla="*/ 309086 w 3455480"/>
                  <a:gd name="connsiteY60" fmla="*/ 212407 h 468915"/>
                  <a:gd name="connsiteX61" fmla="*/ 309086 w 3455480"/>
                  <a:gd name="connsiteY61" fmla="*/ 218408 h 468915"/>
                  <a:gd name="connsiteX62" fmla="*/ 332232 w 3455480"/>
                  <a:gd name="connsiteY62" fmla="*/ 218408 h 468915"/>
                  <a:gd name="connsiteX63" fmla="*/ 332232 w 3455480"/>
                  <a:gd name="connsiteY63" fmla="*/ 224504 h 468915"/>
                  <a:gd name="connsiteX64" fmla="*/ 338614 w 3455480"/>
                  <a:gd name="connsiteY64" fmla="*/ 224504 h 468915"/>
                  <a:gd name="connsiteX65" fmla="*/ 338614 w 3455480"/>
                  <a:gd name="connsiteY65" fmla="*/ 230600 h 468915"/>
                  <a:gd name="connsiteX66" fmla="*/ 346996 w 3455480"/>
                  <a:gd name="connsiteY66" fmla="*/ 230600 h 468915"/>
                  <a:gd name="connsiteX67" fmla="*/ 346996 w 3455480"/>
                  <a:gd name="connsiteY67" fmla="*/ 236601 h 468915"/>
                  <a:gd name="connsiteX68" fmla="*/ 355378 w 3455480"/>
                  <a:gd name="connsiteY68" fmla="*/ 236601 h 468915"/>
                  <a:gd name="connsiteX69" fmla="*/ 355378 w 3455480"/>
                  <a:gd name="connsiteY69" fmla="*/ 242697 h 468915"/>
                  <a:gd name="connsiteX70" fmla="*/ 359569 w 3455480"/>
                  <a:gd name="connsiteY70" fmla="*/ 242697 h 468915"/>
                  <a:gd name="connsiteX71" fmla="*/ 359569 w 3455480"/>
                  <a:gd name="connsiteY71" fmla="*/ 248793 h 468915"/>
                  <a:gd name="connsiteX72" fmla="*/ 433197 w 3455480"/>
                  <a:gd name="connsiteY72" fmla="*/ 248793 h 468915"/>
                  <a:gd name="connsiteX73" fmla="*/ 433197 w 3455480"/>
                  <a:gd name="connsiteY73" fmla="*/ 254793 h 468915"/>
                  <a:gd name="connsiteX74" fmla="*/ 454247 w 3455480"/>
                  <a:gd name="connsiteY74" fmla="*/ 254793 h 468915"/>
                  <a:gd name="connsiteX75" fmla="*/ 454247 w 3455480"/>
                  <a:gd name="connsiteY75" fmla="*/ 260889 h 468915"/>
                  <a:gd name="connsiteX76" fmla="*/ 460534 w 3455480"/>
                  <a:gd name="connsiteY76" fmla="*/ 260889 h 468915"/>
                  <a:gd name="connsiteX77" fmla="*/ 460534 w 3455480"/>
                  <a:gd name="connsiteY77" fmla="*/ 266985 h 468915"/>
                  <a:gd name="connsiteX78" fmla="*/ 502634 w 3455480"/>
                  <a:gd name="connsiteY78" fmla="*/ 266985 h 468915"/>
                  <a:gd name="connsiteX79" fmla="*/ 502634 w 3455480"/>
                  <a:gd name="connsiteY79" fmla="*/ 272986 h 468915"/>
                  <a:gd name="connsiteX80" fmla="*/ 517303 w 3455480"/>
                  <a:gd name="connsiteY80" fmla="*/ 272986 h 468915"/>
                  <a:gd name="connsiteX81" fmla="*/ 517303 w 3455480"/>
                  <a:gd name="connsiteY81" fmla="*/ 279082 h 468915"/>
                  <a:gd name="connsiteX82" fmla="*/ 546830 w 3455480"/>
                  <a:gd name="connsiteY82" fmla="*/ 279082 h 468915"/>
                  <a:gd name="connsiteX83" fmla="*/ 546830 w 3455480"/>
                  <a:gd name="connsiteY83" fmla="*/ 285178 h 468915"/>
                  <a:gd name="connsiteX84" fmla="*/ 548926 w 3455480"/>
                  <a:gd name="connsiteY84" fmla="*/ 285178 h 468915"/>
                  <a:gd name="connsiteX85" fmla="*/ 548926 w 3455480"/>
                  <a:gd name="connsiteY85" fmla="*/ 291179 h 468915"/>
                  <a:gd name="connsiteX86" fmla="*/ 571976 w 3455480"/>
                  <a:gd name="connsiteY86" fmla="*/ 291179 h 468915"/>
                  <a:gd name="connsiteX87" fmla="*/ 571976 w 3455480"/>
                  <a:gd name="connsiteY87" fmla="*/ 297275 h 468915"/>
                  <a:gd name="connsiteX88" fmla="*/ 584645 w 3455480"/>
                  <a:gd name="connsiteY88" fmla="*/ 297275 h 468915"/>
                  <a:gd name="connsiteX89" fmla="*/ 584645 w 3455480"/>
                  <a:gd name="connsiteY89" fmla="*/ 303371 h 468915"/>
                  <a:gd name="connsiteX90" fmla="*/ 620363 w 3455480"/>
                  <a:gd name="connsiteY90" fmla="*/ 303371 h 468915"/>
                  <a:gd name="connsiteX91" fmla="*/ 620363 w 3455480"/>
                  <a:gd name="connsiteY91" fmla="*/ 309467 h 468915"/>
                  <a:gd name="connsiteX92" fmla="*/ 736092 w 3455480"/>
                  <a:gd name="connsiteY92" fmla="*/ 309467 h 468915"/>
                  <a:gd name="connsiteX93" fmla="*/ 736092 w 3455480"/>
                  <a:gd name="connsiteY93" fmla="*/ 315468 h 468915"/>
                  <a:gd name="connsiteX94" fmla="*/ 773906 w 3455480"/>
                  <a:gd name="connsiteY94" fmla="*/ 315468 h 468915"/>
                  <a:gd name="connsiteX95" fmla="*/ 773906 w 3455480"/>
                  <a:gd name="connsiteY95" fmla="*/ 321659 h 468915"/>
                  <a:gd name="connsiteX96" fmla="*/ 826484 w 3455480"/>
                  <a:gd name="connsiteY96" fmla="*/ 321659 h 468915"/>
                  <a:gd name="connsiteX97" fmla="*/ 826484 w 3455480"/>
                  <a:gd name="connsiteY97" fmla="*/ 327755 h 468915"/>
                  <a:gd name="connsiteX98" fmla="*/ 845439 w 3455480"/>
                  <a:gd name="connsiteY98" fmla="*/ 327755 h 468915"/>
                  <a:gd name="connsiteX99" fmla="*/ 845439 w 3455480"/>
                  <a:gd name="connsiteY99" fmla="*/ 333851 h 468915"/>
                  <a:gd name="connsiteX100" fmla="*/ 855917 w 3455480"/>
                  <a:gd name="connsiteY100" fmla="*/ 333851 h 468915"/>
                  <a:gd name="connsiteX101" fmla="*/ 855917 w 3455480"/>
                  <a:gd name="connsiteY101" fmla="*/ 340042 h 468915"/>
                  <a:gd name="connsiteX102" fmla="*/ 889635 w 3455480"/>
                  <a:gd name="connsiteY102" fmla="*/ 340042 h 468915"/>
                  <a:gd name="connsiteX103" fmla="*/ 889635 w 3455480"/>
                  <a:gd name="connsiteY103" fmla="*/ 346138 h 468915"/>
                  <a:gd name="connsiteX104" fmla="*/ 895922 w 3455480"/>
                  <a:gd name="connsiteY104" fmla="*/ 346138 h 468915"/>
                  <a:gd name="connsiteX105" fmla="*/ 895922 w 3455480"/>
                  <a:gd name="connsiteY105" fmla="*/ 352234 h 468915"/>
                  <a:gd name="connsiteX106" fmla="*/ 910590 w 3455480"/>
                  <a:gd name="connsiteY106" fmla="*/ 352234 h 468915"/>
                  <a:gd name="connsiteX107" fmla="*/ 910590 w 3455480"/>
                  <a:gd name="connsiteY107" fmla="*/ 358330 h 468915"/>
                  <a:gd name="connsiteX108" fmla="*/ 923258 w 3455480"/>
                  <a:gd name="connsiteY108" fmla="*/ 358330 h 468915"/>
                  <a:gd name="connsiteX109" fmla="*/ 923258 w 3455480"/>
                  <a:gd name="connsiteY109" fmla="*/ 364521 h 468915"/>
                  <a:gd name="connsiteX110" fmla="*/ 948500 w 3455480"/>
                  <a:gd name="connsiteY110" fmla="*/ 364521 h 468915"/>
                  <a:gd name="connsiteX111" fmla="*/ 948500 w 3455480"/>
                  <a:gd name="connsiteY111" fmla="*/ 370617 h 468915"/>
                  <a:gd name="connsiteX112" fmla="*/ 1177766 w 3455480"/>
                  <a:gd name="connsiteY112" fmla="*/ 370617 h 468915"/>
                  <a:gd name="connsiteX113" fmla="*/ 1177766 w 3455480"/>
                  <a:gd name="connsiteY113" fmla="*/ 376809 h 468915"/>
                  <a:gd name="connsiteX114" fmla="*/ 1291304 w 3455480"/>
                  <a:gd name="connsiteY114" fmla="*/ 376809 h 468915"/>
                  <a:gd name="connsiteX115" fmla="*/ 1291304 w 3455480"/>
                  <a:gd name="connsiteY115" fmla="*/ 383000 h 468915"/>
                  <a:gd name="connsiteX116" fmla="*/ 1560481 w 3455480"/>
                  <a:gd name="connsiteY116" fmla="*/ 383000 h 468915"/>
                  <a:gd name="connsiteX117" fmla="*/ 1560481 w 3455480"/>
                  <a:gd name="connsiteY117" fmla="*/ 389286 h 468915"/>
                  <a:gd name="connsiteX118" fmla="*/ 1634109 w 3455480"/>
                  <a:gd name="connsiteY118" fmla="*/ 389286 h 468915"/>
                  <a:gd name="connsiteX119" fmla="*/ 1634109 w 3455480"/>
                  <a:gd name="connsiteY119" fmla="*/ 395573 h 468915"/>
                  <a:gd name="connsiteX120" fmla="*/ 1714024 w 3455480"/>
                  <a:gd name="connsiteY120" fmla="*/ 395573 h 468915"/>
                  <a:gd name="connsiteX121" fmla="*/ 1714024 w 3455480"/>
                  <a:gd name="connsiteY121" fmla="*/ 401859 h 468915"/>
                  <a:gd name="connsiteX122" fmla="*/ 1875949 w 3455480"/>
                  <a:gd name="connsiteY122" fmla="*/ 401859 h 468915"/>
                  <a:gd name="connsiteX123" fmla="*/ 1875949 w 3455480"/>
                  <a:gd name="connsiteY123" fmla="*/ 408336 h 468915"/>
                  <a:gd name="connsiteX124" fmla="*/ 1892808 w 3455480"/>
                  <a:gd name="connsiteY124" fmla="*/ 408336 h 468915"/>
                  <a:gd name="connsiteX125" fmla="*/ 1892808 w 3455480"/>
                  <a:gd name="connsiteY125" fmla="*/ 414718 h 468915"/>
                  <a:gd name="connsiteX126" fmla="*/ 2010632 w 3455480"/>
                  <a:gd name="connsiteY126" fmla="*/ 414718 h 468915"/>
                  <a:gd name="connsiteX127" fmla="*/ 2010632 w 3455480"/>
                  <a:gd name="connsiteY127" fmla="*/ 421195 h 468915"/>
                  <a:gd name="connsiteX128" fmla="*/ 2103120 w 3455480"/>
                  <a:gd name="connsiteY128" fmla="*/ 421195 h 468915"/>
                  <a:gd name="connsiteX129" fmla="*/ 2103120 w 3455480"/>
                  <a:gd name="connsiteY129" fmla="*/ 427577 h 468915"/>
                  <a:gd name="connsiteX130" fmla="*/ 2122075 w 3455480"/>
                  <a:gd name="connsiteY130" fmla="*/ 427577 h 468915"/>
                  <a:gd name="connsiteX131" fmla="*/ 2122075 w 3455480"/>
                  <a:gd name="connsiteY131" fmla="*/ 434054 h 468915"/>
                  <a:gd name="connsiteX132" fmla="*/ 2975896 w 3455480"/>
                  <a:gd name="connsiteY132" fmla="*/ 434054 h 468915"/>
                  <a:gd name="connsiteX133" fmla="*/ 2975896 w 3455480"/>
                  <a:gd name="connsiteY133" fmla="*/ 468915 h 468915"/>
                  <a:gd name="connsiteX134" fmla="*/ 3455480 w 3455480"/>
                  <a:gd name="connsiteY134" fmla="*/ 468915 h 468915"/>
                  <a:gd name="connsiteX0" fmla="*/ 0 w 3455480"/>
                  <a:gd name="connsiteY0" fmla="*/ 0 h 468915"/>
                  <a:gd name="connsiteX1" fmla="*/ 0 w 3455480"/>
                  <a:gd name="connsiteY1" fmla="*/ 6096 h 468915"/>
                  <a:gd name="connsiteX2" fmla="*/ 10477 w 3455480"/>
                  <a:gd name="connsiteY2" fmla="*/ 12192 h 468915"/>
                  <a:gd name="connsiteX3" fmla="*/ 18860 w 3455480"/>
                  <a:gd name="connsiteY3" fmla="*/ 12192 h 468915"/>
                  <a:gd name="connsiteX4" fmla="*/ 18860 w 3455480"/>
                  <a:gd name="connsiteY4" fmla="*/ 18288 h 468915"/>
                  <a:gd name="connsiteX5" fmla="*/ 33623 w 3455480"/>
                  <a:gd name="connsiteY5" fmla="*/ 18288 h 468915"/>
                  <a:gd name="connsiteX6" fmla="*/ 33623 w 3455480"/>
                  <a:gd name="connsiteY6" fmla="*/ 24288 h 468915"/>
                  <a:gd name="connsiteX7" fmla="*/ 37814 w 3455480"/>
                  <a:gd name="connsiteY7" fmla="*/ 24288 h 468915"/>
                  <a:gd name="connsiteX8" fmla="*/ 37814 w 3455480"/>
                  <a:gd name="connsiteY8" fmla="*/ 30384 h 468915"/>
                  <a:gd name="connsiteX9" fmla="*/ 42005 w 3455480"/>
                  <a:gd name="connsiteY9" fmla="*/ 30384 h 468915"/>
                  <a:gd name="connsiteX10" fmla="*/ 42005 w 3455480"/>
                  <a:gd name="connsiteY10" fmla="*/ 36480 h 468915"/>
                  <a:gd name="connsiteX11" fmla="*/ 54674 w 3455480"/>
                  <a:gd name="connsiteY11" fmla="*/ 36480 h 468915"/>
                  <a:gd name="connsiteX12" fmla="*/ 54674 w 3455480"/>
                  <a:gd name="connsiteY12" fmla="*/ 42481 h 468915"/>
                  <a:gd name="connsiteX13" fmla="*/ 84106 w 3455480"/>
                  <a:gd name="connsiteY13" fmla="*/ 42481 h 468915"/>
                  <a:gd name="connsiteX14" fmla="*/ 84106 w 3455480"/>
                  <a:gd name="connsiteY14" fmla="*/ 48577 h 468915"/>
                  <a:gd name="connsiteX15" fmla="*/ 92488 w 3455480"/>
                  <a:gd name="connsiteY15" fmla="*/ 48577 h 468915"/>
                  <a:gd name="connsiteX16" fmla="*/ 92488 w 3455480"/>
                  <a:gd name="connsiteY16" fmla="*/ 54673 h 468915"/>
                  <a:gd name="connsiteX17" fmla="*/ 94583 w 3455480"/>
                  <a:gd name="connsiteY17" fmla="*/ 54673 h 468915"/>
                  <a:gd name="connsiteX18" fmla="*/ 94583 w 3455480"/>
                  <a:gd name="connsiteY18" fmla="*/ 60674 h 468915"/>
                  <a:gd name="connsiteX19" fmla="*/ 109347 w 3455480"/>
                  <a:gd name="connsiteY19" fmla="*/ 60674 h 468915"/>
                  <a:gd name="connsiteX20" fmla="*/ 109347 w 3455480"/>
                  <a:gd name="connsiteY20" fmla="*/ 72866 h 468915"/>
                  <a:gd name="connsiteX21" fmla="*/ 111443 w 3455480"/>
                  <a:gd name="connsiteY21" fmla="*/ 72866 h 468915"/>
                  <a:gd name="connsiteX22" fmla="*/ 111443 w 3455480"/>
                  <a:gd name="connsiteY22" fmla="*/ 78867 h 468915"/>
                  <a:gd name="connsiteX23" fmla="*/ 117729 w 3455480"/>
                  <a:gd name="connsiteY23" fmla="*/ 78867 h 468915"/>
                  <a:gd name="connsiteX24" fmla="*/ 117729 w 3455480"/>
                  <a:gd name="connsiteY24" fmla="*/ 84963 h 468915"/>
                  <a:gd name="connsiteX25" fmla="*/ 121920 w 3455480"/>
                  <a:gd name="connsiteY25" fmla="*/ 84963 h 468915"/>
                  <a:gd name="connsiteX26" fmla="*/ 121920 w 3455480"/>
                  <a:gd name="connsiteY26" fmla="*/ 91059 h 468915"/>
                  <a:gd name="connsiteX27" fmla="*/ 138779 w 3455480"/>
                  <a:gd name="connsiteY27" fmla="*/ 91059 h 468915"/>
                  <a:gd name="connsiteX28" fmla="*/ 138779 w 3455480"/>
                  <a:gd name="connsiteY28" fmla="*/ 103155 h 468915"/>
                  <a:gd name="connsiteX29" fmla="*/ 142970 w 3455480"/>
                  <a:gd name="connsiteY29" fmla="*/ 103155 h 468915"/>
                  <a:gd name="connsiteX30" fmla="*/ 142970 w 3455480"/>
                  <a:gd name="connsiteY30" fmla="*/ 109251 h 468915"/>
                  <a:gd name="connsiteX31" fmla="*/ 166116 w 3455480"/>
                  <a:gd name="connsiteY31" fmla="*/ 109251 h 468915"/>
                  <a:gd name="connsiteX32" fmla="*/ 166116 w 3455480"/>
                  <a:gd name="connsiteY32" fmla="*/ 115347 h 468915"/>
                  <a:gd name="connsiteX33" fmla="*/ 170307 w 3455480"/>
                  <a:gd name="connsiteY33" fmla="*/ 115347 h 468915"/>
                  <a:gd name="connsiteX34" fmla="*/ 170307 w 3455480"/>
                  <a:gd name="connsiteY34" fmla="*/ 121348 h 468915"/>
                  <a:gd name="connsiteX35" fmla="*/ 176594 w 3455480"/>
                  <a:gd name="connsiteY35" fmla="*/ 121348 h 468915"/>
                  <a:gd name="connsiteX36" fmla="*/ 176594 w 3455480"/>
                  <a:gd name="connsiteY36" fmla="*/ 133540 h 468915"/>
                  <a:gd name="connsiteX37" fmla="*/ 195548 w 3455480"/>
                  <a:gd name="connsiteY37" fmla="*/ 133540 h 468915"/>
                  <a:gd name="connsiteX38" fmla="*/ 195548 w 3455480"/>
                  <a:gd name="connsiteY38" fmla="*/ 139541 h 468915"/>
                  <a:gd name="connsiteX39" fmla="*/ 203930 w 3455480"/>
                  <a:gd name="connsiteY39" fmla="*/ 139541 h 468915"/>
                  <a:gd name="connsiteX40" fmla="*/ 203930 w 3455480"/>
                  <a:gd name="connsiteY40" fmla="*/ 145637 h 468915"/>
                  <a:gd name="connsiteX41" fmla="*/ 216599 w 3455480"/>
                  <a:gd name="connsiteY41" fmla="*/ 145637 h 468915"/>
                  <a:gd name="connsiteX42" fmla="*/ 216599 w 3455480"/>
                  <a:gd name="connsiteY42" fmla="*/ 151733 h 468915"/>
                  <a:gd name="connsiteX43" fmla="*/ 233458 w 3455480"/>
                  <a:gd name="connsiteY43" fmla="*/ 151733 h 468915"/>
                  <a:gd name="connsiteX44" fmla="*/ 233458 w 3455480"/>
                  <a:gd name="connsiteY44" fmla="*/ 157734 h 468915"/>
                  <a:gd name="connsiteX45" fmla="*/ 260795 w 3455480"/>
                  <a:gd name="connsiteY45" fmla="*/ 157734 h 468915"/>
                  <a:gd name="connsiteX46" fmla="*/ 260795 w 3455480"/>
                  <a:gd name="connsiteY46" fmla="*/ 163830 h 468915"/>
                  <a:gd name="connsiteX47" fmla="*/ 262890 w 3455480"/>
                  <a:gd name="connsiteY47" fmla="*/ 163830 h 468915"/>
                  <a:gd name="connsiteX48" fmla="*/ 262890 w 3455480"/>
                  <a:gd name="connsiteY48" fmla="*/ 169926 h 468915"/>
                  <a:gd name="connsiteX49" fmla="*/ 273367 w 3455480"/>
                  <a:gd name="connsiteY49" fmla="*/ 169926 h 468915"/>
                  <a:gd name="connsiteX50" fmla="*/ 273367 w 3455480"/>
                  <a:gd name="connsiteY50" fmla="*/ 175926 h 468915"/>
                  <a:gd name="connsiteX51" fmla="*/ 279654 w 3455480"/>
                  <a:gd name="connsiteY51" fmla="*/ 175926 h 468915"/>
                  <a:gd name="connsiteX52" fmla="*/ 279654 w 3455480"/>
                  <a:gd name="connsiteY52" fmla="*/ 188118 h 468915"/>
                  <a:gd name="connsiteX53" fmla="*/ 288131 w 3455480"/>
                  <a:gd name="connsiteY53" fmla="*/ 188118 h 468915"/>
                  <a:gd name="connsiteX54" fmla="*/ 288131 w 3455480"/>
                  <a:gd name="connsiteY54" fmla="*/ 194119 h 468915"/>
                  <a:gd name="connsiteX55" fmla="*/ 294418 w 3455480"/>
                  <a:gd name="connsiteY55" fmla="*/ 194119 h 468915"/>
                  <a:gd name="connsiteX56" fmla="*/ 294418 w 3455480"/>
                  <a:gd name="connsiteY56" fmla="*/ 206311 h 468915"/>
                  <a:gd name="connsiteX57" fmla="*/ 296513 w 3455480"/>
                  <a:gd name="connsiteY57" fmla="*/ 206311 h 468915"/>
                  <a:gd name="connsiteX58" fmla="*/ 296513 w 3455480"/>
                  <a:gd name="connsiteY58" fmla="*/ 212407 h 468915"/>
                  <a:gd name="connsiteX59" fmla="*/ 309086 w 3455480"/>
                  <a:gd name="connsiteY59" fmla="*/ 212407 h 468915"/>
                  <a:gd name="connsiteX60" fmla="*/ 309086 w 3455480"/>
                  <a:gd name="connsiteY60" fmla="*/ 218408 h 468915"/>
                  <a:gd name="connsiteX61" fmla="*/ 332232 w 3455480"/>
                  <a:gd name="connsiteY61" fmla="*/ 218408 h 468915"/>
                  <a:gd name="connsiteX62" fmla="*/ 332232 w 3455480"/>
                  <a:gd name="connsiteY62" fmla="*/ 224504 h 468915"/>
                  <a:gd name="connsiteX63" fmla="*/ 338614 w 3455480"/>
                  <a:gd name="connsiteY63" fmla="*/ 224504 h 468915"/>
                  <a:gd name="connsiteX64" fmla="*/ 338614 w 3455480"/>
                  <a:gd name="connsiteY64" fmla="*/ 230600 h 468915"/>
                  <a:gd name="connsiteX65" fmla="*/ 346996 w 3455480"/>
                  <a:gd name="connsiteY65" fmla="*/ 230600 h 468915"/>
                  <a:gd name="connsiteX66" fmla="*/ 346996 w 3455480"/>
                  <a:gd name="connsiteY66" fmla="*/ 236601 h 468915"/>
                  <a:gd name="connsiteX67" fmla="*/ 355378 w 3455480"/>
                  <a:gd name="connsiteY67" fmla="*/ 236601 h 468915"/>
                  <a:gd name="connsiteX68" fmla="*/ 355378 w 3455480"/>
                  <a:gd name="connsiteY68" fmla="*/ 242697 h 468915"/>
                  <a:gd name="connsiteX69" fmla="*/ 359569 w 3455480"/>
                  <a:gd name="connsiteY69" fmla="*/ 242697 h 468915"/>
                  <a:gd name="connsiteX70" fmla="*/ 359569 w 3455480"/>
                  <a:gd name="connsiteY70" fmla="*/ 248793 h 468915"/>
                  <a:gd name="connsiteX71" fmla="*/ 433197 w 3455480"/>
                  <a:gd name="connsiteY71" fmla="*/ 248793 h 468915"/>
                  <a:gd name="connsiteX72" fmla="*/ 433197 w 3455480"/>
                  <a:gd name="connsiteY72" fmla="*/ 254793 h 468915"/>
                  <a:gd name="connsiteX73" fmla="*/ 454247 w 3455480"/>
                  <a:gd name="connsiteY73" fmla="*/ 254793 h 468915"/>
                  <a:gd name="connsiteX74" fmla="*/ 454247 w 3455480"/>
                  <a:gd name="connsiteY74" fmla="*/ 260889 h 468915"/>
                  <a:gd name="connsiteX75" fmla="*/ 460534 w 3455480"/>
                  <a:gd name="connsiteY75" fmla="*/ 260889 h 468915"/>
                  <a:gd name="connsiteX76" fmla="*/ 460534 w 3455480"/>
                  <a:gd name="connsiteY76" fmla="*/ 266985 h 468915"/>
                  <a:gd name="connsiteX77" fmla="*/ 502634 w 3455480"/>
                  <a:gd name="connsiteY77" fmla="*/ 266985 h 468915"/>
                  <a:gd name="connsiteX78" fmla="*/ 502634 w 3455480"/>
                  <a:gd name="connsiteY78" fmla="*/ 272986 h 468915"/>
                  <a:gd name="connsiteX79" fmla="*/ 517303 w 3455480"/>
                  <a:gd name="connsiteY79" fmla="*/ 272986 h 468915"/>
                  <a:gd name="connsiteX80" fmla="*/ 517303 w 3455480"/>
                  <a:gd name="connsiteY80" fmla="*/ 279082 h 468915"/>
                  <a:gd name="connsiteX81" fmla="*/ 546830 w 3455480"/>
                  <a:gd name="connsiteY81" fmla="*/ 279082 h 468915"/>
                  <a:gd name="connsiteX82" fmla="*/ 546830 w 3455480"/>
                  <a:gd name="connsiteY82" fmla="*/ 285178 h 468915"/>
                  <a:gd name="connsiteX83" fmla="*/ 548926 w 3455480"/>
                  <a:gd name="connsiteY83" fmla="*/ 285178 h 468915"/>
                  <a:gd name="connsiteX84" fmla="*/ 548926 w 3455480"/>
                  <a:gd name="connsiteY84" fmla="*/ 291179 h 468915"/>
                  <a:gd name="connsiteX85" fmla="*/ 571976 w 3455480"/>
                  <a:gd name="connsiteY85" fmla="*/ 291179 h 468915"/>
                  <a:gd name="connsiteX86" fmla="*/ 571976 w 3455480"/>
                  <a:gd name="connsiteY86" fmla="*/ 297275 h 468915"/>
                  <a:gd name="connsiteX87" fmla="*/ 584645 w 3455480"/>
                  <a:gd name="connsiteY87" fmla="*/ 297275 h 468915"/>
                  <a:gd name="connsiteX88" fmla="*/ 584645 w 3455480"/>
                  <a:gd name="connsiteY88" fmla="*/ 303371 h 468915"/>
                  <a:gd name="connsiteX89" fmla="*/ 620363 w 3455480"/>
                  <a:gd name="connsiteY89" fmla="*/ 303371 h 468915"/>
                  <a:gd name="connsiteX90" fmla="*/ 620363 w 3455480"/>
                  <a:gd name="connsiteY90" fmla="*/ 309467 h 468915"/>
                  <a:gd name="connsiteX91" fmla="*/ 736092 w 3455480"/>
                  <a:gd name="connsiteY91" fmla="*/ 309467 h 468915"/>
                  <a:gd name="connsiteX92" fmla="*/ 736092 w 3455480"/>
                  <a:gd name="connsiteY92" fmla="*/ 315468 h 468915"/>
                  <a:gd name="connsiteX93" fmla="*/ 773906 w 3455480"/>
                  <a:gd name="connsiteY93" fmla="*/ 315468 h 468915"/>
                  <a:gd name="connsiteX94" fmla="*/ 773906 w 3455480"/>
                  <a:gd name="connsiteY94" fmla="*/ 321659 h 468915"/>
                  <a:gd name="connsiteX95" fmla="*/ 826484 w 3455480"/>
                  <a:gd name="connsiteY95" fmla="*/ 321659 h 468915"/>
                  <a:gd name="connsiteX96" fmla="*/ 826484 w 3455480"/>
                  <a:gd name="connsiteY96" fmla="*/ 327755 h 468915"/>
                  <a:gd name="connsiteX97" fmla="*/ 845439 w 3455480"/>
                  <a:gd name="connsiteY97" fmla="*/ 327755 h 468915"/>
                  <a:gd name="connsiteX98" fmla="*/ 845439 w 3455480"/>
                  <a:gd name="connsiteY98" fmla="*/ 333851 h 468915"/>
                  <a:gd name="connsiteX99" fmla="*/ 855917 w 3455480"/>
                  <a:gd name="connsiteY99" fmla="*/ 333851 h 468915"/>
                  <a:gd name="connsiteX100" fmla="*/ 855917 w 3455480"/>
                  <a:gd name="connsiteY100" fmla="*/ 340042 h 468915"/>
                  <a:gd name="connsiteX101" fmla="*/ 889635 w 3455480"/>
                  <a:gd name="connsiteY101" fmla="*/ 340042 h 468915"/>
                  <a:gd name="connsiteX102" fmla="*/ 889635 w 3455480"/>
                  <a:gd name="connsiteY102" fmla="*/ 346138 h 468915"/>
                  <a:gd name="connsiteX103" fmla="*/ 895922 w 3455480"/>
                  <a:gd name="connsiteY103" fmla="*/ 346138 h 468915"/>
                  <a:gd name="connsiteX104" fmla="*/ 895922 w 3455480"/>
                  <a:gd name="connsiteY104" fmla="*/ 352234 h 468915"/>
                  <a:gd name="connsiteX105" fmla="*/ 910590 w 3455480"/>
                  <a:gd name="connsiteY105" fmla="*/ 352234 h 468915"/>
                  <a:gd name="connsiteX106" fmla="*/ 910590 w 3455480"/>
                  <a:gd name="connsiteY106" fmla="*/ 358330 h 468915"/>
                  <a:gd name="connsiteX107" fmla="*/ 923258 w 3455480"/>
                  <a:gd name="connsiteY107" fmla="*/ 358330 h 468915"/>
                  <a:gd name="connsiteX108" fmla="*/ 923258 w 3455480"/>
                  <a:gd name="connsiteY108" fmla="*/ 364521 h 468915"/>
                  <a:gd name="connsiteX109" fmla="*/ 948500 w 3455480"/>
                  <a:gd name="connsiteY109" fmla="*/ 364521 h 468915"/>
                  <a:gd name="connsiteX110" fmla="*/ 948500 w 3455480"/>
                  <a:gd name="connsiteY110" fmla="*/ 370617 h 468915"/>
                  <a:gd name="connsiteX111" fmla="*/ 1177766 w 3455480"/>
                  <a:gd name="connsiteY111" fmla="*/ 370617 h 468915"/>
                  <a:gd name="connsiteX112" fmla="*/ 1177766 w 3455480"/>
                  <a:gd name="connsiteY112" fmla="*/ 376809 h 468915"/>
                  <a:gd name="connsiteX113" fmla="*/ 1291304 w 3455480"/>
                  <a:gd name="connsiteY113" fmla="*/ 376809 h 468915"/>
                  <a:gd name="connsiteX114" fmla="*/ 1291304 w 3455480"/>
                  <a:gd name="connsiteY114" fmla="*/ 383000 h 468915"/>
                  <a:gd name="connsiteX115" fmla="*/ 1560481 w 3455480"/>
                  <a:gd name="connsiteY115" fmla="*/ 383000 h 468915"/>
                  <a:gd name="connsiteX116" fmla="*/ 1560481 w 3455480"/>
                  <a:gd name="connsiteY116" fmla="*/ 389286 h 468915"/>
                  <a:gd name="connsiteX117" fmla="*/ 1634109 w 3455480"/>
                  <a:gd name="connsiteY117" fmla="*/ 389286 h 468915"/>
                  <a:gd name="connsiteX118" fmla="*/ 1634109 w 3455480"/>
                  <a:gd name="connsiteY118" fmla="*/ 395573 h 468915"/>
                  <a:gd name="connsiteX119" fmla="*/ 1714024 w 3455480"/>
                  <a:gd name="connsiteY119" fmla="*/ 395573 h 468915"/>
                  <a:gd name="connsiteX120" fmla="*/ 1714024 w 3455480"/>
                  <a:gd name="connsiteY120" fmla="*/ 401859 h 468915"/>
                  <a:gd name="connsiteX121" fmla="*/ 1875949 w 3455480"/>
                  <a:gd name="connsiteY121" fmla="*/ 401859 h 468915"/>
                  <a:gd name="connsiteX122" fmla="*/ 1875949 w 3455480"/>
                  <a:gd name="connsiteY122" fmla="*/ 408336 h 468915"/>
                  <a:gd name="connsiteX123" fmla="*/ 1892808 w 3455480"/>
                  <a:gd name="connsiteY123" fmla="*/ 408336 h 468915"/>
                  <a:gd name="connsiteX124" fmla="*/ 1892808 w 3455480"/>
                  <a:gd name="connsiteY124" fmla="*/ 414718 h 468915"/>
                  <a:gd name="connsiteX125" fmla="*/ 2010632 w 3455480"/>
                  <a:gd name="connsiteY125" fmla="*/ 414718 h 468915"/>
                  <a:gd name="connsiteX126" fmla="*/ 2010632 w 3455480"/>
                  <a:gd name="connsiteY126" fmla="*/ 421195 h 468915"/>
                  <a:gd name="connsiteX127" fmla="*/ 2103120 w 3455480"/>
                  <a:gd name="connsiteY127" fmla="*/ 421195 h 468915"/>
                  <a:gd name="connsiteX128" fmla="*/ 2103120 w 3455480"/>
                  <a:gd name="connsiteY128" fmla="*/ 427577 h 468915"/>
                  <a:gd name="connsiteX129" fmla="*/ 2122075 w 3455480"/>
                  <a:gd name="connsiteY129" fmla="*/ 427577 h 468915"/>
                  <a:gd name="connsiteX130" fmla="*/ 2122075 w 3455480"/>
                  <a:gd name="connsiteY130" fmla="*/ 434054 h 468915"/>
                  <a:gd name="connsiteX131" fmla="*/ 2975896 w 3455480"/>
                  <a:gd name="connsiteY131" fmla="*/ 434054 h 468915"/>
                  <a:gd name="connsiteX132" fmla="*/ 2975896 w 3455480"/>
                  <a:gd name="connsiteY132" fmla="*/ 468915 h 468915"/>
                  <a:gd name="connsiteX133" fmla="*/ 3455480 w 3455480"/>
                  <a:gd name="connsiteY133" fmla="*/ 468915 h 468915"/>
                  <a:gd name="connsiteX0" fmla="*/ 0 w 3455480"/>
                  <a:gd name="connsiteY0" fmla="*/ 0 h 468915"/>
                  <a:gd name="connsiteX1" fmla="*/ 10477 w 3455480"/>
                  <a:gd name="connsiteY1" fmla="*/ 12192 h 468915"/>
                  <a:gd name="connsiteX2" fmla="*/ 18860 w 3455480"/>
                  <a:gd name="connsiteY2" fmla="*/ 12192 h 468915"/>
                  <a:gd name="connsiteX3" fmla="*/ 18860 w 3455480"/>
                  <a:gd name="connsiteY3" fmla="*/ 18288 h 468915"/>
                  <a:gd name="connsiteX4" fmla="*/ 33623 w 3455480"/>
                  <a:gd name="connsiteY4" fmla="*/ 18288 h 468915"/>
                  <a:gd name="connsiteX5" fmla="*/ 33623 w 3455480"/>
                  <a:gd name="connsiteY5" fmla="*/ 24288 h 468915"/>
                  <a:gd name="connsiteX6" fmla="*/ 37814 w 3455480"/>
                  <a:gd name="connsiteY6" fmla="*/ 24288 h 468915"/>
                  <a:gd name="connsiteX7" fmla="*/ 37814 w 3455480"/>
                  <a:gd name="connsiteY7" fmla="*/ 30384 h 468915"/>
                  <a:gd name="connsiteX8" fmla="*/ 42005 w 3455480"/>
                  <a:gd name="connsiteY8" fmla="*/ 30384 h 468915"/>
                  <a:gd name="connsiteX9" fmla="*/ 42005 w 3455480"/>
                  <a:gd name="connsiteY9" fmla="*/ 36480 h 468915"/>
                  <a:gd name="connsiteX10" fmla="*/ 54674 w 3455480"/>
                  <a:gd name="connsiteY10" fmla="*/ 36480 h 468915"/>
                  <a:gd name="connsiteX11" fmla="*/ 54674 w 3455480"/>
                  <a:gd name="connsiteY11" fmla="*/ 42481 h 468915"/>
                  <a:gd name="connsiteX12" fmla="*/ 84106 w 3455480"/>
                  <a:gd name="connsiteY12" fmla="*/ 42481 h 468915"/>
                  <a:gd name="connsiteX13" fmla="*/ 84106 w 3455480"/>
                  <a:gd name="connsiteY13" fmla="*/ 48577 h 468915"/>
                  <a:gd name="connsiteX14" fmla="*/ 92488 w 3455480"/>
                  <a:gd name="connsiteY14" fmla="*/ 48577 h 468915"/>
                  <a:gd name="connsiteX15" fmla="*/ 92488 w 3455480"/>
                  <a:gd name="connsiteY15" fmla="*/ 54673 h 468915"/>
                  <a:gd name="connsiteX16" fmla="*/ 94583 w 3455480"/>
                  <a:gd name="connsiteY16" fmla="*/ 54673 h 468915"/>
                  <a:gd name="connsiteX17" fmla="*/ 94583 w 3455480"/>
                  <a:gd name="connsiteY17" fmla="*/ 60674 h 468915"/>
                  <a:gd name="connsiteX18" fmla="*/ 109347 w 3455480"/>
                  <a:gd name="connsiteY18" fmla="*/ 60674 h 468915"/>
                  <a:gd name="connsiteX19" fmla="*/ 109347 w 3455480"/>
                  <a:gd name="connsiteY19" fmla="*/ 72866 h 468915"/>
                  <a:gd name="connsiteX20" fmla="*/ 111443 w 3455480"/>
                  <a:gd name="connsiteY20" fmla="*/ 72866 h 468915"/>
                  <a:gd name="connsiteX21" fmla="*/ 111443 w 3455480"/>
                  <a:gd name="connsiteY21" fmla="*/ 78867 h 468915"/>
                  <a:gd name="connsiteX22" fmla="*/ 117729 w 3455480"/>
                  <a:gd name="connsiteY22" fmla="*/ 78867 h 468915"/>
                  <a:gd name="connsiteX23" fmla="*/ 117729 w 3455480"/>
                  <a:gd name="connsiteY23" fmla="*/ 84963 h 468915"/>
                  <a:gd name="connsiteX24" fmla="*/ 121920 w 3455480"/>
                  <a:gd name="connsiteY24" fmla="*/ 84963 h 468915"/>
                  <a:gd name="connsiteX25" fmla="*/ 121920 w 3455480"/>
                  <a:gd name="connsiteY25" fmla="*/ 91059 h 468915"/>
                  <a:gd name="connsiteX26" fmla="*/ 138779 w 3455480"/>
                  <a:gd name="connsiteY26" fmla="*/ 91059 h 468915"/>
                  <a:gd name="connsiteX27" fmla="*/ 138779 w 3455480"/>
                  <a:gd name="connsiteY27" fmla="*/ 103155 h 468915"/>
                  <a:gd name="connsiteX28" fmla="*/ 142970 w 3455480"/>
                  <a:gd name="connsiteY28" fmla="*/ 103155 h 468915"/>
                  <a:gd name="connsiteX29" fmla="*/ 142970 w 3455480"/>
                  <a:gd name="connsiteY29" fmla="*/ 109251 h 468915"/>
                  <a:gd name="connsiteX30" fmla="*/ 166116 w 3455480"/>
                  <a:gd name="connsiteY30" fmla="*/ 109251 h 468915"/>
                  <a:gd name="connsiteX31" fmla="*/ 166116 w 3455480"/>
                  <a:gd name="connsiteY31" fmla="*/ 115347 h 468915"/>
                  <a:gd name="connsiteX32" fmla="*/ 170307 w 3455480"/>
                  <a:gd name="connsiteY32" fmla="*/ 115347 h 468915"/>
                  <a:gd name="connsiteX33" fmla="*/ 170307 w 3455480"/>
                  <a:gd name="connsiteY33" fmla="*/ 121348 h 468915"/>
                  <a:gd name="connsiteX34" fmla="*/ 176594 w 3455480"/>
                  <a:gd name="connsiteY34" fmla="*/ 121348 h 468915"/>
                  <a:gd name="connsiteX35" fmla="*/ 176594 w 3455480"/>
                  <a:gd name="connsiteY35" fmla="*/ 133540 h 468915"/>
                  <a:gd name="connsiteX36" fmla="*/ 195548 w 3455480"/>
                  <a:gd name="connsiteY36" fmla="*/ 133540 h 468915"/>
                  <a:gd name="connsiteX37" fmla="*/ 195548 w 3455480"/>
                  <a:gd name="connsiteY37" fmla="*/ 139541 h 468915"/>
                  <a:gd name="connsiteX38" fmla="*/ 203930 w 3455480"/>
                  <a:gd name="connsiteY38" fmla="*/ 139541 h 468915"/>
                  <a:gd name="connsiteX39" fmla="*/ 203930 w 3455480"/>
                  <a:gd name="connsiteY39" fmla="*/ 145637 h 468915"/>
                  <a:gd name="connsiteX40" fmla="*/ 216599 w 3455480"/>
                  <a:gd name="connsiteY40" fmla="*/ 145637 h 468915"/>
                  <a:gd name="connsiteX41" fmla="*/ 216599 w 3455480"/>
                  <a:gd name="connsiteY41" fmla="*/ 151733 h 468915"/>
                  <a:gd name="connsiteX42" fmla="*/ 233458 w 3455480"/>
                  <a:gd name="connsiteY42" fmla="*/ 151733 h 468915"/>
                  <a:gd name="connsiteX43" fmla="*/ 233458 w 3455480"/>
                  <a:gd name="connsiteY43" fmla="*/ 157734 h 468915"/>
                  <a:gd name="connsiteX44" fmla="*/ 260795 w 3455480"/>
                  <a:gd name="connsiteY44" fmla="*/ 157734 h 468915"/>
                  <a:gd name="connsiteX45" fmla="*/ 260795 w 3455480"/>
                  <a:gd name="connsiteY45" fmla="*/ 163830 h 468915"/>
                  <a:gd name="connsiteX46" fmla="*/ 262890 w 3455480"/>
                  <a:gd name="connsiteY46" fmla="*/ 163830 h 468915"/>
                  <a:gd name="connsiteX47" fmla="*/ 262890 w 3455480"/>
                  <a:gd name="connsiteY47" fmla="*/ 169926 h 468915"/>
                  <a:gd name="connsiteX48" fmla="*/ 273367 w 3455480"/>
                  <a:gd name="connsiteY48" fmla="*/ 169926 h 468915"/>
                  <a:gd name="connsiteX49" fmla="*/ 273367 w 3455480"/>
                  <a:gd name="connsiteY49" fmla="*/ 175926 h 468915"/>
                  <a:gd name="connsiteX50" fmla="*/ 279654 w 3455480"/>
                  <a:gd name="connsiteY50" fmla="*/ 175926 h 468915"/>
                  <a:gd name="connsiteX51" fmla="*/ 279654 w 3455480"/>
                  <a:gd name="connsiteY51" fmla="*/ 188118 h 468915"/>
                  <a:gd name="connsiteX52" fmla="*/ 288131 w 3455480"/>
                  <a:gd name="connsiteY52" fmla="*/ 188118 h 468915"/>
                  <a:gd name="connsiteX53" fmla="*/ 288131 w 3455480"/>
                  <a:gd name="connsiteY53" fmla="*/ 194119 h 468915"/>
                  <a:gd name="connsiteX54" fmla="*/ 294418 w 3455480"/>
                  <a:gd name="connsiteY54" fmla="*/ 194119 h 468915"/>
                  <a:gd name="connsiteX55" fmla="*/ 294418 w 3455480"/>
                  <a:gd name="connsiteY55" fmla="*/ 206311 h 468915"/>
                  <a:gd name="connsiteX56" fmla="*/ 296513 w 3455480"/>
                  <a:gd name="connsiteY56" fmla="*/ 206311 h 468915"/>
                  <a:gd name="connsiteX57" fmla="*/ 296513 w 3455480"/>
                  <a:gd name="connsiteY57" fmla="*/ 212407 h 468915"/>
                  <a:gd name="connsiteX58" fmla="*/ 309086 w 3455480"/>
                  <a:gd name="connsiteY58" fmla="*/ 212407 h 468915"/>
                  <a:gd name="connsiteX59" fmla="*/ 309086 w 3455480"/>
                  <a:gd name="connsiteY59" fmla="*/ 218408 h 468915"/>
                  <a:gd name="connsiteX60" fmla="*/ 332232 w 3455480"/>
                  <a:gd name="connsiteY60" fmla="*/ 218408 h 468915"/>
                  <a:gd name="connsiteX61" fmla="*/ 332232 w 3455480"/>
                  <a:gd name="connsiteY61" fmla="*/ 224504 h 468915"/>
                  <a:gd name="connsiteX62" fmla="*/ 338614 w 3455480"/>
                  <a:gd name="connsiteY62" fmla="*/ 224504 h 468915"/>
                  <a:gd name="connsiteX63" fmla="*/ 338614 w 3455480"/>
                  <a:gd name="connsiteY63" fmla="*/ 230600 h 468915"/>
                  <a:gd name="connsiteX64" fmla="*/ 346996 w 3455480"/>
                  <a:gd name="connsiteY64" fmla="*/ 230600 h 468915"/>
                  <a:gd name="connsiteX65" fmla="*/ 346996 w 3455480"/>
                  <a:gd name="connsiteY65" fmla="*/ 236601 h 468915"/>
                  <a:gd name="connsiteX66" fmla="*/ 355378 w 3455480"/>
                  <a:gd name="connsiteY66" fmla="*/ 236601 h 468915"/>
                  <a:gd name="connsiteX67" fmla="*/ 355378 w 3455480"/>
                  <a:gd name="connsiteY67" fmla="*/ 242697 h 468915"/>
                  <a:gd name="connsiteX68" fmla="*/ 359569 w 3455480"/>
                  <a:gd name="connsiteY68" fmla="*/ 242697 h 468915"/>
                  <a:gd name="connsiteX69" fmla="*/ 359569 w 3455480"/>
                  <a:gd name="connsiteY69" fmla="*/ 248793 h 468915"/>
                  <a:gd name="connsiteX70" fmla="*/ 433197 w 3455480"/>
                  <a:gd name="connsiteY70" fmla="*/ 248793 h 468915"/>
                  <a:gd name="connsiteX71" fmla="*/ 433197 w 3455480"/>
                  <a:gd name="connsiteY71" fmla="*/ 254793 h 468915"/>
                  <a:gd name="connsiteX72" fmla="*/ 454247 w 3455480"/>
                  <a:gd name="connsiteY72" fmla="*/ 254793 h 468915"/>
                  <a:gd name="connsiteX73" fmla="*/ 454247 w 3455480"/>
                  <a:gd name="connsiteY73" fmla="*/ 260889 h 468915"/>
                  <a:gd name="connsiteX74" fmla="*/ 460534 w 3455480"/>
                  <a:gd name="connsiteY74" fmla="*/ 260889 h 468915"/>
                  <a:gd name="connsiteX75" fmla="*/ 460534 w 3455480"/>
                  <a:gd name="connsiteY75" fmla="*/ 266985 h 468915"/>
                  <a:gd name="connsiteX76" fmla="*/ 502634 w 3455480"/>
                  <a:gd name="connsiteY76" fmla="*/ 266985 h 468915"/>
                  <a:gd name="connsiteX77" fmla="*/ 502634 w 3455480"/>
                  <a:gd name="connsiteY77" fmla="*/ 272986 h 468915"/>
                  <a:gd name="connsiteX78" fmla="*/ 517303 w 3455480"/>
                  <a:gd name="connsiteY78" fmla="*/ 272986 h 468915"/>
                  <a:gd name="connsiteX79" fmla="*/ 517303 w 3455480"/>
                  <a:gd name="connsiteY79" fmla="*/ 279082 h 468915"/>
                  <a:gd name="connsiteX80" fmla="*/ 546830 w 3455480"/>
                  <a:gd name="connsiteY80" fmla="*/ 279082 h 468915"/>
                  <a:gd name="connsiteX81" fmla="*/ 546830 w 3455480"/>
                  <a:gd name="connsiteY81" fmla="*/ 285178 h 468915"/>
                  <a:gd name="connsiteX82" fmla="*/ 548926 w 3455480"/>
                  <a:gd name="connsiteY82" fmla="*/ 285178 h 468915"/>
                  <a:gd name="connsiteX83" fmla="*/ 548926 w 3455480"/>
                  <a:gd name="connsiteY83" fmla="*/ 291179 h 468915"/>
                  <a:gd name="connsiteX84" fmla="*/ 571976 w 3455480"/>
                  <a:gd name="connsiteY84" fmla="*/ 291179 h 468915"/>
                  <a:gd name="connsiteX85" fmla="*/ 571976 w 3455480"/>
                  <a:gd name="connsiteY85" fmla="*/ 297275 h 468915"/>
                  <a:gd name="connsiteX86" fmla="*/ 584645 w 3455480"/>
                  <a:gd name="connsiteY86" fmla="*/ 297275 h 468915"/>
                  <a:gd name="connsiteX87" fmla="*/ 584645 w 3455480"/>
                  <a:gd name="connsiteY87" fmla="*/ 303371 h 468915"/>
                  <a:gd name="connsiteX88" fmla="*/ 620363 w 3455480"/>
                  <a:gd name="connsiteY88" fmla="*/ 303371 h 468915"/>
                  <a:gd name="connsiteX89" fmla="*/ 620363 w 3455480"/>
                  <a:gd name="connsiteY89" fmla="*/ 309467 h 468915"/>
                  <a:gd name="connsiteX90" fmla="*/ 736092 w 3455480"/>
                  <a:gd name="connsiteY90" fmla="*/ 309467 h 468915"/>
                  <a:gd name="connsiteX91" fmla="*/ 736092 w 3455480"/>
                  <a:gd name="connsiteY91" fmla="*/ 315468 h 468915"/>
                  <a:gd name="connsiteX92" fmla="*/ 773906 w 3455480"/>
                  <a:gd name="connsiteY92" fmla="*/ 315468 h 468915"/>
                  <a:gd name="connsiteX93" fmla="*/ 773906 w 3455480"/>
                  <a:gd name="connsiteY93" fmla="*/ 321659 h 468915"/>
                  <a:gd name="connsiteX94" fmla="*/ 826484 w 3455480"/>
                  <a:gd name="connsiteY94" fmla="*/ 321659 h 468915"/>
                  <a:gd name="connsiteX95" fmla="*/ 826484 w 3455480"/>
                  <a:gd name="connsiteY95" fmla="*/ 327755 h 468915"/>
                  <a:gd name="connsiteX96" fmla="*/ 845439 w 3455480"/>
                  <a:gd name="connsiteY96" fmla="*/ 327755 h 468915"/>
                  <a:gd name="connsiteX97" fmla="*/ 845439 w 3455480"/>
                  <a:gd name="connsiteY97" fmla="*/ 333851 h 468915"/>
                  <a:gd name="connsiteX98" fmla="*/ 855917 w 3455480"/>
                  <a:gd name="connsiteY98" fmla="*/ 333851 h 468915"/>
                  <a:gd name="connsiteX99" fmla="*/ 855917 w 3455480"/>
                  <a:gd name="connsiteY99" fmla="*/ 340042 h 468915"/>
                  <a:gd name="connsiteX100" fmla="*/ 889635 w 3455480"/>
                  <a:gd name="connsiteY100" fmla="*/ 340042 h 468915"/>
                  <a:gd name="connsiteX101" fmla="*/ 889635 w 3455480"/>
                  <a:gd name="connsiteY101" fmla="*/ 346138 h 468915"/>
                  <a:gd name="connsiteX102" fmla="*/ 895922 w 3455480"/>
                  <a:gd name="connsiteY102" fmla="*/ 346138 h 468915"/>
                  <a:gd name="connsiteX103" fmla="*/ 895922 w 3455480"/>
                  <a:gd name="connsiteY103" fmla="*/ 352234 h 468915"/>
                  <a:gd name="connsiteX104" fmla="*/ 910590 w 3455480"/>
                  <a:gd name="connsiteY104" fmla="*/ 352234 h 468915"/>
                  <a:gd name="connsiteX105" fmla="*/ 910590 w 3455480"/>
                  <a:gd name="connsiteY105" fmla="*/ 358330 h 468915"/>
                  <a:gd name="connsiteX106" fmla="*/ 923258 w 3455480"/>
                  <a:gd name="connsiteY106" fmla="*/ 358330 h 468915"/>
                  <a:gd name="connsiteX107" fmla="*/ 923258 w 3455480"/>
                  <a:gd name="connsiteY107" fmla="*/ 364521 h 468915"/>
                  <a:gd name="connsiteX108" fmla="*/ 948500 w 3455480"/>
                  <a:gd name="connsiteY108" fmla="*/ 364521 h 468915"/>
                  <a:gd name="connsiteX109" fmla="*/ 948500 w 3455480"/>
                  <a:gd name="connsiteY109" fmla="*/ 370617 h 468915"/>
                  <a:gd name="connsiteX110" fmla="*/ 1177766 w 3455480"/>
                  <a:gd name="connsiteY110" fmla="*/ 370617 h 468915"/>
                  <a:gd name="connsiteX111" fmla="*/ 1177766 w 3455480"/>
                  <a:gd name="connsiteY111" fmla="*/ 376809 h 468915"/>
                  <a:gd name="connsiteX112" fmla="*/ 1291304 w 3455480"/>
                  <a:gd name="connsiteY112" fmla="*/ 376809 h 468915"/>
                  <a:gd name="connsiteX113" fmla="*/ 1291304 w 3455480"/>
                  <a:gd name="connsiteY113" fmla="*/ 383000 h 468915"/>
                  <a:gd name="connsiteX114" fmla="*/ 1560481 w 3455480"/>
                  <a:gd name="connsiteY114" fmla="*/ 383000 h 468915"/>
                  <a:gd name="connsiteX115" fmla="*/ 1560481 w 3455480"/>
                  <a:gd name="connsiteY115" fmla="*/ 389286 h 468915"/>
                  <a:gd name="connsiteX116" fmla="*/ 1634109 w 3455480"/>
                  <a:gd name="connsiteY116" fmla="*/ 389286 h 468915"/>
                  <a:gd name="connsiteX117" fmla="*/ 1634109 w 3455480"/>
                  <a:gd name="connsiteY117" fmla="*/ 395573 h 468915"/>
                  <a:gd name="connsiteX118" fmla="*/ 1714024 w 3455480"/>
                  <a:gd name="connsiteY118" fmla="*/ 395573 h 468915"/>
                  <a:gd name="connsiteX119" fmla="*/ 1714024 w 3455480"/>
                  <a:gd name="connsiteY119" fmla="*/ 401859 h 468915"/>
                  <a:gd name="connsiteX120" fmla="*/ 1875949 w 3455480"/>
                  <a:gd name="connsiteY120" fmla="*/ 401859 h 468915"/>
                  <a:gd name="connsiteX121" fmla="*/ 1875949 w 3455480"/>
                  <a:gd name="connsiteY121" fmla="*/ 408336 h 468915"/>
                  <a:gd name="connsiteX122" fmla="*/ 1892808 w 3455480"/>
                  <a:gd name="connsiteY122" fmla="*/ 408336 h 468915"/>
                  <a:gd name="connsiteX123" fmla="*/ 1892808 w 3455480"/>
                  <a:gd name="connsiteY123" fmla="*/ 414718 h 468915"/>
                  <a:gd name="connsiteX124" fmla="*/ 2010632 w 3455480"/>
                  <a:gd name="connsiteY124" fmla="*/ 414718 h 468915"/>
                  <a:gd name="connsiteX125" fmla="*/ 2010632 w 3455480"/>
                  <a:gd name="connsiteY125" fmla="*/ 421195 h 468915"/>
                  <a:gd name="connsiteX126" fmla="*/ 2103120 w 3455480"/>
                  <a:gd name="connsiteY126" fmla="*/ 421195 h 468915"/>
                  <a:gd name="connsiteX127" fmla="*/ 2103120 w 3455480"/>
                  <a:gd name="connsiteY127" fmla="*/ 427577 h 468915"/>
                  <a:gd name="connsiteX128" fmla="*/ 2122075 w 3455480"/>
                  <a:gd name="connsiteY128" fmla="*/ 427577 h 468915"/>
                  <a:gd name="connsiteX129" fmla="*/ 2122075 w 3455480"/>
                  <a:gd name="connsiteY129" fmla="*/ 434054 h 468915"/>
                  <a:gd name="connsiteX130" fmla="*/ 2975896 w 3455480"/>
                  <a:gd name="connsiteY130" fmla="*/ 434054 h 468915"/>
                  <a:gd name="connsiteX131" fmla="*/ 2975896 w 3455480"/>
                  <a:gd name="connsiteY131" fmla="*/ 468915 h 468915"/>
                  <a:gd name="connsiteX132" fmla="*/ 3455480 w 3455480"/>
                  <a:gd name="connsiteY132" fmla="*/ 468915 h 468915"/>
                  <a:gd name="connsiteX0" fmla="*/ 0 w 3445003"/>
                  <a:gd name="connsiteY0" fmla="*/ 0 h 456723"/>
                  <a:gd name="connsiteX1" fmla="*/ 8383 w 3445003"/>
                  <a:gd name="connsiteY1" fmla="*/ 0 h 456723"/>
                  <a:gd name="connsiteX2" fmla="*/ 8383 w 3445003"/>
                  <a:gd name="connsiteY2" fmla="*/ 6096 h 456723"/>
                  <a:gd name="connsiteX3" fmla="*/ 23146 w 3445003"/>
                  <a:gd name="connsiteY3" fmla="*/ 6096 h 456723"/>
                  <a:gd name="connsiteX4" fmla="*/ 23146 w 3445003"/>
                  <a:gd name="connsiteY4" fmla="*/ 12096 h 456723"/>
                  <a:gd name="connsiteX5" fmla="*/ 27337 w 3445003"/>
                  <a:gd name="connsiteY5" fmla="*/ 12096 h 456723"/>
                  <a:gd name="connsiteX6" fmla="*/ 27337 w 3445003"/>
                  <a:gd name="connsiteY6" fmla="*/ 18192 h 456723"/>
                  <a:gd name="connsiteX7" fmla="*/ 31528 w 3445003"/>
                  <a:gd name="connsiteY7" fmla="*/ 18192 h 456723"/>
                  <a:gd name="connsiteX8" fmla="*/ 31528 w 3445003"/>
                  <a:gd name="connsiteY8" fmla="*/ 24288 h 456723"/>
                  <a:gd name="connsiteX9" fmla="*/ 44197 w 3445003"/>
                  <a:gd name="connsiteY9" fmla="*/ 24288 h 456723"/>
                  <a:gd name="connsiteX10" fmla="*/ 44197 w 3445003"/>
                  <a:gd name="connsiteY10" fmla="*/ 30289 h 456723"/>
                  <a:gd name="connsiteX11" fmla="*/ 73629 w 3445003"/>
                  <a:gd name="connsiteY11" fmla="*/ 30289 h 456723"/>
                  <a:gd name="connsiteX12" fmla="*/ 73629 w 3445003"/>
                  <a:gd name="connsiteY12" fmla="*/ 36385 h 456723"/>
                  <a:gd name="connsiteX13" fmla="*/ 82011 w 3445003"/>
                  <a:gd name="connsiteY13" fmla="*/ 36385 h 456723"/>
                  <a:gd name="connsiteX14" fmla="*/ 82011 w 3445003"/>
                  <a:gd name="connsiteY14" fmla="*/ 42481 h 456723"/>
                  <a:gd name="connsiteX15" fmla="*/ 84106 w 3445003"/>
                  <a:gd name="connsiteY15" fmla="*/ 42481 h 456723"/>
                  <a:gd name="connsiteX16" fmla="*/ 84106 w 3445003"/>
                  <a:gd name="connsiteY16" fmla="*/ 48482 h 456723"/>
                  <a:gd name="connsiteX17" fmla="*/ 98870 w 3445003"/>
                  <a:gd name="connsiteY17" fmla="*/ 48482 h 456723"/>
                  <a:gd name="connsiteX18" fmla="*/ 98870 w 3445003"/>
                  <a:gd name="connsiteY18" fmla="*/ 60674 h 456723"/>
                  <a:gd name="connsiteX19" fmla="*/ 100966 w 3445003"/>
                  <a:gd name="connsiteY19" fmla="*/ 60674 h 456723"/>
                  <a:gd name="connsiteX20" fmla="*/ 100966 w 3445003"/>
                  <a:gd name="connsiteY20" fmla="*/ 66675 h 456723"/>
                  <a:gd name="connsiteX21" fmla="*/ 107252 w 3445003"/>
                  <a:gd name="connsiteY21" fmla="*/ 66675 h 456723"/>
                  <a:gd name="connsiteX22" fmla="*/ 107252 w 3445003"/>
                  <a:gd name="connsiteY22" fmla="*/ 72771 h 456723"/>
                  <a:gd name="connsiteX23" fmla="*/ 111443 w 3445003"/>
                  <a:gd name="connsiteY23" fmla="*/ 72771 h 456723"/>
                  <a:gd name="connsiteX24" fmla="*/ 111443 w 3445003"/>
                  <a:gd name="connsiteY24" fmla="*/ 78867 h 456723"/>
                  <a:gd name="connsiteX25" fmla="*/ 128302 w 3445003"/>
                  <a:gd name="connsiteY25" fmla="*/ 78867 h 456723"/>
                  <a:gd name="connsiteX26" fmla="*/ 128302 w 3445003"/>
                  <a:gd name="connsiteY26" fmla="*/ 90963 h 456723"/>
                  <a:gd name="connsiteX27" fmla="*/ 132493 w 3445003"/>
                  <a:gd name="connsiteY27" fmla="*/ 90963 h 456723"/>
                  <a:gd name="connsiteX28" fmla="*/ 132493 w 3445003"/>
                  <a:gd name="connsiteY28" fmla="*/ 97059 h 456723"/>
                  <a:gd name="connsiteX29" fmla="*/ 155639 w 3445003"/>
                  <a:gd name="connsiteY29" fmla="*/ 97059 h 456723"/>
                  <a:gd name="connsiteX30" fmla="*/ 155639 w 3445003"/>
                  <a:gd name="connsiteY30" fmla="*/ 103155 h 456723"/>
                  <a:gd name="connsiteX31" fmla="*/ 159830 w 3445003"/>
                  <a:gd name="connsiteY31" fmla="*/ 103155 h 456723"/>
                  <a:gd name="connsiteX32" fmla="*/ 159830 w 3445003"/>
                  <a:gd name="connsiteY32" fmla="*/ 109156 h 456723"/>
                  <a:gd name="connsiteX33" fmla="*/ 166117 w 3445003"/>
                  <a:gd name="connsiteY33" fmla="*/ 109156 h 456723"/>
                  <a:gd name="connsiteX34" fmla="*/ 166117 w 3445003"/>
                  <a:gd name="connsiteY34" fmla="*/ 121348 h 456723"/>
                  <a:gd name="connsiteX35" fmla="*/ 185071 w 3445003"/>
                  <a:gd name="connsiteY35" fmla="*/ 121348 h 456723"/>
                  <a:gd name="connsiteX36" fmla="*/ 185071 w 3445003"/>
                  <a:gd name="connsiteY36" fmla="*/ 127349 h 456723"/>
                  <a:gd name="connsiteX37" fmla="*/ 193453 w 3445003"/>
                  <a:gd name="connsiteY37" fmla="*/ 127349 h 456723"/>
                  <a:gd name="connsiteX38" fmla="*/ 193453 w 3445003"/>
                  <a:gd name="connsiteY38" fmla="*/ 133445 h 456723"/>
                  <a:gd name="connsiteX39" fmla="*/ 206122 w 3445003"/>
                  <a:gd name="connsiteY39" fmla="*/ 133445 h 456723"/>
                  <a:gd name="connsiteX40" fmla="*/ 206122 w 3445003"/>
                  <a:gd name="connsiteY40" fmla="*/ 139541 h 456723"/>
                  <a:gd name="connsiteX41" fmla="*/ 222981 w 3445003"/>
                  <a:gd name="connsiteY41" fmla="*/ 139541 h 456723"/>
                  <a:gd name="connsiteX42" fmla="*/ 222981 w 3445003"/>
                  <a:gd name="connsiteY42" fmla="*/ 145542 h 456723"/>
                  <a:gd name="connsiteX43" fmla="*/ 250318 w 3445003"/>
                  <a:gd name="connsiteY43" fmla="*/ 145542 h 456723"/>
                  <a:gd name="connsiteX44" fmla="*/ 250318 w 3445003"/>
                  <a:gd name="connsiteY44" fmla="*/ 151638 h 456723"/>
                  <a:gd name="connsiteX45" fmla="*/ 252413 w 3445003"/>
                  <a:gd name="connsiteY45" fmla="*/ 151638 h 456723"/>
                  <a:gd name="connsiteX46" fmla="*/ 252413 w 3445003"/>
                  <a:gd name="connsiteY46" fmla="*/ 157734 h 456723"/>
                  <a:gd name="connsiteX47" fmla="*/ 262890 w 3445003"/>
                  <a:gd name="connsiteY47" fmla="*/ 157734 h 456723"/>
                  <a:gd name="connsiteX48" fmla="*/ 262890 w 3445003"/>
                  <a:gd name="connsiteY48" fmla="*/ 163734 h 456723"/>
                  <a:gd name="connsiteX49" fmla="*/ 269177 w 3445003"/>
                  <a:gd name="connsiteY49" fmla="*/ 163734 h 456723"/>
                  <a:gd name="connsiteX50" fmla="*/ 269177 w 3445003"/>
                  <a:gd name="connsiteY50" fmla="*/ 175926 h 456723"/>
                  <a:gd name="connsiteX51" fmla="*/ 277654 w 3445003"/>
                  <a:gd name="connsiteY51" fmla="*/ 175926 h 456723"/>
                  <a:gd name="connsiteX52" fmla="*/ 277654 w 3445003"/>
                  <a:gd name="connsiteY52" fmla="*/ 181927 h 456723"/>
                  <a:gd name="connsiteX53" fmla="*/ 283941 w 3445003"/>
                  <a:gd name="connsiteY53" fmla="*/ 181927 h 456723"/>
                  <a:gd name="connsiteX54" fmla="*/ 283941 w 3445003"/>
                  <a:gd name="connsiteY54" fmla="*/ 194119 h 456723"/>
                  <a:gd name="connsiteX55" fmla="*/ 286036 w 3445003"/>
                  <a:gd name="connsiteY55" fmla="*/ 194119 h 456723"/>
                  <a:gd name="connsiteX56" fmla="*/ 286036 w 3445003"/>
                  <a:gd name="connsiteY56" fmla="*/ 200215 h 456723"/>
                  <a:gd name="connsiteX57" fmla="*/ 298609 w 3445003"/>
                  <a:gd name="connsiteY57" fmla="*/ 200215 h 456723"/>
                  <a:gd name="connsiteX58" fmla="*/ 298609 w 3445003"/>
                  <a:gd name="connsiteY58" fmla="*/ 206216 h 456723"/>
                  <a:gd name="connsiteX59" fmla="*/ 321755 w 3445003"/>
                  <a:gd name="connsiteY59" fmla="*/ 206216 h 456723"/>
                  <a:gd name="connsiteX60" fmla="*/ 321755 w 3445003"/>
                  <a:gd name="connsiteY60" fmla="*/ 212312 h 456723"/>
                  <a:gd name="connsiteX61" fmla="*/ 328137 w 3445003"/>
                  <a:gd name="connsiteY61" fmla="*/ 212312 h 456723"/>
                  <a:gd name="connsiteX62" fmla="*/ 328137 w 3445003"/>
                  <a:gd name="connsiteY62" fmla="*/ 218408 h 456723"/>
                  <a:gd name="connsiteX63" fmla="*/ 336519 w 3445003"/>
                  <a:gd name="connsiteY63" fmla="*/ 218408 h 456723"/>
                  <a:gd name="connsiteX64" fmla="*/ 336519 w 3445003"/>
                  <a:gd name="connsiteY64" fmla="*/ 224409 h 456723"/>
                  <a:gd name="connsiteX65" fmla="*/ 344901 w 3445003"/>
                  <a:gd name="connsiteY65" fmla="*/ 224409 h 456723"/>
                  <a:gd name="connsiteX66" fmla="*/ 344901 w 3445003"/>
                  <a:gd name="connsiteY66" fmla="*/ 230505 h 456723"/>
                  <a:gd name="connsiteX67" fmla="*/ 349092 w 3445003"/>
                  <a:gd name="connsiteY67" fmla="*/ 230505 h 456723"/>
                  <a:gd name="connsiteX68" fmla="*/ 349092 w 3445003"/>
                  <a:gd name="connsiteY68" fmla="*/ 236601 h 456723"/>
                  <a:gd name="connsiteX69" fmla="*/ 422720 w 3445003"/>
                  <a:gd name="connsiteY69" fmla="*/ 236601 h 456723"/>
                  <a:gd name="connsiteX70" fmla="*/ 422720 w 3445003"/>
                  <a:gd name="connsiteY70" fmla="*/ 242601 h 456723"/>
                  <a:gd name="connsiteX71" fmla="*/ 443770 w 3445003"/>
                  <a:gd name="connsiteY71" fmla="*/ 242601 h 456723"/>
                  <a:gd name="connsiteX72" fmla="*/ 443770 w 3445003"/>
                  <a:gd name="connsiteY72" fmla="*/ 248697 h 456723"/>
                  <a:gd name="connsiteX73" fmla="*/ 450057 w 3445003"/>
                  <a:gd name="connsiteY73" fmla="*/ 248697 h 456723"/>
                  <a:gd name="connsiteX74" fmla="*/ 450057 w 3445003"/>
                  <a:gd name="connsiteY74" fmla="*/ 254793 h 456723"/>
                  <a:gd name="connsiteX75" fmla="*/ 492157 w 3445003"/>
                  <a:gd name="connsiteY75" fmla="*/ 254793 h 456723"/>
                  <a:gd name="connsiteX76" fmla="*/ 492157 w 3445003"/>
                  <a:gd name="connsiteY76" fmla="*/ 260794 h 456723"/>
                  <a:gd name="connsiteX77" fmla="*/ 506826 w 3445003"/>
                  <a:gd name="connsiteY77" fmla="*/ 260794 h 456723"/>
                  <a:gd name="connsiteX78" fmla="*/ 506826 w 3445003"/>
                  <a:gd name="connsiteY78" fmla="*/ 266890 h 456723"/>
                  <a:gd name="connsiteX79" fmla="*/ 536353 w 3445003"/>
                  <a:gd name="connsiteY79" fmla="*/ 266890 h 456723"/>
                  <a:gd name="connsiteX80" fmla="*/ 536353 w 3445003"/>
                  <a:gd name="connsiteY80" fmla="*/ 272986 h 456723"/>
                  <a:gd name="connsiteX81" fmla="*/ 538449 w 3445003"/>
                  <a:gd name="connsiteY81" fmla="*/ 272986 h 456723"/>
                  <a:gd name="connsiteX82" fmla="*/ 538449 w 3445003"/>
                  <a:gd name="connsiteY82" fmla="*/ 278987 h 456723"/>
                  <a:gd name="connsiteX83" fmla="*/ 561499 w 3445003"/>
                  <a:gd name="connsiteY83" fmla="*/ 278987 h 456723"/>
                  <a:gd name="connsiteX84" fmla="*/ 561499 w 3445003"/>
                  <a:gd name="connsiteY84" fmla="*/ 285083 h 456723"/>
                  <a:gd name="connsiteX85" fmla="*/ 574168 w 3445003"/>
                  <a:gd name="connsiteY85" fmla="*/ 285083 h 456723"/>
                  <a:gd name="connsiteX86" fmla="*/ 574168 w 3445003"/>
                  <a:gd name="connsiteY86" fmla="*/ 291179 h 456723"/>
                  <a:gd name="connsiteX87" fmla="*/ 609886 w 3445003"/>
                  <a:gd name="connsiteY87" fmla="*/ 291179 h 456723"/>
                  <a:gd name="connsiteX88" fmla="*/ 609886 w 3445003"/>
                  <a:gd name="connsiteY88" fmla="*/ 297275 h 456723"/>
                  <a:gd name="connsiteX89" fmla="*/ 725615 w 3445003"/>
                  <a:gd name="connsiteY89" fmla="*/ 297275 h 456723"/>
                  <a:gd name="connsiteX90" fmla="*/ 725615 w 3445003"/>
                  <a:gd name="connsiteY90" fmla="*/ 303276 h 456723"/>
                  <a:gd name="connsiteX91" fmla="*/ 763429 w 3445003"/>
                  <a:gd name="connsiteY91" fmla="*/ 303276 h 456723"/>
                  <a:gd name="connsiteX92" fmla="*/ 763429 w 3445003"/>
                  <a:gd name="connsiteY92" fmla="*/ 309467 h 456723"/>
                  <a:gd name="connsiteX93" fmla="*/ 816007 w 3445003"/>
                  <a:gd name="connsiteY93" fmla="*/ 309467 h 456723"/>
                  <a:gd name="connsiteX94" fmla="*/ 816007 w 3445003"/>
                  <a:gd name="connsiteY94" fmla="*/ 315563 h 456723"/>
                  <a:gd name="connsiteX95" fmla="*/ 834962 w 3445003"/>
                  <a:gd name="connsiteY95" fmla="*/ 315563 h 456723"/>
                  <a:gd name="connsiteX96" fmla="*/ 834962 w 3445003"/>
                  <a:gd name="connsiteY96" fmla="*/ 321659 h 456723"/>
                  <a:gd name="connsiteX97" fmla="*/ 845440 w 3445003"/>
                  <a:gd name="connsiteY97" fmla="*/ 321659 h 456723"/>
                  <a:gd name="connsiteX98" fmla="*/ 845440 w 3445003"/>
                  <a:gd name="connsiteY98" fmla="*/ 327850 h 456723"/>
                  <a:gd name="connsiteX99" fmla="*/ 879158 w 3445003"/>
                  <a:gd name="connsiteY99" fmla="*/ 327850 h 456723"/>
                  <a:gd name="connsiteX100" fmla="*/ 879158 w 3445003"/>
                  <a:gd name="connsiteY100" fmla="*/ 333946 h 456723"/>
                  <a:gd name="connsiteX101" fmla="*/ 885445 w 3445003"/>
                  <a:gd name="connsiteY101" fmla="*/ 333946 h 456723"/>
                  <a:gd name="connsiteX102" fmla="*/ 885445 w 3445003"/>
                  <a:gd name="connsiteY102" fmla="*/ 340042 h 456723"/>
                  <a:gd name="connsiteX103" fmla="*/ 900113 w 3445003"/>
                  <a:gd name="connsiteY103" fmla="*/ 340042 h 456723"/>
                  <a:gd name="connsiteX104" fmla="*/ 900113 w 3445003"/>
                  <a:gd name="connsiteY104" fmla="*/ 346138 h 456723"/>
                  <a:gd name="connsiteX105" fmla="*/ 912781 w 3445003"/>
                  <a:gd name="connsiteY105" fmla="*/ 346138 h 456723"/>
                  <a:gd name="connsiteX106" fmla="*/ 912781 w 3445003"/>
                  <a:gd name="connsiteY106" fmla="*/ 352329 h 456723"/>
                  <a:gd name="connsiteX107" fmla="*/ 938023 w 3445003"/>
                  <a:gd name="connsiteY107" fmla="*/ 352329 h 456723"/>
                  <a:gd name="connsiteX108" fmla="*/ 938023 w 3445003"/>
                  <a:gd name="connsiteY108" fmla="*/ 358425 h 456723"/>
                  <a:gd name="connsiteX109" fmla="*/ 1167289 w 3445003"/>
                  <a:gd name="connsiteY109" fmla="*/ 358425 h 456723"/>
                  <a:gd name="connsiteX110" fmla="*/ 1167289 w 3445003"/>
                  <a:gd name="connsiteY110" fmla="*/ 364617 h 456723"/>
                  <a:gd name="connsiteX111" fmla="*/ 1280827 w 3445003"/>
                  <a:gd name="connsiteY111" fmla="*/ 364617 h 456723"/>
                  <a:gd name="connsiteX112" fmla="*/ 1280827 w 3445003"/>
                  <a:gd name="connsiteY112" fmla="*/ 370808 h 456723"/>
                  <a:gd name="connsiteX113" fmla="*/ 1550004 w 3445003"/>
                  <a:gd name="connsiteY113" fmla="*/ 370808 h 456723"/>
                  <a:gd name="connsiteX114" fmla="*/ 1550004 w 3445003"/>
                  <a:gd name="connsiteY114" fmla="*/ 377094 h 456723"/>
                  <a:gd name="connsiteX115" fmla="*/ 1623632 w 3445003"/>
                  <a:gd name="connsiteY115" fmla="*/ 377094 h 456723"/>
                  <a:gd name="connsiteX116" fmla="*/ 1623632 w 3445003"/>
                  <a:gd name="connsiteY116" fmla="*/ 383381 h 456723"/>
                  <a:gd name="connsiteX117" fmla="*/ 1703547 w 3445003"/>
                  <a:gd name="connsiteY117" fmla="*/ 383381 h 456723"/>
                  <a:gd name="connsiteX118" fmla="*/ 1703547 w 3445003"/>
                  <a:gd name="connsiteY118" fmla="*/ 389667 h 456723"/>
                  <a:gd name="connsiteX119" fmla="*/ 1865472 w 3445003"/>
                  <a:gd name="connsiteY119" fmla="*/ 389667 h 456723"/>
                  <a:gd name="connsiteX120" fmla="*/ 1865472 w 3445003"/>
                  <a:gd name="connsiteY120" fmla="*/ 396144 h 456723"/>
                  <a:gd name="connsiteX121" fmla="*/ 1882331 w 3445003"/>
                  <a:gd name="connsiteY121" fmla="*/ 396144 h 456723"/>
                  <a:gd name="connsiteX122" fmla="*/ 1882331 w 3445003"/>
                  <a:gd name="connsiteY122" fmla="*/ 402526 h 456723"/>
                  <a:gd name="connsiteX123" fmla="*/ 2000155 w 3445003"/>
                  <a:gd name="connsiteY123" fmla="*/ 402526 h 456723"/>
                  <a:gd name="connsiteX124" fmla="*/ 2000155 w 3445003"/>
                  <a:gd name="connsiteY124" fmla="*/ 409003 h 456723"/>
                  <a:gd name="connsiteX125" fmla="*/ 2092643 w 3445003"/>
                  <a:gd name="connsiteY125" fmla="*/ 409003 h 456723"/>
                  <a:gd name="connsiteX126" fmla="*/ 2092643 w 3445003"/>
                  <a:gd name="connsiteY126" fmla="*/ 415385 h 456723"/>
                  <a:gd name="connsiteX127" fmla="*/ 2111598 w 3445003"/>
                  <a:gd name="connsiteY127" fmla="*/ 415385 h 456723"/>
                  <a:gd name="connsiteX128" fmla="*/ 2111598 w 3445003"/>
                  <a:gd name="connsiteY128" fmla="*/ 421862 h 456723"/>
                  <a:gd name="connsiteX129" fmla="*/ 2965419 w 3445003"/>
                  <a:gd name="connsiteY129" fmla="*/ 421862 h 456723"/>
                  <a:gd name="connsiteX130" fmla="*/ 2965419 w 3445003"/>
                  <a:gd name="connsiteY130" fmla="*/ 456723 h 456723"/>
                  <a:gd name="connsiteX131" fmla="*/ 3445003 w 3445003"/>
                  <a:gd name="connsiteY131" fmla="*/ 456723 h 456723"/>
                  <a:gd name="connsiteX0" fmla="*/ 0 w 3445003"/>
                  <a:gd name="connsiteY0" fmla="*/ 0 h 456723"/>
                  <a:gd name="connsiteX1" fmla="*/ 8383 w 3445003"/>
                  <a:gd name="connsiteY1" fmla="*/ 6096 h 456723"/>
                  <a:gd name="connsiteX2" fmla="*/ 23146 w 3445003"/>
                  <a:gd name="connsiteY2" fmla="*/ 6096 h 456723"/>
                  <a:gd name="connsiteX3" fmla="*/ 23146 w 3445003"/>
                  <a:gd name="connsiteY3" fmla="*/ 12096 h 456723"/>
                  <a:gd name="connsiteX4" fmla="*/ 27337 w 3445003"/>
                  <a:gd name="connsiteY4" fmla="*/ 12096 h 456723"/>
                  <a:gd name="connsiteX5" fmla="*/ 27337 w 3445003"/>
                  <a:gd name="connsiteY5" fmla="*/ 18192 h 456723"/>
                  <a:gd name="connsiteX6" fmla="*/ 31528 w 3445003"/>
                  <a:gd name="connsiteY6" fmla="*/ 18192 h 456723"/>
                  <a:gd name="connsiteX7" fmla="*/ 31528 w 3445003"/>
                  <a:gd name="connsiteY7" fmla="*/ 24288 h 456723"/>
                  <a:gd name="connsiteX8" fmla="*/ 44197 w 3445003"/>
                  <a:gd name="connsiteY8" fmla="*/ 24288 h 456723"/>
                  <a:gd name="connsiteX9" fmla="*/ 44197 w 3445003"/>
                  <a:gd name="connsiteY9" fmla="*/ 30289 h 456723"/>
                  <a:gd name="connsiteX10" fmla="*/ 73629 w 3445003"/>
                  <a:gd name="connsiteY10" fmla="*/ 30289 h 456723"/>
                  <a:gd name="connsiteX11" fmla="*/ 73629 w 3445003"/>
                  <a:gd name="connsiteY11" fmla="*/ 36385 h 456723"/>
                  <a:gd name="connsiteX12" fmla="*/ 82011 w 3445003"/>
                  <a:gd name="connsiteY12" fmla="*/ 36385 h 456723"/>
                  <a:gd name="connsiteX13" fmla="*/ 82011 w 3445003"/>
                  <a:gd name="connsiteY13" fmla="*/ 42481 h 456723"/>
                  <a:gd name="connsiteX14" fmla="*/ 84106 w 3445003"/>
                  <a:gd name="connsiteY14" fmla="*/ 42481 h 456723"/>
                  <a:gd name="connsiteX15" fmla="*/ 84106 w 3445003"/>
                  <a:gd name="connsiteY15" fmla="*/ 48482 h 456723"/>
                  <a:gd name="connsiteX16" fmla="*/ 98870 w 3445003"/>
                  <a:gd name="connsiteY16" fmla="*/ 48482 h 456723"/>
                  <a:gd name="connsiteX17" fmla="*/ 98870 w 3445003"/>
                  <a:gd name="connsiteY17" fmla="*/ 60674 h 456723"/>
                  <a:gd name="connsiteX18" fmla="*/ 100966 w 3445003"/>
                  <a:gd name="connsiteY18" fmla="*/ 60674 h 456723"/>
                  <a:gd name="connsiteX19" fmla="*/ 100966 w 3445003"/>
                  <a:gd name="connsiteY19" fmla="*/ 66675 h 456723"/>
                  <a:gd name="connsiteX20" fmla="*/ 107252 w 3445003"/>
                  <a:gd name="connsiteY20" fmla="*/ 66675 h 456723"/>
                  <a:gd name="connsiteX21" fmla="*/ 107252 w 3445003"/>
                  <a:gd name="connsiteY21" fmla="*/ 72771 h 456723"/>
                  <a:gd name="connsiteX22" fmla="*/ 111443 w 3445003"/>
                  <a:gd name="connsiteY22" fmla="*/ 72771 h 456723"/>
                  <a:gd name="connsiteX23" fmla="*/ 111443 w 3445003"/>
                  <a:gd name="connsiteY23" fmla="*/ 78867 h 456723"/>
                  <a:gd name="connsiteX24" fmla="*/ 128302 w 3445003"/>
                  <a:gd name="connsiteY24" fmla="*/ 78867 h 456723"/>
                  <a:gd name="connsiteX25" fmla="*/ 128302 w 3445003"/>
                  <a:gd name="connsiteY25" fmla="*/ 90963 h 456723"/>
                  <a:gd name="connsiteX26" fmla="*/ 132493 w 3445003"/>
                  <a:gd name="connsiteY26" fmla="*/ 90963 h 456723"/>
                  <a:gd name="connsiteX27" fmla="*/ 132493 w 3445003"/>
                  <a:gd name="connsiteY27" fmla="*/ 97059 h 456723"/>
                  <a:gd name="connsiteX28" fmla="*/ 155639 w 3445003"/>
                  <a:gd name="connsiteY28" fmla="*/ 97059 h 456723"/>
                  <a:gd name="connsiteX29" fmla="*/ 155639 w 3445003"/>
                  <a:gd name="connsiteY29" fmla="*/ 103155 h 456723"/>
                  <a:gd name="connsiteX30" fmla="*/ 159830 w 3445003"/>
                  <a:gd name="connsiteY30" fmla="*/ 103155 h 456723"/>
                  <a:gd name="connsiteX31" fmla="*/ 159830 w 3445003"/>
                  <a:gd name="connsiteY31" fmla="*/ 109156 h 456723"/>
                  <a:gd name="connsiteX32" fmla="*/ 166117 w 3445003"/>
                  <a:gd name="connsiteY32" fmla="*/ 109156 h 456723"/>
                  <a:gd name="connsiteX33" fmla="*/ 166117 w 3445003"/>
                  <a:gd name="connsiteY33" fmla="*/ 121348 h 456723"/>
                  <a:gd name="connsiteX34" fmla="*/ 185071 w 3445003"/>
                  <a:gd name="connsiteY34" fmla="*/ 121348 h 456723"/>
                  <a:gd name="connsiteX35" fmla="*/ 185071 w 3445003"/>
                  <a:gd name="connsiteY35" fmla="*/ 127349 h 456723"/>
                  <a:gd name="connsiteX36" fmla="*/ 193453 w 3445003"/>
                  <a:gd name="connsiteY36" fmla="*/ 127349 h 456723"/>
                  <a:gd name="connsiteX37" fmla="*/ 193453 w 3445003"/>
                  <a:gd name="connsiteY37" fmla="*/ 133445 h 456723"/>
                  <a:gd name="connsiteX38" fmla="*/ 206122 w 3445003"/>
                  <a:gd name="connsiteY38" fmla="*/ 133445 h 456723"/>
                  <a:gd name="connsiteX39" fmla="*/ 206122 w 3445003"/>
                  <a:gd name="connsiteY39" fmla="*/ 139541 h 456723"/>
                  <a:gd name="connsiteX40" fmla="*/ 222981 w 3445003"/>
                  <a:gd name="connsiteY40" fmla="*/ 139541 h 456723"/>
                  <a:gd name="connsiteX41" fmla="*/ 222981 w 3445003"/>
                  <a:gd name="connsiteY41" fmla="*/ 145542 h 456723"/>
                  <a:gd name="connsiteX42" fmla="*/ 250318 w 3445003"/>
                  <a:gd name="connsiteY42" fmla="*/ 145542 h 456723"/>
                  <a:gd name="connsiteX43" fmla="*/ 250318 w 3445003"/>
                  <a:gd name="connsiteY43" fmla="*/ 151638 h 456723"/>
                  <a:gd name="connsiteX44" fmla="*/ 252413 w 3445003"/>
                  <a:gd name="connsiteY44" fmla="*/ 151638 h 456723"/>
                  <a:gd name="connsiteX45" fmla="*/ 252413 w 3445003"/>
                  <a:gd name="connsiteY45" fmla="*/ 157734 h 456723"/>
                  <a:gd name="connsiteX46" fmla="*/ 262890 w 3445003"/>
                  <a:gd name="connsiteY46" fmla="*/ 157734 h 456723"/>
                  <a:gd name="connsiteX47" fmla="*/ 262890 w 3445003"/>
                  <a:gd name="connsiteY47" fmla="*/ 163734 h 456723"/>
                  <a:gd name="connsiteX48" fmla="*/ 269177 w 3445003"/>
                  <a:gd name="connsiteY48" fmla="*/ 163734 h 456723"/>
                  <a:gd name="connsiteX49" fmla="*/ 269177 w 3445003"/>
                  <a:gd name="connsiteY49" fmla="*/ 175926 h 456723"/>
                  <a:gd name="connsiteX50" fmla="*/ 277654 w 3445003"/>
                  <a:gd name="connsiteY50" fmla="*/ 175926 h 456723"/>
                  <a:gd name="connsiteX51" fmla="*/ 277654 w 3445003"/>
                  <a:gd name="connsiteY51" fmla="*/ 181927 h 456723"/>
                  <a:gd name="connsiteX52" fmla="*/ 283941 w 3445003"/>
                  <a:gd name="connsiteY52" fmla="*/ 181927 h 456723"/>
                  <a:gd name="connsiteX53" fmla="*/ 283941 w 3445003"/>
                  <a:gd name="connsiteY53" fmla="*/ 194119 h 456723"/>
                  <a:gd name="connsiteX54" fmla="*/ 286036 w 3445003"/>
                  <a:gd name="connsiteY54" fmla="*/ 194119 h 456723"/>
                  <a:gd name="connsiteX55" fmla="*/ 286036 w 3445003"/>
                  <a:gd name="connsiteY55" fmla="*/ 200215 h 456723"/>
                  <a:gd name="connsiteX56" fmla="*/ 298609 w 3445003"/>
                  <a:gd name="connsiteY56" fmla="*/ 200215 h 456723"/>
                  <a:gd name="connsiteX57" fmla="*/ 298609 w 3445003"/>
                  <a:gd name="connsiteY57" fmla="*/ 206216 h 456723"/>
                  <a:gd name="connsiteX58" fmla="*/ 321755 w 3445003"/>
                  <a:gd name="connsiteY58" fmla="*/ 206216 h 456723"/>
                  <a:gd name="connsiteX59" fmla="*/ 321755 w 3445003"/>
                  <a:gd name="connsiteY59" fmla="*/ 212312 h 456723"/>
                  <a:gd name="connsiteX60" fmla="*/ 328137 w 3445003"/>
                  <a:gd name="connsiteY60" fmla="*/ 212312 h 456723"/>
                  <a:gd name="connsiteX61" fmla="*/ 328137 w 3445003"/>
                  <a:gd name="connsiteY61" fmla="*/ 218408 h 456723"/>
                  <a:gd name="connsiteX62" fmla="*/ 336519 w 3445003"/>
                  <a:gd name="connsiteY62" fmla="*/ 218408 h 456723"/>
                  <a:gd name="connsiteX63" fmla="*/ 336519 w 3445003"/>
                  <a:gd name="connsiteY63" fmla="*/ 224409 h 456723"/>
                  <a:gd name="connsiteX64" fmla="*/ 344901 w 3445003"/>
                  <a:gd name="connsiteY64" fmla="*/ 224409 h 456723"/>
                  <a:gd name="connsiteX65" fmla="*/ 344901 w 3445003"/>
                  <a:gd name="connsiteY65" fmla="*/ 230505 h 456723"/>
                  <a:gd name="connsiteX66" fmla="*/ 349092 w 3445003"/>
                  <a:gd name="connsiteY66" fmla="*/ 230505 h 456723"/>
                  <a:gd name="connsiteX67" fmla="*/ 349092 w 3445003"/>
                  <a:gd name="connsiteY67" fmla="*/ 236601 h 456723"/>
                  <a:gd name="connsiteX68" fmla="*/ 422720 w 3445003"/>
                  <a:gd name="connsiteY68" fmla="*/ 236601 h 456723"/>
                  <a:gd name="connsiteX69" fmla="*/ 422720 w 3445003"/>
                  <a:gd name="connsiteY69" fmla="*/ 242601 h 456723"/>
                  <a:gd name="connsiteX70" fmla="*/ 443770 w 3445003"/>
                  <a:gd name="connsiteY70" fmla="*/ 242601 h 456723"/>
                  <a:gd name="connsiteX71" fmla="*/ 443770 w 3445003"/>
                  <a:gd name="connsiteY71" fmla="*/ 248697 h 456723"/>
                  <a:gd name="connsiteX72" fmla="*/ 450057 w 3445003"/>
                  <a:gd name="connsiteY72" fmla="*/ 248697 h 456723"/>
                  <a:gd name="connsiteX73" fmla="*/ 450057 w 3445003"/>
                  <a:gd name="connsiteY73" fmla="*/ 254793 h 456723"/>
                  <a:gd name="connsiteX74" fmla="*/ 492157 w 3445003"/>
                  <a:gd name="connsiteY74" fmla="*/ 254793 h 456723"/>
                  <a:gd name="connsiteX75" fmla="*/ 492157 w 3445003"/>
                  <a:gd name="connsiteY75" fmla="*/ 260794 h 456723"/>
                  <a:gd name="connsiteX76" fmla="*/ 506826 w 3445003"/>
                  <a:gd name="connsiteY76" fmla="*/ 260794 h 456723"/>
                  <a:gd name="connsiteX77" fmla="*/ 506826 w 3445003"/>
                  <a:gd name="connsiteY77" fmla="*/ 266890 h 456723"/>
                  <a:gd name="connsiteX78" fmla="*/ 536353 w 3445003"/>
                  <a:gd name="connsiteY78" fmla="*/ 266890 h 456723"/>
                  <a:gd name="connsiteX79" fmla="*/ 536353 w 3445003"/>
                  <a:gd name="connsiteY79" fmla="*/ 272986 h 456723"/>
                  <a:gd name="connsiteX80" fmla="*/ 538449 w 3445003"/>
                  <a:gd name="connsiteY80" fmla="*/ 272986 h 456723"/>
                  <a:gd name="connsiteX81" fmla="*/ 538449 w 3445003"/>
                  <a:gd name="connsiteY81" fmla="*/ 278987 h 456723"/>
                  <a:gd name="connsiteX82" fmla="*/ 561499 w 3445003"/>
                  <a:gd name="connsiteY82" fmla="*/ 278987 h 456723"/>
                  <a:gd name="connsiteX83" fmla="*/ 561499 w 3445003"/>
                  <a:gd name="connsiteY83" fmla="*/ 285083 h 456723"/>
                  <a:gd name="connsiteX84" fmla="*/ 574168 w 3445003"/>
                  <a:gd name="connsiteY84" fmla="*/ 285083 h 456723"/>
                  <a:gd name="connsiteX85" fmla="*/ 574168 w 3445003"/>
                  <a:gd name="connsiteY85" fmla="*/ 291179 h 456723"/>
                  <a:gd name="connsiteX86" fmla="*/ 609886 w 3445003"/>
                  <a:gd name="connsiteY86" fmla="*/ 291179 h 456723"/>
                  <a:gd name="connsiteX87" fmla="*/ 609886 w 3445003"/>
                  <a:gd name="connsiteY87" fmla="*/ 297275 h 456723"/>
                  <a:gd name="connsiteX88" fmla="*/ 725615 w 3445003"/>
                  <a:gd name="connsiteY88" fmla="*/ 297275 h 456723"/>
                  <a:gd name="connsiteX89" fmla="*/ 725615 w 3445003"/>
                  <a:gd name="connsiteY89" fmla="*/ 303276 h 456723"/>
                  <a:gd name="connsiteX90" fmla="*/ 763429 w 3445003"/>
                  <a:gd name="connsiteY90" fmla="*/ 303276 h 456723"/>
                  <a:gd name="connsiteX91" fmla="*/ 763429 w 3445003"/>
                  <a:gd name="connsiteY91" fmla="*/ 309467 h 456723"/>
                  <a:gd name="connsiteX92" fmla="*/ 816007 w 3445003"/>
                  <a:gd name="connsiteY92" fmla="*/ 309467 h 456723"/>
                  <a:gd name="connsiteX93" fmla="*/ 816007 w 3445003"/>
                  <a:gd name="connsiteY93" fmla="*/ 315563 h 456723"/>
                  <a:gd name="connsiteX94" fmla="*/ 834962 w 3445003"/>
                  <a:gd name="connsiteY94" fmla="*/ 315563 h 456723"/>
                  <a:gd name="connsiteX95" fmla="*/ 834962 w 3445003"/>
                  <a:gd name="connsiteY95" fmla="*/ 321659 h 456723"/>
                  <a:gd name="connsiteX96" fmla="*/ 845440 w 3445003"/>
                  <a:gd name="connsiteY96" fmla="*/ 321659 h 456723"/>
                  <a:gd name="connsiteX97" fmla="*/ 845440 w 3445003"/>
                  <a:gd name="connsiteY97" fmla="*/ 327850 h 456723"/>
                  <a:gd name="connsiteX98" fmla="*/ 879158 w 3445003"/>
                  <a:gd name="connsiteY98" fmla="*/ 327850 h 456723"/>
                  <a:gd name="connsiteX99" fmla="*/ 879158 w 3445003"/>
                  <a:gd name="connsiteY99" fmla="*/ 333946 h 456723"/>
                  <a:gd name="connsiteX100" fmla="*/ 885445 w 3445003"/>
                  <a:gd name="connsiteY100" fmla="*/ 333946 h 456723"/>
                  <a:gd name="connsiteX101" fmla="*/ 885445 w 3445003"/>
                  <a:gd name="connsiteY101" fmla="*/ 340042 h 456723"/>
                  <a:gd name="connsiteX102" fmla="*/ 900113 w 3445003"/>
                  <a:gd name="connsiteY102" fmla="*/ 340042 h 456723"/>
                  <a:gd name="connsiteX103" fmla="*/ 900113 w 3445003"/>
                  <a:gd name="connsiteY103" fmla="*/ 346138 h 456723"/>
                  <a:gd name="connsiteX104" fmla="*/ 912781 w 3445003"/>
                  <a:gd name="connsiteY104" fmla="*/ 346138 h 456723"/>
                  <a:gd name="connsiteX105" fmla="*/ 912781 w 3445003"/>
                  <a:gd name="connsiteY105" fmla="*/ 352329 h 456723"/>
                  <a:gd name="connsiteX106" fmla="*/ 938023 w 3445003"/>
                  <a:gd name="connsiteY106" fmla="*/ 352329 h 456723"/>
                  <a:gd name="connsiteX107" fmla="*/ 938023 w 3445003"/>
                  <a:gd name="connsiteY107" fmla="*/ 358425 h 456723"/>
                  <a:gd name="connsiteX108" fmla="*/ 1167289 w 3445003"/>
                  <a:gd name="connsiteY108" fmla="*/ 358425 h 456723"/>
                  <a:gd name="connsiteX109" fmla="*/ 1167289 w 3445003"/>
                  <a:gd name="connsiteY109" fmla="*/ 364617 h 456723"/>
                  <a:gd name="connsiteX110" fmla="*/ 1280827 w 3445003"/>
                  <a:gd name="connsiteY110" fmla="*/ 364617 h 456723"/>
                  <a:gd name="connsiteX111" fmla="*/ 1280827 w 3445003"/>
                  <a:gd name="connsiteY111" fmla="*/ 370808 h 456723"/>
                  <a:gd name="connsiteX112" fmla="*/ 1550004 w 3445003"/>
                  <a:gd name="connsiteY112" fmla="*/ 370808 h 456723"/>
                  <a:gd name="connsiteX113" fmla="*/ 1550004 w 3445003"/>
                  <a:gd name="connsiteY113" fmla="*/ 377094 h 456723"/>
                  <a:gd name="connsiteX114" fmla="*/ 1623632 w 3445003"/>
                  <a:gd name="connsiteY114" fmla="*/ 377094 h 456723"/>
                  <a:gd name="connsiteX115" fmla="*/ 1623632 w 3445003"/>
                  <a:gd name="connsiteY115" fmla="*/ 383381 h 456723"/>
                  <a:gd name="connsiteX116" fmla="*/ 1703547 w 3445003"/>
                  <a:gd name="connsiteY116" fmla="*/ 383381 h 456723"/>
                  <a:gd name="connsiteX117" fmla="*/ 1703547 w 3445003"/>
                  <a:gd name="connsiteY117" fmla="*/ 389667 h 456723"/>
                  <a:gd name="connsiteX118" fmla="*/ 1865472 w 3445003"/>
                  <a:gd name="connsiteY118" fmla="*/ 389667 h 456723"/>
                  <a:gd name="connsiteX119" fmla="*/ 1865472 w 3445003"/>
                  <a:gd name="connsiteY119" fmla="*/ 396144 h 456723"/>
                  <a:gd name="connsiteX120" fmla="*/ 1882331 w 3445003"/>
                  <a:gd name="connsiteY120" fmla="*/ 396144 h 456723"/>
                  <a:gd name="connsiteX121" fmla="*/ 1882331 w 3445003"/>
                  <a:gd name="connsiteY121" fmla="*/ 402526 h 456723"/>
                  <a:gd name="connsiteX122" fmla="*/ 2000155 w 3445003"/>
                  <a:gd name="connsiteY122" fmla="*/ 402526 h 456723"/>
                  <a:gd name="connsiteX123" fmla="*/ 2000155 w 3445003"/>
                  <a:gd name="connsiteY123" fmla="*/ 409003 h 456723"/>
                  <a:gd name="connsiteX124" fmla="*/ 2092643 w 3445003"/>
                  <a:gd name="connsiteY124" fmla="*/ 409003 h 456723"/>
                  <a:gd name="connsiteX125" fmla="*/ 2092643 w 3445003"/>
                  <a:gd name="connsiteY125" fmla="*/ 415385 h 456723"/>
                  <a:gd name="connsiteX126" fmla="*/ 2111598 w 3445003"/>
                  <a:gd name="connsiteY126" fmla="*/ 415385 h 456723"/>
                  <a:gd name="connsiteX127" fmla="*/ 2111598 w 3445003"/>
                  <a:gd name="connsiteY127" fmla="*/ 421862 h 456723"/>
                  <a:gd name="connsiteX128" fmla="*/ 2965419 w 3445003"/>
                  <a:gd name="connsiteY128" fmla="*/ 421862 h 456723"/>
                  <a:gd name="connsiteX129" fmla="*/ 2965419 w 3445003"/>
                  <a:gd name="connsiteY129" fmla="*/ 456723 h 456723"/>
                  <a:gd name="connsiteX130" fmla="*/ 3445003 w 3445003"/>
                  <a:gd name="connsiteY130" fmla="*/ 456723 h 456723"/>
                  <a:gd name="connsiteX0" fmla="*/ 0 w 3436620"/>
                  <a:gd name="connsiteY0" fmla="*/ 0 h 450627"/>
                  <a:gd name="connsiteX1" fmla="*/ 14763 w 3436620"/>
                  <a:gd name="connsiteY1" fmla="*/ 0 h 450627"/>
                  <a:gd name="connsiteX2" fmla="*/ 14763 w 3436620"/>
                  <a:gd name="connsiteY2" fmla="*/ 6000 h 450627"/>
                  <a:gd name="connsiteX3" fmla="*/ 18954 w 3436620"/>
                  <a:gd name="connsiteY3" fmla="*/ 6000 h 450627"/>
                  <a:gd name="connsiteX4" fmla="*/ 18954 w 3436620"/>
                  <a:gd name="connsiteY4" fmla="*/ 12096 h 450627"/>
                  <a:gd name="connsiteX5" fmla="*/ 23145 w 3436620"/>
                  <a:gd name="connsiteY5" fmla="*/ 12096 h 450627"/>
                  <a:gd name="connsiteX6" fmla="*/ 23145 w 3436620"/>
                  <a:gd name="connsiteY6" fmla="*/ 18192 h 450627"/>
                  <a:gd name="connsiteX7" fmla="*/ 35814 w 3436620"/>
                  <a:gd name="connsiteY7" fmla="*/ 18192 h 450627"/>
                  <a:gd name="connsiteX8" fmla="*/ 35814 w 3436620"/>
                  <a:gd name="connsiteY8" fmla="*/ 24193 h 450627"/>
                  <a:gd name="connsiteX9" fmla="*/ 65246 w 3436620"/>
                  <a:gd name="connsiteY9" fmla="*/ 24193 h 450627"/>
                  <a:gd name="connsiteX10" fmla="*/ 65246 w 3436620"/>
                  <a:gd name="connsiteY10" fmla="*/ 30289 h 450627"/>
                  <a:gd name="connsiteX11" fmla="*/ 73628 w 3436620"/>
                  <a:gd name="connsiteY11" fmla="*/ 30289 h 450627"/>
                  <a:gd name="connsiteX12" fmla="*/ 73628 w 3436620"/>
                  <a:gd name="connsiteY12" fmla="*/ 36385 h 450627"/>
                  <a:gd name="connsiteX13" fmla="*/ 75723 w 3436620"/>
                  <a:gd name="connsiteY13" fmla="*/ 36385 h 450627"/>
                  <a:gd name="connsiteX14" fmla="*/ 75723 w 3436620"/>
                  <a:gd name="connsiteY14" fmla="*/ 42386 h 450627"/>
                  <a:gd name="connsiteX15" fmla="*/ 90487 w 3436620"/>
                  <a:gd name="connsiteY15" fmla="*/ 42386 h 450627"/>
                  <a:gd name="connsiteX16" fmla="*/ 90487 w 3436620"/>
                  <a:gd name="connsiteY16" fmla="*/ 54578 h 450627"/>
                  <a:gd name="connsiteX17" fmla="*/ 92583 w 3436620"/>
                  <a:gd name="connsiteY17" fmla="*/ 54578 h 450627"/>
                  <a:gd name="connsiteX18" fmla="*/ 92583 w 3436620"/>
                  <a:gd name="connsiteY18" fmla="*/ 60579 h 450627"/>
                  <a:gd name="connsiteX19" fmla="*/ 98869 w 3436620"/>
                  <a:gd name="connsiteY19" fmla="*/ 60579 h 450627"/>
                  <a:gd name="connsiteX20" fmla="*/ 98869 w 3436620"/>
                  <a:gd name="connsiteY20" fmla="*/ 66675 h 450627"/>
                  <a:gd name="connsiteX21" fmla="*/ 103060 w 3436620"/>
                  <a:gd name="connsiteY21" fmla="*/ 66675 h 450627"/>
                  <a:gd name="connsiteX22" fmla="*/ 103060 w 3436620"/>
                  <a:gd name="connsiteY22" fmla="*/ 72771 h 450627"/>
                  <a:gd name="connsiteX23" fmla="*/ 119919 w 3436620"/>
                  <a:gd name="connsiteY23" fmla="*/ 72771 h 450627"/>
                  <a:gd name="connsiteX24" fmla="*/ 119919 w 3436620"/>
                  <a:gd name="connsiteY24" fmla="*/ 84867 h 450627"/>
                  <a:gd name="connsiteX25" fmla="*/ 124110 w 3436620"/>
                  <a:gd name="connsiteY25" fmla="*/ 84867 h 450627"/>
                  <a:gd name="connsiteX26" fmla="*/ 124110 w 3436620"/>
                  <a:gd name="connsiteY26" fmla="*/ 90963 h 450627"/>
                  <a:gd name="connsiteX27" fmla="*/ 147256 w 3436620"/>
                  <a:gd name="connsiteY27" fmla="*/ 90963 h 450627"/>
                  <a:gd name="connsiteX28" fmla="*/ 147256 w 3436620"/>
                  <a:gd name="connsiteY28" fmla="*/ 97059 h 450627"/>
                  <a:gd name="connsiteX29" fmla="*/ 151447 w 3436620"/>
                  <a:gd name="connsiteY29" fmla="*/ 97059 h 450627"/>
                  <a:gd name="connsiteX30" fmla="*/ 151447 w 3436620"/>
                  <a:gd name="connsiteY30" fmla="*/ 103060 h 450627"/>
                  <a:gd name="connsiteX31" fmla="*/ 157734 w 3436620"/>
                  <a:gd name="connsiteY31" fmla="*/ 103060 h 450627"/>
                  <a:gd name="connsiteX32" fmla="*/ 157734 w 3436620"/>
                  <a:gd name="connsiteY32" fmla="*/ 115252 h 450627"/>
                  <a:gd name="connsiteX33" fmla="*/ 176688 w 3436620"/>
                  <a:gd name="connsiteY33" fmla="*/ 115252 h 450627"/>
                  <a:gd name="connsiteX34" fmla="*/ 176688 w 3436620"/>
                  <a:gd name="connsiteY34" fmla="*/ 121253 h 450627"/>
                  <a:gd name="connsiteX35" fmla="*/ 185070 w 3436620"/>
                  <a:gd name="connsiteY35" fmla="*/ 121253 h 450627"/>
                  <a:gd name="connsiteX36" fmla="*/ 185070 w 3436620"/>
                  <a:gd name="connsiteY36" fmla="*/ 127349 h 450627"/>
                  <a:gd name="connsiteX37" fmla="*/ 197739 w 3436620"/>
                  <a:gd name="connsiteY37" fmla="*/ 127349 h 450627"/>
                  <a:gd name="connsiteX38" fmla="*/ 197739 w 3436620"/>
                  <a:gd name="connsiteY38" fmla="*/ 133445 h 450627"/>
                  <a:gd name="connsiteX39" fmla="*/ 214598 w 3436620"/>
                  <a:gd name="connsiteY39" fmla="*/ 133445 h 450627"/>
                  <a:gd name="connsiteX40" fmla="*/ 214598 w 3436620"/>
                  <a:gd name="connsiteY40" fmla="*/ 139446 h 450627"/>
                  <a:gd name="connsiteX41" fmla="*/ 241935 w 3436620"/>
                  <a:gd name="connsiteY41" fmla="*/ 139446 h 450627"/>
                  <a:gd name="connsiteX42" fmla="*/ 241935 w 3436620"/>
                  <a:gd name="connsiteY42" fmla="*/ 145542 h 450627"/>
                  <a:gd name="connsiteX43" fmla="*/ 244030 w 3436620"/>
                  <a:gd name="connsiteY43" fmla="*/ 145542 h 450627"/>
                  <a:gd name="connsiteX44" fmla="*/ 244030 w 3436620"/>
                  <a:gd name="connsiteY44" fmla="*/ 151638 h 450627"/>
                  <a:gd name="connsiteX45" fmla="*/ 254507 w 3436620"/>
                  <a:gd name="connsiteY45" fmla="*/ 151638 h 450627"/>
                  <a:gd name="connsiteX46" fmla="*/ 254507 w 3436620"/>
                  <a:gd name="connsiteY46" fmla="*/ 157638 h 450627"/>
                  <a:gd name="connsiteX47" fmla="*/ 260794 w 3436620"/>
                  <a:gd name="connsiteY47" fmla="*/ 157638 h 450627"/>
                  <a:gd name="connsiteX48" fmla="*/ 260794 w 3436620"/>
                  <a:gd name="connsiteY48" fmla="*/ 169830 h 450627"/>
                  <a:gd name="connsiteX49" fmla="*/ 269271 w 3436620"/>
                  <a:gd name="connsiteY49" fmla="*/ 169830 h 450627"/>
                  <a:gd name="connsiteX50" fmla="*/ 269271 w 3436620"/>
                  <a:gd name="connsiteY50" fmla="*/ 175831 h 450627"/>
                  <a:gd name="connsiteX51" fmla="*/ 275558 w 3436620"/>
                  <a:gd name="connsiteY51" fmla="*/ 175831 h 450627"/>
                  <a:gd name="connsiteX52" fmla="*/ 275558 w 3436620"/>
                  <a:gd name="connsiteY52" fmla="*/ 188023 h 450627"/>
                  <a:gd name="connsiteX53" fmla="*/ 277653 w 3436620"/>
                  <a:gd name="connsiteY53" fmla="*/ 188023 h 450627"/>
                  <a:gd name="connsiteX54" fmla="*/ 277653 w 3436620"/>
                  <a:gd name="connsiteY54" fmla="*/ 194119 h 450627"/>
                  <a:gd name="connsiteX55" fmla="*/ 290226 w 3436620"/>
                  <a:gd name="connsiteY55" fmla="*/ 194119 h 450627"/>
                  <a:gd name="connsiteX56" fmla="*/ 290226 w 3436620"/>
                  <a:gd name="connsiteY56" fmla="*/ 200120 h 450627"/>
                  <a:gd name="connsiteX57" fmla="*/ 313372 w 3436620"/>
                  <a:gd name="connsiteY57" fmla="*/ 200120 h 450627"/>
                  <a:gd name="connsiteX58" fmla="*/ 313372 w 3436620"/>
                  <a:gd name="connsiteY58" fmla="*/ 206216 h 450627"/>
                  <a:gd name="connsiteX59" fmla="*/ 319754 w 3436620"/>
                  <a:gd name="connsiteY59" fmla="*/ 206216 h 450627"/>
                  <a:gd name="connsiteX60" fmla="*/ 319754 w 3436620"/>
                  <a:gd name="connsiteY60" fmla="*/ 212312 h 450627"/>
                  <a:gd name="connsiteX61" fmla="*/ 328136 w 3436620"/>
                  <a:gd name="connsiteY61" fmla="*/ 212312 h 450627"/>
                  <a:gd name="connsiteX62" fmla="*/ 328136 w 3436620"/>
                  <a:gd name="connsiteY62" fmla="*/ 218313 h 450627"/>
                  <a:gd name="connsiteX63" fmla="*/ 336518 w 3436620"/>
                  <a:gd name="connsiteY63" fmla="*/ 218313 h 450627"/>
                  <a:gd name="connsiteX64" fmla="*/ 336518 w 3436620"/>
                  <a:gd name="connsiteY64" fmla="*/ 224409 h 450627"/>
                  <a:gd name="connsiteX65" fmla="*/ 340709 w 3436620"/>
                  <a:gd name="connsiteY65" fmla="*/ 224409 h 450627"/>
                  <a:gd name="connsiteX66" fmla="*/ 340709 w 3436620"/>
                  <a:gd name="connsiteY66" fmla="*/ 230505 h 450627"/>
                  <a:gd name="connsiteX67" fmla="*/ 414337 w 3436620"/>
                  <a:gd name="connsiteY67" fmla="*/ 230505 h 450627"/>
                  <a:gd name="connsiteX68" fmla="*/ 414337 w 3436620"/>
                  <a:gd name="connsiteY68" fmla="*/ 236505 h 450627"/>
                  <a:gd name="connsiteX69" fmla="*/ 435387 w 3436620"/>
                  <a:gd name="connsiteY69" fmla="*/ 236505 h 450627"/>
                  <a:gd name="connsiteX70" fmla="*/ 435387 w 3436620"/>
                  <a:gd name="connsiteY70" fmla="*/ 242601 h 450627"/>
                  <a:gd name="connsiteX71" fmla="*/ 441674 w 3436620"/>
                  <a:gd name="connsiteY71" fmla="*/ 242601 h 450627"/>
                  <a:gd name="connsiteX72" fmla="*/ 441674 w 3436620"/>
                  <a:gd name="connsiteY72" fmla="*/ 248697 h 450627"/>
                  <a:gd name="connsiteX73" fmla="*/ 483774 w 3436620"/>
                  <a:gd name="connsiteY73" fmla="*/ 248697 h 450627"/>
                  <a:gd name="connsiteX74" fmla="*/ 483774 w 3436620"/>
                  <a:gd name="connsiteY74" fmla="*/ 254698 h 450627"/>
                  <a:gd name="connsiteX75" fmla="*/ 498443 w 3436620"/>
                  <a:gd name="connsiteY75" fmla="*/ 254698 h 450627"/>
                  <a:gd name="connsiteX76" fmla="*/ 498443 w 3436620"/>
                  <a:gd name="connsiteY76" fmla="*/ 260794 h 450627"/>
                  <a:gd name="connsiteX77" fmla="*/ 527970 w 3436620"/>
                  <a:gd name="connsiteY77" fmla="*/ 260794 h 450627"/>
                  <a:gd name="connsiteX78" fmla="*/ 527970 w 3436620"/>
                  <a:gd name="connsiteY78" fmla="*/ 266890 h 450627"/>
                  <a:gd name="connsiteX79" fmla="*/ 530066 w 3436620"/>
                  <a:gd name="connsiteY79" fmla="*/ 266890 h 450627"/>
                  <a:gd name="connsiteX80" fmla="*/ 530066 w 3436620"/>
                  <a:gd name="connsiteY80" fmla="*/ 272891 h 450627"/>
                  <a:gd name="connsiteX81" fmla="*/ 553116 w 3436620"/>
                  <a:gd name="connsiteY81" fmla="*/ 272891 h 450627"/>
                  <a:gd name="connsiteX82" fmla="*/ 553116 w 3436620"/>
                  <a:gd name="connsiteY82" fmla="*/ 278987 h 450627"/>
                  <a:gd name="connsiteX83" fmla="*/ 565785 w 3436620"/>
                  <a:gd name="connsiteY83" fmla="*/ 278987 h 450627"/>
                  <a:gd name="connsiteX84" fmla="*/ 565785 w 3436620"/>
                  <a:gd name="connsiteY84" fmla="*/ 285083 h 450627"/>
                  <a:gd name="connsiteX85" fmla="*/ 601503 w 3436620"/>
                  <a:gd name="connsiteY85" fmla="*/ 285083 h 450627"/>
                  <a:gd name="connsiteX86" fmla="*/ 601503 w 3436620"/>
                  <a:gd name="connsiteY86" fmla="*/ 291179 h 450627"/>
                  <a:gd name="connsiteX87" fmla="*/ 717232 w 3436620"/>
                  <a:gd name="connsiteY87" fmla="*/ 291179 h 450627"/>
                  <a:gd name="connsiteX88" fmla="*/ 717232 w 3436620"/>
                  <a:gd name="connsiteY88" fmla="*/ 297180 h 450627"/>
                  <a:gd name="connsiteX89" fmla="*/ 755046 w 3436620"/>
                  <a:gd name="connsiteY89" fmla="*/ 297180 h 450627"/>
                  <a:gd name="connsiteX90" fmla="*/ 755046 w 3436620"/>
                  <a:gd name="connsiteY90" fmla="*/ 303371 h 450627"/>
                  <a:gd name="connsiteX91" fmla="*/ 807624 w 3436620"/>
                  <a:gd name="connsiteY91" fmla="*/ 303371 h 450627"/>
                  <a:gd name="connsiteX92" fmla="*/ 807624 w 3436620"/>
                  <a:gd name="connsiteY92" fmla="*/ 309467 h 450627"/>
                  <a:gd name="connsiteX93" fmla="*/ 826579 w 3436620"/>
                  <a:gd name="connsiteY93" fmla="*/ 309467 h 450627"/>
                  <a:gd name="connsiteX94" fmla="*/ 826579 w 3436620"/>
                  <a:gd name="connsiteY94" fmla="*/ 315563 h 450627"/>
                  <a:gd name="connsiteX95" fmla="*/ 837057 w 3436620"/>
                  <a:gd name="connsiteY95" fmla="*/ 315563 h 450627"/>
                  <a:gd name="connsiteX96" fmla="*/ 837057 w 3436620"/>
                  <a:gd name="connsiteY96" fmla="*/ 321754 h 450627"/>
                  <a:gd name="connsiteX97" fmla="*/ 870775 w 3436620"/>
                  <a:gd name="connsiteY97" fmla="*/ 321754 h 450627"/>
                  <a:gd name="connsiteX98" fmla="*/ 870775 w 3436620"/>
                  <a:gd name="connsiteY98" fmla="*/ 327850 h 450627"/>
                  <a:gd name="connsiteX99" fmla="*/ 877062 w 3436620"/>
                  <a:gd name="connsiteY99" fmla="*/ 327850 h 450627"/>
                  <a:gd name="connsiteX100" fmla="*/ 877062 w 3436620"/>
                  <a:gd name="connsiteY100" fmla="*/ 333946 h 450627"/>
                  <a:gd name="connsiteX101" fmla="*/ 891730 w 3436620"/>
                  <a:gd name="connsiteY101" fmla="*/ 333946 h 450627"/>
                  <a:gd name="connsiteX102" fmla="*/ 891730 w 3436620"/>
                  <a:gd name="connsiteY102" fmla="*/ 340042 h 450627"/>
                  <a:gd name="connsiteX103" fmla="*/ 904398 w 3436620"/>
                  <a:gd name="connsiteY103" fmla="*/ 340042 h 450627"/>
                  <a:gd name="connsiteX104" fmla="*/ 904398 w 3436620"/>
                  <a:gd name="connsiteY104" fmla="*/ 346233 h 450627"/>
                  <a:gd name="connsiteX105" fmla="*/ 929640 w 3436620"/>
                  <a:gd name="connsiteY105" fmla="*/ 346233 h 450627"/>
                  <a:gd name="connsiteX106" fmla="*/ 929640 w 3436620"/>
                  <a:gd name="connsiteY106" fmla="*/ 352329 h 450627"/>
                  <a:gd name="connsiteX107" fmla="*/ 1158906 w 3436620"/>
                  <a:gd name="connsiteY107" fmla="*/ 352329 h 450627"/>
                  <a:gd name="connsiteX108" fmla="*/ 1158906 w 3436620"/>
                  <a:gd name="connsiteY108" fmla="*/ 358521 h 450627"/>
                  <a:gd name="connsiteX109" fmla="*/ 1272444 w 3436620"/>
                  <a:gd name="connsiteY109" fmla="*/ 358521 h 450627"/>
                  <a:gd name="connsiteX110" fmla="*/ 1272444 w 3436620"/>
                  <a:gd name="connsiteY110" fmla="*/ 364712 h 450627"/>
                  <a:gd name="connsiteX111" fmla="*/ 1541621 w 3436620"/>
                  <a:gd name="connsiteY111" fmla="*/ 364712 h 450627"/>
                  <a:gd name="connsiteX112" fmla="*/ 1541621 w 3436620"/>
                  <a:gd name="connsiteY112" fmla="*/ 370998 h 450627"/>
                  <a:gd name="connsiteX113" fmla="*/ 1615249 w 3436620"/>
                  <a:gd name="connsiteY113" fmla="*/ 370998 h 450627"/>
                  <a:gd name="connsiteX114" fmla="*/ 1615249 w 3436620"/>
                  <a:gd name="connsiteY114" fmla="*/ 377285 h 450627"/>
                  <a:gd name="connsiteX115" fmla="*/ 1695164 w 3436620"/>
                  <a:gd name="connsiteY115" fmla="*/ 377285 h 450627"/>
                  <a:gd name="connsiteX116" fmla="*/ 1695164 w 3436620"/>
                  <a:gd name="connsiteY116" fmla="*/ 383571 h 450627"/>
                  <a:gd name="connsiteX117" fmla="*/ 1857089 w 3436620"/>
                  <a:gd name="connsiteY117" fmla="*/ 383571 h 450627"/>
                  <a:gd name="connsiteX118" fmla="*/ 1857089 w 3436620"/>
                  <a:gd name="connsiteY118" fmla="*/ 390048 h 450627"/>
                  <a:gd name="connsiteX119" fmla="*/ 1873948 w 3436620"/>
                  <a:gd name="connsiteY119" fmla="*/ 390048 h 450627"/>
                  <a:gd name="connsiteX120" fmla="*/ 1873948 w 3436620"/>
                  <a:gd name="connsiteY120" fmla="*/ 396430 h 450627"/>
                  <a:gd name="connsiteX121" fmla="*/ 1991772 w 3436620"/>
                  <a:gd name="connsiteY121" fmla="*/ 396430 h 450627"/>
                  <a:gd name="connsiteX122" fmla="*/ 1991772 w 3436620"/>
                  <a:gd name="connsiteY122" fmla="*/ 402907 h 450627"/>
                  <a:gd name="connsiteX123" fmla="*/ 2084260 w 3436620"/>
                  <a:gd name="connsiteY123" fmla="*/ 402907 h 450627"/>
                  <a:gd name="connsiteX124" fmla="*/ 2084260 w 3436620"/>
                  <a:gd name="connsiteY124" fmla="*/ 409289 h 450627"/>
                  <a:gd name="connsiteX125" fmla="*/ 2103215 w 3436620"/>
                  <a:gd name="connsiteY125" fmla="*/ 409289 h 450627"/>
                  <a:gd name="connsiteX126" fmla="*/ 2103215 w 3436620"/>
                  <a:gd name="connsiteY126" fmla="*/ 415766 h 450627"/>
                  <a:gd name="connsiteX127" fmla="*/ 2957036 w 3436620"/>
                  <a:gd name="connsiteY127" fmla="*/ 415766 h 450627"/>
                  <a:gd name="connsiteX128" fmla="*/ 2957036 w 3436620"/>
                  <a:gd name="connsiteY128" fmla="*/ 450627 h 450627"/>
                  <a:gd name="connsiteX129" fmla="*/ 3436620 w 3436620"/>
                  <a:gd name="connsiteY129" fmla="*/ 450627 h 450627"/>
                  <a:gd name="connsiteX0" fmla="*/ 0 w 3421857"/>
                  <a:gd name="connsiteY0" fmla="*/ 0 h 450627"/>
                  <a:gd name="connsiteX1" fmla="*/ 0 w 3421857"/>
                  <a:gd name="connsiteY1" fmla="*/ 6000 h 450627"/>
                  <a:gd name="connsiteX2" fmla="*/ 4191 w 3421857"/>
                  <a:gd name="connsiteY2" fmla="*/ 6000 h 450627"/>
                  <a:gd name="connsiteX3" fmla="*/ 4191 w 3421857"/>
                  <a:gd name="connsiteY3" fmla="*/ 12096 h 450627"/>
                  <a:gd name="connsiteX4" fmla="*/ 8382 w 3421857"/>
                  <a:gd name="connsiteY4" fmla="*/ 12096 h 450627"/>
                  <a:gd name="connsiteX5" fmla="*/ 8382 w 3421857"/>
                  <a:gd name="connsiteY5" fmla="*/ 18192 h 450627"/>
                  <a:gd name="connsiteX6" fmla="*/ 21051 w 3421857"/>
                  <a:gd name="connsiteY6" fmla="*/ 18192 h 450627"/>
                  <a:gd name="connsiteX7" fmla="*/ 21051 w 3421857"/>
                  <a:gd name="connsiteY7" fmla="*/ 24193 h 450627"/>
                  <a:gd name="connsiteX8" fmla="*/ 50483 w 3421857"/>
                  <a:gd name="connsiteY8" fmla="*/ 24193 h 450627"/>
                  <a:gd name="connsiteX9" fmla="*/ 50483 w 3421857"/>
                  <a:gd name="connsiteY9" fmla="*/ 30289 h 450627"/>
                  <a:gd name="connsiteX10" fmla="*/ 58865 w 3421857"/>
                  <a:gd name="connsiteY10" fmla="*/ 30289 h 450627"/>
                  <a:gd name="connsiteX11" fmla="*/ 58865 w 3421857"/>
                  <a:gd name="connsiteY11" fmla="*/ 36385 h 450627"/>
                  <a:gd name="connsiteX12" fmla="*/ 60960 w 3421857"/>
                  <a:gd name="connsiteY12" fmla="*/ 36385 h 450627"/>
                  <a:gd name="connsiteX13" fmla="*/ 60960 w 3421857"/>
                  <a:gd name="connsiteY13" fmla="*/ 42386 h 450627"/>
                  <a:gd name="connsiteX14" fmla="*/ 75724 w 3421857"/>
                  <a:gd name="connsiteY14" fmla="*/ 42386 h 450627"/>
                  <a:gd name="connsiteX15" fmla="*/ 75724 w 3421857"/>
                  <a:gd name="connsiteY15" fmla="*/ 54578 h 450627"/>
                  <a:gd name="connsiteX16" fmla="*/ 77820 w 3421857"/>
                  <a:gd name="connsiteY16" fmla="*/ 54578 h 450627"/>
                  <a:gd name="connsiteX17" fmla="*/ 77820 w 3421857"/>
                  <a:gd name="connsiteY17" fmla="*/ 60579 h 450627"/>
                  <a:gd name="connsiteX18" fmla="*/ 84106 w 3421857"/>
                  <a:gd name="connsiteY18" fmla="*/ 60579 h 450627"/>
                  <a:gd name="connsiteX19" fmla="*/ 84106 w 3421857"/>
                  <a:gd name="connsiteY19" fmla="*/ 66675 h 450627"/>
                  <a:gd name="connsiteX20" fmla="*/ 88297 w 3421857"/>
                  <a:gd name="connsiteY20" fmla="*/ 66675 h 450627"/>
                  <a:gd name="connsiteX21" fmla="*/ 88297 w 3421857"/>
                  <a:gd name="connsiteY21" fmla="*/ 72771 h 450627"/>
                  <a:gd name="connsiteX22" fmla="*/ 105156 w 3421857"/>
                  <a:gd name="connsiteY22" fmla="*/ 72771 h 450627"/>
                  <a:gd name="connsiteX23" fmla="*/ 105156 w 3421857"/>
                  <a:gd name="connsiteY23" fmla="*/ 84867 h 450627"/>
                  <a:gd name="connsiteX24" fmla="*/ 109347 w 3421857"/>
                  <a:gd name="connsiteY24" fmla="*/ 84867 h 450627"/>
                  <a:gd name="connsiteX25" fmla="*/ 109347 w 3421857"/>
                  <a:gd name="connsiteY25" fmla="*/ 90963 h 450627"/>
                  <a:gd name="connsiteX26" fmla="*/ 132493 w 3421857"/>
                  <a:gd name="connsiteY26" fmla="*/ 90963 h 450627"/>
                  <a:gd name="connsiteX27" fmla="*/ 132493 w 3421857"/>
                  <a:gd name="connsiteY27" fmla="*/ 97059 h 450627"/>
                  <a:gd name="connsiteX28" fmla="*/ 136684 w 3421857"/>
                  <a:gd name="connsiteY28" fmla="*/ 97059 h 450627"/>
                  <a:gd name="connsiteX29" fmla="*/ 136684 w 3421857"/>
                  <a:gd name="connsiteY29" fmla="*/ 103060 h 450627"/>
                  <a:gd name="connsiteX30" fmla="*/ 142971 w 3421857"/>
                  <a:gd name="connsiteY30" fmla="*/ 103060 h 450627"/>
                  <a:gd name="connsiteX31" fmla="*/ 142971 w 3421857"/>
                  <a:gd name="connsiteY31" fmla="*/ 115252 h 450627"/>
                  <a:gd name="connsiteX32" fmla="*/ 161925 w 3421857"/>
                  <a:gd name="connsiteY32" fmla="*/ 115252 h 450627"/>
                  <a:gd name="connsiteX33" fmla="*/ 161925 w 3421857"/>
                  <a:gd name="connsiteY33" fmla="*/ 121253 h 450627"/>
                  <a:gd name="connsiteX34" fmla="*/ 170307 w 3421857"/>
                  <a:gd name="connsiteY34" fmla="*/ 121253 h 450627"/>
                  <a:gd name="connsiteX35" fmla="*/ 170307 w 3421857"/>
                  <a:gd name="connsiteY35" fmla="*/ 127349 h 450627"/>
                  <a:gd name="connsiteX36" fmla="*/ 182976 w 3421857"/>
                  <a:gd name="connsiteY36" fmla="*/ 127349 h 450627"/>
                  <a:gd name="connsiteX37" fmla="*/ 182976 w 3421857"/>
                  <a:gd name="connsiteY37" fmla="*/ 133445 h 450627"/>
                  <a:gd name="connsiteX38" fmla="*/ 199835 w 3421857"/>
                  <a:gd name="connsiteY38" fmla="*/ 133445 h 450627"/>
                  <a:gd name="connsiteX39" fmla="*/ 199835 w 3421857"/>
                  <a:gd name="connsiteY39" fmla="*/ 139446 h 450627"/>
                  <a:gd name="connsiteX40" fmla="*/ 227172 w 3421857"/>
                  <a:gd name="connsiteY40" fmla="*/ 139446 h 450627"/>
                  <a:gd name="connsiteX41" fmla="*/ 227172 w 3421857"/>
                  <a:gd name="connsiteY41" fmla="*/ 145542 h 450627"/>
                  <a:gd name="connsiteX42" fmla="*/ 229267 w 3421857"/>
                  <a:gd name="connsiteY42" fmla="*/ 145542 h 450627"/>
                  <a:gd name="connsiteX43" fmla="*/ 229267 w 3421857"/>
                  <a:gd name="connsiteY43" fmla="*/ 151638 h 450627"/>
                  <a:gd name="connsiteX44" fmla="*/ 239744 w 3421857"/>
                  <a:gd name="connsiteY44" fmla="*/ 151638 h 450627"/>
                  <a:gd name="connsiteX45" fmla="*/ 239744 w 3421857"/>
                  <a:gd name="connsiteY45" fmla="*/ 157638 h 450627"/>
                  <a:gd name="connsiteX46" fmla="*/ 246031 w 3421857"/>
                  <a:gd name="connsiteY46" fmla="*/ 157638 h 450627"/>
                  <a:gd name="connsiteX47" fmla="*/ 246031 w 3421857"/>
                  <a:gd name="connsiteY47" fmla="*/ 169830 h 450627"/>
                  <a:gd name="connsiteX48" fmla="*/ 254508 w 3421857"/>
                  <a:gd name="connsiteY48" fmla="*/ 169830 h 450627"/>
                  <a:gd name="connsiteX49" fmla="*/ 254508 w 3421857"/>
                  <a:gd name="connsiteY49" fmla="*/ 175831 h 450627"/>
                  <a:gd name="connsiteX50" fmla="*/ 260795 w 3421857"/>
                  <a:gd name="connsiteY50" fmla="*/ 175831 h 450627"/>
                  <a:gd name="connsiteX51" fmla="*/ 260795 w 3421857"/>
                  <a:gd name="connsiteY51" fmla="*/ 188023 h 450627"/>
                  <a:gd name="connsiteX52" fmla="*/ 262890 w 3421857"/>
                  <a:gd name="connsiteY52" fmla="*/ 188023 h 450627"/>
                  <a:gd name="connsiteX53" fmla="*/ 262890 w 3421857"/>
                  <a:gd name="connsiteY53" fmla="*/ 194119 h 450627"/>
                  <a:gd name="connsiteX54" fmla="*/ 275463 w 3421857"/>
                  <a:gd name="connsiteY54" fmla="*/ 194119 h 450627"/>
                  <a:gd name="connsiteX55" fmla="*/ 275463 w 3421857"/>
                  <a:gd name="connsiteY55" fmla="*/ 200120 h 450627"/>
                  <a:gd name="connsiteX56" fmla="*/ 298609 w 3421857"/>
                  <a:gd name="connsiteY56" fmla="*/ 200120 h 450627"/>
                  <a:gd name="connsiteX57" fmla="*/ 298609 w 3421857"/>
                  <a:gd name="connsiteY57" fmla="*/ 206216 h 450627"/>
                  <a:gd name="connsiteX58" fmla="*/ 304991 w 3421857"/>
                  <a:gd name="connsiteY58" fmla="*/ 206216 h 450627"/>
                  <a:gd name="connsiteX59" fmla="*/ 304991 w 3421857"/>
                  <a:gd name="connsiteY59" fmla="*/ 212312 h 450627"/>
                  <a:gd name="connsiteX60" fmla="*/ 313373 w 3421857"/>
                  <a:gd name="connsiteY60" fmla="*/ 212312 h 450627"/>
                  <a:gd name="connsiteX61" fmla="*/ 313373 w 3421857"/>
                  <a:gd name="connsiteY61" fmla="*/ 218313 h 450627"/>
                  <a:gd name="connsiteX62" fmla="*/ 321755 w 3421857"/>
                  <a:gd name="connsiteY62" fmla="*/ 218313 h 450627"/>
                  <a:gd name="connsiteX63" fmla="*/ 321755 w 3421857"/>
                  <a:gd name="connsiteY63" fmla="*/ 224409 h 450627"/>
                  <a:gd name="connsiteX64" fmla="*/ 325946 w 3421857"/>
                  <a:gd name="connsiteY64" fmla="*/ 224409 h 450627"/>
                  <a:gd name="connsiteX65" fmla="*/ 325946 w 3421857"/>
                  <a:gd name="connsiteY65" fmla="*/ 230505 h 450627"/>
                  <a:gd name="connsiteX66" fmla="*/ 399574 w 3421857"/>
                  <a:gd name="connsiteY66" fmla="*/ 230505 h 450627"/>
                  <a:gd name="connsiteX67" fmla="*/ 399574 w 3421857"/>
                  <a:gd name="connsiteY67" fmla="*/ 236505 h 450627"/>
                  <a:gd name="connsiteX68" fmla="*/ 420624 w 3421857"/>
                  <a:gd name="connsiteY68" fmla="*/ 236505 h 450627"/>
                  <a:gd name="connsiteX69" fmla="*/ 420624 w 3421857"/>
                  <a:gd name="connsiteY69" fmla="*/ 242601 h 450627"/>
                  <a:gd name="connsiteX70" fmla="*/ 426911 w 3421857"/>
                  <a:gd name="connsiteY70" fmla="*/ 242601 h 450627"/>
                  <a:gd name="connsiteX71" fmla="*/ 426911 w 3421857"/>
                  <a:gd name="connsiteY71" fmla="*/ 248697 h 450627"/>
                  <a:gd name="connsiteX72" fmla="*/ 469011 w 3421857"/>
                  <a:gd name="connsiteY72" fmla="*/ 248697 h 450627"/>
                  <a:gd name="connsiteX73" fmla="*/ 469011 w 3421857"/>
                  <a:gd name="connsiteY73" fmla="*/ 254698 h 450627"/>
                  <a:gd name="connsiteX74" fmla="*/ 483680 w 3421857"/>
                  <a:gd name="connsiteY74" fmla="*/ 254698 h 450627"/>
                  <a:gd name="connsiteX75" fmla="*/ 483680 w 3421857"/>
                  <a:gd name="connsiteY75" fmla="*/ 260794 h 450627"/>
                  <a:gd name="connsiteX76" fmla="*/ 513207 w 3421857"/>
                  <a:gd name="connsiteY76" fmla="*/ 260794 h 450627"/>
                  <a:gd name="connsiteX77" fmla="*/ 513207 w 3421857"/>
                  <a:gd name="connsiteY77" fmla="*/ 266890 h 450627"/>
                  <a:gd name="connsiteX78" fmla="*/ 515303 w 3421857"/>
                  <a:gd name="connsiteY78" fmla="*/ 266890 h 450627"/>
                  <a:gd name="connsiteX79" fmla="*/ 515303 w 3421857"/>
                  <a:gd name="connsiteY79" fmla="*/ 272891 h 450627"/>
                  <a:gd name="connsiteX80" fmla="*/ 538353 w 3421857"/>
                  <a:gd name="connsiteY80" fmla="*/ 272891 h 450627"/>
                  <a:gd name="connsiteX81" fmla="*/ 538353 w 3421857"/>
                  <a:gd name="connsiteY81" fmla="*/ 278987 h 450627"/>
                  <a:gd name="connsiteX82" fmla="*/ 551022 w 3421857"/>
                  <a:gd name="connsiteY82" fmla="*/ 278987 h 450627"/>
                  <a:gd name="connsiteX83" fmla="*/ 551022 w 3421857"/>
                  <a:gd name="connsiteY83" fmla="*/ 285083 h 450627"/>
                  <a:gd name="connsiteX84" fmla="*/ 586740 w 3421857"/>
                  <a:gd name="connsiteY84" fmla="*/ 285083 h 450627"/>
                  <a:gd name="connsiteX85" fmla="*/ 586740 w 3421857"/>
                  <a:gd name="connsiteY85" fmla="*/ 291179 h 450627"/>
                  <a:gd name="connsiteX86" fmla="*/ 702469 w 3421857"/>
                  <a:gd name="connsiteY86" fmla="*/ 291179 h 450627"/>
                  <a:gd name="connsiteX87" fmla="*/ 702469 w 3421857"/>
                  <a:gd name="connsiteY87" fmla="*/ 297180 h 450627"/>
                  <a:gd name="connsiteX88" fmla="*/ 740283 w 3421857"/>
                  <a:gd name="connsiteY88" fmla="*/ 297180 h 450627"/>
                  <a:gd name="connsiteX89" fmla="*/ 740283 w 3421857"/>
                  <a:gd name="connsiteY89" fmla="*/ 303371 h 450627"/>
                  <a:gd name="connsiteX90" fmla="*/ 792861 w 3421857"/>
                  <a:gd name="connsiteY90" fmla="*/ 303371 h 450627"/>
                  <a:gd name="connsiteX91" fmla="*/ 792861 w 3421857"/>
                  <a:gd name="connsiteY91" fmla="*/ 309467 h 450627"/>
                  <a:gd name="connsiteX92" fmla="*/ 811816 w 3421857"/>
                  <a:gd name="connsiteY92" fmla="*/ 309467 h 450627"/>
                  <a:gd name="connsiteX93" fmla="*/ 811816 w 3421857"/>
                  <a:gd name="connsiteY93" fmla="*/ 315563 h 450627"/>
                  <a:gd name="connsiteX94" fmla="*/ 822294 w 3421857"/>
                  <a:gd name="connsiteY94" fmla="*/ 315563 h 450627"/>
                  <a:gd name="connsiteX95" fmla="*/ 822294 w 3421857"/>
                  <a:gd name="connsiteY95" fmla="*/ 321754 h 450627"/>
                  <a:gd name="connsiteX96" fmla="*/ 856012 w 3421857"/>
                  <a:gd name="connsiteY96" fmla="*/ 321754 h 450627"/>
                  <a:gd name="connsiteX97" fmla="*/ 856012 w 3421857"/>
                  <a:gd name="connsiteY97" fmla="*/ 327850 h 450627"/>
                  <a:gd name="connsiteX98" fmla="*/ 862299 w 3421857"/>
                  <a:gd name="connsiteY98" fmla="*/ 327850 h 450627"/>
                  <a:gd name="connsiteX99" fmla="*/ 862299 w 3421857"/>
                  <a:gd name="connsiteY99" fmla="*/ 333946 h 450627"/>
                  <a:gd name="connsiteX100" fmla="*/ 876967 w 3421857"/>
                  <a:gd name="connsiteY100" fmla="*/ 333946 h 450627"/>
                  <a:gd name="connsiteX101" fmla="*/ 876967 w 3421857"/>
                  <a:gd name="connsiteY101" fmla="*/ 340042 h 450627"/>
                  <a:gd name="connsiteX102" fmla="*/ 889635 w 3421857"/>
                  <a:gd name="connsiteY102" fmla="*/ 340042 h 450627"/>
                  <a:gd name="connsiteX103" fmla="*/ 889635 w 3421857"/>
                  <a:gd name="connsiteY103" fmla="*/ 346233 h 450627"/>
                  <a:gd name="connsiteX104" fmla="*/ 914877 w 3421857"/>
                  <a:gd name="connsiteY104" fmla="*/ 346233 h 450627"/>
                  <a:gd name="connsiteX105" fmla="*/ 914877 w 3421857"/>
                  <a:gd name="connsiteY105" fmla="*/ 352329 h 450627"/>
                  <a:gd name="connsiteX106" fmla="*/ 1144143 w 3421857"/>
                  <a:gd name="connsiteY106" fmla="*/ 352329 h 450627"/>
                  <a:gd name="connsiteX107" fmla="*/ 1144143 w 3421857"/>
                  <a:gd name="connsiteY107" fmla="*/ 358521 h 450627"/>
                  <a:gd name="connsiteX108" fmla="*/ 1257681 w 3421857"/>
                  <a:gd name="connsiteY108" fmla="*/ 358521 h 450627"/>
                  <a:gd name="connsiteX109" fmla="*/ 1257681 w 3421857"/>
                  <a:gd name="connsiteY109" fmla="*/ 364712 h 450627"/>
                  <a:gd name="connsiteX110" fmla="*/ 1526858 w 3421857"/>
                  <a:gd name="connsiteY110" fmla="*/ 364712 h 450627"/>
                  <a:gd name="connsiteX111" fmla="*/ 1526858 w 3421857"/>
                  <a:gd name="connsiteY111" fmla="*/ 370998 h 450627"/>
                  <a:gd name="connsiteX112" fmla="*/ 1600486 w 3421857"/>
                  <a:gd name="connsiteY112" fmla="*/ 370998 h 450627"/>
                  <a:gd name="connsiteX113" fmla="*/ 1600486 w 3421857"/>
                  <a:gd name="connsiteY113" fmla="*/ 377285 h 450627"/>
                  <a:gd name="connsiteX114" fmla="*/ 1680401 w 3421857"/>
                  <a:gd name="connsiteY114" fmla="*/ 377285 h 450627"/>
                  <a:gd name="connsiteX115" fmla="*/ 1680401 w 3421857"/>
                  <a:gd name="connsiteY115" fmla="*/ 383571 h 450627"/>
                  <a:gd name="connsiteX116" fmla="*/ 1842326 w 3421857"/>
                  <a:gd name="connsiteY116" fmla="*/ 383571 h 450627"/>
                  <a:gd name="connsiteX117" fmla="*/ 1842326 w 3421857"/>
                  <a:gd name="connsiteY117" fmla="*/ 390048 h 450627"/>
                  <a:gd name="connsiteX118" fmla="*/ 1859185 w 3421857"/>
                  <a:gd name="connsiteY118" fmla="*/ 390048 h 450627"/>
                  <a:gd name="connsiteX119" fmla="*/ 1859185 w 3421857"/>
                  <a:gd name="connsiteY119" fmla="*/ 396430 h 450627"/>
                  <a:gd name="connsiteX120" fmla="*/ 1977009 w 3421857"/>
                  <a:gd name="connsiteY120" fmla="*/ 396430 h 450627"/>
                  <a:gd name="connsiteX121" fmla="*/ 1977009 w 3421857"/>
                  <a:gd name="connsiteY121" fmla="*/ 402907 h 450627"/>
                  <a:gd name="connsiteX122" fmla="*/ 2069497 w 3421857"/>
                  <a:gd name="connsiteY122" fmla="*/ 402907 h 450627"/>
                  <a:gd name="connsiteX123" fmla="*/ 2069497 w 3421857"/>
                  <a:gd name="connsiteY123" fmla="*/ 409289 h 450627"/>
                  <a:gd name="connsiteX124" fmla="*/ 2088452 w 3421857"/>
                  <a:gd name="connsiteY124" fmla="*/ 409289 h 450627"/>
                  <a:gd name="connsiteX125" fmla="*/ 2088452 w 3421857"/>
                  <a:gd name="connsiteY125" fmla="*/ 415766 h 450627"/>
                  <a:gd name="connsiteX126" fmla="*/ 2942273 w 3421857"/>
                  <a:gd name="connsiteY126" fmla="*/ 415766 h 450627"/>
                  <a:gd name="connsiteX127" fmla="*/ 2942273 w 3421857"/>
                  <a:gd name="connsiteY127" fmla="*/ 450627 h 450627"/>
                  <a:gd name="connsiteX128" fmla="*/ 3421857 w 3421857"/>
                  <a:gd name="connsiteY128" fmla="*/ 450627 h 450627"/>
                  <a:gd name="connsiteX0" fmla="*/ 0 w 3421857"/>
                  <a:gd name="connsiteY0" fmla="*/ 0 h 450627"/>
                  <a:gd name="connsiteX1" fmla="*/ 0 w 3421857"/>
                  <a:gd name="connsiteY1" fmla="*/ 6000 h 450627"/>
                  <a:gd name="connsiteX2" fmla="*/ 4191 w 3421857"/>
                  <a:gd name="connsiteY2" fmla="*/ 12096 h 450627"/>
                  <a:gd name="connsiteX3" fmla="*/ 8382 w 3421857"/>
                  <a:gd name="connsiteY3" fmla="*/ 12096 h 450627"/>
                  <a:gd name="connsiteX4" fmla="*/ 8382 w 3421857"/>
                  <a:gd name="connsiteY4" fmla="*/ 18192 h 450627"/>
                  <a:gd name="connsiteX5" fmla="*/ 21051 w 3421857"/>
                  <a:gd name="connsiteY5" fmla="*/ 18192 h 450627"/>
                  <a:gd name="connsiteX6" fmla="*/ 21051 w 3421857"/>
                  <a:gd name="connsiteY6" fmla="*/ 24193 h 450627"/>
                  <a:gd name="connsiteX7" fmla="*/ 50483 w 3421857"/>
                  <a:gd name="connsiteY7" fmla="*/ 24193 h 450627"/>
                  <a:gd name="connsiteX8" fmla="*/ 50483 w 3421857"/>
                  <a:gd name="connsiteY8" fmla="*/ 30289 h 450627"/>
                  <a:gd name="connsiteX9" fmla="*/ 58865 w 3421857"/>
                  <a:gd name="connsiteY9" fmla="*/ 30289 h 450627"/>
                  <a:gd name="connsiteX10" fmla="*/ 58865 w 3421857"/>
                  <a:gd name="connsiteY10" fmla="*/ 36385 h 450627"/>
                  <a:gd name="connsiteX11" fmla="*/ 60960 w 3421857"/>
                  <a:gd name="connsiteY11" fmla="*/ 36385 h 450627"/>
                  <a:gd name="connsiteX12" fmla="*/ 60960 w 3421857"/>
                  <a:gd name="connsiteY12" fmla="*/ 42386 h 450627"/>
                  <a:gd name="connsiteX13" fmla="*/ 75724 w 3421857"/>
                  <a:gd name="connsiteY13" fmla="*/ 42386 h 450627"/>
                  <a:gd name="connsiteX14" fmla="*/ 75724 w 3421857"/>
                  <a:gd name="connsiteY14" fmla="*/ 54578 h 450627"/>
                  <a:gd name="connsiteX15" fmla="*/ 77820 w 3421857"/>
                  <a:gd name="connsiteY15" fmla="*/ 54578 h 450627"/>
                  <a:gd name="connsiteX16" fmla="*/ 77820 w 3421857"/>
                  <a:gd name="connsiteY16" fmla="*/ 60579 h 450627"/>
                  <a:gd name="connsiteX17" fmla="*/ 84106 w 3421857"/>
                  <a:gd name="connsiteY17" fmla="*/ 60579 h 450627"/>
                  <a:gd name="connsiteX18" fmla="*/ 84106 w 3421857"/>
                  <a:gd name="connsiteY18" fmla="*/ 66675 h 450627"/>
                  <a:gd name="connsiteX19" fmla="*/ 88297 w 3421857"/>
                  <a:gd name="connsiteY19" fmla="*/ 66675 h 450627"/>
                  <a:gd name="connsiteX20" fmla="*/ 88297 w 3421857"/>
                  <a:gd name="connsiteY20" fmla="*/ 72771 h 450627"/>
                  <a:gd name="connsiteX21" fmla="*/ 105156 w 3421857"/>
                  <a:gd name="connsiteY21" fmla="*/ 72771 h 450627"/>
                  <a:gd name="connsiteX22" fmla="*/ 105156 w 3421857"/>
                  <a:gd name="connsiteY22" fmla="*/ 84867 h 450627"/>
                  <a:gd name="connsiteX23" fmla="*/ 109347 w 3421857"/>
                  <a:gd name="connsiteY23" fmla="*/ 84867 h 450627"/>
                  <a:gd name="connsiteX24" fmla="*/ 109347 w 3421857"/>
                  <a:gd name="connsiteY24" fmla="*/ 90963 h 450627"/>
                  <a:gd name="connsiteX25" fmla="*/ 132493 w 3421857"/>
                  <a:gd name="connsiteY25" fmla="*/ 90963 h 450627"/>
                  <a:gd name="connsiteX26" fmla="*/ 132493 w 3421857"/>
                  <a:gd name="connsiteY26" fmla="*/ 97059 h 450627"/>
                  <a:gd name="connsiteX27" fmla="*/ 136684 w 3421857"/>
                  <a:gd name="connsiteY27" fmla="*/ 97059 h 450627"/>
                  <a:gd name="connsiteX28" fmla="*/ 136684 w 3421857"/>
                  <a:gd name="connsiteY28" fmla="*/ 103060 h 450627"/>
                  <a:gd name="connsiteX29" fmla="*/ 142971 w 3421857"/>
                  <a:gd name="connsiteY29" fmla="*/ 103060 h 450627"/>
                  <a:gd name="connsiteX30" fmla="*/ 142971 w 3421857"/>
                  <a:gd name="connsiteY30" fmla="*/ 115252 h 450627"/>
                  <a:gd name="connsiteX31" fmla="*/ 161925 w 3421857"/>
                  <a:gd name="connsiteY31" fmla="*/ 115252 h 450627"/>
                  <a:gd name="connsiteX32" fmla="*/ 161925 w 3421857"/>
                  <a:gd name="connsiteY32" fmla="*/ 121253 h 450627"/>
                  <a:gd name="connsiteX33" fmla="*/ 170307 w 3421857"/>
                  <a:gd name="connsiteY33" fmla="*/ 121253 h 450627"/>
                  <a:gd name="connsiteX34" fmla="*/ 170307 w 3421857"/>
                  <a:gd name="connsiteY34" fmla="*/ 127349 h 450627"/>
                  <a:gd name="connsiteX35" fmla="*/ 182976 w 3421857"/>
                  <a:gd name="connsiteY35" fmla="*/ 127349 h 450627"/>
                  <a:gd name="connsiteX36" fmla="*/ 182976 w 3421857"/>
                  <a:gd name="connsiteY36" fmla="*/ 133445 h 450627"/>
                  <a:gd name="connsiteX37" fmla="*/ 199835 w 3421857"/>
                  <a:gd name="connsiteY37" fmla="*/ 133445 h 450627"/>
                  <a:gd name="connsiteX38" fmla="*/ 199835 w 3421857"/>
                  <a:gd name="connsiteY38" fmla="*/ 139446 h 450627"/>
                  <a:gd name="connsiteX39" fmla="*/ 227172 w 3421857"/>
                  <a:gd name="connsiteY39" fmla="*/ 139446 h 450627"/>
                  <a:gd name="connsiteX40" fmla="*/ 227172 w 3421857"/>
                  <a:gd name="connsiteY40" fmla="*/ 145542 h 450627"/>
                  <a:gd name="connsiteX41" fmla="*/ 229267 w 3421857"/>
                  <a:gd name="connsiteY41" fmla="*/ 145542 h 450627"/>
                  <a:gd name="connsiteX42" fmla="*/ 229267 w 3421857"/>
                  <a:gd name="connsiteY42" fmla="*/ 151638 h 450627"/>
                  <a:gd name="connsiteX43" fmla="*/ 239744 w 3421857"/>
                  <a:gd name="connsiteY43" fmla="*/ 151638 h 450627"/>
                  <a:gd name="connsiteX44" fmla="*/ 239744 w 3421857"/>
                  <a:gd name="connsiteY44" fmla="*/ 157638 h 450627"/>
                  <a:gd name="connsiteX45" fmla="*/ 246031 w 3421857"/>
                  <a:gd name="connsiteY45" fmla="*/ 157638 h 450627"/>
                  <a:gd name="connsiteX46" fmla="*/ 246031 w 3421857"/>
                  <a:gd name="connsiteY46" fmla="*/ 169830 h 450627"/>
                  <a:gd name="connsiteX47" fmla="*/ 254508 w 3421857"/>
                  <a:gd name="connsiteY47" fmla="*/ 169830 h 450627"/>
                  <a:gd name="connsiteX48" fmla="*/ 254508 w 3421857"/>
                  <a:gd name="connsiteY48" fmla="*/ 175831 h 450627"/>
                  <a:gd name="connsiteX49" fmla="*/ 260795 w 3421857"/>
                  <a:gd name="connsiteY49" fmla="*/ 175831 h 450627"/>
                  <a:gd name="connsiteX50" fmla="*/ 260795 w 3421857"/>
                  <a:gd name="connsiteY50" fmla="*/ 188023 h 450627"/>
                  <a:gd name="connsiteX51" fmla="*/ 262890 w 3421857"/>
                  <a:gd name="connsiteY51" fmla="*/ 188023 h 450627"/>
                  <a:gd name="connsiteX52" fmla="*/ 262890 w 3421857"/>
                  <a:gd name="connsiteY52" fmla="*/ 194119 h 450627"/>
                  <a:gd name="connsiteX53" fmla="*/ 275463 w 3421857"/>
                  <a:gd name="connsiteY53" fmla="*/ 194119 h 450627"/>
                  <a:gd name="connsiteX54" fmla="*/ 275463 w 3421857"/>
                  <a:gd name="connsiteY54" fmla="*/ 200120 h 450627"/>
                  <a:gd name="connsiteX55" fmla="*/ 298609 w 3421857"/>
                  <a:gd name="connsiteY55" fmla="*/ 200120 h 450627"/>
                  <a:gd name="connsiteX56" fmla="*/ 298609 w 3421857"/>
                  <a:gd name="connsiteY56" fmla="*/ 206216 h 450627"/>
                  <a:gd name="connsiteX57" fmla="*/ 304991 w 3421857"/>
                  <a:gd name="connsiteY57" fmla="*/ 206216 h 450627"/>
                  <a:gd name="connsiteX58" fmla="*/ 304991 w 3421857"/>
                  <a:gd name="connsiteY58" fmla="*/ 212312 h 450627"/>
                  <a:gd name="connsiteX59" fmla="*/ 313373 w 3421857"/>
                  <a:gd name="connsiteY59" fmla="*/ 212312 h 450627"/>
                  <a:gd name="connsiteX60" fmla="*/ 313373 w 3421857"/>
                  <a:gd name="connsiteY60" fmla="*/ 218313 h 450627"/>
                  <a:gd name="connsiteX61" fmla="*/ 321755 w 3421857"/>
                  <a:gd name="connsiteY61" fmla="*/ 218313 h 450627"/>
                  <a:gd name="connsiteX62" fmla="*/ 321755 w 3421857"/>
                  <a:gd name="connsiteY62" fmla="*/ 224409 h 450627"/>
                  <a:gd name="connsiteX63" fmla="*/ 325946 w 3421857"/>
                  <a:gd name="connsiteY63" fmla="*/ 224409 h 450627"/>
                  <a:gd name="connsiteX64" fmla="*/ 325946 w 3421857"/>
                  <a:gd name="connsiteY64" fmla="*/ 230505 h 450627"/>
                  <a:gd name="connsiteX65" fmla="*/ 399574 w 3421857"/>
                  <a:gd name="connsiteY65" fmla="*/ 230505 h 450627"/>
                  <a:gd name="connsiteX66" fmla="*/ 399574 w 3421857"/>
                  <a:gd name="connsiteY66" fmla="*/ 236505 h 450627"/>
                  <a:gd name="connsiteX67" fmla="*/ 420624 w 3421857"/>
                  <a:gd name="connsiteY67" fmla="*/ 236505 h 450627"/>
                  <a:gd name="connsiteX68" fmla="*/ 420624 w 3421857"/>
                  <a:gd name="connsiteY68" fmla="*/ 242601 h 450627"/>
                  <a:gd name="connsiteX69" fmla="*/ 426911 w 3421857"/>
                  <a:gd name="connsiteY69" fmla="*/ 242601 h 450627"/>
                  <a:gd name="connsiteX70" fmla="*/ 426911 w 3421857"/>
                  <a:gd name="connsiteY70" fmla="*/ 248697 h 450627"/>
                  <a:gd name="connsiteX71" fmla="*/ 469011 w 3421857"/>
                  <a:gd name="connsiteY71" fmla="*/ 248697 h 450627"/>
                  <a:gd name="connsiteX72" fmla="*/ 469011 w 3421857"/>
                  <a:gd name="connsiteY72" fmla="*/ 254698 h 450627"/>
                  <a:gd name="connsiteX73" fmla="*/ 483680 w 3421857"/>
                  <a:gd name="connsiteY73" fmla="*/ 254698 h 450627"/>
                  <a:gd name="connsiteX74" fmla="*/ 483680 w 3421857"/>
                  <a:gd name="connsiteY74" fmla="*/ 260794 h 450627"/>
                  <a:gd name="connsiteX75" fmla="*/ 513207 w 3421857"/>
                  <a:gd name="connsiteY75" fmla="*/ 260794 h 450627"/>
                  <a:gd name="connsiteX76" fmla="*/ 513207 w 3421857"/>
                  <a:gd name="connsiteY76" fmla="*/ 266890 h 450627"/>
                  <a:gd name="connsiteX77" fmla="*/ 515303 w 3421857"/>
                  <a:gd name="connsiteY77" fmla="*/ 266890 h 450627"/>
                  <a:gd name="connsiteX78" fmla="*/ 515303 w 3421857"/>
                  <a:gd name="connsiteY78" fmla="*/ 272891 h 450627"/>
                  <a:gd name="connsiteX79" fmla="*/ 538353 w 3421857"/>
                  <a:gd name="connsiteY79" fmla="*/ 272891 h 450627"/>
                  <a:gd name="connsiteX80" fmla="*/ 538353 w 3421857"/>
                  <a:gd name="connsiteY80" fmla="*/ 278987 h 450627"/>
                  <a:gd name="connsiteX81" fmla="*/ 551022 w 3421857"/>
                  <a:gd name="connsiteY81" fmla="*/ 278987 h 450627"/>
                  <a:gd name="connsiteX82" fmla="*/ 551022 w 3421857"/>
                  <a:gd name="connsiteY82" fmla="*/ 285083 h 450627"/>
                  <a:gd name="connsiteX83" fmla="*/ 586740 w 3421857"/>
                  <a:gd name="connsiteY83" fmla="*/ 285083 h 450627"/>
                  <a:gd name="connsiteX84" fmla="*/ 586740 w 3421857"/>
                  <a:gd name="connsiteY84" fmla="*/ 291179 h 450627"/>
                  <a:gd name="connsiteX85" fmla="*/ 702469 w 3421857"/>
                  <a:gd name="connsiteY85" fmla="*/ 291179 h 450627"/>
                  <a:gd name="connsiteX86" fmla="*/ 702469 w 3421857"/>
                  <a:gd name="connsiteY86" fmla="*/ 297180 h 450627"/>
                  <a:gd name="connsiteX87" fmla="*/ 740283 w 3421857"/>
                  <a:gd name="connsiteY87" fmla="*/ 297180 h 450627"/>
                  <a:gd name="connsiteX88" fmla="*/ 740283 w 3421857"/>
                  <a:gd name="connsiteY88" fmla="*/ 303371 h 450627"/>
                  <a:gd name="connsiteX89" fmla="*/ 792861 w 3421857"/>
                  <a:gd name="connsiteY89" fmla="*/ 303371 h 450627"/>
                  <a:gd name="connsiteX90" fmla="*/ 792861 w 3421857"/>
                  <a:gd name="connsiteY90" fmla="*/ 309467 h 450627"/>
                  <a:gd name="connsiteX91" fmla="*/ 811816 w 3421857"/>
                  <a:gd name="connsiteY91" fmla="*/ 309467 h 450627"/>
                  <a:gd name="connsiteX92" fmla="*/ 811816 w 3421857"/>
                  <a:gd name="connsiteY92" fmla="*/ 315563 h 450627"/>
                  <a:gd name="connsiteX93" fmla="*/ 822294 w 3421857"/>
                  <a:gd name="connsiteY93" fmla="*/ 315563 h 450627"/>
                  <a:gd name="connsiteX94" fmla="*/ 822294 w 3421857"/>
                  <a:gd name="connsiteY94" fmla="*/ 321754 h 450627"/>
                  <a:gd name="connsiteX95" fmla="*/ 856012 w 3421857"/>
                  <a:gd name="connsiteY95" fmla="*/ 321754 h 450627"/>
                  <a:gd name="connsiteX96" fmla="*/ 856012 w 3421857"/>
                  <a:gd name="connsiteY96" fmla="*/ 327850 h 450627"/>
                  <a:gd name="connsiteX97" fmla="*/ 862299 w 3421857"/>
                  <a:gd name="connsiteY97" fmla="*/ 327850 h 450627"/>
                  <a:gd name="connsiteX98" fmla="*/ 862299 w 3421857"/>
                  <a:gd name="connsiteY98" fmla="*/ 333946 h 450627"/>
                  <a:gd name="connsiteX99" fmla="*/ 876967 w 3421857"/>
                  <a:gd name="connsiteY99" fmla="*/ 333946 h 450627"/>
                  <a:gd name="connsiteX100" fmla="*/ 876967 w 3421857"/>
                  <a:gd name="connsiteY100" fmla="*/ 340042 h 450627"/>
                  <a:gd name="connsiteX101" fmla="*/ 889635 w 3421857"/>
                  <a:gd name="connsiteY101" fmla="*/ 340042 h 450627"/>
                  <a:gd name="connsiteX102" fmla="*/ 889635 w 3421857"/>
                  <a:gd name="connsiteY102" fmla="*/ 346233 h 450627"/>
                  <a:gd name="connsiteX103" fmla="*/ 914877 w 3421857"/>
                  <a:gd name="connsiteY103" fmla="*/ 346233 h 450627"/>
                  <a:gd name="connsiteX104" fmla="*/ 914877 w 3421857"/>
                  <a:gd name="connsiteY104" fmla="*/ 352329 h 450627"/>
                  <a:gd name="connsiteX105" fmla="*/ 1144143 w 3421857"/>
                  <a:gd name="connsiteY105" fmla="*/ 352329 h 450627"/>
                  <a:gd name="connsiteX106" fmla="*/ 1144143 w 3421857"/>
                  <a:gd name="connsiteY106" fmla="*/ 358521 h 450627"/>
                  <a:gd name="connsiteX107" fmla="*/ 1257681 w 3421857"/>
                  <a:gd name="connsiteY107" fmla="*/ 358521 h 450627"/>
                  <a:gd name="connsiteX108" fmla="*/ 1257681 w 3421857"/>
                  <a:gd name="connsiteY108" fmla="*/ 364712 h 450627"/>
                  <a:gd name="connsiteX109" fmla="*/ 1526858 w 3421857"/>
                  <a:gd name="connsiteY109" fmla="*/ 364712 h 450627"/>
                  <a:gd name="connsiteX110" fmla="*/ 1526858 w 3421857"/>
                  <a:gd name="connsiteY110" fmla="*/ 370998 h 450627"/>
                  <a:gd name="connsiteX111" fmla="*/ 1600486 w 3421857"/>
                  <a:gd name="connsiteY111" fmla="*/ 370998 h 450627"/>
                  <a:gd name="connsiteX112" fmla="*/ 1600486 w 3421857"/>
                  <a:gd name="connsiteY112" fmla="*/ 377285 h 450627"/>
                  <a:gd name="connsiteX113" fmla="*/ 1680401 w 3421857"/>
                  <a:gd name="connsiteY113" fmla="*/ 377285 h 450627"/>
                  <a:gd name="connsiteX114" fmla="*/ 1680401 w 3421857"/>
                  <a:gd name="connsiteY114" fmla="*/ 383571 h 450627"/>
                  <a:gd name="connsiteX115" fmla="*/ 1842326 w 3421857"/>
                  <a:gd name="connsiteY115" fmla="*/ 383571 h 450627"/>
                  <a:gd name="connsiteX116" fmla="*/ 1842326 w 3421857"/>
                  <a:gd name="connsiteY116" fmla="*/ 390048 h 450627"/>
                  <a:gd name="connsiteX117" fmla="*/ 1859185 w 3421857"/>
                  <a:gd name="connsiteY117" fmla="*/ 390048 h 450627"/>
                  <a:gd name="connsiteX118" fmla="*/ 1859185 w 3421857"/>
                  <a:gd name="connsiteY118" fmla="*/ 396430 h 450627"/>
                  <a:gd name="connsiteX119" fmla="*/ 1977009 w 3421857"/>
                  <a:gd name="connsiteY119" fmla="*/ 396430 h 450627"/>
                  <a:gd name="connsiteX120" fmla="*/ 1977009 w 3421857"/>
                  <a:gd name="connsiteY120" fmla="*/ 402907 h 450627"/>
                  <a:gd name="connsiteX121" fmla="*/ 2069497 w 3421857"/>
                  <a:gd name="connsiteY121" fmla="*/ 402907 h 450627"/>
                  <a:gd name="connsiteX122" fmla="*/ 2069497 w 3421857"/>
                  <a:gd name="connsiteY122" fmla="*/ 409289 h 450627"/>
                  <a:gd name="connsiteX123" fmla="*/ 2088452 w 3421857"/>
                  <a:gd name="connsiteY123" fmla="*/ 409289 h 450627"/>
                  <a:gd name="connsiteX124" fmla="*/ 2088452 w 3421857"/>
                  <a:gd name="connsiteY124" fmla="*/ 415766 h 450627"/>
                  <a:gd name="connsiteX125" fmla="*/ 2942273 w 3421857"/>
                  <a:gd name="connsiteY125" fmla="*/ 415766 h 450627"/>
                  <a:gd name="connsiteX126" fmla="*/ 2942273 w 3421857"/>
                  <a:gd name="connsiteY126" fmla="*/ 450627 h 450627"/>
                  <a:gd name="connsiteX127" fmla="*/ 3421857 w 3421857"/>
                  <a:gd name="connsiteY127" fmla="*/ 450627 h 450627"/>
                  <a:gd name="connsiteX0" fmla="*/ 0 w 3421857"/>
                  <a:gd name="connsiteY0" fmla="*/ 0 h 450627"/>
                  <a:gd name="connsiteX1" fmla="*/ 4191 w 3421857"/>
                  <a:gd name="connsiteY1" fmla="*/ 12096 h 450627"/>
                  <a:gd name="connsiteX2" fmla="*/ 8382 w 3421857"/>
                  <a:gd name="connsiteY2" fmla="*/ 12096 h 450627"/>
                  <a:gd name="connsiteX3" fmla="*/ 8382 w 3421857"/>
                  <a:gd name="connsiteY3" fmla="*/ 18192 h 450627"/>
                  <a:gd name="connsiteX4" fmla="*/ 21051 w 3421857"/>
                  <a:gd name="connsiteY4" fmla="*/ 18192 h 450627"/>
                  <a:gd name="connsiteX5" fmla="*/ 21051 w 3421857"/>
                  <a:gd name="connsiteY5" fmla="*/ 24193 h 450627"/>
                  <a:gd name="connsiteX6" fmla="*/ 50483 w 3421857"/>
                  <a:gd name="connsiteY6" fmla="*/ 24193 h 450627"/>
                  <a:gd name="connsiteX7" fmla="*/ 50483 w 3421857"/>
                  <a:gd name="connsiteY7" fmla="*/ 30289 h 450627"/>
                  <a:gd name="connsiteX8" fmla="*/ 58865 w 3421857"/>
                  <a:gd name="connsiteY8" fmla="*/ 30289 h 450627"/>
                  <a:gd name="connsiteX9" fmla="*/ 58865 w 3421857"/>
                  <a:gd name="connsiteY9" fmla="*/ 36385 h 450627"/>
                  <a:gd name="connsiteX10" fmla="*/ 60960 w 3421857"/>
                  <a:gd name="connsiteY10" fmla="*/ 36385 h 450627"/>
                  <a:gd name="connsiteX11" fmla="*/ 60960 w 3421857"/>
                  <a:gd name="connsiteY11" fmla="*/ 42386 h 450627"/>
                  <a:gd name="connsiteX12" fmla="*/ 75724 w 3421857"/>
                  <a:gd name="connsiteY12" fmla="*/ 42386 h 450627"/>
                  <a:gd name="connsiteX13" fmla="*/ 75724 w 3421857"/>
                  <a:gd name="connsiteY13" fmla="*/ 54578 h 450627"/>
                  <a:gd name="connsiteX14" fmla="*/ 77820 w 3421857"/>
                  <a:gd name="connsiteY14" fmla="*/ 54578 h 450627"/>
                  <a:gd name="connsiteX15" fmla="*/ 77820 w 3421857"/>
                  <a:gd name="connsiteY15" fmla="*/ 60579 h 450627"/>
                  <a:gd name="connsiteX16" fmla="*/ 84106 w 3421857"/>
                  <a:gd name="connsiteY16" fmla="*/ 60579 h 450627"/>
                  <a:gd name="connsiteX17" fmla="*/ 84106 w 3421857"/>
                  <a:gd name="connsiteY17" fmla="*/ 66675 h 450627"/>
                  <a:gd name="connsiteX18" fmla="*/ 88297 w 3421857"/>
                  <a:gd name="connsiteY18" fmla="*/ 66675 h 450627"/>
                  <a:gd name="connsiteX19" fmla="*/ 88297 w 3421857"/>
                  <a:gd name="connsiteY19" fmla="*/ 72771 h 450627"/>
                  <a:gd name="connsiteX20" fmla="*/ 105156 w 3421857"/>
                  <a:gd name="connsiteY20" fmla="*/ 72771 h 450627"/>
                  <a:gd name="connsiteX21" fmla="*/ 105156 w 3421857"/>
                  <a:gd name="connsiteY21" fmla="*/ 84867 h 450627"/>
                  <a:gd name="connsiteX22" fmla="*/ 109347 w 3421857"/>
                  <a:gd name="connsiteY22" fmla="*/ 84867 h 450627"/>
                  <a:gd name="connsiteX23" fmla="*/ 109347 w 3421857"/>
                  <a:gd name="connsiteY23" fmla="*/ 90963 h 450627"/>
                  <a:gd name="connsiteX24" fmla="*/ 132493 w 3421857"/>
                  <a:gd name="connsiteY24" fmla="*/ 90963 h 450627"/>
                  <a:gd name="connsiteX25" fmla="*/ 132493 w 3421857"/>
                  <a:gd name="connsiteY25" fmla="*/ 97059 h 450627"/>
                  <a:gd name="connsiteX26" fmla="*/ 136684 w 3421857"/>
                  <a:gd name="connsiteY26" fmla="*/ 97059 h 450627"/>
                  <a:gd name="connsiteX27" fmla="*/ 136684 w 3421857"/>
                  <a:gd name="connsiteY27" fmla="*/ 103060 h 450627"/>
                  <a:gd name="connsiteX28" fmla="*/ 142971 w 3421857"/>
                  <a:gd name="connsiteY28" fmla="*/ 103060 h 450627"/>
                  <a:gd name="connsiteX29" fmla="*/ 142971 w 3421857"/>
                  <a:gd name="connsiteY29" fmla="*/ 115252 h 450627"/>
                  <a:gd name="connsiteX30" fmla="*/ 161925 w 3421857"/>
                  <a:gd name="connsiteY30" fmla="*/ 115252 h 450627"/>
                  <a:gd name="connsiteX31" fmla="*/ 161925 w 3421857"/>
                  <a:gd name="connsiteY31" fmla="*/ 121253 h 450627"/>
                  <a:gd name="connsiteX32" fmla="*/ 170307 w 3421857"/>
                  <a:gd name="connsiteY32" fmla="*/ 121253 h 450627"/>
                  <a:gd name="connsiteX33" fmla="*/ 170307 w 3421857"/>
                  <a:gd name="connsiteY33" fmla="*/ 127349 h 450627"/>
                  <a:gd name="connsiteX34" fmla="*/ 182976 w 3421857"/>
                  <a:gd name="connsiteY34" fmla="*/ 127349 h 450627"/>
                  <a:gd name="connsiteX35" fmla="*/ 182976 w 3421857"/>
                  <a:gd name="connsiteY35" fmla="*/ 133445 h 450627"/>
                  <a:gd name="connsiteX36" fmla="*/ 199835 w 3421857"/>
                  <a:gd name="connsiteY36" fmla="*/ 133445 h 450627"/>
                  <a:gd name="connsiteX37" fmla="*/ 199835 w 3421857"/>
                  <a:gd name="connsiteY37" fmla="*/ 139446 h 450627"/>
                  <a:gd name="connsiteX38" fmla="*/ 227172 w 3421857"/>
                  <a:gd name="connsiteY38" fmla="*/ 139446 h 450627"/>
                  <a:gd name="connsiteX39" fmla="*/ 227172 w 3421857"/>
                  <a:gd name="connsiteY39" fmla="*/ 145542 h 450627"/>
                  <a:gd name="connsiteX40" fmla="*/ 229267 w 3421857"/>
                  <a:gd name="connsiteY40" fmla="*/ 145542 h 450627"/>
                  <a:gd name="connsiteX41" fmla="*/ 229267 w 3421857"/>
                  <a:gd name="connsiteY41" fmla="*/ 151638 h 450627"/>
                  <a:gd name="connsiteX42" fmla="*/ 239744 w 3421857"/>
                  <a:gd name="connsiteY42" fmla="*/ 151638 h 450627"/>
                  <a:gd name="connsiteX43" fmla="*/ 239744 w 3421857"/>
                  <a:gd name="connsiteY43" fmla="*/ 157638 h 450627"/>
                  <a:gd name="connsiteX44" fmla="*/ 246031 w 3421857"/>
                  <a:gd name="connsiteY44" fmla="*/ 157638 h 450627"/>
                  <a:gd name="connsiteX45" fmla="*/ 246031 w 3421857"/>
                  <a:gd name="connsiteY45" fmla="*/ 169830 h 450627"/>
                  <a:gd name="connsiteX46" fmla="*/ 254508 w 3421857"/>
                  <a:gd name="connsiteY46" fmla="*/ 169830 h 450627"/>
                  <a:gd name="connsiteX47" fmla="*/ 254508 w 3421857"/>
                  <a:gd name="connsiteY47" fmla="*/ 175831 h 450627"/>
                  <a:gd name="connsiteX48" fmla="*/ 260795 w 3421857"/>
                  <a:gd name="connsiteY48" fmla="*/ 175831 h 450627"/>
                  <a:gd name="connsiteX49" fmla="*/ 260795 w 3421857"/>
                  <a:gd name="connsiteY49" fmla="*/ 188023 h 450627"/>
                  <a:gd name="connsiteX50" fmla="*/ 262890 w 3421857"/>
                  <a:gd name="connsiteY50" fmla="*/ 188023 h 450627"/>
                  <a:gd name="connsiteX51" fmla="*/ 262890 w 3421857"/>
                  <a:gd name="connsiteY51" fmla="*/ 194119 h 450627"/>
                  <a:gd name="connsiteX52" fmla="*/ 275463 w 3421857"/>
                  <a:gd name="connsiteY52" fmla="*/ 194119 h 450627"/>
                  <a:gd name="connsiteX53" fmla="*/ 275463 w 3421857"/>
                  <a:gd name="connsiteY53" fmla="*/ 200120 h 450627"/>
                  <a:gd name="connsiteX54" fmla="*/ 298609 w 3421857"/>
                  <a:gd name="connsiteY54" fmla="*/ 200120 h 450627"/>
                  <a:gd name="connsiteX55" fmla="*/ 298609 w 3421857"/>
                  <a:gd name="connsiteY55" fmla="*/ 206216 h 450627"/>
                  <a:gd name="connsiteX56" fmla="*/ 304991 w 3421857"/>
                  <a:gd name="connsiteY56" fmla="*/ 206216 h 450627"/>
                  <a:gd name="connsiteX57" fmla="*/ 304991 w 3421857"/>
                  <a:gd name="connsiteY57" fmla="*/ 212312 h 450627"/>
                  <a:gd name="connsiteX58" fmla="*/ 313373 w 3421857"/>
                  <a:gd name="connsiteY58" fmla="*/ 212312 h 450627"/>
                  <a:gd name="connsiteX59" fmla="*/ 313373 w 3421857"/>
                  <a:gd name="connsiteY59" fmla="*/ 218313 h 450627"/>
                  <a:gd name="connsiteX60" fmla="*/ 321755 w 3421857"/>
                  <a:gd name="connsiteY60" fmla="*/ 218313 h 450627"/>
                  <a:gd name="connsiteX61" fmla="*/ 321755 w 3421857"/>
                  <a:gd name="connsiteY61" fmla="*/ 224409 h 450627"/>
                  <a:gd name="connsiteX62" fmla="*/ 325946 w 3421857"/>
                  <a:gd name="connsiteY62" fmla="*/ 224409 h 450627"/>
                  <a:gd name="connsiteX63" fmla="*/ 325946 w 3421857"/>
                  <a:gd name="connsiteY63" fmla="*/ 230505 h 450627"/>
                  <a:gd name="connsiteX64" fmla="*/ 399574 w 3421857"/>
                  <a:gd name="connsiteY64" fmla="*/ 230505 h 450627"/>
                  <a:gd name="connsiteX65" fmla="*/ 399574 w 3421857"/>
                  <a:gd name="connsiteY65" fmla="*/ 236505 h 450627"/>
                  <a:gd name="connsiteX66" fmla="*/ 420624 w 3421857"/>
                  <a:gd name="connsiteY66" fmla="*/ 236505 h 450627"/>
                  <a:gd name="connsiteX67" fmla="*/ 420624 w 3421857"/>
                  <a:gd name="connsiteY67" fmla="*/ 242601 h 450627"/>
                  <a:gd name="connsiteX68" fmla="*/ 426911 w 3421857"/>
                  <a:gd name="connsiteY68" fmla="*/ 242601 h 450627"/>
                  <a:gd name="connsiteX69" fmla="*/ 426911 w 3421857"/>
                  <a:gd name="connsiteY69" fmla="*/ 248697 h 450627"/>
                  <a:gd name="connsiteX70" fmla="*/ 469011 w 3421857"/>
                  <a:gd name="connsiteY70" fmla="*/ 248697 h 450627"/>
                  <a:gd name="connsiteX71" fmla="*/ 469011 w 3421857"/>
                  <a:gd name="connsiteY71" fmla="*/ 254698 h 450627"/>
                  <a:gd name="connsiteX72" fmla="*/ 483680 w 3421857"/>
                  <a:gd name="connsiteY72" fmla="*/ 254698 h 450627"/>
                  <a:gd name="connsiteX73" fmla="*/ 483680 w 3421857"/>
                  <a:gd name="connsiteY73" fmla="*/ 260794 h 450627"/>
                  <a:gd name="connsiteX74" fmla="*/ 513207 w 3421857"/>
                  <a:gd name="connsiteY74" fmla="*/ 260794 h 450627"/>
                  <a:gd name="connsiteX75" fmla="*/ 513207 w 3421857"/>
                  <a:gd name="connsiteY75" fmla="*/ 266890 h 450627"/>
                  <a:gd name="connsiteX76" fmla="*/ 515303 w 3421857"/>
                  <a:gd name="connsiteY76" fmla="*/ 266890 h 450627"/>
                  <a:gd name="connsiteX77" fmla="*/ 515303 w 3421857"/>
                  <a:gd name="connsiteY77" fmla="*/ 272891 h 450627"/>
                  <a:gd name="connsiteX78" fmla="*/ 538353 w 3421857"/>
                  <a:gd name="connsiteY78" fmla="*/ 272891 h 450627"/>
                  <a:gd name="connsiteX79" fmla="*/ 538353 w 3421857"/>
                  <a:gd name="connsiteY79" fmla="*/ 278987 h 450627"/>
                  <a:gd name="connsiteX80" fmla="*/ 551022 w 3421857"/>
                  <a:gd name="connsiteY80" fmla="*/ 278987 h 450627"/>
                  <a:gd name="connsiteX81" fmla="*/ 551022 w 3421857"/>
                  <a:gd name="connsiteY81" fmla="*/ 285083 h 450627"/>
                  <a:gd name="connsiteX82" fmla="*/ 586740 w 3421857"/>
                  <a:gd name="connsiteY82" fmla="*/ 285083 h 450627"/>
                  <a:gd name="connsiteX83" fmla="*/ 586740 w 3421857"/>
                  <a:gd name="connsiteY83" fmla="*/ 291179 h 450627"/>
                  <a:gd name="connsiteX84" fmla="*/ 702469 w 3421857"/>
                  <a:gd name="connsiteY84" fmla="*/ 291179 h 450627"/>
                  <a:gd name="connsiteX85" fmla="*/ 702469 w 3421857"/>
                  <a:gd name="connsiteY85" fmla="*/ 297180 h 450627"/>
                  <a:gd name="connsiteX86" fmla="*/ 740283 w 3421857"/>
                  <a:gd name="connsiteY86" fmla="*/ 297180 h 450627"/>
                  <a:gd name="connsiteX87" fmla="*/ 740283 w 3421857"/>
                  <a:gd name="connsiteY87" fmla="*/ 303371 h 450627"/>
                  <a:gd name="connsiteX88" fmla="*/ 792861 w 3421857"/>
                  <a:gd name="connsiteY88" fmla="*/ 303371 h 450627"/>
                  <a:gd name="connsiteX89" fmla="*/ 792861 w 3421857"/>
                  <a:gd name="connsiteY89" fmla="*/ 309467 h 450627"/>
                  <a:gd name="connsiteX90" fmla="*/ 811816 w 3421857"/>
                  <a:gd name="connsiteY90" fmla="*/ 309467 h 450627"/>
                  <a:gd name="connsiteX91" fmla="*/ 811816 w 3421857"/>
                  <a:gd name="connsiteY91" fmla="*/ 315563 h 450627"/>
                  <a:gd name="connsiteX92" fmla="*/ 822294 w 3421857"/>
                  <a:gd name="connsiteY92" fmla="*/ 315563 h 450627"/>
                  <a:gd name="connsiteX93" fmla="*/ 822294 w 3421857"/>
                  <a:gd name="connsiteY93" fmla="*/ 321754 h 450627"/>
                  <a:gd name="connsiteX94" fmla="*/ 856012 w 3421857"/>
                  <a:gd name="connsiteY94" fmla="*/ 321754 h 450627"/>
                  <a:gd name="connsiteX95" fmla="*/ 856012 w 3421857"/>
                  <a:gd name="connsiteY95" fmla="*/ 327850 h 450627"/>
                  <a:gd name="connsiteX96" fmla="*/ 862299 w 3421857"/>
                  <a:gd name="connsiteY96" fmla="*/ 327850 h 450627"/>
                  <a:gd name="connsiteX97" fmla="*/ 862299 w 3421857"/>
                  <a:gd name="connsiteY97" fmla="*/ 333946 h 450627"/>
                  <a:gd name="connsiteX98" fmla="*/ 876967 w 3421857"/>
                  <a:gd name="connsiteY98" fmla="*/ 333946 h 450627"/>
                  <a:gd name="connsiteX99" fmla="*/ 876967 w 3421857"/>
                  <a:gd name="connsiteY99" fmla="*/ 340042 h 450627"/>
                  <a:gd name="connsiteX100" fmla="*/ 889635 w 3421857"/>
                  <a:gd name="connsiteY100" fmla="*/ 340042 h 450627"/>
                  <a:gd name="connsiteX101" fmla="*/ 889635 w 3421857"/>
                  <a:gd name="connsiteY101" fmla="*/ 346233 h 450627"/>
                  <a:gd name="connsiteX102" fmla="*/ 914877 w 3421857"/>
                  <a:gd name="connsiteY102" fmla="*/ 346233 h 450627"/>
                  <a:gd name="connsiteX103" fmla="*/ 914877 w 3421857"/>
                  <a:gd name="connsiteY103" fmla="*/ 352329 h 450627"/>
                  <a:gd name="connsiteX104" fmla="*/ 1144143 w 3421857"/>
                  <a:gd name="connsiteY104" fmla="*/ 352329 h 450627"/>
                  <a:gd name="connsiteX105" fmla="*/ 1144143 w 3421857"/>
                  <a:gd name="connsiteY105" fmla="*/ 358521 h 450627"/>
                  <a:gd name="connsiteX106" fmla="*/ 1257681 w 3421857"/>
                  <a:gd name="connsiteY106" fmla="*/ 358521 h 450627"/>
                  <a:gd name="connsiteX107" fmla="*/ 1257681 w 3421857"/>
                  <a:gd name="connsiteY107" fmla="*/ 364712 h 450627"/>
                  <a:gd name="connsiteX108" fmla="*/ 1526858 w 3421857"/>
                  <a:gd name="connsiteY108" fmla="*/ 364712 h 450627"/>
                  <a:gd name="connsiteX109" fmla="*/ 1526858 w 3421857"/>
                  <a:gd name="connsiteY109" fmla="*/ 370998 h 450627"/>
                  <a:gd name="connsiteX110" fmla="*/ 1600486 w 3421857"/>
                  <a:gd name="connsiteY110" fmla="*/ 370998 h 450627"/>
                  <a:gd name="connsiteX111" fmla="*/ 1600486 w 3421857"/>
                  <a:gd name="connsiteY111" fmla="*/ 377285 h 450627"/>
                  <a:gd name="connsiteX112" fmla="*/ 1680401 w 3421857"/>
                  <a:gd name="connsiteY112" fmla="*/ 377285 h 450627"/>
                  <a:gd name="connsiteX113" fmla="*/ 1680401 w 3421857"/>
                  <a:gd name="connsiteY113" fmla="*/ 383571 h 450627"/>
                  <a:gd name="connsiteX114" fmla="*/ 1842326 w 3421857"/>
                  <a:gd name="connsiteY114" fmla="*/ 383571 h 450627"/>
                  <a:gd name="connsiteX115" fmla="*/ 1842326 w 3421857"/>
                  <a:gd name="connsiteY115" fmla="*/ 390048 h 450627"/>
                  <a:gd name="connsiteX116" fmla="*/ 1859185 w 3421857"/>
                  <a:gd name="connsiteY116" fmla="*/ 390048 h 450627"/>
                  <a:gd name="connsiteX117" fmla="*/ 1859185 w 3421857"/>
                  <a:gd name="connsiteY117" fmla="*/ 396430 h 450627"/>
                  <a:gd name="connsiteX118" fmla="*/ 1977009 w 3421857"/>
                  <a:gd name="connsiteY118" fmla="*/ 396430 h 450627"/>
                  <a:gd name="connsiteX119" fmla="*/ 1977009 w 3421857"/>
                  <a:gd name="connsiteY119" fmla="*/ 402907 h 450627"/>
                  <a:gd name="connsiteX120" fmla="*/ 2069497 w 3421857"/>
                  <a:gd name="connsiteY120" fmla="*/ 402907 h 450627"/>
                  <a:gd name="connsiteX121" fmla="*/ 2069497 w 3421857"/>
                  <a:gd name="connsiteY121" fmla="*/ 409289 h 450627"/>
                  <a:gd name="connsiteX122" fmla="*/ 2088452 w 3421857"/>
                  <a:gd name="connsiteY122" fmla="*/ 409289 h 450627"/>
                  <a:gd name="connsiteX123" fmla="*/ 2088452 w 3421857"/>
                  <a:gd name="connsiteY123" fmla="*/ 415766 h 450627"/>
                  <a:gd name="connsiteX124" fmla="*/ 2942273 w 3421857"/>
                  <a:gd name="connsiteY124" fmla="*/ 415766 h 450627"/>
                  <a:gd name="connsiteX125" fmla="*/ 2942273 w 3421857"/>
                  <a:gd name="connsiteY125" fmla="*/ 450627 h 450627"/>
                  <a:gd name="connsiteX126" fmla="*/ 3421857 w 3421857"/>
                  <a:gd name="connsiteY126" fmla="*/ 450627 h 450627"/>
                  <a:gd name="connsiteX0" fmla="*/ 0 w 3417666"/>
                  <a:gd name="connsiteY0" fmla="*/ 0 h 438531"/>
                  <a:gd name="connsiteX1" fmla="*/ 4191 w 3417666"/>
                  <a:gd name="connsiteY1" fmla="*/ 0 h 438531"/>
                  <a:gd name="connsiteX2" fmla="*/ 4191 w 3417666"/>
                  <a:gd name="connsiteY2" fmla="*/ 6096 h 438531"/>
                  <a:gd name="connsiteX3" fmla="*/ 16860 w 3417666"/>
                  <a:gd name="connsiteY3" fmla="*/ 6096 h 438531"/>
                  <a:gd name="connsiteX4" fmla="*/ 16860 w 3417666"/>
                  <a:gd name="connsiteY4" fmla="*/ 12097 h 438531"/>
                  <a:gd name="connsiteX5" fmla="*/ 46292 w 3417666"/>
                  <a:gd name="connsiteY5" fmla="*/ 12097 h 438531"/>
                  <a:gd name="connsiteX6" fmla="*/ 46292 w 3417666"/>
                  <a:gd name="connsiteY6" fmla="*/ 18193 h 438531"/>
                  <a:gd name="connsiteX7" fmla="*/ 54674 w 3417666"/>
                  <a:gd name="connsiteY7" fmla="*/ 18193 h 438531"/>
                  <a:gd name="connsiteX8" fmla="*/ 54674 w 3417666"/>
                  <a:gd name="connsiteY8" fmla="*/ 24289 h 438531"/>
                  <a:gd name="connsiteX9" fmla="*/ 56769 w 3417666"/>
                  <a:gd name="connsiteY9" fmla="*/ 24289 h 438531"/>
                  <a:gd name="connsiteX10" fmla="*/ 56769 w 3417666"/>
                  <a:gd name="connsiteY10" fmla="*/ 30290 h 438531"/>
                  <a:gd name="connsiteX11" fmla="*/ 71533 w 3417666"/>
                  <a:gd name="connsiteY11" fmla="*/ 30290 h 438531"/>
                  <a:gd name="connsiteX12" fmla="*/ 71533 w 3417666"/>
                  <a:gd name="connsiteY12" fmla="*/ 42482 h 438531"/>
                  <a:gd name="connsiteX13" fmla="*/ 73629 w 3417666"/>
                  <a:gd name="connsiteY13" fmla="*/ 42482 h 438531"/>
                  <a:gd name="connsiteX14" fmla="*/ 73629 w 3417666"/>
                  <a:gd name="connsiteY14" fmla="*/ 48483 h 438531"/>
                  <a:gd name="connsiteX15" fmla="*/ 79915 w 3417666"/>
                  <a:gd name="connsiteY15" fmla="*/ 48483 h 438531"/>
                  <a:gd name="connsiteX16" fmla="*/ 79915 w 3417666"/>
                  <a:gd name="connsiteY16" fmla="*/ 54579 h 438531"/>
                  <a:gd name="connsiteX17" fmla="*/ 84106 w 3417666"/>
                  <a:gd name="connsiteY17" fmla="*/ 54579 h 438531"/>
                  <a:gd name="connsiteX18" fmla="*/ 84106 w 3417666"/>
                  <a:gd name="connsiteY18" fmla="*/ 60675 h 438531"/>
                  <a:gd name="connsiteX19" fmla="*/ 100965 w 3417666"/>
                  <a:gd name="connsiteY19" fmla="*/ 60675 h 438531"/>
                  <a:gd name="connsiteX20" fmla="*/ 100965 w 3417666"/>
                  <a:gd name="connsiteY20" fmla="*/ 72771 h 438531"/>
                  <a:gd name="connsiteX21" fmla="*/ 105156 w 3417666"/>
                  <a:gd name="connsiteY21" fmla="*/ 72771 h 438531"/>
                  <a:gd name="connsiteX22" fmla="*/ 105156 w 3417666"/>
                  <a:gd name="connsiteY22" fmla="*/ 78867 h 438531"/>
                  <a:gd name="connsiteX23" fmla="*/ 128302 w 3417666"/>
                  <a:gd name="connsiteY23" fmla="*/ 78867 h 438531"/>
                  <a:gd name="connsiteX24" fmla="*/ 128302 w 3417666"/>
                  <a:gd name="connsiteY24" fmla="*/ 84963 h 438531"/>
                  <a:gd name="connsiteX25" fmla="*/ 132493 w 3417666"/>
                  <a:gd name="connsiteY25" fmla="*/ 84963 h 438531"/>
                  <a:gd name="connsiteX26" fmla="*/ 132493 w 3417666"/>
                  <a:gd name="connsiteY26" fmla="*/ 90964 h 438531"/>
                  <a:gd name="connsiteX27" fmla="*/ 138780 w 3417666"/>
                  <a:gd name="connsiteY27" fmla="*/ 90964 h 438531"/>
                  <a:gd name="connsiteX28" fmla="*/ 138780 w 3417666"/>
                  <a:gd name="connsiteY28" fmla="*/ 103156 h 438531"/>
                  <a:gd name="connsiteX29" fmla="*/ 157734 w 3417666"/>
                  <a:gd name="connsiteY29" fmla="*/ 103156 h 438531"/>
                  <a:gd name="connsiteX30" fmla="*/ 157734 w 3417666"/>
                  <a:gd name="connsiteY30" fmla="*/ 109157 h 438531"/>
                  <a:gd name="connsiteX31" fmla="*/ 166116 w 3417666"/>
                  <a:gd name="connsiteY31" fmla="*/ 109157 h 438531"/>
                  <a:gd name="connsiteX32" fmla="*/ 166116 w 3417666"/>
                  <a:gd name="connsiteY32" fmla="*/ 115253 h 438531"/>
                  <a:gd name="connsiteX33" fmla="*/ 178785 w 3417666"/>
                  <a:gd name="connsiteY33" fmla="*/ 115253 h 438531"/>
                  <a:gd name="connsiteX34" fmla="*/ 178785 w 3417666"/>
                  <a:gd name="connsiteY34" fmla="*/ 121349 h 438531"/>
                  <a:gd name="connsiteX35" fmla="*/ 195644 w 3417666"/>
                  <a:gd name="connsiteY35" fmla="*/ 121349 h 438531"/>
                  <a:gd name="connsiteX36" fmla="*/ 195644 w 3417666"/>
                  <a:gd name="connsiteY36" fmla="*/ 127350 h 438531"/>
                  <a:gd name="connsiteX37" fmla="*/ 222981 w 3417666"/>
                  <a:gd name="connsiteY37" fmla="*/ 127350 h 438531"/>
                  <a:gd name="connsiteX38" fmla="*/ 222981 w 3417666"/>
                  <a:gd name="connsiteY38" fmla="*/ 133446 h 438531"/>
                  <a:gd name="connsiteX39" fmla="*/ 225076 w 3417666"/>
                  <a:gd name="connsiteY39" fmla="*/ 133446 h 438531"/>
                  <a:gd name="connsiteX40" fmla="*/ 225076 w 3417666"/>
                  <a:gd name="connsiteY40" fmla="*/ 139542 h 438531"/>
                  <a:gd name="connsiteX41" fmla="*/ 235553 w 3417666"/>
                  <a:gd name="connsiteY41" fmla="*/ 139542 h 438531"/>
                  <a:gd name="connsiteX42" fmla="*/ 235553 w 3417666"/>
                  <a:gd name="connsiteY42" fmla="*/ 145542 h 438531"/>
                  <a:gd name="connsiteX43" fmla="*/ 241840 w 3417666"/>
                  <a:gd name="connsiteY43" fmla="*/ 145542 h 438531"/>
                  <a:gd name="connsiteX44" fmla="*/ 241840 w 3417666"/>
                  <a:gd name="connsiteY44" fmla="*/ 157734 h 438531"/>
                  <a:gd name="connsiteX45" fmla="*/ 250317 w 3417666"/>
                  <a:gd name="connsiteY45" fmla="*/ 157734 h 438531"/>
                  <a:gd name="connsiteX46" fmla="*/ 250317 w 3417666"/>
                  <a:gd name="connsiteY46" fmla="*/ 163735 h 438531"/>
                  <a:gd name="connsiteX47" fmla="*/ 256604 w 3417666"/>
                  <a:gd name="connsiteY47" fmla="*/ 163735 h 438531"/>
                  <a:gd name="connsiteX48" fmla="*/ 256604 w 3417666"/>
                  <a:gd name="connsiteY48" fmla="*/ 175927 h 438531"/>
                  <a:gd name="connsiteX49" fmla="*/ 258699 w 3417666"/>
                  <a:gd name="connsiteY49" fmla="*/ 175927 h 438531"/>
                  <a:gd name="connsiteX50" fmla="*/ 258699 w 3417666"/>
                  <a:gd name="connsiteY50" fmla="*/ 182023 h 438531"/>
                  <a:gd name="connsiteX51" fmla="*/ 271272 w 3417666"/>
                  <a:gd name="connsiteY51" fmla="*/ 182023 h 438531"/>
                  <a:gd name="connsiteX52" fmla="*/ 271272 w 3417666"/>
                  <a:gd name="connsiteY52" fmla="*/ 188024 h 438531"/>
                  <a:gd name="connsiteX53" fmla="*/ 294418 w 3417666"/>
                  <a:gd name="connsiteY53" fmla="*/ 188024 h 438531"/>
                  <a:gd name="connsiteX54" fmla="*/ 294418 w 3417666"/>
                  <a:gd name="connsiteY54" fmla="*/ 194120 h 438531"/>
                  <a:gd name="connsiteX55" fmla="*/ 300800 w 3417666"/>
                  <a:gd name="connsiteY55" fmla="*/ 194120 h 438531"/>
                  <a:gd name="connsiteX56" fmla="*/ 300800 w 3417666"/>
                  <a:gd name="connsiteY56" fmla="*/ 200216 h 438531"/>
                  <a:gd name="connsiteX57" fmla="*/ 309182 w 3417666"/>
                  <a:gd name="connsiteY57" fmla="*/ 200216 h 438531"/>
                  <a:gd name="connsiteX58" fmla="*/ 309182 w 3417666"/>
                  <a:gd name="connsiteY58" fmla="*/ 206217 h 438531"/>
                  <a:gd name="connsiteX59" fmla="*/ 317564 w 3417666"/>
                  <a:gd name="connsiteY59" fmla="*/ 206217 h 438531"/>
                  <a:gd name="connsiteX60" fmla="*/ 317564 w 3417666"/>
                  <a:gd name="connsiteY60" fmla="*/ 212313 h 438531"/>
                  <a:gd name="connsiteX61" fmla="*/ 321755 w 3417666"/>
                  <a:gd name="connsiteY61" fmla="*/ 212313 h 438531"/>
                  <a:gd name="connsiteX62" fmla="*/ 321755 w 3417666"/>
                  <a:gd name="connsiteY62" fmla="*/ 218409 h 438531"/>
                  <a:gd name="connsiteX63" fmla="*/ 395383 w 3417666"/>
                  <a:gd name="connsiteY63" fmla="*/ 218409 h 438531"/>
                  <a:gd name="connsiteX64" fmla="*/ 395383 w 3417666"/>
                  <a:gd name="connsiteY64" fmla="*/ 224409 h 438531"/>
                  <a:gd name="connsiteX65" fmla="*/ 416433 w 3417666"/>
                  <a:gd name="connsiteY65" fmla="*/ 224409 h 438531"/>
                  <a:gd name="connsiteX66" fmla="*/ 416433 w 3417666"/>
                  <a:gd name="connsiteY66" fmla="*/ 230505 h 438531"/>
                  <a:gd name="connsiteX67" fmla="*/ 422720 w 3417666"/>
                  <a:gd name="connsiteY67" fmla="*/ 230505 h 438531"/>
                  <a:gd name="connsiteX68" fmla="*/ 422720 w 3417666"/>
                  <a:gd name="connsiteY68" fmla="*/ 236601 h 438531"/>
                  <a:gd name="connsiteX69" fmla="*/ 464820 w 3417666"/>
                  <a:gd name="connsiteY69" fmla="*/ 236601 h 438531"/>
                  <a:gd name="connsiteX70" fmla="*/ 464820 w 3417666"/>
                  <a:gd name="connsiteY70" fmla="*/ 242602 h 438531"/>
                  <a:gd name="connsiteX71" fmla="*/ 479489 w 3417666"/>
                  <a:gd name="connsiteY71" fmla="*/ 242602 h 438531"/>
                  <a:gd name="connsiteX72" fmla="*/ 479489 w 3417666"/>
                  <a:gd name="connsiteY72" fmla="*/ 248698 h 438531"/>
                  <a:gd name="connsiteX73" fmla="*/ 509016 w 3417666"/>
                  <a:gd name="connsiteY73" fmla="*/ 248698 h 438531"/>
                  <a:gd name="connsiteX74" fmla="*/ 509016 w 3417666"/>
                  <a:gd name="connsiteY74" fmla="*/ 254794 h 438531"/>
                  <a:gd name="connsiteX75" fmla="*/ 511112 w 3417666"/>
                  <a:gd name="connsiteY75" fmla="*/ 254794 h 438531"/>
                  <a:gd name="connsiteX76" fmla="*/ 511112 w 3417666"/>
                  <a:gd name="connsiteY76" fmla="*/ 260795 h 438531"/>
                  <a:gd name="connsiteX77" fmla="*/ 534162 w 3417666"/>
                  <a:gd name="connsiteY77" fmla="*/ 260795 h 438531"/>
                  <a:gd name="connsiteX78" fmla="*/ 534162 w 3417666"/>
                  <a:gd name="connsiteY78" fmla="*/ 266891 h 438531"/>
                  <a:gd name="connsiteX79" fmla="*/ 546831 w 3417666"/>
                  <a:gd name="connsiteY79" fmla="*/ 266891 h 438531"/>
                  <a:gd name="connsiteX80" fmla="*/ 546831 w 3417666"/>
                  <a:gd name="connsiteY80" fmla="*/ 272987 h 438531"/>
                  <a:gd name="connsiteX81" fmla="*/ 582549 w 3417666"/>
                  <a:gd name="connsiteY81" fmla="*/ 272987 h 438531"/>
                  <a:gd name="connsiteX82" fmla="*/ 582549 w 3417666"/>
                  <a:gd name="connsiteY82" fmla="*/ 279083 h 438531"/>
                  <a:gd name="connsiteX83" fmla="*/ 698278 w 3417666"/>
                  <a:gd name="connsiteY83" fmla="*/ 279083 h 438531"/>
                  <a:gd name="connsiteX84" fmla="*/ 698278 w 3417666"/>
                  <a:gd name="connsiteY84" fmla="*/ 285084 h 438531"/>
                  <a:gd name="connsiteX85" fmla="*/ 736092 w 3417666"/>
                  <a:gd name="connsiteY85" fmla="*/ 285084 h 438531"/>
                  <a:gd name="connsiteX86" fmla="*/ 736092 w 3417666"/>
                  <a:gd name="connsiteY86" fmla="*/ 291275 h 438531"/>
                  <a:gd name="connsiteX87" fmla="*/ 788670 w 3417666"/>
                  <a:gd name="connsiteY87" fmla="*/ 291275 h 438531"/>
                  <a:gd name="connsiteX88" fmla="*/ 788670 w 3417666"/>
                  <a:gd name="connsiteY88" fmla="*/ 297371 h 438531"/>
                  <a:gd name="connsiteX89" fmla="*/ 807625 w 3417666"/>
                  <a:gd name="connsiteY89" fmla="*/ 297371 h 438531"/>
                  <a:gd name="connsiteX90" fmla="*/ 807625 w 3417666"/>
                  <a:gd name="connsiteY90" fmla="*/ 303467 h 438531"/>
                  <a:gd name="connsiteX91" fmla="*/ 818103 w 3417666"/>
                  <a:gd name="connsiteY91" fmla="*/ 303467 h 438531"/>
                  <a:gd name="connsiteX92" fmla="*/ 818103 w 3417666"/>
                  <a:gd name="connsiteY92" fmla="*/ 309658 h 438531"/>
                  <a:gd name="connsiteX93" fmla="*/ 851821 w 3417666"/>
                  <a:gd name="connsiteY93" fmla="*/ 309658 h 438531"/>
                  <a:gd name="connsiteX94" fmla="*/ 851821 w 3417666"/>
                  <a:gd name="connsiteY94" fmla="*/ 315754 h 438531"/>
                  <a:gd name="connsiteX95" fmla="*/ 858108 w 3417666"/>
                  <a:gd name="connsiteY95" fmla="*/ 315754 h 438531"/>
                  <a:gd name="connsiteX96" fmla="*/ 858108 w 3417666"/>
                  <a:gd name="connsiteY96" fmla="*/ 321850 h 438531"/>
                  <a:gd name="connsiteX97" fmla="*/ 872776 w 3417666"/>
                  <a:gd name="connsiteY97" fmla="*/ 321850 h 438531"/>
                  <a:gd name="connsiteX98" fmla="*/ 872776 w 3417666"/>
                  <a:gd name="connsiteY98" fmla="*/ 327946 h 438531"/>
                  <a:gd name="connsiteX99" fmla="*/ 885444 w 3417666"/>
                  <a:gd name="connsiteY99" fmla="*/ 327946 h 438531"/>
                  <a:gd name="connsiteX100" fmla="*/ 885444 w 3417666"/>
                  <a:gd name="connsiteY100" fmla="*/ 334137 h 438531"/>
                  <a:gd name="connsiteX101" fmla="*/ 910686 w 3417666"/>
                  <a:gd name="connsiteY101" fmla="*/ 334137 h 438531"/>
                  <a:gd name="connsiteX102" fmla="*/ 910686 w 3417666"/>
                  <a:gd name="connsiteY102" fmla="*/ 340233 h 438531"/>
                  <a:gd name="connsiteX103" fmla="*/ 1139952 w 3417666"/>
                  <a:gd name="connsiteY103" fmla="*/ 340233 h 438531"/>
                  <a:gd name="connsiteX104" fmla="*/ 1139952 w 3417666"/>
                  <a:gd name="connsiteY104" fmla="*/ 346425 h 438531"/>
                  <a:gd name="connsiteX105" fmla="*/ 1253490 w 3417666"/>
                  <a:gd name="connsiteY105" fmla="*/ 346425 h 438531"/>
                  <a:gd name="connsiteX106" fmla="*/ 1253490 w 3417666"/>
                  <a:gd name="connsiteY106" fmla="*/ 352616 h 438531"/>
                  <a:gd name="connsiteX107" fmla="*/ 1522667 w 3417666"/>
                  <a:gd name="connsiteY107" fmla="*/ 352616 h 438531"/>
                  <a:gd name="connsiteX108" fmla="*/ 1522667 w 3417666"/>
                  <a:gd name="connsiteY108" fmla="*/ 358902 h 438531"/>
                  <a:gd name="connsiteX109" fmla="*/ 1596295 w 3417666"/>
                  <a:gd name="connsiteY109" fmla="*/ 358902 h 438531"/>
                  <a:gd name="connsiteX110" fmla="*/ 1596295 w 3417666"/>
                  <a:gd name="connsiteY110" fmla="*/ 365189 h 438531"/>
                  <a:gd name="connsiteX111" fmla="*/ 1676210 w 3417666"/>
                  <a:gd name="connsiteY111" fmla="*/ 365189 h 438531"/>
                  <a:gd name="connsiteX112" fmla="*/ 1676210 w 3417666"/>
                  <a:gd name="connsiteY112" fmla="*/ 371475 h 438531"/>
                  <a:gd name="connsiteX113" fmla="*/ 1838135 w 3417666"/>
                  <a:gd name="connsiteY113" fmla="*/ 371475 h 438531"/>
                  <a:gd name="connsiteX114" fmla="*/ 1838135 w 3417666"/>
                  <a:gd name="connsiteY114" fmla="*/ 377952 h 438531"/>
                  <a:gd name="connsiteX115" fmla="*/ 1854994 w 3417666"/>
                  <a:gd name="connsiteY115" fmla="*/ 377952 h 438531"/>
                  <a:gd name="connsiteX116" fmla="*/ 1854994 w 3417666"/>
                  <a:gd name="connsiteY116" fmla="*/ 384334 h 438531"/>
                  <a:gd name="connsiteX117" fmla="*/ 1972818 w 3417666"/>
                  <a:gd name="connsiteY117" fmla="*/ 384334 h 438531"/>
                  <a:gd name="connsiteX118" fmla="*/ 1972818 w 3417666"/>
                  <a:gd name="connsiteY118" fmla="*/ 390811 h 438531"/>
                  <a:gd name="connsiteX119" fmla="*/ 2065306 w 3417666"/>
                  <a:gd name="connsiteY119" fmla="*/ 390811 h 438531"/>
                  <a:gd name="connsiteX120" fmla="*/ 2065306 w 3417666"/>
                  <a:gd name="connsiteY120" fmla="*/ 397193 h 438531"/>
                  <a:gd name="connsiteX121" fmla="*/ 2084261 w 3417666"/>
                  <a:gd name="connsiteY121" fmla="*/ 397193 h 438531"/>
                  <a:gd name="connsiteX122" fmla="*/ 2084261 w 3417666"/>
                  <a:gd name="connsiteY122" fmla="*/ 403670 h 438531"/>
                  <a:gd name="connsiteX123" fmla="*/ 2938082 w 3417666"/>
                  <a:gd name="connsiteY123" fmla="*/ 403670 h 438531"/>
                  <a:gd name="connsiteX124" fmla="*/ 2938082 w 3417666"/>
                  <a:gd name="connsiteY124" fmla="*/ 438531 h 438531"/>
                  <a:gd name="connsiteX125" fmla="*/ 3417666 w 3417666"/>
                  <a:gd name="connsiteY125" fmla="*/ 438531 h 438531"/>
                  <a:gd name="connsiteX0" fmla="*/ 0 w 3417666"/>
                  <a:gd name="connsiteY0" fmla="*/ 0 h 438531"/>
                  <a:gd name="connsiteX1" fmla="*/ 4191 w 3417666"/>
                  <a:gd name="connsiteY1" fmla="*/ 0 h 438531"/>
                  <a:gd name="connsiteX2" fmla="*/ 16860 w 3417666"/>
                  <a:gd name="connsiteY2" fmla="*/ 6096 h 438531"/>
                  <a:gd name="connsiteX3" fmla="*/ 16860 w 3417666"/>
                  <a:gd name="connsiteY3" fmla="*/ 12097 h 438531"/>
                  <a:gd name="connsiteX4" fmla="*/ 46292 w 3417666"/>
                  <a:gd name="connsiteY4" fmla="*/ 12097 h 438531"/>
                  <a:gd name="connsiteX5" fmla="*/ 46292 w 3417666"/>
                  <a:gd name="connsiteY5" fmla="*/ 18193 h 438531"/>
                  <a:gd name="connsiteX6" fmla="*/ 54674 w 3417666"/>
                  <a:gd name="connsiteY6" fmla="*/ 18193 h 438531"/>
                  <a:gd name="connsiteX7" fmla="*/ 54674 w 3417666"/>
                  <a:gd name="connsiteY7" fmla="*/ 24289 h 438531"/>
                  <a:gd name="connsiteX8" fmla="*/ 56769 w 3417666"/>
                  <a:gd name="connsiteY8" fmla="*/ 24289 h 438531"/>
                  <a:gd name="connsiteX9" fmla="*/ 56769 w 3417666"/>
                  <a:gd name="connsiteY9" fmla="*/ 30290 h 438531"/>
                  <a:gd name="connsiteX10" fmla="*/ 71533 w 3417666"/>
                  <a:gd name="connsiteY10" fmla="*/ 30290 h 438531"/>
                  <a:gd name="connsiteX11" fmla="*/ 71533 w 3417666"/>
                  <a:gd name="connsiteY11" fmla="*/ 42482 h 438531"/>
                  <a:gd name="connsiteX12" fmla="*/ 73629 w 3417666"/>
                  <a:gd name="connsiteY12" fmla="*/ 42482 h 438531"/>
                  <a:gd name="connsiteX13" fmla="*/ 73629 w 3417666"/>
                  <a:gd name="connsiteY13" fmla="*/ 48483 h 438531"/>
                  <a:gd name="connsiteX14" fmla="*/ 79915 w 3417666"/>
                  <a:gd name="connsiteY14" fmla="*/ 48483 h 438531"/>
                  <a:gd name="connsiteX15" fmla="*/ 79915 w 3417666"/>
                  <a:gd name="connsiteY15" fmla="*/ 54579 h 438531"/>
                  <a:gd name="connsiteX16" fmla="*/ 84106 w 3417666"/>
                  <a:gd name="connsiteY16" fmla="*/ 54579 h 438531"/>
                  <a:gd name="connsiteX17" fmla="*/ 84106 w 3417666"/>
                  <a:gd name="connsiteY17" fmla="*/ 60675 h 438531"/>
                  <a:gd name="connsiteX18" fmla="*/ 100965 w 3417666"/>
                  <a:gd name="connsiteY18" fmla="*/ 60675 h 438531"/>
                  <a:gd name="connsiteX19" fmla="*/ 100965 w 3417666"/>
                  <a:gd name="connsiteY19" fmla="*/ 72771 h 438531"/>
                  <a:gd name="connsiteX20" fmla="*/ 105156 w 3417666"/>
                  <a:gd name="connsiteY20" fmla="*/ 72771 h 438531"/>
                  <a:gd name="connsiteX21" fmla="*/ 105156 w 3417666"/>
                  <a:gd name="connsiteY21" fmla="*/ 78867 h 438531"/>
                  <a:gd name="connsiteX22" fmla="*/ 128302 w 3417666"/>
                  <a:gd name="connsiteY22" fmla="*/ 78867 h 438531"/>
                  <a:gd name="connsiteX23" fmla="*/ 128302 w 3417666"/>
                  <a:gd name="connsiteY23" fmla="*/ 84963 h 438531"/>
                  <a:gd name="connsiteX24" fmla="*/ 132493 w 3417666"/>
                  <a:gd name="connsiteY24" fmla="*/ 84963 h 438531"/>
                  <a:gd name="connsiteX25" fmla="*/ 132493 w 3417666"/>
                  <a:gd name="connsiteY25" fmla="*/ 90964 h 438531"/>
                  <a:gd name="connsiteX26" fmla="*/ 138780 w 3417666"/>
                  <a:gd name="connsiteY26" fmla="*/ 90964 h 438531"/>
                  <a:gd name="connsiteX27" fmla="*/ 138780 w 3417666"/>
                  <a:gd name="connsiteY27" fmla="*/ 103156 h 438531"/>
                  <a:gd name="connsiteX28" fmla="*/ 157734 w 3417666"/>
                  <a:gd name="connsiteY28" fmla="*/ 103156 h 438531"/>
                  <a:gd name="connsiteX29" fmla="*/ 157734 w 3417666"/>
                  <a:gd name="connsiteY29" fmla="*/ 109157 h 438531"/>
                  <a:gd name="connsiteX30" fmla="*/ 166116 w 3417666"/>
                  <a:gd name="connsiteY30" fmla="*/ 109157 h 438531"/>
                  <a:gd name="connsiteX31" fmla="*/ 166116 w 3417666"/>
                  <a:gd name="connsiteY31" fmla="*/ 115253 h 438531"/>
                  <a:gd name="connsiteX32" fmla="*/ 178785 w 3417666"/>
                  <a:gd name="connsiteY32" fmla="*/ 115253 h 438531"/>
                  <a:gd name="connsiteX33" fmla="*/ 178785 w 3417666"/>
                  <a:gd name="connsiteY33" fmla="*/ 121349 h 438531"/>
                  <a:gd name="connsiteX34" fmla="*/ 195644 w 3417666"/>
                  <a:gd name="connsiteY34" fmla="*/ 121349 h 438531"/>
                  <a:gd name="connsiteX35" fmla="*/ 195644 w 3417666"/>
                  <a:gd name="connsiteY35" fmla="*/ 127350 h 438531"/>
                  <a:gd name="connsiteX36" fmla="*/ 222981 w 3417666"/>
                  <a:gd name="connsiteY36" fmla="*/ 127350 h 438531"/>
                  <a:gd name="connsiteX37" fmla="*/ 222981 w 3417666"/>
                  <a:gd name="connsiteY37" fmla="*/ 133446 h 438531"/>
                  <a:gd name="connsiteX38" fmla="*/ 225076 w 3417666"/>
                  <a:gd name="connsiteY38" fmla="*/ 133446 h 438531"/>
                  <a:gd name="connsiteX39" fmla="*/ 225076 w 3417666"/>
                  <a:gd name="connsiteY39" fmla="*/ 139542 h 438531"/>
                  <a:gd name="connsiteX40" fmla="*/ 235553 w 3417666"/>
                  <a:gd name="connsiteY40" fmla="*/ 139542 h 438531"/>
                  <a:gd name="connsiteX41" fmla="*/ 235553 w 3417666"/>
                  <a:gd name="connsiteY41" fmla="*/ 145542 h 438531"/>
                  <a:gd name="connsiteX42" fmla="*/ 241840 w 3417666"/>
                  <a:gd name="connsiteY42" fmla="*/ 145542 h 438531"/>
                  <a:gd name="connsiteX43" fmla="*/ 241840 w 3417666"/>
                  <a:gd name="connsiteY43" fmla="*/ 157734 h 438531"/>
                  <a:gd name="connsiteX44" fmla="*/ 250317 w 3417666"/>
                  <a:gd name="connsiteY44" fmla="*/ 157734 h 438531"/>
                  <a:gd name="connsiteX45" fmla="*/ 250317 w 3417666"/>
                  <a:gd name="connsiteY45" fmla="*/ 163735 h 438531"/>
                  <a:gd name="connsiteX46" fmla="*/ 256604 w 3417666"/>
                  <a:gd name="connsiteY46" fmla="*/ 163735 h 438531"/>
                  <a:gd name="connsiteX47" fmla="*/ 256604 w 3417666"/>
                  <a:gd name="connsiteY47" fmla="*/ 175927 h 438531"/>
                  <a:gd name="connsiteX48" fmla="*/ 258699 w 3417666"/>
                  <a:gd name="connsiteY48" fmla="*/ 175927 h 438531"/>
                  <a:gd name="connsiteX49" fmla="*/ 258699 w 3417666"/>
                  <a:gd name="connsiteY49" fmla="*/ 182023 h 438531"/>
                  <a:gd name="connsiteX50" fmla="*/ 271272 w 3417666"/>
                  <a:gd name="connsiteY50" fmla="*/ 182023 h 438531"/>
                  <a:gd name="connsiteX51" fmla="*/ 271272 w 3417666"/>
                  <a:gd name="connsiteY51" fmla="*/ 188024 h 438531"/>
                  <a:gd name="connsiteX52" fmla="*/ 294418 w 3417666"/>
                  <a:gd name="connsiteY52" fmla="*/ 188024 h 438531"/>
                  <a:gd name="connsiteX53" fmla="*/ 294418 w 3417666"/>
                  <a:gd name="connsiteY53" fmla="*/ 194120 h 438531"/>
                  <a:gd name="connsiteX54" fmla="*/ 300800 w 3417666"/>
                  <a:gd name="connsiteY54" fmla="*/ 194120 h 438531"/>
                  <a:gd name="connsiteX55" fmla="*/ 300800 w 3417666"/>
                  <a:gd name="connsiteY55" fmla="*/ 200216 h 438531"/>
                  <a:gd name="connsiteX56" fmla="*/ 309182 w 3417666"/>
                  <a:gd name="connsiteY56" fmla="*/ 200216 h 438531"/>
                  <a:gd name="connsiteX57" fmla="*/ 309182 w 3417666"/>
                  <a:gd name="connsiteY57" fmla="*/ 206217 h 438531"/>
                  <a:gd name="connsiteX58" fmla="*/ 317564 w 3417666"/>
                  <a:gd name="connsiteY58" fmla="*/ 206217 h 438531"/>
                  <a:gd name="connsiteX59" fmla="*/ 317564 w 3417666"/>
                  <a:gd name="connsiteY59" fmla="*/ 212313 h 438531"/>
                  <a:gd name="connsiteX60" fmla="*/ 321755 w 3417666"/>
                  <a:gd name="connsiteY60" fmla="*/ 212313 h 438531"/>
                  <a:gd name="connsiteX61" fmla="*/ 321755 w 3417666"/>
                  <a:gd name="connsiteY61" fmla="*/ 218409 h 438531"/>
                  <a:gd name="connsiteX62" fmla="*/ 395383 w 3417666"/>
                  <a:gd name="connsiteY62" fmla="*/ 218409 h 438531"/>
                  <a:gd name="connsiteX63" fmla="*/ 395383 w 3417666"/>
                  <a:gd name="connsiteY63" fmla="*/ 224409 h 438531"/>
                  <a:gd name="connsiteX64" fmla="*/ 416433 w 3417666"/>
                  <a:gd name="connsiteY64" fmla="*/ 224409 h 438531"/>
                  <a:gd name="connsiteX65" fmla="*/ 416433 w 3417666"/>
                  <a:gd name="connsiteY65" fmla="*/ 230505 h 438531"/>
                  <a:gd name="connsiteX66" fmla="*/ 422720 w 3417666"/>
                  <a:gd name="connsiteY66" fmla="*/ 230505 h 438531"/>
                  <a:gd name="connsiteX67" fmla="*/ 422720 w 3417666"/>
                  <a:gd name="connsiteY67" fmla="*/ 236601 h 438531"/>
                  <a:gd name="connsiteX68" fmla="*/ 464820 w 3417666"/>
                  <a:gd name="connsiteY68" fmla="*/ 236601 h 438531"/>
                  <a:gd name="connsiteX69" fmla="*/ 464820 w 3417666"/>
                  <a:gd name="connsiteY69" fmla="*/ 242602 h 438531"/>
                  <a:gd name="connsiteX70" fmla="*/ 479489 w 3417666"/>
                  <a:gd name="connsiteY70" fmla="*/ 242602 h 438531"/>
                  <a:gd name="connsiteX71" fmla="*/ 479489 w 3417666"/>
                  <a:gd name="connsiteY71" fmla="*/ 248698 h 438531"/>
                  <a:gd name="connsiteX72" fmla="*/ 509016 w 3417666"/>
                  <a:gd name="connsiteY72" fmla="*/ 248698 h 438531"/>
                  <a:gd name="connsiteX73" fmla="*/ 509016 w 3417666"/>
                  <a:gd name="connsiteY73" fmla="*/ 254794 h 438531"/>
                  <a:gd name="connsiteX74" fmla="*/ 511112 w 3417666"/>
                  <a:gd name="connsiteY74" fmla="*/ 254794 h 438531"/>
                  <a:gd name="connsiteX75" fmla="*/ 511112 w 3417666"/>
                  <a:gd name="connsiteY75" fmla="*/ 260795 h 438531"/>
                  <a:gd name="connsiteX76" fmla="*/ 534162 w 3417666"/>
                  <a:gd name="connsiteY76" fmla="*/ 260795 h 438531"/>
                  <a:gd name="connsiteX77" fmla="*/ 534162 w 3417666"/>
                  <a:gd name="connsiteY77" fmla="*/ 266891 h 438531"/>
                  <a:gd name="connsiteX78" fmla="*/ 546831 w 3417666"/>
                  <a:gd name="connsiteY78" fmla="*/ 266891 h 438531"/>
                  <a:gd name="connsiteX79" fmla="*/ 546831 w 3417666"/>
                  <a:gd name="connsiteY79" fmla="*/ 272987 h 438531"/>
                  <a:gd name="connsiteX80" fmla="*/ 582549 w 3417666"/>
                  <a:gd name="connsiteY80" fmla="*/ 272987 h 438531"/>
                  <a:gd name="connsiteX81" fmla="*/ 582549 w 3417666"/>
                  <a:gd name="connsiteY81" fmla="*/ 279083 h 438531"/>
                  <a:gd name="connsiteX82" fmla="*/ 698278 w 3417666"/>
                  <a:gd name="connsiteY82" fmla="*/ 279083 h 438531"/>
                  <a:gd name="connsiteX83" fmla="*/ 698278 w 3417666"/>
                  <a:gd name="connsiteY83" fmla="*/ 285084 h 438531"/>
                  <a:gd name="connsiteX84" fmla="*/ 736092 w 3417666"/>
                  <a:gd name="connsiteY84" fmla="*/ 285084 h 438531"/>
                  <a:gd name="connsiteX85" fmla="*/ 736092 w 3417666"/>
                  <a:gd name="connsiteY85" fmla="*/ 291275 h 438531"/>
                  <a:gd name="connsiteX86" fmla="*/ 788670 w 3417666"/>
                  <a:gd name="connsiteY86" fmla="*/ 291275 h 438531"/>
                  <a:gd name="connsiteX87" fmla="*/ 788670 w 3417666"/>
                  <a:gd name="connsiteY87" fmla="*/ 297371 h 438531"/>
                  <a:gd name="connsiteX88" fmla="*/ 807625 w 3417666"/>
                  <a:gd name="connsiteY88" fmla="*/ 297371 h 438531"/>
                  <a:gd name="connsiteX89" fmla="*/ 807625 w 3417666"/>
                  <a:gd name="connsiteY89" fmla="*/ 303467 h 438531"/>
                  <a:gd name="connsiteX90" fmla="*/ 818103 w 3417666"/>
                  <a:gd name="connsiteY90" fmla="*/ 303467 h 438531"/>
                  <a:gd name="connsiteX91" fmla="*/ 818103 w 3417666"/>
                  <a:gd name="connsiteY91" fmla="*/ 309658 h 438531"/>
                  <a:gd name="connsiteX92" fmla="*/ 851821 w 3417666"/>
                  <a:gd name="connsiteY92" fmla="*/ 309658 h 438531"/>
                  <a:gd name="connsiteX93" fmla="*/ 851821 w 3417666"/>
                  <a:gd name="connsiteY93" fmla="*/ 315754 h 438531"/>
                  <a:gd name="connsiteX94" fmla="*/ 858108 w 3417666"/>
                  <a:gd name="connsiteY94" fmla="*/ 315754 h 438531"/>
                  <a:gd name="connsiteX95" fmla="*/ 858108 w 3417666"/>
                  <a:gd name="connsiteY95" fmla="*/ 321850 h 438531"/>
                  <a:gd name="connsiteX96" fmla="*/ 872776 w 3417666"/>
                  <a:gd name="connsiteY96" fmla="*/ 321850 h 438531"/>
                  <a:gd name="connsiteX97" fmla="*/ 872776 w 3417666"/>
                  <a:gd name="connsiteY97" fmla="*/ 327946 h 438531"/>
                  <a:gd name="connsiteX98" fmla="*/ 885444 w 3417666"/>
                  <a:gd name="connsiteY98" fmla="*/ 327946 h 438531"/>
                  <a:gd name="connsiteX99" fmla="*/ 885444 w 3417666"/>
                  <a:gd name="connsiteY99" fmla="*/ 334137 h 438531"/>
                  <a:gd name="connsiteX100" fmla="*/ 910686 w 3417666"/>
                  <a:gd name="connsiteY100" fmla="*/ 334137 h 438531"/>
                  <a:gd name="connsiteX101" fmla="*/ 910686 w 3417666"/>
                  <a:gd name="connsiteY101" fmla="*/ 340233 h 438531"/>
                  <a:gd name="connsiteX102" fmla="*/ 1139952 w 3417666"/>
                  <a:gd name="connsiteY102" fmla="*/ 340233 h 438531"/>
                  <a:gd name="connsiteX103" fmla="*/ 1139952 w 3417666"/>
                  <a:gd name="connsiteY103" fmla="*/ 346425 h 438531"/>
                  <a:gd name="connsiteX104" fmla="*/ 1253490 w 3417666"/>
                  <a:gd name="connsiteY104" fmla="*/ 346425 h 438531"/>
                  <a:gd name="connsiteX105" fmla="*/ 1253490 w 3417666"/>
                  <a:gd name="connsiteY105" fmla="*/ 352616 h 438531"/>
                  <a:gd name="connsiteX106" fmla="*/ 1522667 w 3417666"/>
                  <a:gd name="connsiteY106" fmla="*/ 352616 h 438531"/>
                  <a:gd name="connsiteX107" fmla="*/ 1522667 w 3417666"/>
                  <a:gd name="connsiteY107" fmla="*/ 358902 h 438531"/>
                  <a:gd name="connsiteX108" fmla="*/ 1596295 w 3417666"/>
                  <a:gd name="connsiteY108" fmla="*/ 358902 h 438531"/>
                  <a:gd name="connsiteX109" fmla="*/ 1596295 w 3417666"/>
                  <a:gd name="connsiteY109" fmla="*/ 365189 h 438531"/>
                  <a:gd name="connsiteX110" fmla="*/ 1676210 w 3417666"/>
                  <a:gd name="connsiteY110" fmla="*/ 365189 h 438531"/>
                  <a:gd name="connsiteX111" fmla="*/ 1676210 w 3417666"/>
                  <a:gd name="connsiteY111" fmla="*/ 371475 h 438531"/>
                  <a:gd name="connsiteX112" fmla="*/ 1838135 w 3417666"/>
                  <a:gd name="connsiteY112" fmla="*/ 371475 h 438531"/>
                  <a:gd name="connsiteX113" fmla="*/ 1838135 w 3417666"/>
                  <a:gd name="connsiteY113" fmla="*/ 377952 h 438531"/>
                  <a:gd name="connsiteX114" fmla="*/ 1854994 w 3417666"/>
                  <a:gd name="connsiteY114" fmla="*/ 377952 h 438531"/>
                  <a:gd name="connsiteX115" fmla="*/ 1854994 w 3417666"/>
                  <a:gd name="connsiteY115" fmla="*/ 384334 h 438531"/>
                  <a:gd name="connsiteX116" fmla="*/ 1972818 w 3417666"/>
                  <a:gd name="connsiteY116" fmla="*/ 384334 h 438531"/>
                  <a:gd name="connsiteX117" fmla="*/ 1972818 w 3417666"/>
                  <a:gd name="connsiteY117" fmla="*/ 390811 h 438531"/>
                  <a:gd name="connsiteX118" fmla="*/ 2065306 w 3417666"/>
                  <a:gd name="connsiteY118" fmla="*/ 390811 h 438531"/>
                  <a:gd name="connsiteX119" fmla="*/ 2065306 w 3417666"/>
                  <a:gd name="connsiteY119" fmla="*/ 397193 h 438531"/>
                  <a:gd name="connsiteX120" fmla="*/ 2084261 w 3417666"/>
                  <a:gd name="connsiteY120" fmla="*/ 397193 h 438531"/>
                  <a:gd name="connsiteX121" fmla="*/ 2084261 w 3417666"/>
                  <a:gd name="connsiteY121" fmla="*/ 403670 h 438531"/>
                  <a:gd name="connsiteX122" fmla="*/ 2938082 w 3417666"/>
                  <a:gd name="connsiteY122" fmla="*/ 403670 h 438531"/>
                  <a:gd name="connsiteX123" fmla="*/ 2938082 w 3417666"/>
                  <a:gd name="connsiteY123" fmla="*/ 438531 h 438531"/>
                  <a:gd name="connsiteX124" fmla="*/ 3417666 w 3417666"/>
                  <a:gd name="connsiteY124" fmla="*/ 438531 h 438531"/>
                  <a:gd name="connsiteX0" fmla="*/ 0 w 3417666"/>
                  <a:gd name="connsiteY0" fmla="*/ 0 h 438531"/>
                  <a:gd name="connsiteX1" fmla="*/ 16860 w 3417666"/>
                  <a:gd name="connsiteY1" fmla="*/ 6096 h 438531"/>
                  <a:gd name="connsiteX2" fmla="*/ 16860 w 3417666"/>
                  <a:gd name="connsiteY2" fmla="*/ 12097 h 438531"/>
                  <a:gd name="connsiteX3" fmla="*/ 46292 w 3417666"/>
                  <a:gd name="connsiteY3" fmla="*/ 12097 h 438531"/>
                  <a:gd name="connsiteX4" fmla="*/ 46292 w 3417666"/>
                  <a:gd name="connsiteY4" fmla="*/ 18193 h 438531"/>
                  <a:gd name="connsiteX5" fmla="*/ 54674 w 3417666"/>
                  <a:gd name="connsiteY5" fmla="*/ 18193 h 438531"/>
                  <a:gd name="connsiteX6" fmla="*/ 54674 w 3417666"/>
                  <a:gd name="connsiteY6" fmla="*/ 24289 h 438531"/>
                  <a:gd name="connsiteX7" fmla="*/ 56769 w 3417666"/>
                  <a:gd name="connsiteY7" fmla="*/ 24289 h 438531"/>
                  <a:gd name="connsiteX8" fmla="*/ 56769 w 3417666"/>
                  <a:gd name="connsiteY8" fmla="*/ 30290 h 438531"/>
                  <a:gd name="connsiteX9" fmla="*/ 71533 w 3417666"/>
                  <a:gd name="connsiteY9" fmla="*/ 30290 h 438531"/>
                  <a:gd name="connsiteX10" fmla="*/ 71533 w 3417666"/>
                  <a:gd name="connsiteY10" fmla="*/ 42482 h 438531"/>
                  <a:gd name="connsiteX11" fmla="*/ 73629 w 3417666"/>
                  <a:gd name="connsiteY11" fmla="*/ 42482 h 438531"/>
                  <a:gd name="connsiteX12" fmla="*/ 73629 w 3417666"/>
                  <a:gd name="connsiteY12" fmla="*/ 48483 h 438531"/>
                  <a:gd name="connsiteX13" fmla="*/ 79915 w 3417666"/>
                  <a:gd name="connsiteY13" fmla="*/ 48483 h 438531"/>
                  <a:gd name="connsiteX14" fmla="*/ 79915 w 3417666"/>
                  <a:gd name="connsiteY14" fmla="*/ 54579 h 438531"/>
                  <a:gd name="connsiteX15" fmla="*/ 84106 w 3417666"/>
                  <a:gd name="connsiteY15" fmla="*/ 54579 h 438531"/>
                  <a:gd name="connsiteX16" fmla="*/ 84106 w 3417666"/>
                  <a:gd name="connsiteY16" fmla="*/ 60675 h 438531"/>
                  <a:gd name="connsiteX17" fmla="*/ 100965 w 3417666"/>
                  <a:gd name="connsiteY17" fmla="*/ 60675 h 438531"/>
                  <a:gd name="connsiteX18" fmla="*/ 100965 w 3417666"/>
                  <a:gd name="connsiteY18" fmla="*/ 72771 h 438531"/>
                  <a:gd name="connsiteX19" fmla="*/ 105156 w 3417666"/>
                  <a:gd name="connsiteY19" fmla="*/ 72771 h 438531"/>
                  <a:gd name="connsiteX20" fmla="*/ 105156 w 3417666"/>
                  <a:gd name="connsiteY20" fmla="*/ 78867 h 438531"/>
                  <a:gd name="connsiteX21" fmla="*/ 128302 w 3417666"/>
                  <a:gd name="connsiteY21" fmla="*/ 78867 h 438531"/>
                  <a:gd name="connsiteX22" fmla="*/ 128302 w 3417666"/>
                  <a:gd name="connsiteY22" fmla="*/ 84963 h 438531"/>
                  <a:gd name="connsiteX23" fmla="*/ 132493 w 3417666"/>
                  <a:gd name="connsiteY23" fmla="*/ 84963 h 438531"/>
                  <a:gd name="connsiteX24" fmla="*/ 132493 w 3417666"/>
                  <a:gd name="connsiteY24" fmla="*/ 90964 h 438531"/>
                  <a:gd name="connsiteX25" fmla="*/ 138780 w 3417666"/>
                  <a:gd name="connsiteY25" fmla="*/ 90964 h 438531"/>
                  <a:gd name="connsiteX26" fmla="*/ 138780 w 3417666"/>
                  <a:gd name="connsiteY26" fmla="*/ 103156 h 438531"/>
                  <a:gd name="connsiteX27" fmla="*/ 157734 w 3417666"/>
                  <a:gd name="connsiteY27" fmla="*/ 103156 h 438531"/>
                  <a:gd name="connsiteX28" fmla="*/ 157734 w 3417666"/>
                  <a:gd name="connsiteY28" fmla="*/ 109157 h 438531"/>
                  <a:gd name="connsiteX29" fmla="*/ 166116 w 3417666"/>
                  <a:gd name="connsiteY29" fmla="*/ 109157 h 438531"/>
                  <a:gd name="connsiteX30" fmla="*/ 166116 w 3417666"/>
                  <a:gd name="connsiteY30" fmla="*/ 115253 h 438531"/>
                  <a:gd name="connsiteX31" fmla="*/ 178785 w 3417666"/>
                  <a:gd name="connsiteY31" fmla="*/ 115253 h 438531"/>
                  <a:gd name="connsiteX32" fmla="*/ 178785 w 3417666"/>
                  <a:gd name="connsiteY32" fmla="*/ 121349 h 438531"/>
                  <a:gd name="connsiteX33" fmla="*/ 195644 w 3417666"/>
                  <a:gd name="connsiteY33" fmla="*/ 121349 h 438531"/>
                  <a:gd name="connsiteX34" fmla="*/ 195644 w 3417666"/>
                  <a:gd name="connsiteY34" fmla="*/ 127350 h 438531"/>
                  <a:gd name="connsiteX35" fmla="*/ 222981 w 3417666"/>
                  <a:gd name="connsiteY35" fmla="*/ 127350 h 438531"/>
                  <a:gd name="connsiteX36" fmla="*/ 222981 w 3417666"/>
                  <a:gd name="connsiteY36" fmla="*/ 133446 h 438531"/>
                  <a:gd name="connsiteX37" fmla="*/ 225076 w 3417666"/>
                  <a:gd name="connsiteY37" fmla="*/ 133446 h 438531"/>
                  <a:gd name="connsiteX38" fmla="*/ 225076 w 3417666"/>
                  <a:gd name="connsiteY38" fmla="*/ 139542 h 438531"/>
                  <a:gd name="connsiteX39" fmla="*/ 235553 w 3417666"/>
                  <a:gd name="connsiteY39" fmla="*/ 139542 h 438531"/>
                  <a:gd name="connsiteX40" fmla="*/ 235553 w 3417666"/>
                  <a:gd name="connsiteY40" fmla="*/ 145542 h 438531"/>
                  <a:gd name="connsiteX41" fmla="*/ 241840 w 3417666"/>
                  <a:gd name="connsiteY41" fmla="*/ 145542 h 438531"/>
                  <a:gd name="connsiteX42" fmla="*/ 241840 w 3417666"/>
                  <a:gd name="connsiteY42" fmla="*/ 157734 h 438531"/>
                  <a:gd name="connsiteX43" fmla="*/ 250317 w 3417666"/>
                  <a:gd name="connsiteY43" fmla="*/ 157734 h 438531"/>
                  <a:gd name="connsiteX44" fmla="*/ 250317 w 3417666"/>
                  <a:gd name="connsiteY44" fmla="*/ 163735 h 438531"/>
                  <a:gd name="connsiteX45" fmla="*/ 256604 w 3417666"/>
                  <a:gd name="connsiteY45" fmla="*/ 163735 h 438531"/>
                  <a:gd name="connsiteX46" fmla="*/ 256604 w 3417666"/>
                  <a:gd name="connsiteY46" fmla="*/ 175927 h 438531"/>
                  <a:gd name="connsiteX47" fmla="*/ 258699 w 3417666"/>
                  <a:gd name="connsiteY47" fmla="*/ 175927 h 438531"/>
                  <a:gd name="connsiteX48" fmla="*/ 258699 w 3417666"/>
                  <a:gd name="connsiteY48" fmla="*/ 182023 h 438531"/>
                  <a:gd name="connsiteX49" fmla="*/ 271272 w 3417666"/>
                  <a:gd name="connsiteY49" fmla="*/ 182023 h 438531"/>
                  <a:gd name="connsiteX50" fmla="*/ 271272 w 3417666"/>
                  <a:gd name="connsiteY50" fmla="*/ 188024 h 438531"/>
                  <a:gd name="connsiteX51" fmla="*/ 294418 w 3417666"/>
                  <a:gd name="connsiteY51" fmla="*/ 188024 h 438531"/>
                  <a:gd name="connsiteX52" fmla="*/ 294418 w 3417666"/>
                  <a:gd name="connsiteY52" fmla="*/ 194120 h 438531"/>
                  <a:gd name="connsiteX53" fmla="*/ 300800 w 3417666"/>
                  <a:gd name="connsiteY53" fmla="*/ 194120 h 438531"/>
                  <a:gd name="connsiteX54" fmla="*/ 300800 w 3417666"/>
                  <a:gd name="connsiteY54" fmla="*/ 200216 h 438531"/>
                  <a:gd name="connsiteX55" fmla="*/ 309182 w 3417666"/>
                  <a:gd name="connsiteY55" fmla="*/ 200216 h 438531"/>
                  <a:gd name="connsiteX56" fmla="*/ 309182 w 3417666"/>
                  <a:gd name="connsiteY56" fmla="*/ 206217 h 438531"/>
                  <a:gd name="connsiteX57" fmla="*/ 317564 w 3417666"/>
                  <a:gd name="connsiteY57" fmla="*/ 206217 h 438531"/>
                  <a:gd name="connsiteX58" fmla="*/ 317564 w 3417666"/>
                  <a:gd name="connsiteY58" fmla="*/ 212313 h 438531"/>
                  <a:gd name="connsiteX59" fmla="*/ 321755 w 3417666"/>
                  <a:gd name="connsiteY59" fmla="*/ 212313 h 438531"/>
                  <a:gd name="connsiteX60" fmla="*/ 321755 w 3417666"/>
                  <a:gd name="connsiteY60" fmla="*/ 218409 h 438531"/>
                  <a:gd name="connsiteX61" fmla="*/ 395383 w 3417666"/>
                  <a:gd name="connsiteY61" fmla="*/ 218409 h 438531"/>
                  <a:gd name="connsiteX62" fmla="*/ 395383 w 3417666"/>
                  <a:gd name="connsiteY62" fmla="*/ 224409 h 438531"/>
                  <a:gd name="connsiteX63" fmla="*/ 416433 w 3417666"/>
                  <a:gd name="connsiteY63" fmla="*/ 224409 h 438531"/>
                  <a:gd name="connsiteX64" fmla="*/ 416433 w 3417666"/>
                  <a:gd name="connsiteY64" fmla="*/ 230505 h 438531"/>
                  <a:gd name="connsiteX65" fmla="*/ 422720 w 3417666"/>
                  <a:gd name="connsiteY65" fmla="*/ 230505 h 438531"/>
                  <a:gd name="connsiteX66" fmla="*/ 422720 w 3417666"/>
                  <a:gd name="connsiteY66" fmla="*/ 236601 h 438531"/>
                  <a:gd name="connsiteX67" fmla="*/ 464820 w 3417666"/>
                  <a:gd name="connsiteY67" fmla="*/ 236601 h 438531"/>
                  <a:gd name="connsiteX68" fmla="*/ 464820 w 3417666"/>
                  <a:gd name="connsiteY68" fmla="*/ 242602 h 438531"/>
                  <a:gd name="connsiteX69" fmla="*/ 479489 w 3417666"/>
                  <a:gd name="connsiteY69" fmla="*/ 242602 h 438531"/>
                  <a:gd name="connsiteX70" fmla="*/ 479489 w 3417666"/>
                  <a:gd name="connsiteY70" fmla="*/ 248698 h 438531"/>
                  <a:gd name="connsiteX71" fmla="*/ 509016 w 3417666"/>
                  <a:gd name="connsiteY71" fmla="*/ 248698 h 438531"/>
                  <a:gd name="connsiteX72" fmla="*/ 509016 w 3417666"/>
                  <a:gd name="connsiteY72" fmla="*/ 254794 h 438531"/>
                  <a:gd name="connsiteX73" fmla="*/ 511112 w 3417666"/>
                  <a:gd name="connsiteY73" fmla="*/ 254794 h 438531"/>
                  <a:gd name="connsiteX74" fmla="*/ 511112 w 3417666"/>
                  <a:gd name="connsiteY74" fmla="*/ 260795 h 438531"/>
                  <a:gd name="connsiteX75" fmla="*/ 534162 w 3417666"/>
                  <a:gd name="connsiteY75" fmla="*/ 260795 h 438531"/>
                  <a:gd name="connsiteX76" fmla="*/ 534162 w 3417666"/>
                  <a:gd name="connsiteY76" fmla="*/ 266891 h 438531"/>
                  <a:gd name="connsiteX77" fmla="*/ 546831 w 3417666"/>
                  <a:gd name="connsiteY77" fmla="*/ 266891 h 438531"/>
                  <a:gd name="connsiteX78" fmla="*/ 546831 w 3417666"/>
                  <a:gd name="connsiteY78" fmla="*/ 272987 h 438531"/>
                  <a:gd name="connsiteX79" fmla="*/ 582549 w 3417666"/>
                  <a:gd name="connsiteY79" fmla="*/ 272987 h 438531"/>
                  <a:gd name="connsiteX80" fmla="*/ 582549 w 3417666"/>
                  <a:gd name="connsiteY80" fmla="*/ 279083 h 438531"/>
                  <a:gd name="connsiteX81" fmla="*/ 698278 w 3417666"/>
                  <a:gd name="connsiteY81" fmla="*/ 279083 h 438531"/>
                  <a:gd name="connsiteX82" fmla="*/ 698278 w 3417666"/>
                  <a:gd name="connsiteY82" fmla="*/ 285084 h 438531"/>
                  <a:gd name="connsiteX83" fmla="*/ 736092 w 3417666"/>
                  <a:gd name="connsiteY83" fmla="*/ 285084 h 438531"/>
                  <a:gd name="connsiteX84" fmla="*/ 736092 w 3417666"/>
                  <a:gd name="connsiteY84" fmla="*/ 291275 h 438531"/>
                  <a:gd name="connsiteX85" fmla="*/ 788670 w 3417666"/>
                  <a:gd name="connsiteY85" fmla="*/ 291275 h 438531"/>
                  <a:gd name="connsiteX86" fmla="*/ 788670 w 3417666"/>
                  <a:gd name="connsiteY86" fmla="*/ 297371 h 438531"/>
                  <a:gd name="connsiteX87" fmla="*/ 807625 w 3417666"/>
                  <a:gd name="connsiteY87" fmla="*/ 297371 h 438531"/>
                  <a:gd name="connsiteX88" fmla="*/ 807625 w 3417666"/>
                  <a:gd name="connsiteY88" fmla="*/ 303467 h 438531"/>
                  <a:gd name="connsiteX89" fmla="*/ 818103 w 3417666"/>
                  <a:gd name="connsiteY89" fmla="*/ 303467 h 438531"/>
                  <a:gd name="connsiteX90" fmla="*/ 818103 w 3417666"/>
                  <a:gd name="connsiteY90" fmla="*/ 309658 h 438531"/>
                  <a:gd name="connsiteX91" fmla="*/ 851821 w 3417666"/>
                  <a:gd name="connsiteY91" fmla="*/ 309658 h 438531"/>
                  <a:gd name="connsiteX92" fmla="*/ 851821 w 3417666"/>
                  <a:gd name="connsiteY92" fmla="*/ 315754 h 438531"/>
                  <a:gd name="connsiteX93" fmla="*/ 858108 w 3417666"/>
                  <a:gd name="connsiteY93" fmla="*/ 315754 h 438531"/>
                  <a:gd name="connsiteX94" fmla="*/ 858108 w 3417666"/>
                  <a:gd name="connsiteY94" fmla="*/ 321850 h 438531"/>
                  <a:gd name="connsiteX95" fmla="*/ 872776 w 3417666"/>
                  <a:gd name="connsiteY95" fmla="*/ 321850 h 438531"/>
                  <a:gd name="connsiteX96" fmla="*/ 872776 w 3417666"/>
                  <a:gd name="connsiteY96" fmla="*/ 327946 h 438531"/>
                  <a:gd name="connsiteX97" fmla="*/ 885444 w 3417666"/>
                  <a:gd name="connsiteY97" fmla="*/ 327946 h 438531"/>
                  <a:gd name="connsiteX98" fmla="*/ 885444 w 3417666"/>
                  <a:gd name="connsiteY98" fmla="*/ 334137 h 438531"/>
                  <a:gd name="connsiteX99" fmla="*/ 910686 w 3417666"/>
                  <a:gd name="connsiteY99" fmla="*/ 334137 h 438531"/>
                  <a:gd name="connsiteX100" fmla="*/ 910686 w 3417666"/>
                  <a:gd name="connsiteY100" fmla="*/ 340233 h 438531"/>
                  <a:gd name="connsiteX101" fmla="*/ 1139952 w 3417666"/>
                  <a:gd name="connsiteY101" fmla="*/ 340233 h 438531"/>
                  <a:gd name="connsiteX102" fmla="*/ 1139952 w 3417666"/>
                  <a:gd name="connsiteY102" fmla="*/ 346425 h 438531"/>
                  <a:gd name="connsiteX103" fmla="*/ 1253490 w 3417666"/>
                  <a:gd name="connsiteY103" fmla="*/ 346425 h 438531"/>
                  <a:gd name="connsiteX104" fmla="*/ 1253490 w 3417666"/>
                  <a:gd name="connsiteY104" fmla="*/ 352616 h 438531"/>
                  <a:gd name="connsiteX105" fmla="*/ 1522667 w 3417666"/>
                  <a:gd name="connsiteY105" fmla="*/ 352616 h 438531"/>
                  <a:gd name="connsiteX106" fmla="*/ 1522667 w 3417666"/>
                  <a:gd name="connsiteY106" fmla="*/ 358902 h 438531"/>
                  <a:gd name="connsiteX107" fmla="*/ 1596295 w 3417666"/>
                  <a:gd name="connsiteY107" fmla="*/ 358902 h 438531"/>
                  <a:gd name="connsiteX108" fmla="*/ 1596295 w 3417666"/>
                  <a:gd name="connsiteY108" fmla="*/ 365189 h 438531"/>
                  <a:gd name="connsiteX109" fmla="*/ 1676210 w 3417666"/>
                  <a:gd name="connsiteY109" fmla="*/ 365189 h 438531"/>
                  <a:gd name="connsiteX110" fmla="*/ 1676210 w 3417666"/>
                  <a:gd name="connsiteY110" fmla="*/ 371475 h 438531"/>
                  <a:gd name="connsiteX111" fmla="*/ 1838135 w 3417666"/>
                  <a:gd name="connsiteY111" fmla="*/ 371475 h 438531"/>
                  <a:gd name="connsiteX112" fmla="*/ 1838135 w 3417666"/>
                  <a:gd name="connsiteY112" fmla="*/ 377952 h 438531"/>
                  <a:gd name="connsiteX113" fmla="*/ 1854994 w 3417666"/>
                  <a:gd name="connsiteY113" fmla="*/ 377952 h 438531"/>
                  <a:gd name="connsiteX114" fmla="*/ 1854994 w 3417666"/>
                  <a:gd name="connsiteY114" fmla="*/ 384334 h 438531"/>
                  <a:gd name="connsiteX115" fmla="*/ 1972818 w 3417666"/>
                  <a:gd name="connsiteY115" fmla="*/ 384334 h 438531"/>
                  <a:gd name="connsiteX116" fmla="*/ 1972818 w 3417666"/>
                  <a:gd name="connsiteY116" fmla="*/ 390811 h 438531"/>
                  <a:gd name="connsiteX117" fmla="*/ 2065306 w 3417666"/>
                  <a:gd name="connsiteY117" fmla="*/ 390811 h 438531"/>
                  <a:gd name="connsiteX118" fmla="*/ 2065306 w 3417666"/>
                  <a:gd name="connsiteY118" fmla="*/ 397193 h 438531"/>
                  <a:gd name="connsiteX119" fmla="*/ 2084261 w 3417666"/>
                  <a:gd name="connsiteY119" fmla="*/ 397193 h 438531"/>
                  <a:gd name="connsiteX120" fmla="*/ 2084261 w 3417666"/>
                  <a:gd name="connsiteY120" fmla="*/ 403670 h 438531"/>
                  <a:gd name="connsiteX121" fmla="*/ 2938082 w 3417666"/>
                  <a:gd name="connsiteY121" fmla="*/ 403670 h 438531"/>
                  <a:gd name="connsiteX122" fmla="*/ 2938082 w 3417666"/>
                  <a:gd name="connsiteY122" fmla="*/ 438531 h 438531"/>
                  <a:gd name="connsiteX123" fmla="*/ 3417666 w 3417666"/>
                  <a:gd name="connsiteY123" fmla="*/ 438531 h 438531"/>
                  <a:gd name="connsiteX0" fmla="*/ 0 w 3400806"/>
                  <a:gd name="connsiteY0" fmla="*/ 0 h 432435"/>
                  <a:gd name="connsiteX1" fmla="*/ 0 w 3400806"/>
                  <a:gd name="connsiteY1" fmla="*/ 6001 h 432435"/>
                  <a:gd name="connsiteX2" fmla="*/ 29432 w 3400806"/>
                  <a:gd name="connsiteY2" fmla="*/ 6001 h 432435"/>
                  <a:gd name="connsiteX3" fmla="*/ 29432 w 3400806"/>
                  <a:gd name="connsiteY3" fmla="*/ 12097 h 432435"/>
                  <a:gd name="connsiteX4" fmla="*/ 37814 w 3400806"/>
                  <a:gd name="connsiteY4" fmla="*/ 12097 h 432435"/>
                  <a:gd name="connsiteX5" fmla="*/ 37814 w 3400806"/>
                  <a:gd name="connsiteY5" fmla="*/ 18193 h 432435"/>
                  <a:gd name="connsiteX6" fmla="*/ 39909 w 3400806"/>
                  <a:gd name="connsiteY6" fmla="*/ 18193 h 432435"/>
                  <a:gd name="connsiteX7" fmla="*/ 39909 w 3400806"/>
                  <a:gd name="connsiteY7" fmla="*/ 24194 h 432435"/>
                  <a:gd name="connsiteX8" fmla="*/ 54673 w 3400806"/>
                  <a:gd name="connsiteY8" fmla="*/ 24194 h 432435"/>
                  <a:gd name="connsiteX9" fmla="*/ 54673 w 3400806"/>
                  <a:gd name="connsiteY9" fmla="*/ 36386 h 432435"/>
                  <a:gd name="connsiteX10" fmla="*/ 56769 w 3400806"/>
                  <a:gd name="connsiteY10" fmla="*/ 36386 h 432435"/>
                  <a:gd name="connsiteX11" fmla="*/ 56769 w 3400806"/>
                  <a:gd name="connsiteY11" fmla="*/ 42387 h 432435"/>
                  <a:gd name="connsiteX12" fmla="*/ 63055 w 3400806"/>
                  <a:gd name="connsiteY12" fmla="*/ 42387 h 432435"/>
                  <a:gd name="connsiteX13" fmla="*/ 63055 w 3400806"/>
                  <a:gd name="connsiteY13" fmla="*/ 48483 h 432435"/>
                  <a:gd name="connsiteX14" fmla="*/ 67246 w 3400806"/>
                  <a:gd name="connsiteY14" fmla="*/ 48483 h 432435"/>
                  <a:gd name="connsiteX15" fmla="*/ 67246 w 3400806"/>
                  <a:gd name="connsiteY15" fmla="*/ 54579 h 432435"/>
                  <a:gd name="connsiteX16" fmla="*/ 84105 w 3400806"/>
                  <a:gd name="connsiteY16" fmla="*/ 54579 h 432435"/>
                  <a:gd name="connsiteX17" fmla="*/ 84105 w 3400806"/>
                  <a:gd name="connsiteY17" fmla="*/ 66675 h 432435"/>
                  <a:gd name="connsiteX18" fmla="*/ 88296 w 3400806"/>
                  <a:gd name="connsiteY18" fmla="*/ 66675 h 432435"/>
                  <a:gd name="connsiteX19" fmla="*/ 88296 w 3400806"/>
                  <a:gd name="connsiteY19" fmla="*/ 72771 h 432435"/>
                  <a:gd name="connsiteX20" fmla="*/ 111442 w 3400806"/>
                  <a:gd name="connsiteY20" fmla="*/ 72771 h 432435"/>
                  <a:gd name="connsiteX21" fmla="*/ 111442 w 3400806"/>
                  <a:gd name="connsiteY21" fmla="*/ 78867 h 432435"/>
                  <a:gd name="connsiteX22" fmla="*/ 115633 w 3400806"/>
                  <a:gd name="connsiteY22" fmla="*/ 78867 h 432435"/>
                  <a:gd name="connsiteX23" fmla="*/ 115633 w 3400806"/>
                  <a:gd name="connsiteY23" fmla="*/ 84868 h 432435"/>
                  <a:gd name="connsiteX24" fmla="*/ 121920 w 3400806"/>
                  <a:gd name="connsiteY24" fmla="*/ 84868 h 432435"/>
                  <a:gd name="connsiteX25" fmla="*/ 121920 w 3400806"/>
                  <a:gd name="connsiteY25" fmla="*/ 97060 h 432435"/>
                  <a:gd name="connsiteX26" fmla="*/ 140874 w 3400806"/>
                  <a:gd name="connsiteY26" fmla="*/ 97060 h 432435"/>
                  <a:gd name="connsiteX27" fmla="*/ 140874 w 3400806"/>
                  <a:gd name="connsiteY27" fmla="*/ 103061 h 432435"/>
                  <a:gd name="connsiteX28" fmla="*/ 149256 w 3400806"/>
                  <a:gd name="connsiteY28" fmla="*/ 103061 h 432435"/>
                  <a:gd name="connsiteX29" fmla="*/ 149256 w 3400806"/>
                  <a:gd name="connsiteY29" fmla="*/ 109157 h 432435"/>
                  <a:gd name="connsiteX30" fmla="*/ 161925 w 3400806"/>
                  <a:gd name="connsiteY30" fmla="*/ 109157 h 432435"/>
                  <a:gd name="connsiteX31" fmla="*/ 161925 w 3400806"/>
                  <a:gd name="connsiteY31" fmla="*/ 115253 h 432435"/>
                  <a:gd name="connsiteX32" fmla="*/ 178784 w 3400806"/>
                  <a:gd name="connsiteY32" fmla="*/ 115253 h 432435"/>
                  <a:gd name="connsiteX33" fmla="*/ 178784 w 3400806"/>
                  <a:gd name="connsiteY33" fmla="*/ 121254 h 432435"/>
                  <a:gd name="connsiteX34" fmla="*/ 206121 w 3400806"/>
                  <a:gd name="connsiteY34" fmla="*/ 121254 h 432435"/>
                  <a:gd name="connsiteX35" fmla="*/ 206121 w 3400806"/>
                  <a:gd name="connsiteY35" fmla="*/ 127350 h 432435"/>
                  <a:gd name="connsiteX36" fmla="*/ 208216 w 3400806"/>
                  <a:gd name="connsiteY36" fmla="*/ 127350 h 432435"/>
                  <a:gd name="connsiteX37" fmla="*/ 208216 w 3400806"/>
                  <a:gd name="connsiteY37" fmla="*/ 133446 h 432435"/>
                  <a:gd name="connsiteX38" fmla="*/ 218693 w 3400806"/>
                  <a:gd name="connsiteY38" fmla="*/ 133446 h 432435"/>
                  <a:gd name="connsiteX39" fmla="*/ 218693 w 3400806"/>
                  <a:gd name="connsiteY39" fmla="*/ 139446 h 432435"/>
                  <a:gd name="connsiteX40" fmla="*/ 224980 w 3400806"/>
                  <a:gd name="connsiteY40" fmla="*/ 139446 h 432435"/>
                  <a:gd name="connsiteX41" fmla="*/ 224980 w 3400806"/>
                  <a:gd name="connsiteY41" fmla="*/ 151638 h 432435"/>
                  <a:gd name="connsiteX42" fmla="*/ 233457 w 3400806"/>
                  <a:gd name="connsiteY42" fmla="*/ 151638 h 432435"/>
                  <a:gd name="connsiteX43" fmla="*/ 233457 w 3400806"/>
                  <a:gd name="connsiteY43" fmla="*/ 157639 h 432435"/>
                  <a:gd name="connsiteX44" fmla="*/ 239744 w 3400806"/>
                  <a:gd name="connsiteY44" fmla="*/ 157639 h 432435"/>
                  <a:gd name="connsiteX45" fmla="*/ 239744 w 3400806"/>
                  <a:gd name="connsiteY45" fmla="*/ 169831 h 432435"/>
                  <a:gd name="connsiteX46" fmla="*/ 241839 w 3400806"/>
                  <a:gd name="connsiteY46" fmla="*/ 169831 h 432435"/>
                  <a:gd name="connsiteX47" fmla="*/ 241839 w 3400806"/>
                  <a:gd name="connsiteY47" fmla="*/ 175927 h 432435"/>
                  <a:gd name="connsiteX48" fmla="*/ 254412 w 3400806"/>
                  <a:gd name="connsiteY48" fmla="*/ 175927 h 432435"/>
                  <a:gd name="connsiteX49" fmla="*/ 254412 w 3400806"/>
                  <a:gd name="connsiteY49" fmla="*/ 181928 h 432435"/>
                  <a:gd name="connsiteX50" fmla="*/ 277558 w 3400806"/>
                  <a:gd name="connsiteY50" fmla="*/ 181928 h 432435"/>
                  <a:gd name="connsiteX51" fmla="*/ 277558 w 3400806"/>
                  <a:gd name="connsiteY51" fmla="*/ 188024 h 432435"/>
                  <a:gd name="connsiteX52" fmla="*/ 283940 w 3400806"/>
                  <a:gd name="connsiteY52" fmla="*/ 188024 h 432435"/>
                  <a:gd name="connsiteX53" fmla="*/ 283940 w 3400806"/>
                  <a:gd name="connsiteY53" fmla="*/ 194120 h 432435"/>
                  <a:gd name="connsiteX54" fmla="*/ 292322 w 3400806"/>
                  <a:gd name="connsiteY54" fmla="*/ 194120 h 432435"/>
                  <a:gd name="connsiteX55" fmla="*/ 292322 w 3400806"/>
                  <a:gd name="connsiteY55" fmla="*/ 200121 h 432435"/>
                  <a:gd name="connsiteX56" fmla="*/ 300704 w 3400806"/>
                  <a:gd name="connsiteY56" fmla="*/ 200121 h 432435"/>
                  <a:gd name="connsiteX57" fmla="*/ 300704 w 3400806"/>
                  <a:gd name="connsiteY57" fmla="*/ 206217 h 432435"/>
                  <a:gd name="connsiteX58" fmla="*/ 304895 w 3400806"/>
                  <a:gd name="connsiteY58" fmla="*/ 206217 h 432435"/>
                  <a:gd name="connsiteX59" fmla="*/ 304895 w 3400806"/>
                  <a:gd name="connsiteY59" fmla="*/ 212313 h 432435"/>
                  <a:gd name="connsiteX60" fmla="*/ 378523 w 3400806"/>
                  <a:gd name="connsiteY60" fmla="*/ 212313 h 432435"/>
                  <a:gd name="connsiteX61" fmla="*/ 378523 w 3400806"/>
                  <a:gd name="connsiteY61" fmla="*/ 218313 h 432435"/>
                  <a:gd name="connsiteX62" fmla="*/ 399573 w 3400806"/>
                  <a:gd name="connsiteY62" fmla="*/ 218313 h 432435"/>
                  <a:gd name="connsiteX63" fmla="*/ 399573 w 3400806"/>
                  <a:gd name="connsiteY63" fmla="*/ 224409 h 432435"/>
                  <a:gd name="connsiteX64" fmla="*/ 405860 w 3400806"/>
                  <a:gd name="connsiteY64" fmla="*/ 224409 h 432435"/>
                  <a:gd name="connsiteX65" fmla="*/ 405860 w 3400806"/>
                  <a:gd name="connsiteY65" fmla="*/ 230505 h 432435"/>
                  <a:gd name="connsiteX66" fmla="*/ 447960 w 3400806"/>
                  <a:gd name="connsiteY66" fmla="*/ 230505 h 432435"/>
                  <a:gd name="connsiteX67" fmla="*/ 447960 w 3400806"/>
                  <a:gd name="connsiteY67" fmla="*/ 236506 h 432435"/>
                  <a:gd name="connsiteX68" fmla="*/ 462629 w 3400806"/>
                  <a:gd name="connsiteY68" fmla="*/ 236506 h 432435"/>
                  <a:gd name="connsiteX69" fmla="*/ 462629 w 3400806"/>
                  <a:gd name="connsiteY69" fmla="*/ 242602 h 432435"/>
                  <a:gd name="connsiteX70" fmla="*/ 492156 w 3400806"/>
                  <a:gd name="connsiteY70" fmla="*/ 242602 h 432435"/>
                  <a:gd name="connsiteX71" fmla="*/ 492156 w 3400806"/>
                  <a:gd name="connsiteY71" fmla="*/ 248698 h 432435"/>
                  <a:gd name="connsiteX72" fmla="*/ 494252 w 3400806"/>
                  <a:gd name="connsiteY72" fmla="*/ 248698 h 432435"/>
                  <a:gd name="connsiteX73" fmla="*/ 494252 w 3400806"/>
                  <a:gd name="connsiteY73" fmla="*/ 254699 h 432435"/>
                  <a:gd name="connsiteX74" fmla="*/ 517302 w 3400806"/>
                  <a:gd name="connsiteY74" fmla="*/ 254699 h 432435"/>
                  <a:gd name="connsiteX75" fmla="*/ 517302 w 3400806"/>
                  <a:gd name="connsiteY75" fmla="*/ 260795 h 432435"/>
                  <a:gd name="connsiteX76" fmla="*/ 529971 w 3400806"/>
                  <a:gd name="connsiteY76" fmla="*/ 260795 h 432435"/>
                  <a:gd name="connsiteX77" fmla="*/ 529971 w 3400806"/>
                  <a:gd name="connsiteY77" fmla="*/ 266891 h 432435"/>
                  <a:gd name="connsiteX78" fmla="*/ 565689 w 3400806"/>
                  <a:gd name="connsiteY78" fmla="*/ 266891 h 432435"/>
                  <a:gd name="connsiteX79" fmla="*/ 565689 w 3400806"/>
                  <a:gd name="connsiteY79" fmla="*/ 272987 h 432435"/>
                  <a:gd name="connsiteX80" fmla="*/ 681418 w 3400806"/>
                  <a:gd name="connsiteY80" fmla="*/ 272987 h 432435"/>
                  <a:gd name="connsiteX81" fmla="*/ 681418 w 3400806"/>
                  <a:gd name="connsiteY81" fmla="*/ 278988 h 432435"/>
                  <a:gd name="connsiteX82" fmla="*/ 719232 w 3400806"/>
                  <a:gd name="connsiteY82" fmla="*/ 278988 h 432435"/>
                  <a:gd name="connsiteX83" fmla="*/ 719232 w 3400806"/>
                  <a:gd name="connsiteY83" fmla="*/ 285179 h 432435"/>
                  <a:gd name="connsiteX84" fmla="*/ 771810 w 3400806"/>
                  <a:gd name="connsiteY84" fmla="*/ 285179 h 432435"/>
                  <a:gd name="connsiteX85" fmla="*/ 771810 w 3400806"/>
                  <a:gd name="connsiteY85" fmla="*/ 291275 h 432435"/>
                  <a:gd name="connsiteX86" fmla="*/ 790765 w 3400806"/>
                  <a:gd name="connsiteY86" fmla="*/ 291275 h 432435"/>
                  <a:gd name="connsiteX87" fmla="*/ 790765 w 3400806"/>
                  <a:gd name="connsiteY87" fmla="*/ 297371 h 432435"/>
                  <a:gd name="connsiteX88" fmla="*/ 801243 w 3400806"/>
                  <a:gd name="connsiteY88" fmla="*/ 297371 h 432435"/>
                  <a:gd name="connsiteX89" fmla="*/ 801243 w 3400806"/>
                  <a:gd name="connsiteY89" fmla="*/ 303562 h 432435"/>
                  <a:gd name="connsiteX90" fmla="*/ 834961 w 3400806"/>
                  <a:gd name="connsiteY90" fmla="*/ 303562 h 432435"/>
                  <a:gd name="connsiteX91" fmla="*/ 834961 w 3400806"/>
                  <a:gd name="connsiteY91" fmla="*/ 309658 h 432435"/>
                  <a:gd name="connsiteX92" fmla="*/ 841248 w 3400806"/>
                  <a:gd name="connsiteY92" fmla="*/ 309658 h 432435"/>
                  <a:gd name="connsiteX93" fmla="*/ 841248 w 3400806"/>
                  <a:gd name="connsiteY93" fmla="*/ 315754 h 432435"/>
                  <a:gd name="connsiteX94" fmla="*/ 855916 w 3400806"/>
                  <a:gd name="connsiteY94" fmla="*/ 315754 h 432435"/>
                  <a:gd name="connsiteX95" fmla="*/ 855916 w 3400806"/>
                  <a:gd name="connsiteY95" fmla="*/ 321850 h 432435"/>
                  <a:gd name="connsiteX96" fmla="*/ 868584 w 3400806"/>
                  <a:gd name="connsiteY96" fmla="*/ 321850 h 432435"/>
                  <a:gd name="connsiteX97" fmla="*/ 868584 w 3400806"/>
                  <a:gd name="connsiteY97" fmla="*/ 328041 h 432435"/>
                  <a:gd name="connsiteX98" fmla="*/ 893826 w 3400806"/>
                  <a:gd name="connsiteY98" fmla="*/ 328041 h 432435"/>
                  <a:gd name="connsiteX99" fmla="*/ 893826 w 3400806"/>
                  <a:gd name="connsiteY99" fmla="*/ 334137 h 432435"/>
                  <a:gd name="connsiteX100" fmla="*/ 1123092 w 3400806"/>
                  <a:gd name="connsiteY100" fmla="*/ 334137 h 432435"/>
                  <a:gd name="connsiteX101" fmla="*/ 1123092 w 3400806"/>
                  <a:gd name="connsiteY101" fmla="*/ 340329 h 432435"/>
                  <a:gd name="connsiteX102" fmla="*/ 1236630 w 3400806"/>
                  <a:gd name="connsiteY102" fmla="*/ 340329 h 432435"/>
                  <a:gd name="connsiteX103" fmla="*/ 1236630 w 3400806"/>
                  <a:gd name="connsiteY103" fmla="*/ 346520 h 432435"/>
                  <a:gd name="connsiteX104" fmla="*/ 1505807 w 3400806"/>
                  <a:gd name="connsiteY104" fmla="*/ 346520 h 432435"/>
                  <a:gd name="connsiteX105" fmla="*/ 1505807 w 3400806"/>
                  <a:gd name="connsiteY105" fmla="*/ 352806 h 432435"/>
                  <a:gd name="connsiteX106" fmla="*/ 1579435 w 3400806"/>
                  <a:gd name="connsiteY106" fmla="*/ 352806 h 432435"/>
                  <a:gd name="connsiteX107" fmla="*/ 1579435 w 3400806"/>
                  <a:gd name="connsiteY107" fmla="*/ 359093 h 432435"/>
                  <a:gd name="connsiteX108" fmla="*/ 1659350 w 3400806"/>
                  <a:gd name="connsiteY108" fmla="*/ 359093 h 432435"/>
                  <a:gd name="connsiteX109" fmla="*/ 1659350 w 3400806"/>
                  <a:gd name="connsiteY109" fmla="*/ 365379 h 432435"/>
                  <a:gd name="connsiteX110" fmla="*/ 1821275 w 3400806"/>
                  <a:gd name="connsiteY110" fmla="*/ 365379 h 432435"/>
                  <a:gd name="connsiteX111" fmla="*/ 1821275 w 3400806"/>
                  <a:gd name="connsiteY111" fmla="*/ 371856 h 432435"/>
                  <a:gd name="connsiteX112" fmla="*/ 1838134 w 3400806"/>
                  <a:gd name="connsiteY112" fmla="*/ 371856 h 432435"/>
                  <a:gd name="connsiteX113" fmla="*/ 1838134 w 3400806"/>
                  <a:gd name="connsiteY113" fmla="*/ 378238 h 432435"/>
                  <a:gd name="connsiteX114" fmla="*/ 1955958 w 3400806"/>
                  <a:gd name="connsiteY114" fmla="*/ 378238 h 432435"/>
                  <a:gd name="connsiteX115" fmla="*/ 1955958 w 3400806"/>
                  <a:gd name="connsiteY115" fmla="*/ 384715 h 432435"/>
                  <a:gd name="connsiteX116" fmla="*/ 2048446 w 3400806"/>
                  <a:gd name="connsiteY116" fmla="*/ 384715 h 432435"/>
                  <a:gd name="connsiteX117" fmla="*/ 2048446 w 3400806"/>
                  <a:gd name="connsiteY117" fmla="*/ 391097 h 432435"/>
                  <a:gd name="connsiteX118" fmla="*/ 2067401 w 3400806"/>
                  <a:gd name="connsiteY118" fmla="*/ 391097 h 432435"/>
                  <a:gd name="connsiteX119" fmla="*/ 2067401 w 3400806"/>
                  <a:gd name="connsiteY119" fmla="*/ 397574 h 432435"/>
                  <a:gd name="connsiteX120" fmla="*/ 2921222 w 3400806"/>
                  <a:gd name="connsiteY120" fmla="*/ 397574 h 432435"/>
                  <a:gd name="connsiteX121" fmla="*/ 2921222 w 3400806"/>
                  <a:gd name="connsiteY121" fmla="*/ 432435 h 432435"/>
                  <a:gd name="connsiteX122" fmla="*/ 3400806 w 3400806"/>
                  <a:gd name="connsiteY122" fmla="*/ 432435 h 432435"/>
                  <a:gd name="connsiteX0" fmla="*/ 0 w 3400806"/>
                  <a:gd name="connsiteY0" fmla="*/ 0 h 432435"/>
                  <a:gd name="connsiteX1" fmla="*/ 29432 w 3400806"/>
                  <a:gd name="connsiteY1" fmla="*/ 6001 h 432435"/>
                  <a:gd name="connsiteX2" fmla="*/ 29432 w 3400806"/>
                  <a:gd name="connsiteY2" fmla="*/ 12097 h 432435"/>
                  <a:gd name="connsiteX3" fmla="*/ 37814 w 3400806"/>
                  <a:gd name="connsiteY3" fmla="*/ 12097 h 432435"/>
                  <a:gd name="connsiteX4" fmla="*/ 37814 w 3400806"/>
                  <a:gd name="connsiteY4" fmla="*/ 18193 h 432435"/>
                  <a:gd name="connsiteX5" fmla="*/ 39909 w 3400806"/>
                  <a:gd name="connsiteY5" fmla="*/ 18193 h 432435"/>
                  <a:gd name="connsiteX6" fmla="*/ 39909 w 3400806"/>
                  <a:gd name="connsiteY6" fmla="*/ 24194 h 432435"/>
                  <a:gd name="connsiteX7" fmla="*/ 54673 w 3400806"/>
                  <a:gd name="connsiteY7" fmla="*/ 24194 h 432435"/>
                  <a:gd name="connsiteX8" fmla="*/ 54673 w 3400806"/>
                  <a:gd name="connsiteY8" fmla="*/ 36386 h 432435"/>
                  <a:gd name="connsiteX9" fmla="*/ 56769 w 3400806"/>
                  <a:gd name="connsiteY9" fmla="*/ 36386 h 432435"/>
                  <a:gd name="connsiteX10" fmla="*/ 56769 w 3400806"/>
                  <a:gd name="connsiteY10" fmla="*/ 42387 h 432435"/>
                  <a:gd name="connsiteX11" fmla="*/ 63055 w 3400806"/>
                  <a:gd name="connsiteY11" fmla="*/ 42387 h 432435"/>
                  <a:gd name="connsiteX12" fmla="*/ 63055 w 3400806"/>
                  <a:gd name="connsiteY12" fmla="*/ 48483 h 432435"/>
                  <a:gd name="connsiteX13" fmla="*/ 67246 w 3400806"/>
                  <a:gd name="connsiteY13" fmla="*/ 48483 h 432435"/>
                  <a:gd name="connsiteX14" fmla="*/ 67246 w 3400806"/>
                  <a:gd name="connsiteY14" fmla="*/ 54579 h 432435"/>
                  <a:gd name="connsiteX15" fmla="*/ 84105 w 3400806"/>
                  <a:gd name="connsiteY15" fmla="*/ 54579 h 432435"/>
                  <a:gd name="connsiteX16" fmla="*/ 84105 w 3400806"/>
                  <a:gd name="connsiteY16" fmla="*/ 66675 h 432435"/>
                  <a:gd name="connsiteX17" fmla="*/ 88296 w 3400806"/>
                  <a:gd name="connsiteY17" fmla="*/ 66675 h 432435"/>
                  <a:gd name="connsiteX18" fmla="*/ 88296 w 3400806"/>
                  <a:gd name="connsiteY18" fmla="*/ 72771 h 432435"/>
                  <a:gd name="connsiteX19" fmla="*/ 111442 w 3400806"/>
                  <a:gd name="connsiteY19" fmla="*/ 72771 h 432435"/>
                  <a:gd name="connsiteX20" fmla="*/ 111442 w 3400806"/>
                  <a:gd name="connsiteY20" fmla="*/ 78867 h 432435"/>
                  <a:gd name="connsiteX21" fmla="*/ 115633 w 3400806"/>
                  <a:gd name="connsiteY21" fmla="*/ 78867 h 432435"/>
                  <a:gd name="connsiteX22" fmla="*/ 115633 w 3400806"/>
                  <a:gd name="connsiteY22" fmla="*/ 84868 h 432435"/>
                  <a:gd name="connsiteX23" fmla="*/ 121920 w 3400806"/>
                  <a:gd name="connsiteY23" fmla="*/ 84868 h 432435"/>
                  <a:gd name="connsiteX24" fmla="*/ 121920 w 3400806"/>
                  <a:gd name="connsiteY24" fmla="*/ 97060 h 432435"/>
                  <a:gd name="connsiteX25" fmla="*/ 140874 w 3400806"/>
                  <a:gd name="connsiteY25" fmla="*/ 97060 h 432435"/>
                  <a:gd name="connsiteX26" fmla="*/ 140874 w 3400806"/>
                  <a:gd name="connsiteY26" fmla="*/ 103061 h 432435"/>
                  <a:gd name="connsiteX27" fmla="*/ 149256 w 3400806"/>
                  <a:gd name="connsiteY27" fmla="*/ 103061 h 432435"/>
                  <a:gd name="connsiteX28" fmla="*/ 149256 w 3400806"/>
                  <a:gd name="connsiteY28" fmla="*/ 109157 h 432435"/>
                  <a:gd name="connsiteX29" fmla="*/ 161925 w 3400806"/>
                  <a:gd name="connsiteY29" fmla="*/ 109157 h 432435"/>
                  <a:gd name="connsiteX30" fmla="*/ 161925 w 3400806"/>
                  <a:gd name="connsiteY30" fmla="*/ 115253 h 432435"/>
                  <a:gd name="connsiteX31" fmla="*/ 178784 w 3400806"/>
                  <a:gd name="connsiteY31" fmla="*/ 115253 h 432435"/>
                  <a:gd name="connsiteX32" fmla="*/ 178784 w 3400806"/>
                  <a:gd name="connsiteY32" fmla="*/ 121254 h 432435"/>
                  <a:gd name="connsiteX33" fmla="*/ 206121 w 3400806"/>
                  <a:gd name="connsiteY33" fmla="*/ 121254 h 432435"/>
                  <a:gd name="connsiteX34" fmla="*/ 206121 w 3400806"/>
                  <a:gd name="connsiteY34" fmla="*/ 127350 h 432435"/>
                  <a:gd name="connsiteX35" fmla="*/ 208216 w 3400806"/>
                  <a:gd name="connsiteY35" fmla="*/ 127350 h 432435"/>
                  <a:gd name="connsiteX36" fmla="*/ 208216 w 3400806"/>
                  <a:gd name="connsiteY36" fmla="*/ 133446 h 432435"/>
                  <a:gd name="connsiteX37" fmla="*/ 218693 w 3400806"/>
                  <a:gd name="connsiteY37" fmla="*/ 133446 h 432435"/>
                  <a:gd name="connsiteX38" fmla="*/ 218693 w 3400806"/>
                  <a:gd name="connsiteY38" fmla="*/ 139446 h 432435"/>
                  <a:gd name="connsiteX39" fmla="*/ 224980 w 3400806"/>
                  <a:gd name="connsiteY39" fmla="*/ 139446 h 432435"/>
                  <a:gd name="connsiteX40" fmla="*/ 224980 w 3400806"/>
                  <a:gd name="connsiteY40" fmla="*/ 151638 h 432435"/>
                  <a:gd name="connsiteX41" fmla="*/ 233457 w 3400806"/>
                  <a:gd name="connsiteY41" fmla="*/ 151638 h 432435"/>
                  <a:gd name="connsiteX42" fmla="*/ 233457 w 3400806"/>
                  <a:gd name="connsiteY42" fmla="*/ 157639 h 432435"/>
                  <a:gd name="connsiteX43" fmla="*/ 239744 w 3400806"/>
                  <a:gd name="connsiteY43" fmla="*/ 157639 h 432435"/>
                  <a:gd name="connsiteX44" fmla="*/ 239744 w 3400806"/>
                  <a:gd name="connsiteY44" fmla="*/ 169831 h 432435"/>
                  <a:gd name="connsiteX45" fmla="*/ 241839 w 3400806"/>
                  <a:gd name="connsiteY45" fmla="*/ 169831 h 432435"/>
                  <a:gd name="connsiteX46" fmla="*/ 241839 w 3400806"/>
                  <a:gd name="connsiteY46" fmla="*/ 175927 h 432435"/>
                  <a:gd name="connsiteX47" fmla="*/ 254412 w 3400806"/>
                  <a:gd name="connsiteY47" fmla="*/ 175927 h 432435"/>
                  <a:gd name="connsiteX48" fmla="*/ 254412 w 3400806"/>
                  <a:gd name="connsiteY48" fmla="*/ 181928 h 432435"/>
                  <a:gd name="connsiteX49" fmla="*/ 277558 w 3400806"/>
                  <a:gd name="connsiteY49" fmla="*/ 181928 h 432435"/>
                  <a:gd name="connsiteX50" fmla="*/ 277558 w 3400806"/>
                  <a:gd name="connsiteY50" fmla="*/ 188024 h 432435"/>
                  <a:gd name="connsiteX51" fmla="*/ 283940 w 3400806"/>
                  <a:gd name="connsiteY51" fmla="*/ 188024 h 432435"/>
                  <a:gd name="connsiteX52" fmla="*/ 283940 w 3400806"/>
                  <a:gd name="connsiteY52" fmla="*/ 194120 h 432435"/>
                  <a:gd name="connsiteX53" fmla="*/ 292322 w 3400806"/>
                  <a:gd name="connsiteY53" fmla="*/ 194120 h 432435"/>
                  <a:gd name="connsiteX54" fmla="*/ 292322 w 3400806"/>
                  <a:gd name="connsiteY54" fmla="*/ 200121 h 432435"/>
                  <a:gd name="connsiteX55" fmla="*/ 300704 w 3400806"/>
                  <a:gd name="connsiteY55" fmla="*/ 200121 h 432435"/>
                  <a:gd name="connsiteX56" fmla="*/ 300704 w 3400806"/>
                  <a:gd name="connsiteY56" fmla="*/ 206217 h 432435"/>
                  <a:gd name="connsiteX57" fmla="*/ 304895 w 3400806"/>
                  <a:gd name="connsiteY57" fmla="*/ 206217 h 432435"/>
                  <a:gd name="connsiteX58" fmla="*/ 304895 w 3400806"/>
                  <a:gd name="connsiteY58" fmla="*/ 212313 h 432435"/>
                  <a:gd name="connsiteX59" fmla="*/ 378523 w 3400806"/>
                  <a:gd name="connsiteY59" fmla="*/ 212313 h 432435"/>
                  <a:gd name="connsiteX60" fmla="*/ 378523 w 3400806"/>
                  <a:gd name="connsiteY60" fmla="*/ 218313 h 432435"/>
                  <a:gd name="connsiteX61" fmla="*/ 399573 w 3400806"/>
                  <a:gd name="connsiteY61" fmla="*/ 218313 h 432435"/>
                  <a:gd name="connsiteX62" fmla="*/ 399573 w 3400806"/>
                  <a:gd name="connsiteY62" fmla="*/ 224409 h 432435"/>
                  <a:gd name="connsiteX63" fmla="*/ 405860 w 3400806"/>
                  <a:gd name="connsiteY63" fmla="*/ 224409 h 432435"/>
                  <a:gd name="connsiteX64" fmla="*/ 405860 w 3400806"/>
                  <a:gd name="connsiteY64" fmla="*/ 230505 h 432435"/>
                  <a:gd name="connsiteX65" fmla="*/ 447960 w 3400806"/>
                  <a:gd name="connsiteY65" fmla="*/ 230505 h 432435"/>
                  <a:gd name="connsiteX66" fmla="*/ 447960 w 3400806"/>
                  <a:gd name="connsiteY66" fmla="*/ 236506 h 432435"/>
                  <a:gd name="connsiteX67" fmla="*/ 462629 w 3400806"/>
                  <a:gd name="connsiteY67" fmla="*/ 236506 h 432435"/>
                  <a:gd name="connsiteX68" fmla="*/ 462629 w 3400806"/>
                  <a:gd name="connsiteY68" fmla="*/ 242602 h 432435"/>
                  <a:gd name="connsiteX69" fmla="*/ 492156 w 3400806"/>
                  <a:gd name="connsiteY69" fmla="*/ 242602 h 432435"/>
                  <a:gd name="connsiteX70" fmla="*/ 492156 w 3400806"/>
                  <a:gd name="connsiteY70" fmla="*/ 248698 h 432435"/>
                  <a:gd name="connsiteX71" fmla="*/ 494252 w 3400806"/>
                  <a:gd name="connsiteY71" fmla="*/ 248698 h 432435"/>
                  <a:gd name="connsiteX72" fmla="*/ 494252 w 3400806"/>
                  <a:gd name="connsiteY72" fmla="*/ 254699 h 432435"/>
                  <a:gd name="connsiteX73" fmla="*/ 517302 w 3400806"/>
                  <a:gd name="connsiteY73" fmla="*/ 254699 h 432435"/>
                  <a:gd name="connsiteX74" fmla="*/ 517302 w 3400806"/>
                  <a:gd name="connsiteY74" fmla="*/ 260795 h 432435"/>
                  <a:gd name="connsiteX75" fmla="*/ 529971 w 3400806"/>
                  <a:gd name="connsiteY75" fmla="*/ 260795 h 432435"/>
                  <a:gd name="connsiteX76" fmla="*/ 529971 w 3400806"/>
                  <a:gd name="connsiteY76" fmla="*/ 266891 h 432435"/>
                  <a:gd name="connsiteX77" fmla="*/ 565689 w 3400806"/>
                  <a:gd name="connsiteY77" fmla="*/ 266891 h 432435"/>
                  <a:gd name="connsiteX78" fmla="*/ 565689 w 3400806"/>
                  <a:gd name="connsiteY78" fmla="*/ 272987 h 432435"/>
                  <a:gd name="connsiteX79" fmla="*/ 681418 w 3400806"/>
                  <a:gd name="connsiteY79" fmla="*/ 272987 h 432435"/>
                  <a:gd name="connsiteX80" fmla="*/ 681418 w 3400806"/>
                  <a:gd name="connsiteY80" fmla="*/ 278988 h 432435"/>
                  <a:gd name="connsiteX81" fmla="*/ 719232 w 3400806"/>
                  <a:gd name="connsiteY81" fmla="*/ 278988 h 432435"/>
                  <a:gd name="connsiteX82" fmla="*/ 719232 w 3400806"/>
                  <a:gd name="connsiteY82" fmla="*/ 285179 h 432435"/>
                  <a:gd name="connsiteX83" fmla="*/ 771810 w 3400806"/>
                  <a:gd name="connsiteY83" fmla="*/ 285179 h 432435"/>
                  <a:gd name="connsiteX84" fmla="*/ 771810 w 3400806"/>
                  <a:gd name="connsiteY84" fmla="*/ 291275 h 432435"/>
                  <a:gd name="connsiteX85" fmla="*/ 790765 w 3400806"/>
                  <a:gd name="connsiteY85" fmla="*/ 291275 h 432435"/>
                  <a:gd name="connsiteX86" fmla="*/ 790765 w 3400806"/>
                  <a:gd name="connsiteY86" fmla="*/ 297371 h 432435"/>
                  <a:gd name="connsiteX87" fmla="*/ 801243 w 3400806"/>
                  <a:gd name="connsiteY87" fmla="*/ 297371 h 432435"/>
                  <a:gd name="connsiteX88" fmla="*/ 801243 w 3400806"/>
                  <a:gd name="connsiteY88" fmla="*/ 303562 h 432435"/>
                  <a:gd name="connsiteX89" fmla="*/ 834961 w 3400806"/>
                  <a:gd name="connsiteY89" fmla="*/ 303562 h 432435"/>
                  <a:gd name="connsiteX90" fmla="*/ 834961 w 3400806"/>
                  <a:gd name="connsiteY90" fmla="*/ 309658 h 432435"/>
                  <a:gd name="connsiteX91" fmla="*/ 841248 w 3400806"/>
                  <a:gd name="connsiteY91" fmla="*/ 309658 h 432435"/>
                  <a:gd name="connsiteX92" fmla="*/ 841248 w 3400806"/>
                  <a:gd name="connsiteY92" fmla="*/ 315754 h 432435"/>
                  <a:gd name="connsiteX93" fmla="*/ 855916 w 3400806"/>
                  <a:gd name="connsiteY93" fmla="*/ 315754 h 432435"/>
                  <a:gd name="connsiteX94" fmla="*/ 855916 w 3400806"/>
                  <a:gd name="connsiteY94" fmla="*/ 321850 h 432435"/>
                  <a:gd name="connsiteX95" fmla="*/ 868584 w 3400806"/>
                  <a:gd name="connsiteY95" fmla="*/ 321850 h 432435"/>
                  <a:gd name="connsiteX96" fmla="*/ 868584 w 3400806"/>
                  <a:gd name="connsiteY96" fmla="*/ 328041 h 432435"/>
                  <a:gd name="connsiteX97" fmla="*/ 893826 w 3400806"/>
                  <a:gd name="connsiteY97" fmla="*/ 328041 h 432435"/>
                  <a:gd name="connsiteX98" fmla="*/ 893826 w 3400806"/>
                  <a:gd name="connsiteY98" fmla="*/ 334137 h 432435"/>
                  <a:gd name="connsiteX99" fmla="*/ 1123092 w 3400806"/>
                  <a:gd name="connsiteY99" fmla="*/ 334137 h 432435"/>
                  <a:gd name="connsiteX100" fmla="*/ 1123092 w 3400806"/>
                  <a:gd name="connsiteY100" fmla="*/ 340329 h 432435"/>
                  <a:gd name="connsiteX101" fmla="*/ 1236630 w 3400806"/>
                  <a:gd name="connsiteY101" fmla="*/ 340329 h 432435"/>
                  <a:gd name="connsiteX102" fmla="*/ 1236630 w 3400806"/>
                  <a:gd name="connsiteY102" fmla="*/ 346520 h 432435"/>
                  <a:gd name="connsiteX103" fmla="*/ 1505807 w 3400806"/>
                  <a:gd name="connsiteY103" fmla="*/ 346520 h 432435"/>
                  <a:gd name="connsiteX104" fmla="*/ 1505807 w 3400806"/>
                  <a:gd name="connsiteY104" fmla="*/ 352806 h 432435"/>
                  <a:gd name="connsiteX105" fmla="*/ 1579435 w 3400806"/>
                  <a:gd name="connsiteY105" fmla="*/ 352806 h 432435"/>
                  <a:gd name="connsiteX106" fmla="*/ 1579435 w 3400806"/>
                  <a:gd name="connsiteY106" fmla="*/ 359093 h 432435"/>
                  <a:gd name="connsiteX107" fmla="*/ 1659350 w 3400806"/>
                  <a:gd name="connsiteY107" fmla="*/ 359093 h 432435"/>
                  <a:gd name="connsiteX108" fmla="*/ 1659350 w 3400806"/>
                  <a:gd name="connsiteY108" fmla="*/ 365379 h 432435"/>
                  <a:gd name="connsiteX109" fmla="*/ 1821275 w 3400806"/>
                  <a:gd name="connsiteY109" fmla="*/ 365379 h 432435"/>
                  <a:gd name="connsiteX110" fmla="*/ 1821275 w 3400806"/>
                  <a:gd name="connsiteY110" fmla="*/ 371856 h 432435"/>
                  <a:gd name="connsiteX111" fmla="*/ 1838134 w 3400806"/>
                  <a:gd name="connsiteY111" fmla="*/ 371856 h 432435"/>
                  <a:gd name="connsiteX112" fmla="*/ 1838134 w 3400806"/>
                  <a:gd name="connsiteY112" fmla="*/ 378238 h 432435"/>
                  <a:gd name="connsiteX113" fmla="*/ 1955958 w 3400806"/>
                  <a:gd name="connsiteY113" fmla="*/ 378238 h 432435"/>
                  <a:gd name="connsiteX114" fmla="*/ 1955958 w 3400806"/>
                  <a:gd name="connsiteY114" fmla="*/ 384715 h 432435"/>
                  <a:gd name="connsiteX115" fmla="*/ 2048446 w 3400806"/>
                  <a:gd name="connsiteY115" fmla="*/ 384715 h 432435"/>
                  <a:gd name="connsiteX116" fmla="*/ 2048446 w 3400806"/>
                  <a:gd name="connsiteY116" fmla="*/ 391097 h 432435"/>
                  <a:gd name="connsiteX117" fmla="*/ 2067401 w 3400806"/>
                  <a:gd name="connsiteY117" fmla="*/ 391097 h 432435"/>
                  <a:gd name="connsiteX118" fmla="*/ 2067401 w 3400806"/>
                  <a:gd name="connsiteY118" fmla="*/ 397574 h 432435"/>
                  <a:gd name="connsiteX119" fmla="*/ 2921222 w 3400806"/>
                  <a:gd name="connsiteY119" fmla="*/ 397574 h 432435"/>
                  <a:gd name="connsiteX120" fmla="*/ 2921222 w 3400806"/>
                  <a:gd name="connsiteY120" fmla="*/ 432435 h 432435"/>
                  <a:gd name="connsiteX121" fmla="*/ 3400806 w 3400806"/>
                  <a:gd name="connsiteY121" fmla="*/ 432435 h 432435"/>
                  <a:gd name="connsiteX0" fmla="*/ 0 w 3371374"/>
                  <a:gd name="connsiteY0" fmla="*/ 0 h 426434"/>
                  <a:gd name="connsiteX1" fmla="*/ 0 w 3371374"/>
                  <a:gd name="connsiteY1" fmla="*/ 6096 h 426434"/>
                  <a:gd name="connsiteX2" fmla="*/ 8382 w 3371374"/>
                  <a:gd name="connsiteY2" fmla="*/ 6096 h 426434"/>
                  <a:gd name="connsiteX3" fmla="*/ 8382 w 3371374"/>
                  <a:gd name="connsiteY3" fmla="*/ 12192 h 426434"/>
                  <a:gd name="connsiteX4" fmla="*/ 10477 w 3371374"/>
                  <a:gd name="connsiteY4" fmla="*/ 12192 h 426434"/>
                  <a:gd name="connsiteX5" fmla="*/ 10477 w 3371374"/>
                  <a:gd name="connsiteY5" fmla="*/ 18193 h 426434"/>
                  <a:gd name="connsiteX6" fmla="*/ 25241 w 3371374"/>
                  <a:gd name="connsiteY6" fmla="*/ 18193 h 426434"/>
                  <a:gd name="connsiteX7" fmla="*/ 25241 w 3371374"/>
                  <a:gd name="connsiteY7" fmla="*/ 30385 h 426434"/>
                  <a:gd name="connsiteX8" fmla="*/ 27337 w 3371374"/>
                  <a:gd name="connsiteY8" fmla="*/ 30385 h 426434"/>
                  <a:gd name="connsiteX9" fmla="*/ 27337 w 3371374"/>
                  <a:gd name="connsiteY9" fmla="*/ 36386 h 426434"/>
                  <a:gd name="connsiteX10" fmla="*/ 33623 w 3371374"/>
                  <a:gd name="connsiteY10" fmla="*/ 36386 h 426434"/>
                  <a:gd name="connsiteX11" fmla="*/ 33623 w 3371374"/>
                  <a:gd name="connsiteY11" fmla="*/ 42482 h 426434"/>
                  <a:gd name="connsiteX12" fmla="*/ 37814 w 3371374"/>
                  <a:gd name="connsiteY12" fmla="*/ 42482 h 426434"/>
                  <a:gd name="connsiteX13" fmla="*/ 37814 w 3371374"/>
                  <a:gd name="connsiteY13" fmla="*/ 48578 h 426434"/>
                  <a:gd name="connsiteX14" fmla="*/ 54673 w 3371374"/>
                  <a:gd name="connsiteY14" fmla="*/ 48578 h 426434"/>
                  <a:gd name="connsiteX15" fmla="*/ 54673 w 3371374"/>
                  <a:gd name="connsiteY15" fmla="*/ 60674 h 426434"/>
                  <a:gd name="connsiteX16" fmla="*/ 58864 w 3371374"/>
                  <a:gd name="connsiteY16" fmla="*/ 60674 h 426434"/>
                  <a:gd name="connsiteX17" fmla="*/ 58864 w 3371374"/>
                  <a:gd name="connsiteY17" fmla="*/ 66770 h 426434"/>
                  <a:gd name="connsiteX18" fmla="*/ 82010 w 3371374"/>
                  <a:gd name="connsiteY18" fmla="*/ 66770 h 426434"/>
                  <a:gd name="connsiteX19" fmla="*/ 82010 w 3371374"/>
                  <a:gd name="connsiteY19" fmla="*/ 72866 h 426434"/>
                  <a:gd name="connsiteX20" fmla="*/ 86201 w 3371374"/>
                  <a:gd name="connsiteY20" fmla="*/ 72866 h 426434"/>
                  <a:gd name="connsiteX21" fmla="*/ 86201 w 3371374"/>
                  <a:gd name="connsiteY21" fmla="*/ 78867 h 426434"/>
                  <a:gd name="connsiteX22" fmla="*/ 92488 w 3371374"/>
                  <a:gd name="connsiteY22" fmla="*/ 78867 h 426434"/>
                  <a:gd name="connsiteX23" fmla="*/ 92488 w 3371374"/>
                  <a:gd name="connsiteY23" fmla="*/ 91059 h 426434"/>
                  <a:gd name="connsiteX24" fmla="*/ 111442 w 3371374"/>
                  <a:gd name="connsiteY24" fmla="*/ 91059 h 426434"/>
                  <a:gd name="connsiteX25" fmla="*/ 111442 w 3371374"/>
                  <a:gd name="connsiteY25" fmla="*/ 97060 h 426434"/>
                  <a:gd name="connsiteX26" fmla="*/ 119824 w 3371374"/>
                  <a:gd name="connsiteY26" fmla="*/ 97060 h 426434"/>
                  <a:gd name="connsiteX27" fmla="*/ 119824 w 3371374"/>
                  <a:gd name="connsiteY27" fmla="*/ 103156 h 426434"/>
                  <a:gd name="connsiteX28" fmla="*/ 132493 w 3371374"/>
                  <a:gd name="connsiteY28" fmla="*/ 103156 h 426434"/>
                  <a:gd name="connsiteX29" fmla="*/ 132493 w 3371374"/>
                  <a:gd name="connsiteY29" fmla="*/ 109252 h 426434"/>
                  <a:gd name="connsiteX30" fmla="*/ 149352 w 3371374"/>
                  <a:gd name="connsiteY30" fmla="*/ 109252 h 426434"/>
                  <a:gd name="connsiteX31" fmla="*/ 149352 w 3371374"/>
                  <a:gd name="connsiteY31" fmla="*/ 115253 h 426434"/>
                  <a:gd name="connsiteX32" fmla="*/ 176689 w 3371374"/>
                  <a:gd name="connsiteY32" fmla="*/ 115253 h 426434"/>
                  <a:gd name="connsiteX33" fmla="*/ 176689 w 3371374"/>
                  <a:gd name="connsiteY33" fmla="*/ 121349 h 426434"/>
                  <a:gd name="connsiteX34" fmla="*/ 178784 w 3371374"/>
                  <a:gd name="connsiteY34" fmla="*/ 121349 h 426434"/>
                  <a:gd name="connsiteX35" fmla="*/ 178784 w 3371374"/>
                  <a:gd name="connsiteY35" fmla="*/ 127445 h 426434"/>
                  <a:gd name="connsiteX36" fmla="*/ 189261 w 3371374"/>
                  <a:gd name="connsiteY36" fmla="*/ 127445 h 426434"/>
                  <a:gd name="connsiteX37" fmla="*/ 189261 w 3371374"/>
                  <a:gd name="connsiteY37" fmla="*/ 133445 h 426434"/>
                  <a:gd name="connsiteX38" fmla="*/ 195548 w 3371374"/>
                  <a:gd name="connsiteY38" fmla="*/ 133445 h 426434"/>
                  <a:gd name="connsiteX39" fmla="*/ 195548 w 3371374"/>
                  <a:gd name="connsiteY39" fmla="*/ 145637 h 426434"/>
                  <a:gd name="connsiteX40" fmla="*/ 204025 w 3371374"/>
                  <a:gd name="connsiteY40" fmla="*/ 145637 h 426434"/>
                  <a:gd name="connsiteX41" fmla="*/ 204025 w 3371374"/>
                  <a:gd name="connsiteY41" fmla="*/ 151638 h 426434"/>
                  <a:gd name="connsiteX42" fmla="*/ 210312 w 3371374"/>
                  <a:gd name="connsiteY42" fmla="*/ 151638 h 426434"/>
                  <a:gd name="connsiteX43" fmla="*/ 210312 w 3371374"/>
                  <a:gd name="connsiteY43" fmla="*/ 163830 h 426434"/>
                  <a:gd name="connsiteX44" fmla="*/ 212407 w 3371374"/>
                  <a:gd name="connsiteY44" fmla="*/ 163830 h 426434"/>
                  <a:gd name="connsiteX45" fmla="*/ 212407 w 3371374"/>
                  <a:gd name="connsiteY45" fmla="*/ 169926 h 426434"/>
                  <a:gd name="connsiteX46" fmla="*/ 224980 w 3371374"/>
                  <a:gd name="connsiteY46" fmla="*/ 169926 h 426434"/>
                  <a:gd name="connsiteX47" fmla="*/ 224980 w 3371374"/>
                  <a:gd name="connsiteY47" fmla="*/ 175927 h 426434"/>
                  <a:gd name="connsiteX48" fmla="*/ 248126 w 3371374"/>
                  <a:gd name="connsiteY48" fmla="*/ 175927 h 426434"/>
                  <a:gd name="connsiteX49" fmla="*/ 248126 w 3371374"/>
                  <a:gd name="connsiteY49" fmla="*/ 182023 h 426434"/>
                  <a:gd name="connsiteX50" fmla="*/ 254508 w 3371374"/>
                  <a:gd name="connsiteY50" fmla="*/ 182023 h 426434"/>
                  <a:gd name="connsiteX51" fmla="*/ 254508 w 3371374"/>
                  <a:gd name="connsiteY51" fmla="*/ 188119 h 426434"/>
                  <a:gd name="connsiteX52" fmla="*/ 262890 w 3371374"/>
                  <a:gd name="connsiteY52" fmla="*/ 188119 h 426434"/>
                  <a:gd name="connsiteX53" fmla="*/ 262890 w 3371374"/>
                  <a:gd name="connsiteY53" fmla="*/ 194120 h 426434"/>
                  <a:gd name="connsiteX54" fmla="*/ 271272 w 3371374"/>
                  <a:gd name="connsiteY54" fmla="*/ 194120 h 426434"/>
                  <a:gd name="connsiteX55" fmla="*/ 271272 w 3371374"/>
                  <a:gd name="connsiteY55" fmla="*/ 200216 h 426434"/>
                  <a:gd name="connsiteX56" fmla="*/ 275463 w 3371374"/>
                  <a:gd name="connsiteY56" fmla="*/ 200216 h 426434"/>
                  <a:gd name="connsiteX57" fmla="*/ 275463 w 3371374"/>
                  <a:gd name="connsiteY57" fmla="*/ 206312 h 426434"/>
                  <a:gd name="connsiteX58" fmla="*/ 349091 w 3371374"/>
                  <a:gd name="connsiteY58" fmla="*/ 206312 h 426434"/>
                  <a:gd name="connsiteX59" fmla="*/ 349091 w 3371374"/>
                  <a:gd name="connsiteY59" fmla="*/ 212312 h 426434"/>
                  <a:gd name="connsiteX60" fmla="*/ 370141 w 3371374"/>
                  <a:gd name="connsiteY60" fmla="*/ 212312 h 426434"/>
                  <a:gd name="connsiteX61" fmla="*/ 370141 w 3371374"/>
                  <a:gd name="connsiteY61" fmla="*/ 218408 h 426434"/>
                  <a:gd name="connsiteX62" fmla="*/ 376428 w 3371374"/>
                  <a:gd name="connsiteY62" fmla="*/ 218408 h 426434"/>
                  <a:gd name="connsiteX63" fmla="*/ 376428 w 3371374"/>
                  <a:gd name="connsiteY63" fmla="*/ 224504 h 426434"/>
                  <a:gd name="connsiteX64" fmla="*/ 418528 w 3371374"/>
                  <a:gd name="connsiteY64" fmla="*/ 224504 h 426434"/>
                  <a:gd name="connsiteX65" fmla="*/ 418528 w 3371374"/>
                  <a:gd name="connsiteY65" fmla="*/ 230505 h 426434"/>
                  <a:gd name="connsiteX66" fmla="*/ 433197 w 3371374"/>
                  <a:gd name="connsiteY66" fmla="*/ 230505 h 426434"/>
                  <a:gd name="connsiteX67" fmla="*/ 433197 w 3371374"/>
                  <a:gd name="connsiteY67" fmla="*/ 236601 h 426434"/>
                  <a:gd name="connsiteX68" fmla="*/ 462724 w 3371374"/>
                  <a:gd name="connsiteY68" fmla="*/ 236601 h 426434"/>
                  <a:gd name="connsiteX69" fmla="*/ 462724 w 3371374"/>
                  <a:gd name="connsiteY69" fmla="*/ 242697 h 426434"/>
                  <a:gd name="connsiteX70" fmla="*/ 464820 w 3371374"/>
                  <a:gd name="connsiteY70" fmla="*/ 242697 h 426434"/>
                  <a:gd name="connsiteX71" fmla="*/ 464820 w 3371374"/>
                  <a:gd name="connsiteY71" fmla="*/ 248698 h 426434"/>
                  <a:gd name="connsiteX72" fmla="*/ 487870 w 3371374"/>
                  <a:gd name="connsiteY72" fmla="*/ 248698 h 426434"/>
                  <a:gd name="connsiteX73" fmla="*/ 487870 w 3371374"/>
                  <a:gd name="connsiteY73" fmla="*/ 254794 h 426434"/>
                  <a:gd name="connsiteX74" fmla="*/ 500539 w 3371374"/>
                  <a:gd name="connsiteY74" fmla="*/ 254794 h 426434"/>
                  <a:gd name="connsiteX75" fmla="*/ 500539 w 3371374"/>
                  <a:gd name="connsiteY75" fmla="*/ 260890 h 426434"/>
                  <a:gd name="connsiteX76" fmla="*/ 536257 w 3371374"/>
                  <a:gd name="connsiteY76" fmla="*/ 260890 h 426434"/>
                  <a:gd name="connsiteX77" fmla="*/ 536257 w 3371374"/>
                  <a:gd name="connsiteY77" fmla="*/ 266986 h 426434"/>
                  <a:gd name="connsiteX78" fmla="*/ 651986 w 3371374"/>
                  <a:gd name="connsiteY78" fmla="*/ 266986 h 426434"/>
                  <a:gd name="connsiteX79" fmla="*/ 651986 w 3371374"/>
                  <a:gd name="connsiteY79" fmla="*/ 272987 h 426434"/>
                  <a:gd name="connsiteX80" fmla="*/ 689800 w 3371374"/>
                  <a:gd name="connsiteY80" fmla="*/ 272987 h 426434"/>
                  <a:gd name="connsiteX81" fmla="*/ 689800 w 3371374"/>
                  <a:gd name="connsiteY81" fmla="*/ 279178 h 426434"/>
                  <a:gd name="connsiteX82" fmla="*/ 742378 w 3371374"/>
                  <a:gd name="connsiteY82" fmla="*/ 279178 h 426434"/>
                  <a:gd name="connsiteX83" fmla="*/ 742378 w 3371374"/>
                  <a:gd name="connsiteY83" fmla="*/ 285274 h 426434"/>
                  <a:gd name="connsiteX84" fmla="*/ 761333 w 3371374"/>
                  <a:gd name="connsiteY84" fmla="*/ 285274 h 426434"/>
                  <a:gd name="connsiteX85" fmla="*/ 761333 w 3371374"/>
                  <a:gd name="connsiteY85" fmla="*/ 291370 h 426434"/>
                  <a:gd name="connsiteX86" fmla="*/ 771811 w 3371374"/>
                  <a:gd name="connsiteY86" fmla="*/ 291370 h 426434"/>
                  <a:gd name="connsiteX87" fmla="*/ 771811 w 3371374"/>
                  <a:gd name="connsiteY87" fmla="*/ 297561 h 426434"/>
                  <a:gd name="connsiteX88" fmla="*/ 805529 w 3371374"/>
                  <a:gd name="connsiteY88" fmla="*/ 297561 h 426434"/>
                  <a:gd name="connsiteX89" fmla="*/ 805529 w 3371374"/>
                  <a:gd name="connsiteY89" fmla="*/ 303657 h 426434"/>
                  <a:gd name="connsiteX90" fmla="*/ 811816 w 3371374"/>
                  <a:gd name="connsiteY90" fmla="*/ 303657 h 426434"/>
                  <a:gd name="connsiteX91" fmla="*/ 811816 w 3371374"/>
                  <a:gd name="connsiteY91" fmla="*/ 309753 h 426434"/>
                  <a:gd name="connsiteX92" fmla="*/ 826484 w 3371374"/>
                  <a:gd name="connsiteY92" fmla="*/ 309753 h 426434"/>
                  <a:gd name="connsiteX93" fmla="*/ 826484 w 3371374"/>
                  <a:gd name="connsiteY93" fmla="*/ 315849 h 426434"/>
                  <a:gd name="connsiteX94" fmla="*/ 839152 w 3371374"/>
                  <a:gd name="connsiteY94" fmla="*/ 315849 h 426434"/>
                  <a:gd name="connsiteX95" fmla="*/ 839152 w 3371374"/>
                  <a:gd name="connsiteY95" fmla="*/ 322040 h 426434"/>
                  <a:gd name="connsiteX96" fmla="*/ 864394 w 3371374"/>
                  <a:gd name="connsiteY96" fmla="*/ 322040 h 426434"/>
                  <a:gd name="connsiteX97" fmla="*/ 864394 w 3371374"/>
                  <a:gd name="connsiteY97" fmla="*/ 328136 h 426434"/>
                  <a:gd name="connsiteX98" fmla="*/ 1093660 w 3371374"/>
                  <a:gd name="connsiteY98" fmla="*/ 328136 h 426434"/>
                  <a:gd name="connsiteX99" fmla="*/ 1093660 w 3371374"/>
                  <a:gd name="connsiteY99" fmla="*/ 334328 h 426434"/>
                  <a:gd name="connsiteX100" fmla="*/ 1207198 w 3371374"/>
                  <a:gd name="connsiteY100" fmla="*/ 334328 h 426434"/>
                  <a:gd name="connsiteX101" fmla="*/ 1207198 w 3371374"/>
                  <a:gd name="connsiteY101" fmla="*/ 340519 h 426434"/>
                  <a:gd name="connsiteX102" fmla="*/ 1476375 w 3371374"/>
                  <a:gd name="connsiteY102" fmla="*/ 340519 h 426434"/>
                  <a:gd name="connsiteX103" fmla="*/ 1476375 w 3371374"/>
                  <a:gd name="connsiteY103" fmla="*/ 346805 h 426434"/>
                  <a:gd name="connsiteX104" fmla="*/ 1550003 w 3371374"/>
                  <a:gd name="connsiteY104" fmla="*/ 346805 h 426434"/>
                  <a:gd name="connsiteX105" fmla="*/ 1550003 w 3371374"/>
                  <a:gd name="connsiteY105" fmla="*/ 353092 h 426434"/>
                  <a:gd name="connsiteX106" fmla="*/ 1629918 w 3371374"/>
                  <a:gd name="connsiteY106" fmla="*/ 353092 h 426434"/>
                  <a:gd name="connsiteX107" fmla="*/ 1629918 w 3371374"/>
                  <a:gd name="connsiteY107" fmla="*/ 359378 h 426434"/>
                  <a:gd name="connsiteX108" fmla="*/ 1791843 w 3371374"/>
                  <a:gd name="connsiteY108" fmla="*/ 359378 h 426434"/>
                  <a:gd name="connsiteX109" fmla="*/ 1791843 w 3371374"/>
                  <a:gd name="connsiteY109" fmla="*/ 365855 h 426434"/>
                  <a:gd name="connsiteX110" fmla="*/ 1808702 w 3371374"/>
                  <a:gd name="connsiteY110" fmla="*/ 365855 h 426434"/>
                  <a:gd name="connsiteX111" fmla="*/ 1808702 w 3371374"/>
                  <a:gd name="connsiteY111" fmla="*/ 372237 h 426434"/>
                  <a:gd name="connsiteX112" fmla="*/ 1926526 w 3371374"/>
                  <a:gd name="connsiteY112" fmla="*/ 372237 h 426434"/>
                  <a:gd name="connsiteX113" fmla="*/ 1926526 w 3371374"/>
                  <a:gd name="connsiteY113" fmla="*/ 378714 h 426434"/>
                  <a:gd name="connsiteX114" fmla="*/ 2019014 w 3371374"/>
                  <a:gd name="connsiteY114" fmla="*/ 378714 h 426434"/>
                  <a:gd name="connsiteX115" fmla="*/ 2019014 w 3371374"/>
                  <a:gd name="connsiteY115" fmla="*/ 385096 h 426434"/>
                  <a:gd name="connsiteX116" fmla="*/ 2037969 w 3371374"/>
                  <a:gd name="connsiteY116" fmla="*/ 385096 h 426434"/>
                  <a:gd name="connsiteX117" fmla="*/ 2037969 w 3371374"/>
                  <a:gd name="connsiteY117" fmla="*/ 391573 h 426434"/>
                  <a:gd name="connsiteX118" fmla="*/ 2891790 w 3371374"/>
                  <a:gd name="connsiteY118" fmla="*/ 391573 h 426434"/>
                  <a:gd name="connsiteX119" fmla="*/ 2891790 w 3371374"/>
                  <a:gd name="connsiteY119" fmla="*/ 426434 h 426434"/>
                  <a:gd name="connsiteX120" fmla="*/ 3371374 w 3371374"/>
                  <a:gd name="connsiteY120" fmla="*/ 426434 h 426434"/>
                  <a:gd name="connsiteX0" fmla="*/ 0 w 3371374"/>
                  <a:gd name="connsiteY0" fmla="*/ 0 h 426434"/>
                  <a:gd name="connsiteX1" fmla="*/ 0 w 3371374"/>
                  <a:gd name="connsiteY1" fmla="*/ 6096 h 426434"/>
                  <a:gd name="connsiteX2" fmla="*/ 8382 w 3371374"/>
                  <a:gd name="connsiteY2" fmla="*/ 12192 h 426434"/>
                  <a:gd name="connsiteX3" fmla="*/ 10477 w 3371374"/>
                  <a:gd name="connsiteY3" fmla="*/ 12192 h 426434"/>
                  <a:gd name="connsiteX4" fmla="*/ 10477 w 3371374"/>
                  <a:gd name="connsiteY4" fmla="*/ 18193 h 426434"/>
                  <a:gd name="connsiteX5" fmla="*/ 25241 w 3371374"/>
                  <a:gd name="connsiteY5" fmla="*/ 18193 h 426434"/>
                  <a:gd name="connsiteX6" fmla="*/ 25241 w 3371374"/>
                  <a:gd name="connsiteY6" fmla="*/ 30385 h 426434"/>
                  <a:gd name="connsiteX7" fmla="*/ 27337 w 3371374"/>
                  <a:gd name="connsiteY7" fmla="*/ 30385 h 426434"/>
                  <a:gd name="connsiteX8" fmla="*/ 27337 w 3371374"/>
                  <a:gd name="connsiteY8" fmla="*/ 36386 h 426434"/>
                  <a:gd name="connsiteX9" fmla="*/ 33623 w 3371374"/>
                  <a:gd name="connsiteY9" fmla="*/ 36386 h 426434"/>
                  <a:gd name="connsiteX10" fmla="*/ 33623 w 3371374"/>
                  <a:gd name="connsiteY10" fmla="*/ 42482 h 426434"/>
                  <a:gd name="connsiteX11" fmla="*/ 37814 w 3371374"/>
                  <a:gd name="connsiteY11" fmla="*/ 42482 h 426434"/>
                  <a:gd name="connsiteX12" fmla="*/ 37814 w 3371374"/>
                  <a:gd name="connsiteY12" fmla="*/ 48578 h 426434"/>
                  <a:gd name="connsiteX13" fmla="*/ 54673 w 3371374"/>
                  <a:gd name="connsiteY13" fmla="*/ 48578 h 426434"/>
                  <a:gd name="connsiteX14" fmla="*/ 54673 w 3371374"/>
                  <a:gd name="connsiteY14" fmla="*/ 60674 h 426434"/>
                  <a:gd name="connsiteX15" fmla="*/ 58864 w 3371374"/>
                  <a:gd name="connsiteY15" fmla="*/ 60674 h 426434"/>
                  <a:gd name="connsiteX16" fmla="*/ 58864 w 3371374"/>
                  <a:gd name="connsiteY16" fmla="*/ 66770 h 426434"/>
                  <a:gd name="connsiteX17" fmla="*/ 82010 w 3371374"/>
                  <a:gd name="connsiteY17" fmla="*/ 66770 h 426434"/>
                  <a:gd name="connsiteX18" fmla="*/ 82010 w 3371374"/>
                  <a:gd name="connsiteY18" fmla="*/ 72866 h 426434"/>
                  <a:gd name="connsiteX19" fmla="*/ 86201 w 3371374"/>
                  <a:gd name="connsiteY19" fmla="*/ 72866 h 426434"/>
                  <a:gd name="connsiteX20" fmla="*/ 86201 w 3371374"/>
                  <a:gd name="connsiteY20" fmla="*/ 78867 h 426434"/>
                  <a:gd name="connsiteX21" fmla="*/ 92488 w 3371374"/>
                  <a:gd name="connsiteY21" fmla="*/ 78867 h 426434"/>
                  <a:gd name="connsiteX22" fmla="*/ 92488 w 3371374"/>
                  <a:gd name="connsiteY22" fmla="*/ 91059 h 426434"/>
                  <a:gd name="connsiteX23" fmla="*/ 111442 w 3371374"/>
                  <a:gd name="connsiteY23" fmla="*/ 91059 h 426434"/>
                  <a:gd name="connsiteX24" fmla="*/ 111442 w 3371374"/>
                  <a:gd name="connsiteY24" fmla="*/ 97060 h 426434"/>
                  <a:gd name="connsiteX25" fmla="*/ 119824 w 3371374"/>
                  <a:gd name="connsiteY25" fmla="*/ 97060 h 426434"/>
                  <a:gd name="connsiteX26" fmla="*/ 119824 w 3371374"/>
                  <a:gd name="connsiteY26" fmla="*/ 103156 h 426434"/>
                  <a:gd name="connsiteX27" fmla="*/ 132493 w 3371374"/>
                  <a:gd name="connsiteY27" fmla="*/ 103156 h 426434"/>
                  <a:gd name="connsiteX28" fmla="*/ 132493 w 3371374"/>
                  <a:gd name="connsiteY28" fmla="*/ 109252 h 426434"/>
                  <a:gd name="connsiteX29" fmla="*/ 149352 w 3371374"/>
                  <a:gd name="connsiteY29" fmla="*/ 109252 h 426434"/>
                  <a:gd name="connsiteX30" fmla="*/ 149352 w 3371374"/>
                  <a:gd name="connsiteY30" fmla="*/ 115253 h 426434"/>
                  <a:gd name="connsiteX31" fmla="*/ 176689 w 3371374"/>
                  <a:gd name="connsiteY31" fmla="*/ 115253 h 426434"/>
                  <a:gd name="connsiteX32" fmla="*/ 176689 w 3371374"/>
                  <a:gd name="connsiteY32" fmla="*/ 121349 h 426434"/>
                  <a:gd name="connsiteX33" fmla="*/ 178784 w 3371374"/>
                  <a:gd name="connsiteY33" fmla="*/ 121349 h 426434"/>
                  <a:gd name="connsiteX34" fmla="*/ 178784 w 3371374"/>
                  <a:gd name="connsiteY34" fmla="*/ 127445 h 426434"/>
                  <a:gd name="connsiteX35" fmla="*/ 189261 w 3371374"/>
                  <a:gd name="connsiteY35" fmla="*/ 127445 h 426434"/>
                  <a:gd name="connsiteX36" fmla="*/ 189261 w 3371374"/>
                  <a:gd name="connsiteY36" fmla="*/ 133445 h 426434"/>
                  <a:gd name="connsiteX37" fmla="*/ 195548 w 3371374"/>
                  <a:gd name="connsiteY37" fmla="*/ 133445 h 426434"/>
                  <a:gd name="connsiteX38" fmla="*/ 195548 w 3371374"/>
                  <a:gd name="connsiteY38" fmla="*/ 145637 h 426434"/>
                  <a:gd name="connsiteX39" fmla="*/ 204025 w 3371374"/>
                  <a:gd name="connsiteY39" fmla="*/ 145637 h 426434"/>
                  <a:gd name="connsiteX40" fmla="*/ 204025 w 3371374"/>
                  <a:gd name="connsiteY40" fmla="*/ 151638 h 426434"/>
                  <a:gd name="connsiteX41" fmla="*/ 210312 w 3371374"/>
                  <a:gd name="connsiteY41" fmla="*/ 151638 h 426434"/>
                  <a:gd name="connsiteX42" fmla="*/ 210312 w 3371374"/>
                  <a:gd name="connsiteY42" fmla="*/ 163830 h 426434"/>
                  <a:gd name="connsiteX43" fmla="*/ 212407 w 3371374"/>
                  <a:gd name="connsiteY43" fmla="*/ 163830 h 426434"/>
                  <a:gd name="connsiteX44" fmla="*/ 212407 w 3371374"/>
                  <a:gd name="connsiteY44" fmla="*/ 169926 h 426434"/>
                  <a:gd name="connsiteX45" fmla="*/ 224980 w 3371374"/>
                  <a:gd name="connsiteY45" fmla="*/ 169926 h 426434"/>
                  <a:gd name="connsiteX46" fmla="*/ 224980 w 3371374"/>
                  <a:gd name="connsiteY46" fmla="*/ 175927 h 426434"/>
                  <a:gd name="connsiteX47" fmla="*/ 248126 w 3371374"/>
                  <a:gd name="connsiteY47" fmla="*/ 175927 h 426434"/>
                  <a:gd name="connsiteX48" fmla="*/ 248126 w 3371374"/>
                  <a:gd name="connsiteY48" fmla="*/ 182023 h 426434"/>
                  <a:gd name="connsiteX49" fmla="*/ 254508 w 3371374"/>
                  <a:gd name="connsiteY49" fmla="*/ 182023 h 426434"/>
                  <a:gd name="connsiteX50" fmla="*/ 254508 w 3371374"/>
                  <a:gd name="connsiteY50" fmla="*/ 188119 h 426434"/>
                  <a:gd name="connsiteX51" fmla="*/ 262890 w 3371374"/>
                  <a:gd name="connsiteY51" fmla="*/ 188119 h 426434"/>
                  <a:gd name="connsiteX52" fmla="*/ 262890 w 3371374"/>
                  <a:gd name="connsiteY52" fmla="*/ 194120 h 426434"/>
                  <a:gd name="connsiteX53" fmla="*/ 271272 w 3371374"/>
                  <a:gd name="connsiteY53" fmla="*/ 194120 h 426434"/>
                  <a:gd name="connsiteX54" fmla="*/ 271272 w 3371374"/>
                  <a:gd name="connsiteY54" fmla="*/ 200216 h 426434"/>
                  <a:gd name="connsiteX55" fmla="*/ 275463 w 3371374"/>
                  <a:gd name="connsiteY55" fmla="*/ 200216 h 426434"/>
                  <a:gd name="connsiteX56" fmla="*/ 275463 w 3371374"/>
                  <a:gd name="connsiteY56" fmla="*/ 206312 h 426434"/>
                  <a:gd name="connsiteX57" fmla="*/ 349091 w 3371374"/>
                  <a:gd name="connsiteY57" fmla="*/ 206312 h 426434"/>
                  <a:gd name="connsiteX58" fmla="*/ 349091 w 3371374"/>
                  <a:gd name="connsiteY58" fmla="*/ 212312 h 426434"/>
                  <a:gd name="connsiteX59" fmla="*/ 370141 w 3371374"/>
                  <a:gd name="connsiteY59" fmla="*/ 212312 h 426434"/>
                  <a:gd name="connsiteX60" fmla="*/ 370141 w 3371374"/>
                  <a:gd name="connsiteY60" fmla="*/ 218408 h 426434"/>
                  <a:gd name="connsiteX61" fmla="*/ 376428 w 3371374"/>
                  <a:gd name="connsiteY61" fmla="*/ 218408 h 426434"/>
                  <a:gd name="connsiteX62" fmla="*/ 376428 w 3371374"/>
                  <a:gd name="connsiteY62" fmla="*/ 224504 h 426434"/>
                  <a:gd name="connsiteX63" fmla="*/ 418528 w 3371374"/>
                  <a:gd name="connsiteY63" fmla="*/ 224504 h 426434"/>
                  <a:gd name="connsiteX64" fmla="*/ 418528 w 3371374"/>
                  <a:gd name="connsiteY64" fmla="*/ 230505 h 426434"/>
                  <a:gd name="connsiteX65" fmla="*/ 433197 w 3371374"/>
                  <a:gd name="connsiteY65" fmla="*/ 230505 h 426434"/>
                  <a:gd name="connsiteX66" fmla="*/ 433197 w 3371374"/>
                  <a:gd name="connsiteY66" fmla="*/ 236601 h 426434"/>
                  <a:gd name="connsiteX67" fmla="*/ 462724 w 3371374"/>
                  <a:gd name="connsiteY67" fmla="*/ 236601 h 426434"/>
                  <a:gd name="connsiteX68" fmla="*/ 462724 w 3371374"/>
                  <a:gd name="connsiteY68" fmla="*/ 242697 h 426434"/>
                  <a:gd name="connsiteX69" fmla="*/ 464820 w 3371374"/>
                  <a:gd name="connsiteY69" fmla="*/ 242697 h 426434"/>
                  <a:gd name="connsiteX70" fmla="*/ 464820 w 3371374"/>
                  <a:gd name="connsiteY70" fmla="*/ 248698 h 426434"/>
                  <a:gd name="connsiteX71" fmla="*/ 487870 w 3371374"/>
                  <a:gd name="connsiteY71" fmla="*/ 248698 h 426434"/>
                  <a:gd name="connsiteX72" fmla="*/ 487870 w 3371374"/>
                  <a:gd name="connsiteY72" fmla="*/ 254794 h 426434"/>
                  <a:gd name="connsiteX73" fmla="*/ 500539 w 3371374"/>
                  <a:gd name="connsiteY73" fmla="*/ 254794 h 426434"/>
                  <a:gd name="connsiteX74" fmla="*/ 500539 w 3371374"/>
                  <a:gd name="connsiteY74" fmla="*/ 260890 h 426434"/>
                  <a:gd name="connsiteX75" fmla="*/ 536257 w 3371374"/>
                  <a:gd name="connsiteY75" fmla="*/ 260890 h 426434"/>
                  <a:gd name="connsiteX76" fmla="*/ 536257 w 3371374"/>
                  <a:gd name="connsiteY76" fmla="*/ 266986 h 426434"/>
                  <a:gd name="connsiteX77" fmla="*/ 651986 w 3371374"/>
                  <a:gd name="connsiteY77" fmla="*/ 266986 h 426434"/>
                  <a:gd name="connsiteX78" fmla="*/ 651986 w 3371374"/>
                  <a:gd name="connsiteY78" fmla="*/ 272987 h 426434"/>
                  <a:gd name="connsiteX79" fmla="*/ 689800 w 3371374"/>
                  <a:gd name="connsiteY79" fmla="*/ 272987 h 426434"/>
                  <a:gd name="connsiteX80" fmla="*/ 689800 w 3371374"/>
                  <a:gd name="connsiteY80" fmla="*/ 279178 h 426434"/>
                  <a:gd name="connsiteX81" fmla="*/ 742378 w 3371374"/>
                  <a:gd name="connsiteY81" fmla="*/ 279178 h 426434"/>
                  <a:gd name="connsiteX82" fmla="*/ 742378 w 3371374"/>
                  <a:gd name="connsiteY82" fmla="*/ 285274 h 426434"/>
                  <a:gd name="connsiteX83" fmla="*/ 761333 w 3371374"/>
                  <a:gd name="connsiteY83" fmla="*/ 285274 h 426434"/>
                  <a:gd name="connsiteX84" fmla="*/ 761333 w 3371374"/>
                  <a:gd name="connsiteY84" fmla="*/ 291370 h 426434"/>
                  <a:gd name="connsiteX85" fmla="*/ 771811 w 3371374"/>
                  <a:gd name="connsiteY85" fmla="*/ 291370 h 426434"/>
                  <a:gd name="connsiteX86" fmla="*/ 771811 w 3371374"/>
                  <a:gd name="connsiteY86" fmla="*/ 297561 h 426434"/>
                  <a:gd name="connsiteX87" fmla="*/ 805529 w 3371374"/>
                  <a:gd name="connsiteY87" fmla="*/ 297561 h 426434"/>
                  <a:gd name="connsiteX88" fmla="*/ 805529 w 3371374"/>
                  <a:gd name="connsiteY88" fmla="*/ 303657 h 426434"/>
                  <a:gd name="connsiteX89" fmla="*/ 811816 w 3371374"/>
                  <a:gd name="connsiteY89" fmla="*/ 303657 h 426434"/>
                  <a:gd name="connsiteX90" fmla="*/ 811816 w 3371374"/>
                  <a:gd name="connsiteY90" fmla="*/ 309753 h 426434"/>
                  <a:gd name="connsiteX91" fmla="*/ 826484 w 3371374"/>
                  <a:gd name="connsiteY91" fmla="*/ 309753 h 426434"/>
                  <a:gd name="connsiteX92" fmla="*/ 826484 w 3371374"/>
                  <a:gd name="connsiteY92" fmla="*/ 315849 h 426434"/>
                  <a:gd name="connsiteX93" fmla="*/ 839152 w 3371374"/>
                  <a:gd name="connsiteY93" fmla="*/ 315849 h 426434"/>
                  <a:gd name="connsiteX94" fmla="*/ 839152 w 3371374"/>
                  <a:gd name="connsiteY94" fmla="*/ 322040 h 426434"/>
                  <a:gd name="connsiteX95" fmla="*/ 864394 w 3371374"/>
                  <a:gd name="connsiteY95" fmla="*/ 322040 h 426434"/>
                  <a:gd name="connsiteX96" fmla="*/ 864394 w 3371374"/>
                  <a:gd name="connsiteY96" fmla="*/ 328136 h 426434"/>
                  <a:gd name="connsiteX97" fmla="*/ 1093660 w 3371374"/>
                  <a:gd name="connsiteY97" fmla="*/ 328136 h 426434"/>
                  <a:gd name="connsiteX98" fmla="*/ 1093660 w 3371374"/>
                  <a:gd name="connsiteY98" fmla="*/ 334328 h 426434"/>
                  <a:gd name="connsiteX99" fmla="*/ 1207198 w 3371374"/>
                  <a:gd name="connsiteY99" fmla="*/ 334328 h 426434"/>
                  <a:gd name="connsiteX100" fmla="*/ 1207198 w 3371374"/>
                  <a:gd name="connsiteY100" fmla="*/ 340519 h 426434"/>
                  <a:gd name="connsiteX101" fmla="*/ 1476375 w 3371374"/>
                  <a:gd name="connsiteY101" fmla="*/ 340519 h 426434"/>
                  <a:gd name="connsiteX102" fmla="*/ 1476375 w 3371374"/>
                  <a:gd name="connsiteY102" fmla="*/ 346805 h 426434"/>
                  <a:gd name="connsiteX103" fmla="*/ 1550003 w 3371374"/>
                  <a:gd name="connsiteY103" fmla="*/ 346805 h 426434"/>
                  <a:gd name="connsiteX104" fmla="*/ 1550003 w 3371374"/>
                  <a:gd name="connsiteY104" fmla="*/ 353092 h 426434"/>
                  <a:gd name="connsiteX105" fmla="*/ 1629918 w 3371374"/>
                  <a:gd name="connsiteY105" fmla="*/ 353092 h 426434"/>
                  <a:gd name="connsiteX106" fmla="*/ 1629918 w 3371374"/>
                  <a:gd name="connsiteY106" fmla="*/ 359378 h 426434"/>
                  <a:gd name="connsiteX107" fmla="*/ 1791843 w 3371374"/>
                  <a:gd name="connsiteY107" fmla="*/ 359378 h 426434"/>
                  <a:gd name="connsiteX108" fmla="*/ 1791843 w 3371374"/>
                  <a:gd name="connsiteY108" fmla="*/ 365855 h 426434"/>
                  <a:gd name="connsiteX109" fmla="*/ 1808702 w 3371374"/>
                  <a:gd name="connsiteY109" fmla="*/ 365855 h 426434"/>
                  <a:gd name="connsiteX110" fmla="*/ 1808702 w 3371374"/>
                  <a:gd name="connsiteY110" fmla="*/ 372237 h 426434"/>
                  <a:gd name="connsiteX111" fmla="*/ 1926526 w 3371374"/>
                  <a:gd name="connsiteY111" fmla="*/ 372237 h 426434"/>
                  <a:gd name="connsiteX112" fmla="*/ 1926526 w 3371374"/>
                  <a:gd name="connsiteY112" fmla="*/ 378714 h 426434"/>
                  <a:gd name="connsiteX113" fmla="*/ 2019014 w 3371374"/>
                  <a:gd name="connsiteY113" fmla="*/ 378714 h 426434"/>
                  <a:gd name="connsiteX114" fmla="*/ 2019014 w 3371374"/>
                  <a:gd name="connsiteY114" fmla="*/ 385096 h 426434"/>
                  <a:gd name="connsiteX115" fmla="*/ 2037969 w 3371374"/>
                  <a:gd name="connsiteY115" fmla="*/ 385096 h 426434"/>
                  <a:gd name="connsiteX116" fmla="*/ 2037969 w 3371374"/>
                  <a:gd name="connsiteY116" fmla="*/ 391573 h 426434"/>
                  <a:gd name="connsiteX117" fmla="*/ 2891790 w 3371374"/>
                  <a:gd name="connsiteY117" fmla="*/ 391573 h 426434"/>
                  <a:gd name="connsiteX118" fmla="*/ 2891790 w 3371374"/>
                  <a:gd name="connsiteY118" fmla="*/ 426434 h 426434"/>
                  <a:gd name="connsiteX119" fmla="*/ 3371374 w 3371374"/>
                  <a:gd name="connsiteY119" fmla="*/ 426434 h 426434"/>
                  <a:gd name="connsiteX0" fmla="*/ 0 w 3371374"/>
                  <a:gd name="connsiteY0" fmla="*/ 0 h 420338"/>
                  <a:gd name="connsiteX1" fmla="*/ 8382 w 3371374"/>
                  <a:gd name="connsiteY1" fmla="*/ 6096 h 420338"/>
                  <a:gd name="connsiteX2" fmla="*/ 10477 w 3371374"/>
                  <a:gd name="connsiteY2" fmla="*/ 6096 h 420338"/>
                  <a:gd name="connsiteX3" fmla="*/ 10477 w 3371374"/>
                  <a:gd name="connsiteY3" fmla="*/ 12097 h 420338"/>
                  <a:gd name="connsiteX4" fmla="*/ 25241 w 3371374"/>
                  <a:gd name="connsiteY4" fmla="*/ 12097 h 420338"/>
                  <a:gd name="connsiteX5" fmla="*/ 25241 w 3371374"/>
                  <a:gd name="connsiteY5" fmla="*/ 24289 h 420338"/>
                  <a:gd name="connsiteX6" fmla="*/ 27337 w 3371374"/>
                  <a:gd name="connsiteY6" fmla="*/ 24289 h 420338"/>
                  <a:gd name="connsiteX7" fmla="*/ 27337 w 3371374"/>
                  <a:gd name="connsiteY7" fmla="*/ 30290 h 420338"/>
                  <a:gd name="connsiteX8" fmla="*/ 33623 w 3371374"/>
                  <a:gd name="connsiteY8" fmla="*/ 30290 h 420338"/>
                  <a:gd name="connsiteX9" fmla="*/ 33623 w 3371374"/>
                  <a:gd name="connsiteY9" fmla="*/ 36386 h 420338"/>
                  <a:gd name="connsiteX10" fmla="*/ 37814 w 3371374"/>
                  <a:gd name="connsiteY10" fmla="*/ 36386 h 420338"/>
                  <a:gd name="connsiteX11" fmla="*/ 37814 w 3371374"/>
                  <a:gd name="connsiteY11" fmla="*/ 42482 h 420338"/>
                  <a:gd name="connsiteX12" fmla="*/ 54673 w 3371374"/>
                  <a:gd name="connsiteY12" fmla="*/ 42482 h 420338"/>
                  <a:gd name="connsiteX13" fmla="*/ 54673 w 3371374"/>
                  <a:gd name="connsiteY13" fmla="*/ 54578 h 420338"/>
                  <a:gd name="connsiteX14" fmla="*/ 58864 w 3371374"/>
                  <a:gd name="connsiteY14" fmla="*/ 54578 h 420338"/>
                  <a:gd name="connsiteX15" fmla="*/ 58864 w 3371374"/>
                  <a:gd name="connsiteY15" fmla="*/ 60674 h 420338"/>
                  <a:gd name="connsiteX16" fmla="*/ 82010 w 3371374"/>
                  <a:gd name="connsiteY16" fmla="*/ 60674 h 420338"/>
                  <a:gd name="connsiteX17" fmla="*/ 82010 w 3371374"/>
                  <a:gd name="connsiteY17" fmla="*/ 66770 h 420338"/>
                  <a:gd name="connsiteX18" fmla="*/ 86201 w 3371374"/>
                  <a:gd name="connsiteY18" fmla="*/ 66770 h 420338"/>
                  <a:gd name="connsiteX19" fmla="*/ 86201 w 3371374"/>
                  <a:gd name="connsiteY19" fmla="*/ 72771 h 420338"/>
                  <a:gd name="connsiteX20" fmla="*/ 92488 w 3371374"/>
                  <a:gd name="connsiteY20" fmla="*/ 72771 h 420338"/>
                  <a:gd name="connsiteX21" fmla="*/ 92488 w 3371374"/>
                  <a:gd name="connsiteY21" fmla="*/ 84963 h 420338"/>
                  <a:gd name="connsiteX22" fmla="*/ 111442 w 3371374"/>
                  <a:gd name="connsiteY22" fmla="*/ 84963 h 420338"/>
                  <a:gd name="connsiteX23" fmla="*/ 111442 w 3371374"/>
                  <a:gd name="connsiteY23" fmla="*/ 90964 h 420338"/>
                  <a:gd name="connsiteX24" fmla="*/ 119824 w 3371374"/>
                  <a:gd name="connsiteY24" fmla="*/ 90964 h 420338"/>
                  <a:gd name="connsiteX25" fmla="*/ 119824 w 3371374"/>
                  <a:gd name="connsiteY25" fmla="*/ 97060 h 420338"/>
                  <a:gd name="connsiteX26" fmla="*/ 132493 w 3371374"/>
                  <a:gd name="connsiteY26" fmla="*/ 97060 h 420338"/>
                  <a:gd name="connsiteX27" fmla="*/ 132493 w 3371374"/>
                  <a:gd name="connsiteY27" fmla="*/ 103156 h 420338"/>
                  <a:gd name="connsiteX28" fmla="*/ 149352 w 3371374"/>
                  <a:gd name="connsiteY28" fmla="*/ 103156 h 420338"/>
                  <a:gd name="connsiteX29" fmla="*/ 149352 w 3371374"/>
                  <a:gd name="connsiteY29" fmla="*/ 109157 h 420338"/>
                  <a:gd name="connsiteX30" fmla="*/ 176689 w 3371374"/>
                  <a:gd name="connsiteY30" fmla="*/ 109157 h 420338"/>
                  <a:gd name="connsiteX31" fmla="*/ 176689 w 3371374"/>
                  <a:gd name="connsiteY31" fmla="*/ 115253 h 420338"/>
                  <a:gd name="connsiteX32" fmla="*/ 178784 w 3371374"/>
                  <a:gd name="connsiteY32" fmla="*/ 115253 h 420338"/>
                  <a:gd name="connsiteX33" fmla="*/ 178784 w 3371374"/>
                  <a:gd name="connsiteY33" fmla="*/ 121349 h 420338"/>
                  <a:gd name="connsiteX34" fmla="*/ 189261 w 3371374"/>
                  <a:gd name="connsiteY34" fmla="*/ 121349 h 420338"/>
                  <a:gd name="connsiteX35" fmla="*/ 189261 w 3371374"/>
                  <a:gd name="connsiteY35" fmla="*/ 127349 h 420338"/>
                  <a:gd name="connsiteX36" fmla="*/ 195548 w 3371374"/>
                  <a:gd name="connsiteY36" fmla="*/ 127349 h 420338"/>
                  <a:gd name="connsiteX37" fmla="*/ 195548 w 3371374"/>
                  <a:gd name="connsiteY37" fmla="*/ 139541 h 420338"/>
                  <a:gd name="connsiteX38" fmla="*/ 204025 w 3371374"/>
                  <a:gd name="connsiteY38" fmla="*/ 139541 h 420338"/>
                  <a:gd name="connsiteX39" fmla="*/ 204025 w 3371374"/>
                  <a:gd name="connsiteY39" fmla="*/ 145542 h 420338"/>
                  <a:gd name="connsiteX40" fmla="*/ 210312 w 3371374"/>
                  <a:gd name="connsiteY40" fmla="*/ 145542 h 420338"/>
                  <a:gd name="connsiteX41" fmla="*/ 210312 w 3371374"/>
                  <a:gd name="connsiteY41" fmla="*/ 157734 h 420338"/>
                  <a:gd name="connsiteX42" fmla="*/ 212407 w 3371374"/>
                  <a:gd name="connsiteY42" fmla="*/ 157734 h 420338"/>
                  <a:gd name="connsiteX43" fmla="*/ 212407 w 3371374"/>
                  <a:gd name="connsiteY43" fmla="*/ 163830 h 420338"/>
                  <a:gd name="connsiteX44" fmla="*/ 224980 w 3371374"/>
                  <a:gd name="connsiteY44" fmla="*/ 163830 h 420338"/>
                  <a:gd name="connsiteX45" fmla="*/ 224980 w 3371374"/>
                  <a:gd name="connsiteY45" fmla="*/ 169831 h 420338"/>
                  <a:gd name="connsiteX46" fmla="*/ 248126 w 3371374"/>
                  <a:gd name="connsiteY46" fmla="*/ 169831 h 420338"/>
                  <a:gd name="connsiteX47" fmla="*/ 248126 w 3371374"/>
                  <a:gd name="connsiteY47" fmla="*/ 175927 h 420338"/>
                  <a:gd name="connsiteX48" fmla="*/ 254508 w 3371374"/>
                  <a:gd name="connsiteY48" fmla="*/ 175927 h 420338"/>
                  <a:gd name="connsiteX49" fmla="*/ 254508 w 3371374"/>
                  <a:gd name="connsiteY49" fmla="*/ 182023 h 420338"/>
                  <a:gd name="connsiteX50" fmla="*/ 262890 w 3371374"/>
                  <a:gd name="connsiteY50" fmla="*/ 182023 h 420338"/>
                  <a:gd name="connsiteX51" fmla="*/ 262890 w 3371374"/>
                  <a:gd name="connsiteY51" fmla="*/ 188024 h 420338"/>
                  <a:gd name="connsiteX52" fmla="*/ 271272 w 3371374"/>
                  <a:gd name="connsiteY52" fmla="*/ 188024 h 420338"/>
                  <a:gd name="connsiteX53" fmla="*/ 271272 w 3371374"/>
                  <a:gd name="connsiteY53" fmla="*/ 194120 h 420338"/>
                  <a:gd name="connsiteX54" fmla="*/ 275463 w 3371374"/>
                  <a:gd name="connsiteY54" fmla="*/ 194120 h 420338"/>
                  <a:gd name="connsiteX55" fmla="*/ 275463 w 3371374"/>
                  <a:gd name="connsiteY55" fmla="*/ 200216 h 420338"/>
                  <a:gd name="connsiteX56" fmla="*/ 349091 w 3371374"/>
                  <a:gd name="connsiteY56" fmla="*/ 200216 h 420338"/>
                  <a:gd name="connsiteX57" fmla="*/ 349091 w 3371374"/>
                  <a:gd name="connsiteY57" fmla="*/ 206216 h 420338"/>
                  <a:gd name="connsiteX58" fmla="*/ 370141 w 3371374"/>
                  <a:gd name="connsiteY58" fmla="*/ 206216 h 420338"/>
                  <a:gd name="connsiteX59" fmla="*/ 370141 w 3371374"/>
                  <a:gd name="connsiteY59" fmla="*/ 212312 h 420338"/>
                  <a:gd name="connsiteX60" fmla="*/ 376428 w 3371374"/>
                  <a:gd name="connsiteY60" fmla="*/ 212312 h 420338"/>
                  <a:gd name="connsiteX61" fmla="*/ 376428 w 3371374"/>
                  <a:gd name="connsiteY61" fmla="*/ 218408 h 420338"/>
                  <a:gd name="connsiteX62" fmla="*/ 418528 w 3371374"/>
                  <a:gd name="connsiteY62" fmla="*/ 218408 h 420338"/>
                  <a:gd name="connsiteX63" fmla="*/ 418528 w 3371374"/>
                  <a:gd name="connsiteY63" fmla="*/ 224409 h 420338"/>
                  <a:gd name="connsiteX64" fmla="*/ 433197 w 3371374"/>
                  <a:gd name="connsiteY64" fmla="*/ 224409 h 420338"/>
                  <a:gd name="connsiteX65" fmla="*/ 433197 w 3371374"/>
                  <a:gd name="connsiteY65" fmla="*/ 230505 h 420338"/>
                  <a:gd name="connsiteX66" fmla="*/ 462724 w 3371374"/>
                  <a:gd name="connsiteY66" fmla="*/ 230505 h 420338"/>
                  <a:gd name="connsiteX67" fmla="*/ 462724 w 3371374"/>
                  <a:gd name="connsiteY67" fmla="*/ 236601 h 420338"/>
                  <a:gd name="connsiteX68" fmla="*/ 464820 w 3371374"/>
                  <a:gd name="connsiteY68" fmla="*/ 236601 h 420338"/>
                  <a:gd name="connsiteX69" fmla="*/ 464820 w 3371374"/>
                  <a:gd name="connsiteY69" fmla="*/ 242602 h 420338"/>
                  <a:gd name="connsiteX70" fmla="*/ 487870 w 3371374"/>
                  <a:gd name="connsiteY70" fmla="*/ 242602 h 420338"/>
                  <a:gd name="connsiteX71" fmla="*/ 487870 w 3371374"/>
                  <a:gd name="connsiteY71" fmla="*/ 248698 h 420338"/>
                  <a:gd name="connsiteX72" fmla="*/ 500539 w 3371374"/>
                  <a:gd name="connsiteY72" fmla="*/ 248698 h 420338"/>
                  <a:gd name="connsiteX73" fmla="*/ 500539 w 3371374"/>
                  <a:gd name="connsiteY73" fmla="*/ 254794 h 420338"/>
                  <a:gd name="connsiteX74" fmla="*/ 536257 w 3371374"/>
                  <a:gd name="connsiteY74" fmla="*/ 254794 h 420338"/>
                  <a:gd name="connsiteX75" fmla="*/ 536257 w 3371374"/>
                  <a:gd name="connsiteY75" fmla="*/ 260890 h 420338"/>
                  <a:gd name="connsiteX76" fmla="*/ 651986 w 3371374"/>
                  <a:gd name="connsiteY76" fmla="*/ 260890 h 420338"/>
                  <a:gd name="connsiteX77" fmla="*/ 651986 w 3371374"/>
                  <a:gd name="connsiteY77" fmla="*/ 266891 h 420338"/>
                  <a:gd name="connsiteX78" fmla="*/ 689800 w 3371374"/>
                  <a:gd name="connsiteY78" fmla="*/ 266891 h 420338"/>
                  <a:gd name="connsiteX79" fmla="*/ 689800 w 3371374"/>
                  <a:gd name="connsiteY79" fmla="*/ 273082 h 420338"/>
                  <a:gd name="connsiteX80" fmla="*/ 742378 w 3371374"/>
                  <a:gd name="connsiteY80" fmla="*/ 273082 h 420338"/>
                  <a:gd name="connsiteX81" fmla="*/ 742378 w 3371374"/>
                  <a:gd name="connsiteY81" fmla="*/ 279178 h 420338"/>
                  <a:gd name="connsiteX82" fmla="*/ 761333 w 3371374"/>
                  <a:gd name="connsiteY82" fmla="*/ 279178 h 420338"/>
                  <a:gd name="connsiteX83" fmla="*/ 761333 w 3371374"/>
                  <a:gd name="connsiteY83" fmla="*/ 285274 h 420338"/>
                  <a:gd name="connsiteX84" fmla="*/ 771811 w 3371374"/>
                  <a:gd name="connsiteY84" fmla="*/ 285274 h 420338"/>
                  <a:gd name="connsiteX85" fmla="*/ 771811 w 3371374"/>
                  <a:gd name="connsiteY85" fmla="*/ 291465 h 420338"/>
                  <a:gd name="connsiteX86" fmla="*/ 805529 w 3371374"/>
                  <a:gd name="connsiteY86" fmla="*/ 291465 h 420338"/>
                  <a:gd name="connsiteX87" fmla="*/ 805529 w 3371374"/>
                  <a:gd name="connsiteY87" fmla="*/ 297561 h 420338"/>
                  <a:gd name="connsiteX88" fmla="*/ 811816 w 3371374"/>
                  <a:gd name="connsiteY88" fmla="*/ 297561 h 420338"/>
                  <a:gd name="connsiteX89" fmla="*/ 811816 w 3371374"/>
                  <a:gd name="connsiteY89" fmla="*/ 303657 h 420338"/>
                  <a:gd name="connsiteX90" fmla="*/ 826484 w 3371374"/>
                  <a:gd name="connsiteY90" fmla="*/ 303657 h 420338"/>
                  <a:gd name="connsiteX91" fmla="*/ 826484 w 3371374"/>
                  <a:gd name="connsiteY91" fmla="*/ 309753 h 420338"/>
                  <a:gd name="connsiteX92" fmla="*/ 839152 w 3371374"/>
                  <a:gd name="connsiteY92" fmla="*/ 309753 h 420338"/>
                  <a:gd name="connsiteX93" fmla="*/ 839152 w 3371374"/>
                  <a:gd name="connsiteY93" fmla="*/ 315944 h 420338"/>
                  <a:gd name="connsiteX94" fmla="*/ 864394 w 3371374"/>
                  <a:gd name="connsiteY94" fmla="*/ 315944 h 420338"/>
                  <a:gd name="connsiteX95" fmla="*/ 864394 w 3371374"/>
                  <a:gd name="connsiteY95" fmla="*/ 322040 h 420338"/>
                  <a:gd name="connsiteX96" fmla="*/ 1093660 w 3371374"/>
                  <a:gd name="connsiteY96" fmla="*/ 322040 h 420338"/>
                  <a:gd name="connsiteX97" fmla="*/ 1093660 w 3371374"/>
                  <a:gd name="connsiteY97" fmla="*/ 328232 h 420338"/>
                  <a:gd name="connsiteX98" fmla="*/ 1207198 w 3371374"/>
                  <a:gd name="connsiteY98" fmla="*/ 328232 h 420338"/>
                  <a:gd name="connsiteX99" fmla="*/ 1207198 w 3371374"/>
                  <a:gd name="connsiteY99" fmla="*/ 334423 h 420338"/>
                  <a:gd name="connsiteX100" fmla="*/ 1476375 w 3371374"/>
                  <a:gd name="connsiteY100" fmla="*/ 334423 h 420338"/>
                  <a:gd name="connsiteX101" fmla="*/ 1476375 w 3371374"/>
                  <a:gd name="connsiteY101" fmla="*/ 340709 h 420338"/>
                  <a:gd name="connsiteX102" fmla="*/ 1550003 w 3371374"/>
                  <a:gd name="connsiteY102" fmla="*/ 340709 h 420338"/>
                  <a:gd name="connsiteX103" fmla="*/ 1550003 w 3371374"/>
                  <a:gd name="connsiteY103" fmla="*/ 346996 h 420338"/>
                  <a:gd name="connsiteX104" fmla="*/ 1629918 w 3371374"/>
                  <a:gd name="connsiteY104" fmla="*/ 346996 h 420338"/>
                  <a:gd name="connsiteX105" fmla="*/ 1629918 w 3371374"/>
                  <a:gd name="connsiteY105" fmla="*/ 353282 h 420338"/>
                  <a:gd name="connsiteX106" fmla="*/ 1791843 w 3371374"/>
                  <a:gd name="connsiteY106" fmla="*/ 353282 h 420338"/>
                  <a:gd name="connsiteX107" fmla="*/ 1791843 w 3371374"/>
                  <a:gd name="connsiteY107" fmla="*/ 359759 h 420338"/>
                  <a:gd name="connsiteX108" fmla="*/ 1808702 w 3371374"/>
                  <a:gd name="connsiteY108" fmla="*/ 359759 h 420338"/>
                  <a:gd name="connsiteX109" fmla="*/ 1808702 w 3371374"/>
                  <a:gd name="connsiteY109" fmla="*/ 366141 h 420338"/>
                  <a:gd name="connsiteX110" fmla="*/ 1926526 w 3371374"/>
                  <a:gd name="connsiteY110" fmla="*/ 366141 h 420338"/>
                  <a:gd name="connsiteX111" fmla="*/ 1926526 w 3371374"/>
                  <a:gd name="connsiteY111" fmla="*/ 372618 h 420338"/>
                  <a:gd name="connsiteX112" fmla="*/ 2019014 w 3371374"/>
                  <a:gd name="connsiteY112" fmla="*/ 372618 h 420338"/>
                  <a:gd name="connsiteX113" fmla="*/ 2019014 w 3371374"/>
                  <a:gd name="connsiteY113" fmla="*/ 379000 h 420338"/>
                  <a:gd name="connsiteX114" fmla="*/ 2037969 w 3371374"/>
                  <a:gd name="connsiteY114" fmla="*/ 379000 h 420338"/>
                  <a:gd name="connsiteX115" fmla="*/ 2037969 w 3371374"/>
                  <a:gd name="connsiteY115" fmla="*/ 385477 h 420338"/>
                  <a:gd name="connsiteX116" fmla="*/ 2891790 w 3371374"/>
                  <a:gd name="connsiteY116" fmla="*/ 385477 h 420338"/>
                  <a:gd name="connsiteX117" fmla="*/ 2891790 w 3371374"/>
                  <a:gd name="connsiteY117" fmla="*/ 420338 h 420338"/>
                  <a:gd name="connsiteX118" fmla="*/ 3371374 w 3371374"/>
                  <a:gd name="connsiteY118" fmla="*/ 420338 h 420338"/>
                  <a:gd name="connsiteX0" fmla="*/ 0 w 3362992"/>
                  <a:gd name="connsiteY0" fmla="*/ 0 h 414242"/>
                  <a:gd name="connsiteX1" fmla="*/ 2095 w 3362992"/>
                  <a:gd name="connsiteY1" fmla="*/ 0 h 414242"/>
                  <a:gd name="connsiteX2" fmla="*/ 2095 w 3362992"/>
                  <a:gd name="connsiteY2" fmla="*/ 6001 h 414242"/>
                  <a:gd name="connsiteX3" fmla="*/ 16859 w 3362992"/>
                  <a:gd name="connsiteY3" fmla="*/ 6001 h 414242"/>
                  <a:gd name="connsiteX4" fmla="*/ 16859 w 3362992"/>
                  <a:gd name="connsiteY4" fmla="*/ 18193 h 414242"/>
                  <a:gd name="connsiteX5" fmla="*/ 18955 w 3362992"/>
                  <a:gd name="connsiteY5" fmla="*/ 18193 h 414242"/>
                  <a:gd name="connsiteX6" fmla="*/ 18955 w 3362992"/>
                  <a:gd name="connsiteY6" fmla="*/ 24194 h 414242"/>
                  <a:gd name="connsiteX7" fmla="*/ 25241 w 3362992"/>
                  <a:gd name="connsiteY7" fmla="*/ 24194 h 414242"/>
                  <a:gd name="connsiteX8" fmla="*/ 25241 w 3362992"/>
                  <a:gd name="connsiteY8" fmla="*/ 30290 h 414242"/>
                  <a:gd name="connsiteX9" fmla="*/ 29432 w 3362992"/>
                  <a:gd name="connsiteY9" fmla="*/ 30290 h 414242"/>
                  <a:gd name="connsiteX10" fmla="*/ 29432 w 3362992"/>
                  <a:gd name="connsiteY10" fmla="*/ 36386 h 414242"/>
                  <a:gd name="connsiteX11" fmla="*/ 46291 w 3362992"/>
                  <a:gd name="connsiteY11" fmla="*/ 36386 h 414242"/>
                  <a:gd name="connsiteX12" fmla="*/ 46291 w 3362992"/>
                  <a:gd name="connsiteY12" fmla="*/ 48482 h 414242"/>
                  <a:gd name="connsiteX13" fmla="*/ 50482 w 3362992"/>
                  <a:gd name="connsiteY13" fmla="*/ 48482 h 414242"/>
                  <a:gd name="connsiteX14" fmla="*/ 50482 w 3362992"/>
                  <a:gd name="connsiteY14" fmla="*/ 54578 h 414242"/>
                  <a:gd name="connsiteX15" fmla="*/ 73628 w 3362992"/>
                  <a:gd name="connsiteY15" fmla="*/ 54578 h 414242"/>
                  <a:gd name="connsiteX16" fmla="*/ 73628 w 3362992"/>
                  <a:gd name="connsiteY16" fmla="*/ 60674 h 414242"/>
                  <a:gd name="connsiteX17" fmla="*/ 77819 w 3362992"/>
                  <a:gd name="connsiteY17" fmla="*/ 60674 h 414242"/>
                  <a:gd name="connsiteX18" fmla="*/ 77819 w 3362992"/>
                  <a:gd name="connsiteY18" fmla="*/ 66675 h 414242"/>
                  <a:gd name="connsiteX19" fmla="*/ 84106 w 3362992"/>
                  <a:gd name="connsiteY19" fmla="*/ 66675 h 414242"/>
                  <a:gd name="connsiteX20" fmla="*/ 84106 w 3362992"/>
                  <a:gd name="connsiteY20" fmla="*/ 78867 h 414242"/>
                  <a:gd name="connsiteX21" fmla="*/ 103060 w 3362992"/>
                  <a:gd name="connsiteY21" fmla="*/ 78867 h 414242"/>
                  <a:gd name="connsiteX22" fmla="*/ 103060 w 3362992"/>
                  <a:gd name="connsiteY22" fmla="*/ 84868 h 414242"/>
                  <a:gd name="connsiteX23" fmla="*/ 111442 w 3362992"/>
                  <a:gd name="connsiteY23" fmla="*/ 84868 h 414242"/>
                  <a:gd name="connsiteX24" fmla="*/ 111442 w 3362992"/>
                  <a:gd name="connsiteY24" fmla="*/ 90964 h 414242"/>
                  <a:gd name="connsiteX25" fmla="*/ 124111 w 3362992"/>
                  <a:gd name="connsiteY25" fmla="*/ 90964 h 414242"/>
                  <a:gd name="connsiteX26" fmla="*/ 124111 w 3362992"/>
                  <a:gd name="connsiteY26" fmla="*/ 97060 h 414242"/>
                  <a:gd name="connsiteX27" fmla="*/ 140970 w 3362992"/>
                  <a:gd name="connsiteY27" fmla="*/ 97060 h 414242"/>
                  <a:gd name="connsiteX28" fmla="*/ 140970 w 3362992"/>
                  <a:gd name="connsiteY28" fmla="*/ 103061 h 414242"/>
                  <a:gd name="connsiteX29" fmla="*/ 168307 w 3362992"/>
                  <a:gd name="connsiteY29" fmla="*/ 103061 h 414242"/>
                  <a:gd name="connsiteX30" fmla="*/ 168307 w 3362992"/>
                  <a:gd name="connsiteY30" fmla="*/ 109157 h 414242"/>
                  <a:gd name="connsiteX31" fmla="*/ 170402 w 3362992"/>
                  <a:gd name="connsiteY31" fmla="*/ 109157 h 414242"/>
                  <a:gd name="connsiteX32" fmla="*/ 170402 w 3362992"/>
                  <a:gd name="connsiteY32" fmla="*/ 115253 h 414242"/>
                  <a:gd name="connsiteX33" fmla="*/ 180879 w 3362992"/>
                  <a:gd name="connsiteY33" fmla="*/ 115253 h 414242"/>
                  <a:gd name="connsiteX34" fmla="*/ 180879 w 3362992"/>
                  <a:gd name="connsiteY34" fmla="*/ 121253 h 414242"/>
                  <a:gd name="connsiteX35" fmla="*/ 187166 w 3362992"/>
                  <a:gd name="connsiteY35" fmla="*/ 121253 h 414242"/>
                  <a:gd name="connsiteX36" fmla="*/ 187166 w 3362992"/>
                  <a:gd name="connsiteY36" fmla="*/ 133445 h 414242"/>
                  <a:gd name="connsiteX37" fmla="*/ 195643 w 3362992"/>
                  <a:gd name="connsiteY37" fmla="*/ 133445 h 414242"/>
                  <a:gd name="connsiteX38" fmla="*/ 195643 w 3362992"/>
                  <a:gd name="connsiteY38" fmla="*/ 139446 h 414242"/>
                  <a:gd name="connsiteX39" fmla="*/ 201930 w 3362992"/>
                  <a:gd name="connsiteY39" fmla="*/ 139446 h 414242"/>
                  <a:gd name="connsiteX40" fmla="*/ 201930 w 3362992"/>
                  <a:gd name="connsiteY40" fmla="*/ 151638 h 414242"/>
                  <a:gd name="connsiteX41" fmla="*/ 204025 w 3362992"/>
                  <a:gd name="connsiteY41" fmla="*/ 151638 h 414242"/>
                  <a:gd name="connsiteX42" fmla="*/ 204025 w 3362992"/>
                  <a:gd name="connsiteY42" fmla="*/ 157734 h 414242"/>
                  <a:gd name="connsiteX43" fmla="*/ 216598 w 3362992"/>
                  <a:gd name="connsiteY43" fmla="*/ 157734 h 414242"/>
                  <a:gd name="connsiteX44" fmla="*/ 216598 w 3362992"/>
                  <a:gd name="connsiteY44" fmla="*/ 163735 h 414242"/>
                  <a:gd name="connsiteX45" fmla="*/ 239744 w 3362992"/>
                  <a:gd name="connsiteY45" fmla="*/ 163735 h 414242"/>
                  <a:gd name="connsiteX46" fmla="*/ 239744 w 3362992"/>
                  <a:gd name="connsiteY46" fmla="*/ 169831 h 414242"/>
                  <a:gd name="connsiteX47" fmla="*/ 246126 w 3362992"/>
                  <a:gd name="connsiteY47" fmla="*/ 169831 h 414242"/>
                  <a:gd name="connsiteX48" fmla="*/ 246126 w 3362992"/>
                  <a:gd name="connsiteY48" fmla="*/ 175927 h 414242"/>
                  <a:gd name="connsiteX49" fmla="*/ 254508 w 3362992"/>
                  <a:gd name="connsiteY49" fmla="*/ 175927 h 414242"/>
                  <a:gd name="connsiteX50" fmla="*/ 254508 w 3362992"/>
                  <a:gd name="connsiteY50" fmla="*/ 181928 h 414242"/>
                  <a:gd name="connsiteX51" fmla="*/ 262890 w 3362992"/>
                  <a:gd name="connsiteY51" fmla="*/ 181928 h 414242"/>
                  <a:gd name="connsiteX52" fmla="*/ 262890 w 3362992"/>
                  <a:gd name="connsiteY52" fmla="*/ 188024 h 414242"/>
                  <a:gd name="connsiteX53" fmla="*/ 267081 w 3362992"/>
                  <a:gd name="connsiteY53" fmla="*/ 188024 h 414242"/>
                  <a:gd name="connsiteX54" fmla="*/ 267081 w 3362992"/>
                  <a:gd name="connsiteY54" fmla="*/ 194120 h 414242"/>
                  <a:gd name="connsiteX55" fmla="*/ 340709 w 3362992"/>
                  <a:gd name="connsiteY55" fmla="*/ 194120 h 414242"/>
                  <a:gd name="connsiteX56" fmla="*/ 340709 w 3362992"/>
                  <a:gd name="connsiteY56" fmla="*/ 200120 h 414242"/>
                  <a:gd name="connsiteX57" fmla="*/ 361759 w 3362992"/>
                  <a:gd name="connsiteY57" fmla="*/ 200120 h 414242"/>
                  <a:gd name="connsiteX58" fmla="*/ 361759 w 3362992"/>
                  <a:gd name="connsiteY58" fmla="*/ 206216 h 414242"/>
                  <a:gd name="connsiteX59" fmla="*/ 368046 w 3362992"/>
                  <a:gd name="connsiteY59" fmla="*/ 206216 h 414242"/>
                  <a:gd name="connsiteX60" fmla="*/ 368046 w 3362992"/>
                  <a:gd name="connsiteY60" fmla="*/ 212312 h 414242"/>
                  <a:gd name="connsiteX61" fmla="*/ 410146 w 3362992"/>
                  <a:gd name="connsiteY61" fmla="*/ 212312 h 414242"/>
                  <a:gd name="connsiteX62" fmla="*/ 410146 w 3362992"/>
                  <a:gd name="connsiteY62" fmla="*/ 218313 h 414242"/>
                  <a:gd name="connsiteX63" fmla="*/ 424815 w 3362992"/>
                  <a:gd name="connsiteY63" fmla="*/ 218313 h 414242"/>
                  <a:gd name="connsiteX64" fmla="*/ 424815 w 3362992"/>
                  <a:gd name="connsiteY64" fmla="*/ 224409 h 414242"/>
                  <a:gd name="connsiteX65" fmla="*/ 454342 w 3362992"/>
                  <a:gd name="connsiteY65" fmla="*/ 224409 h 414242"/>
                  <a:gd name="connsiteX66" fmla="*/ 454342 w 3362992"/>
                  <a:gd name="connsiteY66" fmla="*/ 230505 h 414242"/>
                  <a:gd name="connsiteX67" fmla="*/ 456438 w 3362992"/>
                  <a:gd name="connsiteY67" fmla="*/ 230505 h 414242"/>
                  <a:gd name="connsiteX68" fmla="*/ 456438 w 3362992"/>
                  <a:gd name="connsiteY68" fmla="*/ 236506 h 414242"/>
                  <a:gd name="connsiteX69" fmla="*/ 479488 w 3362992"/>
                  <a:gd name="connsiteY69" fmla="*/ 236506 h 414242"/>
                  <a:gd name="connsiteX70" fmla="*/ 479488 w 3362992"/>
                  <a:gd name="connsiteY70" fmla="*/ 242602 h 414242"/>
                  <a:gd name="connsiteX71" fmla="*/ 492157 w 3362992"/>
                  <a:gd name="connsiteY71" fmla="*/ 242602 h 414242"/>
                  <a:gd name="connsiteX72" fmla="*/ 492157 w 3362992"/>
                  <a:gd name="connsiteY72" fmla="*/ 248698 h 414242"/>
                  <a:gd name="connsiteX73" fmla="*/ 527875 w 3362992"/>
                  <a:gd name="connsiteY73" fmla="*/ 248698 h 414242"/>
                  <a:gd name="connsiteX74" fmla="*/ 527875 w 3362992"/>
                  <a:gd name="connsiteY74" fmla="*/ 254794 h 414242"/>
                  <a:gd name="connsiteX75" fmla="*/ 643604 w 3362992"/>
                  <a:gd name="connsiteY75" fmla="*/ 254794 h 414242"/>
                  <a:gd name="connsiteX76" fmla="*/ 643604 w 3362992"/>
                  <a:gd name="connsiteY76" fmla="*/ 260795 h 414242"/>
                  <a:gd name="connsiteX77" fmla="*/ 681418 w 3362992"/>
                  <a:gd name="connsiteY77" fmla="*/ 260795 h 414242"/>
                  <a:gd name="connsiteX78" fmla="*/ 681418 w 3362992"/>
                  <a:gd name="connsiteY78" fmla="*/ 266986 h 414242"/>
                  <a:gd name="connsiteX79" fmla="*/ 733996 w 3362992"/>
                  <a:gd name="connsiteY79" fmla="*/ 266986 h 414242"/>
                  <a:gd name="connsiteX80" fmla="*/ 733996 w 3362992"/>
                  <a:gd name="connsiteY80" fmla="*/ 273082 h 414242"/>
                  <a:gd name="connsiteX81" fmla="*/ 752951 w 3362992"/>
                  <a:gd name="connsiteY81" fmla="*/ 273082 h 414242"/>
                  <a:gd name="connsiteX82" fmla="*/ 752951 w 3362992"/>
                  <a:gd name="connsiteY82" fmla="*/ 279178 h 414242"/>
                  <a:gd name="connsiteX83" fmla="*/ 763429 w 3362992"/>
                  <a:gd name="connsiteY83" fmla="*/ 279178 h 414242"/>
                  <a:gd name="connsiteX84" fmla="*/ 763429 w 3362992"/>
                  <a:gd name="connsiteY84" fmla="*/ 285369 h 414242"/>
                  <a:gd name="connsiteX85" fmla="*/ 797147 w 3362992"/>
                  <a:gd name="connsiteY85" fmla="*/ 285369 h 414242"/>
                  <a:gd name="connsiteX86" fmla="*/ 797147 w 3362992"/>
                  <a:gd name="connsiteY86" fmla="*/ 291465 h 414242"/>
                  <a:gd name="connsiteX87" fmla="*/ 803434 w 3362992"/>
                  <a:gd name="connsiteY87" fmla="*/ 291465 h 414242"/>
                  <a:gd name="connsiteX88" fmla="*/ 803434 w 3362992"/>
                  <a:gd name="connsiteY88" fmla="*/ 297561 h 414242"/>
                  <a:gd name="connsiteX89" fmla="*/ 818102 w 3362992"/>
                  <a:gd name="connsiteY89" fmla="*/ 297561 h 414242"/>
                  <a:gd name="connsiteX90" fmla="*/ 818102 w 3362992"/>
                  <a:gd name="connsiteY90" fmla="*/ 303657 h 414242"/>
                  <a:gd name="connsiteX91" fmla="*/ 830770 w 3362992"/>
                  <a:gd name="connsiteY91" fmla="*/ 303657 h 414242"/>
                  <a:gd name="connsiteX92" fmla="*/ 830770 w 3362992"/>
                  <a:gd name="connsiteY92" fmla="*/ 309848 h 414242"/>
                  <a:gd name="connsiteX93" fmla="*/ 856012 w 3362992"/>
                  <a:gd name="connsiteY93" fmla="*/ 309848 h 414242"/>
                  <a:gd name="connsiteX94" fmla="*/ 856012 w 3362992"/>
                  <a:gd name="connsiteY94" fmla="*/ 315944 h 414242"/>
                  <a:gd name="connsiteX95" fmla="*/ 1085278 w 3362992"/>
                  <a:gd name="connsiteY95" fmla="*/ 315944 h 414242"/>
                  <a:gd name="connsiteX96" fmla="*/ 1085278 w 3362992"/>
                  <a:gd name="connsiteY96" fmla="*/ 322136 h 414242"/>
                  <a:gd name="connsiteX97" fmla="*/ 1198816 w 3362992"/>
                  <a:gd name="connsiteY97" fmla="*/ 322136 h 414242"/>
                  <a:gd name="connsiteX98" fmla="*/ 1198816 w 3362992"/>
                  <a:gd name="connsiteY98" fmla="*/ 328327 h 414242"/>
                  <a:gd name="connsiteX99" fmla="*/ 1467993 w 3362992"/>
                  <a:gd name="connsiteY99" fmla="*/ 328327 h 414242"/>
                  <a:gd name="connsiteX100" fmla="*/ 1467993 w 3362992"/>
                  <a:gd name="connsiteY100" fmla="*/ 334613 h 414242"/>
                  <a:gd name="connsiteX101" fmla="*/ 1541621 w 3362992"/>
                  <a:gd name="connsiteY101" fmla="*/ 334613 h 414242"/>
                  <a:gd name="connsiteX102" fmla="*/ 1541621 w 3362992"/>
                  <a:gd name="connsiteY102" fmla="*/ 340900 h 414242"/>
                  <a:gd name="connsiteX103" fmla="*/ 1621536 w 3362992"/>
                  <a:gd name="connsiteY103" fmla="*/ 340900 h 414242"/>
                  <a:gd name="connsiteX104" fmla="*/ 1621536 w 3362992"/>
                  <a:gd name="connsiteY104" fmla="*/ 347186 h 414242"/>
                  <a:gd name="connsiteX105" fmla="*/ 1783461 w 3362992"/>
                  <a:gd name="connsiteY105" fmla="*/ 347186 h 414242"/>
                  <a:gd name="connsiteX106" fmla="*/ 1783461 w 3362992"/>
                  <a:gd name="connsiteY106" fmla="*/ 353663 h 414242"/>
                  <a:gd name="connsiteX107" fmla="*/ 1800320 w 3362992"/>
                  <a:gd name="connsiteY107" fmla="*/ 353663 h 414242"/>
                  <a:gd name="connsiteX108" fmla="*/ 1800320 w 3362992"/>
                  <a:gd name="connsiteY108" fmla="*/ 360045 h 414242"/>
                  <a:gd name="connsiteX109" fmla="*/ 1918144 w 3362992"/>
                  <a:gd name="connsiteY109" fmla="*/ 360045 h 414242"/>
                  <a:gd name="connsiteX110" fmla="*/ 1918144 w 3362992"/>
                  <a:gd name="connsiteY110" fmla="*/ 366522 h 414242"/>
                  <a:gd name="connsiteX111" fmla="*/ 2010632 w 3362992"/>
                  <a:gd name="connsiteY111" fmla="*/ 366522 h 414242"/>
                  <a:gd name="connsiteX112" fmla="*/ 2010632 w 3362992"/>
                  <a:gd name="connsiteY112" fmla="*/ 372904 h 414242"/>
                  <a:gd name="connsiteX113" fmla="*/ 2029587 w 3362992"/>
                  <a:gd name="connsiteY113" fmla="*/ 372904 h 414242"/>
                  <a:gd name="connsiteX114" fmla="*/ 2029587 w 3362992"/>
                  <a:gd name="connsiteY114" fmla="*/ 379381 h 414242"/>
                  <a:gd name="connsiteX115" fmla="*/ 2883408 w 3362992"/>
                  <a:gd name="connsiteY115" fmla="*/ 379381 h 414242"/>
                  <a:gd name="connsiteX116" fmla="*/ 2883408 w 3362992"/>
                  <a:gd name="connsiteY116" fmla="*/ 414242 h 414242"/>
                  <a:gd name="connsiteX117" fmla="*/ 3362992 w 3362992"/>
                  <a:gd name="connsiteY117" fmla="*/ 414242 h 414242"/>
                  <a:gd name="connsiteX0" fmla="*/ 0 w 3362992"/>
                  <a:gd name="connsiteY0" fmla="*/ 0 h 414242"/>
                  <a:gd name="connsiteX1" fmla="*/ 2095 w 3362992"/>
                  <a:gd name="connsiteY1" fmla="*/ 6001 h 414242"/>
                  <a:gd name="connsiteX2" fmla="*/ 16859 w 3362992"/>
                  <a:gd name="connsiteY2" fmla="*/ 6001 h 414242"/>
                  <a:gd name="connsiteX3" fmla="*/ 16859 w 3362992"/>
                  <a:gd name="connsiteY3" fmla="*/ 18193 h 414242"/>
                  <a:gd name="connsiteX4" fmla="*/ 18955 w 3362992"/>
                  <a:gd name="connsiteY4" fmla="*/ 18193 h 414242"/>
                  <a:gd name="connsiteX5" fmla="*/ 18955 w 3362992"/>
                  <a:gd name="connsiteY5" fmla="*/ 24194 h 414242"/>
                  <a:gd name="connsiteX6" fmla="*/ 25241 w 3362992"/>
                  <a:gd name="connsiteY6" fmla="*/ 24194 h 414242"/>
                  <a:gd name="connsiteX7" fmla="*/ 25241 w 3362992"/>
                  <a:gd name="connsiteY7" fmla="*/ 30290 h 414242"/>
                  <a:gd name="connsiteX8" fmla="*/ 29432 w 3362992"/>
                  <a:gd name="connsiteY8" fmla="*/ 30290 h 414242"/>
                  <a:gd name="connsiteX9" fmla="*/ 29432 w 3362992"/>
                  <a:gd name="connsiteY9" fmla="*/ 36386 h 414242"/>
                  <a:gd name="connsiteX10" fmla="*/ 46291 w 3362992"/>
                  <a:gd name="connsiteY10" fmla="*/ 36386 h 414242"/>
                  <a:gd name="connsiteX11" fmla="*/ 46291 w 3362992"/>
                  <a:gd name="connsiteY11" fmla="*/ 48482 h 414242"/>
                  <a:gd name="connsiteX12" fmla="*/ 50482 w 3362992"/>
                  <a:gd name="connsiteY12" fmla="*/ 48482 h 414242"/>
                  <a:gd name="connsiteX13" fmla="*/ 50482 w 3362992"/>
                  <a:gd name="connsiteY13" fmla="*/ 54578 h 414242"/>
                  <a:gd name="connsiteX14" fmla="*/ 73628 w 3362992"/>
                  <a:gd name="connsiteY14" fmla="*/ 54578 h 414242"/>
                  <a:gd name="connsiteX15" fmla="*/ 73628 w 3362992"/>
                  <a:gd name="connsiteY15" fmla="*/ 60674 h 414242"/>
                  <a:gd name="connsiteX16" fmla="*/ 77819 w 3362992"/>
                  <a:gd name="connsiteY16" fmla="*/ 60674 h 414242"/>
                  <a:gd name="connsiteX17" fmla="*/ 77819 w 3362992"/>
                  <a:gd name="connsiteY17" fmla="*/ 66675 h 414242"/>
                  <a:gd name="connsiteX18" fmla="*/ 84106 w 3362992"/>
                  <a:gd name="connsiteY18" fmla="*/ 66675 h 414242"/>
                  <a:gd name="connsiteX19" fmla="*/ 84106 w 3362992"/>
                  <a:gd name="connsiteY19" fmla="*/ 78867 h 414242"/>
                  <a:gd name="connsiteX20" fmla="*/ 103060 w 3362992"/>
                  <a:gd name="connsiteY20" fmla="*/ 78867 h 414242"/>
                  <a:gd name="connsiteX21" fmla="*/ 103060 w 3362992"/>
                  <a:gd name="connsiteY21" fmla="*/ 84868 h 414242"/>
                  <a:gd name="connsiteX22" fmla="*/ 111442 w 3362992"/>
                  <a:gd name="connsiteY22" fmla="*/ 84868 h 414242"/>
                  <a:gd name="connsiteX23" fmla="*/ 111442 w 3362992"/>
                  <a:gd name="connsiteY23" fmla="*/ 90964 h 414242"/>
                  <a:gd name="connsiteX24" fmla="*/ 124111 w 3362992"/>
                  <a:gd name="connsiteY24" fmla="*/ 90964 h 414242"/>
                  <a:gd name="connsiteX25" fmla="*/ 124111 w 3362992"/>
                  <a:gd name="connsiteY25" fmla="*/ 97060 h 414242"/>
                  <a:gd name="connsiteX26" fmla="*/ 140970 w 3362992"/>
                  <a:gd name="connsiteY26" fmla="*/ 97060 h 414242"/>
                  <a:gd name="connsiteX27" fmla="*/ 140970 w 3362992"/>
                  <a:gd name="connsiteY27" fmla="*/ 103061 h 414242"/>
                  <a:gd name="connsiteX28" fmla="*/ 168307 w 3362992"/>
                  <a:gd name="connsiteY28" fmla="*/ 103061 h 414242"/>
                  <a:gd name="connsiteX29" fmla="*/ 168307 w 3362992"/>
                  <a:gd name="connsiteY29" fmla="*/ 109157 h 414242"/>
                  <a:gd name="connsiteX30" fmla="*/ 170402 w 3362992"/>
                  <a:gd name="connsiteY30" fmla="*/ 109157 h 414242"/>
                  <a:gd name="connsiteX31" fmla="*/ 170402 w 3362992"/>
                  <a:gd name="connsiteY31" fmla="*/ 115253 h 414242"/>
                  <a:gd name="connsiteX32" fmla="*/ 180879 w 3362992"/>
                  <a:gd name="connsiteY32" fmla="*/ 115253 h 414242"/>
                  <a:gd name="connsiteX33" fmla="*/ 180879 w 3362992"/>
                  <a:gd name="connsiteY33" fmla="*/ 121253 h 414242"/>
                  <a:gd name="connsiteX34" fmla="*/ 187166 w 3362992"/>
                  <a:gd name="connsiteY34" fmla="*/ 121253 h 414242"/>
                  <a:gd name="connsiteX35" fmla="*/ 187166 w 3362992"/>
                  <a:gd name="connsiteY35" fmla="*/ 133445 h 414242"/>
                  <a:gd name="connsiteX36" fmla="*/ 195643 w 3362992"/>
                  <a:gd name="connsiteY36" fmla="*/ 133445 h 414242"/>
                  <a:gd name="connsiteX37" fmla="*/ 195643 w 3362992"/>
                  <a:gd name="connsiteY37" fmla="*/ 139446 h 414242"/>
                  <a:gd name="connsiteX38" fmla="*/ 201930 w 3362992"/>
                  <a:gd name="connsiteY38" fmla="*/ 139446 h 414242"/>
                  <a:gd name="connsiteX39" fmla="*/ 201930 w 3362992"/>
                  <a:gd name="connsiteY39" fmla="*/ 151638 h 414242"/>
                  <a:gd name="connsiteX40" fmla="*/ 204025 w 3362992"/>
                  <a:gd name="connsiteY40" fmla="*/ 151638 h 414242"/>
                  <a:gd name="connsiteX41" fmla="*/ 204025 w 3362992"/>
                  <a:gd name="connsiteY41" fmla="*/ 157734 h 414242"/>
                  <a:gd name="connsiteX42" fmla="*/ 216598 w 3362992"/>
                  <a:gd name="connsiteY42" fmla="*/ 157734 h 414242"/>
                  <a:gd name="connsiteX43" fmla="*/ 216598 w 3362992"/>
                  <a:gd name="connsiteY43" fmla="*/ 163735 h 414242"/>
                  <a:gd name="connsiteX44" fmla="*/ 239744 w 3362992"/>
                  <a:gd name="connsiteY44" fmla="*/ 163735 h 414242"/>
                  <a:gd name="connsiteX45" fmla="*/ 239744 w 3362992"/>
                  <a:gd name="connsiteY45" fmla="*/ 169831 h 414242"/>
                  <a:gd name="connsiteX46" fmla="*/ 246126 w 3362992"/>
                  <a:gd name="connsiteY46" fmla="*/ 169831 h 414242"/>
                  <a:gd name="connsiteX47" fmla="*/ 246126 w 3362992"/>
                  <a:gd name="connsiteY47" fmla="*/ 175927 h 414242"/>
                  <a:gd name="connsiteX48" fmla="*/ 254508 w 3362992"/>
                  <a:gd name="connsiteY48" fmla="*/ 175927 h 414242"/>
                  <a:gd name="connsiteX49" fmla="*/ 254508 w 3362992"/>
                  <a:gd name="connsiteY49" fmla="*/ 181928 h 414242"/>
                  <a:gd name="connsiteX50" fmla="*/ 262890 w 3362992"/>
                  <a:gd name="connsiteY50" fmla="*/ 181928 h 414242"/>
                  <a:gd name="connsiteX51" fmla="*/ 262890 w 3362992"/>
                  <a:gd name="connsiteY51" fmla="*/ 188024 h 414242"/>
                  <a:gd name="connsiteX52" fmla="*/ 267081 w 3362992"/>
                  <a:gd name="connsiteY52" fmla="*/ 188024 h 414242"/>
                  <a:gd name="connsiteX53" fmla="*/ 267081 w 3362992"/>
                  <a:gd name="connsiteY53" fmla="*/ 194120 h 414242"/>
                  <a:gd name="connsiteX54" fmla="*/ 340709 w 3362992"/>
                  <a:gd name="connsiteY54" fmla="*/ 194120 h 414242"/>
                  <a:gd name="connsiteX55" fmla="*/ 340709 w 3362992"/>
                  <a:gd name="connsiteY55" fmla="*/ 200120 h 414242"/>
                  <a:gd name="connsiteX56" fmla="*/ 361759 w 3362992"/>
                  <a:gd name="connsiteY56" fmla="*/ 200120 h 414242"/>
                  <a:gd name="connsiteX57" fmla="*/ 361759 w 3362992"/>
                  <a:gd name="connsiteY57" fmla="*/ 206216 h 414242"/>
                  <a:gd name="connsiteX58" fmla="*/ 368046 w 3362992"/>
                  <a:gd name="connsiteY58" fmla="*/ 206216 h 414242"/>
                  <a:gd name="connsiteX59" fmla="*/ 368046 w 3362992"/>
                  <a:gd name="connsiteY59" fmla="*/ 212312 h 414242"/>
                  <a:gd name="connsiteX60" fmla="*/ 410146 w 3362992"/>
                  <a:gd name="connsiteY60" fmla="*/ 212312 h 414242"/>
                  <a:gd name="connsiteX61" fmla="*/ 410146 w 3362992"/>
                  <a:gd name="connsiteY61" fmla="*/ 218313 h 414242"/>
                  <a:gd name="connsiteX62" fmla="*/ 424815 w 3362992"/>
                  <a:gd name="connsiteY62" fmla="*/ 218313 h 414242"/>
                  <a:gd name="connsiteX63" fmla="*/ 424815 w 3362992"/>
                  <a:gd name="connsiteY63" fmla="*/ 224409 h 414242"/>
                  <a:gd name="connsiteX64" fmla="*/ 454342 w 3362992"/>
                  <a:gd name="connsiteY64" fmla="*/ 224409 h 414242"/>
                  <a:gd name="connsiteX65" fmla="*/ 454342 w 3362992"/>
                  <a:gd name="connsiteY65" fmla="*/ 230505 h 414242"/>
                  <a:gd name="connsiteX66" fmla="*/ 456438 w 3362992"/>
                  <a:gd name="connsiteY66" fmla="*/ 230505 h 414242"/>
                  <a:gd name="connsiteX67" fmla="*/ 456438 w 3362992"/>
                  <a:gd name="connsiteY67" fmla="*/ 236506 h 414242"/>
                  <a:gd name="connsiteX68" fmla="*/ 479488 w 3362992"/>
                  <a:gd name="connsiteY68" fmla="*/ 236506 h 414242"/>
                  <a:gd name="connsiteX69" fmla="*/ 479488 w 3362992"/>
                  <a:gd name="connsiteY69" fmla="*/ 242602 h 414242"/>
                  <a:gd name="connsiteX70" fmla="*/ 492157 w 3362992"/>
                  <a:gd name="connsiteY70" fmla="*/ 242602 h 414242"/>
                  <a:gd name="connsiteX71" fmla="*/ 492157 w 3362992"/>
                  <a:gd name="connsiteY71" fmla="*/ 248698 h 414242"/>
                  <a:gd name="connsiteX72" fmla="*/ 527875 w 3362992"/>
                  <a:gd name="connsiteY72" fmla="*/ 248698 h 414242"/>
                  <a:gd name="connsiteX73" fmla="*/ 527875 w 3362992"/>
                  <a:gd name="connsiteY73" fmla="*/ 254794 h 414242"/>
                  <a:gd name="connsiteX74" fmla="*/ 643604 w 3362992"/>
                  <a:gd name="connsiteY74" fmla="*/ 254794 h 414242"/>
                  <a:gd name="connsiteX75" fmla="*/ 643604 w 3362992"/>
                  <a:gd name="connsiteY75" fmla="*/ 260795 h 414242"/>
                  <a:gd name="connsiteX76" fmla="*/ 681418 w 3362992"/>
                  <a:gd name="connsiteY76" fmla="*/ 260795 h 414242"/>
                  <a:gd name="connsiteX77" fmla="*/ 681418 w 3362992"/>
                  <a:gd name="connsiteY77" fmla="*/ 266986 h 414242"/>
                  <a:gd name="connsiteX78" fmla="*/ 733996 w 3362992"/>
                  <a:gd name="connsiteY78" fmla="*/ 266986 h 414242"/>
                  <a:gd name="connsiteX79" fmla="*/ 733996 w 3362992"/>
                  <a:gd name="connsiteY79" fmla="*/ 273082 h 414242"/>
                  <a:gd name="connsiteX80" fmla="*/ 752951 w 3362992"/>
                  <a:gd name="connsiteY80" fmla="*/ 273082 h 414242"/>
                  <a:gd name="connsiteX81" fmla="*/ 752951 w 3362992"/>
                  <a:gd name="connsiteY81" fmla="*/ 279178 h 414242"/>
                  <a:gd name="connsiteX82" fmla="*/ 763429 w 3362992"/>
                  <a:gd name="connsiteY82" fmla="*/ 279178 h 414242"/>
                  <a:gd name="connsiteX83" fmla="*/ 763429 w 3362992"/>
                  <a:gd name="connsiteY83" fmla="*/ 285369 h 414242"/>
                  <a:gd name="connsiteX84" fmla="*/ 797147 w 3362992"/>
                  <a:gd name="connsiteY84" fmla="*/ 285369 h 414242"/>
                  <a:gd name="connsiteX85" fmla="*/ 797147 w 3362992"/>
                  <a:gd name="connsiteY85" fmla="*/ 291465 h 414242"/>
                  <a:gd name="connsiteX86" fmla="*/ 803434 w 3362992"/>
                  <a:gd name="connsiteY86" fmla="*/ 291465 h 414242"/>
                  <a:gd name="connsiteX87" fmla="*/ 803434 w 3362992"/>
                  <a:gd name="connsiteY87" fmla="*/ 297561 h 414242"/>
                  <a:gd name="connsiteX88" fmla="*/ 818102 w 3362992"/>
                  <a:gd name="connsiteY88" fmla="*/ 297561 h 414242"/>
                  <a:gd name="connsiteX89" fmla="*/ 818102 w 3362992"/>
                  <a:gd name="connsiteY89" fmla="*/ 303657 h 414242"/>
                  <a:gd name="connsiteX90" fmla="*/ 830770 w 3362992"/>
                  <a:gd name="connsiteY90" fmla="*/ 303657 h 414242"/>
                  <a:gd name="connsiteX91" fmla="*/ 830770 w 3362992"/>
                  <a:gd name="connsiteY91" fmla="*/ 309848 h 414242"/>
                  <a:gd name="connsiteX92" fmla="*/ 856012 w 3362992"/>
                  <a:gd name="connsiteY92" fmla="*/ 309848 h 414242"/>
                  <a:gd name="connsiteX93" fmla="*/ 856012 w 3362992"/>
                  <a:gd name="connsiteY93" fmla="*/ 315944 h 414242"/>
                  <a:gd name="connsiteX94" fmla="*/ 1085278 w 3362992"/>
                  <a:gd name="connsiteY94" fmla="*/ 315944 h 414242"/>
                  <a:gd name="connsiteX95" fmla="*/ 1085278 w 3362992"/>
                  <a:gd name="connsiteY95" fmla="*/ 322136 h 414242"/>
                  <a:gd name="connsiteX96" fmla="*/ 1198816 w 3362992"/>
                  <a:gd name="connsiteY96" fmla="*/ 322136 h 414242"/>
                  <a:gd name="connsiteX97" fmla="*/ 1198816 w 3362992"/>
                  <a:gd name="connsiteY97" fmla="*/ 328327 h 414242"/>
                  <a:gd name="connsiteX98" fmla="*/ 1467993 w 3362992"/>
                  <a:gd name="connsiteY98" fmla="*/ 328327 h 414242"/>
                  <a:gd name="connsiteX99" fmla="*/ 1467993 w 3362992"/>
                  <a:gd name="connsiteY99" fmla="*/ 334613 h 414242"/>
                  <a:gd name="connsiteX100" fmla="*/ 1541621 w 3362992"/>
                  <a:gd name="connsiteY100" fmla="*/ 334613 h 414242"/>
                  <a:gd name="connsiteX101" fmla="*/ 1541621 w 3362992"/>
                  <a:gd name="connsiteY101" fmla="*/ 340900 h 414242"/>
                  <a:gd name="connsiteX102" fmla="*/ 1621536 w 3362992"/>
                  <a:gd name="connsiteY102" fmla="*/ 340900 h 414242"/>
                  <a:gd name="connsiteX103" fmla="*/ 1621536 w 3362992"/>
                  <a:gd name="connsiteY103" fmla="*/ 347186 h 414242"/>
                  <a:gd name="connsiteX104" fmla="*/ 1783461 w 3362992"/>
                  <a:gd name="connsiteY104" fmla="*/ 347186 h 414242"/>
                  <a:gd name="connsiteX105" fmla="*/ 1783461 w 3362992"/>
                  <a:gd name="connsiteY105" fmla="*/ 353663 h 414242"/>
                  <a:gd name="connsiteX106" fmla="*/ 1800320 w 3362992"/>
                  <a:gd name="connsiteY106" fmla="*/ 353663 h 414242"/>
                  <a:gd name="connsiteX107" fmla="*/ 1800320 w 3362992"/>
                  <a:gd name="connsiteY107" fmla="*/ 360045 h 414242"/>
                  <a:gd name="connsiteX108" fmla="*/ 1918144 w 3362992"/>
                  <a:gd name="connsiteY108" fmla="*/ 360045 h 414242"/>
                  <a:gd name="connsiteX109" fmla="*/ 1918144 w 3362992"/>
                  <a:gd name="connsiteY109" fmla="*/ 366522 h 414242"/>
                  <a:gd name="connsiteX110" fmla="*/ 2010632 w 3362992"/>
                  <a:gd name="connsiteY110" fmla="*/ 366522 h 414242"/>
                  <a:gd name="connsiteX111" fmla="*/ 2010632 w 3362992"/>
                  <a:gd name="connsiteY111" fmla="*/ 372904 h 414242"/>
                  <a:gd name="connsiteX112" fmla="*/ 2029587 w 3362992"/>
                  <a:gd name="connsiteY112" fmla="*/ 372904 h 414242"/>
                  <a:gd name="connsiteX113" fmla="*/ 2029587 w 3362992"/>
                  <a:gd name="connsiteY113" fmla="*/ 379381 h 414242"/>
                  <a:gd name="connsiteX114" fmla="*/ 2883408 w 3362992"/>
                  <a:gd name="connsiteY114" fmla="*/ 379381 h 414242"/>
                  <a:gd name="connsiteX115" fmla="*/ 2883408 w 3362992"/>
                  <a:gd name="connsiteY115" fmla="*/ 414242 h 414242"/>
                  <a:gd name="connsiteX116" fmla="*/ 3362992 w 3362992"/>
                  <a:gd name="connsiteY116" fmla="*/ 414242 h 414242"/>
                  <a:gd name="connsiteX0" fmla="*/ 0 w 3362992"/>
                  <a:gd name="connsiteY0" fmla="*/ 0 h 414242"/>
                  <a:gd name="connsiteX1" fmla="*/ 16859 w 3362992"/>
                  <a:gd name="connsiteY1" fmla="*/ 6001 h 414242"/>
                  <a:gd name="connsiteX2" fmla="*/ 16859 w 3362992"/>
                  <a:gd name="connsiteY2" fmla="*/ 18193 h 414242"/>
                  <a:gd name="connsiteX3" fmla="*/ 18955 w 3362992"/>
                  <a:gd name="connsiteY3" fmla="*/ 18193 h 414242"/>
                  <a:gd name="connsiteX4" fmla="*/ 18955 w 3362992"/>
                  <a:gd name="connsiteY4" fmla="*/ 24194 h 414242"/>
                  <a:gd name="connsiteX5" fmla="*/ 25241 w 3362992"/>
                  <a:gd name="connsiteY5" fmla="*/ 24194 h 414242"/>
                  <a:gd name="connsiteX6" fmla="*/ 25241 w 3362992"/>
                  <a:gd name="connsiteY6" fmla="*/ 30290 h 414242"/>
                  <a:gd name="connsiteX7" fmla="*/ 29432 w 3362992"/>
                  <a:gd name="connsiteY7" fmla="*/ 30290 h 414242"/>
                  <a:gd name="connsiteX8" fmla="*/ 29432 w 3362992"/>
                  <a:gd name="connsiteY8" fmla="*/ 36386 h 414242"/>
                  <a:gd name="connsiteX9" fmla="*/ 46291 w 3362992"/>
                  <a:gd name="connsiteY9" fmla="*/ 36386 h 414242"/>
                  <a:gd name="connsiteX10" fmla="*/ 46291 w 3362992"/>
                  <a:gd name="connsiteY10" fmla="*/ 48482 h 414242"/>
                  <a:gd name="connsiteX11" fmla="*/ 50482 w 3362992"/>
                  <a:gd name="connsiteY11" fmla="*/ 48482 h 414242"/>
                  <a:gd name="connsiteX12" fmla="*/ 50482 w 3362992"/>
                  <a:gd name="connsiteY12" fmla="*/ 54578 h 414242"/>
                  <a:gd name="connsiteX13" fmla="*/ 73628 w 3362992"/>
                  <a:gd name="connsiteY13" fmla="*/ 54578 h 414242"/>
                  <a:gd name="connsiteX14" fmla="*/ 73628 w 3362992"/>
                  <a:gd name="connsiteY14" fmla="*/ 60674 h 414242"/>
                  <a:gd name="connsiteX15" fmla="*/ 77819 w 3362992"/>
                  <a:gd name="connsiteY15" fmla="*/ 60674 h 414242"/>
                  <a:gd name="connsiteX16" fmla="*/ 77819 w 3362992"/>
                  <a:gd name="connsiteY16" fmla="*/ 66675 h 414242"/>
                  <a:gd name="connsiteX17" fmla="*/ 84106 w 3362992"/>
                  <a:gd name="connsiteY17" fmla="*/ 66675 h 414242"/>
                  <a:gd name="connsiteX18" fmla="*/ 84106 w 3362992"/>
                  <a:gd name="connsiteY18" fmla="*/ 78867 h 414242"/>
                  <a:gd name="connsiteX19" fmla="*/ 103060 w 3362992"/>
                  <a:gd name="connsiteY19" fmla="*/ 78867 h 414242"/>
                  <a:gd name="connsiteX20" fmla="*/ 103060 w 3362992"/>
                  <a:gd name="connsiteY20" fmla="*/ 84868 h 414242"/>
                  <a:gd name="connsiteX21" fmla="*/ 111442 w 3362992"/>
                  <a:gd name="connsiteY21" fmla="*/ 84868 h 414242"/>
                  <a:gd name="connsiteX22" fmla="*/ 111442 w 3362992"/>
                  <a:gd name="connsiteY22" fmla="*/ 90964 h 414242"/>
                  <a:gd name="connsiteX23" fmla="*/ 124111 w 3362992"/>
                  <a:gd name="connsiteY23" fmla="*/ 90964 h 414242"/>
                  <a:gd name="connsiteX24" fmla="*/ 124111 w 3362992"/>
                  <a:gd name="connsiteY24" fmla="*/ 97060 h 414242"/>
                  <a:gd name="connsiteX25" fmla="*/ 140970 w 3362992"/>
                  <a:gd name="connsiteY25" fmla="*/ 97060 h 414242"/>
                  <a:gd name="connsiteX26" fmla="*/ 140970 w 3362992"/>
                  <a:gd name="connsiteY26" fmla="*/ 103061 h 414242"/>
                  <a:gd name="connsiteX27" fmla="*/ 168307 w 3362992"/>
                  <a:gd name="connsiteY27" fmla="*/ 103061 h 414242"/>
                  <a:gd name="connsiteX28" fmla="*/ 168307 w 3362992"/>
                  <a:gd name="connsiteY28" fmla="*/ 109157 h 414242"/>
                  <a:gd name="connsiteX29" fmla="*/ 170402 w 3362992"/>
                  <a:gd name="connsiteY29" fmla="*/ 109157 h 414242"/>
                  <a:gd name="connsiteX30" fmla="*/ 170402 w 3362992"/>
                  <a:gd name="connsiteY30" fmla="*/ 115253 h 414242"/>
                  <a:gd name="connsiteX31" fmla="*/ 180879 w 3362992"/>
                  <a:gd name="connsiteY31" fmla="*/ 115253 h 414242"/>
                  <a:gd name="connsiteX32" fmla="*/ 180879 w 3362992"/>
                  <a:gd name="connsiteY32" fmla="*/ 121253 h 414242"/>
                  <a:gd name="connsiteX33" fmla="*/ 187166 w 3362992"/>
                  <a:gd name="connsiteY33" fmla="*/ 121253 h 414242"/>
                  <a:gd name="connsiteX34" fmla="*/ 187166 w 3362992"/>
                  <a:gd name="connsiteY34" fmla="*/ 133445 h 414242"/>
                  <a:gd name="connsiteX35" fmla="*/ 195643 w 3362992"/>
                  <a:gd name="connsiteY35" fmla="*/ 133445 h 414242"/>
                  <a:gd name="connsiteX36" fmla="*/ 195643 w 3362992"/>
                  <a:gd name="connsiteY36" fmla="*/ 139446 h 414242"/>
                  <a:gd name="connsiteX37" fmla="*/ 201930 w 3362992"/>
                  <a:gd name="connsiteY37" fmla="*/ 139446 h 414242"/>
                  <a:gd name="connsiteX38" fmla="*/ 201930 w 3362992"/>
                  <a:gd name="connsiteY38" fmla="*/ 151638 h 414242"/>
                  <a:gd name="connsiteX39" fmla="*/ 204025 w 3362992"/>
                  <a:gd name="connsiteY39" fmla="*/ 151638 h 414242"/>
                  <a:gd name="connsiteX40" fmla="*/ 204025 w 3362992"/>
                  <a:gd name="connsiteY40" fmla="*/ 157734 h 414242"/>
                  <a:gd name="connsiteX41" fmla="*/ 216598 w 3362992"/>
                  <a:gd name="connsiteY41" fmla="*/ 157734 h 414242"/>
                  <a:gd name="connsiteX42" fmla="*/ 216598 w 3362992"/>
                  <a:gd name="connsiteY42" fmla="*/ 163735 h 414242"/>
                  <a:gd name="connsiteX43" fmla="*/ 239744 w 3362992"/>
                  <a:gd name="connsiteY43" fmla="*/ 163735 h 414242"/>
                  <a:gd name="connsiteX44" fmla="*/ 239744 w 3362992"/>
                  <a:gd name="connsiteY44" fmla="*/ 169831 h 414242"/>
                  <a:gd name="connsiteX45" fmla="*/ 246126 w 3362992"/>
                  <a:gd name="connsiteY45" fmla="*/ 169831 h 414242"/>
                  <a:gd name="connsiteX46" fmla="*/ 246126 w 3362992"/>
                  <a:gd name="connsiteY46" fmla="*/ 175927 h 414242"/>
                  <a:gd name="connsiteX47" fmla="*/ 254508 w 3362992"/>
                  <a:gd name="connsiteY47" fmla="*/ 175927 h 414242"/>
                  <a:gd name="connsiteX48" fmla="*/ 254508 w 3362992"/>
                  <a:gd name="connsiteY48" fmla="*/ 181928 h 414242"/>
                  <a:gd name="connsiteX49" fmla="*/ 262890 w 3362992"/>
                  <a:gd name="connsiteY49" fmla="*/ 181928 h 414242"/>
                  <a:gd name="connsiteX50" fmla="*/ 262890 w 3362992"/>
                  <a:gd name="connsiteY50" fmla="*/ 188024 h 414242"/>
                  <a:gd name="connsiteX51" fmla="*/ 267081 w 3362992"/>
                  <a:gd name="connsiteY51" fmla="*/ 188024 h 414242"/>
                  <a:gd name="connsiteX52" fmla="*/ 267081 w 3362992"/>
                  <a:gd name="connsiteY52" fmla="*/ 194120 h 414242"/>
                  <a:gd name="connsiteX53" fmla="*/ 340709 w 3362992"/>
                  <a:gd name="connsiteY53" fmla="*/ 194120 h 414242"/>
                  <a:gd name="connsiteX54" fmla="*/ 340709 w 3362992"/>
                  <a:gd name="connsiteY54" fmla="*/ 200120 h 414242"/>
                  <a:gd name="connsiteX55" fmla="*/ 361759 w 3362992"/>
                  <a:gd name="connsiteY55" fmla="*/ 200120 h 414242"/>
                  <a:gd name="connsiteX56" fmla="*/ 361759 w 3362992"/>
                  <a:gd name="connsiteY56" fmla="*/ 206216 h 414242"/>
                  <a:gd name="connsiteX57" fmla="*/ 368046 w 3362992"/>
                  <a:gd name="connsiteY57" fmla="*/ 206216 h 414242"/>
                  <a:gd name="connsiteX58" fmla="*/ 368046 w 3362992"/>
                  <a:gd name="connsiteY58" fmla="*/ 212312 h 414242"/>
                  <a:gd name="connsiteX59" fmla="*/ 410146 w 3362992"/>
                  <a:gd name="connsiteY59" fmla="*/ 212312 h 414242"/>
                  <a:gd name="connsiteX60" fmla="*/ 410146 w 3362992"/>
                  <a:gd name="connsiteY60" fmla="*/ 218313 h 414242"/>
                  <a:gd name="connsiteX61" fmla="*/ 424815 w 3362992"/>
                  <a:gd name="connsiteY61" fmla="*/ 218313 h 414242"/>
                  <a:gd name="connsiteX62" fmla="*/ 424815 w 3362992"/>
                  <a:gd name="connsiteY62" fmla="*/ 224409 h 414242"/>
                  <a:gd name="connsiteX63" fmla="*/ 454342 w 3362992"/>
                  <a:gd name="connsiteY63" fmla="*/ 224409 h 414242"/>
                  <a:gd name="connsiteX64" fmla="*/ 454342 w 3362992"/>
                  <a:gd name="connsiteY64" fmla="*/ 230505 h 414242"/>
                  <a:gd name="connsiteX65" fmla="*/ 456438 w 3362992"/>
                  <a:gd name="connsiteY65" fmla="*/ 230505 h 414242"/>
                  <a:gd name="connsiteX66" fmla="*/ 456438 w 3362992"/>
                  <a:gd name="connsiteY66" fmla="*/ 236506 h 414242"/>
                  <a:gd name="connsiteX67" fmla="*/ 479488 w 3362992"/>
                  <a:gd name="connsiteY67" fmla="*/ 236506 h 414242"/>
                  <a:gd name="connsiteX68" fmla="*/ 479488 w 3362992"/>
                  <a:gd name="connsiteY68" fmla="*/ 242602 h 414242"/>
                  <a:gd name="connsiteX69" fmla="*/ 492157 w 3362992"/>
                  <a:gd name="connsiteY69" fmla="*/ 242602 h 414242"/>
                  <a:gd name="connsiteX70" fmla="*/ 492157 w 3362992"/>
                  <a:gd name="connsiteY70" fmla="*/ 248698 h 414242"/>
                  <a:gd name="connsiteX71" fmla="*/ 527875 w 3362992"/>
                  <a:gd name="connsiteY71" fmla="*/ 248698 h 414242"/>
                  <a:gd name="connsiteX72" fmla="*/ 527875 w 3362992"/>
                  <a:gd name="connsiteY72" fmla="*/ 254794 h 414242"/>
                  <a:gd name="connsiteX73" fmla="*/ 643604 w 3362992"/>
                  <a:gd name="connsiteY73" fmla="*/ 254794 h 414242"/>
                  <a:gd name="connsiteX74" fmla="*/ 643604 w 3362992"/>
                  <a:gd name="connsiteY74" fmla="*/ 260795 h 414242"/>
                  <a:gd name="connsiteX75" fmla="*/ 681418 w 3362992"/>
                  <a:gd name="connsiteY75" fmla="*/ 260795 h 414242"/>
                  <a:gd name="connsiteX76" fmla="*/ 681418 w 3362992"/>
                  <a:gd name="connsiteY76" fmla="*/ 266986 h 414242"/>
                  <a:gd name="connsiteX77" fmla="*/ 733996 w 3362992"/>
                  <a:gd name="connsiteY77" fmla="*/ 266986 h 414242"/>
                  <a:gd name="connsiteX78" fmla="*/ 733996 w 3362992"/>
                  <a:gd name="connsiteY78" fmla="*/ 273082 h 414242"/>
                  <a:gd name="connsiteX79" fmla="*/ 752951 w 3362992"/>
                  <a:gd name="connsiteY79" fmla="*/ 273082 h 414242"/>
                  <a:gd name="connsiteX80" fmla="*/ 752951 w 3362992"/>
                  <a:gd name="connsiteY80" fmla="*/ 279178 h 414242"/>
                  <a:gd name="connsiteX81" fmla="*/ 763429 w 3362992"/>
                  <a:gd name="connsiteY81" fmla="*/ 279178 h 414242"/>
                  <a:gd name="connsiteX82" fmla="*/ 763429 w 3362992"/>
                  <a:gd name="connsiteY82" fmla="*/ 285369 h 414242"/>
                  <a:gd name="connsiteX83" fmla="*/ 797147 w 3362992"/>
                  <a:gd name="connsiteY83" fmla="*/ 285369 h 414242"/>
                  <a:gd name="connsiteX84" fmla="*/ 797147 w 3362992"/>
                  <a:gd name="connsiteY84" fmla="*/ 291465 h 414242"/>
                  <a:gd name="connsiteX85" fmla="*/ 803434 w 3362992"/>
                  <a:gd name="connsiteY85" fmla="*/ 291465 h 414242"/>
                  <a:gd name="connsiteX86" fmla="*/ 803434 w 3362992"/>
                  <a:gd name="connsiteY86" fmla="*/ 297561 h 414242"/>
                  <a:gd name="connsiteX87" fmla="*/ 818102 w 3362992"/>
                  <a:gd name="connsiteY87" fmla="*/ 297561 h 414242"/>
                  <a:gd name="connsiteX88" fmla="*/ 818102 w 3362992"/>
                  <a:gd name="connsiteY88" fmla="*/ 303657 h 414242"/>
                  <a:gd name="connsiteX89" fmla="*/ 830770 w 3362992"/>
                  <a:gd name="connsiteY89" fmla="*/ 303657 h 414242"/>
                  <a:gd name="connsiteX90" fmla="*/ 830770 w 3362992"/>
                  <a:gd name="connsiteY90" fmla="*/ 309848 h 414242"/>
                  <a:gd name="connsiteX91" fmla="*/ 856012 w 3362992"/>
                  <a:gd name="connsiteY91" fmla="*/ 309848 h 414242"/>
                  <a:gd name="connsiteX92" fmla="*/ 856012 w 3362992"/>
                  <a:gd name="connsiteY92" fmla="*/ 315944 h 414242"/>
                  <a:gd name="connsiteX93" fmla="*/ 1085278 w 3362992"/>
                  <a:gd name="connsiteY93" fmla="*/ 315944 h 414242"/>
                  <a:gd name="connsiteX94" fmla="*/ 1085278 w 3362992"/>
                  <a:gd name="connsiteY94" fmla="*/ 322136 h 414242"/>
                  <a:gd name="connsiteX95" fmla="*/ 1198816 w 3362992"/>
                  <a:gd name="connsiteY95" fmla="*/ 322136 h 414242"/>
                  <a:gd name="connsiteX96" fmla="*/ 1198816 w 3362992"/>
                  <a:gd name="connsiteY96" fmla="*/ 328327 h 414242"/>
                  <a:gd name="connsiteX97" fmla="*/ 1467993 w 3362992"/>
                  <a:gd name="connsiteY97" fmla="*/ 328327 h 414242"/>
                  <a:gd name="connsiteX98" fmla="*/ 1467993 w 3362992"/>
                  <a:gd name="connsiteY98" fmla="*/ 334613 h 414242"/>
                  <a:gd name="connsiteX99" fmla="*/ 1541621 w 3362992"/>
                  <a:gd name="connsiteY99" fmla="*/ 334613 h 414242"/>
                  <a:gd name="connsiteX100" fmla="*/ 1541621 w 3362992"/>
                  <a:gd name="connsiteY100" fmla="*/ 340900 h 414242"/>
                  <a:gd name="connsiteX101" fmla="*/ 1621536 w 3362992"/>
                  <a:gd name="connsiteY101" fmla="*/ 340900 h 414242"/>
                  <a:gd name="connsiteX102" fmla="*/ 1621536 w 3362992"/>
                  <a:gd name="connsiteY102" fmla="*/ 347186 h 414242"/>
                  <a:gd name="connsiteX103" fmla="*/ 1783461 w 3362992"/>
                  <a:gd name="connsiteY103" fmla="*/ 347186 h 414242"/>
                  <a:gd name="connsiteX104" fmla="*/ 1783461 w 3362992"/>
                  <a:gd name="connsiteY104" fmla="*/ 353663 h 414242"/>
                  <a:gd name="connsiteX105" fmla="*/ 1800320 w 3362992"/>
                  <a:gd name="connsiteY105" fmla="*/ 353663 h 414242"/>
                  <a:gd name="connsiteX106" fmla="*/ 1800320 w 3362992"/>
                  <a:gd name="connsiteY106" fmla="*/ 360045 h 414242"/>
                  <a:gd name="connsiteX107" fmla="*/ 1918144 w 3362992"/>
                  <a:gd name="connsiteY107" fmla="*/ 360045 h 414242"/>
                  <a:gd name="connsiteX108" fmla="*/ 1918144 w 3362992"/>
                  <a:gd name="connsiteY108" fmla="*/ 366522 h 414242"/>
                  <a:gd name="connsiteX109" fmla="*/ 2010632 w 3362992"/>
                  <a:gd name="connsiteY109" fmla="*/ 366522 h 414242"/>
                  <a:gd name="connsiteX110" fmla="*/ 2010632 w 3362992"/>
                  <a:gd name="connsiteY110" fmla="*/ 372904 h 414242"/>
                  <a:gd name="connsiteX111" fmla="*/ 2029587 w 3362992"/>
                  <a:gd name="connsiteY111" fmla="*/ 372904 h 414242"/>
                  <a:gd name="connsiteX112" fmla="*/ 2029587 w 3362992"/>
                  <a:gd name="connsiteY112" fmla="*/ 379381 h 414242"/>
                  <a:gd name="connsiteX113" fmla="*/ 2883408 w 3362992"/>
                  <a:gd name="connsiteY113" fmla="*/ 379381 h 414242"/>
                  <a:gd name="connsiteX114" fmla="*/ 2883408 w 3362992"/>
                  <a:gd name="connsiteY114" fmla="*/ 414242 h 414242"/>
                  <a:gd name="connsiteX115" fmla="*/ 3362992 w 3362992"/>
                  <a:gd name="connsiteY115" fmla="*/ 414242 h 414242"/>
                  <a:gd name="connsiteX0" fmla="*/ 0 w 3346133"/>
                  <a:gd name="connsiteY0" fmla="*/ 0 h 408241"/>
                  <a:gd name="connsiteX1" fmla="*/ 0 w 3346133"/>
                  <a:gd name="connsiteY1" fmla="*/ 12192 h 408241"/>
                  <a:gd name="connsiteX2" fmla="*/ 2096 w 3346133"/>
                  <a:gd name="connsiteY2" fmla="*/ 12192 h 408241"/>
                  <a:gd name="connsiteX3" fmla="*/ 2096 w 3346133"/>
                  <a:gd name="connsiteY3" fmla="*/ 18193 h 408241"/>
                  <a:gd name="connsiteX4" fmla="*/ 8382 w 3346133"/>
                  <a:gd name="connsiteY4" fmla="*/ 18193 h 408241"/>
                  <a:gd name="connsiteX5" fmla="*/ 8382 w 3346133"/>
                  <a:gd name="connsiteY5" fmla="*/ 24289 h 408241"/>
                  <a:gd name="connsiteX6" fmla="*/ 12573 w 3346133"/>
                  <a:gd name="connsiteY6" fmla="*/ 24289 h 408241"/>
                  <a:gd name="connsiteX7" fmla="*/ 12573 w 3346133"/>
                  <a:gd name="connsiteY7" fmla="*/ 30385 h 408241"/>
                  <a:gd name="connsiteX8" fmla="*/ 29432 w 3346133"/>
                  <a:gd name="connsiteY8" fmla="*/ 30385 h 408241"/>
                  <a:gd name="connsiteX9" fmla="*/ 29432 w 3346133"/>
                  <a:gd name="connsiteY9" fmla="*/ 42481 h 408241"/>
                  <a:gd name="connsiteX10" fmla="*/ 33623 w 3346133"/>
                  <a:gd name="connsiteY10" fmla="*/ 42481 h 408241"/>
                  <a:gd name="connsiteX11" fmla="*/ 33623 w 3346133"/>
                  <a:gd name="connsiteY11" fmla="*/ 48577 h 408241"/>
                  <a:gd name="connsiteX12" fmla="*/ 56769 w 3346133"/>
                  <a:gd name="connsiteY12" fmla="*/ 48577 h 408241"/>
                  <a:gd name="connsiteX13" fmla="*/ 56769 w 3346133"/>
                  <a:gd name="connsiteY13" fmla="*/ 54673 h 408241"/>
                  <a:gd name="connsiteX14" fmla="*/ 60960 w 3346133"/>
                  <a:gd name="connsiteY14" fmla="*/ 54673 h 408241"/>
                  <a:gd name="connsiteX15" fmla="*/ 60960 w 3346133"/>
                  <a:gd name="connsiteY15" fmla="*/ 60674 h 408241"/>
                  <a:gd name="connsiteX16" fmla="*/ 67247 w 3346133"/>
                  <a:gd name="connsiteY16" fmla="*/ 60674 h 408241"/>
                  <a:gd name="connsiteX17" fmla="*/ 67247 w 3346133"/>
                  <a:gd name="connsiteY17" fmla="*/ 72866 h 408241"/>
                  <a:gd name="connsiteX18" fmla="*/ 86201 w 3346133"/>
                  <a:gd name="connsiteY18" fmla="*/ 72866 h 408241"/>
                  <a:gd name="connsiteX19" fmla="*/ 86201 w 3346133"/>
                  <a:gd name="connsiteY19" fmla="*/ 78867 h 408241"/>
                  <a:gd name="connsiteX20" fmla="*/ 94583 w 3346133"/>
                  <a:gd name="connsiteY20" fmla="*/ 78867 h 408241"/>
                  <a:gd name="connsiteX21" fmla="*/ 94583 w 3346133"/>
                  <a:gd name="connsiteY21" fmla="*/ 84963 h 408241"/>
                  <a:gd name="connsiteX22" fmla="*/ 107252 w 3346133"/>
                  <a:gd name="connsiteY22" fmla="*/ 84963 h 408241"/>
                  <a:gd name="connsiteX23" fmla="*/ 107252 w 3346133"/>
                  <a:gd name="connsiteY23" fmla="*/ 91059 h 408241"/>
                  <a:gd name="connsiteX24" fmla="*/ 124111 w 3346133"/>
                  <a:gd name="connsiteY24" fmla="*/ 91059 h 408241"/>
                  <a:gd name="connsiteX25" fmla="*/ 124111 w 3346133"/>
                  <a:gd name="connsiteY25" fmla="*/ 97060 h 408241"/>
                  <a:gd name="connsiteX26" fmla="*/ 151448 w 3346133"/>
                  <a:gd name="connsiteY26" fmla="*/ 97060 h 408241"/>
                  <a:gd name="connsiteX27" fmla="*/ 151448 w 3346133"/>
                  <a:gd name="connsiteY27" fmla="*/ 103156 h 408241"/>
                  <a:gd name="connsiteX28" fmla="*/ 153543 w 3346133"/>
                  <a:gd name="connsiteY28" fmla="*/ 103156 h 408241"/>
                  <a:gd name="connsiteX29" fmla="*/ 153543 w 3346133"/>
                  <a:gd name="connsiteY29" fmla="*/ 109252 h 408241"/>
                  <a:gd name="connsiteX30" fmla="*/ 164020 w 3346133"/>
                  <a:gd name="connsiteY30" fmla="*/ 109252 h 408241"/>
                  <a:gd name="connsiteX31" fmla="*/ 164020 w 3346133"/>
                  <a:gd name="connsiteY31" fmla="*/ 115252 h 408241"/>
                  <a:gd name="connsiteX32" fmla="*/ 170307 w 3346133"/>
                  <a:gd name="connsiteY32" fmla="*/ 115252 h 408241"/>
                  <a:gd name="connsiteX33" fmla="*/ 170307 w 3346133"/>
                  <a:gd name="connsiteY33" fmla="*/ 127444 h 408241"/>
                  <a:gd name="connsiteX34" fmla="*/ 178784 w 3346133"/>
                  <a:gd name="connsiteY34" fmla="*/ 127444 h 408241"/>
                  <a:gd name="connsiteX35" fmla="*/ 178784 w 3346133"/>
                  <a:gd name="connsiteY35" fmla="*/ 133445 h 408241"/>
                  <a:gd name="connsiteX36" fmla="*/ 185071 w 3346133"/>
                  <a:gd name="connsiteY36" fmla="*/ 133445 h 408241"/>
                  <a:gd name="connsiteX37" fmla="*/ 185071 w 3346133"/>
                  <a:gd name="connsiteY37" fmla="*/ 145637 h 408241"/>
                  <a:gd name="connsiteX38" fmla="*/ 187166 w 3346133"/>
                  <a:gd name="connsiteY38" fmla="*/ 145637 h 408241"/>
                  <a:gd name="connsiteX39" fmla="*/ 187166 w 3346133"/>
                  <a:gd name="connsiteY39" fmla="*/ 151733 h 408241"/>
                  <a:gd name="connsiteX40" fmla="*/ 199739 w 3346133"/>
                  <a:gd name="connsiteY40" fmla="*/ 151733 h 408241"/>
                  <a:gd name="connsiteX41" fmla="*/ 199739 w 3346133"/>
                  <a:gd name="connsiteY41" fmla="*/ 157734 h 408241"/>
                  <a:gd name="connsiteX42" fmla="*/ 222885 w 3346133"/>
                  <a:gd name="connsiteY42" fmla="*/ 157734 h 408241"/>
                  <a:gd name="connsiteX43" fmla="*/ 222885 w 3346133"/>
                  <a:gd name="connsiteY43" fmla="*/ 163830 h 408241"/>
                  <a:gd name="connsiteX44" fmla="*/ 229267 w 3346133"/>
                  <a:gd name="connsiteY44" fmla="*/ 163830 h 408241"/>
                  <a:gd name="connsiteX45" fmla="*/ 229267 w 3346133"/>
                  <a:gd name="connsiteY45" fmla="*/ 169926 h 408241"/>
                  <a:gd name="connsiteX46" fmla="*/ 237649 w 3346133"/>
                  <a:gd name="connsiteY46" fmla="*/ 169926 h 408241"/>
                  <a:gd name="connsiteX47" fmla="*/ 237649 w 3346133"/>
                  <a:gd name="connsiteY47" fmla="*/ 175927 h 408241"/>
                  <a:gd name="connsiteX48" fmla="*/ 246031 w 3346133"/>
                  <a:gd name="connsiteY48" fmla="*/ 175927 h 408241"/>
                  <a:gd name="connsiteX49" fmla="*/ 246031 w 3346133"/>
                  <a:gd name="connsiteY49" fmla="*/ 182023 h 408241"/>
                  <a:gd name="connsiteX50" fmla="*/ 250222 w 3346133"/>
                  <a:gd name="connsiteY50" fmla="*/ 182023 h 408241"/>
                  <a:gd name="connsiteX51" fmla="*/ 250222 w 3346133"/>
                  <a:gd name="connsiteY51" fmla="*/ 188119 h 408241"/>
                  <a:gd name="connsiteX52" fmla="*/ 323850 w 3346133"/>
                  <a:gd name="connsiteY52" fmla="*/ 188119 h 408241"/>
                  <a:gd name="connsiteX53" fmla="*/ 323850 w 3346133"/>
                  <a:gd name="connsiteY53" fmla="*/ 194119 h 408241"/>
                  <a:gd name="connsiteX54" fmla="*/ 344900 w 3346133"/>
                  <a:gd name="connsiteY54" fmla="*/ 194119 h 408241"/>
                  <a:gd name="connsiteX55" fmla="*/ 344900 w 3346133"/>
                  <a:gd name="connsiteY55" fmla="*/ 200215 h 408241"/>
                  <a:gd name="connsiteX56" fmla="*/ 351187 w 3346133"/>
                  <a:gd name="connsiteY56" fmla="*/ 200215 h 408241"/>
                  <a:gd name="connsiteX57" fmla="*/ 351187 w 3346133"/>
                  <a:gd name="connsiteY57" fmla="*/ 206311 h 408241"/>
                  <a:gd name="connsiteX58" fmla="*/ 393287 w 3346133"/>
                  <a:gd name="connsiteY58" fmla="*/ 206311 h 408241"/>
                  <a:gd name="connsiteX59" fmla="*/ 393287 w 3346133"/>
                  <a:gd name="connsiteY59" fmla="*/ 212312 h 408241"/>
                  <a:gd name="connsiteX60" fmla="*/ 407956 w 3346133"/>
                  <a:gd name="connsiteY60" fmla="*/ 212312 h 408241"/>
                  <a:gd name="connsiteX61" fmla="*/ 407956 w 3346133"/>
                  <a:gd name="connsiteY61" fmla="*/ 218408 h 408241"/>
                  <a:gd name="connsiteX62" fmla="*/ 437483 w 3346133"/>
                  <a:gd name="connsiteY62" fmla="*/ 218408 h 408241"/>
                  <a:gd name="connsiteX63" fmla="*/ 437483 w 3346133"/>
                  <a:gd name="connsiteY63" fmla="*/ 224504 h 408241"/>
                  <a:gd name="connsiteX64" fmla="*/ 439579 w 3346133"/>
                  <a:gd name="connsiteY64" fmla="*/ 224504 h 408241"/>
                  <a:gd name="connsiteX65" fmla="*/ 439579 w 3346133"/>
                  <a:gd name="connsiteY65" fmla="*/ 230505 h 408241"/>
                  <a:gd name="connsiteX66" fmla="*/ 462629 w 3346133"/>
                  <a:gd name="connsiteY66" fmla="*/ 230505 h 408241"/>
                  <a:gd name="connsiteX67" fmla="*/ 462629 w 3346133"/>
                  <a:gd name="connsiteY67" fmla="*/ 236601 h 408241"/>
                  <a:gd name="connsiteX68" fmla="*/ 475298 w 3346133"/>
                  <a:gd name="connsiteY68" fmla="*/ 236601 h 408241"/>
                  <a:gd name="connsiteX69" fmla="*/ 475298 w 3346133"/>
                  <a:gd name="connsiteY69" fmla="*/ 242697 h 408241"/>
                  <a:gd name="connsiteX70" fmla="*/ 511016 w 3346133"/>
                  <a:gd name="connsiteY70" fmla="*/ 242697 h 408241"/>
                  <a:gd name="connsiteX71" fmla="*/ 511016 w 3346133"/>
                  <a:gd name="connsiteY71" fmla="*/ 248793 h 408241"/>
                  <a:gd name="connsiteX72" fmla="*/ 626745 w 3346133"/>
                  <a:gd name="connsiteY72" fmla="*/ 248793 h 408241"/>
                  <a:gd name="connsiteX73" fmla="*/ 626745 w 3346133"/>
                  <a:gd name="connsiteY73" fmla="*/ 254794 h 408241"/>
                  <a:gd name="connsiteX74" fmla="*/ 664559 w 3346133"/>
                  <a:gd name="connsiteY74" fmla="*/ 254794 h 408241"/>
                  <a:gd name="connsiteX75" fmla="*/ 664559 w 3346133"/>
                  <a:gd name="connsiteY75" fmla="*/ 260985 h 408241"/>
                  <a:gd name="connsiteX76" fmla="*/ 717137 w 3346133"/>
                  <a:gd name="connsiteY76" fmla="*/ 260985 h 408241"/>
                  <a:gd name="connsiteX77" fmla="*/ 717137 w 3346133"/>
                  <a:gd name="connsiteY77" fmla="*/ 267081 h 408241"/>
                  <a:gd name="connsiteX78" fmla="*/ 736092 w 3346133"/>
                  <a:gd name="connsiteY78" fmla="*/ 267081 h 408241"/>
                  <a:gd name="connsiteX79" fmla="*/ 736092 w 3346133"/>
                  <a:gd name="connsiteY79" fmla="*/ 273177 h 408241"/>
                  <a:gd name="connsiteX80" fmla="*/ 746570 w 3346133"/>
                  <a:gd name="connsiteY80" fmla="*/ 273177 h 408241"/>
                  <a:gd name="connsiteX81" fmla="*/ 746570 w 3346133"/>
                  <a:gd name="connsiteY81" fmla="*/ 279368 h 408241"/>
                  <a:gd name="connsiteX82" fmla="*/ 780288 w 3346133"/>
                  <a:gd name="connsiteY82" fmla="*/ 279368 h 408241"/>
                  <a:gd name="connsiteX83" fmla="*/ 780288 w 3346133"/>
                  <a:gd name="connsiteY83" fmla="*/ 285464 h 408241"/>
                  <a:gd name="connsiteX84" fmla="*/ 786575 w 3346133"/>
                  <a:gd name="connsiteY84" fmla="*/ 285464 h 408241"/>
                  <a:gd name="connsiteX85" fmla="*/ 786575 w 3346133"/>
                  <a:gd name="connsiteY85" fmla="*/ 291560 h 408241"/>
                  <a:gd name="connsiteX86" fmla="*/ 801243 w 3346133"/>
                  <a:gd name="connsiteY86" fmla="*/ 291560 h 408241"/>
                  <a:gd name="connsiteX87" fmla="*/ 801243 w 3346133"/>
                  <a:gd name="connsiteY87" fmla="*/ 297656 h 408241"/>
                  <a:gd name="connsiteX88" fmla="*/ 813911 w 3346133"/>
                  <a:gd name="connsiteY88" fmla="*/ 297656 h 408241"/>
                  <a:gd name="connsiteX89" fmla="*/ 813911 w 3346133"/>
                  <a:gd name="connsiteY89" fmla="*/ 303847 h 408241"/>
                  <a:gd name="connsiteX90" fmla="*/ 839153 w 3346133"/>
                  <a:gd name="connsiteY90" fmla="*/ 303847 h 408241"/>
                  <a:gd name="connsiteX91" fmla="*/ 839153 w 3346133"/>
                  <a:gd name="connsiteY91" fmla="*/ 309943 h 408241"/>
                  <a:gd name="connsiteX92" fmla="*/ 1068419 w 3346133"/>
                  <a:gd name="connsiteY92" fmla="*/ 309943 h 408241"/>
                  <a:gd name="connsiteX93" fmla="*/ 1068419 w 3346133"/>
                  <a:gd name="connsiteY93" fmla="*/ 316135 h 408241"/>
                  <a:gd name="connsiteX94" fmla="*/ 1181957 w 3346133"/>
                  <a:gd name="connsiteY94" fmla="*/ 316135 h 408241"/>
                  <a:gd name="connsiteX95" fmla="*/ 1181957 w 3346133"/>
                  <a:gd name="connsiteY95" fmla="*/ 322326 h 408241"/>
                  <a:gd name="connsiteX96" fmla="*/ 1451134 w 3346133"/>
                  <a:gd name="connsiteY96" fmla="*/ 322326 h 408241"/>
                  <a:gd name="connsiteX97" fmla="*/ 1451134 w 3346133"/>
                  <a:gd name="connsiteY97" fmla="*/ 328612 h 408241"/>
                  <a:gd name="connsiteX98" fmla="*/ 1524762 w 3346133"/>
                  <a:gd name="connsiteY98" fmla="*/ 328612 h 408241"/>
                  <a:gd name="connsiteX99" fmla="*/ 1524762 w 3346133"/>
                  <a:gd name="connsiteY99" fmla="*/ 334899 h 408241"/>
                  <a:gd name="connsiteX100" fmla="*/ 1604677 w 3346133"/>
                  <a:gd name="connsiteY100" fmla="*/ 334899 h 408241"/>
                  <a:gd name="connsiteX101" fmla="*/ 1604677 w 3346133"/>
                  <a:gd name="connsiteY101" fmla="*/ 341185 h 408241"/>
                  <a:gd name="connsiteX102" fmla="*/ 1766602 w 3346133"/>
                  <a:gd name="connsiteY102" fmla="*/ 341185 h 408241"/>
                  <a:gd name="connsiteX103" fmla="*/ 1766602 w 3346133"/>
                  <a:gd name="connsiteY103" fmla="*/ 347662 h 408241"/>
                  <a:gd name="connsiteX104" fmla="*/ 1783461 w 3346133"/>
                  <a:gd name="connsiteY104" fmla="*/ 347662 h 408241"/>
                  <a:gd name="connsiteX105" fmla="*/ 1783461 w 3346133"/>
                  <a:gd name="connsiteY105" fmla="*/ 354044 h 408241"/>
                  <a:gd name="connsiteX106" fmla="*/ 1901285 w 3346133"/>
                  <a:gd name="connsiteY106" fmla="*/ 354044 h 408241"/>
                  <a:gd name="connsiteX107" fmla="*/ 1901285 w 3346133"/>
                  <a:gd name="connsiteY107" fmla="*/ 360521 h 408241"/>
                  <a:gd name="connsiteX108" fmla="*/ 1993773 w 3346133"/>
                  <a:gd name="connsiteY108" fmla="*/ 360521 h 408241"/>
                  <a:gd name="connsiteX109" fmla="*/ 1993773 w 3346133"/>
                  <a:gd name="connsiteY109" fmla="*/ 366903 h 408241"/>
                  <a:gd name="connsiteX110" fmla="*/ 2012728 w 3346133"/>
                  <a:gd name="connsiteY110" fmla="*/ 366903 h 408241"/>
                  <a:gd name="connsiteX111" fmla="*/ 2012728 w 3346133"/>
                  <a:gd name="connsiteY111" fmla="*/ 373380 h 408241"/>
                  <a:gd name="connsiteX112" fmla="*/ 2866549 w 3346133"/>
                  <a:gd name="connsiteY112" fmla="*/ 373380 h 408241"/>
                  <a:gd name="connsiteX113" fmla="*/ 2866549 w 3346133"/>
                  <a:gd name="connsiteY113" fmla="*/ 408241 h 408241"/>
                  <a:gd name="connsiteX114" fmla="*/ 3346133 w 3346133"/>
                  <a:gd name="connsiteY114" fmla="*/ 408241 h 408241"/>
                  <a:gd name="connsiteX0" fmla="*/ 0 w 3346133"/>
                  <a:gd name="connsiteY0" fmla="*/ 0 h 396049"/>
                  <a:gd name="connsiteX1" fmla="*/ 2096 w 3346133"/>
                  <a:gd name="connsiteY1" fmla="*/ 0 h 396049"/>
                  <a:gd name="connsiteX2" fmla="*/ 2096 w 3346133"/>
                  <a:gd name="connsiteY2" fmla="*/ 6001 h 396049"/>
                  <a:gd name="connsiteX3" fmla="*/ 8382 w 3346133"/>
                  <a:gd name="connsiteY3" fmla="*/ 6001 h 396049"/>
                  <a:gd name="connsiteX4" fmla="*/ 8382 w 3346133"/>
                  <a:gd name="connsiteY4" fmla="*/ 12097 h 396049"/>
                  <a:gd name="connsiteX5" fmla="*/ 12573 w 3346133"/>
                  <a:gd name="connsiteY5" fmla="*/ 12097 h 396049"/>
                  <a:gd name="connsiteX6" fmla="*/ 12573 w 3346133"/>
                  <a:gd name="connsiteY6" fmla="*/ 18193 h 396049"/>
                  <a:gd name="connsiteX7" fmla="*/ 29432 w 3346133"/>
                  <a:gd name="connsiteY7" fmla="*/ 18193 h 396049"/>
                  <a:gd name="connsiteX8" fmla="*/ 29432 w 3346133"/>
                  <a:gd name="connsiteY8" fmla="*/ 30289 h 396049"/>
                  <a:gd name="connsiteX9" fmla="*/ 33623 w 3346133"/>
                  <a:gd name="connsiteY9" fmla="*/ 30289 h 396049"/>
                  <a:gd name="connsiteX10" fmla="*/ 33623 w 3346133"/>
                  <a:gd name="connsiteY10" fmla="*/ 36385 h 396049"/>
                  <a:gd name="connsiteX11" fmla="*/ 56769 w 3346133"/>
                  <a:gd name="connsiteY11" fmla="*/ 36385 h 396049"/>
                  <a:gd name="connsiteX12" fmla="*/ 56769 w 3346133"/>
                  <a:gd name="connsiteY12" fmla="*/ 42481 h 396049"/>
                  <a:gd name="connsiteX13" fmla="*/ 60960 w 3346133"/>
                  <a:gd name="connsiteY13" fmla="*/ 42481 h 396049"/>
                  <a:gd name="connsiteX14" fmla="*/ 60960 w 3346133"/>
                  <a:gd name="connsiteY14" fmla="*/ 48482 h 396049"/>
                  <a:gd name="connsiteX15" fmla="*/ 67247 w 3346133"/>
                  <a:gd name="connsiteY15" fmla="*/ 48482 h 396049"/>
                  <a:gd name="connsiteX16" fmla="*/ 67247 w 3346133"/>
                  <a:gd name="connsiteY16" fmla="*/ 60674 h 396049"/>
                  <a:gd name="connsiteX17" fmla="*/ 86201 w 3346133"/>
                  <a:gd name="connsiteY17" fmla="*/ 60674 h 396049"/>
                  <a:gd name="connsiteX18" fmla="*/ 86201 w 3346133"/>
                  <a:gd name="connsiteY18" fmla="*/ 66675 h 396049"/>
                  <a:gd name="connsiteX19" fmla="*/ 94583 w 3346133"/>
                  <a:gd name="connsiteY19" fmla="*/ 66675 h 396049"/>
                  <a:gd name="connsiteX20" fmla="*/ 94583 w 3346133"/>
                  <a:gd name="connsiteY20" fmla="*/ 72771 h 396049"/>
                  <a:gd name="connsiteX21" fmla="*/ 107252 w 3346133"/>
                  <a:gd name="connsiteY21" fmla="*/ 72771 h 396049"/>
                  <a:gd name="connsiteX22" fmla="*/ 107252 w 3346133"/>
                  <a:gd name="connsiteY22" fmla="*/ 78867 h 396049"/>
                  <a:gd name="connsiteX23" fmla="*/ 124111 w 3346133"/>
                  <a:gd name="connsiteY23" fmla="*/ 78867 h 396049"/>
                  <a:gd name="connsiteX24" fmla="*/ 124111 w 3346133"/>
                  <a:gd name="connsiteY24" fmla="*/ 84868 h 396049"/>
                  <a:gd name="connsiteX25" fmla="*/ 151448 w 3346133"/>
                  <a:gd name="connsiteY25" fmla="*/ 84868 h 396049"/>
                  <a:gd name="connsiteX26" fmla="*/ 151448 w 3346133"/>
                  <a:gd name="connsiteY26" fmla="*/ 90964 h 396049"/>
                  <a:gd name="connsiteX27" fmla="*/ 153543 w 3346133"/>
                  <a:gd name="connsiteY27" fmla="*/ 90964 h 396049"/>
                  <a:gd name="connsiteX28" fmla="*/ 153543 w 3346133"/>
                  <a:gd name="connsiteY28" fmla="*/ 97060 h 396049"/>
                  <a:gd name="connsiteX29" fmla="*/ 164020 w 3346133"/>
                  <a:gd name="connsiteY29" fmla="*/ 97060 h 396049"/>
                  <a:gd name="connsiteX30" fmla="*/ 164020 w 3346133"/>
                  <a:gd name="connsiteY30" fmla="*/ 103060 h 396049"/>
                  <a:gd name="connsiteX31" fmla="*/ 170307 w 3346133"/>
                  <a:gd name="connsiteY31" fmla="*/ 103060 h 396049"/>
                  <a:gd name="connsiteX32" fmla="*/ 170307 w 3346133"/>
                  <a:gd name="connsiteY32" fmla="*/ 115252 h 396049"/>
                  <a:gd name="connsiteX33" fmla="*/ 178784 w 3346133"/>
                  <a:gd name="connsiteY33" fmla="*/ 115252 h 396049"/>
                  <a:gd name="connsiteX34" fmla="*/ 178784 w 3346133"/>
                  <a:gd name="connsiteY34" fmla="*/ 121253 h 396049"/>
                  <a:gd name="connsiteX35" fmla="*/ 185071 w 3346133"/>
                  <a:gd name="connsiteY35" fmla="*/ 121253 h 396049"/>
                  <a:gd name="connsiteX36" fmla="*/ 185071 w 3346133"/>
                  <a:gd name="connsiteY36" fmla="*/ 133445 h 396049"/>
                  <a:gd name="connsiteX37" fmla="*/ 187166 w 3346133"/>
                  <a:gd name="connsiteY37" fmla="*/ 133445 h 396049"/>
                  <a:gd name="connsiteX38" fmla="*/ 187166 w 3346133"/>
                  <a:gd name="connsiteY38" fmla="*/ 139541 h 396049"/>
                  <a:gd name="connsiteX39" fmla="*/ 199739 w 3346133"/>
                  <a:gd name="connsiteY39" fmla="*/ 139541 h 396049"/>
                  <a:gd name="connsiteX40" fmla="*/ 199739 w 3346133"/>
                  <a:gd name="connsiteY40" fmla="*/ 145542 h 396049"/>
                  <a:gd name="connsiteX41" fmla="*/ 222885 w 3346133"/>
                  <a:gd name="connsiteY41" fmla="*/ 145542 h 396049"/>
                  <a:gd name="connsiteX42" fmla="*/ 222885 w 3346133"/>
                  <a:gd name="connsiteY42" fmla="*/ 151638 h 396049"/>
                  <a:gd name="connsiteX43" fmla="*/ 229267 w 3346133"/>
                  <a:gd name="connsiteY43" fmla="*/ 151638 h 396049"/>
                  <a:gd name="connsiteX44" fmla="*/ 229267 w 3346133"/>
                  <a:gd name="connsiteY44" fmla="*/ 157734 h 396049"/>
                  <a:gd name="connsiteX45" fmla="*/ 237649 w 3346133"/>
                  <a:gd name="connsiteY45" fmla="*/ 157734 h 396049"/>
                  <a:gd name="connsiteX46" fmla="*/ 237649 w 3346133"/>
                  <a:gd name="connsiteY46" fmla="*/ 163735 h 396049"/>
                  <a:gd name="connsiteX47" fmla="*/ 246031 w 3346133"/>
                  <a:gd name="connsiteY47" fmla="*/ 163735 h 396049"/>
                  <a:gd name="connsiteX48" fmla="*/ 246031 w 3346133"/>
                  <a:gd name="connsiteY48" fmla="*/ 169831 h 396049"/>
                  <a:gd name="connsiteX49" fmla="*/ 250222 w 3346133"/>
                  <a:gd name="connsiteY49" fmla="*/ 169831 h 396049"/>
                  <a:gd name="connsiteX50" fmla="*/ 250222 w 3346133"/>
                  <a:gd name="connsiteY50" fmla="*/ 175927 h 396049"/>
                  <a:gd name="connsiteX51" fmla="*/ 323850 w 3346133"/>
                  <a:gd name="connsiteY51" fmla="*/ 175927 h 396049"/>
                  <a:gd name="connsiteX52" fmla="*/ 323850 w 3346133"/>
                  <a:gd name="connsiteY52" fmla="*/ 181927 h 396049"/>
                  <a:gd name="connsiteX53" fmla="*/ 344900 w 3346133"/>
                  <a:gd name="connsiteY53" fmla="*/ 181927 h 396049"/>
                  <a:gd name="connsiteX54" fmla="*/ 344900 w 3346133"/>
                  <a:gd name="connsiteY54" fmla="*/ 188023 h 396049"/>
                  <a:gd name="connsiteX55" fmla="*/ 351187 w 3346133"/>
                  <a:gd name="connsiteY55" fmla="*/ 188023 h 396049"/>
                  <a:gd name="connsiteX56" fmla="*/ 351187 w 3346133"/>
                  <a:gd name="connsiteY56" fmla="*/ 194119 h 396049"/>
                  <a:gd name="connsiteX57" fmla="*/ 393287 w 3346133"/>
                  <a:gd name="connsiteY57" fmla="*/ 194119 h 396049"/>
                  <a:gd name="connsiteX58" fmla="*/ 393287 w 3346133"/>
                  <a:gd name="connsiteY58" fmla="*/ 200120 h 396049"/>
                  <a:gd name="connsiteX59" fmla="*/ 407956 w 3346133"/>
                  <a:gd name="connsiteY59" fmla="*/ 200120 h 396049"/>
                  <a:gd name="connsiteX60" fmla="*/ 407956 w 3346133"/>
                  <a:gd name="connsiteY60" fmla="*/ 206216 h 396049"/>
                  <a:gd name="connsiteX61" fmla="*/ 437483 w 3346133"/>
                  <a:gd name="connsiteY61" fmla="*/ 206216 h 396049"/>
                  <a:gd name="connsiteX62" fmla="*/ 437483 w 3346133"/>
                  <a:gd name="connsiteY62" fmla="*/ 212312 h 396049"/>
                  <a:gd name="connsiteX63" fmla="*/ 439579 w 3346133"/>
                  <a:gd name="connsiteY63" fmla="*/ 212312 h 396049"/>
                  <a:gd name="connsiteX64" fmla="*/ 439579 w 3346133"/>
                  <a:gd name="connsiteY64" fmla="*/ 218313 h 396049"/>
                  <a:gd name="connsiteX65" fmla="*/ 462629 w 3346133"/>
                  <a:gd name="connsiteY65" fmla="*/ 218313 h 396049"/>
                  <a:gd name="connsiteX66" fmla="*/ 462629 w 3346133"/>
                  <a:gd name="connsiteY66" fmla="*/ 224409 h 396049"/>
                  <a:gd name="connsiteX67" fmla="*/ 475298 w 3346133"/>
                  <a:gd name="connsiteY67" fmla="*/ 224409 h 396049"/>
                  <a:gd name="connsiteX68" fmla="*/ 475298 w 3346133"/>
                  <a:gd name="connsiteY68" fmla="*/ 230505 h 396049"/>
                  <a:gd name="connsiteX69" fmla="*/ 511016 w 3346133"/>
                  <a:gd name="connsiteY69" fmla="*/ 230505 h 396049"/>
                  <a:gd name="connsiteX70" fmla="*/ 511016 w 3346133"/>
                  <a:gd name="connsiteY70" fmla="*/ 236601 h 396049"/>
                  <a:gd name="connsiteX71" fmla="*/ 626745 w 3346133"/>
                  <a:gd name="connsiteY71" fmla="*/ 236601 h 396049"/>
                  <a:gd name="connsiteX72" fmla="*/ 626745 w 3346133"/>
                  <a:gd name="connsiteY72" fmla="*/ 242602 h 396049"/>
                  <a:gd name="connsiteX73" fmla="*/ 664559 w 3346133"/>
                  <a:gd name="connsiteY73" fmla="*/ 242602 h 396049"/>
                  <a:gd name="connsiteX74" fmla="*/ 664559 w 3346133"/>
                  <a:gd name="connsiteY74" fmla="*/ 248793 h 396049"/>
                  <a:gd name="connsiteX75" fmla="*/ 717137 w 3346133"/>
                  <a:gd name="connsiteY75" fmla="*/ 248793 h 396049"/>
                  <a:gd name="connsiteX76" fmla="*/ 717137 w 3346133"/>
                  <a:gd name="connsiteY76" fmla="*/ 254889 h 396049"/>
                  <a:gd name="connsiteX77" fmla="*/ 736092 w 3346133"/>
                  <a:gd name="connsiteY77" fmla="*/ 254889 h 396049"/>
                  <a:gd name="connsiteX78" fmla="*/ 736092 w 3346133"/>
                  <a:gd name="connsiteY78" fmla="*/ 260985 h 396049"/>
                  <a:gd name="connsiteX79" fmla="*/ 746570 w 3346133"/>
                  <a:gd name="connsiteY79" fmla="*/ 260985 h 396049"/>
                  <a:gd name="connsiteX80" fmla="*/ 746570 w 3346133"/>
                  <a:gd name="connsiteY80" fmla="*/ 267176 h 396049"/>
                  <a:gd name="connsiteX81" fmla="*/ 780288 w 3346133"/>
                  <a:gd name="connsiteY81" fmla="*/ 267176 h 396049"/>
                  <a:gd name="connsiteX82" fmla="*/ 780288 w 3346133"/>
                  <a:gd name="connsiteY82" fmla="*/ 273272 h 396049"/>
                  <a:gd name="connsiteX83" fmla="*/ 786575 w 3346133"/>
                  <a:gd name="connsiteY83" fmla="*/ 273272 h 396049"/>
                  <a:gd name="connsiteX84" fmla="*/ 786575 w 3346133"/>
                  <a:gd name="connsiteY84" fmla="*/ 279368 h 396049"/>
                  <a:gd name="connsiteX85" fmla="*/ 801243 w 3346133"/>
                  <a:gd name="connsiteY85" fmla="*/ 279368 h 396049"/>
                  <a:gd name="connsiteX86" fmla="*/ 801243 w 3346133"/>
                  <a:gd name="connsiteY86" fmla="*/ 285464 h 396049"/>
                  <a:gd name="connsiteX87" fmla="*/ 813911 w 3346133"/>
                  <a:gd name="connsiteY87" fmla="*/ 285464 h 396049"/>
                  <a:gd name="connsiteX88" fmla="*/ 813911 w 3346133"/>
                  <a:gd name="connsiteY88" fmla="*/ 291655 h 396049"/>
                  <a:gd name="connsiteX89" fmla="*/ 839153 w 3346133"/>
                  <a:gd name="connsiteY89" fmla="*/ 291655 h 396049"/>
                  <a:gd name="connsiteX90" fmla="*/ 839153 w 3346133"/>
                  <a:gd name="connsiteY90" fmla="*/ 297751 h 396049"/>
                  <a:gd name="connsiteX91" fmla="*/ 1068419 w 3346133"/>
                  <a:gd name="connsiteY91" fmla="*/ 297751 h 396049"/>
                  <a:gd name="connsiteX92" fmla="*/ 1068419 w 3346133"/>
                  <a:gd name="connsiteY92" fmla="*/ 303943 h 396049"/>
                  <a:gd name="connsiteX93" fmla="*/ 1181957 w 3346133"/>
                  <a:gd name="connsiteY93" fmla="*/ 303943 h 396049"/>
                  <a:gd name="connsiteX94" fmla="*/ 1181957 w 3346133"/>
                  <a:gd name="connsiteY94" fmla="*/ 310134 h 396049"/>
                  <a:gd name="connsiteX95" fmla="*/ 1451134 w 3346133"/>
                  <a:gd name="connsiteY95" fmla="*/ 310134 h 396049"/>
                  <a:gd name="connsiteX96" fmla="*/ 1451134 w 3346133"/>
                  <a:gd name="connsiteY96" fmla="*/ 316420 h 396049"/>
                  <a:gd name="connsiteX97" fmla="*/ 1524762 w 3346133"/>
                  <a:gd name="connsiteY97" fmla="*/ 316420 h 396049"/>
                  <a:gd name="connsiteX98" fmla="*/ 1524762 w 3346133"/>
                  <a:gd name="connsiteY98" fmla="*/ 322707 h 396049"/>
                  <a:gd name="connsiteX99" fmla="*/ 1604677 w 3346133"/>
                  <a:gd name="connsiteY99" fmla="*/ 322707 h 396049"/>
                  <a:gd name="connsiteX100" fmla="*/ 1604677 w 3346133"/>
                  <a:gd name="connsiteY100" fmla="*/ 328993 h 396049"/>
                  <a:gd name="connsiteX101" fmla="*/ 1766602 w 3346133"/>
                  <a:gd name="connsiteY101" fmla="*/ 328993 h 396049"/>
                  <a:gd name="connsiteX102" fmla="*/ 1766602 w 3346133"/>
                  <a:gd name="connsiteY102" fmla="*/ 335470 h 396049"/>
                  <a:gd name="connsiteX103" fmla="*/ 1783461 w 3346133"/>
                  <a:gd name="connsiteY103" fmla="*/ 335470 h 396049"/>
                  <a:gd name="connsiteX104" fmla="*/ 1783461 w 3346133"/>
                  <a:gd name="connsiteY104" fmla="*/ 341852 h 396049"/>
                  <a:gd name="connsiteX105" fmla="*/ 1901285 w 3346133"/>
                  <a:gd name="connsiteY105" fmla="*/ 341852 h 396049"/>
                  <a:gd name="connsiteX106" fmla="*/ 1901285 w 3346133"/>
                  <a:gd name="connsiteY106" fmla="*/ 348329 h 396049"/>
                  <a:gd name="connsiteX107" fmla="*/ 1993773 w 3346133"/>
                  <a:gd name="connsiteY107" fmla="*/ 348329 h 396049"/>
                  <a:gd name="connsiteX108" fmla="*/ 1993773 w 3346133"/>
                  <a:gd name="connsiteY108" fmla="*/ 354711 h 396049"/>
                  <a:gd name="connsiteX109" fmla="*/ 2012728 w 3346133"/>
                  <a:gd name="connsiteY109" fmla="*/ 354711 h 396049"/>
                  <a:gd name="connsiteX110" fmla="*/ 2012728 w 3346133"/>
                  <a:gd name="connsiteY110" fmla="*/ 361188 h 396049"/>
                  <a:gd name="connsiteX111" fmla="*/ 2866549 w 3346133"/>
                  <a:gd name="connsiteY111" fmla="*/ 361188 h 396049"/>
                  <a:gd name="connsiteX112" fmla="*/ 2866549 w 3346133"/>
                  <a:gd name="connsiteY112" fmla="*/ 396049 h 396049"/>
                  <a:gd name="connsiteX113" fmla="*/ 3346133 w 3346133"/>
                  <a:gd name="connsiteY113" fmla="*/ 396049 h 396049"/>
                  <a:gd name="connsiteX0" fmla="*/ 0 w 3346133"/>
                  <a:gd name="connsiteY0" fmla="*/ 0 h 396049"/>
                  <a:gd name="connsiteX1" fmla="*/ 2096 w 3346133"/>
                  <a:gd name="connsiteY1" fmla="*/ 0 h 396049"/>
                  <a:gd name="connsiteX2" fmla="*/ 2096 w 3346133"/>
                  <a:gd name="connsiteY2" fmla="*/ 6001 h 396049"/>
                  <a:gd name="connsiteX3" fmla="*/ 8382 w 3346133"/>
                  <a:gd name="connsiteY3" fmla="*/ 12097 h 396049"/>
                  <a:gd name="connsiteX4" fmla="*/ 12573 w 3346133"/>
                  <a:gd name="connsiteY4" fmla="*/ 12097 h 396049"/>
                  <a:gd name="connsiteX5" fmla="*/ 12573 w 3346133"/>
                  <a:gd name="connsiteY5" fmla="*/ 18193 h 396049"/>
                  <a:gd name="connsiteX6" fmla="*/ 29432 w 3346133"/>
                  <a:gd name="connsiteY6" fmla="*/ 18193 h 396049"/>
                  <a:gd name="connsiteX7" fmla="*/ 29432 w 3346133"/>
                  <a:gd name="connsiteY7" fmla="*/ 30289 h 396049"/>
                  <a:gd name="connsiteX8" fmla="*/ 33623 w 3346133"/>
                  <a:gd name="connsiteY8" fmla="*/ 30289 h 396049"/>
                  <a:gd name="connsiteX9" fmla="*/ 33623 w 3346133"/>
                  <a:gd name="connsiteY9" fmla="*/ 36385 h 396049"/>
                  <a:gd name="connsiteX10" fmla="*/ 56769 w 3346133"/>
                  <a:gd name="connsiteY10" fmla="*/ 36385 h 396049"/>
                  <a:gd name="connsiteX11" fmla="*/ 56769 w 3346133"/>
                  <a:gd name="connsiteY11" fmla="*/ 42481 h 396049"/>
                  <a:gd name="connsiteX12" fmla="*/ 60960 w 3346133"/>
                  <a:gd name="connsiteY12" fmla="*/ 42481 h 396049"/>
                  <a:gd name="connsiteX13" fmla="*/ 60960 w 3346133"/>
                  <a:gd name="connsiteY13" fmla="*/ 48482 h 396049"/>
                  <a:gd name="connsiteX14" fmla="*/ 67247 w 3346133"/>
                  <a:gd name="connsiteY14" fmla="*/ 48482 h 396049"/>
                  <a:gd name="connsiteX15" fmla="*/ 67247 w 3346133"/>
                  <a:gd name="connsiteY15" fmla="*/ 60674 h 396049"/>
                  <a:gd name="connsiteX16" fmla="*/ 86201 w 3346133"/>
                  <a:gd name="connsiteY16" fmla="*/ 60674 h 396049"/>
                  <a:gd name="connsiteX17" fmla="*/ 86201 w 3346133"/>
                  <a:gd name="connsiteY17" fmla="*/ 66675 h 396049"/>
                  <a:gd name="connsiteX18" fmla="*/ 94583 w 3346133"/>
                  <a:gd name="connsiteY18" fmla="*/ 66675 h 396049"/>
                  <a:gd name="connsiteX19" fmla="*/ 94583 w 3346133"/>
                  <a:gd name="connsiteY19" fmla="*/ 72771 h 396049"/>
                  <a:gd name="connsiteX20" fmla="*/ 107252 w 3346133"/>
                  <a:gd name="connsiteY20" fmla="*/ 72771 h 396049"/>
                  <a:gd name="connsiteX21" fmla="*/ 107252 w 3346133"/>
                  <a:gd name="connsiteY21" fmla="*/ 78867 h 396049"/>
                  <a:gd name="connsiteX22" fmla="*/ 124111 w 3346133"/>
                  <a:gd name="connsiteY22" fmla="*/ 78867 h 396049"/>
                  <a:gd name="connsiteX23" fmla="*/ 124111 w 3346133"/>
                  <a:gd name="connsiteY23" fmla="*/ 84868 h 396049"/>
                  <a:gd name="connsiteX24" fmla="*/ 151448 w 3346133"/>
                  <a:gd name="connsiteY24" fmla="*/ 84868 h 396049"/>
                  <a:gd name="connsiteX25" fmla="*/ 151448 w 3346133"/>
                  <a:gd name="connsiteY25" fmla="*/ 90964 h 396049"/>
                  <a:gd name="connsiteX26" fmla="*/ 153543 w 3346133"/>
                  <a:gd name="connsiteY26" fmla="*/ 90964 h 396049"/>
                  <a:gd name="connsiteX27" fmla="*/ 153543 w 3346133"/>
                  <a:gd name="connsiteY27" fmla="*/ 97060 h 396049"/>
                  <a:gd name="connsiteX28" fmla="*/ 164020 w 3346133"/>
                  <a:gd name="connsiteY28" fmla="*/ 97060 h 396049"/>
                  <a:gd name="connsiteX29" fmla="*/ 164020 w 3346133"/>
                  <a:gd name="connsiteY29" fmla="*/ 103060 h 396049"/>
                  <a:gd name="connsiteX30" fmla="*/ 170307 w 3346133"/>
                  <a:gd name="connsiteY30" fmla="*/ 103060 h 396049"/>
                  <a:gd name="connsiteX31" fmla="*/ 170307 w 3346133"/>
                  <a:gd name="connsiteY31" fmla="*/ 115252 h 396049"/>
                  <a:gd name="connsiteX32" fmla="*/ 178784 w 3346133"/>
                  <a:gd name="connsiteY32" fmla="*/ 115252 h 396049"/>
                  <a:gd name="connsiteX33" fmla="*/ 178784 w 3346133"/>
                  <a:gd name="connsiteY33" fmla="*/ 121253 h 396049"/>
                  <a:gd name="connsiteX34" fmla="*/ 185071 w 3346133"/>
                  <a:gd name="connsiteY34" fmla="*/ 121253 h 396049"/>
                  <a:gd name="connsiteX35" fmla="*/ 185071 w 3346133"/>
                  <a:gd name="connsiteY35" fmla="*/ 133445 h 396049"/>
                  <a:gd name="connsiteX36" fmla="*/ 187166 w 3346133"/>
                  <a:gd name="connsiteY36" fmla="*/ 133445 h 396049"/>
                  <a:gd name="connsiteX37" fmla="*/ 187166 w 3346133"/>
                  <a:gd name="connsiteY37" fmla="*/ 139541 h 396049"/>
                  <a:gd name="connsiteX38" fmla="*/ 199739 w 3346133"/>
                  <a:gd name="connsiteY38" fmla="*/ 139541 h 396049"/>
                  <a:gd name="connsiteX39" fmla="*/ 199739 w 3346133"/>
                  <a:gd name="connsiteY39" fmla="*/ 145542 h 396049"/>
                  <a:gd name="connsiteX40" fmla="*/ 222885 w 3346133"/>
                  <a:gd name="connsiteY40" fmla="*/ 145542 h 396049"/>
                  <a:gd name="connsiteX41" fmla="*/ 222885 w 3346133"/>
                  <a:gd name="connsiteY41" fmla="*/ 151638 h 396049"/>
                  <a:gd name="connsiteX42" fmla="*/ 229267 w 3346133"/>
                  <a:gd name="connsiteY42" fmla="*/ 151638 h 396049"/>
                  <a:gd name="connsiteX43" fmla="*/ 229267 w 3346133"/>
                  <a:gd name="connsiteY43" fmla="*/ 157734 h 396049"/>
                  <a:gd name="connsiteX44" fmla="*/ 237649 w 3346133"/>
                  <a:gd name="connsiteY44" fmla="*/ 157734 h 396049"/>
                  <a:gd name="connsiteX45" fmla="*/ 237649 w 3346133"/>
                  <a:gd name="connsiteY45" fmla="*/ 163735 h 396049"/>
                  <a:gd name="connsiteX46" fmla="*/ 246031 w 3346133"/>
                  <a:gd name="connsiteY46" fmla="*/ 163735 h 396049"/>
                  <a:gd name="connsiteX47" fmla="*/ 246031 w 3346133"/>
                  <a:gd name="connsiteY47" fmla="*/ 169831 h 396049"/>
                  <a:gd name="connsiteX48" fmla="*/ 250222 w 3346133"/>
                  <a:gd name="connsiteY48" fmla="*/ 169831 h 396049"/>
                  <a:gd name="connsiteX49" fmla="*/ 250222 w 3346133"/>
                  <a:gd name="connsiteY49" fmla="*/ 175927 h 396049"/>
                  <a:gd name="connsiteX50" fmla="*/ 323850 w 3346133"/>
                  <a:gd name="connsiteY50" fmla="*/ 175927 h 396049"/>
                  <a:gd name="connsiteX51" fmla="*/ 323850 w 3346133"/>
                  <a:gd name="connsiteY51" fmla="*/ 181927 h 396049"/>
                  <a:gd name="connsiteX52" fmla="*/ 344900 w 3346133"/>
                  <a:gd name="connsiteY52" fmla="*/ 181927 h 396049"/>
                  <a:gd name="connsiteX53" fmla="*/ 344900 w 3346133"/>
                  <a:gd name="connsiteY53" fmla="*/ 188023 h 396049"/>
                  <a:gd name="connsiteX54" fmla="*/ 351187 w 3346133"/>
                  <a:gd name="connsiteY54" fmla="*/ 188023 h 396049"/>
                  <a:gd name="connsiteX55" fmla="*/ 351187 w 3346133"/>
                  <a:gd name="connsiteY55" fmla="*/ 194119 h 396049"/>
                  <a:gd name="connsiteX56" fmla="*/ 393287 w 3346133"/>
                  <a:gd name="connsiteY56" fmla="*/ 194119 h 396049"/>
                  <a:gd name="connsiteX57" fmla="*/ 393287 w 3346133"/>
                  <a:gd name="connsiteY57" fmla="*/ 200120 h 396049"/>
                  <a:gd name="connsiteX58" fmla="*/ 407956 w 3346133"/>
                  <a:gd name="connsiteY58" fmla="*/ 200120 h 396049"/>
                  <a:gd name="connsiteX59" fmla="*/ 407956 w 3346133"/>
                  <a:gd name="connsiteY59" fmla="*/ 206216 h 396049"/>
                  <a:gd name="connsiteX60" fmla="*/ 437483 w 3346133"/>
                  <a:gd name="connsiteY60" fmla="*/ 206216 h 396049"/>
                  <a:gd name="connsiteX61" fmla="*/ 437483 w 3346133"/>
                  <a:gd name="connsiteY61" fmla="*/ 212312 h 396049"/>
                  <a:gd name="connsiteX62" fmla="*/ 439579 w 3346133"/>
                  <a:gd name="connsiteY62" fmla="*/ 212312 h 396049"/>
                  <a:gd name="connsiteX63" fmla="*/ 439579 w 3346133"/>
                  <a:gd name="connsiteY63" fmla="*/ 218313 h 396049"/>
                  <a:gd name="connsiteX64" fmla="*/ 462629 w 3346133"/>
                  <a:gd name="connsiteY64" fmla="*/ 218313 h 396049"/>
                  <a:gd name="connsiteX65" fmla="*/ 462629 w 3346133"/>
                  <a:gd name="connsiteY65" fmla="*/ 224409 h 396049"/>
                  <a:gd name="connsiteX66" fmla="*/ 475298 w 3346133"/>
                  <a:gd name="connsiteY66" fmla="*/ 224409 h 396049"/>
                  <a:gd name="connsiteX67" fmla="*/ 475298 w 3346133"/>
                  <a:gd name="connsiteY67" fmla="*/ 230505 h 396049"/>
                  <a:gd name="connsiteX68" fmla="*/ 511016 w 3346133"/>
                  <a:gd name="connsiteY68" fmla="*/ 230505 h 396049"/>
                  <a:gd name="connsiteX69" fmla="*/ 511016 w 3346133"/>
                  <a:gd name="connsiteY69" fmla="*/ 236601 h 396049"/>
                  <a:gd name="connsiteX70" fmla="*/ 626745 w 3346133"/>
                  <a:gd name="connsiteY70" fmla="*/ 236601 h 396049"/>
                  <a:gd name="connsiteX71" fmla="*/ 626745 w 3346133"/>
                  <a:gd name="connsiteY71" fmla="*/ 242602 h 396049"/>
                  <a:gd name="connsiteX72" fmla="*/ 664559 w 3346133"/>
                  <a:gd name="connsiteY72" fmla="*/ 242602 h 396049"/>
                  <a:gd name="connsiteX73" fmla="*/ 664559 w 3346133"/>
                  <a:gd name="connsiteY73" fmla="*/ 248793 h 396049"/>
                  <a:gd name="connsiteX74" fmla="*/ 717137 w 3346133"/>
                  <a:gd name="connsiteY74" fmla="*/ 248793 h 396049"/>
                  <a:gd name="connsiteX75" fmla="*/ 717137 w 3346133"/>
                  <a:gd name="connsiteY75" fmla="*/ 254889 h 396049"/>
                  <a:gd name="connsiteX76" fmla="*/ 736092 w 3346133"/>
                  <a:gd name="connsiteY76" fmla="*/ 254889 h 396049"/>
                  <a:gd name="connsiteX77" fmla="*/ 736092 w 3346133"/>
                  <a:gd name="connsiteY77" fmla="*/ 260985 h 396049"/>
                  <a:gd name="connsiteX78" fmla="*/ 746570 w 3346133"/>
                  <a:gd name="connsiteY78" fmla="*/ 260985 h 396049"/>
                  <a:gd name="connsiteX79" fmla="*/ 746570 w 3346133"/>
                  <a:gd name="connsiteY79" fmla="*/ 267176 h 396049"/>
                  <a:gd name="connsiteX80" fmla="*/ 780288 w 3346133"/>
                  <a:gd name="connsiteY80" fmla="*/ 267176 h 396049"/>
                  <a:gd name="connsiteX81" fmla="*/ 780288 w 3346133"/>
                  <a:gd name="connsiteY81" fmla="*/ 273272 h 396049"/>
                  <a:gd name="connsiteX82" fmla="*/ 786575 w 3346133"/>
                  <a:gd name="connsiteY82" fmla="*/ 273272 h 396049"/>
                  <a:gd name="connsiteX83" fmla="*/ 786575 w 3346133"/>
                  <a:gd name="connsiteY83" fmla="*/ 279368 h 396049"/>
                  <a:gd name="connsiteX84" fmla="*/ 801243 w 3346133"/>
                  <a:gd name="connsiteY84" fmla="*/ 279368 h 396049"/>
                  <a:gd name="connsiteX85" fmla="*/ 801243 w 3346133"/>
                  <a:gd name="connsiteY85" fmla="*/ 285464 h 396049"/>
                  <a:gd name="connsiteX86" fmla="*/ 813911 w 3346133"/>
                  <a:gd name="connsiteY86" fmla="*/ 285464 h 396049"/>
                  <a:gd name="connsiteX87" fmla="*/ 813911 w 3346133"/>
                  <a:gd name="connsiteY87" fmla="*/ 291655 h 396049"/>
                  <a:gd name="connsiteX88" fmla="*/ 839153 w 3346133"/>
                  <a:gd name="connsiteY88" fmla="*/ 291655 h 396049"/>
                  <a:gd name="connsiteX89" fmla="*/ 839153 w 3346133"/>
                  <a:gd name="connsiteY89" fmla="*/ 297751 h 396049"/>
                  <a:gd name="connsiteX90" fmla="*/ 1068419 w 3346133"/>
                  <a:gd name="connsiteY90" fmla="*/ 297751 h 396049"/>
                  <a:gd name="connsiteX91" fmla="*/ 1068419 w 3346133"/>
                  <a:gd name="connsiteY91" fmla="*/ 303943 h 396049"/>
                  <a:gd name="connsiteX92" fmla="*/ 1181957 w 3346133"/>
                  <a:gd name="connsiteY92" fmla="*/ 303943 h 396049"/>
                  <a:gd name="connsiteX93" fmla="*/ 1181957 w 3346133"/>
                  <a:gd name="connsiteY93" fmla="*/ 310134 h 396049"/>
                  <a:gd name="connsiteX94" fmla="*/ 1451134 w 3346133"/>
                  <a:gd name="connsiteY94" fmla="*/ 310134 h 396049"/>
                  <a:gd name="connsiteX95" fmla="*/ 1451134 w 3346133"/>
                  <a:gd name="connsiteY95" fmla="*/ 316420 h 396049"/>
                  <a:gd name="connsiteX96" fmla="*/ 1524762 w 3346133"/>
                  <a:gd name="connsiteY96" fmla="*/ 316420 h 396049"/>
                  <a:gd name="connsiteX97" fmla="*/ 1524762 w 3346133"/>
                  <a:gd name="connsiteY97" fmla="*/ 322707 h 396049"/>
                  <a:gd name="connsiteX98" fmla="*/ 1604677 w 3346133"/>
                  <a:gd name="connsiteY98" fmla="*/ 322707 h 396049"/>
                  <a:gd name="connsiteX99" fmla="*/ 1604677 w 3346133"/>
                  <a:gd name="connsiteY99" fmla="*/ 328993 h 396049"/>
                  <a:gd name="connsiteX100" fmla="*/ 1766602 w 3346133"/>
                  <a:gd name="connsiteY100" fmla="*/ 328993 h 396049"/>
                  <a:gd name="connsiteX101" fmla="*/ 1766602 w 3346133"/>
                  <a:gd name="connsiteY101" fmla="*/ 335470 h 396049"/>
                  <a:gd name="connsiteX102" fmla="*/ 1783461 w 3346133"/>
                  <a:gd name="connsiteY102" fmla="*/ 335470 h 396049"/>
                  <a:gd name="connsiteX103" fmla="*/ 1783461 w 3346133"/>
                  <a:gd name="connsiteY103" fmla="*/ 341852 h 396049"/>
                  <a:gd name="connsiteX104" fmla="*/ 1901285 w 3346133"/>
                  <a:gd name="connsiteY104" fmla="*/ 341852 h 396049"/>
                  <a:gd name="connsiteX105" fmla="*/ 1901285 w 3346133"/>
                  <a:gd name="connsiteY105" fmla="*/ 348329 h 396049"/>
                  <a:gd name="connsiteX106" fmla="*/ 1993773 w 3346133"/>
                  <a:gd name="connsiteY106" fmla="*/ 348329 h 396049"/>
                  <a:gd name="connsiteX107" fmla="*/ 1993773 w 3346133"/>
                  <a:gd name="connsiteY107" fmla="*/ 354711 h 396049"/>
                  <a:gd name="connsiteX108" fmla="*/ 2012728 w 3346133"/>
                  <a:gd name="connsiteY108" fmla="*/ 354711 h 396049"/>
                  <a:gd name="connsiteX109" fmla="*/ 2012728 w 3346133"/>
                  <a:gd name="connsiteY109" fmla="*/ 361188 h 396049"/>
                  <a:gd name="connsiteX110" fmla="*/ 2866549 w 3346133"/>
                  <a:gd name="connsiteY110" fmla="*/ 361188 h 396049"/>
                  <a:gd name="connsiteX111" fmla="*/ 2866549 w 3346133"/>
                  <a:gd name="connsiteY111" fmla="*/ 396049 h 396049"/>
                  <a:gd name="connsiteX112" fmla="*/ 3346133 w 3346133"/>
                  <a:gd name="connsiteY112" fmla="*/ 396049 h 396049"/>
                  <a:gd name="connsiteX0" fmla="*/ 0 w 3346133"/>
                  <a:gd name="connsiteY0" fmla="*/ 0 h 396049"/>
                  <a:gd name="connsiteX1" fmla="*/ 2096 w 3346133"/>
                  <a:gd name="connsiteY1" fmla="*/ 0 h 396049"/>
                  <a:gd name="connsiteX2" fmla="*/ 8382 w 3346133"/>
                  <a:gd name="connsiteY2" fmla="*/ 12097 h 396049"/>
                  <a:gd name="connsiteX3" fmla="*/ 12573 w 3346133"/>
                  <a:gd name="connsiteY3" fmla="*/ 12097 h 396049"/>
                  <a:gd name="connsiteX4" fmla="*/ 12573 w 3346133"/>
                  <a:gd name="connsiteY4" fmla="*/ 18193 h 396049"/>
                  <a:gd name="connsiteX5" fmla="*/ 29432 w 3346133"/>
                  <a:gd name="connsiteY5" fmla="*/ 18193 h 396049"/>
                  <a:gd name="connsiteX6" fmla="*/ 29432 w 3346133"/>
                  <a:gd name="connsiteY6" fmla="*/ 30289 h 396049"/>
                  <a:gd name="connsiteX7" fmla="*/ 33623 w 3346133"/>
                  <a:gd name="connsiteY7" fmla="*/ 30289 h 396049"/>
                  <a:gd name="connsiteX8" fmla="*/ 33623 w 3346133"/>
                  <a:gd name="connsiteY8" fmla="*/ 36385 h 396049"/>
                  <a:gd name="connsiteX9" fmla="*/ 56769 w 3346133"/>
                  <a:gd name="connsiteY9" fmla="*/ 36385 h 396049"/>
                  <a:gd name="connsiteX10" fmla="*/ 56769 w 3346133"/>
                  <a:gd name="connsiteY10" fmla="*/ 42481 h 396049"/>
                  <a:gd name="connsiteX11" fmla="*/ 60960 w 3346133"/>
                  <a:gd name="connsiteY11" fmla="*/ 42481 h 396049"/>
                  <a:gd name="connsiteX12" fmla="*/ 60960 w 3346133"/>
                  <a:gd name="connsiteY12" fmla="*/ 48482 h 396049"/>
                  <a:gd name="connsiteX13" fmla="*/ 67247 w 3346133"/>
                  <a:gd name="connsiteY13" fmla="*/ 48482 h 396049"/>
                  <a:gd name="connsiteX14" fmla="*/ 67247 w 3346133"/>
                  <a:gd name="connsiteY14" fmla="*/ 60674 h 396049"/>
                  <a:gd name="connsiteX15" fmla="*/ 86201 w 3346133"/>
                  <a:gd name="connsiteY15" fmla="*/ 60674 h 396049"/>
                  <a:gd name="connsiteX16" fmla="*/ 86201 w 3346133"/>
                  <a:gd name="connsiteY16" fmla="*/ 66675 h 396049"/>
                  <a:gd name="connsiteX17" fmla="*/ 94583 w 3346133"/>
                  <a:gd name="connsiteY17" fmla="*/ 66675 h 396049"/>
                  <a:gd name="connsiteX18" fmla="*/ 94583 w 3346133"/>
                  <a:gd name="connsiteY18" fmla="*/ 72771 h 396049"/>
                  <a:gd name="connsiteX19" fmla="*/ 107252 w 3346133"/>
                  <a:gd name="connsiteY19" fmla="*/ 72771 h 396049"/>
                  <a:gd name="connsiteX20" fmla="*/ 107252 w 3346133"/>
                  <a:gd name="connsiteY20" fmla="*/ 78867 h 396049"/>
                  <a:gd name="connsiteX21" fmla="*/ 124111 w 3346133"/>
                  <a:gd name="connsiteY21" fmla="*/ 78867 h 396049"/>
                  <a:gd name="connsiteX22" fmla="*/ 124111 w 3346133"/>
                  <a:gd name="connsiteY22" fmla="*/ 84868 h 396049"/>
                  <a:gd name="connsiteX23" fmla="*/ 151448 w 3346133"/>
                  <a:gd name="connsiteY23" fmla="*/ 84868 h 396049"/>
                  <a:gd name="connsiteX24" fmla="*/ 151448 w 3346133"/>
                  <a:gd name="connsiteY24" fmla="*/ 90964 h 396049"/>
                  <a:gd name="connsiteX25" fmla="*/ 153543 w 3346133"/>
                  <a:gd name="connsiteY25" fmla="*/ 90964 h 396049"/>
                  <a:gd name="connsiteX26" fmla="*/ 153543 w 3346133"/>
                  <a:gd name="connsiteY26" fmla="*/ 97060 h 396049"/>
                  <a:gd name="connsiteX27" fmla="*/ 164020 w 3346133"/>
                  <a:gd name="connsiteY27" fmla="*/ 97060 h 396049"/>
                  <a:gd name="connsiteX28" fmla="*/ 164020 w 3346133"/>
                  <a:gd name="connsiteY28" fmla="*/ 103060 h 396049"/>
                  <a:gd name="connsiteX29" fmla="*/ 170307 w 3346133"/>
                  <a:gd name="connsiteY29" fmla="*/ 103060 h 396049"/>
                  <a:gd name="connsiteX30" fmla="*/ 170307 w 3346133"/>
                  <a:gd name="connsiteY30" fmla="*/ 115252 h 396049"/>
                  <a:gd name="connsiteX31" fmla="*/ 178784 w 3346133"/>
                  <a:gd name="connsiteY31" fmla="*/ 115252 h 396049"/>
                  <a:gd name="connsiteX32" fmla="*/ 178784 w 3346133"/>
                  <a:gd name="connsiteY32" fmla="*/ 121253 h 396049"/>
                  <a:gd name="connsiteX33" fmla="*/ 185071 w 3346133"/>
                  <a:gd name="connsiteY33" fmla="*/ 121253 h 396049"/>
                  <a:gd name="connsiteX34" fmla="*/ 185071 w 3346133"/>
                  <a:gd name="connsiteY34" fmla="*/ 133445 h 396049"/>
                  <a:gd name="connsiteX35" fmla="*/ 187166 w 3346133"/>
                  <a:gd name="connsiteY35" fmla="*/ 133445 h 396049"/>
                  <a:gd name="connsiteX36" fmla="*/ 187166 w 3346133"/>
                  <a:gd name="connsiteY36" fmla="*/ 139541 h 396049"/>
                  <a:gd name="connsiteX37" fmla="*/ 199739 w 3346133"/>
                  <a:gd name="connsiteY37" fmla="*/ 139541 h 396049"/>
                  <a:gd name="connsiteX38" fmla="*/ 199739 w 3346133"/>
                  <a:gd name="connsiteY38" fmla="*/ 145542 h 396049"/>
                  <a:gd name="connsiteX39" fmla="*/ 222885 w 3346133"/>
                  <a:gd name="connsiteY39" fmla="*/ 145542 h 396049"/>
                  <a:gd name="connsiteX40" fmla="*/ 222885 w 3346133"/>
                  <a:gd name="connsiteY40" fmla="*/ 151638 h 396049"/>
                  <a:gd name="connsiteX41" fmla="*/ 229267 w 3346133"/>
                  <a:gd name="connsiteY41" fmla="*/ 151638 h 396049"/>
                  <a:gd name="connsiteX42" fmla="*/ 229267 w 3346133"/>
                  <a:gd name="connsiteY42" fmla="*/ 157734 h 396049"/>
                  <a:gd name="connsiteX43" fmla="*/ 237649 w 3346133"/>
                  <a:gd name="connsiteY43" fmla="*/ 157734 h 396049"/>
                  <a:gd name="connsiteX44" fmla="*/ 237649 w 3346133"/>
                  <a:gd name="connsiteY44" fmla="*/ 163735 h 396049"/>
                  <a:gd name="connsiteX45" fmla="*/ 246031 w 3346133"/>
                  <a:gd name="connsiteY45" fmla="*/ 163735 h 396049"/>
                  <a:gd name="connsiteX46" fmla="*/ 246031 w 3346133"/>
                  <a:gd name="connsiteY46" fmla="*/ 169831 h 396049"/>
                  <a:gd name="connsiteX47" fmla="*/ 250222 w 3346133"/>
                  <a:gd name="connsiteY47" fmla="*/ 169831 h 396049"/>
                  <a:gd name="connsiteX48" fmla="*/ 250222 w 3346133"/>
                  <a:gd name="connsiteY48" fmla="*/ 175927 h 396049"/>
                  <a:gd name="connsiteX49" fmla="*/ 323850 w 3346133"/>
                  <a:gd name="connsiteY49" fmla="*/ 175927 h 396049"/>
                  <a:gd name="connsiteX50" fmla="*/ 323850 w 3346133"/>
                  <a:gd name="connsiteY50" fmla="*/ 181927 h 396049"/>
                  <a:gd name="connsiteX51" fmla="*/ 344900 w 3346133"/>
                  <a:gd name="connsiteY51" fmla="*/ 181927 h 396049"/>
                  <a:gd name="connsiteX52" fmla="*/ 344900 w 3346133"/>
                  <a:gd name="connsiteY52" fmla="*/ 188023 h 396049"/>
                  <a:gd name="connsiteX53" fmla="*/ 351187 w 3346133"/>
                  <a:gd name="connsiteY53" fmla="*/ 188023 h 396049"/>
                  <a:gd name="connsiteX54" fmla="*/ 351187 w 3346133"/>
                  <a:gd name="connsiteY54" fmla="*/ 194119 h 396049"/>
                  <a:gd name="connsiteX55" fmla="*/ 393287 w 3346133"/>
                  <a:gd name="connsiteY55" fmla="*/ 194119 h 396049"/>
                  <a:gd name="connsiteX56" fmla="*/ 393287 w 3346133"/>
                  <a:gd name="connsiteY56" fmla="*/ 200120 h 396049"/>
                  <a:gd name="connsiteX57" fmla="*/ 407956 w 3346133"/>
                  <a:gd name="connsiteY57" fmla="*/ 200120 h 396049"/>
                  <a:gd name="connsiteX58" fmla="*/ 407956 w 3346133"/>
                  <a:gd name="connsiteY58" fmla="*/ 206216 h 396049"/>
                  <a:gd name="connsiteX59" fmla="*/ 437483 w 3346133"/>
                  <a:gd name="connsiteY59" fmla="*/ 206216 h 396049"/>
                  <a:gd name="connsiteX60" fmla="*/ 437483 w 3346133"/>
                  <a:gd name="connsiteY60" fmla="*/ 212312 h 396049"/>
                  <a:gd name="connsiteX61" fmla="*/ 439579 w 3346133"/>
                  <a:gd name="connsiteY61" fmla="*/ 212312 h 396049"/>
                  <a:gd name="connsiteX62" fmla="*/ 439579 w 3346133"/>
                  <a:gd name="connsiteY62" fmla="*/ 218313 h 396049"/>
                  <a:gd name="connsiteX63" fmla="*/ 462629 w 3346133"/>
                  <a:gd name="connsiteY63" fmla="*/ 218313 h 396049"/>
                  <a:gd name="connsiteX64" fmla="*/ 462629 w 3346133"/>
                  <a:gd name="connsiteY64" fmla="*/ 224409 h 396049"/>
                  <a:gd name="connsiteX65" fmla="*/ 475298 w 3346133"/>
                  <a:gd name="connsiteY65" fmla="*/ 224409 h 396049"/>
                  <a:gd name="connsiteX66" fmla="*/ 475298 w 3346133"/>
                  <a:gd name="connsiteY66" fmla="*/ 230505 h 396049"/>
                  <a:gd name="connsiteX67" fmla="*/ 511016 w 3346133"/>
                  <a:gd name="connsiteY67" fmla="*/ 230505 h 396049"/>
                  <a:gd name="connsiteX68" fmla="*/ 511016 w 3346133"/>
                  <a:gd name="connsiteY68" fmla="*/ 236601 h 396049"/>
                  <a:gd name="connsiteX69" fmla="*/ 626745 w 3346133"/>
                  <a:gd name="connsiteY69" fmla="*/ 236601 h 396049"/>
                  <a:gd name="connsiteX70" fmla="*/ 626745 w 3346133"/>
                  <a:gd name="connsiteY70" fmla="*/ 242602 h 396049"/>
                  <a:gd name="connsiteX71" fmla="*/ 664559 w 3346133"/>
                  <a:gd name="connsiteY71" fmla="*/ 242602 h 396049"/>
                  <a:gd name="connsiteX72" fmla="*/ 664559 w 3346133"/>
                  <a:gd name="connsiteY72" fmla="*/ 248793 h 396049"/>
                  <a:gd name="connsiteX73" fmla="*/ 717137 w 3346133"/>
                  <a:gd name="connsiteY73" fmla="*/ 248793 h 396049"/>
                  <a:gd name="connsiteX74" fmla="*/ 717137 w 3346133"/>
                  <a:gd name="connsiteY74" fmla="*/ 254889 h 396049"/>
                  <a:gd name="connsiteX75" fmla="*/ 736092 w 3346133"/>
                  <a:gd name="connsiteY75" fmla="*/ 254889 h 396049"/>
                  <a:gd name="connsiteX76" fmla="*/ 736092 w 3346133"/>
                  <a:gd name="connsiteY76" fmla="*/ 260985 h 396049"/>
                  <a:gd name="connsiteX77" fmla="*/ 746570 w 3346133"/>
                  <a:gd name="connsiteY77" fmla="*/ 260985 h 396049"/>
                  <a:gd name="connsiteX78" fmla="*/ 746570 w 3346133"/>
                  <a:gd name="connsiteY78" fmla="*/ 267176 h 396049"/>
                  <a:gd name="connsiteX79" fmla="*/ 780288 w 3346133"/>
                  <a:gd name="connsiteY79" fmla="*/ 267176 h 396049"/>
                  <a:gd name="connsiteX80" fmla="*/ 780288 w 3346133"/>
                  <a:gd name="connsiteY80" fmla="*/ 273272 h 396049"/>
                  <a:gd name="connsiteX81" fmla="*/ 786575 w 3346133"/>
                  <a:gd name="connsiteY81" fmla="*/ 273272 h 396049"/>
                  <a:gd name="connsiteX82" fmla="*/ 786575 w 3346133"/>
                  <a:gd name="connsiteY82" fmla="*/ 279368 h 396049"/>
                  <a:gd name="connsiteX83" fmla="*/ 801243 w 3346133"/>
                  <a:gd name="connsiteY83" fmla="*/ 279368 h 396049"/>
                  <a:gd name="connsiteX84" fmla="*/ 801243 w 3346133"/>
                  <a:gd name="connsiteY84" fmla="*/ 285464 h 396049"/>
                  <a:gd name="connsiteX85" fmla="*/ 813911 w 3346133"/>
                  <a:gd name="connsiteY85" fmla="*/ 285464 h 396049"/>
                  <a:gd name="connsiteX86" fmla="*/ 813911 w 3346133"/>
                  <a:gd name="connsiteY86" fmla="*/ 291655 h 396049"/>
                  <a:gd name="connsiteX87" fmla="*/ 839153 w 3346133"/>
                  <a:gd name="connsiteY87" fmla="*/ 291655 h 396049"/>
                  <a:gd name="connsiteX88" fmla="*/ 839153 w 3346133"/>
                  <a:gd name="connsiteY88" fmla="*/ 297751 h 396049"/>
                  <a:gd name="connsiteX89" fmla="*/ 1068419 w 3346133"/>
                  <a:gd name="connsiteY89" fmla="*/ 297751 h 396049"/>
                  <a:gd name="connsiteX90" fmla="*/ 1068419 w 3346133"/>
                  <a:gd name="connsiteY90" fmla="*/ 303943 h 396049"/>
                  <a:gd name="connsiteX91" fmla="*/ 1181957 w 3346133"/>
                  <a:gd name="connsiteY91" fmla="*/ 303943 h 396049"/>
                  <a:gd name="connsiteX92" fmla="*/ 1181957 w 3346133"/>
                  <a:gd name="connsiteY92" fmla="*/ 310134 h 396049"/>
                  <a:gd name="connsiteX93" fmla="*/ 1451134 w 3346133"/>
                  <a:gd name="connsiteY93" fmla="*/ 310134 h 396049"/>
                  <a:gd name="connsiteX94" fmla="*/ 1451134 w 3346133"/>
                  <a:gd name="connsiteY94" fmla="*/ 316420 h 396049"/>
                  <a:gd name="connsiteX95" fmla="*/ 1524762 w 3346133"/>
                  <a:gd name="connsiteY95" fmla="*/ 316420 h 396049"/>
                  <a:gd name="connsiteX96" fmla="*/ 1524762 w 3346133"/>
                  <a:gd name="connsiteY96" fmla="*/ 322707 h 396049"/>
                  <a:gd name="connsiteX97" fmla="*/ 1604677 w 3346133"/>
                  <a:gd name="connsiteY97" fmla="*/ 322707 h 396049"/>
                  <a:gd name="connsiteX98" fmla="*/ 1604677 w 3346133"/>
                  <a:gd name="connsiteY98" fmla="*/ 328993 h 396049"/>
                  <a:gd name="connsiteX99" fmla="*/ 1766602 w 3346133"/>
                  <a:gd name="connsiteY99" fmla="*/ 328993 h 396049"/>
                  <a:gd name="connsiteX100" fmla="*/ 1766602 w 3346133"/>
                  <a:gd name="connsiteY100" fmla="*/ 335470 h 396049"/>
                  <a:gd name="connsiteX101" fmla="*/ 1783461 w 3346133"/>
                  <a:gd name="connsiteY101" fmla="*/ 335470 h 396049"/>
                  <a:gd name="connsiteX102" fmla="*/ 1783461 w 3346133"/>
                  <a:gd name="connsiteY102" fmla="*/ 341852 h 396049"/>
                  <a:gd name="connsiteX103" fmla="*/ 1901285 w 3346133"/>
                  <a:gd name="connsiteY103" fmla="*/ 341852 h 396049"/>
                  <a:gd name="connsiteX104" fmla="*/ 1901285 w 3346133"/>
                  <a:gd name="connsiteY104" fmla="*/ 348329 h 396049"/>
                  <a:gd name="connsiteX105" fmla="*/ 1993773 w 3346133"/>
                  <a:gd name="connsiteY105" fmla="*/ 348329 h 396049"/>
                  <a:gd name="connsiteX106" fmla="*/ 1993773 w 3346133"/>
                  <a:gd name="connsiteY106" fmla="*/ 354711 h 396049"/>
                  <a:gd name="connsiteX107" fmla="*/ 2012728 w 3346133"/>
                  <a:gd name="connsiteY107" fmla="*/ 354711 h 396049"/>
                  <a:gd name="connsiteX108" fmla="*/ 2012728 w 3346133"/>
                  <a:gd name="connsiteY108" fmla="*/ 361188 h 396049"/>
                  <a:gd name="connsiteX109" fmla="*/ 2866549 w 3346133"/>
                  <a:gd name="connsiteY109" fmla="*/ 361188 h 396049"/>
                  <a:gd name="connsiteX110" fmla="*/ 2866549 w 3346133"/>
                  <a:gd name="connsiteY110" fmla="*/ 396049 h 396049"/>
                  <a:gd name="connsiteX111" fmla="*/ 3346133 w 3346133"/>
                  <a:gd name="connsiteY111" fmla="*/ 396049 h 396049"/>
                  <a:gd name="connsiteX0" fmla="*/ 0 w 3346133"/>
                  <a:gd name="connsiteY0" fmla="*/ 0 h 396049"/>
                  <a:gd name="connsiteX1" fmla="*/ 8382 w 3346133"/>
                  <a:gd name="connsiteY1" fmla="*/ 12097 h 396049"/>
                  <a:gd name="connsiteX2" fmla="*/ 12573 w 3346133"/>
                  <a:gd name="connsiteY2" fmla="*/ 12097 h 396049"/>
                  <a:gd name="connsiteX3" fmla="*/ 12573 w 3346133"/>
                  <a:gd name="connsiteY3" fmla="*/ 18193 h 396049"/>
                  <a:gd name="connsiteX4" fmla="*/ 29432 w 3346133"/>
                  <a:gd name="connsiteY4" fmla="*/ 18193 h 396049"/>
                  <a:gd name="connsiteX5" fmla="*/ 29432 w 3346133"/>
                  <a:gd name="connsiteY5" fmla="*/ 30289 h 396049"/>
                  <a:gd name="connsiteX6" fmla="*/ 33623 w 3346133"/>
                  <a:gd name="connsiteY6" fmla="*/ 30289 h 396049"/>
                  <a:gd name="connsiteX7" fmla="*/ 33623 w 3346133"/>
                  <a:gd name="connsiteY7" fmla="*/ 36385 h 396049"/>
                  <a:gd name="connsiteX8" fmla="*/ 56769 w 3346133"/>
                  <a:gd name="connsiteY8" fmla="*/ 36385 h 396049"/>
                  <a:gd name="connsiteX9" fmla="*/ 56769 w 3346133"/>
                  <a:gd name="connsiteY9" fmla="*/ 42481 h 396049"/>
                  <a:gd name="connsiteX10" fmla="*/ 60960 w 3346133"/>
                  <a:gd name="connsiteY10" fmla="*/ 42481 h 396049"/>
                  <a:gd name="connsiteX11" fmla="*/ 60960 w 3346133"/>
                  <a:gd name="connsiteY11" fmla="*/ 48482 h 396049"/>
                  <a:gd name="connsiteX12" fmla="*/ 67247 w 3346133"/>
                  <a:gd name="connsiteY12" fmla="*/ 48482 h 396049"/>
                  <a:gd name="connsiteX13" fmla="*/ 67247 w 3346133"/>
                  <a:gd name="connsiteY13" fmla="*/ 60674 h 396049"/>
                  <a:gd name="connsiteX14" fmla="*/ 86201 w 3346133"/>
                  <a:gd name="connsiteY14" fmla="*/ 60674 h 396049"/>
                  <a:gd name="connsiteX15" fmla="*/ 86201 w 3346133"/>
                  <a:gd name="connsiteY15" fmla="*/ 66675 h 396049"/>
                  <a:gd name="connsiteX16" fmla="*/ 94583 w 3346133"/>
                  <a:gd name="connsiteY16" fmla="*/ 66675 h 396049"/>
                  <a:gd name="connsiteX17" fmla="*/ 94583 w 3346133"/>
                  <a:gd name="connsiteY17" fmla="*/ 72771 h 396049"/>
                  <a:gd name="connsiteX18" fmla="*/ 107252 w 3346133"/>
                  <a:gd name="connsiteY18" fmla="*/ 72771 h 396049"/>
                  <a:gd name="connsiteX19" fmla="*/ 107252 w 3346133"/>
                  <a:gd name="connsiteY19" fmla="*/ 78867 h 396049"/>
                  <a:gd name="connsiteX20" fmla="*/ 124111 w 3346133"/>
                  <a:gd name="connsiteY20" fmla="*/ 78867 h 396049"/>
                  <a:gd name="connsiteX21" fmla="*/ 124111 w 3346133"/>
                  <a:gd name="connsiteY21" fmla="*/ 84868 h 396049"/>
                  <a:gd name="connsiteX22" fmla="*/ 151448 w 3346133"/>
                  <a:gd name="connsiteY22" fmla="*/ 84868 h 396049"/>
                  <a:gd name="connsiteX23" fmla="*/ 151448 w 3346133"/>
                  <a:gd name="connsiteY23" fmla="*/ 90964 h 396049"/>
                  <a:gd name="connsiteX24" fmla="*/ 153543 w 3346133"/>
                  <a:gd name="connsiteY24" fmla="*/ 90964 h 396049"/>
                  <a:gd name="connsiteX25" fmla="*/ 153543 w 3346133"/>
                  <a:gd name="connsiteY25" fmla="*/ 97060 h 396049"/>
                  <a:gd name="connsiteX26" fmla="*/ 164020 w 3346133"/>
                  <a:gd name="connsiteY26" fmla="*/ 97060 h 396049"/>
                  <a:gd name="connsiteX27" fmla="*/ 164020 w 3346133"/>
                  <a:gd name="connsiteY27" fmla="*/ 103060 h 396049"/>
                  <a:gd name="connsiteX28" fmla="*/ 170307 w 3346133"/>
                  <a:gd name="connsiteY28" fmla="*/ 103060 h 396049"/>
                  <a:gd name="connsiteX29" fmla="*/ 170307 w 3346133"/>
                  <a:gd name="connsiteY29" fmla="*/ 115252 h 396049"/>
                  <a:gd name="connsiteX30" fmla="*/ 178784 w 3346133"/>
                  <a:gd name="connsiteY30" fmla="*/ 115252 h 396049"/>
                  <a:gd name="connsiteX31" fmla="*/ 178784 w 3346133"/>
                  <a:gd name="connsiteY31" fmla="*/ 121253 h 396049"/>
                  <a:gd name="connsiteX32" fmla="*/ 185071 w 3346133"/>
                  <a:gd name="connsiteY32" fmla="*/ 121253 h 396049"/>
                  <a:gd name="connsiteX33" fmla="*/ 185071 w 3346133"/>
                  <a:gd name="connsiteY33" fmla="*/ 133445 h 396049"/>
                  <a:gd name="connsiteX34" fmla="*/ 187166 w 3346133"/>
                  <a:gd name="connsiteY34" fmla="*/ 133445 h 396049"/>
                  <a:gd name="connsiteX35" fmla="*/ 187166 w 3346133"/>
                  <a:gd name="connsiteY35" fmla="*/ 139541 h 396049"/>
                  <a:gd name="connsiteX36" fmla="*/ 199739 w 3346133"/>
                  <a:gd name="connsiteY36" fmla="*/ 139541 h 396049"/>
                  <a:gd name="connsiteX37" fmla="*/ 199739 w 3346133"/>
                  <a:gd name="connsiteY37" fmla="*/ 145542 h 396049"/>
                  <a:gd name="connsiteX38" fmla="*/ 222885 w 3346133"/>
                  <a:gd name="connsiteY38" fmla="*/ 145542 h 396049"/>
                  <a:gd name="connsiteX39" fmla="*/ 222885 w 3346133"/>
                  <a:gd name="connsiteY39" fmla="*/ 151638 h 396049"/>
                  <a:gd name="connsiteX40" fmla="*/ 229267 w 3346133"/>
                  <a:gd name="connsiteY40" fmla="*/ 151638 h 396049"/>
                  <a:gd name="connsiteX41" fmla="*/ 229267 w 3346133"/>
                  <a:gd name="connsiteY41" fmla="*/ 157734 h 396049"/>
                  <a:gd name="connsiteX42" fmla="*/ 237649 w 3346133"/>
                  <a:gd name="connsiteY42" fmla="*/ 157734 h 396049"/>
                  <a:gd name="connsiteX43" fmla="*/ 237649 w 3346133"/>
                  <a:gd name="connsiteY43" fmla="*/ 163735 h 396049"/>
                  <a:gd name="connsiteX44" fmla="*/ 246031 w 3346133"/>
                  <a:gd name="connsiteY44" fmla="*/ 163735 h 396049"/>
                  <a:gd name="connsiteX45" fmla="*/ 246031 w 3346133"/>
                  <a:gd name="connsiteY45" fmla="*/ 169831 h 396049"/>
                  <a:gd name="connsiteX46" fmla="*/ 250222 w 3346133"/>
                  <a:gd name="connsiteY46" fmla="*/ 169831 h 396049"/>
                  <a:gd name="connsiteX47" fmla="*/ 250222 w 3346133"/>
                  <a:gd name="connsiteY47" fmla="*/ 175927 h 396049"/>
                  <a:gd name="connsiteX48" fmla="*/ 323850 w 3346133"/>
                  <a:gd name="connsiteY48" fmla="*/ 175927 h 396049"/>
                  <a:gd name="connsiteX49" fmla="*/ 323850 w 3346133"/>
                  <a:gd name="connsiteY49" fmla="*/ 181927 h 396049"/>
                  <a:gd name="connsiteX50" fmla="*/ 344900 w 3346133"/>
                  <a:gd name="connsiteY50" fmla="*/ 181927 h 396049"/>
                  <a:gd name="connsiteX51" fmla="*/ 344900 w 3346133"/>
                  <a:gd name="connsiteY51" fmla="*/ 188023 h 396049"/>
                  <a:gd name="connsiteX52" fmla="*/ 351187 w 3346133"/>
                  <a:gd name="connsiteY52" fmla="*/ 188023 h 396049"/>
                  <a:gd name="connsiteX53" fmla="*/ 351187 w 3346133"/>
                  <a:gd name="connsiteY53" fmla="*/ 194119 h 396049"/>
                  <a:gd name="connsiteX54" fmla="*/ 393287 w 3346133"/>
                  <a:gd name="connsiteY54" fmla="*/ 194119 h 396049"/>
                  <a:gd name="connsiteX55" fmla="*/ 393287 w 3346133"/>
                  <a:gd name="connsiteY55" fmla="*/ 200120 h 396049"/>
                  <a:gd name="connsiteX56" fmla="*/ 407956 w 3346133"/>
                  <a:gd name="connsiteY56" fmla="*/ 200120 h 396049"/>
                  <a:gd name="connsiteX57" fmla="*/ 407956 w 3346133"/>
                  <a:gd name="connsiteY57" fmla="*/ 206216 h 396049"/>
                  <a:gd name="connsiteX58" fmla="*/ 437483 w 3346133"/>
                  <a:gd name="connsiteY58" fmla="*/ 206216 h 396049"/>
                  <a:gd name="connsiteX59" fmla="*/ 437483 w 3346133"/>
                  <a:gd name="connsiteY59" fmla="*/ 212312 h 396049"/>
                  <a:gd name="connsiteX60" fmla="*/ 439579 w 3346133"/>
                  <a:gd name="connsiteY60" fmla="*/ 212312 h 396049"/>
                  <a:gd name="connsiteX61" fmla="*/ 439579 w 3346133"/>
                  <a:gd name="connsiteY61" fmla="*/ 218313 h 396049"/>
                  <a:gd name="connsiteX62" fmla="*/ 462629 w 3346133"/>
                  <a:gd name="connsiteY62" fmla="*/ 218313 h 396049"/>
                  <a:gd name="connsiteX63" fmla="*/ 462629 w 3346133"/>
                  <a:gd name="connsiteY63" fmla="*/ 224409 h 396049"/>
                  <a:gd name="connsiteX64" fmla="*/ 475298 w 3346133"/>
                  <a:gd name="connsiteY64" fmla="*/ 224409 h 396049"/>
                  <a:gd name="connsiteX65" fmla="*/ 475298 w 3346133"/>
                  <a:gd name="connsiteY65" fmla="*/ 230505 h 396049"/>
                  <a:gd name="connsiteX66" fmla="*/ 511016 w 3346133"/>
                  <a:gd name="connsiteY66" fmla="*/ 230505 h 396049"/>
                  <a:gd name="connsiteX67" fmla="*/ 511016 w 3346133"/>
                  <a:gd name="connsiteY67" fmla="*/ 236601 h 396049"/>
                  <a:gd name="connsiteX68" fmla="*/ 626745 w 3346133"/>
                  <a:gd name="connsiteY68" fmla="*/ 236601 h 396049"/>
                  <a:gd name="connsiteX69" fmla="*/ 626745 w 3346133"/>
                  <a:gd name="connsiteY69" fmla="*/ 242602 h 396049"/>
                  <a:gd name="connsiteX70" fmla="*/ 664559 w 3346133"/>
                  <a:gd name="connsiteY70" fmla="*/ 242602 h 396049"/>
                  <a:gd name="connsiteX71" fmla="*/ 664559 w 3346133"/>
                  <a:gd name="connsiteY71" fmla="*/ 248793 h 396049"/>
                  <a:gd name="connsiteX72" fmla="*/ 717137 w 3346133"/>
                  <a:gd name="connsiteY72" fmla="*/ 248793 h 396049"/>
                  <a:gd name="connsiteX73" fmla="*/ 717137 w 3346133"/>
                  <a:gd name="connsiteY73" fmla="*/ 254889 h 396049"/>
                  <a:gd name="connsiteX74" fmla="*/ 736092 w 3346133"/>
                  <a:gd name="connsiteY74" fmla="*/ 254889 h 396049"/>
                  <a:gd name="connsiteX75" fmla="*/ 736092 w 3346133"/>
                  <a:gd name="connsiteY75" fmla="*/ 260985 h 396049"/>
                  <a:gd name="connsiteX76" fmla="*/ 746570 w 3346133"/>
                  <a:gd name="connsiteY76" fmla="*/ 260985 h 396049"/>
                  <a:gd name="connsiteX77" fmla="*/ 746570 w 3346133"/>
                  <a:gd name="connsiteY77" fmla="*/ 267176 h 396049"/>
                  <a:gd name="connsiteX78" fmla="*/ 780288 w 3346133"/>
                  <a:gd name="connsiteY78" fmla="*/ 267176 h 396049"/>
                  <a:gd name="connsiteX79" fmla="*/ 780288 w 3346133"/>
                  <a:gd name="connsiteY79" fmla="*/ 273272 h 396049"/>
                  <a:gd name="connsiteX80" fmla="*/ 786575 w 3346133"/>
                  <a:gd name="connsiteY80" fmla="*/ 273272 h 396049"/>
                  <a:gd name="connsiteX81" fmla="*/ 786575 w 3346133"/>
                  <a:gd name="connsiteY81" fmla="*/ 279368 h 396049"/>
                  <a:gd name="connsiteX82" fmla="*/ 801243 w 3346133"/>
                  <a:gd name="connsiteY82" fmla="*/ 279368 h 396049"/>
                  <a:gd name="connsiteX83" fmla="*/ 801243 w 3346133"/>
                  <a:gd name="connsiteY83" fmla="*/ 285464 h 396049"/>
                  <a:gd name="connsiteX84" fmla="*/ 813911 w 3346133"/>
                  <a:gd name="connsiteY84" fmla="*/ 285464 h 396049"/>
                  <a:gd name="connsiteX85" fmla="*/ 813911 w 3346133"/>
                  <a:gd name="connsiteY85" fmla="*/ 291655 h 396049"/>
                  <a:gd name="connsiteX86" fmla="*/ 839153 w 3346133"/>
                  <a:gd name="connsiteY86" fmla="*/ 291655 h 396049"/>
                  <a:gd name="connsiteX87" fmla="*/ 839153 w 3346133"/>
                  <a:gd name="connsiteY87" fmla="*/ 297751 h 396049"/>
                  <a:gd name="connsiteX88" fmla="*/ 1068419 w 3346133"/>
                  <a:gd name="connsiteY88" fmla="*/ 297751 h 396049"/>
                  <a:gd name="connsiteX89" fmla="*/ 1068419 w 3346133"/>
                  <a:gd name="connsiteY89" fmla="*/ 303943 h 396049"/>
                  <a:gd name="connsiteX90" fmla="*/ 1181957 w 3346133"/>
                  <a:gd name="connsiteY90" fmla="*/ 303943 h 396049"/>
                  <a:gd name="connsiteX91" fmla="*/ 1181957 w 3346133"/>
                  <a:gd name="connsiteY91" fmla="*/ 310134 h 396049"/>
                  <a:gd name="connsiteX92" fmla="*/ 1451134 w 3346133"/>
                  <a:gd name="connsiteY92" fmla="*/ 310134 h 396049"/>
                  <a:gd name="connsiteX93" fmla="*/ 1451134 w 3346133"/>
                  <a:gd name="connsiteY93" fmla="*/ 316420 h 396049"/>
                  <a:gd name="connsiteX94" fmla="*/ 1524762 w 3346133"/>
                  <a:gd name="connsiteY94" fmla="*/ 316420 h 396049"/>
                  <a:gd name="connsiteX95" fmla="*/ 1524762 w 3346133"/>
                  <a:gd name="connsiteY95" fmla="*/ 322707 h 396049"/>
                  <a:gd name="connsiteX96" fmla="*/ 1604677 w 3346133"/>
                  <a:gd name="connsiteY96" fmla="*/ 322707 h 396049"/>
                  <a:gd name="connsiteX97" fmla="*/ 1604677 w 3346133"/>
                  <a:gd name="connsiteY97" fmla="*/ 328993 h 396049"/>
                  <a:gd name="connsiteX98" fmla="*/ 1766602 w 3346133"/>
                  <a:gd name="connsiteY98" fmla="*/ 328993 h 396049"/>
                  <a:gd name="connsiteX99" fmla="*/ 1766602 w 3346133"/>
                  <a:gd name="connsiteY99" fmla="*/ 335470 h 396049"/>
                  <a:gd name="connsiteX100" fmla="*/ 1783461 w 3346133"/>
                  <a:gd name="connsiteY100" fmla="*/ 335470 h 396049"/>
                  <a:gd name="connsiteX101" fmla="*/ 1783461 w 3346133"/>
                  <a:gd name="connsiteY101" fmla="*/ 341852 h 396049"/>
                  <a:gd name="connsiteX102" fmla="*/ 1901285 w 3346133"/>
                  <a:gd name="connsiteY102" fmla="*/ 341852 h 396049"/>
                  <a:gd name="connsiteX103" fmla="*/ 1901285 w 3346133"/>
                  <a:gd name="connsiteY103" fmla="*/ 348329 h 396049"/>
                  <a:gd name="connsiteX104" fmla="*/ 1993773 w 3346133"/>
                  <a:gd name="connsiteY104" fmla="*/ 348329 h 396049"/>
                  <a:gd name="connsiteX105" fmla="*/ 1993773 w 3346133"/>
                  <a:gd name="connsiteY105" fmla="*/ 354711 h 396049"/>
                  <a:gd name="connsiteX106" fmla="*/ 2012728 w 3346133"/>
                  <a:gd name="connsiteY106" fmla="*/ 354711 h 396049"/>
                  <a:gd name="connsiteX107" fmla="*/ 2012728 w 3346133"/>
                  <a:gd name="connsiteY107" fmla="*/ 361188 h 396049"/>
                  <a:gd name="connsiteX108" fmla="*/ 2866549 w 3346133"/>
                  <a:gd name="connsiteY108" fmla="*/ 361188 h 396049"/>
                  <a:gd name="connsiteX109" fmla="*/ 2866549 w 3346133"/>
                  <a:gd name="connsiteY109" fmla="*/ 396049 h 396049"/>
                  <a:gd name="connsiteX110" fmla="*/ 3346133 w 3346133"/>
                  <a:gd name="connsiteY110" fmla="*/ 396049 h 396049"/>
                  <a:gd name="connsiteX0" fmla="*/ 0 w 3337751"/>
                  <a:gd name="connsiteY0" fmla="*/ 0 h 383952"/>
                  <a:gd name="connsiteX1" fmla="*/ 4191 w 3337751"/>
                  <a:gd name="connsiteY1" fmla="*/ 0 h 383952"/>
                  <a:gd name="connsiteX2" fmla="*/ 4191 w 3337751"/>
                  <a:gd name="connsiteY2" fmla="*/ 6096 h 383952"/>
                  <a:gd name="connsiteX3" fmla="*/ 21050 w 3337751"/>
                  <a:gd name="connsiteY3" fmla="*/ 6096 h 383952"/>
                  <a:gd name="connsiteX4" fmla="*/ 21050 w 3337751"/>
                  <a:gd name="connsiteY4" fmla="*/ 18192 h 383952"/>
                  <a:gd name="connsiteX5" fmla="*/ 25241 w 3337751"/>
                  <a:gd name="connsiteY5" fmla="*/ 18192 h 383952"/>
                  <a:gd name="connsiteX6" fmla="*/ 25241 w 3337751"/>
                  <a:gd name="connsiteY6" fmla="*/ 24288 h 383952"/>
                  <a:gd name="connsiteX7" fmla="*/ 48387 w 3337751"/>
                  <a:gd name="connsiteY7" fmla="*/ 24288 h 383952"/>
                  <a:gd name="connsiteX8" fmla="*/ 48387 w 3337751"/>
                  <a:gd name="connsiteY8" fmla="*/ 30384 h 383952"/>
                  <a:gd name="connsiteX9" fmla="*/ 52578 w 3337751"/>
                  <a:gd name="connsiteY9" fmla="*/ 30384 h 383952"/>
                  <a:gd name="connsiteX10" fmla="*/ 52578 w 3337751"/>
                  <a:gd name="connsiteY10" fmla="*/ 36385 h 383952"/>
                  <a:gd name="connsiteX11" fmla="*/ 58865 w 3337751"/>
                  <a:gd name="connsiteY11" fmla="*/ 36385 h 383952"/>
                  <a:gd name="connsiteX12" fmla="*/ 58865 w 3337751"/>
                  <a:gd name="connsiteY12" fmla="*/ 48577 h 383952"/>
                  <a:gd name="connsiteX13" fmla="*/ 77819 w 3337751"/>
                  <a:gd name="connsiteY13" fmla="*/ 48577 h 383952"/>
                  <a:gd name="connsiteX14" fmla="*/ 77819 w 3337751"/>
                  <a:gd name="connsiteY14" fmla="*/ 54578 h 383952"/>
                  <a:gd name="connsiteX15" fmla="*/ 86201 w 3337751"/>
                  <a:gd name="connsiteY15" fmla="*/ 54578 h 383952"/>
                  <a:gd name="connsiteX16" fmla="*/ 86201 w 3337751"/>
                  <a:gd name="connsiteY16" fmla="*/ 60674 h 383952"/>
                  <a:gd name="connsiteX17" fmla="*/ 98870 w 3337751"/>
                  <a:gd name="connsiteY17" fmla="*/ 60674 h 383952"/>
                  <a:gd name="connsiteX18" fmla="*/ 98870 w 3337751"/>
                  <a:gd name="connsiteY18" fmla="*/ 66770 h 383952"/>
                  <a:gd name="connsiteX19" fmla="*/ 115729 w 3337751"/>
                  <a:gd name="connsiteY19" fmla="*/ 66770 h 383952"/>
                  <a:gd name="connsiteX20" fmla="*/ 115729 w 3337751"/>
                  <a:gd name="connsiteY20" fmla="*/ 72771 h 383952"/>
                  <a:gd name="connsiteX21" fmla="*/ 143066 w 3337751"/>
                  <a:gd name="connsiteY21" fmla="*/ 72771 h 383952"/>
                  <a:gd name="connsiteX22" fmla="*/ 143066 w 3337751"/>
                  <a:gd name="connsiteY22" fmla="*/ 78867 h 383952"/>
                  <a:gd name="connsiteX23" fmla="*/ 145161 w 3337751"/>
                  <a:gd name="connsiteY23" fmla="*/ 78867 h 383952"/>
                  <a:gd name="connsiteX24" fmla="*/ 145161 w 3337751"/>
                  <a:gd name="connsiteY24" fmla="*/ 84963 h 383952"/>
                  <a:gd name="connsiteX25" fmla="*/ 155638 w 3337751"/>
                  <a:gd name="connsiteY25" fmla="*/ 84963 h 383952"/>
                  <a:gd name="connsiteX26" fmla="*/ 155638 w 3337751"/>
                  <a:gd name="connsiteY26" fmla="*/ 90963 h 383952"/>
                  <a:gd name="connsiteX27" fmla="*/ 161925 w 3337751"/>
                  <a:gd name="connsiteY27" fmla="*/ 90963 h 383952"/>
                  <a:gd name="connsiteX28" fmla="*/ 161925 w 3337751"/>
                  <a:gd name="connsiteY28" fmla="*/ 103155 h 383952"/>
                  <a:gd name="connsiteX29" fmla="*/ 170402 w 3337751"/>
                  <a:gd name="connsiteY29" fmla="*/ 103155 h 383952"/>
                  <a:gd name="connsiteX30" fmla="*/ 170402 w 3337751"/>
                  <a:gd name="connsiteY30" fmla="*/ 109156 h 383952"/>
                  <a:gd name="connsiteX31" fmla="*/ 176689 w 3337751"/>
                  <a:gd name="connsiteY31" fmla="*/ 109156 h 383952"/>
                  <a:gd name="connsiteX32" fmla="*/ 176689 w 3337751"/>
                  <a:gd name="connsiteY32" fmla="*/ 121348 h 383952"/>
                  <a:gd name="connsiteX33" fmla="*/ 178784 w 3337751"/>
                  <a:gd name="connsiteY33" fmla="*/ 121348 h 383952"/>
                  <a:gd name="connsiteX34" fmla="*/ 178784 w 3337751"/>
                  <a:gd name="connsiteY34" fmla="*/ 127444 h 383952"/>
                  <a:gd name="connsiteX35" fmla="*/ 191357 w 3337751"/>
                  <a:gd name="connsiteY35" fmla="*/ 127444 h 383952"/>
                  <a:gd name="connsiteX36" fmla="*/ 191357 w 3337751"/>
                  <a:gd name="connsiteY36" fmla="*/ 133445 h 383952"/>
                  <a:gd name="connsiteX37" fmla="*/ 214503 w 3337751"/>
                  <a:gd name="connsiteY37" fmla="*/ 133445 h 383952"/>
                  <a:gd name="connsiteX38" fmla="*/ 214503 w 3337751"/>
                  <a:gd name="connsiteY38" fmla="*/ 139541 h 383952"/>
                  <a:gd name="connsiteX39" fmla="*/ 220885 w 3337751"/>
                  <a:gd name="connsiteY39" fmla="*/ 139541 h 383952"/>
                  <a:gd name="connsiteX40" fmla="*/ 220885 w 3337751"/>
                  <a:gd name="connsiteY40" fmla="*/ 145637 h 383952"/>
                  <a:gd name="connsiteX41" fmla="*/ 229267 w 3337751"/>
                  <a:gd name="connsiteY41" fmla="*/ 145637 h 383952"/>
                  <a:gd name="connsiteX42" fmla="*/ 229267 w 3337751"/>
                  <a:gd name="connsiteY42" fmla="*/ 151638 h 383952"/>
                  <a:gd name="connsiteX43" fmla="*/ 237649 w 3337751"/>
                  <a:gd name="connsiteY43" fmla="*/ 151638 h 383952"/>
                  <a:gd name="connsiteX44" fmla="*/ 237649 w 3337751"/>
                  <a:gd name="connsiteY44" fmla="*/ 157734 h 383952"/>
                  <a:gd name="connsiteX45" fmla="*/ 241840 w 3337751"/>
                  <a:gd name="connsiteY45" fmla="*/ 157734 h 383952"/>
                  <a:gd name="connsiteX46" fmla="*/ 241840 w 3337751"/>
                  <a:gd name="connsiteY46" fmla="*/ 163830 h 383952"/>
                  <a:gd name="connsiteX47" fmla="*/ 315468 w 3337751"/>
                  <a:gd name="connsiteY47" fmla="*/ 163830 h 383952"/>
                  <a:gd name="connsiteX48" fmla="*/ 315468 w 3337751"/>
                  <a:gd name="connsiteY48" fmla="*/ 169830 h 383952"/>
                  <a:gd name="connsiteX49" fmla="*/ 336518 w 3337751"/>
                  <a:gd name="connsiteY49" fmla="*/ 169830 h 383952"/>
                  <a:gd name="connsiteX50" fmla="*/ 336518 w 3337751"/>
                  <a:gd name="connsiteY50" fmla="*/ 175926 h 383952"/>
                  <a:gd name="connsiteX51" fmla="*/ 342805 w 3337751"/>
                  <a:gd name="connsiteY51" fmla="*/ 175926 h 383952"/>
                  <a:gd name="connsiteX52" fmla="*/ 342805 w 3337751"/>
                  <a:gd name="connsiteY52" fmla="*/ 182022 h 383952"/>
                  <a:gd name="connsiteX53" fmla="*/ 384905 w 3337751"/>
                  <a:gd name="connsiteY53" fmla="*/ 182022 h 383952"/>
                  <a:gd name="connsiteX54" fmla="*/ 384905 w 3337751"/>
                  <a:gd name="connsiteY54" fmla="*/ 188023 h 383952"/>
                  <a:gd name="connsiteX55" fmla="*/ 399574 w 3337751"/>
                  <a:gd name="connsiteY55" fmla="*/ 188023 h 383952"/>
                  <a:gd name="connsiteX56" fmla="*/ 399574 w 3337751"/>
                  <a:gd name="connsiteY56" fmla="*/ 194119 h 383952"/>
                  <a:gd name="connsiteX57" fmla="*/ 429101 w 3337751"/>
                  <a:gd name="connsiteY57" fmla="*/ 194119 h 383952"/>
                  <a:gd name="connsiteX58" fmla="*/ 429101 w 3337751"/>
                  <a:gd name="connsiteY58" fmla="*/ 200215 h 383952"/>
                  <a:gd name="connsiteX59" fmla="*/ 431197 w 3337751"/>
                  <a:gd name="connsiteY59" fmla="*/ 200215 h 383952"/>
                  <a:gd name="connsiteX60" fmla="*/ 431197 w 3337751"/>
                  <a:gd name="connsiteY60" fmla="*/ 206216 h 383952"/>
                  <a:gd name="connsiteX61" fmla="*/ 454247 w 3337751"/>
                  <a:gd name="connsiteY61" fmla="*/ 206216 h 383952"/>
                  <a:gd name="connsiteX62" fmla="*/ 454247 w 3337751"/>
                  <a:gd name="connsiteY62" fmla="*/ 212312 h 383952"/>
                  <a:gd name="connsiteX63" fmla="*/ 466916 w 3337751"/>
                  <a:gd name="connsiteY63" fmla="*/ 212312 h 383952"/>
                  <a:gd name="connsiteX64" fmla="*/ 466916 w 3337751"/>
                  <a:gd name="connsiteY64" fmla="*/ 218408 h 383952"/>
                  <a:gd name="connsiteX65" fmla="*/ 502634 w 3337751"/>
                  <a:gd name="connsiteY65" fmla="*/ 218408 h 383952"/>
                  <a:gd name="connsiteX66" fmla="*/ 502634 w 3337751"/>
                  <a:gd name="connsiteY66" fmla="*/ 224504 h 383952"/>
                  <a:gd name="connsiteX67" fmla="*/ 618363 w 3337751"/>
                  <a:gd name="connsiteY67" fmla="*/ 224504 h 383952"/>
                  <a:gd name="connsiteX68" fmla="*/ 618363 w 3337751"/>
                  <a:gd name="connsiteY68" fmla="*/ 230505 h 383952"/>
                  <a:gd name="connsiteX69" fmla="*/ 656177 w 3337751"/>
                  <a:gd name="connsiteY69" fmla="*/ 230505 h 383952"/>
                  <a:gd name="connsiteX70" fmla="*/ 656177 w 3337751"/>
                  <a:gd name="connsiteY70" fmla="*/ 236696 h 383952"/>
                  <a:gd name="connsiteX71" fmla="*/ 708755 w 3337751"/>
                  <a:gd name="connsiteY71" fmla="*/ 236696 h 383952"/>
                  <a:gd name="connsiteX72" fmla="*/ 708755 w 3337751"/>
                  <a:gd name="connsiteY72" fmla="*/ 242792 h 383952"/>
                  <a:gd name="connsiteX73" fmla="*/ 727710 w 3337751"/>
                  <a:gd name="connsiteY73" fmla="*/ 242792 h 383952"/>
                  <a:gd name="connsiteX74" fmla="*/ 727710 w 3337751"/>
                  <a:gd name="connsiteY74" fmla="*/ 248888 h 383952"/>
                  <a:gd name="connsiteX75" fmla="*/ 738188 w 3337751"/>
                  <a:gd name="connsiteY75" fmla="*/ 248888 h 383952"/>
                  <a:gd name="connsiteX76" fmla="*/ 738188 w 3337751"/>
                  <a:gd name="connsiteY76" fmla="*/ 255079 h 383952"/>
                  <a:gd name="connsiteX77" fmla="*/ 771906 w 3337751"/>
                  <a:gd name="connsiteY77" fmla="*/ 255079 h 383952"/>
                  <a:gd name="connsiteX78" fmla="*/ 771906 w 3337751"/>
                  <a:gd name="connsiteY78" fmla="*/ 261175 h 383952"/>
                  <a:gd name="connsiteX79" fmla="*/ 778193 w 3337751"/>
                  <a:gd name="connsiteY79" fmla="*/ 261175 h 383952"/>
                  <a:gd name="connsiteX80" fmla="*/ 778193 w 3337751"/>
                  <a:gd name="connsiteY80" fmla="*/ 267271 h 383952"/>
                  <a:gd name="connsiteX81" fmla="*/ 792861 w 3337751"/>
                  <a:gd name="connsiteY81" fmla="*/ 267271 h 383952"/>
                  <a:gd name="connsiteX82" fmla="*/ 792861 w 3337751"/>
                  <a:gd name="connsiteY82" fmla="*/ 273367 h 383952"/>
                  <a:gd name="connsiteX83" fmla="*/ 805529 w 3337751"/>
                  <a:gd name="connsiteY83" fmla="*/ 273367 h 383952"/>
                  <a:gd name="connsiteX84" fmla="*/ 805529 w 3337751"/>
                  <a:gd name="connsiteY84" fmla="*/ 279558 h 383952"/>
                  <a:gd name="connsiteX85" fmla="*/ 830771 w 3337751"/>
                  <a:gd name="connsiteY85" fmla="*/ 279558 h 383952"/>
                  <a:gd name="connsiteX86" fmla="*/ 830771 w 3337751"/>
                  <a:gd name="connsiteY86" fmla="*/ 285654 h 383952"/>
                  <a:gd name="connsiteX87" fmla="*/ 1060037 w 3337751"/>
                  <a:gd name="connsiteY87" fmla="*/ 285654 h 383952"/>
                  <a:gd name="connsiteX88" fmla="*/ 1060037 w 3337751"/>
                  <a:gd name="connsiteY88" fmla="*/ 291846 h 383952"/>
                  <a:gd name="connsiteX89" fmla="*/ 1173575 w 3337751"/>
                  <a:gd name="connsiteY89" fmla="*/ 291846 h 383952"/>
                  <a:gd name="connsiteX90" fmla="*/ 1173575 w 3337751"/>
                  <a:gd name="connsiteY90" fmla="*/ 298037 h 383952"/>
                  <a:gd name="connsiteX91" fmla="*/ 1442752 w 3337751"/>
                  <a:gd name="connsiteY91" fmla="*/ 298037 h 383952"/>
                  <a:gd name="connsiteX92" fmla="*/ 1442752 w 3337751"/>
                  <a:gd name="connsiteY92" fmla="*/ 304323 h 383952"/>
                  <a:gd name="connsiteX93" fmla="*/ 1516380 w 3337751"/>
                  <a:gd name="connsiteY93" fmla="*/ 304323 h 383952"/>
                  <a:gd name="connsiteX94" fmla="*/ 1516380 w 3337751"/>
                  <a:gd name="connsiteY94" fmla="*/ 310610 h 383952"/>
                  <a:gd name="connsiteX95" fmla="*/ 1596295 w 3337751"/>
                  <a:gd name="connsiteY95" fmla="*/ 310610 h 383952"/>
                  <a:gd name="connsiteX96" fmla="*/ 1596295 w 3337751"/>
                  <a:gd name="connsiteY96" fmla="*/ 316896 h 383952"/>
                  <a:gd name="connsiteX97" fmla="*/ 1758220 w 3337751"/>
                  <a:gd name="connsiteY97" fmla="*/ 316896 h 383952"/>
                  <a:gd name="connsiteX98" fmla="*/ 1758220 w 3337751"/>
                  <a:gd name="connsiteY98" fmla="*/ 323373 h 383952"/>
                  <a:gd name="connsiteX99" fmla="*/ 1775079 w 3337751"/>
                  <a:gd name="connsiteY99" fmla="*/ 323373 h 383952"/>
                  <a:gd name="connsiteX100" fmla="*/ 1775079 w 3337751"/>
                  <a:gd name="connsiteY100" fmla="*/ 329755 h 383952"/>
                  <a:gd name="connsiteX101" fmla="*/ 1892903 w 3337751"/>
                  <a:gd name="connsiteY101" fmla="*/ 329755 h 383952"/>
                  <a:gd name="connsiteX102" fmla="*/ 1892903 w 3337751"/>
                  <a:gd name="connsiteY102" fmla="*/ 336232 h 383952"/>
                  <a:gd name="connsiteX103" fmla="*/ 1985391 w 3337751"/>
                  <a:gd name="connsiteY103" fmla="*/ 336232 h 383952"/>
                  <a:gd name="connsiteX104" fmla="*/ 1985391 w 3337751"/>
                  <a:gd name="connsiteY104" fmla="*/ 342614 h 383952"/>
                  <a:gd name="connsiteX105" fmla="*/ 2004346 w 3337751"/>
                  <a:gd name="connsiteY105" fmla="*/ 342614 h 383952"/>
                  <a:gd name="connsiteX106" fmla="*/ 2004346 w 3337751"/>
                  <a:gd name="connsiteY106" fmla="*/ 349091 h 383952"/>
                  <a:gd name="connsiteX107" fmla="*/ 2858167 w 3337751"/>
                  <a:gd name="connsiteY107" fmla="*/ 349091 h 383952"/>
                  <a:gd name="connsiteX108" fmla="*/ 2858167 w 3337751"/>
                  <a:gd name="connsiteY108" fmla="*/ 383952 h 383952"/>
                  <a:gd name="connsiteX109" fmla="*/ 3337751 w 3337751"/>
                  <a:gd name="connsiteY109" fmla="*/ 383952 h 383952"/>
                  <a:gd name="connsiteX0" fmla="*/ 0 w 3337751"/>
                  <a:gd name="connsiteY0" fmla="*/ 0 h 383952"/>
                  <a:gd name="connsiteX1" fmla="*/ 4191 w 3337751"/>
                  <a:gd name="connsiteY1" fmla="*/ 0 h 383952"/>
                  <a:gd name="connsiteX2" fmla="*/ 21050 w 3337751"/>
                  <a:gd name="connsiteY2" fmla="*/ 6096 h 383952"/>
                  <a:gd name="connsiteX3" fmla="*/ 21050 w 3337751"/>
                  <a:gd name="connsiteY3" fmla="*/ 18192 h 383952"/>
                  <a:gd name="connsiteX4" fmla="*/ 25241 w 3337751"/>
                  <a:gd name="connsiteY4" fmla="*/ 18192 h 383952"/>
                  <a:gd name="connsiteX5" fmla="*/ 25241 w 3337751"/>
                  <a:gd name="connsiteY5" fmla="*/ 24288 h 383952"/>
                  <a:gd name="connsiteX6" fmla="*/ 48387 w 3337751"/>
                  <a:gd name="connsiteY6" fmla="*/ 24288 h 383952"/>
                  <a:gd name="connsiteX7" fmla="*/ 48387 w 3337751"/>
                  <a:gd name="connsiteY7" fmla="*/ 30384 h 383952"/>
                  <a:gd name="connsiteX8" fmla="*/ 52578 w 3337751"/>
                  <a:gd name="connsiteY8" fmla="*/ 30384 h 383952"/>
                  <a:gd name="connsiteX9" fmla="*/ 52578 w 3337751"/>
                  <a:gd name="connsiteY9" fmla="*/ 36385 h 383952"/>
                  <a:gd name="connsiteX10" fmla="*/ 58865 w 3337751"/>
                  <a:gd name="connsiteY10" fmla="*/ 36385 h 383952"/>
                  <a:gd name="connsiteX11" fmla="*/ 58865 w 3337751"/>
                  <a:gd name="connsiteY11" fmla="*/ 48577 h 383952"/>
                  <a:gd name="connsiteX12" fmla="*/ 77819 w 3337751"/>
                  <a:gd name="connsiteY12" fmla="*/ 48577 h 383952"/>
                  <a:gd name="connsiteX13" fmla="*/ 77819 w 3337751"/>
                  <a:gd name="connsiteY13" fmla="*/ 54578 h 383952"/>
                  <a:gd name="connsiteX14" fmla="*/ 86201 w 3337751"/>
                  <a:gd name="connsiteY14" fmla="*/ 54578 h 383952"/>
                  <a:gd name="connsiteX15" fmla="*/ 86201 w 3337751"/>
                  <a:gd name="connsiteY15" fmla="*/ 60674 h 383952"/>
                  <a:gd name="connsiteX16" fmla="*/ 98870 w 3337751"/>
                  <a:gd name="connsiteY16" fmla="*/ 60674 h 383952"/>
                  <a:gd name="connsiteX17" fmla="*/ 98870 w 3337751"/>
                  <a:gd name="connsiteY17" fmla="*/ 66770 h 383952"/>
                  <a:gd name="connsiteX18" fmla="*/ 115729 w 3337751"/>
                  <a:gd name="connsiteY18" fmla="*/ 66770 h 383952"/>
                  <a:gd name="connsiteX19" fmla="*/ 115729 w 3337751"/>
                  <a:gd name="connsiteY19" fmla="*/ 72771 h 383952"/>
                  <a:gd name="connsiteX20" fmla="*/ 143066 w 3337751"/>
                  <a:gd name="connsiteY20" fmla="*/ 72771 h 383952"/>
                  <a:gd name="connsiteX21" fmla="*/ 143066 w 3337751"/>
                  <a:gd name="connsiteY21" fmla="*/ 78867 h 383952"/>
                  <a:gd name="connsiteX22" fmla="*/ 145161 w 3337751"/>
                  <a:gd name="connsiteY22" fmla="*/ 78867 h 383952"/>
                  <a:gd name="connsiteX23" fmla="*/ 145161 w 3337751"/>
                  <a:gd name="connsiteY23" fmla="*/ 84963 h 383952"/>
                  <a:gd name="connsiteX24" fmla="*/ 155638 w 3337751"/>
                  <a:gd name="connsiteY24" fmla="*/ 84963 h 383952"/>
                  <a:gd name="connsiteX25" fmla="*/ 155638 w 3337751"/>
                  <a:gd name="connsiteY25" fmla="*/ 90963 h 383952"/>
                  <a:gd name="connsiteX26" fmla="*/ 161925 w 3337751"/>
                  <a:gd name="connsiteY26" fmla="*/ 90963 h 383952"/>
                  <a:gd name="connsiteX27" fmla="*/ 161925 w 3337751"/>
                  <a:gd name="connsiteY27" fmla="*/ 103155 h 383952"/>
                  <a:gd name="connsiteX28" fmla="*/ 170402 w 3337751"/>
                  <a:gd name="connsiteY28" fmla="*/ 103155 h 383952"/>
                  <a:gd name="connsiteX29" fmla="*/ 170402 w 3337751"/>
                  <a:gd name="connsiteY29" fmla="*/ 109156 h 383952"/>
                  <a:gd name="connsiteX30" fmla="*/ 176689 w 3337751"/>
                  <a:gd name="connsiteY30" fmla="*/ 109156 h 383952"/>
                  <a:gd name="connsiteX31" fmla="*/ 176689 w 3337751"/>
                  <a:gd name="connsiteY31" fmla="*/ 121348 h 383952"/>
                  <a:gd name="connsiteX32" fmla="*/ 178784 w 3337751"/>
                  <a:gd name="connsiteY32" fmla="*/ 121348 h 383952"/>
                  <a:gd name="connsiteX33" fmla="*/ 178784 w 3337751"/>
                  <a:gd name="connsiteY33" fmla="*/ 127444 h 383952"/>
                  <a:gd name="connsiteX34" fmla="*/ 191357 w 3337751"/>
                  <a:gd name="connsiteY34" fmla="*/ 127444 h 383952"/>
                  <a:gd name="connsiteX35" fmla="*/ 191357 w 3337751"/>
                  <a:gd name="connsiteY35" fmla="*/ 133445 h 383952"/>
                  <a:gd name="connsiteX36" fmla="*/ 214503 w 3337751"/>
                  <a:gd name="connsiteY36" fmla="*/ 133445 h 383952"/>
                  <a:gd name="connsiteX37" fmla="*/ 214503 w 3337751"/>
                  <a:gd name="connsiteY37" fmla="*/ 139541 h 383952"/>
                  <a:gd name="connsiteX38" fmla="*/ 220885 w 3337751"/>
                  <a:gd name="connsiteY38" fmla="*/ 139541 h 383952"/>
                  <a:gd name="connsiteX39" fmla="*/ 220885 w 3337751"/>
                  <a:gd name="connsiteY39" fmla="*/ 145637 h 383952"/>
                  <a:gd name="connsiteX40" fmla="*/ 229267 w 3337751"/>
                  <a:gd name="connsiteY40" fmla="*/ 145637 h 383952"/>
                  <a:gd name="connsiteX41" fmla="*/ 229267 w 3337751"/>
                  <a:gd name="connsiteY41" fmla="*/ 151638 h 383952"/>
                  <a:gd name="connsiteX42" fmla="*/ 237649 w 3337751"/>
                  <a:gd name="connsiteY42" fmla="*/ 151638 h 383952"/>
                  <a:gd name="connsiteX43" fmla="*/ 237649 w 3337751"/>
                  <a:gd name="connsiteY43" fmla="*/ 157734 h 383952"/>
                  <a:gd name="connsiteX44" fmla="*/ 241840 w 3337751"/>
                  <a:gd name="connsiteY44" fmla="*/ 157734 h 383952"/>
                  <a:gd name="connsiteX45" fmla="*/ 241840 w 3337751"/>
                  <a:gd name="connsiteY45" fmla="*/ 163830 h 383952"/>
                  <a:gd name="connsiteX46" fmla="*/ 315468 w 3337751"/>
                  <a:gd name="connsiteY46" fmla="*/ 163830 h 383952"/>
                  <a:gd name="connsiteX47" fmla="*/ 315468 w 3337751"/>
                  <a:gd name="connsiteY47" fmla="*/ 169830 h 383952"/>
                  <a:gd name="connsiteX48" fmla="*/ 336518 w 3337751"/>
                  <a:gd name="connsiteY48" fmla="*/ 169830 h 383952"/>
                  <a:gd name="connsiteX49" fmla="*/ 336518 w 3337751"/>
                  <a:gd name="connsiteY49" fmla="*/ 175926 h 383952"/>
                  <a:gd name="connsiteX50" fmla="*/ 342805 w 3337751"/>
                  <a:gd name="connsiteY50" fmla="*/ 175926 h 383952"/>
                  <a:gd name="connsiteX51" fmla="*/ 342805 w 3337751"/>
                  <a:gd name="connsiteY51" fmla="*/ 182022 h 383952"/>
                  <a:gd name="connsiteX52" fmla="*/ 384905 w 3337751"/>
                  <a:gd name="connsiteY52" fmla="*/ 182022 h 383952"/>
                  <a:gd name="connsiteX53" fmla="*/ 384905 w 3337751"/>
                  <a:gd name="connsiteY53" fmla="*/ 188023 h 383952"/>
                  <a:gd name="connsiteX54" fmla="*/ 399574 w 3337751"/>
                  <a:gd name="connsiteY54" fmla="*/ 188023 h 383952"/>
                  <a:gd name="connsiteX55" fmla="*/ 399574 w 3337751"/>
                  <a:gd name="connsiteY55" fmla="*/ 194119 h 383952"/>
                  <a:gd name="connsiteX56" fmla="*/ 429101 w 3337751"/>
                  <a:gd name="connsiteY56" fmla="*/ 194119 h 383952"/>
                  <a:gd name="connsiteX57" fmla="*/ 429101 w 3337751"/>
                  <a:gd name="connsiteY57" fmla="*/ 200215 h 383952"/>
                  <a:gd name="connsiteX58" fmla="*/ 431197 w 3337751"/>
                  <a:gd name="connsiteY58" fmla="*/ 200215 h 383952"/>
                  <a:gd name="connsiteX59" fmla="*/ 431197 w 3337751"/>
                  <a:gd name="connsiteY59" fmla="*/ 206216 h 383952"/>
                  <a:gd name="connsiteX60" fmla="*/ 454247 w 3337751"/>
                  <a:gd name="connsiteY60" fmla="*/ 206216 h 383952"/>
                  <a:gd name="connsiteX61" fmla="*/ 454247 w 3337751"/>
                  <a:gd name="connsiteY61" fmla="*/ 212312 h 383952"/>
                  <a:gd name="connsiteX62" fmla="*/ 466916 w 3337751"/>
                  <a:gd name="connsiteY62" fmla="*/ 212312 h 383952"/>
                  <a:gd name="connsiteX63" fmla="*/ 466916 w 3337751"/>
                  <a:gd name="connsiteY63" fmla="*/ 218408 h 383952"/>
                  <a:gd name="connsiteX64" fmla="*/ 502634 w 3337751"/>
                  <a:gd name="connsiteY64" fmla="*/ 218408 h 383952"/>
                  <a:gd name="connsiteX65" fmla="*/ 502634 w 3337751"/>
                  <a:gd name="connsiteY65" fmla="*/ 224504 h 383952"/>
                  <a:gd name="connsiteX66" fmla="*/ 618363 w 3337751"/>
                  <a:gd name="connsiteY66" fmla="*/ 224504 h 383952"/>
                  <a:gd name="connsiteX67" fmla="*/ 618363 w 3337751"/>
                  <a:gd name="connsiteY67" fmla="*/ 230505 h 383952"/>
                  <a:gd name="connsiteX68" fmla="*/ 656177 w 3337751"/>
                  <a:gd name="connsiteY68" fmla="*/ 230505 h 383952"/>
                  <a:gd name="connsiteX69" fmla="*/ 656177 w 3337751"/>
                  <a:gd name="connsiteY69" fmla="*/ 236696 h 383952"/>
                  <a:gd name="connsiteX70" fmla="*/ 708755 w 3337751"/>
                  <a:gd name="connsiteY70" fmla="*/ 236696 h 383952"/>
                  <a:gd name="connsiteX71" fmla="*/ 708755 w 3337751"/>
                  <a:gd name="connsiteY71" fmla="*/ 242792 h 383952"/>
                  <a:gd name="connsiteX72" fmla="*/ 727710 w 3337751"/>
                  <a:gd name="connsiteY72" fmla="*/ 242792 h 383952"/>
                  <a:gd name="connsiteX73" fmla="*/ 727710 w 3337751"/>
                  <a:gd name="connsiteY73" fmla="*/ 248888 h 383952"/>
                  <a:gd name="connsiteX74" fmla="*/ 738188 w 3337751"/>
                  <a:gd name="connsiteY74" fmla="*/ 248888 h 383952"/>
                  <a:gd name="connsiteX75" fmla="*/ 738188 w 3337751"/>
                  <a:gd name="connsiteY75" fmla="*/ 255079 h 383952"/>
                  <a:gd name="connsiteX76" fmla="*/ 771906 w 3337751"/>
                  <a:gd name="connsiteY76" fmla="*/ 255079 h 383952"/>
                  <a:gd name="connsiteX77" fmla="*/ 771906 w 3337751"/>
                  <a:gd name="connsiteY77" fmla="*/ 261175 h 383952"/>
                  <a:gd name="connsiteX78" fmla="*/ 778193 w 3337751"/>
                  <a:gd name="connsiteY78" fmla="*/ 261175 h 383952"/>
                  <a:gd name="connsiteX79" fmla="*/ 778193 w 3337751"/>
                  <a:gd name="connsiteY79" fmla="*/ 267271 h 383952"/>
                  <a:gd name="connsiteX80" fmla="*/ 792861 w 3337751"/>
                  <a:gd name="connsiteY80" fmla="*/ 267271 h 383952"/>
                  <a:gd name="connsiteX81" fmla="*/ 792861 w 3337751"/>
                  <a:gd name="connsiteY81" fmla="*/ 273367 h 383952"/>
                  <a:gd name="connsiteX82" fmla="*/ 805529 w 3337751"/>
                  <a:gd name="connsiteY82" fmla="*/ 273367 h 383952"/>
                  <a:gd name="connsiteX83" fmla="*/ 805529 w 3337751"/>
                  <a:gd name="connsiteY83" fmla="*/ 279558 h 383952"/>
                  <a:gd name="connsiteX84" fmla="*/ 830771 w 3337751"/>
                  <a:gd name="connsiteY84" fmla="*/ 279558 h 383952"/>
                  <a:gd name="connsiteX85" fmla="*/ 830771 w 3337751"/>
                  <a:gd name="connsiteY85" fmla="*/ 285654 h 383952"/>
                  <a:gd name="connsiteX86" fmla="*/ 1060037 w 3337751"/>
                  <a:gd name="connsiteY86" fmla="*/ 285654 h 383952"/>
                  <a:gd name="connsiteX87" fmla="*/ 1060037 w 3337751"/>
                  <a:gd name="connsiteY87" fmla="*/ 291846 h 383952"/>
                  <a:gd name="connsiteX88" fmla="*/ 1173575 w 3337751"/>
                  <a:gd name="connsiteY88" fmla="*/ 291846 h 383952"/>
                  <a:gd name="connsiteX89" fmla="*/ 1173575 w 3337751"/>
                  <a:gd name="connsiteY89" fmla="*/ 298037 h 383952"/>
                  <a:gd name="connsiteX90" fmla="*/ 1442752 w 3337751"/>
                  <a:gd name="connsiteY90" fmla="*/ 298037 h 383952"/>
                  <a:gd name="connsiteX91" fmla="*/ 1442752 w 3337751"/>
                  <a:gd name="connsiteY91" fmla="*/ 304323 h 383952"/>
                  <a:gd name="connsiteX92" fmla="*/ 1516380 w 3337751"/>
                  <a:gd name="connsiteY92" fmla="*/ 304323 h 383952"/>
                  <a:gd name="connsiteX93" fmla="*/ 1516380 w 3337751"/>
                  <a:gd name="connsiteY93" fmla="*/ 310610 h 383952"/>
                  <a:gd name="connsiteX94" fmla="*/ 1596295 w 3337751"/>
                  <a:gd name="connsiteY94" fmla="*/ 310610 h 383952"/>
                  <a:gd name="connsiteX95" fmla="*/ 1596295 w 3337751"/>
                  <a:gd name="connsiteY95" fmla="*/ 316896 h 383952"/>
                  <a:gd name="connsiteX96" fmla="*/ 1758220 w 3337751"/>
                  <a:gd name="connsiteY96" fmla="*/ 316896 h 383952"/>
                  <a:gd name="connsiteX97" fmla="*/ 1758220 w 3337751"/>
                  <a:gd name="connsiteY97" fmla="*/ 323373 h 383952"/>
                  <a:gd name="connsiteX98" fmla="*/ 1775079 w 3337751"/>
                  <a:gd name="connsiteY98" fmla="*/ 323373 h 383952"/>
                  <a:gd name="connsiteX99" fmla="*/ 1775079 w 3337751"/>
                  <a:gd name="connsiteY99" fmla="*/ 329755 h 383952"/>
                  <a:gd name="connsiteX100" fmla="*/ 1892903 w 3337751"/>
                  <a:gd name="connsiteY100" fmla="*/ 329755 h 383952"/>
                  <a:gd name="connsiteX101" fmla="*/ 1892903 w 3337751"/>
                  <a:gd name="connsiteY101" fmla="*/ 336232 h 383952"/>
                  <a:gd name="connsiteX102" fmla="*/ 1985391 w 3337751"/>
                  <a:gd name="connsiteY102" fmla="*/ 336232 h 383952"/>
                  <a:gd name="connsiteX103" fmla="*/ 1985391 w 3337751"/>
                  <a:gd name="connsiteY103" fmla="*/ 342614 h 383952"/>
                  <a:gd name="connsiteX104" fmla="*/ 2004346 w 3337751"/>
                  <a:gd name="connsiteY104" fmla="*/ 342614 h 383952"/>
                  <a:gd name="connsiteX105" fmla="*/ 2004346 w 3337751"/>
                  <a:gd name="connsiteY105" fmla="*/ 349091 h 383952"/>
                  <a:gd name="connsiteX106" fmla="*/ 2858167 w 3337751"/>
                  <a:gd name="connsiteY106" fmla="*/ 349091 h 383952"/>
                  <a:gd name="connsiteX107" fmla="*/ 2858167 w 3337751"/>
                  <a:gd name="connsiteY107" fmla="*/ 383952 h 383952"/>
                  <a:gd name="connsiteX108" fmla="*/ 3337751 w 3337751"/>
                  <a:gd name="connsiteY108" fmla="*/ 383952 h 383952"/>
                  <a:gd name="connsiteX0" fmla="*/ 0 w 3337751"/>
                  <a:gd name="connsiteY0" fmla="*/ 0 h 383952"/>
                  <a:gd name="connsiteX1" fmla="*/ 21050 w 3337751"/>
                  <a:gd name="connsiteY1" fmla="*/ 6096 h 383952"/>
                  <a:gd name="connsiteX2" fmla="*/ 21050 w 3337751"/>
                  <a:gd name="connsiteY2" fmla="*/ 18192 h 383952"/>
                  <a:gd name="connsiteX3" fmla="*/ 25241 w 3337751"/>
                  <a:gd name="connsiteY3" fmla="*/ 18192 h 383952"/>
                  <a:gd name="connsiteX4" fmla="*/ 25241 w 3337751"/>
                  <a:gd name="connsiteY4" fmla="*/ 24288 h 383952"/>
                  <a:gd name="connsiteX5" fmla="*/ 48387 w 3337751"/>
                  <a:gd name="connsiteY5" fmla="*/ 24288 h 383952"/>
                  <a:gd name="connsiteX6" fmla="*/ 48387 w 3337751"/>
                  <a:gd name="connsiteY6" fmla="*/ 30384 h 383952"/>
                  <a:gd name="connsiteX7" fmla="*/ 52578 w 3337751"/>
                  <a:gd name="connsiteY7" fmla="*/ 30384 h 383952"/>
                  <a:gd name="connsiteX8" fmla="*/ 52578 w 3337751"/>
                  <a:gd name="connsiteY8" fmla="*/ 36385 h 383952"/>
                  <a:gd name="connsiteX9" fmla="*/ 58865 w 3337751"/>
                  <a:gd name="connsiteY9" fmla="*/ 36385 h 383952"/>
                  <a:gd name="connsiteX10" fmla="*/ 58865 w 3337751"/>
                  <a:gd name="connsiteY10" fmla="*/ 48577 h 383952"/>
                  <a:gd name="connsiteX11" fmla="*/ 77819 w 3337751"/>
                  <a:gd name="connsiteY11" fmla="*/ 48577 h 383952"/>
                  <a:gd name="connsiteX12" fmla="*/ 77819 w 3337751"/>
                  <a:gd name="connsiteY12" fmla="*/ 54578 h 383952"/>
                  <a:gd name="connsiteX13" fmla="*/ 86201 w 3337751"/>
                  <a:gd name="connsiteY13" fmla="*/ 54578 h 383952"/>
                  <a:gd name="connsiteX14" fmla="*/ 86201 w 3337751"/>
                  <a:gd name="connsiteY14" fmla="*/ 60674 h 383952"/>
                  <a:gd name="connsiteX15" fmla="*/ 98870 w 3337751"/>
                  <a:gd name="connsiteY15" fmla="*/ 60674 h 383952"/>
                  <a:gd name="connsiteX16" fmla="*/ 98870 w 3337751"/>
                  <a:gd name="connsiteY16" fmla="*/ 66770 h 383952"/>
                  <a:gd name="connsiteX17" fmla="*/ 115729 w 3337751"/>
                  <a:gd name="connsiteY17" fmla="*/ 66770 h 383952"/>
                  <a:gd name="connsiteX18" fmla="*/ 115729 w 3337751"/>
                  <a:gd name="connsiteY18" fmla="*/ 72771 h 383952"/>
                  <a:gd name="connsiteX19" fmla="*/ 143066 w 3337751"/>
                  <a:gd name="connsiteY19" fmla="*/ 72771 h 383952"/>
                  <a:gd name="connsiteX20" fmla="*/ 143066 w 3337751"/>
                  <a:gd name="connsiteY20" fmla="*/ 78867 h 383952"/>
                  <a:gd name="connsiteX21" fmla="*/ 145161 w 3337751"/>
                  <a:gd name="connsiteY21" fmla="*/ 78867 h 383952"/>
                  <a:gd name="connsiteX22" fmla="*/ 145161 w 3337751"/>
                  <a:gd name="connsiteY22" fmla="*/ 84963 h 383952"/>
                  <a:gd name="connsiteX23" fmla="*/ 155638 w 3337751"/>
                  <a:gd name="connsiteY23" fmla="*/ 84963 h 383952"/>
                  <a:gd name="connsiteX24" fmla="*/ 155638 w 3337751"/>
                  <a:gd name="connsiteY24" fmla="*/ 90963 h 383952"/>
                  <a:gd name="connsiteX25" fmla="*/ 161925 w 3337751"/>
                  <a:gd name="connsiteY25" fmla="*/ 90963 h 383952"/>
                  <a:gd name="connsiteX26" fmla="*/ 161925 w 3337751"/>
                  <a:gd name="connsiteY26" fmla="*/ 103155 h 383952"/>
                  <a:gd name="connsiteX27" fmla="*/ 170402 w 3337751"/>
                  <a:gd name="connsiteY27" fmla="*/ 103155 h 383952"/>
                  <a:gd name="connsiteX28" fmla="*/ 170402 w 3337751"/>
                  <a:gd name="connsiteY28" fmla="*/ 109156 h 383952"/>
                  <a:gd name="connsiteX29" fmla="*/ 176689 w 3337751"/>
                  <a:gd name="connsiteY29" fmla="*/ 109156 h 383952"/>
                  <a:gd name="connsiteX30" fmla="*/ 176689 w 3337751"/>
                  <a:gd name="connsiteY30" fmla="*/ 121348 h 383952"/>
                  <a:gd name="connsiteX31" fmla="*/ 178784 w 3337751"/>
                  <a:gd name="connsiteY31" fmla="*/ 121348 h 383952"/>
                  <a:gd name="connsiteX32" fmla="*/ 178784 w 3337751"/>
                  <a:gd name="connsiteY32" fmla="*/ 127444 h 383952"/>
                  <a:gd name="connsiteX33" fmla="*/ 191357 w 3337751"/>
                  <a:gd name="connsiteY33" fmla="*/ 127444 h 383952"/>
                  <a:gd name="connsiteX34" fmla="*/ 191357 w 3337751"/>
                  <a:gd name="connsiteY34" fmla="*/ 133445 h 383952"/>
                  <a:gd name="connsiteX35" fmla="*/ 214503 w 3337751"/>
                  <a:gd name="connsiteY35" fmla="*/ 133445 h 383952"/>
                  <a:gd name="connsiteX36" fmla="*/ 214503 w 3337751"/>
                  <a:gd name="connsiteY36" fmla="*/ 139541 h 383952"/>
                  <a:gd name="connsiteX37" fmla="*/ 220885 w 3337751"/>
                  <a:gd name="connsiteY37" fmla="*/ 139541 h 383952"/>
                  <a:gd name="connsiteX38" fmla="*/ 220885 w 3337751"/>
                  <a:gd name="connsiteY38" fmla="*/ 145637 h 383952"/>
                  <a:gd name="connsiteX39" fmla="*/ 229267 w 3337751"/>
                  <a:gd name="connsiteY39" fmla="*/ 145637 h 383952"/>
                  <a:gd name="connsiteX40" fmla="*/ 229267 w 3337751"/>
                  <a:gd name="connsiteY40" fmla="*/ 151638 h 383952"/>
                  <a:gd name="connsiteX41" fmla="*/ 237649 w 3337751"/>
                  <a:gd name="connsiteY41" fmla="*/ 151638 h 383952"/>
                  <a:gd name="connsiteX42" fmla="*/ 237649 w 3337751"/>
                  <a:gd name="connsiteY42" fmla="*/ 157734 h 383952"/>
                  <a:gd name="connsiteX43" fmla="*/ 241840 w 3337751"/>
                  <a:gd name="connsiteY43" fmla="*/ 157734 h 383952"/>
                  <a:gd name="connsiteX44" fmla="*/ 241840 w 3337751"/>
                  <a:gd name="connsiteY44" fmla="*/ 163830 h 383952"/>
                  <a:gd name="connsiteX45" fmla="*/ 315468 w 3337751"/>
                  <a:gd name="connsiteY45" fmla="*/ 163830 h 383952"/>
                  <a:gd name="connsiteX46" fmla="*/ 315468 w 3337751"/>
                  <a:gd name="connsiteY46" fmla="*/ 169830 h 383952"/>
                  <a:gd name="connsiteX47" fmla="*/ 336518 w 3337751"/>
                  <a:gd name="connsiteY47" fmla="*/ 169830 h 383952"/>
                  <a:gd name="connsiteX48" fmla="*/ 336518 w 3337751"/>
                  <a:gd name="connsiteY48" fmla="*/ 175926 h 383952"/>
                  <a:gd name="connsiteX49" fmla="*/ 342805 w 3337751"/>
                  <a:gd name="connsiteY49" fmla="*/ 175926 h 383952"/>
                  <a:gd name="connsiteX50" fmla="*/ 342805 w 3337751"/>
                  <a:gd name="connsiteY50" fmla="*/ 182022 h 383952"/>
                  <a:gd name="connsiteX51" fmla="*/ 384905 w 3337751"/>
                  <a:gd name="connsiteY51" fmla="*/ 182022 h 383952"/>
                  <a:gd name="connsiteX52" fmla="*/ 384905 w 3337751"/>
                  <a:gd name="connsiteY52" fmla="*/ 188023 h 383952"/>
                  <a:gd name="connsiteX53" fmla="*/ 399574 w 3337751"/>
                  <a:gd name="connsiteY53" fmla="*/ 188023 h 383952"/>
                  <a:gd name="connsiteX54" fmla="*/ 399574 w 3337751"/>
                  <a:gd name="connsiteY54" fmla="*/ 194119 h 383952"/>
                  <a:gd name="connsiteX55" fmla="*/ 429101 w 3337751"/>
                  <a:gd name="connsiteY55" fmla="*/ 194119 h 383952"/>
                  <a:gd name="connsiteX56" fmla="*/ 429101 w 3337751"/>
                  <a:gd name="connsiteY56" fmla="*/ 200215 h 383952"/>
                  <a:gd name="connsiteX57" fmla="*/ 431197 w 3337751"/>
                  <a:gd name="connsiteY57" fmla="*/ 200215 h 383952"/>
                  <a:gd name="connsiteX58" fmla="*/ 431197 w 3337751"/>
                  <a:gd name="connsiteY58" fmla="*/ 206216 h 383952"/>
                  <a:gd name="connsiteX59" fmla="*/ 454247 w 3337751"/>
                  <a:gd name="connsiteY59" fmla="*/ 206216 h 383952"/>
                  <a:gd name="connsiteX60" fmla="*/ 454247 w 3337751"/>
                  <a:gd name="connsiteY60" fmla="*/ 212312 h 383952"/>
                  <a:gd name="connsiteX61" fmla="*/ 466916 w 3337751"/>
                  <a:gd name="connsiteY61" fmla="*/ 212312 h 383952"/>
                  <a:gd name="connsiteX62" fmla="*/ 466916 w 3337751"/>
                  <a:gd name="connsiteY62" fmla="*/ 218408 h 383952"/>
                  <a:gd name="connsiteX63" fmla="*/ 502634 w 3337751"/>
                  <a:gd name="connsiteY63" fmla="*/ 218408 h 383952"/>
                  <a:gd name="connsiteX64" fmla="*/ 502634 w 3337751"/>
                  <a:gd name="connsiteY64" fmla="*/ 224504 h 383952"/>
                  <a:gd name="connsiteX65" fmla="*/ 618363 w 3337751"/>
                  <a:gd name="connsiteY65" fmla="*/ 224504 h 383952"/>
                  <a:gd name="connsiteX66" fmla="*/ 618363 w 3337751"/>
                  <a:gd name="connsiteY66" fmla="*/ 230505 h 383952"/>
                  <a:gd name="connsiteX67" fmla="*/ 656177 w 3337751"/>
                  <a:gd name="connsiteY67" fmla="*/ 230505 h 383952"/>
                  <a:gd name="connsiteX68" fmla="*/ 656177 w 3337751"/>
                  <a:gd name="connsiteY68" fmla="*/ 236696 h 383952"/>
                  <a:gd name="connsiteX69" fmla="*/ 708755 w 3337751"/>
                  <a:gd name="connsiteY69" fmla="*/ 236696 h 383952"/>
                  <a:gd name="connsiteX70" fmla="*/ 708755 w 3337751"/>
                  <a:gd name="connsiteY70" fmla="*/ 242792 h 383952"/>
                  <a:gd name="connsiteX71" fmla="*/ 727710 w 3337751"/>
                  <a:gd name="connsiteY71" fmla="*/ 242792 h 383952"/>
                  <a:gd name="connsiteX72" fmla="*/ 727710 w 3337751"/>
                  <a:gd name="connsiteY72" fmla="*/ 248888 h 383952"/>
                  <a:gd name="connsiteX73" fmla="*/ 738188 w 3337751"/>
                  <a:gd name="connsiteY73" fmla="*/ 248888 h 383952"/>
                  <a:gd name="connsiteX74" fmla="*/ 738188 w 3337751"/>
                  <a:gd name="connsiteY74" fmla="*/ 255079 h 383952"/>
                  <a:gd name="connsiteX75" fmla="*/ 771906 w 3337751"/>
                  <a:gd name="connsiteY75" fmla="*/ 255079 h 383952"/>
                  <a:gd name="connsiteX76" fmla="*/ 771906 w 3337751"/>
                  <a:gd name="connsiteY76" fmla="*/ 261175 h 383952"/>
                  <a:gd name="connsiteX77" fmla="*/ 778193 w 3337751"/>
                  <a:gd name="connsiteY77" fmla="*/ 261175 h 383952"/>
                  <a:gd name="connsiteX78" fmla="*/ 778193 w 3337751"/>
                  <a:gd name="connsiteY78" fmla="*/ 267271 h 383952"/>
                  <a:gd name="connsiteX79" fmla="*/ 792861 w 3337751"/>
                  <a:gd name="connsiteY79" fmla="*/ 267271 h 383952"/>
                  <a:gd name="connsiteX80" fmla="*/ 792861 w 3337751"/>
                  <a:gd name="connsiteY80" fmla="*/ 273367 h 383952"/>
                  <a:gd name="connsiteX81" fmla="*/ 805529 w 3337751"/>
                  <a:gd name="connsiteY81" fmla="*/ 273367 h 383952"/>
                  <a:gd name="connsiteX82" fmla="*/ 805529 w 3337751"/>
                  <a:gd name="connsiteY82" fmla="*/ 279558 h 383952"/>
                  <a:gd name="connsiteX83" fmla="*/ 830771 w 3337751"/>
                  <a:gd name="connsiteY83" fmla="*/ 279558 h 383952"/>
                  <a:gd name="connsiteX84" fmla="*/ 830771 w 3337751"/>
                  <a:gd name="connsiteY84" fmla="*/ 285654 h 383952"/>
                  <a:gd name="connsiteX85" fmla="*/ 1060037 w 3337751"/>
                  <a:gd name="connsiteY85" fmla="*/ 285654 h 383952"/>
                  <a:gd name="connsiteX86" fmla="*/ 1060037 w 3337751"/>
                  <a:gd name="connsiteY86" fmla="*/ 291846 h 383952"/>
                  <a:gd name="connsiteX87" fmla="*/ 1173575 w 3337751"/>
                  <a:gd name="connsiteY87" fmla="*/ 291846 h 383952"/>
                  <a:gd name="connsiteX88" fmla="*/ 1173575 w 3337751"/>
                  <a:gd name="connsiteY88" fmla="*/ 298037 h 383952"/>
                  <a:gd name="connsiteX89" fmla="*/ 1442752 w 3337751"/>
                  <a:gd name="connsiteY89" fmla="*/ 298037 h 383952"/>
                  <a:gd name="connsiteX90" fmla="*/ 1442752 w 3337751"/>
                  <a:gd name="connsiteY90" fmla="*/ 304323 h 383952"/>
                  <a:gd name="connsiteX91" fmla="*/ 1516380 w 3337751"/>
                  <a:gd name="connsiteY91" fmla="*/ 304323 h 383952"/>
                  <a:gd name="connsiteX92" fmla="*/ 1516380 w 3337751"/>
                  <a:gd name="connsiteY92" fmla="*/ 310610 h 383952"/>
                  <a:gd name="connsiteX93" fmla="*/ 1596295 w 3337751"/>
                  <a:gd name="connsiteY93" fmla="*/ 310610 h 383952"/>
                  <a:gd name="connsiteX94" fmla="*/ 1596295 w 3337751"/>
                  <a:gd name="connsiteY94" fmla="*/ 316896 h 383952"/>
                  <a:gd name="connsiteX95" fmla="*/ 1758220 w 3337751"/>
                  <a:gd name="connsiteY95" fmla="*/ 316896 h 383952"/>
                  <a:gd name="connsiteX96" fmla="*/ 1758220 w 3337751"/>
                  <a:gd name="connsiteY96" fmla="*/ 323373 h 383952"/>
                  <a:gd name="connsiteX97" fmla="*/ 1775079 w 3337751"/>
                  <a:gd name="connsiteY97" fmla="*/ 323373 h 383952"/>
                  <a:gd name="connsiteX98" fmla="*/ 1775079 w 3337751"/>
                  <a:gd name="connsiteY98" fmla="*/ 329755 h 383952"/>
                  <a:gd name="connsiteX99" fmla="*/ 1892903 w 3337751"/>
                  <a:gd name="connsiteY99" fmla="*/ 329755 h 383952"/>
                  <a:gd name="connsiteX100" fmla="*/ 1892903 w 3337751"/>
                  <a:gd name="connsiteY100" fmla="*/ 336232 h 383952"/>
                  <a:gd name="connsiteX101" fmla="*/ 1985391 w 3337751"/>
                  <a:gd name="connsiteY101" fmla="*/ 336232 h 383952"/>
                  <a:gd name="connsiteX102" fmla="*/ 1985391 w 3337751"/>
                  <a:gd name="connsiteY102" fmla="*/ 342614 h 383952"/>
                  <a:gd name="connsiteX103" fmla="*/ 2004346 w 3337751"/>
                  <a:gd name="connsiteY103" fmla="*/ 342614 h 383952"/>
                  <a:gd name="connsiteX104" fmla="*/ 2004346 w 3337751"/>
                  <a:gd name="connsiteY104" fmla="*/ 349091 h 383952"/>
                  <a:gd name="connsiteX105" fmla="*/ 2858167 w 3337751"/>
                  <a:gd name="connsiteY105" fmla="*/ 349091 h 383952"/>
                  <a:gd name="connsiteX106" fmla="*/ 2858167 w 3337751"/>
                  <a:gd name="connsiteY106" fmla="*/ 383952 h 383952"/>
                  <a:gd name="connsiteX107" fmla="*/ 3337751 w 3337751"/>
                  <a:gd name="connsiteY107" fmla="*/ 383952 h 383952"/>
                  <a:gd name="connsiteX0" fmla="*/ 0 w 3316701"/>
                  <a:gd name="connsiteY0" fmla="*/ 0 h 377856"/>
                  <a:gd name="connsiteX1" fmla="*/ 0 w 3316701"/>
                  <a:gd name="connsiteY1" fmla="*/ 12096 h 377856"/>
                  <a:gd name="connsiteX2" fmla="*/ 4191 w 3316701"/>
                  <a:gd name="connsiteY2" fmla="*/ 12096 h 377856"/>
                  <a:gd name="connsiteX3" fmla="*/ 4191 w 3316701"/>
                  <a:gd name="connsiteY3" fmla="*/ 18192 h 377856"/>
                  <a:gd name="connsiteX4" fmla="*/ 27337 w 3316701"/>
                  <a:gd name="connsiteY4" fmla="*/ 18192 h 377856"/>
                  <a:gd name="connsiteX5" fmla="*/ 27337 w 3316701"/>
                  <a:gd name="connsiteY5" fmla="*/ 24288 h 377856"/>
                  <a:gd name="connsiteX6" fmla="*/ 31528 w 3316701"/>
                  <a:gd name="connsiteY6" fmla="*/ 24288 h 377856"/>
                  <a:gd name="connsiteX7" fmla="*/ 31528 w 3316701"/>
                  <a:gd name="connsiteY7" fmla="*/ 30289 h 377856"/>
                  <a:gd name="connsiteX8" fmla="*/ 37815 w 3316701"/>
                  <a:gd name="connsiteY8" fmla="*/ 30289 h 377856"/>
                  <a:gd name="connsiteX9" fmla="*/ 37815 w 3316701"/>
                  <a:gd name="connsiteY9" fmla="*/ 42481 h 377856"/>
                  <a:gd name="connsiteX10" fmla="*/ 56769 w 3316701"/>
                  <a:gd name="connsiteY10" fmla="*/ 42481 h 377856"/>
                  <a:gd name="connsiteX11" fmla="*/ 56769 w 3316701"/>
                  <a:gd name="connsiteY11" fmla="*/ 48482 h 377856"/>
                  <a:gd name="connsiteX12" fmla="*/ 65151 w 3316701"/>
                  <a:gd name="connsiteY12" fmla="*/ 48482 h 377856"/>
                  <a:gd name="connsiteX13" fmla="*/ 65151 w 3316701"/>
                  <a:gd name="connsiteY13" fmla="*/ 54578 h 377856"/>
                  <a:gd name="connsiteX14" fmla="*/ 77820 w 3316701"/>
                  <a:gd name="connsiteY14" fmla="*/ 54578 h 377856"/>
                  <a:gd name="connsiteX15" fmla="*/ 77820 w 3316701"/>
                  <a:gd name="connsiteY15" fmla="*/ 60674 h 377856"/>
                  <a:gd name="connsiteX16" fmla="*/ 94679 w 3316701"/>
                  <a:gd name="connsiteY16" fmla="*/ 60674 h 377856"/>
                  <a:gd name="connsiteX17" fmla="*/ 94679 w 3316701"/>
                  <a:gd name="connsiteY17" fmla="*/ 66675 h 377856"/>
                  <a:gd name="connsiteX18" fmla="*/ 122016 w 3316701"/>
                  <a:gd name="connsiteY18" fmla="*/ 66675 h 377856"/>
                  <a:gd name="connsiteX19" fmla="*/ 122016 w 3316701"/>
                  <a:gd name="connsiteY19" fmla="*/ 72771 h 377856"/>
                  <a:gd name="connsiteX20" fmla="*/ 124111 w 3316701"/>
                  <a:gd name="connsiteY20" fmla="*/ 72771 h 377856"/>
                  <a:gd name="connsiteX21" fmla="*/ 124111 w 3316701"/>
                  <a:gd name="connsiteY21" fmla="*/ 78867 h 377856"/>
                  <a:gd name="connsiteX22" fmla="*/ 134588 w 3316701"/>
                  <a:gd name="connsiteY22" fmla="*/ 78867 h 377856"/>
                  <a:gd name="connsiteX23" fmla="*/ 134588 w 3316701"/>
                  <a:gd name="connsiteY23" fmla="*/ 84867 h 377856"/>
                  <a:gd name="connsiteX24" fmla="*/ 140875 w 3316701"/>
                  <a:gd name="connsiteY24" fmla="*/ 84867 h 377856"/>
                  <a:gd name="connsiteX25" fmla="*/ 140875 w 3316701"/>
                  <a:gd name="connsiteY25" fmla="*/ 97059 h 377856"/>
                  <a:gd name="connsiteX26" fmla="*/ 149352 w 3316701"/>
                  <a:gd name="connsiteY26" fmla="*/ 97059 h 377856"/>
                  <a:gd name="connsiteX27" fmla="*/ 149352 w 3316701"/>
                  <a:gd name="connsiteY27" fmla="*/ 103060 h 377856"/>
                  <a:gd name="connsiteX28" fmla="*/ 155639 w 3316701"/>
                  <a:gd name="connsiteY28" fmla="*/ 103060 h 377856"/>
                  <a:gd name="connsiteX29" fmla="*/ 155639 w 3316701"/>
                  <a:gd name="connsiteY29" fmla="*/ 115252 h 377856"/>
                  <a:gd name="connsiteX30" fmla="*/ 157734 w 3316701"/>
                  <a:gd name="connsiteY30" fmla="*/ 115252 h 377856"/>
                  <a:gd name="connsiteX31" fmla="*/ 157734 w 3316701"/>
                  <a:gd name="connsiteY31" fmla="*/ 121348 h 377856"/>
                  <a:gd name="connsiteX32" fmla="*/ 170307 w 3316701"/>
                  <a:gd name="connsiteY32" fmla="*/ 121348 h 377856"/>
                  <a:gd name="connsiteX33" fmla="*/ 170307 w 3316701"/>
                  <a:gd name="connsiteY33" fmla="*/ 127349 h 377856"/>
                  <a:gd name="connsiteX34" fmla="*/ 193453 w 3316701"/>
                  <a:gd name="connsiteY34" fmla="*/ 127349 h 377856"/>
                  <a:gd name="connsiteX35" fmla="*/ 193453 w 3316701"/>
                  <a:gd name="connsiteY35" fmla="*/ 133445 h 377856"/>
                  <a:gd name="connsiteX36" fmla="*/ 199835 w 3316701"/>
                  <a:gd name="connsiteY36" fmla="*/ 133445 h 377856"/>
                  <a:gd name="connsiteX37" fmla="*/ 199835 w 3316701"/>
                  <a:gd name="connsiteY37" fmla="*/ 139541 h 377856"/>
                  <a:gd name="connsiteX38" fmla="*/ 208217 w 3316701"/>
                  <a:gd name="connsiteY38" fmla="*/ 139541 h 377856"/>
                  <a:gd name="connsiteX39" fmla="*/ 208217 w 3316701"/>
                  <a:gd name="connsiteY39" fmla="*/ 145542 h 377856"/>
                  <a:gd name="connsiteX40" fmla="*/ 216599 w 3316701"/>
                  <a:gd name="connsiteY40" fmla="*/ 145542 h 377856"/>
                  <a:gd name="connsiteX41" fmla="*/ 216599 w 3316701"/>
                  <a:gd name="connsiteY41" fmla="*/ 151638 h 377856"/>
                  <a:gd name="connsiteX42" fmla="*/ 220790 w 3316701"/>
                  <a:gd name="connsiteY42" fmla="*/ 151638 h 377856"/>
                  <a:gd name="connsiteX43" fmla="*/ 220790 w 3316701"/>
                  <a:gd name="connsiteY43" fmla="*/ 157734 h 377856"/>
                  <a:gd name="connsiteX44" fmla="*/ 294418 w 3316701"/>
                  <a:gd name="connsiteY44" fmla="*/ 157734 h 377856"/>
                  <a:gd name="connsiteX45" fmla="*/ 294418 w 3316701"/>
                  <a:gd name="connsiteY45" fmla="*/ 163734 h 377856"/>
                  <a:gd name="connsiteX46" fmla="*/ 315468 w 3316701"/>
                  <a:gd name="connsiteY46" fmla="*/ 163734 h 377856"/>
                  <a:gd name="connsiteX47" fmla="*/ 315468 w 3316701"/>
                  <a:gd name="connsiteY47" fmla="*/ 169830 h 377856"/>
                  <a:gd name="connsiteX48" fmla="*/ 321755 w 3316701"/>
                  <a:gd name="connsiteY48" fmla="*/ 169830 h 377856"/>
                  <a:gd name="connsiteX49" fmla="*/ 321755 w 3316701"/>
                  <a:gd name="connsiteY49" fmla="*/ 175926 h 377856"/>
                  <a:gd name="connsiteX50" fmla="*/ 363855 w 3316701"/>
                  <a:gd name="connsiteY50" fmla="*/ 175926 h 377856"/>
                  <a:gd name="connsiteX51" fmla="*/ 363855 w 3316701"/>
                  <a:gd name="connsiteY51" fmla="*/ 181927 h 377856"/>
                  <a:gd name="connsiteX52" fmla="*/ 378524 w 3316701"/>
                  <a:gd name="connsiteY52" fmla="*/ 181927 h 377856"/>
                  <a:gd name="connsiteX53" fmla="*/ 378524 w 3316701"/>
                  <a:gd name="connsiteY53" fmla="*/ 188023 h 377856"/>
                  <a:gd name="connsiteX54" fmla="*/ 408051 w 3316701"/>
                  <a:gd name="connsiteY54" fmla="*/ 188023 h 377856"/>
                  <a:gd name="connsiteX55" fmla="*/ 408051 w 3316701"/>
                  <a:gd name="connsiteY55" fmla="*/ 194119 h 377856"/>
                  <a:gd name="connsiteX56" fmla="*/ 410147 w 3316701"/>
                  <a:gd name="connsiteY56" fmla="*/ 194119 h 377856"/>
                  <a:gd name="connsiteX57" fmla="*/ 410147 w 3316701"/>
                  <a:gd name="connsiteY57" fmla="*/ 200120 h 377856"/>
                  <a:gd name="connsiteX58" fmla="*/ 433197 w 3316701"/>
                  <a:gd name="connsiteY58" fmla="*/ 200120 h 377856"/>
                  <a:gd name="connsiteX59" fmla="*/ 433197 w 3316701"/>
                  <a:gd name="connsiteY59" fmla="*/ 206216 h 377856"/>
                  <a:gd name="connsiteX60" fmla="*/ 445866 w 3316701"/>
                  <a:gd name="connsiteY60" fmla="*/ 206216 h 377856"/>
                  <a:gd name="connsiteX61" fmla="*/ 445866 w 3316701"/>
                  <a:gd name="connsiteY61" fmla="*/ 212312 h 377856"/>
                  <a:gd name="connsiteX62" fmla="*/ 481584 w 3316701"/>
                  <a:gd name="connsiteY62" fmla="*/ 212312 h 377856"/>
                  <a:gd name="connsiteX63" fmla="*/ 481584 w 3316701"/>
                  <a:gd name="connsiteY63" fmla="*/ 218408 h 377856"/>
                  <a:gd name="connsiteX64" fmla="*/ 597313 w 3316701"/>
                  <a:gd name="connsiteY64" fmla="*/ 218408 h 377856"/>
                  <a:gd name="connsiteX65" fmla="*/ 597313 w 3316701"/>
                  <a:gd name="connsiteY65" fmla="*/ 224409 h 377856"/>
                  <a:gd name="connsiteX66" fmla="*/ 635127 w 3316701"/>
                  <a:gd name="connsiteY66" fmla="*/ 224409 h 377856"/>
                  <a:gd name="connsiteX67" fmla="*/ 635127 w 3316701"/>
                  <a:gd name="connsiteY67" fmla="*/ 230600 h 377856"/>
                  <a:gd name="connsiteX68" fmla="*/ 687705 w 3316701"/>
                  <a:gd name="connsiteY68" fmla="*/ 230600 h 377856"/>
                  <a:gd name="connsiteX69" fmla="*/ 687705 w 3316701"/>
                  <a:gd name="connsiteY69" fmla="*/ 236696 h 377856"/>
                  <a:gd name="connsiteX70" fmla="*/ 706660 w 3316701"/>
                  <a:gd name="connsiteY70" fmla="*/ 236696 h 377856"/>
                  <a:gd name="connsiteX71" fmla="*/ 706660 w 3316701"/>
                  <a:gd name="connsiteY71" fmla="*/ 242792 h 377856"/>
                  <a:gd name="connsiteX72" fmla="*/ 717138 w 3316701"/>
                  <a:gd name="connsiteY72" fmla="*/ 242792 h 377856"/>
                  <a:gd name="connsiteX73" fmla="*/ 717138 w 3316701"/>
                  <a:gd name="connsiteY73" fmla="*/ 248983 h 377856"/>
                  <a:gd name="connsiteX74" fmla="*/ 750856 w 3316701"/>
                  <a:gd name="connsiteY74" fmla="*/ 248983 h 377856"/>
                  <a:gd name="connsiteX75" fmla="*/ 750856 w 3316701"/>
                  <a:gd name="connsiteY75" fmla="*/ 255079 h 377856"/>
                  <a:gd name="connsiteX76" fmla="*/ 757143 w 3316701"/>
                  <a:gd name="connsiteY76" fmla="*/ 255079 h 377856"/>
                  <a:gd name="connsiteX77" fmla="*/ 757143 w 3316701"/>
                  <a:gd name="connsiteY77" fmla="*/ 261175 h 377856"/>
                  <a:gd name="connsiteX78" fmla="*/ 771811 w 3316701"/>
                  <a:gd name="connsiteY78" fmla="*/ 261175 h 377856"/>
                  <a:gd name="connsiteX79" fmla="*/ 771811 w 3316701"/>
                  <a:gd name="connsiteY79" fmla="*/ 267271 h 377856"/>
                  <a:gd name="connsiteX80" fmla="*/ 784479 w 3316701"/>
                  <a:gd name="connsiteY80" fmla="*/ 267271 h 377856"/>
                  <a:gd name="connsiteX81" fmla="*/ 784479 w 3316701"/>
                  <a:gd name="connsiteY81" fmla="*/ 273462 h 377856"/>
                  <a:gd name="connsiteX82" fmla="*/ 809721 w 3316701"/>
                  <a:gd name="connsiteY82" fmla="*/ 273462 h 377856"/>
                  <a:gd name="connsiteX83" fmla="*/ 809721 w 3316701"/>
                  <a:gd name="connsiteY83" fmla="*/ 279558 h 377856"/>
                  <a:gd name="connsiteX84" fmla="*/ 1038987 w 3316701"/>
                  <a:gd name="connsiteY84" fmla="*/ 279558 h 377856"/>
                  <a:gd name="connsiteX85" fmla="*/ 1038987 w 3316701"/>
                  <a:gd name="connsiteY85" fmla="*/ 285750 h 377856"/>
                  <a:gd name="connsiteX86" fmla="*/ 1152525 w 3316701"/>
                  <a:gd name="connsiteY86" fmla="*/ 285750 h 377856"/>
                  <a:gd name="connsiteX87" fmla="*/ 1152525 w 3316701"/>
                  <a:gd name="connsiteY87" fmla="*/ 291941 h 377856"/>
                  <a:gd name="connsiteX88" fmla="*/ 1421702 w 3316701"/>
                  <a:gd name="connsiteY88" fmla="*/ 291941 h 377856"/>
                  <a:gd name="connsiteX89" fmla="*/ 1421702 w 3316701"/>
                  <a:gd name="connsiteY89" fmla="*/ 298227 h 377856"/>
                  <a:gd name="connsiteX90" fmla="*/ 1495330 w 3316701"/>
                  <a:gd name="connsiteY90" fmla="*/ 298227 h 377856"/>
                  <a:gd name="connsiteX91" fmla="*/ 1495330 w 3316701"/>
                  <a:gd name="connsiteY91" fmla="*/ 304514 h 377856"/>
                  <a:gd name="connsiteX92" fmla="*/ 1575245 w 3316701"/>
                  <a:gd name="connsiteY92" fmla="*/ 304514 h 377856"/>
                  <a:gd name="connsiteX93" fmla="*/ 1575245 w 3316701"/>
                  <a:gd name="connsiteY93" fmla="*/ 310800 h 377856"/>
                  <a:gd name="connsiteX94" fmla="*/ 1737170 w 3316701"/>
                  <a:gd name="connsiteY94" fmla="*/ 310800 h 377856"/>
                  <a:gd name="connsiteX95" fmla="*/ 1737170 w 3316701"/>
                  <a:gd name="connsiteY95" fmla="*/ 317277 h 377856"/>
                  <a:gd name="connsiteX96" fmla="*/ 1754029 w 3316701"/>
                  <a:gd name="connsiteY96" fmla="*/ 317277 h 377856"/>
                  <a:gd name="connsiteX97" fmla="*/ 1754029 w 3316701"/>
                  <a:gd name="connsiteY97" fmla="*/ 323659 h 377856"/>
                  <a:gd name="connsiteX98" fmla="*/ 1871853 w 3316701"/>
                  <a:gd name="connsiteY98" fmla="*/ 323659 h 377856"/>
                  <a:gd name="connsiteX99" fmla="*/ 1871853 w 3316701"/>
                  <a:gd name="connsiteY99" fmla="*/ 330136 h 377856"/>
                  <a:gd name="connsiteX100" fmla="*/ 1964341 w 3316701"/>
                  <a:gd name="connsiteY100" fmla="*/ 330136 h 377856"/>
                  <a:gd name="connsiteX101" fmla="*/ 1964341 w 3316701"/>
                  <a:gd name="connsiteY101" fmla="*/ 336518 h 377856"/>
                  <a:gd name="connsiteX102" fmla="*/ 1983296 w 3316701"/>
                  <a:gd name="connsiteY102" fmla="*/ 336518 h 377856"/>
                  <a:gd name="connsiteX103" fmla="*/ 1983296 w 3316701"/>
                  <a:gd name="connsiteY103" fmla="*/ 342995 h 377856"/>
                  <a:gd name="connsiteX104" fmla="*/ 2837117 w 3316701"/>
                  <a:gd name="connsiteY104" fmla="*/ 342995 h 377856"/>
                  <a:gd name="connsiteX105" fmla="*/ 2837117 w 3316701"/>
                  <a:gd name="connsiteY105" fmla="*/ 377856 h 377856"/>
                  <a:gd name="connsiteX106" fmla="*/ 3316701 w 3316701"/>
                  <a:gd name="connsiteY106" fmla="*/ 377856 h 377856"/>
                  <a:gd name="connsiteX0" fmla="*/ 0 w 3316701"/>
                  <a:gd name="connsiteY0" fmla="*/ 0 h 365760"/>
                  <a:gd name="connsiteX1" fmla="*/ 4191 w 3316701"/>
                  <a:gd name="connsiteY1" fmla="*/ 0 h 365760"/>
                  <a:gd name="connsiteX2" fmla="*/ 4191 w 3316701"/>
                  <a:gd name="connsiteY2" fmla="*/ 6096 h 365760"/>
                  <a:gd name="connsiteX3" fmla="*/ 27337 w 3316701"/>
                  <a:gd name="connsiteY3" fmla="*/ 6096 h 365760"/>
                  <a:gd name="connsiteX4" fmla="*/ 27337 w 3316701"/>
                  <a:gd name="connsiteY4" fmla="*/ 12192 h 365760"/>
                  <a:gd name="connsiteX5" fmla="*/ 31528 w 3316701"/>
                  <a:gd name="connsiteY5" fmla="*/ 12192 h 365760"/>
                  <a:gd name="connsiteX6" fmla="*/ 31528 w 3316701"/>
                  <a:gd name="connsiteY6" fmla="*/ 18193 h 365760"/>
                  <a:gd name="connsiteX7" fmla="*/ 37815 w 3316701"/>
                  <a:gd name="connsiteY7" fmla="*/ 18193 h 365760"/>
                  <a:gd name="connsiteX8" fmla="*/ 37815 w 3316701"/>
                  <a:gd name="connsiteY8" fmla="*/ 30385 h 365760"/>
                  <a:gd name="connsiteX9" fmla="*/ 56769 w 3316701"/>
                  <a:gd name="connsiteY9" fmla="*/ 30385 h 365760"/>
                  <a:gd name="connsiteX10" fmla="*/ 56769 w 3316701"/>
                  <a:gd name="connsiteY10" fmla="*/ 36386 h 365760"/>
                  <a:gd name="connsiteX11" fmla="*/ 65151 w 3316701"/>
                  <a:gd name="connsiteY11" fmla="*/ 36386 h 365760"/>
                  <a:gd name="connsiteX12" fmla="*/ 65151 w 3316701"/>
                  <a:gd name="connsiteY12" fmla="*/ 42482 h 365760"/>
                  <a:gd name="connsiteX13" fmla="*/ 77820 w 3316701"/>
                  <a:gd name="connsiteY13" fmla="*/ 42482 h 365760"/>
                  <a:gd name="connsiteX14" fmla="*/ 77820 w 3316701"/>
                  <a:gd name="connsiteY14" fmla="*/ 48578 h 365760"/>
                  <a:gd name="connsiteX15" fmla="*/ 94679 w 3316701"/>
                  <a:gd name="connsiteY15" fmla="*/ 48578 h 365760"/>
                  <a:gd name="connsiteX16" fmla="*/ 94679 w 3316701"/>
                  <a:gd name="connsiteY16" fmla="*/ 54579 h 365760"/>
                  <a:gd name="connsiteX17" fmla="*/ 122016 w 3316701"/>
                  <a:gd name="connsiteY17" fmla="*/ 54579 h 365760"/>
                  <a:gd name="connsiteX18" fmla="*/ 122016 w 3316701"/>
                  <a:gd name="connsiteY18" fmla="*/ 60675 h 365760"/>
                  <a:gd name="connsiteX19" fmla="*/ 124111 w 3316701"/>
                  <a:gd name="connsiteY19" fmla="*/ 60675 h 365760"/>
                  <a:gd name="connsiteX20" fmla="*/ 124111 w 3316701"/>
                  <a:gd name="connsiteY20" fmla="*/ 66771 h 365760"/>
                  <a:gd name="connsiteX21" fmla="*/ 134588 w 3316701"/>
                  <a:gd name="connsiteY21" fmla="*/ 66771 h 365760"/>
                  <a:gd name="connsiteX22" fmla="*/ 134588 w 3316701"/>
                  <a:gd name="connsiteY22" fmla="*/ 72771 h 365760"/>
                  <a:gd name="connsiteX23" fmla="*/ 140875 w 3316701"/>
                  <a:gd name="connsiteY23" fmla="*/ 72771 h 365760"/>
                  <a:gd name="connsiteX24" fmla="*/ 140875 w 3316701"/>
                  <a:gd name="connsiteY24" fmla="*/ 84963 h 365760"/>
                  <a:gd name="connsiteX25" fmla="*/ 149352 w 3316701"/>
                  <a:gd name="connsiteY25" fmla="*/ 84963 h 365760"/>
                  <a:gd name="connsiteX26" fmla="*/ 149352 w 3316701"/>
                  <a:gd name="connsiteY26" fmla="*/ 90964 h 365760"/>
                  <a:gd name="connsiteX27" fmla="*/ 155639 w 3316701"/>
                  <a:gd name="connsiteY27" fmla="*/ 90964 h 365760"/>
                  <a:gd name="connsiteX28" fmla="*/ 155639 w 3316701"/>
                  <a:gd name="connsiteY28" fmla="*/ 103156 h 365760"/>
                  <a:gd name="connsiteX29" fmla="*/ 157734 w 3316701"/>
                  <a:gd name="connsiteY29" fmla="*/ 103156 h 365760"/>
                  <a:gd name="connsiteX30" fmla="*/ 157734 w 3316701"/>
                  <a:gd name="connsiteY30" fmla="*/ 109252 h 365760"/>
                  <a:gd name="connsiteX31" fmla="*/ 170307 w 3316701"/>
                  <a:gd name="connsiteY31" fmla="*/ 109252 h 365760"/>
                  <a:gd name="connsiteX32" fmla="*/ 170307 w 3316701"/>
                  <a:gd name="connsiteY32" fmla="*/ 115253 h 365760"/>
                  <a:gd name="connsiteX33" fmla="*/ 193453 w 3316701"/>
                  <a:gd name="connsiteY33" fmla="*/ 115253 h 365760"/>
                  <a:gd name="connsiteX34" fmla="*/ 193453 w 3316701"/>
                  <a:gd name="connsiteY34" fmla="*/ 121349 h 365760"/>
                  <a:gd name="connsiteX35" fmla="*/ 199835 w 3316701"/>
                  <a:gd name="connsiteY35" fmla="*/ 121349 h 365760"/>
                  <a:gd name="connsiteX36" fmla="*/ 199835 w 3316701"/>
                  <a:gd name="connsiteY36" fmla="*/ 127445 h 365760"/>
                  <a:gd name="connsiteX37" fmla="*/ 208217 w 3316701"/>
                  <a:gd name="connsiteY37" fmla="*/ 127445 h 365760"/>
                  <a:gd name="connsiteX38" fmla="*/ 208217 w 3316701"/>
                  <a:gd name="connsiteY38" fmla="*/ 133446 h 365760"/>
                  <a:gd name="connsiteX39" fmla="*/ 216599 w 3316701"/>
                  <a:gd name="connsiteY39" fmla="*/ 133446 h 365760"/>
                  <a:gd name="connsiteX40" fmla="*/ 216599 w 3316701"/>
                  <a:gd name="connsiteY40" fmla="*/ 139542 h 365760"/>
                  <a:gd name="connsiteX41" fmla="*/ 220790 w 3316701"/>
                  <a:gd name="connsiteY41" fmla="*/ 139542 h 365760"/>
                  <a:gd name="connsiteX42" fmla="*/ 220790 w 3316701"/>
                  <a:gd name="connsiteY42" fmla="*/ 145638 h 365760"/>
                  <a:gd name="connsiteX43" fmla="*/ 294418 w 3316701"/>
                  <a:gd name="connsiteY43" fmla="*/ 145638 h 365760"/>
                  <a:gd name="connsiteX44" fmla="*/ 294418 w 3316701"/>
                  <a:gd name="connsiteY44" fmla="*/ 151638 h 365760"/>
                  <a:gd name="connsiteX45" fmla="*/ 315468 w 3316701"/>
                  <a:gd name="connsiteY45" fmla="*/ 151638 h 365760"/>
                  <a:gd name="connsiteX46" fmla="*/ 315468 w 3316701"/>
                  <a:gd name="connsiteY46" fmla="*/ 157734 h 365760"/>
                  <a:gd name="connsiteX47" fmla="*/ 321755 w 3316701"/>
                  <a:gd name="connsiteY47" fmla="*/ 157734 h 365760"/>
                  <a:gd name="connsiteX48" fmla="*/ 321755 w 3316701"/>
                  <a:gd name="connsiteY48" fmla="*/ 163830 h 365760"/>
                  <a:gd name="connsiteX49" fmla="*/ 363855 w 3316701"/>
                  <a:gd name="connsiteY49" fmla="*/ 163830 h 365760"/>
                  <a:gd name="connsiteX50" fmla="*/ 363855 w 3316701"/>
                  <a:gd name="connsiteY50" fmla="*/ 169831 h 365760"/>
                  <a:gd name="connsiteX51" fmla="*/ 378524 w 3316701"/>
                  <a:gd name="connsiteY51" fmla="*/ 169831 h 365760"/>
                  <a:gd name="connsiteX52" fmla="*/ 378524 w 3316701"/>
                  <a:gd name="connsiteY52" fmla="*/ 175927 h 365760"/>
                  <a:gd name="connsiteX53" fmla="*/ 408051 w 3316701"/>
                  <a:gd name="connsiteY53" fmla="*/ 175927 h 365760"/>
                  <a:gd name="connsiteX54" fmla="*/ 408051 w 3316701"/>
                  <a:gd name="connsiteY54" fmla="*/ 182023 h 365760"/>
                  <a:gd name="connsiteX55" fmla="*/ 410147 w 3316701"/>
                  <a:gd name="connsiteY55" fmla="*/ 182023 h 365760"/>
                  <a:gd name="connsiteX56" fmla="*/ 410147 w 3316701"/>
                  <a:gd name="connsiteY56" fmla="*/ 188024 h 365760"/>
                  <a:gd name="connsiteX57" fmla="*/ 433197 w 3316701"/>
                  <a:gd name="connsiteY57" fmla="*/ 188024 h 365760"/>
                  <a:gd name="connsiteX58" fmla="*/ 433197 w 3316701"/>
                  <a:gd name="connsiteY58" fmla="*/ 194120 h 365760"/>
                  <a:gd name="connsiteX59" fmla="*/ 445866 w 3316701"/>
                  <a:gd name="connsiteY59" fmla="*/ 194120 h 365760"/>
                  <a:gd name="connsiteX60" fmla="*/ 445866 w 3316701"/>
                  <a:gd name="connsiteY60" fmla="*/ 200216 h 365760"/>
                  <a:gd name="connsiteX61" fmla="*/ 481584 w 3316701"/>
                  <a:gd name="connsiteY61" fmla="*/ 200216 h 365760"/>
                  <a:gd name="connsiteX62" fmla="*/ 481584 w 3316701"/>
                  <a:gd name="connsiteY62" fmla="*/ 206312 h 365760"/>
                  <a:gd name="connsiteX63" fmla="*/ 597313 w 3316701"/>
                  <a:gd name="connsiteY63" fmla="*/ 206312 h 365760"/>
                  <a:gd name="connsiteX64" fmla="*/ 597313 w 3316701"/>
                  <a:gd name="connsiteY64" fmla="*/ 212313 h 365760"/>
                  <a:gd name="connsiteX65" fmla="*/ 635127 w 3316701"/>
                  <a:gd name="connsiteY65" fmla="*/ 212313 h 365760"/>
                  <a:gd name="connsiteX66" fmla="*/ 635127 w 3316701"/>
                  <a:gd name="connsiteY66" fmla="*/ 218504 h 365760"/>
                  <a:gd name="connsiteX67" fmla="*/ 687705 w 3316701"/>
                  <a:gd name="connsiteY67" fmla="*/ 218504 h 365760"/>
                  <a:gd name="connsiteX68" fmla="*/ 687705 w 3316701"/>
                  <a:gd name="connsiteY68" fmla="*/ 224600 h 365760"/>
                  <a:gd name="connsiteX69" fmla="*/ 706660 w 3316701"/>
                  <a:gd name="connsiteY69" fmla="*/ 224600 h 365760"/>
                  <a:gd name="connsiteX70" fmla="*/ 706660 w 3316701"/>
                  <a:gd name="connsiteY70" fmla="*/ 230696 h 365760"/>
                  <a:gd name="connsiteX71" fmla="*/ 717138 w 3316701"/>
                  <a:gd name="connsiteY71" fmla="*/ 230696 h 365760"/>
                  <a:gd name="connsiteX72" fmla="*/ 717138 w 3316701"/>
                  <a:gd name="connsiteY72" fmla="*/ 236887 h 365760"/>
                  <a:gd name="connsiteX73" fmla="*/ 750856 w 3316701"/>
                  <a:gd name="connsiteY73" fmla="*/ 236887 h 365760"/>
                  <a:gd name="connsiteX74" fmla="*/ 750856 w 3316701"/>
                  <a:gd name="connsiteY74" fmla="*/ 242983 h 365760"/>
                  <a:gd name="connsiteX75" fmla="*/ 757143 w 3316701"/>
                  <a:gd name="connsiteY75" fmla="*/ 242983 h 365760"/>
                  <a:gd name="connsiteX76" fmla="*/ 757143 w 3316701"/>
                  <a:gd name="connsiteY76" fmla="*/ 249079 h 365760"/>
                  <a:gd name="connsiteX77" fmla="*/ 771811 w 3316701"/>
                  <a:gd name="connsiteY77" fmla="*/ 249079 h 365760"/>
                  <a:gd name="connsiteX78" fmla="*/ 771811 w 3316701"/>
                  <a:gd name="connsiteY78" fmla="*/ 255175 h 365760"/>
                  <a:gd name="connsiteX79" fmla="*/ 784479 w 3316701"/>
                  <a:gd name="connsiteY79" fmla="*/ 255175 h 365760"/>
                  <a:gd name="connsiteX80" fmla="*/ 784479 w 3316701"/>
                  <a:gd name="connsiteY80" fmla="*/ 261366 h 365760"/>
                  <a:gd name="connsiteX81" fmla="*/ 809721 w 3316701"/>
                  <a:gd name="connsiteY81" fmla="*/ 261366 h 365760"/>
                  <a:gd name="connsiteX82" fmla="*/ 809721 w 3316701"/>
                  <a:gd name="connsiteY82" fmla="*/ 267462 h 365760"/>
                  <a:gd name="connsiteX83" fmla="*/ 1038987 w 3316701"/>
                  <a:gd name="connsiteY83" fmla="*/ 267462 h 365760"/>
                  <a:gd name="connsiteX84" fmla="*/ 1038987 w 3316701"/>
                  <a:gd name="connsiteY84" fmla="*/ 273654 h 365760"/>
                  <a:gd name="connsiteX85" fmla="*/ 1152525 w 3316701"/>
                  <a:gd name="connsiteY85" fmla="*/ 273654 h 365760"/>
                  <a:gd name="connsiteX86" fmla="*/ 1152525 w 3316701"/>
                  <a:gd name="connsiteY86" fmla="*/ 279845 h 365760"/>
                  <a:gd name="connsiteX87" fmla="*/ 1421702 w 3316701"/>
                  <a:gd name="connsiteY87" fmla="*/ 279845 h 365760"/>
                  <a:gd name="connsiteX88" fmla="*/ 1421702 w 3316701"/>
                  <a:gd name="connsiteY88" fmla="*/ 286131 h 365760"/>
                  <a:gd name="connsiteX89" fmla="*/ 1495330 w 3316701"/>
                  <a:gd name="connsiteY89" fmla="*/ 286131 h 365760"/>
                  <a:gd name="connsiteX90" fmla="*/ 1495330 w 3316701"/>
                  <a:gd name="connsiteY90" fmla="*/ 292418 h 365760"/>
                  <a:gd name="connsiteX91" fmla="*/ 1575245 w 3316701"/>
                  <a:gd name="connsiteY91" fmla="*/ 292418 h 365760"/>
                  <a:gd name="connsiteX92" fmla="*/ 1575245 w 3316701"/>
                  <a:gd name="connsiteY92" fmla="*/ 298704 h 365760"/>
                  <a:gd name="connsiteX93" fmla="*/ 1737170 w 3316701"/>
                  <a:gd name="connsiteY93" fmla="*/ 298704 h 365760"/>
                  <a:gd name="connsiteX94" fmla="*/ 1737170 w 3316701"/>
                  <a:gd name="connsiteY94" fmla="*/ 305181 h 365760"/>
                  <a:gd name="connsiteX95" fmla="*/ 1754029 w 3316701"/>
                  <a:gd name="connsiteY95" fmla="*/ 305181 h 365760"/>
                  <a:gd name="connsiteX96" fmla="*/ 1754029 w 3316701"/>
                  <a:gd name="connsiteY96" fmla="*/ 311563 h 365760"/>
                  <a:gd name="connsiteX97" fmla="*/ 1871853 w 3316701"/>
                  <a:gd name="connsiteY97" fmla="*/ 311563 h 365760"/>
                  <a:gd name="connsiteX98" fmla="*/ 1871853 w 3316701"/>
                  <a:gd name="connsiteY98" fmla="*/ 318040 h 365760"/>
                  <a:gd name="connsiteX99" fmla="*/ 1964341 w 3316701"/>
                  <a:gd name="connsiteY99" fmla="*/ 318040 h 365760"/>
                  <a:gd name="connsiteX100" fmla="*/ 1964341 w 3316701"/>
                  <a:gd name="connsiteY100" fmla="*/ 324422 h 365760"/>
                  <a:gd name="connsiteX101" fmla="*/ 1983296 w 3316701"/>
                  <a:gd name="connsiteY101" fmla="*/ 324422 h 365760"/>
                  <a:gd name="connsiteX102" fmla="*/ 1983296 w 3316701"/>
                  <a:gd name="connsiteY102" fmla="*/ 330899 h 365760"/>
                  <a:gd name="connsiteX103" fmla="*/ 2837117 w 3316701"/>
                  <a:gd name="connsiteY103" fmla="*/ 330899 h 365760"/>
                  <a:gd name="connsiteX104" fmla="*/ 2837117 w 3316701"/>
                  <a:gd name="connsiteY104" fmla="*/ 365760 h 365760"/>
                  <a:gd name="connsiteX105" fmla="*/ 3316701 w 3316701"/>
                  <a:gd name="connsiteY105" fmla="*/ 365760 h 365760"/>
                  <a:gd name="connsiteX0" fmla="*/ 0 w 3316701"/>
                  <a:gd name="connsiteY0" fmla="*/ 0 h 365760"/>
                  <a:gd name="connsiteX1" fmla="*/ 4191 w 3316701"/>
                  <a:gd name="connsiteY1" fmla="*/ 6096 h 365760"/>
                  <a:gd name="connsiteX2" fmla="*/ 27337 w 3316701"/>
                  <a:gd name="connsiteY2" fmla="*/ 6096 h 365760"/>
                  <a:gd name="connsiteX3" fmla="*/ 27337 w 3316701"/>
                  <a:gd name="connsiteY3" fmla="*/ 12192 h 365760"/>
                  <a:gd name="connsiteX4" fmla="*/ 31528 w 3316701"/>
                  <a:gd name="connsiteY4" fmla="*/ 12192 h 365760"/>
                  <a:gd name="connsiteX5" fmla="*/ 31528 w 3316701"/>
                  <a:gd name="connsiteY5" fmla="*/ 18193 h 365760"/>
                  <a:gd name="connsiteX6" fmla="*/ 37815 w 3316701"/>
                  <a:gd name="connsiteY6" fmla="*/ 18193 h 365760"/>
                  <a:gd name="connsiteX7" fmla="*/ 37815 w 3316701"/>
                  <a:gd name="connsiteY7" fmla="*/ 30385 h 365760"/>
                  <a:gd name="connsiteX8" fmla="*/ 56769 w 3316701"/>
                  <a:gd name="connsiteY8" fmla="*/ 30385 h 365760"/>
                  <a:gd name="connsiteX9" fmla="*/ 56769 w 3316701"/>
                  <a:gd name="connsiteY9" fmla="*/ 36386 h 365760"/>
                  <a:gd name="connsiteX10" fmla="*/ 65151 w 3316701"/>
                  <a:gd name="connsiteY10" fmla="*/ 36386 h 365760"/>
                  <a:gd name="connsiteX11" fmla="*/ 65151 w 3316701"/>
                  <a:gd name="connsiteY11" fmla="*/ 42482 h 365760"/>
                  <a:gd name="connsiteX12" fmla="*/ 77820 w 3316701"/>
                  <a:gd name="connsiteY12" fmla="*/ 42482 h 365760"/>
                  <a:gd name="connsiteX13" fmla="*/ 77820 w 3316701"/>
                  <a:gd name="connsiteY13" fmla="*/ 48578 h 365760"/>
                  <a:gd name="connsiteX14" fmla="*/ 94679 w 3316701"/>
                  <a:gd name="connsiteY14" fmla="*/ 48578 h 365760"/>
                  <a:gd name="connsiteX15" fmla="*/ 94679 w 3316701"/>
                  <a:gd name="connsiteY15" fmla="*/ 54579 h 365760"/>
                  <a:gd name="connsiteX16" fmla="*/ 122016 w 3316701"/>
                  <a:gd name="connsiteY16" fmla="*/ 54579 h 365760"/>
                  <a:gd name="connsiteX17" fmla="*/ 122016 w 3316701"/>
                  <a:gd name="connsiteY17" fmla="*/ 60675 h 365760"/>
                  <a:gd name="connsiteX18" fmla="*/ 124111 w 3316701"/>
                  <a:gd name="connsiteY18" fmla="*/ 60675 h 365760"/>
                  <a:gd name="connsiteX19" fmla="*/ 124111 w 3316701"/>
                  <a:gd name="connsiteY19" fmla="*/ 66771 h 365760"/>
                  <a:gd name="connsiteX20" fmla="*/ 134588 w 3316701"/>
                  <a:gd name="connsiteY20" fmla="*/ 66771 h 365760"/>
                  <a:gd name="connsiteX21" fmla="*/ 134588 w 3316701"/>
                  <a:gd name="connsiteY21" fmla="*/ 72771 h 365760"/>
                  <a:gd name="connsiteX22" fmla="*/ 140875 w 3316701"/>
                  <a:gd name="connsiteY22" fmla="*/ 72771 h 365760"/>
                  <a:gd name="connsiteX23" fmla="*/ 140875 w 3316701"/>
                  <a:gd name="connsiteY23" fmla="*/ 84963 h 365760"/>
                  <a:gd name="connsiteX24" fmla="*/ 149352 w 3316701"/>
                  <a:gd name="connsiteY24" fmla="*/ 84963 h 365760"/>
                  <a:gd name="connsiteX25" fmla="*/ 149352 w 3316701"/>
                  <a:gd name="connsiteY25" fmla="*/ 90964 h 365760"/>
                  <a:gd name="connsiteX26" fmla="*/ 155639 w 3316701"/>
                  <a:gd name="connsiteY26" fmla="*/ 90964 h 365760"/>
                  <a:gd name="connsiteX27" fmla="*/ 155639 w 3316701"/>
                  <a:gd name="connsiteY27" fmla="*/ 103156 h 365760"/>
                  <a:gd name="connsiteX28" fmla="*/ 157734 w 3316701"/>
                  <a:gd name="connsiteY28" fmla="*/ 103156 h 365760"/>
                  <a:gd name="connsiteX29" fmla="*/ 157734 w 3316701"/>
                  <a:gd name="connsiteY29" fmla="*/ 109252 h 365760"/>
                  <a:gd name="connsiteX30" fmla="*/ 170307 w 3316701"/>
                  <a:gd name="connsiteY30" fmla="*/ 109252 h 365760"/>
                  <a:gd name="connsiteX31" fmla="*/ 170307 w 3316701"/>
                  <a:gd name="connsiteY31" fmla="*/ 115253 h 365760"/>
                  <a:gd name="connsiteX32" fmla="*/ 193453 w 3316701"/>
                  <a:gd name="connsiteY32" fmla="*/ 115253 h 365760"/>
                  <a:gd name="connsiteX33" fmla="*/ 193453 w 3316701"/>
                  <a:gd name="connsiteY33" fmla="*/ 121349 h 365760"/>
                  <a:gd name="connsiteX34" fmla="*/ 199835 w 3316701"/>
                  <a:gd name="connsiteY34" fmla="*/ 121349 h 365760"/>
                  <a:gd name="connsiteX35" fmla="*/ 199835 w 3316701"/>
                  <a:gd name="connsiteY35" fmla="*/ 127445 h 365760"/>
                  <a:gd name="connsiteX36" fmla="*/ 208217 w 3316701"/>
                  <a:gd name="connsiteY36" fmla="*/ 127445 h 365760"/>
                  <a:gd name="connsiteX37" fmla="*/ 208217 w 3316701"/>
                  <a:gd name="connsiteY37" fmla="*/ 133446 h 365760"/>
                  <a:gd name="connsiteX38" fmla="*/ 216599 w 3316701"/>
                  <a:gd name="connsiteY38" fmla="*/ 133446 h 365760"/>
                  <a:gd name="connsiteX39" fmla="*/ 216599 w 3316701"/>
                  <a:gd name="connsiteY39" fmla="*/ 139542 h 365760"/>
                  <a:gd name="connsiteX40" fmla="*/ 220790 w 3316701"/>
                  <a:gd name="connsiteY40" fmla="*/ 139542 h 365760"/>
                  <a:gd name="connsiteX41" fmla="*/ 220790 w 3316701"/>
                  <a:gd name="connsiteY41" fmla="*/ 145638 h 365760"/>
                  <a:gd name="connsiteX42" fmla="*/ 294418 w 3316701"/>
                  <a:gd name="connsiteY42" fmla="*/ 145638 h 365760"/>
                  <a:gd name="connsiteX43" fmla="*/ 294418 w 3316701"/>
                  <a:gd name="connsiteY43" fmla="*/ 151638 h 365760"/>
                  <a:gd name="connsiteX44" fmla="*/ 315468 w 3316701"/>
                  <a:gd name="connsiteY44" fmla="*/ 151638 h 365760"/>
                  <a:gd name="connsiteX45" fmla="*/ 315468 w 3316701"/>
                  <a:gd name="connsiteY45" fmla="*/ 157734 h 365760"/>
                  <a:gd name="connsiteX46" fmla="*/ 321755 w 3316701"/>
                  <a:gd name="connsiteY46" fmla="*/ 157734 h 365760"/>
                  <a:gd name="connsiteX47" fmla="*/ 321755 w 3316701"/>
                  <a:gd name="connsiteY47" fmla="*/ 163830 h 365760"/>
                  <a:gd name="connsiteX48" fmla="*/ 363855 w 3316701"/>
                  <a:gd name="connsiteY48" fmla="*/ 163830 h 365760"/>
                  <a:gd name="connsiteX49" fmla="*/ 363855 w 3316701"/>
                  <a:gd name="connsiteY49" fmla="*/ 169831 h 365760"/>
                  <a:gd name="connsiteX50" fmla="*/ 378524 w 3316701"/>
                  <a:gd name="connsiteY50" fmla="*/ 169831 h 365760"/>
                  <a:gd name="connsiteX51" fmla="*/ 378524 w 3316701"/>
                  <a:gd name="connsiteY51" fmla="*/ 175927 h 365760"/>
                  <a:gd name="connsiteX52" fmla="*/ 408051 w 3316701"/>
                  <a:gd name="connsiteY52" fmla="*/ 175927 h 365760"/>
                  <a:gd name="connsiteX53" fmla="*/ 408051 w 3316701"/>
                  <a:gd name="connsiteY53" fmla="*/ 182023 h 365760"/>
                  <a:gd name="connsiteX54" fmla="*/ 410147 w 3316701"/>
                  <a:gd name="connsiteY54" fmla="*/ 182023 h 365760"/>
                  <a:gd name="connsiteX55" fmla="*/ 410147 w 3316701"/>
                  <a:gd name="connsiteY55" fmla="*/ 188024 h 365760"/>
                  <a:gd name="connsiteX56" fmla="*/ 433197 w 3316701"/>
                  <a:gd name="connsiteY56" fmla="*/ 188024 h 365760"/>
                  <a:gd name="connsiteX57" fmla="*/ 433197 w 3316701"/>
                  <a:gd name="connsiteY57" fmla="*/ 194120 h 365760"/>
                  <a:gd name="connsiteX58" fmla="*/ 445866 w 3316701"/>
                  <a:gd name="connsiteY58" fmla="*/ 194120 h 365760"/>
                  <a:gd name="connsiteX59" fmla="*/ 445866 w 3316701"/>
                  <a:gd name="connsiteY59" fmla="*/ 200216 h 365760"/>
                  <a:gd name="connsiteX60" fmla="*/ 481584 w 3316701"/>
                  <a:gd name="connsiteY60" fmla="*/ 200216 h 365760"/>
                  <a:gd name="connsiteX61" fmla="*/ 481584 w 3316701"/>
                  <a:gd name="connsiteY61" fmla="*/ 206312 h 365760"/>
                  <a:gd name="connsiteX62" fmla="*/ 597313 w 3316701"/>
                  <a:gd name="connsiteY62" fmla="*/ 206312 h 365760"/>
                  <a:gd name="connsiteX63" fmla="*/ 597313 w 3316701"/>
                  <a:gd name="connsiteY63" fmla="*/ 212313 h 365760"/>
                  <a:gd name="connsiteX64" fmla="*/ 635127 w 3316701"/>
                  <a:gd name="connsiteY64" fmla="*/ 212313 h 365760"/>
                  <a:gd name="connsiteX65" fmla="*/ 635127 w 3316701"/>
                  <a:gd name="connsiteY65" fmla="*/ 218504 h 365760"/>
                  <a:gd name="connsiteX66" fmla="*/ 687705 w 3316701"/>
                  <a:gd name="connsiteY66" fmla="*/ 218504 h 365760"/>
                  <a:gd name="connsiteX67" fmla="*/ 687705 w 3316701"/>
                  <a:gd name="connsiteY67" fmla="*/ 224600 h 365760"/>
                  <a:gd name="connsiteX68" fmla="*/ 706660 w 3316701"/>
                  <a:gd name="connsiteY68" fmla="*/ 224600 h 365760"/>
                  <a:gd name="connsiteX69" fmla="*/ 706660 w 3316701"/>
                  <a:gd name="connsiteY69" fmla="*/ 230696 h 365760"/>
                  <a:gd name="connsiteX70" fmla="*/ 717138 w 3316701"/>
                  <a:gd name="connsiteY70" fmla="*/ 230696 h 365760"/>
                  <a:gd name="connsiteX71" fmla="*/ 717138 w 3316701"/>
                  <a:gd name="connsiteY71" fmla="*/ 236887 h 365760"/>
                  <a:gd name="connsiteX72" fmla="*/ 750856 w 3316701"/>
                  <a:gd name="connsiteY72" fmla="*/ 236887 h 365760"/>
                  <a:gd name="connsiteX73" fmla="*/ 750856 w 3316701"/>
                  <a:gd name="connsiteY73" fmla="*/ 242983 h 365760"/>
                  <a:gd name="connsiteX74" fmla="*/ 757143 w 3316701"/>
                  <a:gd name="connsiteY74" fmla="*/ 242983 h 365760"/>
                  <a:gd name="connsiteX75" fmla="*/ 757143 w 3316701"/>
                  <a:gd name="connsiteY75" fmla="*/ 249079 h 365760"/>
                  <a:gd name="connsiteX76" fmla="*/ 771811 w 3316701"/>
                  <a:gd name="connsiteY76" fmla="*/ 249079 h 365760"/>
                  <a:gd name="connsiteX77" fmla="*/ 771811 w 3316701"/>
                  <a:gd name="connsiteY77" fmla="*/ 255175 h 365760"/>
                  <a:gd name="connsiteX78" fmla="*/ 784479 w 3316701"/>
                  <a:gd name="connsiteY78" fmla="*/ 255175 h 365760"/>
                  <a:gd name="connsiteX79" fmla="*/ 784479 w 3316701"/>
                  <a:gd name="connsiteY79" fmla="*/ 261366 h 365760"/>
                  <a:gd name="connsiteX80" fmla="*/ 809721 w 3316701"/>
                  <a:gd name="connsiteY80" fmla="*/ 261366 h 365760"/>
                  <a:gd name="connsiteX81" fmla="*/ 809721 w 3316701"/>
                  <a:gd name="connsiteY81" fmla="*/ 267462 h 365760"/>
                  <a:gd name="connsiteX82" fmla="*/ 1038987 w 3316701"/>
                  <a:gd name="connsiteY82" fmla="*/ 267462 h 365760"/>
                  <a:gd name="connsiteX83" fmla="*/ 1038987 w 3316701"/>
                  <a:gd name="connsiteY83" fmla="*/ 273654 h 365760"/>
                  <a:gd name="connsiteX84" fmla="*/ 1152525 w 3316701"/>
                  <a:gd name="connsiteY84" fmla="*/ 273654 h 365760"/>
                  <a:gd name="connsiteX85" fmla="*/ 1152525 w 3316701"/>
                  <a:gd name="connsiteY85" fmla="*/ 279845 h 365760"/>
                  <a:gd name="connsiteX86" fmla="*/ 1421702 w 3316701"/>
                  <a:gd name="connsiteY86" fmla="*/ 279845 h 365760"/>
                  <a:gd name="connsiteX87" fmla="*/ 1421702 w 3316701"/>
                  <a:gd name="connsiteY87" fmla="*/ 286131 h 365760"/>
                  <a:gd name="connsiteX88" fmla="*/ 1495330 w 3316701"/>
                  <a:gd name="connsiteY88" fmla="*/ 286131 h 365760"/>
                  <a:gd name="connsiteX89" fmla="*/ 1495330 w 3316701"/>
                  <a:gd name="connsiteY89" fmla="*/ 292418 h 365760"/>
                  <a:gd name="connsiteX90" fmla="*/ 1575245 w 3316701"/>
                  <a:gd name="connsiteY90" fmla="*/ 292418 h 365760"/>
                  <a:gd name="connsiteX91" fmla="*/ 1575245 w 3316701"/>
                  <a:gd name="connsiteY91" fmla="*/ 298704 h 365760"/>
                  <a:gd name="connsiteX92" fmla="*/ 1737170 w 3316701"/>
                  <a:gd name="connsiteY92" fmla="*/ 298704 h 365760"/>
                  <a:gd name="connsiteX93" fmla="*/ 1737170 w 3316701"/>
                  <a:gd name="connsiteY93" fmla="*/ 305181 h 365760"/>
                  <a:gd name="connsiteX94" fmla="*/ 1754029 w 3316701"/>
                  <a:gd name="connsiteY94" fmla="*/ 305181 h 365760"/>
                  <a:gd name="connsiteX95" fmla="*/ 1754029 w 3316701"/>
                  <a:gd name="connsiteY95" fmla="*/ 311563 h 365760"/>
                  <a:gd name="connsiteX96" fmla="*/ 1871853 w 3316701"/>
                  <a:gd name="connsiteY96" fmla="*/ 311563 h 365760"/>
                  <a:gd name="connsiteX97" fmla="*/ 1871853 w 3316701"/>
                  <a:gd name="connsiteY97" fmla="*/ 318040 h 365760"/>
                  <a:gd name="connsiteX98" fmla="*/ 1964341 w 3316701"/>
                  <a:gd name="connsiteY98" fmla="*/ 318040 h 365760"/>
                  <a:gd name="connsiteX99" fmla="*/ 1964341 w 3316701"/>
                  <a:gd name="connsiteY99" fmla="*/ 324422 h 365760"/>
                  <a:gd name="connsiteX100" fmla="*/ 1983296 w 3316701"/>
                  <a:gd name="connsiteY100" fmla="*/ 324422 h 365760"/>
                  <a:gd name="connsiteX101" fmla="*/ 1983296 w 3316701"/>
                  <a:gd name="connsiteY101" fmla="*/ 330899 h 365760"/>
                  <a:gd name="connsiteX102" fmla="*/ 2837117 w 3316701"/>
                  <a:gd name="connsiteY102" fmla="*/ 330899 h 365760"/>
                  <a:gd name="connsiteX103" fmla="*/ 2837117 w 3316701"/>
                  <a:gd name="connsiteY103" fmla="*/ 365760 h 365760"/>
                  <a:gd name="connsiteX104" fmla="*/ 3316701 w 3316701"/>
                  <a:gd name="connsiteY104" fmla="*/ 365760 h 365760"/>
                  <a:gd name="connsiteX0" fmla="*/ 0 w 3316701"/>
                  <a:gd name="connsiteY0" fmla="*/ 0 h 365760"/>
                  <a:gd name="connsiteX1" fmla="*/ 27337 w 3316701"/>
                  <a:gd name="connsiteY1" fmla="*/ 6096 h 365760"/>
                  <a:gd name="connsiteX2" fmla="*/ 27337 w 3316701"/>
                  <a:gd name="connsiteY2" fmla="*/ 12192 h 365760"/>
                  <a:gd name="connsiteX3" fmla="*/ 31528 w 3316701"/>
                  <a:gd name="connsiteY3" fmla="*/ 12192 h 365760"/>
                  <a:gd name="connsiteX4" fmla="*/ 31528 w 3316701"/>
                  <a:gd name="connsiteY4" fmla="*/ 18193 h 365760"/>
                  <a:gd name="connsiteX5" fmla="*/ 37815 w 3316701"/>
                  <a:gd name="connsiteY5" fmla="*/ 18193 h 365760"/>
                  <a:gd name="connsiteX6" fmla="*/ 37815 w 3316701"/>
                  <a:gd name="connsiteY6" fmla="*/ 30385 h 365760"/>
                  <a:gd name="connsiteX7" fmla="*/ 56769 w 3316701"/>
                  <a:gd name="connsiteY7" fmla="*/ 30385 h 365760"/>
                  <a:gd name="connsiteX8" fmla="*/ 56769 w 3316701"/>
                  <a:gd name="connsiteY8" fmla="*/ 36386 h 365760"/>
                  <a:gd name="connsiteX9" fmla="*/ 65151 w 3316701"/>
                  <a:gd name="connsiteY9" fmla="*/ 36386 h 365760"/>
                  <a:gd name="connsiteX10" fmla="*/ 65151 w 3316701"/>
                  <a:gd name="connsiteY10" fmla="*/ 42482 h 365760"/>
                  <a:gd name="connsiteX11" fmla="*/ 77820 w 3316701"/>
                  <a:gd name="connsiteY11" fmla="*/ 42482 h 365760"/>
                  <a:gd name="connsiteX12" fmla="*/ 77820 w 3316701"/>
                  <a:gd name="connsiteY12" fmla="*/ 48578 h 365760"/>
                  <a:gd name="connsiteX13" fmla="*/ 94679 w 3316701"/>
                  <a:gd name="connsiteY13" fmla="*/ 48578 h 365760"/>
                  <a:gd name="connsiteX14" fmla="*/ 94679 w 3316701"/>
                  <a:gd name="connsiteY14" fmla="*/ 54579 h 365760"/>
                  <a:gd name="connsiteX15" fmla="*/ 122016 w 3316701"/>
                  <a:gd name="connsiteY15" fmla="*/ 54579 h 365760"/>
                  <a:gd name="connsiteX16" fmla="*/ 122016 w 3316701"/>
                  <a:gd name="connsiteY16" fmla="*/ 60675 h 365760"/>
                  <a:gd name="connsiteX17" fmla="*/ 124111 w 3316701"/>
                  <a:gd name="connsiteY17" fmla="*/ 60675 h 365760"/>
                  <a:gd name="connsiteX18" fmla="*/ 124111 w 3316701"/>
                  <a:gd name="connsiteY18" fmla="*/ 66771 h 365760"/>
                  <a:gd name="connsiteX19" fmla="*/ 134588 w 3316701"/>
                  <a:gd name="connsiteY19" fmla="*/ 66771 h 365760"/>
                  <a:gd name="connsiteX20" fmla="*/ 134588 w 3316701"/>
                  <a:gd name="connsiteY20" fmla="*/ 72771 h 365760"/>
                  <a:gd name="connsiteX21" fmla="*/ 140875 w 3316701"/>
                  <a:gd name="connsiteY21" fmla="*/ 72771 h 365760"/>
                  <a:gd name="connsiteX22" fmla="*/ 140875 w 3316701"/>
                  <a:gd name="connsiteY22" fmla="*/ 84963 h 365760"/>
                  <a:gd name="connsiteX23" fmla="*/ 149352 w 3316701"/>
                  <a:gd name="connsiteY23" fmla="*/ 84963 h 365760"/>
                  <a:gd name="connsiteX24" fmla="*/ 149352 w 3316701"/>
                  <a:gd name="connsiteY24" fmla="*/ 90964 h 365760"/>
                  <a:gd name="connsiteX25" fmla="*/ 155639 w 3316701"/>
                  <a:gd name="connsiteY25" fmla="*/ 90964 h 365760"/>
                  <a:gd name="connsiteX26" fmla="*/ 155639 w 3316701"/>
                  <a:gd name="connsiteY26" fmla="*/ 103156 h 365760"/>
                  <a:gd name="connsiteX27" fmla="*/ 157734 w 3316701"/>
                  <a:gd name="connsiteY27" fmla="*/ 103156 h 365760"/>
                  <a:gd name="connsiteX28" fmla="*/ 157734 w 3316701"/>
                  <a:gd name="connsiteY28" fmla="*/ 109252 h 365760"/>
                  <a:gd name="connsiteX29" fmla="*/ 170307 w 3316701"/>
                  <a:gd name="connsiteY29" fmla="*/ 109252 h 365760"/>
                  <a:gd name="connsiteX30" fmla="*/ 170307 w 3316701"/>
                  <a:gd name="connsiteY30" fmla="*/ 115253 h 365760"/>
                  <a:gd name="connsiteX31" fmla="*/ 193453 w 3316701"/>
                  <a:gd name="connsiteY31" fmla="*/ 115253 h 365760"/>
                  <a:gd name="connsiteX32" fmla="*/ 193453 w 3316701"/>
                  <a:gd name="connsiteY32" fmla="*/ 121349 h 365760"/>
                  <a:gd name="connsiteX33" fmla="*/ 199835 w 3316701"/>
                  <a:gd name="connsiteY33" fmla="*/ 121349 h 365760"/>
                  <a:gd name="connsiteX34" fmla="*/ 199835 w 3316701"/>
                  <a:gd name="connsiteY34" fmla="*/ 127445 h 365760"/>
                  <a:gd name="connsiteX35" fmla="*/ 208217 w 3316701"/>
                  <a:gd name="connsiteY35" fmla="*/ 127445 h 365760"/>
                  <a:gd name="connsiteX36" fmla="*/ 208217 w 3316701"/>
                  <a:gd name="connsiteY36" fmla="*/ 133446 h 365760"/>
                  <a:gd name="connsiteX37" fmla="*/ 216599 w 3316701"/>
                  <a:gd name="connsiteY37" fmla="*/ 133446 h 365760"/>
                  <a:gd name="connsiteX38" fmla="*/ 216599 w 3316701"/>
                  <a:gd name="connsiteY38" fmla="*/ 139542 h 365760"/>
                  <a:gd name="connsiteX39" fmla="*/ 220790 w 3316701"/>
                  <a:gd name="connsiteY39" fmla="*/ 139542 h 365760"/>
                  <a:gd name="connsiteX40" fmla="*/ 220790 w 3316701"/>
                  <a:gd name="connsiteY40" fmla="*/ 145638 h 365760"/>
                  <a:gd name="connsiteX41" fmla="*/ 294418 w 3316701"/>
                  <a:gd name="connsiteY41" fmla="*/ 145638 h 365760"/>
                  <a:gd name="connsiteX42" fmla="*/ 294418 w 3316701"/>
                  <a:gd name="connsiteY42" fmla="*/ 151638 h 365760"/>
                  <a:gd name="connsiteX43" fmla="*/ 315468 w 3316701"/>
                  <a:gd name="connsiteY43" fmla="*/ 151638 h 365760"/>
                  <a:gd name="connsiteX44" fmla="*/ 315468 w 3316701"/>
                  <a:gd name="connsiteY44" fmla="*/ 157734 h 365760"/>
                  <a:gd name="connsiteX45" fmla="*/ 321755 w 3316701"/>
                  <a:gd name="connsiteY45" fmla="*/ 157734 h 365760"/>
                  <a:gd name="connsiteX46" fmla="*/ 321755 w 3316701"/>
                  <a:gd name="connsiteY46" fmla="*/ 163830 h 365760"/>
                  <a:gd name="connsiteX47" fmla="*/ 363855 w 3316701"/>
                  <a:gd name="connsiteY47" fmla="*/ 163830 h 365760"/>
                  <a:gd name="connsiteX48" fmla="*/ 363855 w 3316701"/>
                  <a:gd name="connsiteY48" fmla="*/ 169831 h 365760"/>
                  <a:gd name="connsiteX49" fmla="*/ 378524 w 3316701"/>
                  <a:gd name="connsiteY49" fmla="*/ 169831 h 365760"/>
                  <a:gd name="connsiteX50" fmla="*/ 378524 w 3316701"/>
                  <a:gd name="connsiteY50" fmla="*/ 175927 h 365760"/>
                  <a:gd name="connsiteX51" fmla="*/ 408051 w 3316701"/>
                  <a:gd name="connsiteY51" fmla="*/ 175927 h 365760"/>
                  <a:gd name="connsiteX52" fmla="*/ 408051 w 3316701"/>
                  <a:gd name="connsiteY52" fmla="*/ 182023 h 365760"/>
                  <a:gd name="connsiteX53" fmla="*/ 410147 w 3316701"/>
                  <a:gd name="connsiteY53" fmla="*/ 182023 h 365760"/>
                  <a:gd name="connsiteX54" fmla="*/ 410147 w 3316701"/>
                  <a:gd name="connsiteY54" fmla="*/ 188024 h 365760"/>
                  <a:gd name="connsiteX55" fmla="*/ 433197 w 3316701"/>
                  <a:gd name="connsiteY55" fmla="*/ 188024 h 365760"/>
                  <a:gd name="connsiteX56" fmla="*/ 433197 w 3316701"/>
                  <a:gd name="connsiteY56" fmla="*/ 194120 h 365760"/>
                  <a:gd name="connsiteX57" fmla="*/ 445866 w 3316701"/>
                  <a:gd name="connsiteY57" fmla="*/ 194120 h 365760"/>
                  <a:gd name="connsiteX58" fmla="*/ 445866 w 3316701"/>
                  <a:gd name="connsiteY58" fmla="*/ 200216 h 365760"/>
                  <a:gd name="connsiteX59" fmla="*/ 481584 w 3316701"/>
                  <a:gd name="connsiteY59" fmla="*/ 200216 h 365760"/>
                  <a:gd name="connsiteX60" fmla="*/ 481584 w 3316701"/>
                  <a:gd name="connsiteY60" fmla="*/ 206312 h 365760"/>
                  <a:gd name="connsiteX61" fmla="*/ 597313 w 3316701"/>
                  <a:gd name="connsiteY61" fmla="*/ 206312 h 365760"/>
                  <a:gd name="connsiteX62" fmla="*/ 597313 w 3316701"/>
                  <a:gd name="connsiteY62" fmla="*/ 212313 h 365760"/>
                  <a:gd name="connsiteX63" fmla="*/ 635127 w 3316701"/>
                  <a:gd name="connsiteY63" fmla="*/ 212313 h 365760"/>
                  <a:gd name="connsiteX64" fmla="*/ 635127 w 3316701"/>
                  <a:gd name="connsiteY64" fmla="*/ 218504 h 365760"/>
                  <a:gd name="connsiteX65" fmla="*/ 687705 w 3316701"/>
                  <a:gd name="connsiteY65" fmla="*/ 218504 h 365760"/>
                  <a:gd name="connsiteX66" fmla="*/ 687705 w 3316701"/>
                  <a:gd name="connsiteY66" fmla="*/ 224600 h 365760"/>
                  <a:gd name="connsiteX67" fmla="*/ 706660 w 3316701"/>
                  <a:gd name="connsiteY67" fmla="*/ 224600 h 365760"/>
                  <a:gd name="connsiteX68" fmla="*/ 706660 w 3316701"/>
                  <a:gd name="connsiteY68" fmla="*/ 230696 h 365760"/>
                  <a:gd name="connsiteX69" fmla="*/ 717138 w 3316701"/>
                  <a:gd name="connsiteY69" fmla="*/ 230696 h 365760"/>
                  <a:gd name="connsiteX70" fmla="*/ 717138 w 3316701"/>
                  <a:gd name="connsiteY70" fmla="*/ 236887 h 365760"/>
                  <a:gd name="connsiteX71" fmla="*/ 750856 w 3316701"/>
                  <a:gd name="connsiteY71" fmla="*/ 236887 h 365760"/>
                  <a:gd name="connsiteX72" fmla="*/ 750856 w 3316701"/>
                  <a:gd name="connsiteY72" fmla="*/ 242983 h 365760"/>
                  <a:gd name="connsiteX73" fmla="*/ 757143 w 3316701"/>
                  <a:gd name="connsiteY73" fmla="*/ 242983 h 365760"/>
                  <a:gd name="connsiteX74" fmla="*/ 757143 w 3316701"/>
                  <a:gd name="connsiteY74" fmla="*/ 249079 h 365760"/>
                  <a:gd name="connsiteX75" fmla="*/ 771811 w 3316701"/>
                  <a:gd name="connsiteY75" fmla="*/ 249079 h 365760"/>
                  <a:gd name="connsiteX76" fmla="*/ 771811 w 3316701"/>
                  <a:gd name="connsiteY76" fmla="*/ 255175 h 365760"/>
                  <a:gd name="connsiteX77" fmla="*/ 784479 w 3316701"/>
                  <a:gd name="connsiteY77" fmla="*/ 255175 h 365760"/>
                  <a:gd name="connsiteX78" fmla="*/ 784479 w 3316701"/>
                  <a:gd name="connsiteY78" fmla="*/ 261366 h 365760"/>
                  <a:gd name="connsiteX79" fmla="*/ 809721 w 3316701"/>
                  <a:gd name="connsiteY79" fmla="*/ 261366 h 365760"/>
                  <a:gd name="connsiteX80" fmla="*/ 809721 w 3316701"/>
                  <a:gd name="connsiteY80" fmla="*/ 267462 h 365760"/>
                  <a:gd name="connsiteX81" fmla="*/ 1038987 w 3316701"/>
                  <a:gd name="connsiteY81" fmla="*/ 267462 h 365760"/>
                  <a:gd name="connsiteX82" fmla="*/ 1038987 w 3316701"/>
                  <a:gd name="connsiteY82" fmla="*/ 273654 h 365760"/>
                  <a:gd name="connsiteX83" fmla="*/ 1152525 w 3316701"/>
                  <a:gd name="connsiteY83" fmla="*/ 273654 h 365760"/>
                  <a:gd name="connsiteX84" fmla="*/ 1152525 w 3316701"/>
                  <a:gd name="connsiteY84" fmla="*/ 279845 h 365760"/>
                  <a:gd name="connsiteX85" fmla="*/ 1421702 w 3316701"/>
                  <a:gd name="connsiteY85" fmla="*/ 279845 h 365760"/>
                  <a:gd name="connsiteX86" fmla="*/ 1421702 w 3316701"/>
                  <a:gd name="connsiteY86" fmla="*/ 286131 h 365760"/>
                  <a:gd name="connsiteX87" fmla="*/ 1495330 w 3316701"/>
                  <a:gd name="connsiteY87" fmla="*/ 286131 h 365760"/>
                  <a:gd name="connsiteX88" fmla="*/ 1495330 w 3316701"/>
                  <a:gd name="connsiteY88" fmla="*/ 292418 h 365760"/>
                  <a:gd name="connsiteX89" fmla="*/ 1575245 w 3316701"/>
                  <a:gd name="connsiteY89" fmla="*/ 292418 h 365760"/>
                  <a:gd name="connsiteX90" fmla="*/ 1575245 w 3316701"/>
                  <a:gd name="connsiteY90" fmla="*/ 298704 h 365760"/>
                  <a:gd name="connsiteX91" fmla="*/ 1737170 w 3316701"/>
                  <a:gd name="connsiteY91" fmla="*/ 298704 h 365760"/>
                  <a:gd name="connsiteX92" fmla="*/ 1737170 w 3316701"/>
                  <a:gd name="connsiteY92" fmla="*/ 305181 h 365760"/>
                  <a:gd name="connsiteX93" fmla="*/ 1754029 w 3316701"/>
                  <a:gd name="connsiteY93" fmla="*/ 305181 h 365760"/>
                  <a:gd name="connsiteX94" fmla="*/ 1754029 w 3316701"/>
                  <a:gd name="connsiteY94" fmla="*/ 311563 h 365760"/>
                  <a:gd name="connsiteX95" fmla="*/ 1871853 w 3316701"/>
                  <a:gd name="connsiteY95" fmla="*/ 311563 h 365760"/>
                  <a:gd name="connsiteX96" fmla="*/ 1871853 w 3316701"/>
                  <a:gd name="connsiteY96" fmla="*/ 318040 h 365760"/>
                  <a:gd name="connsiteX97" fmla="*/ 1964341 w 3316701"/>
                  <a:gd name="connsiteY97" fmla="*/ 318040 h 365760"/>
                  <a:gd name="connsiteX98" fmla="*/ 1964341 w 3316701"/>
                  <a:gd name="connsiteY98" fmla="*/ 324422 h 365760"/>
                  <a:gd name="connsiteX99" fmla="*/ 1983296 w 3316701"/>
                  <a:gd name="connsiteY99" fmla="*/ 324422 h 365760"/>
                  <a:gd name="connsiteX100" fmla="*/ 1983296 w 3316701"/>
                  <a:gd name="connsiteY100" fmla="*/ 330899 h 365760"/>
                  <a:gd name="connsiteX101" fmla="*/ 2837117 w 3316701"/>
                  <a:gd name="connsiteY101" fmla="*/ 330899 h 365760"/>
                  <a:gd name="connsiteX102" fmla="*/ 2837117 w 3316701"/>
                  <a:gd name="connsiteY102" fmla="*/ 365760 h 365760"/>
                  <a:gd name="connsiteX103" fmla="*/ 3316701 w 3316701"/>
                  <a:gd name="connsiteY103" fmla="*/ 365760 h 365760"/>
                  <a:gd name="connsiteX0" fmla="*/ 0 w 3289364"/>
                  <a:gd name="connsiteY0" fmla="*/ 0 h 359664"/>
                  <a:gd name="connsiteX1" fmla="*/ 0 w 3289364"/>
                  <a:gd name="connsiteY1" fmla="*/ 6096 h 359664"/>
                  <a:gd name="connsiteX2" fmla="*/ 4191 w 3289364"/>
                  <a:gd name="connsiteY2" fmla="*/ 6096 h 359664"/>
                  <a:gd name="connsiteX3" fmla="*/ 4191 w 3289364"/>
                  <a:gd name="connsiteY3" fmla="*/ 12097 h 359664"/>
                  <a:gd name="connsiteX4" fmla="*/ 10478 w 3289364"/>
                  <a:gd name="connsiteY4" fmla="*/ 12097 h 359664"/>
                  <a:gd name="connsiteX5" fmla="*/ 10478 w 3289364"/>
                  <a:gd name="connsiteY5" fmla="*/ 24289 h 359664"/>
                  <a:gd name="connsiteX6" fmla="*/ 29432 w 3289364"/>
                  <a:gd name="connsiteY6" fmla="*/ 24289 h 359664"/>
                  <a:gd name="connsiteX7" fmla="*/ 29432 w 3289364"/>
                  <a:gd name="connsiteY7" fmla="*/ 30290 h 359664"/>
                  <a:gd name="connsiteX8" fmla="*/ 37814 w 3289364"/>
                  <a:gd name="connsiteY8" fmla="*/ 30290 h 359664"/>
                  <a:gd name="connsiteX9" fmla="*/ 37814 w 3289364"/>
                  <a:gd name="connsiteY9" fmla="*/ 36386 h 359664"/>
                  <a:gd name="connsiteX10" fmla="*/ 50483 w 3289364"/>
                  <a:gd name="connsiteY10" fmla="*/ 36386 h 359664"/>
                  <a:gd name="connsiteX11" fmla="*/ 50483 w 3289364"/>
                  <a:gd name="connsiteY11" fmla="*/ 42482 h 359664"/>
                  <a:gd name="connsiteX12" fmla="*/ 67342 w 3289364"/>
                  <a:gd name="connsiteY12" fmla="*/ 42482 h 359664"/>
                  <a:gd name="connsiteX13" fmla="*/ 67342 w 3289364"/>
                  <a:gd name="connsiteY13" fmla="*/ 48483 h 359664"/>
                  <a:gd name="connsiteX14" fmla="*/ 94679 w 3289364"/>
                  <a:gd name="connsiteY14" fmla="*/ 48483 h 359664"/>
                  <a:gd name="connsiteX15" fmla="*/ 94679 w 3289364"/>
                  <a:gd name="connsiteY15" fmla="*/ 54579 h 359664"/>
                  <a:gd name="connsiteX16" fmla="*/ 96774 w 3289364"/>
                  <a:gd name="connsiteY16" fmla="*/ 54579 h 359664"/>
                  <a:gd name="connsiteX17" fmla="*/ 96774 w 3289364"/>
                  <a:gd name="connsiteY17" fmla="*/ 60675 h 359664"/>
                  <a:gd name="connsiteX18" fmla="*/ 107251 w 3289364"/>
                  <a:gd name="connsiteY18" fmla="*/ 60675 h 359664"/>
                  <a:gd name="connsiteX19" fmla="*/ 107251 w 3289364"/>
                  <a:gd name="connsiteY19" fmla="*/ 66675 h 359664"/>
                  <a:gd name="connsiteX20" fmla="*/ 113538 w 3289364"/>
                  <a:gd name="connsiteY20" fmla="*/ 66675 h 359664"/>
                  <a:gd name="connsiteX21" fmla="*/ 113538 w 3289364"/>
                  <a:gd name="connsiteY21" fmla="*/ 78867 h 359664"/>
                  <a:gd name="connsiteX22" fmla="*/ 122015 w 3289364"/>
                  <a:gd name="connsiteY22" fmla="*/ 78867 h 359664"/>
                  <a:gd name="connsiteX23" fmla="*/ 122015 w 3289364"/>
                  <a:gd name="connsiteY23" fmla="*/ 84868 h 359664"/>
                  <a:gd name="connsiteX24" fmla="*/ 128302 w 3289364"/>
                  <a:gd name="connsiteY24" fmla="*/ 84868 h 359664"/>
                  <a:gd name="connsiteX25" fmla="*/ 128302 w 3289364"/>
                  <a:gd name="connsiteY25" fmla="*/ 97060 h 359664"/>
                  <a:gd name="connsiteX26" fmla="*/ 130397 w 3289364"/>
                  <a:gd name="connsiteY26" fmla="*/ 97060 h 359664"/>
                  <a:gd name="connsiteX27" fmla="*/ 130397 w 3289364"/>
                  <a:gd name="connsiteY27" fmla="*/ 103156 h 359664"/>
                  <a:gd name="connsiteX28" fmla="*/ 142970 w 3289364"/>
                  <a:gd name="connsiteY28" fmla="*/ 103156 h 359664"/>
                  <a:gd name="connsiteX29" fmla="*/ 142970 w 3289364"/>
                  <a:gd name="connsiteY29" fmla="*/ 109157 h 359664"/>
                  <a:gd name="connsiteX30" fmla="*/ 166116 w 3289364"/>
                  <a:gd name="connsiteY30" fmla="*/ 109157 h 359664"/>
                  <a:gd name="connsiteX31" fmla="*/ 166116 w 3289364"/>
                  <a:gd name="connsiteY31" fmla="*/ 115253 h 359664"/>
                  <a:gd name="connsiteX32" fmla="*/ 172498 w 3289364"/>
                  <a:gd name="connsiteY32" fmla="*/ 115253 h 359664"/>
                  <a:gd name="connsiteX33" fmla="*/ 172498 w 3289364"/>
                  <a:gd name="connsiteY33" fmla="*/ 121349 h 359664"/>
                  <a:gd name="connsiteX34" fmla="*/ 180880 w 3289364"/>
                  <a:gd name="connsiteY34" fmla="*/ 121349 h 359664"/>
                  <a:gd name="connsiteX35" fmla="*/ 180880 w 3289364"/>
                  <a:gd name="connsiteY35" fmla="*/ 127350 h 359664"/>
                  <a:gd name="connsiteX36" fmla="*/ 189262 w 3289364"/>
                  <a:gd name="connsiteY36" fmla="*/ 127350 h 359664"/>
                  <a:gd name="connsiteX37" fmla="*/ 189262 w 3289364"/>
                  <a:gd name="connsiteY37" fmla="*/ 133446 h 359664"/>
                  <a:gd name="connsiteX38" fmla="*/ 193453 w 3289364"/>
                  <a:gd name="connsiteY38" fmla="*/ 133446 h 359664"/>
                  <a:gd name="connsiteX39" fmla="*/ 193453 w 3289364"/>
                  <a:gd name="connsiteY39" fmla="*/ 139542 h 359664"/>
                  <a:gd name="connsiteX40" fmla="*/ 267081 w 3289364"/>
                  <a:gd name="connsiteY40" fmla="*/ 139542 h 359664"/>
                  <a:gd name="connsiteX41" fmla="*/ 267081 w 3289364"/>
                  <a:gd name="connsiteY41" fmla="*/ 145542 h 359664"/>
                  <a:gd name="connsiteX42" fmla="*/ 288131 w 3289364"/>
                  <a:gd name="connsiteY42" fmla="*/ 145542 h 359664"/>
                  <a:gd name="connsiteX43" fmla="*/ 288131 w 3289364"/>
                  <a:gd name="connsiteY43" fmla="*/ 151638 h 359664"/>
                  <a:gd name="connsiteX44" fmla="*/ 294418 w 3289364"/>
                  <a:gd name="connsiteY44" fmla="*/ 151638 h 359664"/>
                  <a:gd name="connsiteX45" fmla="*/ 294418 w 3289364"/>
                  <a:gd name="connsiteY45" fmla="*/ 157734 h 359664"/>
                  <a:gd name="connsiteX46" fmla="*/ 336518 w 3289364"/>
                  <a:gd name="connsiteY46" fmla="*/ 157734 h 359664"/>
                  <a:gd name="connsiteX47" fmla="*/ 336518 w 3289364"/>
                  <a:gd name="connsiteY47" fmla="*/ 163735 h 359664"/>
                  <a:gd name="connsiteX48" fmla="*/ 351187 w 3289364"/>
                  <a:gd name="connsiteY48" fmla="*/ 163735 h 359664"/>
                  <a:gd name="connsiteX49" fmla="*/ 351187 w 3289364"/>
                  <a:gd name="connsiteY49" fmla="*/ 169831 h 359664"/>
                  <a:gd name="connsiteX50" fmla="*/ 380714 w 3289364"/>
                  <a:gd name="connsiteY50" fmla="*/ 169831 h 359664"/>
                  <a:gd name="connsiteX51" fmla="*/ 380714 w 3289364"/>
                  <a:gd name="connsiteY51" fmla="*/ 175927 h 359664"/>
                  <a:gd name="connsiteX52" fmla="*/ 382810 w 3289364"/>
                  <a:gd name="connsiteY52" fmla="*/ 175927 h 359664"/>
                  <a:gd name="connsiteX53" fmla="*/ 382810 w 3289364"/>
                  <a:gd name="connsiteY53" fmla="*/ 181928 h 359664"/>
                  <a:gd name="connsiteX54" fmla="*/ 405860 w 3289364"/>
                  <a:gd name="connsiteY54" fmla="*/ 181928 h 359664"/>
                  <a:gd name="connsiteX55" fmla="*/ 405860 w 3289364"/>
                  <a:gd name="connsiteY55" fmla="*/ 188024 h 359664"/>
                  <a:gd name="connsiteX56" fmla="*/ 418529 w 3289364"/>
                  <a:gd name="connsiteY56" fmla="*/ 188024 h 359664"/>
                  <a:gd name="connsiteX57" fmla="*/ 418529 w 3289364"/>
                  <a:gd name="connsiteY57" fmla="*/ 194120 h 359664"/>
                  <a:gd name="connsiteX58" fmla="*/ 454247 w 3289364"/>
                  <a:gd name="connsiteY58" fmla="*/ 194120 h 359664"/>
                  <a:gd name="connsiteX59" fmla="*/ 454247 w 3289364"/>
                  <a:gd name="connsiteY59" fmla="*/ 200216 h 359664"/>
                  <a:gd name="connsiteX60" fmla="*/ 569976 w 3289364"/>
                  <a:gd name="connsiteY60" fmla="*/ 200216 h 359664"/>
                  <a:gd name="connsiteX61" fmla="*/ 569976 w 3289364"/>
                  <a:gd name="connsiteY61" fmla="*/ 206217 h 359664"/>
                  <a:gd name="connsiteX62" fmla="*/ 607790 w 3289364"/>
                  <a:gd name="connsiteY62" fmla="*/ 206217 h 359664"/>
                  <a:gd name="connsiteX63" fmla="*/ 607790 w 3289364"/>
                  <a:gd name="connsiteY63" fmla="*/ 212408 h 359664"/>
                  <a:gd name="connsiteX64" fmla="*/ 660368 w 3289364"/>
                  <a:gd name="connsiteY64" fmla="*/ 212408 h 359664"/>
                  <a:gd name="connsiteX65" fmla="*/ 660368 w 3289364"/>
                  <a:gd name="connsiteY65" fmla="*/ 218504 h 359664"/>
                  <a:gd name="connsiteX66" fmla="*/ 679323 w 3289364"/>
                  <a:gd name="connsiteY66" fmla="*/ 218504 h 359664"/>
                  <a:gd name="connsiteX67" fmla="*/ 679323 w 3289364"/>
                  <a:gd name="connsiteY67" fmla="*/ 224600 h 359664"/>
                  <a:gd name="connsiteX68" fmla="*/ 689801 w 3289364"/>
                  <a:gd name="connsiteY68" fmla="*/ 224600 h 359664"/>
                  <a:gd name="connsiteX69" fmla="*/ 689801 w 3289364"/>
                  <a:gd name="connsiteY69" fmla="*/ 230791 h 359664"/>
                  <a:gd name="connsiteX70" fmla="*/ 723519 w 3289364"/>
                  <a:gd name="connsiteY70" fmla="*/ 230791 h 359664"/>
                  <a:gd name="connsiteX71" fmla="*/ 723519 w 3289364"/>
                  <a:gd name="connsiteY71" fmla="*/ 236887 h 359664"/>
                  <a:gd name="connsiteX72" fmla="*/ 729806 w 3289364"/>
                  <a:gd name="connsiteY72" fmla="*/ 236887 h 359664"/>
                  <a:gd name="connsiteX73" fmla="*/ 729806 w 3289364"/>
                  <a:gd name="connsiteY73" fmla="*/ 242983 h 359664"/>
                  <a:gd name="connsiteX74" fmla="*/ 744474 w 3289364"/>
                  <a:gd name="connsiteY74" fmla="*/ 242983 h 359664"/>
                  <a:gd name="connsiteX75" fmla="*/ 744474 w 3289364"/>
                  <a:gd name="connsiteY75" fmla="*/ 249079 h 359664"/>
                  <a:gd name="connsiteX76" fmla="*/ 757142 w 3289364"/>
                  <a:gd name="connsiteY76" fmla="*/ 249079 h 359664"/>
                  <a:gd name="connsiteX77" fmla="*/ 757142 w 3289364"/>
                  <a:gd name="connsiteY77" fmla="*/ 255270 h 359664"/>
                  <a:gd name="connsiteX78" fmla="*/ 782384 w 3289364"/>
                  <a:gd name="connsiteY78" fmla="*/ 255270 h 359664"/>
                  <a:gd name="connsiteX79" fmla="*/ 782384 w 3289364"/>
                  <a:gd name="connsiteY79" fmla="*/ 261366 h 359664"/>
                  <a:gd name="connsiteX80" fmla="*/ 1011650 w 3289364"/>
                  <a:gd name="connsiteY80" fmla="*/ 261366 h 359664"/>
                  <a:gd name="connsiteX81" fmla="*/ 1011650 w 3289364"/>
                  <a:gd name="connsiteY81" fmla="*/ 267558 h 359664"/>
                  <a:gd name="connsiteX82" fmla="*/ 1125188 w 3289364"/>
                  <a:gd name="connsiteY82" fmla="*/ 267558 h 359664"/>
                  <a:gd name="connsiteX83" fmla="*/ 1125188 w 3289364"/>
                  <a:gd name="connsiteY83" fmla="*/ 273749 h 359664"/>
                  <a:gd name="connsiteX84" fmla="*/ 1394365 w 3289364"/>
                  <a:gd name="connsiteY84" fmla="*/ 273749 h 359664"/>
                  <a:gd name="connsiteX85" fmla="*/ 1394365 w 3289364"/>
                  <a:gd name="connsiteY85" fmla="*/ 280035 h 359664"/>
                  <a:gd name="connsiteX86" fmla="*/ 1467993 w 3289364"/>
                  <a:gd name="connsiteY86" fmla="*/ 280035 h 359664"/>
                  <a:gd name="connsiteX87" fmla="*/ 1467993 w 3289364"/>
                  <a:gd name="connsiteY87" fmla="*/ 286322 h 359664"/>
                  <a:gd name="connsiteX88" fmla="*/ 1547908 w 3289364"/>
                  <a:gd name="connsiteY88" fmla="*/ 286322 h 359664"/>
                  <a:gd name="connsiteX89" fmla="*/ 1547908 w 3289364"/>
                  <a:gd name="connsiteY89" fmla="*/ 292608 h 359664"/>
                  <a:gd name="connsiteX90" fmla="*/ 1709833 w 3289364"/>
                  <a:gd name="connsiteY90" fmla="*/ 292608 h 359664"/>
                  <a:gd name="connsiteX91" fmla="*/ 1709833 w 3289364"/>
                  <a:gd name="connsiteY91" fmla="*/ 299085 h 359664"/>
                  <a:gd name="connsiteX92" fmla="*/ 1726692 w 3289364"/>
                  <a:gd name="connsiteY92" fmla="*/ 299085 h 359664"/>
                  <a:gd name="connsiteX93" fmla="*/ 1726692 w 3289364"/>
                  <a:gd name="connsiteY93" fmla="*/ 305467 h 359664"/>
                  <a:gd name="connsiteX94" fmla="*/ 1844516 w 3289364"/>
                  <a:gd name="connsiteY94" fmla="*/ 305467 h 359664"/>
                  <a:gd name="connsiteX95" fmla="*/ 1844516 w 3289364"/>
                  <a:gd name="connsiteY95" fmla="*/ 311944 h 359664"/>
                  <a:gd name="connsiteX96" fmla="*/ 1937004 w 3289364"/>
                  <a:gd name="connsiteY96" fmla="*/ 311944 h 359664"/>
                  <a:gd name="connsiteX97" fmla="*/ 1937004 w 3289364"/>
                  <a:gd name="connsiteY97" fmla="*/ 318326 h 359664"/>
                  <a:gd name="connsiteX98" fmla="*/ 1955959 w 3289364"/>
                  <a:gd name="connsiteY98" fmla="*/ 318326 h 359664"/>
                  <a:gd name="connsiteX99" fmla="*/ 1955959 w 3289364"/>
                  <a:gd name="connsiteY99" fmla="*/ 324803 h 359664"/>
                  <a:gd name="connsiteX100" fmla="*/ 2809780 w 3289364"/>
                  <a:gd name="connsiteY100" fmla="*/ 324803 h 359664"/>
                  <a:gd name="connsiteX101" fmla="*/ 2809780 w 3289364"/>
                  <a:gd name="connsiteY101" fmla="*/ 359664 h 359664"/>
                  <a:gd name="connsiteX102" fmla="*/ 3289364 w 3289364"/>
                  <a:gd name="connsiteY102" fmla="*/ 359664 h 359664"/>
                  <a:gd name="connsiteX0" fmla="*/ 0 w 3289364"/>
                  <a:gd name="connsiteY0" fmla="*/ 0 h 359664"/>
                  <a:gd name="connsiteX1" fmla="*/ 0 w 3289364"/>
                  <a:gd name="connsiteY1" fmla="*/ 6096 h 359664"/>
                  <a:gd name="connsiteX2" fmla="*/ 4191 w 3289364"/>
                  <a:gd name="connsiteY2" fmla="*/ 12097 h 359664"/>
                  <a:gd name="connsiteX3" fmla="*/ 10478 w 3289364"/>
                  <a:gd name="connsiteY3" fmla="*/ 12097 h 359664"/>
                  <a:gd name="connsiteX4" fmla="*/ 10478 w 3289364"/>
                  <a:gd name="connsiteY4" fmla="*/ 24289 h 359664"/>
                  <a:gd name="connsiteX5" fmla="*/ 29432 w 3289364"/>
                  <a:gd name="connsiteY5" fmla="*/ 24289 h 359664"/>
                  <a:gd name="connsiteX6" fmla="*/ 29432 w 3289364"/>
                  <a:gd name="connsiteY6" fmla="*/ 30290 h 359664"/>
                  <a:gd name="connsiteX7" fmla="*/ 37814 w 3289364"/>
                  <a:gd name="connsiteY7" fmla="*/ 30290 h 359664"/>
                  <a:gd name="connsiteX8" fmla="*/ 37814 w 3289364"/>
                  <a:gd name="connsiteY8" fmla="*/ 36386 h 359664"/>
                  <a:gd name="connsiteX9" fmla="*/ 50483 w 3289364"/>
                  <a:gd name="connsiteY9" fmla="*/ 36386 h 359664"/>
                  <a:gd name="connsiteX10" fmla="*/ 50483 w 3289364"/>
                  <a:gd name="connsiteY10" fmla="*/ 42482 h 359664"/>
                  <a:gd name="connsiteX11" fmla="*/ 67342 w 3289364"/>
                  <a:gd name="connsiteY11" fmla="*/ 42482 h 359664"/>
                  <a:gd name="connsiteX12" fmla="*/ 67342 w 3289364"/>
                  <a:gd name="connsiteY12" fmla="*/ 48483 h 359664"/>
                  <a:gd name="connsiteX13" fmla="*/ 94679 w 3289364"/>
                  <a:gd name="connsiteY13" fmla="*/ 48483 h 359664"/>
                  <a:gd name="connsiteX14" fmla="*/ 94679 w 3289364"/>
                  <a:gd name="connsiteY14" fmla="*/ 54579 h 359664"/>
                  <a:gd name="connsiteX15" fmla="*/ 96774 w 3289364"/>
                  <a:gd name="connsiteY15" fmla="*/ 54579 h 359664"/>
                  <a:gd name="connsiteX16" fmla="*/ 96774 w 3289364"/>
                  <a:gd name="connsiteY16" fmla="*/ 60675 h 359664"/>
                  <a:gd name="connsiteX17" fmla="*/ 107251 w 3289364"/>
                  <a:gd name="connsiteY17" fmla="*/ 60675 h 359664"/>
                  <a:gd name="connsiteX18" fmla="*/ 107251 w 3289364"/>
                  <a:gd name="connsiteY18" fmla="*/ 66675 h 359664"/>
                  <a:gd name="connsiteX19" fmla="*/ 113538 w 3289364"/>
                  <a:gd name="connsiteY19" fmla="*/ 66675 h 359664"/>
                  <a:gd name="connsiteX20" fmla="*/ 113538 w 3289364"/>
                  <a:gd name="connsiteY20" fmla="*/ 78867 h 359664"/>
                  <a:gd name="connsiteX21" fmla="*/ 122015 w 3289364"/>
                  <a:gd name="connsiteY21" fmla="*/ 78867 h 359664"/>
                  <a:gd name="connsiteX22" fmla="*/ 122015 w 3289364"/>
                  <a:gd name="connsiteY22" fmla="*/ 84868 h 359664"/>
                  <a:gd name="connsiteX23" fmla="*/ 128302 w 3289364"/>
                  <a:gd name="connsiteY23" fmla="*/ 84868 h 359664"/>
                  <a:gd name="connsiteX24" fmla="*/ 128302 w 3289364"/>
                  <a:gd name="connsiteY24" fmla="*/ 97060 h 359664"/>
                  <a:gd name="connsiteX25" fmla="*/ 130397 w 3289364"/>
                  <a:gd name="connsiteY25" fmla="*/ 97060 h 359664"/>
                  <a:gd name="connsiteX26" fmla="*/ 130397 w 3289364"/>
                  <a:gd name="connsiteY26" fmla="*/ 103156 h 359664"/>
                  <a:gd name="connsiteX27" fmla="*/ 142970 w 3289364"/>
                  <a:gd name="connsiteY27" fmla="*/ 103156 h 359664"/>
                  <a:gd name="connsiteX28" fmla="*/ 142970 w 3289364"/>
                  <a:gd name="connsiteY28" fmla="*/ 109157 h 359664"/>
                  <a:gd name="connsiteX29" fmla="*/ 166116 w 3289364"/>
                  <a:gd name="connsiteY29" fmla="*/ 109157 h 359664"/>
                  <a:gd name="connsiteX30" fmla="*/ 166116 w 3289364"/>
                  <a:gd name="connsiteY30" fmla="*/ 115253 h 359664"/>
                  <a:gd name="connsiteX31" fmla="*/ 172498 w 3289364"/>
                  <a:gd name="connsiteY31" fmla="*/ 115253 h 359664"/>
                  <a:gd name="connsiteX32" fmla="*/ 172498 w 3289364"/>
                  <a:gd name="connsiteY32" fmla="*/ 121349 h 359664"/>
                  <a:gd name="connsiteX33" fmla="*/ 180880 w 3289364"/>
                  <a:gd name="connsiteY33" fmla="*/ 121349 h 359664"/>
                  <a:gd name="connsiteX34" fmla="*/ 180880 w 3289364"/>
                  <a:gd name="connsiteY34" fmla="*/ 127350 h 359664"/>
                  <a:gd name="connsiteX35" fmla="*/ 189262 w 3289364"/>
                  <a:gd name="connsiteY35" fmla="*/ 127350 h 359664"/>
                  <a:gd name="connsiteX36" fmla="*/ 189262 w 3289364"/>
                  <a:gd name="connsiteY36" fmla="*/ 133446 h 359664"/>
                  <a:gd name="connsiteX37" fmla="*/ 193453 w 3289364"/>
                  <a:gd name="connsiteY37" fmla="*/ 133446 h 359664"/>
                  <a:gd name="connsiteX38" fmla="*/ 193453 w 3289364"/>
                  <a:gd name="connsiteY38" fmla="*/ 139542 h 359664"/>
                  <a:gd name="connsiteX39" fmla="*/ 267081 w 3289364"/>
                  <a:gd name="connsiteY39" fmla="*/ 139542 h 359664"/>
                  <a:gd name="connsiteX40" fmla="*/ 267081 w 3289364"/>
                  <a:gd name="connsiteY40" fmla="*/ 145542 h 359664"/>
                  <a:gd name="connsiteX41" fmla="*/ 288131 w 3289364"/>
                  <a:gd name="connsiteY41" fmla="*/ 145542 h 359664"/>
                  <a:gd name="connsiteX42" fmla="*/ 288131 w 3289364"/>
                  <a:gd name="connsiteY42" fmla="*/ 151638 h 359664"/>
                  <a:gd name="connsiteX43" fmla="*/ 294418 w 3289364"/>
                  <a:gd name="connsiteY43" fmla="*/ 151638 h 359664"/>
                  <a:gd name="connsiteX44" fmla="*/ 294418 w 3289364"/>
                  <a:gd name="connsiteY44" fmla="*/ 157734 h 359664"/>
                  <a:gd name="connsiteX45" fmla="*/ 336518 w 3289364"/>
                  <a:gd name="connsiteY45" fmla="*/ 157734 h 359664"/>
                  <a:gd name="connsiteX46" fmla="*/ 336518 w 3289364"/>
                  <a:gd name="connsiteY46" fmla="*/ 163735 h 359664"/>
                  <a:gd name="connsiteX47" fmla="*/ 351187 w 3289364"/>
                  <a:gd name="connsiteY47" fmla="*/ 163735 h 359664"/>
                  <a:gd name="connsiteX48" fmla="*/ 351187 w 3289364"/>
                  <a:gd name="connsiteY48" fmla="*/ 169831 h 359664"/>
                  <a:gd name="connsiteX49" fmla="*/ 380714 w 3289364"/>
                  <a:gd name="connsiteY49" fmla="*/ 169831 h 359664"/>
                  <a:gd name="connsiteX50" fmla="*/ 380714 w 3289364"/>
                  <a:gd name="connsiteY50" fmla="*/ 175927 h 359664"/>
                  <a:gd name="connsiteX51" fmla="*/ 382810 w 3289364"/>
                  <a:gd name="connsiteY51" fmla="*/ 175927 h 359664"/>
                  <a:gd name="connsiteX52" fmla="*/ 382810 w 3289364"/>
                  <a:gd name="connsiteY52" fmla="*/ 181928 h 359664"/>
                  <a:gd name="connsiteX53" fmla="*/ 405860 w 3289364"/>
                  <a:gd name="connsiteY53" fmla="*/ 181928 h 359664"/>
                  <a:gd name="connsiteX54" fmla="*/ 405860 w 3289364"/>
                  <a:gd name="connsiteY54" fmla="*/ 188024 h 359664"/>
                  <a:gd name="connsiteX55" fmla="*/ 418529 w 3289364"/>
                  <a:gd name="connsiteY55" fmla="*/ 188024 h 359664"/>
                  <a:gd name="connsiteX56" fmla="*/ 418529 w 3289364"/>
                  <a:gd name="connsiteY56" fmla="*/ 194120 h 359664"/>
                  <a:gd name="connsiteX57" fmla="*/ 454247 w 3289364"/>
                  <a:gd name="connsiteY57" fmla="*/ 194120 h 359664"/>
                  <a:gd name="connsiteX58" fmla="*/ 454247 w 3289364"/>
                  <a:gd name="connsiteY58" fmla="*/ 200216 h 359664"/>
                  <a:gd name="connsiteX59" fmla="*/ 569976 w 3289364"/>
                  <a:gd name="connsiteY59" fmla="*/ 200216 h 359664"/>
                  <a:gd name="connsiteX60" fmla="*/ 569976 w 3289364"/>
                  <a:gd name="connsiteY60" fmla="*/ 206217 h 359664"/>
                  <a:gd name="connsiteX61" fmla="*/ 607790 w 3289364"/>
                  <a:gd name="connsiteY61" fmla="*/ 206217 h 359664"/>
                  <a:gd name="connsiteX62" fmla="*/ 607790 w 3289364"/>
                  <a:gd name="connsiteY62" fmla="*/ 212408 h 359664"/>
                  <a:gd name="connsiteX63" fmla="*/ 660368 w 3289364"/>
                  <a:gd name="connsiteY63" fmla="*/ 212408 h 359664"/>
                  <a:gd name="connsiteX64" fmla="*/ 660368 w 3289364"/>
                  <a:gd name="connsiteY64" fmla="*/ 218504 h 359664"/>
                  <a:gd name="connsiteX65" fmla="*/ 679323 w 3289364"/>
                  <a:gd name="connsiteY65" fmla="*/ 218504 h 359664"/>
                  <a:gd name="connsiteX66" fmla="*/ 679323 w 3289364"/>
                  <a:gd name="connsiteY66" fmla="*/ 224600 h 359664"/>
                  <a:gd name="connsiteX67" fmla="*/ 689801 w 3289364"/>
                  <a:gd name="connsiteY67" fmla="*/ 224600 h 359664"/>
                  <a:gd name="connsiteX68" fmla="*/ 689801 w 3289364"/>
                  <a:gd name="connsiteY68" fmla="*/ 230791 h 359664"/>
                  <a:gd name="connsiteX69" fmla="*/ 723519 w 3289364"/>
                  <a:gd name="connsiteY69" fmla="*/ 230791 h 359664"/>
                  <a:gd name="connsiteX70" fmla="*/ 723519 w 3289364"/>
                  <a:gd name="connsiteY70" fmla="*/ 236887 h 359664"/>
                  <a:gd name="connsiteX71" fmla="*/ 729806 w 3289364"/>
                  <a:gd name="connsiteY71" fmla="*/ 236887 h 359664"/>
                  <a:gd name="connsiteX72" fmla="*/ 729806 w 3289364"/>
                  <a:gd name="connsiteY72" fmla="*/ 242983 h 359664"/>
                  <a:gd name="connsiteX73" fmla="*/ 744474 w 3289364"/>
                  <a:gd name="connsiteY73" fmla="*/ 242983 h 359664"/>
                  <a:gd name="connsiteX74" fmla="*/ 744474 w 3289364"/>
                  <a:gd name="connsiteY74" fmla="*/ 249079 h 359664"/>
                  <a:gd name="connsiteX75" fmla="*/ 757142 w 3289364"/>
                  <a:gd name="connsiteY75" fmla="*/ 249079 h 359664"/>
                  <a:gd name="connsiteX76" fmla="*/ 757142 w 3289364"/>
                  <a:gd name="connsiteY76" fmla="*/ 255270 h 359664"/>
                  <a:gd name="connsiteX77" fmla="*/ 782384 w 3289364"/>
                  <a:gd name="connsiteY77" fmla="*/ 255270 h 359664"/>
                  <a:gd name="connsiteX78" fmla="*/ 782384 w 3289364"/>
                  <a:gd name="connsiteY78" fmla="*/ 261366 h 359664"/>
                  <a:gd name="connsiteX79" fmla="*/ 1011650 w 3289364"/>
                  <a:gd name="connsiteY79" fmla="*/ 261366 h 359664"/>
                  <a:gd name="connsiteX80" fmla="*/ 1011650 w 3289364"/>
                  <a:gd name="connsiteY80" fmla="*/ 267558 h 359664"/>
                  <a:gd name="connsiteX81" fmla="*/ 1125188 w 3289364"/>
                  <a:gd name="connsiteY81" fmla="*/ 267558 h 359664"/>
                  <a:gd name="connsiteX82" fmla="*/ 1125188 w 3289364"/>
                  <a:gd name="connsiteY82" fmla="*/ 273749 h 359664"/>
                  <a:gd name="connsiteX83" fmla="*/ 1394365 w 3289364"/>
                  <a:gd name="connsiteY83" fmla="*/ 273749 h 359664"/>
                  <a:gd name="connsiteX84" fmla="*/ 1394365 w 3289364"/>
                  <a:gd name="connsiteY84" fmla="*/ 280035 h 359664"/>
                  <a:gd name="connsiteX85" fmla="*/ 1467993 w 3289364"/>
                  <a:gd name="connsiteY85" fmla="*/ 280035 h 359664"/>
                  <a:gd name="connsiteX86" fmla="*/ 1467993 w 3289364"/>
                  <a:gd name="connsiteY86" fmla="*/ 286322 h 359664"/>
                  <a:gd name="connsiteX87" fmla="*/ 1547908 w 3289364"/>
                  <a:gd name="connsiteY87" fmla="*/ 286322 h 359664"/>
                  <a:gd name="connsiteX88" fmla="*/ 1547908 w 3289364"/>
                  <a:gd name="connsiteY88" fmla="*/ 292608 h 359664"/>
                  <a:gd name="connsiteX89" fmla="*/ 1709833 w 3289364"/>
                  <a:gd name="connsiteY89" fmla="*/ 292608 h 359664"/>
                  <a:gd name="connsiteX90" fmla="*/ 1709833 w 3289364"/>
                  <a:gd name="connsiteY90" fmla="*/ 299085 h 359664"/>
                  <a:gd name="connsiteX91" fmla="*/ 1726692 w 3289364"/>
                  <a:gd name="connsiteY91" fmla="*/ 299085 h 359664"/>
                  <a:gd name="connsiteX92" fmla="*/ 1726692 w 3289364"/>
                  <a:gd name="connsiteY92" fmla="*/ 305467 h 359664"/>
                  <a:gd name="connsiteX93" fmla="*/ 1844516 w 3289364"/>
                  <a:gd name="connsiteY93" fmla="*/ 305467 h 359664"/>
                  <a:gd name="connsiteX94" fmla="*/ 1844516 w 3289364"/>
                  <a:gd name="connsiteY94" fmla="*/ 311944 h 359664"/>
                  <a:gd name="connsiteX95" fmla="*/ 1937004 w 3289364"/>
                  <a:gd name="connsiteY95" fmla="*/ 311944 h 359664"/>
                  <a:gd name="connsiteX96" fmla="*/ 1937004 w 3289364"/>
                  <a:gd name="connsiteY96" fmla="*/ 318326 h 359664"/>
                  <a:gd name="connsiteX97" fmla="*/ 1955959 w 3289364"/>
                  <a:gd name="connsiteY97" fmla="*/ 318326 h 359664"/>
                  <a:gd name="connsiteX98" fmla="*/ 1955959 w 3289364"/>
                  <a:gd name="connsiteY98" fmla="*/ 324803 h 359664"/>
                  <a:gd name="connsiteX99" fmla="*/ 2809780 w 3289364"/>
                  <a:gd name="connsiteY99" fmla="*/ 324803 h 359664"/>
                  <a:gd name="connsiteX100" fmla="*/ 2809780 w 3289364"/>
                  <a:gd name="connsiteY100" fmla="*/ 359664 h 359664"/>
                  <a:gd name="connsiteX101" fmla="*/ 3289364 w 3289364"/>
                  <a:gd name="connsiteY101" fmla="*/ 359664 h 359664"/>
                  <a:gd name="connsiteX0" fmla="*/ 0 w 3289364"/>
                  <a:gd name="connsiteY0" fmla="*/ 0 h 359664"/>
                  <a:gd name="connsiteX1" fmla="*/ 4191 w 3289364"/>
                  <a:gd name="connsiteY1" fmla="*/ 12097 h 359664"/>
                  <a:gd name="connsiteX2" fmla="*/ 10478 w 3289364"/>
                  <a:gd name="connsiteY2" fmla="*/ 12097 h 359664"/>
                  <a:gd name="connsiteX3" fmla="*/ 10478 w 3289364"/>
                  <a:gd name="connsiteY3" fmla="*/ 24289 h 359664"/>
                  <a:gd name="connsiteX4" fmla="*/ 29432 w 3289364"/>
                  <a:gd name="connsiteY4" fmla="*/ 24289 h 359664"/>
                  <a:gd name="connsiteX5" fmla="*/ 29432 w 3289364"/>
                  <a:gd name="connsiteY5" fmla="*/ 30290 h 359664"/>
                  <a:gd name="connsiteX6" fmla="*/ 37814 w 3289364"/>
                  <a:gd name="connsiteY6" fmla="*/ 30290 h 359664"/>
                  <a:gd name="connsiteX7" fmla="*/ 37814 w 3289364"/>
                  <a:gd name="connsiteY7" fmla="*/ 36386 h 359664"/>
                  <a:gd name="connsiteX8" fmla="*/ 50483 w 3289364"/>
                  <a:gd name="connsiteY8" fmla="*/ 36386 h 359664"/>
                  <a:gd name="connsiteX9" fmla="*/ 50483 w 3289364"/>
                  <a:gd name="connsiteY9" fmla="*/ 42482 h 359664"/>
                  <a:gd name="connsiteX10" fmla="*/ 67342 w 3289364"/>
                  <a:gd name="connsiteY10" fmla="*/ 42482 h 359664"/>
                  <a:gd name="connsiteX11" fmla="*/ 67342 w 3289364"/>
                  <a:gd name="connsiteY11" fmla="*/ 48483 h 359664"/>
                  <a:gd name="connsiteX12" fmla="*/ 94679 w 3289364"/>
                  <a:gd name="connsiteY12" fmla="*/ 48483 h 359664"/>
                  <a:gd name="connsiteX13" fmla="*/ 94679 w 3289364"/>
                  <a:gd name="connsiteY13" fmla="*/ 54579 h 359664"/>
                  <a:gd name="connsiteX14" fmla="*/ 96774 w 3289364"/>
                  <a:gd name="connsiteY14" fmla="*/ 54579 h 359664"/>
                  <a:gd name="connsiteX15" fmla="*/ 96774 w 3289364"/>
                  <a:gd name="connsiteY15" fmla="*/ 60675 h 359664"/>
                  <a:gd name="connsiteX16" fmla="*/ 107251 w 3289364"/>
                  <a:gd name="connsiteY16" fmla="*/ 60675 h 359664"/>
                  <a:gd name="connsiteX17" fmla="*/ 107251 w 3289364"/>
                  <a:gd name="connsiteY17" fmla="*/ 66675 h 359664"/>
                  <a:gd name="connsiteX18" fmla="*/ 113538 w 3289364"/>
                  <a:gd name="connsiteY18" fmla="*/ 66675 h 359664"/>
                  <a:gd name="connsiteX19" fmla="*/ 113538 w 3289364"/>
                  <a:gd name="connsiteY19" fmla="*/ 78867 h 359664"/>
                  <a:gd name="connsiteX20" fmla="*/ 122015 w 3289364"/>
                  <a:gd name="connsiteY20" fmla="*/ 78867 h 359664"/>
                  <a:gd name="connsiteX21" fmla="*/ 122015 w 3289364"/>
                  <a:gd name="connsiteY21" fmla="*/ 84868 h 359664"/>
                  <a:gd name="connsiteX22" fmla="*/ 128302 w 3289364"/>
                  <a:gd name="connsiteY22" fmla="*/ 84868 h 359664"/>
                  <a:gd name="connsiteX23" fmla="*/ 128302 w 3289364"/>
                  <a:gd name="connsiteY23" fmla="*/ 97060 h 359664"/>
                  <a:gd name="connsiteX24" fmla="*/ 130397 w 3289364"/>
                  <a:gd name="connsiteY24" fmla="*/ 97060 h 359664"/>
                  <a:gd name="connsiteX25" fmla="*/ 130397 w 3289364"/>
                  <a:gd name="connsiteY25" fmla="*/ 103156 h 359664"/>
                  <a:gd name="connsiteX26" fmla="*/ 142970 w 3289364"/>
                  <a:gd name="connsiteY26" fmla="*/ 103156 h 359664"/>
                  <a:gd name="connsiteX27" fmla="*/ 142970 w 3289364"/>
                  <a:gd name="connsiteY27" fmla="*/ 109157 h 359664"/>
                  <a:gd name="connsiteX28" fmla="*/ 166116 w 3289364"/>
                  <a:gd name="connsiteY28" fmla="*/ 109157 h 359664"/>
                  <a:gd name="connsiteX29" fmla="*/ 166116 w 3289364"/>
                  <a:gd name="connsiteY29" fmla="*/ 115253 h 359664"/>
                  <a:gd name="connsiteX30" fmla="*/ 172498 w 3289364"/>
                  <a:gd name="connsiteY30" fmla="*/ 115253 h 359664"/>
                  <a:gd name="connsiteX31" fmla="*/ 172498 w 3289364"/>
                  <a:gd name="connsiteY31" fmla="*/ 121349 h 359664"/>
                  <a:gd name="connsiteX32" fmla="*/ 180880 w 3289364"/>
                  <a:gd name="connsiteY32" fmla="*/ 121349 h 359664"/>
                  <a:gd name="connsiteX33" fmla="*/ 180880 w 3289364"/>
                  <a:gd name="connsiteY33" fmla="*/ 127350 h 359664"/>
                  <a:gd name="connsiteX34" fmla="*/ 189262 w 3289364"/>
                  <a:gd name="connsiteY34" fmla="*/ 127350 h 359664"/>
                  <a:gd name="connsiteX35" fmla="*/ 189262 w 3289364"/>
                  <a:gd name="connsiteY35" fmla="*/ 133446 h 359664"/>
                  <a:gd name="connsiteX36" fmla="*/ 193453 w 3289364"/>
                  <a:gd name="connsiteY36" fmla="*/ 133446 h 359664"/>
                  <a:gd name="connsiteX37" fmla="*/ 193453 w 3289364"/>
                  <a:gd name="connsiteY37" fmla="*/ 139542 h 359664"/>
                  <a:gd name="connsiteX38" fmla="*/ 267081 w 3289364"/>
                  <a:gd name="connsiteY38" fmla="*/ 139542 h 359664"/>
                  <a:gd name="connsiteX39" fmla="*/ 267081 w 3289364"/>
                  <a:gd name="connsiteY39" fmla="*/ 145542 h 359664"/>
                  <a:gd name="connsiteX40" fmla="*/ 288131 w 3289364"/>
                  <a:gd name="connsiteY40" fmla="*/ 145542 h 359664"/>
                  <a:gd name="connsiteX41" fmla="*/ 288131 w 3289364"/>
                  <a:gd name="connsiteY41" fmla="*/ 151638 h 359664"/>
                  <a:gd name="connsiteX42" fmla="*/ 294418 w 3289364"/>
                  <a:gd name="connsiteY42" fmla="*/ 151638 h 359664"/>
                  <a:gd name="connsiteX43" fmla="*/ 294418 w 3289364"/>
                  <a:gd name="connsiteY43" fmla="*/ 157734 h 359664"/>
                  <a:gd name="connsiteX44" fmla="*/ 336518 w 3289364"/>
                  <a:gd name="connsiteY44" fmla="*/ 157734 h 359664"/>
                  <a:gd name="connsiteX45" fmla="*/ 336518 w 3289364"/>
                  <a:gd name="connsiteY45" fmla="*/ 163735 h 359664"/>
                  <a:gd name="connsiteX46" fmla="*/ 351187 w 3289364"/>
                  <a:gd name="connsiteY46" fmla="*/ 163735 h 359664"/>
                  <a:gd name="connsiteX47" fmla="*/ 351187 w 3289364"/>
                  <a:gd name="connsiteY47" fmla="*/ 169831 h 359664"/>
                  <a:gd name="connsiteX48" fmla="*/ 380714 w 3289364"/>
                  <a:gd name="connsiteY48" fmla="*/ 169831 h 359664"/>
                  <a:gd name="connsiteX49" fmla="*/ 380714 w 3289364"/>
                  <a:gd name="connsiteY49" fmla="*/ 175927 h 359664"/>
                  <a:gd name="connsiteX50" fmla="*/ 382810 w 3289364"/>
                  <a:gd name="connsiteY50" fmla="*/ 175927 h 359664"/>
                  <a:gd name="connsiteX51" fmla="*/ 382810 w 3289364"/>
                  <a:gd name="connsiteY51" fmla="*/ 181928 h 359664"/>
                  <a:gd name="connsiteX52" fmla="*/ 405860 w 3289364"/>
                  <a:gd name="connsiteY52" fmla="*/ 181928 h 359664"/>
                  <a:gd name="connsiteX53" fmla="*/ 405860 w 3289364"/>
                  <a:gd name="connsiteY53" fmla="*/ 188024 h 359664"/>
                  <a:gd name="connsiteX54" fmla="*/ 418529 w 3289364"/>
                  <a:gd name="connsiteY54" fmla="*/ 188024 h 359664"/>
                  <a:gd name="connsiteX55" fmla="*/ 418529 w 3289364"/>
                  <a:gd name="connsiteY55" fmla="*/ 194120 h 359664"/>
                  <a:gd name="connsiteX56" fmla="*/ 454247 w 3289364"/>
                  <a:gd name="connsiteY56" fmla="*/ 194120 h 359664"/>
                  <a:gd name="connsiteX57" fmla="*/ 454247 w 3289364"/>
                  <a:gd name="connsiteY57" fmla="*/ 200216 h 359664"/>
                  <a:gd name="connsiteX58" fmla="*/ 569976 w 3289364"/>
                  <a:gd name="connsiteY58" fmla="*/ 200216 h 359664"/>
                  <a:gd name="connsiteX59" fmla="*/ 569976 w 3289364"/>
                  <a:gd name="connsiteY59" fmla="*/ 206217 h 359664"/>
                  <a:gd name="connsiteX60" fmla="*/ 607790 w 3289364"/>
                  <a:gd name="connsiteY60" fmla="*/ 206217 h 359664"/>
                  <a:gd name="connsiteX61" fmla="*/ 607790 w 3289364"/>
                  <a:gd name="connsiteY61" fmla="*/ 212408 h 359664"/>
                  <a:gd name="connsiteX62" fmla="*/ 660368 w 3289364"/>
                  <a:gd name="connsiteY62" fmla="*/ 212408 h 359664"/>
                  <a:gd name="connsiteX63" fmla="*/ 660368 w 3289364"/>
                  <a:gd name="connsiteY63" fmla="*/ 218504 h 359664"/>
                  <a:gd name="connsiteX64" fmla="*/ 679323 w 3289364"/>
                  <a:gd name="connsiteY64" fmla="*/ 218504 h 359664"/>
                  <a:gd name="connsiteX65" fmla="*/ 679323 w 3289364"/>
                  <a:gd name="connsiteY65" fmla="*/ 224600 h 359664"/>
                  <a:gd name="connsiteX66" fmla="*/ 689801 w 3289364"/>
                  <a:gd name="connsiteY66" fmla="*/ 224600 h 359664"/>
                  <a:gd name="connsiteX67" fmla="*/ 689801 w 3289364"/>
                  <a:gd name="connsiteY67" fmla="*/ 230791 h 359664"/>
                  <a:gd name="connsiteX68" fmla="*/ 723519 w 3289364"/>
                  <a:gd name="connsiteY68" fmla="*/ 230791 h 359664"/>
                  <a:gd name="connsiteX69" fmla="*/ 723519 w 3289364"/>
                  <a:gd name="connsiteY69" fmla="*/ 236887 h 359664"/>
                  <a:gd name="connsiteX70" fmla="*/ 729806 w 3289364"/>
                  <a:gd name="connsiteY70" fmla="*/ 236887 h 359664"/>
                  <a:gd name="connsiteX71" fmla="*/ 729806 w 3289364"/>
                  <a:gd name="connsiteY71" fmla="*/ 242983 h 359664"/>
                  <a:gd name="connsiteX72" fmla="*/ 744474 w 3289364"/>
                  <a:gd name="connsiteY72" fmla="*/ 242983 h 359664"/>
                  <a:gd name="connsiteX73" fmla="*/ 744474 w 3289364"/>
                  <a:gd name="connsiteY73" fmla="*/ 249079 h 359664"/>
                  <a:gd name="connsiteX74" fmla="*/ 757142 w 3289364"/>
                  <a:gd name="connsiteY74" fmla="*/ 249079 h 359664"/>
                  <a:gd name="connsiteX75" fmla="*/ 757142 w 3289364"/>
                  <a:gd name="connsiteY75" fmla="*/ 255270 h 359664"/>
                  <a:gd name="connsiteX76" fmla="*/ 782384 w 3289364"/>
                  <a:gd name="connsiteY76" fmla="*/ 255270 h 359664"/>
                  <a:gd name="connsiteX77" fmla="*/ 782384 w 3289364"/>
                  <a:gd name="connsiteY77" fmla="*/ 261366 h 359664"/>
                  <a:gd name="connsiteX78" fmla="*/ 1011650 w 3289364"/>
                  <a:gd name="connsiteY78" fmla="*/ 261366 h 359664"/>
                  <a:gd name="connsiteX79" fmla="*/ 1011650 w 3289364"/>
                  <a:gd name="connsiteY79" fmla="*/ 267558 h 359664"/>
                  <a:gd name="connsiteX80" fmla="*/ 1125188 w 3289364"/>
                  <a:gd name="connsiteY80" fmla="*/ 267558 h 359664"/>
                  <a:gd name="connsiteX81" fmla="*/ 1125188 w 3289364"/>
                  <a:gd name="connsiteY81" fmla="*/ 273749 h 359664"/>
                  <a:gd name="connsiteX82" fmla="*/ 1394365 w 3289364"/>
                  <a:gd name="connsiteY82" fmla="*/ 273749 h 359664"/>
                  <a:gd name="connsiteX83" fmla="*/ 1394365 w 3289364"/>
                  <a:gd name="connsiteY83" fmla="*/ 280035 h 359664"/>
                  <a:gd name="connsiteX84" fmla="*/ 1467993 w 3289364"/>
                  <a:gd name="connsiteY84" fmla="*/ 280035 h 359664"/>
                  <a:gd name="connsiteX85" fmla="*/ 1467993 w 3289364"/>
                  <a:gd name="connsiteY85" fmla="*/ 286322 h 359664"/>
                  <a:gd name="connsiteX86" fmla="*/ 1547908 w 3289364"/>
                  <a:gd name="connsiteY86" fmla="*/ 286322 h 359664"/>
                  <a:gd name="connsiteX87" fmla="*/ 1547908 w 3289364"/>
                  <a:gd name="connsiteY87" fmla="*/ 292608 h 359664"/>
                  <a:gd name="connsiteX88" fmla="*/ 1709833 w 3289364"/>
                  <a:gd name="connsiteY88" fmla="*/ 292608 h 359664"/>
                  <a:gd name="connsiteX89" fmla="*/ 1709833 w 3289364"/>
                  <a:gd name="connsiteY89" fmla="*/ 299085 h 359664"/>
                  <a:gd name="connsiteX90" fmla="*/ 1726692 w 3289364"/>
                  <a:gd name="connsiteY90" fmla="*/ 299085 h 359664"/>
                  <a:gd name="connsiteX91" fmla="*/ 1726692 w 3289364"/>
                  <a:gd name="connsiteY91" fmla="*/ 305467 h 359664"/>
                  <a:gd name="connsiteX92" fmla="*/ 1844516 w 3289364"/>
                  <a:gd name="connsiteY92" fmla="*/ 305467 h 359664"/>
                  <a:gd name="connsiteX93" fmla="*/ 1844516 w 3289364"/>
                  <a:gd name="connsiteY93" fmla="*/ 311944 h 359664"/>
                  <a:gd name="connsiteX94" fmla="*/ 1937004 w 3289364"/>
                  <a:gd name="connsiteY94" fmla="*/ 311944 h 359664"/>
                  <a:gd name="connsiteX95" fmla="*/ 1937004 w 3289364"/>
                  <a:gd name="connsiteY95" fmla="*/ 318326 h 359664"/>
                  <a:gd name="connsiteX96" fmla="*/ 1955959 w 3289364"/>
                  <a:gd name="connsiteY96" fmla="*/ 318326 h 359664"/>
                  <a:gd name="connsiteX97" fmla="*/ 1955959 w 3289364"/>
                  <a:gd name="connsiteY97" fmla="*/ 324803 h 359664"/>
                  <a:gd name="connsiteX98" fmla="*/ 2809780 w 3289364"/>
                  <a:gd name="connsiteY98" fmla="*/ 324803 h 359664"/>
                  <a:gd name="connsiteX99" fmla="*/ 2809780 w 3289364"/>
                  <a:gd name="connsiteY99" fmla="*/ 359664 h 359664"/>
                  <a:gd name="connsiteX100" fmla="*/ 3289364 w 3289364"/>
                  <a:gd name="connsiteY100" fmla="*/ 359664 h 359664"/>
                  <a:gd name="connsiteX0" fmla="*/ 0 w 3285173"/>
                  <a:gd name="connsiteY0" fmla="*/ 0 h 347567"/>
                  <a:gd name="connsiteX1" fmla="*/ 6287 w 3285173"/>
                  <a:gd name="connsiteY1" fmla="*/ 0 h 347567"/>
                  <a:gd name="connsiteX2" fmla="*/ 6287 w 3285173"/>
                  <a:gd name="connsiteY2" fmla="*/ 12192 h 347567"/>
                  <a:gd name="connsiteX3" fmla="*/ 25241 w 3285173"/>
                  <a:gd name="connsiteY3" fmla="*/ 12192 h 347567"/>
                  <a:gd name="connsiteX4" fmla="*/ 25241 w 3285173"/>
                  <a:gd name="connsiteY4" fmla="*/ 18193 h 347567"/>
                  <a:gd name="connsiteX5" fmla="*/ 33623 w 3285173"/>
                  <a:gd name="connsiteY5" fmla="*/ 18193 h 347567"/>
                  <a:gd name="connsiteX6" fmla="*/ 33623 w 3285173"/>
                  <a:gd name="connsiteY6" fmla="*/ 24289 h 347567"/>
                  <a:gd name="connsiteX7" fmla="*/ 46292 w 3285173"/>
                  <a:gd name="connsiteY7" fmla="*/ 24289 h 347567"/>
                  <a:gd name="connsiteX8" fmla="*/ 46292 w 3285173"/>
                  <a:gd name="connsiteY8" fmla="*/ 30385 h 347567"/>
                  <a:gd name="connsiteX9" fmla="*/ 63151 w 3285173"/>
                  <a:gd name="connsiteY9" fmla="*/ 30385 h 347567"/>
                  <a:gd name="connsiteX10" fmla="*/ 63151 w 3285173"/>
                  <a:gd name="connsiteY10" fmla="*/ 36386 h 347567"/>
                  <a:gd name="connsiteX11" fmla="*/ 90488 w 3285173"/>
                  <a:gd name="connsiteY11" fmla="*/ 36386 h 347567"/>
                  <a:gd name="connsiteX12" fmla="*/ 90488 w 3285173"/>
                  <a:gd name="connsiteY12" fmla="*/ 42482 h 347567"/>
                  <a:gd name="connsiteX13" fmla="*/ 92583 w 3285173"/>
                  <a:gd name="connsiteY13" fmla="*/ 42482 h 347567"/>
                  <a:gd name="connsiteX14" fmla="*/ 92583 w 3285173"/>
                  <a:gd name="connsiteY14" fmla="*/ 48578 h 347567"/>
                  <a:gd name="connsiteX15" fmla="*/ 103060 w 3285173"/>
                  <a:gd name="connsiteY15" fmla="*/ 48578 h 347567"/>
                  <a:gd name="connsiteX16" fmla="*/ 103060 w 3285173"/>
                  <a:gd name="connsiteY16" fmla="*/ 54578 h 347567"/>
                  <a:gd name="connsiteX17" fmla="*/ 109347 w 3285173"/>
                  <a:gd name="connsiteY17" fmla="*/ 54578 h 347567"/>
                  <a:gd name="connsiteX18" fmla="*/ 109347 w 3285173"/>
                  <a:gd name="connsiteY18" fmla="*/ 66770 h 347567"/>
                  <a:gd name="connsiteX19" fmla="*/ 117824 w 3285173"/>
                  <a:gd name="connsiteY19" fmla="*/ 66770 h 347567"/>
                  <a:gd name="connsiteX20" fmla="*/ 117824 w 3285173"/>
                  <a:gd name="connsiteY20" fmla="*/ 72771 h 347567"/>
                  <a:gd name="connsiteX21" fmla="*/ 124111 w 3285173"/>
                  <a:gd name="connsiteY21" fmla="*/ 72771 h 347567"/>
                  <a:gd name="connsiteX22" fmla="*/ 124111 w 3285173"/>
                  <a:gd name="connsiteY22" fmla="*/ 84963 h 347567"/>
                  <a:gd name="connsiteX23" fmla="*/ 126206 w 3285173"/>
                  <a:gd name="connsiteY23" fmla="*/ 84963 h 347567"/>
                  <a:gd name="connsiteX24" fmla="*/ 126206 w 3285173"/>
                  <a:gd name="connsiteY24" fmla="*/ 91059 h 347567"/>
                  <a:gd name="connsiteX25" fmla="*/ 138779 w 3285173"/>
                  <a:gd name="connsiteY25" fmla="*/ 91059 h 347567"/>
                  <a:gd name="connsiteX26" fmla="*/ 138779 w 3285173"/>
                  <a:gd name="connsiteY26" fmla="*/ 97060 h 347567"/>
                  <a:gd name="connsiteX27" fmla="*/ 161925 w 3285173"/>
                  <a:gd name="connsiteY27" fmla="*/ 97060 h 347567"/>
                  <a:gd name="connsiteX28" fmla="*/ 161925 w 3285173"/>
                  <a:gd name="connsiteY28" fmla="*/ 103156 h 347567"/>
                  <a:gd name="connsiteX29" fmla="*/ 168307 w 3285173"/>
                  <a:gd name="connsiteY29" fmla="*/ 103156 h 347567"/>
                  <a:gd name="connsiteX30" fmla="*/ 168307 w 3285173"/>
                  <a:gd name="connsiteY30" fmla="*/ 109252 h 347567"/>
                  <a:gd name="connsiteX31" fmla="*/ 176689 w 3285173"/>
                  <a:gd name="connsiteY31" fmla="*/ 109252 h 347567"/>
                  <a:gd name="connsiteX32" fmla="*/ 176689 w 3285173"/>
                  <a:gd name="connsiteY32" fmla="*/ 115253 h 347567"/>
                  <a:gd name="connsiteX33" fmla="*/ 185071 w 3285173"/>
                  <a:gd name="connsiteY33" fmla="*/ 115253 h 347567"/>
                  <a:gd name="connsiteX34" fmla="*/ 185071 w 3285173"/>
                  <a:gd name="connsiteY34" fmla="*/ 121349 h 347567"/>
                  <a:gd name="connsiteX35" fmla="*/ 189262 w 3285173"/>
                  <a:gd name="connsiteY35" fmla="*/ 121349 h 347567"/>
                  <a:gd name="connsiteX36" fmla="*/ 189262 w 3285173"/>
                  <a:gd name="connsiteY36" fmla="*/ 127445 h 347567"/>
                  <a:gd name="connsiteX37" fmla="*/ 262890 w 3285173"/>
                  <a:gd name="connsiteY37" fmla="*/ 127445 h 347567"/>
                  <a:gd name="connsiteX38" fmla="*/ 262890 w 3285173"/>
                  <a:gd name="connsiteY38" fmla="*/ 133445 h 347567"/>
                  <a:gd name="connsiteX39" fmla="*/ 283940 w 3285173"/>
                  <a:gd name="connsiteY39" fmla="*/ 133445 h 347567"/>
                  <a:gd name="connsiteX40" fmla="*/ 283940 w 3285173"/>
                  <a:gd name="connsiteY40" fmla="*/ 139541 h 347567"/>
                  <a:gd name="connsiteX41" fmla="*/ 290227 w 3285173"/>
                  <a:gd name="connsiteY41" fmla="*/ 139541 h 347567"/>
                  <a:gd name="connsiteX42" fmla="*/ 290227 w 3285173"/>
                  <a:gd name="connsiteY42" fmla="*/ 145637 h 347567"/>
                  <a:gd name="connsiteX43" fmla="*/ 332327 w 3285173"/>
                  <a:gd name="connsiteY43" fmla="*/ 145637 h 347567"/>
                  <a:gd name="connsiteX44" fmla="*/ 332327 w 3285173"/>
                  <a:gd name="connsiteY44" fmla="*/ 151638 h 347567"/>
                  <a:gd name="connsiteX45" fmla="*/ 346996 w 3285173"/>
                  <a:gd name="connsiteY45" fmla="*/ 151638 h 347567"/>
                  <a:gd name="connsiteX46" fmla="*/ 346996 w 3285173"/>
                  <a:gd name="connsiteY46" fmla="*/ 157734 h 347567"/>
                  <a:gd name="connsiteX47" fmla="*/ 376523 w 3285173"/>
                  <a:gd name="connsiteY47" fmla="*/ 157734 h 347567"/>
                  <a:gd name="connsiteX48" fmla="*/ 376523 w 3285173"/>
                  <a:gd name="connsiteY48" fmla="*/ 163830 h 347567"/>
                  <a:gd name="connsiteX49" fmla="*/ 378619 w 3285173"/>
                  <a:gd name="connsiteY49" fmla="*/ 163830 h 347567"/>
                  <a:gd name="connsiteX50" fmla="*/ 378619 w 3285173"/>
                  <a:gd name="connsiteY50" fmla="*/ 169831 h 347567"/>
                  <a:gd name="connsiteX51" fmla="*/ 401669 w 3285173"/>
                  <a:gd name="connsiteY51" fmla="*/ 169831 h 347567"/>
                  <a:gd name="connsiteX52" fmla="*/ 401669 w 3285173"/>
                  <a:gd name="connsiteY52" fmla="*/ 175927 h 347567"/>
                  <a:gd name="connsiteX53" fmla="*/ 414338 w 3285173"/>
                  <a:gd name="connsiteY53" fmla="*/ 175927 h 347567"/>
                  <a:gd name="connsiteX54" fmla="*/ 414338 w 3285173"/>
                  <a:gd name="connsiteY54" fmla="*/ 182023 h 347567"/>
                  <a:gd name="connsiteX55" fmla="*/ 450056 w 3285173"/>
                  <a:gd name="connsiteY55" fmla="*/ 182023 h 347567"/>
                  <a:gd name="connsiteX56" fmla="*/ 450056 w 3285173"/>
                  <a:gd name="connsiteY56" fmla="*/ 188119 h 347567"/>
                  <a:gd name="connsiteX57" fmla="*/ 565785 w 3285173"/>
                  <a:gd name="connsiteY57" fmla="*/ 188119 h 347567"/>
                  <a:gd name="connsiteX58" fmla="*/ 565785 w 3285173"/>
                  <a:gd name="connsiteY58" fmla="*/ 194120 h 347567"/>
                  <a:gd name="connsiteX59" fmla="*/ 603599 w 3285173"/>
                  <a:gd name="connsiteY59" fmla="*/ 194120 h 347567"/>
                  <a:gd name="connsiteX60" fmla="*/ 603599 w 3285173"/>
                  <a:gd name="connsiteY60" fmla="*/ 200311 h 347567"/>
                  <a:gd name="connsiteX61" fmla="*/ 656177 w 3285173"/>
                  <a:gd name="connsiteY61" fmla="*/ 200311 h 347567"/>
                  <a:gd name="connsiteX62" fmla="*/ 656177 w 3285173"/>
                  <a:gd name="connsiteY62" fmla="*/ 206407 h 347567"/>
                  <a:gd name="connsiteX63" fmla="*/ 675132 w 3285173"/>
                  <a:gd name="connsiteY63" fmla="*/ 206407 h 347567"/>
                  <a:gd name="connsiteX64" fmla="*/ 675132 w 3285173"/>
                  <a:gd name="connsiteY64" fmla="*/ 212503 h 347567"/>
                  <a:gd name="connsiteX65" fmla="*/ 685610 w 3285173"/>
                  <a:gd name="connsiteY65" fmla="*/ 212503 h 347567"/>
                  <a:gd name="connsiteX66" fmla="*/ 685610 w 3285173"/>
                  <a:gd name="connsiteY66" fmla="*/ 218694 h 347567"/>
                  <a:gd name="connsiteX67" fmla="*/ 719328 w 3285173"/>
                  <a:gd name="connsiteY67" fmla="*/ 218694 h 347567"/>
                  <a:gd name="connsiteX68" fmla="*/ 719328 w 3285173"/>
                  <a:gd name="connsiteY68" fmla="*/ 224790 h 347567"/>
                  <a:gd name="connsiteX69" fmla="*/ 725615 w 3285173"/>
                  <a:gd name="connsiteY69" fmla="*/ 224790 h 347567"/>
                  <a:gd name="connsiteX70" fmla="*/ 725615 w 3285173"/>
                  <a:gd name="connsiteY70" fmla="*/ 230886 h 347567"/>
                  <a:gd name="connsiteX71" fmla="*/ 740283 w 3285173"/>
                  <a:gd name="connsiteY71" fmla="*/ 230886 h 347567"/>
                  <a:gd name="connsiteX72" fmla="*/ 740283 w 3285173"/>
                  <a:gd name="connsiteY72" fmla="*/ 236982 h 347567"/>
                  <a:gd name="connsiteX73" fmla="*/ 752951 w 3285173"/>
                  <a:gd name="connsiteY73" fmla="*/ 236982 h 347567"/>
                  <a:gd name="connsiteX74" fmla="*/ 752951 w 3285173"/>
                  <a:gd name="connsiteY74" fmla="*/ 243173 h 347567"/>
                  <a:gd name="connsiteX75" fmla="*/ 778193 w 3285173"/>
                  <a:gd name="connsiteY75" fmla="*/ 243173 h 347567"/>
                  <a:gd name="connsiteX76" fmla="*/ 778193 w 3285173"/>
                  <a:gd name="connsiteY76" fmla="*/ 249269 h 347567"/>
                  <a:gd name="connsiteX77" fmla="*/ 1007459 w 3285173"/>
                  <a:gd name="connsiteY77" fmla="*/ 249269 h 347567"/>
                  <a:gd name="connsiteX78" fmla="*/ 1007459 w 3285173"/>
                  <a:gd name="connsiteY78" fmla="*/ 255461 h 347567"/>
                  <a:gd name="connsiteX79" fmla="*/ 1120997 w 3285173"/>
                  <a:gd name="connsiteY79" fmla="*/ 255461 h 347567"/>
                  <a:gd name="connsiteX80" fmla="*/ 1120997 w 3285173"/>
                  <a:gd name="connsiteY80" fmla="*/ 261652 h 347567"/>
                  <a:gd name="connsiteX81" fmla="*/ 1390174 w 3285173"/>
                  <a:gd name="connsiteY81" fmla="*/ 261652 h 347567"/>
                  <a:gd name="connsiteX82" fmla="*/ 1390174 w 3285173"/>
                  <a:gd name="connsiteY82" fmla="*/ 267938 h 347567"/>
                  <a:gd name="connsiteX83" fmla="*/ 1463802 w 3285173"/>
                  <a:gd name="connsiteY83" fmla="*/ 267938 h 347567"/>
                  <a:gd name="connsiteX84" fmla="*/ 1463802 w 3285173"/>
                  <a:gd name="connsiteY84" fmla="*/ 274225 h 347567"/>
                  <a:gd name="connsiteX85" fmla="*/ 1543717 w 3285173"/>
                  <a:gd name="connsiteY85" fmla="*/ 274225 h 347567"/>
                  <a:gd name="connsiteX86" fmla="*/ 1543717 w 3285173"/>
                  <a:gd name="connsiteY86" fmla="*/ 280511 h 347567"/>
                  <a:gd name="connsiteX87" fmla="*/ 1705642 w 3285173"/>
                  <a:gd name="connsiteY87" fmla="*/ 280511 h 347567"/>
                  <a:gd name="connsiteX88" fmla="*/ 1705642 w 3285173"/>
                  <a:gd name="connsiteY88" fmla="*/ 286988 h 347567"/>
                  <a:gd name="connsiteX89" fmla="*/ 1722501 w 3285173"/>
                  <a:gd name="connsiteY89" fmla="*/ 286988 h 347567"/>
                  <a:gd name="connsiteX90" fmla="*/ 1722501 w 3285173"/>
                  <a:gd name="connsiteY90" fmla="*/ 293370 h 347567"/>
                  <a:gd name="connsiteX91" fmla="*/ 1840325 w 3285173"/>
                  <a:gd name="connsiteY91" fmla="*/ 293370 h 347567"/>
                  <a:gd name="connsiteX92" fmla="*/ 1840325 w 3285173"/>
                  <a:gd name="connsiteY92" fmla="*/ 299847 h 347567"/>
                  <a:gd name="connsiteX93" fmla="*/ 1932813 w 3285173"/>
                  <a:gd name="connsiteY93" fmla="*/ 299847 h 347567"/>
                  <a:gd name="connsiteX94" fmla="*/ 1932813 w 3285173"/>
                  <a:gd name="connsiteY94" fmla="*/ 306229 h 347567"/>
                  <a:gd name="connsiteX95" fmla="*/ 1951768 w 3285173"/>
                  <a:gd name="connsiteY95" fmla="*/ 306229 h 347567"/>
                  <a:gd name="connsiteX96" fmla="*/ 1951768 w 3285173"/>
                  <a:gd name="connsiteY96" fmla="*/ 312706 h 347567"/>
                  <a:gd name="connsiteX97" fmla="*/ 2805589 w 3285173"/>
                  <a:gd name="connsiteY97" fmla="*/ 312706 h 347567"/>
                  <a:gd name="connsiteX98" fmla="*/ 2805589 w 3285173"/>
                  <a:gd name="connsiteY98" fmla="*/ 347567 h 347567"/>
                  <a:gd name="connsiteX99" fmla="*/ 3285173 w 3285173"/>
                  <a:gd name="connsiteY99" fmla="*/ 347567 h 347567"/>
                  <a:gd name="connsiteX0" fmla="*/ 0 w 3285173"/>
                  <a:gd name="connsiteY0" fmla="*/ 0 h 347567"/>
                  <a:gd name="connsiteX1" fmla="*/ 6287 w 3285173"/>
                  <a:gd name="connsiteY1" fmla="*/ 12192 h 347567"/>
                  <a:gd name="connsiteX2" fmla="*/ 25241 w 3285173"/>
                  <a:gd name="connsiteY2" fmla="*/ 12192 h 347567"/>
                  <a:gd name="connsiteX3" fmla="*/ 25241 w 3285173"/>
                  <a:gd name="connsiteY3" fmla="*/ 18193 h 347567"/>
                  <a:gd name="connsiteX4" fmla="*/ 33623 w 3285173"/>
                  <a:gd name="connsiteY4" fmla="*/ 18193 h 347567"/>
                  <a:gd name="connsiteX5" fmla="*/ 33623 w 3285173"/>
                  <a:gd name="connsiteY5" fmla="*/ 24289 h 347567"/>
                  <a:gd name="connsiteX6" fmla="*/ 46292 w 3285173"/>
                  <a:gd name="connsiteY6" fmla="*/ 24289 h 347567"/>
                  <a:gd name="connsiteX7" fmla="*/ 46292 w 3285173"/>
                  <a:gd name="connsiteY7" fmla="*/ 30385 h 347567"/>
                  <a:gd name="connsiteX8" fmla="*/ 63151 w 3285173"/>
                  <a:gd name="connsiteY8" fmla="*/ 30385 h 347567"/>
                  <a:gd name="connsiteX9" fmla="*/ 63151 w 3285173"/>
                  <a:gd name="connsiteY9" fmla="*/ 36386 h 347567"/>
                  <a:gd name="connsiteX10" fmla="*/ 90488 w 3285173"/>
                  <a:gd name="connsiteY10" fmla="*/ 36386 h 347567"/>
                  <a:gd name="connsiteX11" fmla="*/ 90488 w 3285173"/>
                  <a:gd name="connsiteY11" fmla="*/ 42482 h 347567"/>
                  <a:gd name="connsiteX12" fmla="*/ 92583 w 3285173"/>
                  <a:gd name="connsiteY12" fmla="*/ 42482 h 347567"/>
                  <a:gd name="connsiteX13" fmla="*/ 92583 w 3285173"/>
                  <a:gd name="connsiteY13" fmla="*/ 48578 h 347567"/>
                  <a:gd name="connsiteX14" fmla="*/ 103060 w 3285173"/>
                  <a:gd name="connsiteY14" fmla="*/ 48578 h 347567"/>
                  <a:gd name="connsiteX15" fmla="*/ 103060 w 3285173"/>
                  <a:gd name="connsiteY15" fmla="*/ 54578 h 347567"/>
                  <a:gd name="connsiteX16" fmla="*/ 109347 w 3285173"/>
                  <a:gd name="connsiteY16" fmla="*/ 54578 h 347567"/>
                  <a:gd name="connsiteX17" fmla="*/ 109347 w 3285173"/>
                  <a:gd name="connsiteY17" fmla="*/ 66770 h 347567"/>
                  <a:gd name="connsiteX18" fmla="*/ 117824 w 3285173"/>
                  <a:gd name="connsiteY18" fmla="*/ 66770 h 347567"/>
                  <a:gd name="connsiteX19" fmla="*/ 117824 w 3285173"/>
                  <a:gd name="connsiteY19" fmla="*/ 72771 h 347567"/>
                  <a:gd name="connsiteX20" fmla="*/ 124111 w 3285173"/>
                  <a:gd name="connsiteY20" fmla="*/ 72771 h 347567"/>
                  <a:gd name="connsiteX21" fmla="*/ 124111 w 3285173"/>
                  <a:gd name="connsiteY21" fmla="*/ 84963 h 347567"/>
                  <a:gd name="connsiteX22" fmla="*/ 126206 w 3285173"/>
                  <a:gd name="connsiteY22" fmla="*/ 84963 h 347567"/>
                  <a:gd name="connsiteX23" fmla="*/ 126206 w 3285173"/>
                  <a:gd name="connsiteY23" fmla="*/ 91059 h 347567"/>
                  <a:gd name="connsiteX24" fmla="*/ 138779 w 3285173"/>
                  <a:gd name="connsiteY24" fmla="*/ 91059 h 347567"/>
                  <a:gd name="connsiteX25" fmla="*/ 138779 w 3285173"/>
                  <a:gd name="connsiteY25" fmla="*/ 97060 h 347567"/>
                  <a:gd name="connsiteX26" fmla="*/ 161925 w 3285173"/>
                  <a:gd name="connsiteY26" fmla="*/ 97060 h 347567"/>
                  <a:gd name="connsiteX27" fmla="*/ 161925 w 3285173"/>
                  <a:gd name="connsiteY27" fmla="*/ 103156 h 347567"/>
                  <a:gd name="connsiteX28" fmla="*/ 168307 w 3285173"/>
                  <a:gd name="connsiteY28" fmla="*/ 103156 h 347567"/>
                  <a:gd name="connsiteX29" fmla="*/ 168307 w 3285173"/>
                  <a:gd name="connsiteY29" fmla="*/ 109252 h 347567"/>
                  <a:gd name="connsiteX30" fmla="*/ 176689 w 3285173"/>
                  <a:gd name="connsiteY30" fmla="*/ 109252 h 347567"/>
                  <a:gd name="connsiteX31" fmla="*/ 176689 w 3285173"/>
                  <a:gd name="connsiteY31" fmla="*/ 115253 h 347567"/>
                  <a:gd name="connsiteX32" fmla="*/ 185071 w 3285173"/>
                  <a:gd name="connsiteY32" fmla="*/ 115253 h 347567"/>
                  <a:gd name="connsiteX33" fmla="*/ 185071 w 3285173"/>
                  <a:gd name="connsiteY33" fmla="*/ 121349 h 347567"/>
                  <a:gd name="connsiteX34" fmla="*/ 189262 w 3285173"/>
                  <a:gd name="connsiteY34" fmla="*/ 121349 h 347567"/>
                  <a:gd name="connsiteX35" fmla="*/ 189262 w 3285173"/>
                  <a:gd name="connsiteY35" fmla="*/ 127445 h 347567"/>
                  <a:gd name="connsiteX36" fmla="*/ 262890 w 3285173"/>
                  <a:gd name="connsiteY36" fmla="*/ 127445 h 347567"/>
                  <a:gd name="connsiteX37" fmla="*/ 262890 w 3285173"/>
                  <a:gd name="connsiteY37" fmla="*/ 133445 h 347567"/>
                  <a:gd name="connsiteX38" fmla="*/ 283940 w 3285173"/>
                  <a:gd name="connsiteY38" fmla="*/ 133445 h 347567"/>
                  <a:gd name="connsiteX39" fmla="*/ 283940 w 3285173"/>
                  <a:gd name="connsiteY39" fmla="*/ 139541 h 347567"/>
                  <a:gd name="connsiteX40" fmla="*/ 290227 w 3285173"/>
                  <a:gd name="connsiteY40" fmla="*/ 139541 h 347567"/>
                  <a:gd name="connsiteX41" fmla="*/ 290227 w 3285173"/>
                  <a:gd name="connsiteY41" fmla="*/ 145637 h 347567"/>
                  <a:gd name="connsiteX42" fmla="*/ 332327 w 3285173"/>
                  <a:gd name="connsiteY42" fmla="*/ 145637 h 347567"/>
                  <a:gd name="connsiteX43" fmla="*/ 332327 w 3285173"/>
                  <a:gd name="connsiteY43" fmla="*/ 151638 h 347567"/>
                  <a:gd name="connsiteX44" fmla="*/ 346996 w 3285173"/>
                  <a:gd name="connsiteY44" fmla="*/ 151638 h 347567"/>
                  <a:gd name="connsiteX45" fmla="*/ 346996 w 3285173"/>
                  <a:gd name="connsiteY45" fmla="*/ 157734 h 347567"/>
                  <a:gd name="connsiteX46" fmla="*/ 376523 w 3285173"/>
                  <a:gd name="connsiteY46" fmla="*/ 157734 h 347567"/>
                  <a:gd name="connsiteX47" fmla="*/ 376523 w 3285173"/>
                  <a:gd name="connsiteY47" fmla="*/ 163830 h 347567"/>
                  <a:gd name="connsiteX48" fmla="*/ 378619 w 3285173"/>
                  <a:gd name="connsiteY48" fmla="*/ 163830 h 347567"/>
                  <a:gd name="connsiteX49" fmla="*/ 378619 w 3285173"/>
                  <a:gd name="connsiteY49" fmla="*/ 169831 h 347567"/>
                  <a:gd name="connsiteX50" fmla="*/ 401669 w 3285173"/>
                  <a:gd name="connsiteY50" fmla="*/ 169831 h 347567"/>
                  <a:gd name="connsiteX51" fmla="*/ 401669 w 3285173"/>
                  <a:gd name="connsiteY51" fmla="*/ 175927 h 347567"/>
                  <a:gd name="connsiteX52" fmla="*/ 414338 w 3285173"/>
                  <a:gd name="connsiteY52" fmla="*/ 175927 h 347567"/>
                  <a:gd name="connsiteX53" fmla="*/ 414338 w 3285173"/>
                  <a:gd name="connsiteY53" fmla="*/ 182023 h 347567"/>
                  <a:gd name="connsiteX54" fmla="*/ 450056 w 3285173"/>
                  <a:gd name="connsiteY54" fmla="*/ 182023 h 347567"/>
                  <a:gd name="connsiteX55" fmla="*/ 450056 w 3285173"/>
                  <a:gd name="connsiteY55" fmla="*/ 188119 h 347567"/>
                  <a:gd name="connsiteX56" fmla="*/ 565785 w 3285173"/>
                  <a:gd name="connsiteY56" fmla="*/ 188119 h 347567"/>
                  <a:gd name="connsiteX57" fmla="*/ 565785 w 3285173"/>
                  <a:gd name="connsiteY57" fmla="*/ 194120 h 347567"/>
                  <a:gd name="connsiteX58" fmla="*/ 603599 w 3285173"/>
                  <a:gd name="connsiteY58" fmla="*/ 194120 h 347567"/>
                  <a:gd name="connsiteX59" fmla="*/ 603599 w 3285173"/>
                  <a:gd name="connsiteY59" fmla="*/ 200311 h 347567"/>
                  <a:gd name="connsiteX60" fmla="*/ 656177 w 3285173"/>
                  <a:gd name="connsiteY60" fmla="*/ 200311 h 347567"/>
                  <a:gd name="connsiteX61" fmla="*/ 656177 w 3285173"/>
                  <a:gd name="connsiteY61" fmla="*/ 206407 h 347567"/>
                  <a:gd name="connsiteX62" fmla="*/ 675132 w 3285173"/>
                  <a:gd name="connsiteY62" fmla="*/ 206407 h 347567"/>
                  <a:gd name="connsiteX63" fmla="*/ 675132 w 3285173"/>
                  <a:gd name="connsiteY63" fmla="*/ 212503 h 347567"/>
                  <a:gd name="connsiteX64" fmla="*/ 685610 w 3285173"/>
                  <a:gd name="connsiteY64" fmla="*/ 212503 h 347567"/>
                  <a:gd name="connsiteX65" fmla="*/ 685610 w 3285173"/>
                  <a:gd name="connsiteY65" fmla="*/ 218694 h 347567"/>
                  <a:gd name="connsiteX66" fmla="*/ 719328 w 3285173"/>
                  <a:gd name="connsiteY66" fmla="*/ 218694 h 347567"/>
                  <a:gd name="connsiteX67" fmla="*/ 719328 w 3285173"/>
                  <a:gd name="connsiteY67" fmla="*/ 224790 h 347567"/>
                  <a:gd name="connsiteX68" fmla="*/ 725615 w 3285173"/>
                  <a:gd name="connsiteY68" fmla="*/ 224790 h 347567"/>
                  <a:gd name="connsiteX69" fmla="*/ 725615 w 3285173"/>
                  <a:gd name="connsiteY69" fmla="*/ 230886 h 347567"/>
                  <a:gd name="connsiteX70" fmla="*/ 740283 w 3285173"/>
                  <a:gd name="connsiteY70" fmla="*/ 230886 h 347567"/>
                  <a:gd name="connsiteX71" fmla="*/ 740283 w 3285173"/>
                  <a:gd name="connsiteY71" fmla="*/ 236982 h 347567"/>
                  <a:gd name="connsiteX72" fmla="*/ 752951 w 3285173"/>
                  <a:gd name="connsiteY72" fmla="*/ 236982 h 347567"/>
                  <a:gd name="connsiteX73" fmla="*/ 752951 w 3285173"/>
                  <a:gd name="connsiteY73" fmla="*/ 243173 h 347567"/>
                  <a:gd name="connsiteX74" fmla="*/ 778193 w 3285173"/>
                  <a:gd name="connsiteY74" fmla="*/ 243173 h 347567"/>
                  <a:gd name="connsiteX75" fmla="*/ 778193 w 3285173"/>
                  <a:gd name="connsiteY75" fmla="*/ 249269 h 347567"/>
                  <a:gd name="connsiteX76" fmla="*/ 1007459 w 3285173"/>
                  <a:gd name="connsiteY76" fmla="*/ 249269 h 347567"/>
                  <a:gd name="connsiteX77" fmla="*/ 1007459 w 3285173"/>
                  <a:gd name="connsiteY77" fmla="*/ 255461 h 347567"/>
                  <a:gd name="connsiteX78" fmla="*/ 1120997 w 3285173"/>
                  <a:gd name="connsiteY78" fmla="*/ 255461 h 347567"/>
                  <a:gd name="connsiteX79" fmla="*/ 1120997 w 3285173"/>
                  <a:gd name="connsiteY79" fmla="*/ 261652 h 347567"/>
                  <a:gd name="connsiteX80" fmla="*/ 1390174 w 3285173"/>
                  <a:gd name="connsiteY80" fmla="*/ 261652 h 347567"/>
                  <a:gd name="connsiteX81" fmla="*/ 1390174 w 3285173"/>
                  <a:gd name="connsiteY81" fmla="*/ 267938 h 347567"/>
                  <a:gd name="connsiteX82" fmla="*/ 1463802 w 3285173"/>
                  <a:gd name="connsiteY82" fmla="*/ 267938 h 347567"/>
                  <a:gd name="connsiteX83" fmla="*/ 1463802 w 3285173"/>
                  <a:gd name="connsiteY83" fmla="*/ 274225 h 347567"/>
                  <a:gd name="connsiteX84" fmla="*/ 1543717 w 3285173"/>
                  <a:gd name="connsiteY84" fmla="*/ 274225 h 347567"/>
                  <a:gd name="connsiteX85" fmla="*/ 1543717 w 3285173"/>
                  <a:gd name="connsiteY85" fmla="*/ 280511 h 347567"/>
                  <a:gd name="connsiteX86" fmla="*/ 1705642 w 3285173"/>
                  <a:gd name="connsiteY86" fmla="*/ 280511 h 347567"/>
                  <a:gd name="connsiteX87" fmla="*/ 1705642 w 3285173"/>
                  <a:gd name="connsiteY87" fmla="*/ 286988 h 347567"/>
                  <a:gd name="connsiteX88" fmla="*/ 1722501 w 3285173"/>
                  <a:gd name="connsiteY88" fmla="*/ 286988 h 347567"/>
                  <a:gd name="connsiteX89" fmla="*/ 1722501 w 3285173"/>
                  <a:gd name="connsiteY89" fmla="*/ 293370 h 347567"/>
                  <a:gd name="connsiteX90" fmla="*/ 1840325 w 3285173"/>
                  <a:gd name="connsiteY90" fmla="*/ 293370 h 347567"/>
                  <a:gd name="connsiteX91" fmla="*/ 1840325 w 3285173"/>
                  <a:gd name="connsiteY91" fmla="*/ 299847 h 347567"/>
                  <a:gd name="connsiteX92" fmla="*/ 1932813 w 3285173"/>
                  <a:gd name="connsiteY92" fmla="*/ 299847 h 347567"/>
                  <a:gd name="connsiteX93" fmla="*/ 1932813 w 3285173"/>
                  <a:gd name="connsiteY93" fmla="*/ 306229 h 347567"/>
                  <a:gd name="connsiteX94" fmla="*/ 1951768 w 3285173"/>
                  <a:gd name="connsiteY94" fmla="*/ 306229 h 347567"/>
                  <a:gd name="connsiteX95" fmla="*/ 1951768 w 3285173"/>
                  <a:gd name="connsiteY95" fmla="*/ 312706 h 347567"/>
                  <a:gd name="connsiteX96" fmla="*/ 2805589 w 3285173"/>
                  <a:gd name="connsiteY96" fmla="*/ 312706 h 347567"/>
                  <a:gd name="connsiteX97" fmla="*/ 2805589 w 3285173"/>
                  <a:gd name="connsiteY97" fmla="*/ 347567 h 347567"/>
                  <a:gd name="connsiteX98" fmla="*/ 3285173 w 3285173"/>
                  <a:gd name="connsiteY98" fmla="*/ 347567 h 347567"/>
                  <a:gd name="connsiteX0" fmla="*/ 0 w 3278886"/>
                  <a:gd name="connsiteY0" fmla="*/ 0 h 335375"/>
                  <a:gd name="connsiteX1" fmla="*/ 18954 w 3278886"/>
                  <a:gd name="connsiteY1" fmla="*/ 0 h 335375"/>
                  <a:gd name="connsiteX2" fmla="*/ 18954 w 3278886"/>
                  <a:gd name="connsiteY2" fmla="*/ 6001 h 335375"/>
                  <a:gd name="connsiteX3" fmla="*/ 27336 w 3278886"/>
                  <a:gd name="connsiteY3" fmla="*/ 6001 h 335375"/>
                  <a:gd name="connsiteX4" fmla="*/ 27336 w 3278886"/>
                  <a:gd name="connsiteY4" fmla="*/ 12097 h 335375"/>
                  <a:gd name="connsiteX5" fmla="*/ 40005 w 3278886"/>
                  <a:gd name="connsiteY5" fmla="*/ 12097 h 335375"/>
                  <a:gd name="connsiteX6" fmla="*/ 40005 w 3278886"/>
                  <a:gd name="connsiteY6" fmla="*/ 18193 h 335375"/>
                  <a:gd name="connsiteX7" fmla="*/ 56864 w 3278886"/>
                  <a:gd name="connsiteY7" fmla="*/ 18193 h 335375"/>
                  <a:gd name="connsiteX8" fmla="*/ 56864 w 3278886"/>
                  <a:gd name="connsiteY8" fmla="*/ 24194 h 335375"/>
                  <a:gd name="connsiteX9" fmla="*/ 84201 w 3278886"/>
                  <a:gd name="connsiteY9" fmla="*/ 24194 h 335375"/>
                  <a:gd name="connsiteX10" fmla="*/ 84201 w 3278886"/>
                  <a:gd name="connsiteY10" fmla="*/ 30290 h 335375"/>
                  <a:gd name="connsiteX11" fmla="*/ 86296 w 3278886"/>
                  <a:gd name="connsiteY11" fmla="*/ 30290 h 335375"/>
                  <a:gd name="connsiteX12" fmla="*/ 86296 w 3278886"/>
                  <a:gd name="connsiteY12" fmla="*/ 36386 h 335375"/>
                  <a:gd name="connsiteX13" fmla="*/ 96773 w 3278886"/>
                  <a:gd name="connsiteY13" fmla="*/ 36386 h 335375"/>
                  <a:gd name="connsiteX14" fmla="*/ 96773 w 3278886"/>
                  <a:gd name="connsiteY14" fmla="*/ 42386 h 335375"/>
                  <a:gd name="connsiteX15" fmla="*/ 103060 w 3278886"/>
                  <a:gd name="connsiteY15" fmla="*/ 42386 h 335375"/>
                  <a:gd name="connsiteX16" fmla="*/ 103060 w 3278886"/>
                  <a:gd name="connsiteY16" fmla="*/ 54578 h 335375"/>
                  <a:gd name="connsiteX17" fmla="*/ 111537 w 3278886"/>
                  <a:gd name="connsiteY17" fmla="*/ 54578 h 335375"/>
                  <a:gd name="connsiteX18" fmla="*/ 111537 w 3278886"/>
                  <a:gd name="connsiteY18" fmla="*/ 60579 h 335375"/>
                  <a:gd name="connsiteX19" fmla="*/ 117824 w 3278886"/>
                  <a:gd name="connsiteY19" fmla="*/ 60579 h 335375"/>
                  <a:gd name="connsiteX20" fmla="*/ 117824 w 3278886"/>
                  <a:gd name="connsiteY20" fmla="*/ 72771 h 335375"/>
                  <a:gd name="connsiteX21" fmla="*/ 119919 w 3278886"/>
                  <a:gd name="connsiteY21" fmla="*/ 72771 h 335375"/>
                  <a:gd name="connsiteX22" fmla="*/ 119919 w 3278886"/>
                  <a:gd name="connsiteY22" fmla="*/ 78867 h 335375"/>
                  <a:gd name="connsiteX23" fmla="*/ 132492 w 3278886"/>
                  <a:gd name="connsiteY23" fmla="*/ 78867 h 335375"/>
                  <a:gd name="connsiteX24" fmla="*/ 132492 w 3278886"/>
                  <a:gd name="connsiteY24" fmla="*/ 84868 h 335375"/>
                  <a:gd name="connsiteX25" fmla="*/ 155638 w 3278886"/>
                  <a:gd name="connsiteY25" fmla="*/ 84868 h 335375"/>
                  <a:gd name="connsiteX26" fmla="*/ 155638 w 3278886"/>
                  <a:gd name="connsiteY26" fmla="*/ 90964 h 335375"/>
                  <a:gd name="connsiteX27" fmla="*/ 162020 w 3278886"/>
                  <a:gd name="connsiteY27" fmla="*/ 90964 h 335375"/>
                  <a:gd name="connsiteX28" fmla="*/ 162020 w 3278886"/>
                  <a:gd name="connsiteY28" fmla="*/ 97060 h 335375"/>
                  <a:gd name="connsiteX29" fmla="*/ 170402 w 3278886"/>
                  <a:gd name="connsiteY29" fmla="*/ 97060 h 335375"/>
                  <a:gd name="connsiteX30" fmla="*/ 170402 w 3278886"/>
                  <a:gd name="connsiteY30" fmla="*/ 103061 h 335375"/>
                  <a:gd name="connsiteX31" fmla="*/ 178784 w 3278886"/>
                  <a:gd name="connsiteY31" fmla="*/ 103061 h 335375"/>
                  <a:gd name="connsiteX32" fmla="*/ 178784 w 3278886"/>
                  <a:gd name="connsiteY32" fmla="*/ 109157 h 335375"/>
                  <a:gd name="connsiteX33" fmla="*/ 182975 w 3278886"/>
                  <a:gd name="connsiteY33" fmla="*/ 109157 h 335375"/>
                  <a:gd name="connsiteX34" fmla="*/ 182975 w 3278886"/>
                  <a:gd name="connsiteY34" fmla="*/ 115253 h 335375"/>
                  <a:gd name="connsiteX35" fmla="*/ 256603 w 3278886"/>
                  <a:gd name="connsiteY35" fmla="*/ 115253 h 335375"/>
                  <a:gd name="connsiteX36" fmla="*/ 256603 w 3278886"/>
                  <a:gd name="connsiteY36" fmla="*/ 121253 h 335375"/>
                  <a:gd name="connsiteX37" fmla="*/ 277653 w 3278886"/>
                  <a:gd name="connsiteY37" fmla="*/ 121253 h 335375"/>
                  <a:gd name="connsiteX38" fmla="*/ 277653 w 3278886"/>
                  <a:gd name="connsiteY38" fmla="*/ 127349 h 335375"/>
                  <a:gd name="connsiteX39" fmla="*/ 283940 w 3278886"/>
                  <a:gd name="connsiteY39" fmla="*/ 127349 h 335375"/>
                  <a:gd name="connsiteX40" fmla="*/ 283940 w 3278886"/>
                  <a:gd name="connsiteY40" fmla="*/ 133445 h 335375"/>
                  <a:gd name="connsiteX41" fmla="*/ 326040 w 3278886"/>
                  <a:gd name="connsiteY41" fmla="*/ 133445 h 335375"/>
                  <a:gd name="connsiteX42" fmla="*/ 326040 w 3278886"/>
                  <a:gd name="connsiteY42" fmla="*/ 139446 h 335375"/>
                  <a:gd name="connsiteX43" fmla="*/ 340709 w 3278886"/>
                  <a:gd name="connsiteY43" fmla="*/ 139446 h 335375"/>
                  <a:gd name="connsiteX44" fmla="*/ 340709 w 3278886"/>
                  <a:gd name="connsiteY44" fmla="*/ 145542 h 335375"/>
                  <a:gd name="connsiteX45" fmla="*/ 370236 w 3278886"/>
                  <a:gd name="connsiteY45" fmla="*/ 145542 h 335375"/>
                  <a:gd name="connsiteX46" fmla="*/ 370236 w 3278886"/>
                  <a:gd name="connsiteY46" fmla="*/ 151638 h 335375"/>
                  <a:gd name="connsiteX47" fmla="*/ 372332 w 3278886"/>
                  <a:gd name="connsiteY47" fmla="*/ 151638 h 335375"/>
                  <a:gd name="connsiteX48" fmla="*/ 372332 w 3278886"/>
                  <a:gd name="connsiteY48" fmla="*/ 157639 h 335375"/>
                  <a:gd name="connsiteX49" fmla="*/ 395382 w 3278886"/>
                  <a:gd name="connsiteY49" fmla="*/ 157639 h 335375"/>
                  <a:gd name="connsiteX50" fmla="*/ 395382 w 3278886"/>
                  <a:gd name="connsiteY50" fmla="*/ 163735 h 335375"/>
                  <a:gd name="connsiteX51" fmla="*/ 408051 w 3278886"/>
                  <a:gd name="connsiteY51" fmla="*/ 163735 h 335375"/>
                  <a:gd name="connsiteX52" fmla="*/ 408051 w 3278886"/>
                  <a:gd name="connsiteY52" fmla="*/ 169831 h 335375"/>
                  <a:gd name="connsiteX53" fmla="*/ 443769 w 3278886"/>
                  <a:gd name="connsiteY53" fmla="*/ 169831 h 335375"/>
                  <a:gd name="connsiteX54" fmla="*/ 443769 w 3278886"/>
                  <a:gd name="connsiteY54" fmla="*/ 175927 h 335375"/>
                  <a:gd name="connsiteX55" fmla="*/ 559498 w 3278886"/>
                  <a:gd name="connsiteY55" fmla="*/ 175927 h 335375"/>
                  <a:gd name="connsiteX56" fmla="*/ 559498 w 3278886"/>
                  <a:gd name="connsiteY56" fmla="*/ 181928 h 335375"/>
                  <a:gd name="connsiteX57" fmla="*/ 597312 w 3278886"/>
                  <a:gd name="connsiteY57" fmla="*/ 181928 h 335375"/>
                  <a:gd name="connsiteX58" fmla="*/ 597312 w 3278886"/>
                  <a:gd name="connsiteY58" fmla="*/ 188119 h 335375"/>
                  <a:gd name="connsiteX59" fmla="*/ 649890 w 3278886"/>
                  <a:gd name="connsiteY59" fmla="*/ 188119 h 335375"/>
                  <a:gd name="connsiteX60" fmla="*/ 649890 w 3278886"/>
                  <a:gd name="connsiteY60" fmla="*/ 194215 h 335375"/>
                  <a:gd name="connsiteX61" fmla="*/ 668845 w 3278886"/>
                  <a:gd name="connsiteY61" fmla="*/ 194215 h 335375"/>
                  <a:gd name="connsiteX62" fmla="*/ 668845 w 3278886"/>
                  <a:gd name="connsiteY62" fmla="*/ 200311 h 335375"/>
                  <a:gd name="connsiteX63" fmla="*/ 679323 w 3278886"/>
                  <a:gd name="connsiteY63" fmla="*/ 200311 h 335375"/>
                  <a:gd name="connsiteX64" fmla="*/ 679323 w 3278886"/>
                  <a:gd name="connsiteY64" fmla="*/ 206502 h 335375"/>
                  <a:gd name="connsiteX65" fmla="*/ 713041 w 3278886"/>
                  <a:gd name="connsiteY65" fmla="*/ 206502 h 335375"/>
                  <a:gd name="connsiteX66" fmla="*/ 713041 w 3278886"/>
                  <a:gd name="connsiteY66" fmla="*/ 212598 h 335375"/>
                  <a:gd name="connsiteX67" fmla="*/ 719328 w 3278886"/>
                  <a:gd name="connsiteY67" fmla="*/ 212598 h 335375"/>
                  <a:gd name="connsiteX68" fmla="*/ 719328 w 3278886"/>
                  <a:gd name="connsiteY68" fmla="*/ 218694 h 335375"/>
                  <a:gd name="connsiteX69" fmla="*/ 733996 w 3278886"/>
                  <a:gd name="connsiteY69" fmla="*/ 218694 h 335375"/>
                  <a:gd name="connsiteX70" fmla="*/ 733996 w 3278886"/>
                  <a:gd name="connsiteY70" fmla="*/ 224790 h 335375"/>
                  <a:gd name="connsiteX71" fmla="*/ 746664 w 3278886"/>
                  <a:gd name="connsiteY71" fmla="*/ 224790 h 335375"/>
                  <a:gd name="connsiteX72" fmla="*/ 746664 w 3278886"/>
                  <a:gd name="connsiteY72" fmla="*/ 230981 h 335375"/>
                  <a:gd name="connsiteX73" fmla="*/ 771906 w 3278886"/>
                  <a:gd name="connsiteY73" fmla="*/ 230981 h 335375"/>
                  <a:gd name="connsiteX74" fmla="*/ 771906 w 3278886"/>
                  <a:gd name="connsiteY74" fmla="*/ 237077 h 335375"/>
                  <a:gd name="connsiteX75" fmla="*/ 1001172 w 3278886"/>
                  <a:gd name="connsiteY75" fmla="*/ 237077 h 335375"/>
                  <a:gd name="connsiteX76" fmla="*/ 1001172 w 3278886"/>
                  <a:gd name="connsiteY76" fmla="*/ 243269 h 335375"/>
                  <a:gd name="connsiteX77" fmla="*/ 1114710 w 3278886"/>
                  <a:gd name="connsiteY77" fmla="*/ 243269 h 335375"/>
                  <a:gd name="connsiteX78" fmla="*/ 1114710 w 3278886"/>
                  <a:gd name="connsiteY78" fmla="*/ 249460 h 335375"/>
                  <a:gd name="connsiteX79" fmla="*/ 1383887 w 3278886"/>
                  <a:gd name="connsiteY79" fmla="*/ 249460 h 335375"/>
                  <a:gd name="connsiteX80" fmla="*/ 1383887 w 3278886"/>
                  <a:gd name="connsiteY80" fmla="*/ 255746 h 335375"/>
                  <a:gd name="connsiteX81" fmla="*/ 1457515 w 3278886"/>
                  <a:gd name="connsiteY81" fmla="*/ 255746 h 335375"/>
                  <a:gd name="connsiteX82" fmla="*/ 1457515 w 3278886"/>
                  <a:gd name="connsiteY82" fmla="*/ 262033 h 335375"/>
                  <a:gd name="connsiteX83" fmla="*/ 1537430 w 3278886"/>
                  <a:gd name="connsiteY83" fmla="*/ 262033 h 335375"/>
                  <a:gd name="connsiteX84" fmla="*/ 1537430 w 3278886"/>
                  <a:gd name="connsiteY84" fmla="*/ 268319 h 335375"/>
                  <a:gd name="connsiteX85" fmla="*/ 1699355 w 3278886"/>
                  <a:gd name="connsiteY85" fmla="*/ 268319 h 335375"/>
                  <a:gd name="connsiteX86" fmla="*/ 1699355 w 3278886"/>
                  <a:gd name="connsiteY86" fmla="*/ 274796 h 335375"/>
                  <a:gd name="connsiteX87" fmla="*/ 1716214 w 3278886"/>
                  <a:gd name="connsiteY87" fmla="*/ 274796 h 335375"/>
                  <a:gd name="connsiteX88" fmla="*/ 1716214 w 3278886"/>
                  <a:gd name="connsiteY88" fmla="*/ 281178 h 335375"/>
                  <a:gd name="connsiteX89" fmla="*/ 1834038 w 3278886"/>
                  <a:gd name="connsiteY89" fmla="*/ 281178 h 335375"/>
                  <a:gd name="connsiteX90" fmla="*/ 1834038 w 3278886"/>
                  <a:gd name="connsiteY90" fmla="*/ 287655 h 335375"/>
                  <a:gd name="connsiteX91" fmla="*/ 1926526 w 3278886"/>
                  <a:gd name="connsiteY91" fmla="*/ 287655 h 335375"/>
                  <a:gd name="connsiteX92" fmla="*/ 1926526 w 3278886"/>
                  <a:gd name="connsiteY92" fmla="*/ 294037 h 335375"/>
                  <a:gd name="connsiteX93" fmla="*/ 1945481 w 3278886"/>
                  <a:gd name="connsiteY93" fmla="*/ 294037 h 335375"/>
                  <a:gd name="connsiteX94" fmla="*/ 1945481 w 3278886"/>
                  <a:gd name="connsiteY94" fmla="*/ 300514 h 335375"/>
                  <a:gd name="connsiteX95" fmla="*/ 2799302 w 3278886"/>
                  <a:gd name="connsiteY95" fmla="*/ 300514 h 335375"/>
                  <a:gd name="connsiteX96" fmla="*/ 2799302 w 3278886"/>
                  <a:gd name="connsiteY96" fmla="*/ 335375 h 335375"/>
                  <a:gd name="connsiteX97" fmla="*/ 3278886 w 3278886"/>
                  <a:gd name="connsiteY97" fmla="*/ 335375 h 335375"/>
                  <a:gd name="connsiteX0" fmla="*/ 0 w 3259932"/>
                  <a:gd name="connsiteY0" fmla="*/ 0 h 335375"/>
                  <a:gd name="connsiteX1" fmla="*/ 0 w 3259932"/>
                  <a:gd name="connsiteY1" fmla="*/ 6001 h 335375"/>
                  <a:gd name="connsiteX2" fmla="*/ 8382 w 3259932"/>
                  <a:gd name="connsiteY2" fmla="*/ 6001 h 335375"/>
                  <a:gd name="connsiteX3" fmla="*/ 8382 w 3259932"/>
                  <a:gd name="connsiteY3" fmla="*/ 12097 h 335375"/>
                  <a:gd name="connsiteX4" fmla="*/ 21051 w 3259932"/>
                  <a:gd name="connsiteY4" fmla="*/ 12097 h 335375"/>
                  <a:gd name="connsiteX5" fmla="*/ 21051 w 3259932"/>
                  <a:gd name="connsiteY5" fmla="*/ 18193 h 335375"/>
                  <a:gd name="connsiteX6" fmla="*/ 37910 w 3259932"/>
                  <a:gd name="connsiteY6" fmla="*/ 18193 h 335375"/>
                  <a:gd name="connsiteX7" fmla="*/ 37910 w 3259932"/>
                  <a:gd name="connsiteY7" fmla="*/ 24194 h 335375"/>
                  <a:gd name="connsiteX8" fmla="*/ 65247 w 3259932"/>
                  <a:gd name="connsiteY8" fmla="*/ 24194 h 335375"/>
                  <a:gd name="connsiteX9" fmla="*/ 65247 w 3259932"/>
                  <a:gd name="connsiteY9" fmla="*/ 30290 h 335375"/>
                  <a:gd name="connsiteX10" fmla="*/ 67342 w 3259932"/>
                  <a:gd name="connsiteY10" fmla="*/ 30290 h 335375"/>
                  <a:gd name="connsiteX11" fmla="*/ 67342 w 3259932"/>
                  <a:gd name="connsiteY11" fmla="*/ 36386 h 335375"/>
                  <a:gd name="connsiteX12" fmla="*/ 77819 w 3259932"/>
                  <a:gd name="connsiteY12" fmla="*/ 36386 h 335375"/>
                  <a:gd name="connsiteX13" fmla="*/ 77819 w 3259932"/>
                  <a:gd name="connsiteY13" fmla="*/ 42386 h 335375"/>
                  <a:gd name="connsiteX14" fmla="*/ 84106 w 3259932"/>
                  <a:gd name="connsiteY14" fmla="*/ 42386 h 335375"/>
                  <a:gd name="connsiteX15" fmla="*/ 84106 w 3259932"/>
                  <a:gd name="connsiteY15" fmla="*/ 54578 h 335375"/>
                  <a:gd name="connsiteX16" fmla="*/ 92583 w 3259932"/>
                  <a:gd name="connsiteY16" fmla="*/ 54578 h 335375"/>
                  <a:gd name="connsiteX17" fmla="*/ 92583 w 3259932"/>
                  <a:gd name="connsiteY17" fmla="*/ 60579 h 335375"/>
                  <a:gd name="connsiteX18" fmla="*/ 98870 w 3259932"/>
                  <a:gd name="connsiteY18" fmla="*/ 60579 h 335375"/>
                  <a:gd name="connsiteX19" fmla="*/ 98870 w 3259932"/>
                  <a:gd name="connsiteY19" fmla="*/ 72771 h 335375"/>
                  <a:gd name="connsiteX20" fmla="*/ 100965 w 3259932"/>
                  <a:gd name="connsiteY20" fmla="*/ 72771 h 335375"/>
                  <a:gd name="connsiteX21" fmla="*/ 100965 w 3259932"/>
                  <a:gd name="connsiteY21" fmla="*/ 78867 h 335375"/>
                  <a:gd name="connsiteX22" fmla="*/ 113538 w 3259932"/>
                  <a:gd name="connsiteY22" fmla="*/ 78867 h 335375"/>
                  <a:gd name="connsiteX23" fmla="*/ 113538 w 3259932"/>
                  <a:gd name="connsiteY23" fmla="*/ 84868 h 335375"/>
                  <a:gd name="connsiteX24" fmla="*/ 136684 w 3259932"/>
                  <a:gd name="connsiteY24" fmla="*/ 84868 h 335375"/>
                  <a:gd name="connsiteX25" fmla="*/ 136684 w 3259932"/>
                  <a:gd name="connsiteY25" fmla="*/ 90964 h 335375"/>
                  <a:gd name="connsiteX26" fmla="*/ 143066 w 3259932"/>
                  <a:gd name="connsiteY26" fmla="*/ 90964 h 335375"/>
                  <a:gd name="connsiteX27" fmla="*/ 143066 w 3259932"/>
                  <a:gd name="connsiteY27" fmla="*/ 97060 h 335375"/>
                  <a:gd name="connsiteX28" fmla="*/ 151448 w 3259932"/>
                  <a:gd name="connsiteY28" fmla="*/ 97060 h 335375"/>
                  <a:gd name="connsiteX29" fmla="*/ 151448 w 3259932"/>
                  <a:gd name="connsiteY29" fmla="*/ 103061 h 335375"/>
                  <a:gd name="connsiteX30" fmla="*/ 159830 w 3259932"/>
                  <a:gd name="connsiteY30" fmla="*/ 103061 h 335375"/>
                  <a:gd name="connsiteX31" fmla="*/ 159830 w 3259932"/>
                  <a:gd name="connsiteY31" fmla="*/ 109157 h 335375"/>
                  <a:gd name="connsiteX32" fmla="*/ 164021 w 3259932"/>
                  <a:gd name="connsiteY32" fmla="*/ 109157 h 335375"/>
                  <a:gd name="connsiteX33" fmla="*/ 164021 w 3259932"/>
                  <a:gd name="connsiteY33" fmla="*/ 115253 h 335375"/>
                  <a:gd name="connsiteX34" fmla="*/ 237649 w 3259932"/>
                  <a:gd name="connsiteY34" fmla="*/ 115253 h 335375"/>
                  <a:gd name="connsiteX35" fmla="*/ 237649 w 3259932"/>
                  <a:gd name="connsiteY35" fmla="*/ 121253 h 335375"/>
                  <a:gd name="connsiteX36" fmla="*/ 258699 w 3259932"/>
                  <a:gd name="connsiteY36" fmla="*/ 121253 h 335375"/>
                  <a:gd name="connsiteX37" fmla="*/ 258699 w 3259932"/>
                  <a:gd name="connsiteY37" fmla="*/ 127349 h 335375"/>
                  <a:gd name="connsiteX38" fmla="*/ 264986 w 3259932"/>
                  <a:gd name="connsiteY38" fmla="*/ 127349 h 335375"/>
                  <a:gd name="connsiteX39" fmla="*/ 264986 w 3259932"/>
                  <a:gd name="connsiteY39" fmla="*/ 133445 h 335375"/>
                  <a:gd name="connsiteX40" fmla="*/ 307086 w 3259932"/>
                  <a:gd name="connsiteY40" fmla="*/ 133445 h 335375"/>
                  <a:gd name="connsiteX41" fmla="*/ 307086 w 3259932"/>
                  <a:gd name="connsiteY41" fmla="*/ 139446 h 335375"/>
                  <a:gd name="connsiteX42" fmla="*/ 321755 w 3259932"/>
                  <a:gd name="connsiteY42" fmla="*/ 139446 h 335375"/>
                  <a:gd name="connsiteX43" fmla="*/ 321755 w 3259932"/>
                  <a:gd name="connsiteY43" fmla="*/ 145542 h 335375"/>
                  <a:gd name="connsiteX44" fmla="*/ 351282 w 3259932"/>
                  <a:gd name="connsiteY44" fmla="*/ 145542 h 335375"/>
                  <a:gd name="connsiteX45" fmla="*/ 351282 w 3259932"/>
                  <a:gd name="connsiteY45" fmla="*/ 151638 h 335375"/>
                  <a:gd name="connsiteX46" fmla="*/ 353378 w 3259932"/>
                  <a:gd name="connsiteY46" fmla="*/ 151638 h 335375"/>
                  <a:gd name="connsiteX47" fmla="*/ 353378 w 3259932"/>
                  <a:gd name="connsiteY47" fmla="*/ 157639 h 335375"/>
                  <a:gd name="connsiteX48" fmla="*/ 376428 w 3259932"/>
                  <a:gd name="connsiteY48" fmla="*/ 157639 h 335375"/>
                  <a:gd name="connsiteX49" fmla="*/ 376428 w 3259932"/>
                  <a:gd name="connsiteY49" fmla="*/ 163735 h 335375"/>
                  <a:gd name="connsiteX50" fmla="*/ 389097 w 3259932"/>
                  <a:gd name="connsiteY50" fmla="*/ 163735 h 335375"/>
                  <a:gd name="connsiteX51" fmla="*/ 389097 w 3259932"/>
                  <a:gd name="connsiteY51" fmla="*/ 169831 h 335375"/>
                  <a:gd name="connsiteX52" fmla="*/ 424815 w 3259932"/>
                  <a:gd name="connsiteY52" fmla="*/ 169831 h 335375"/>
                  <a:gd name="connsiteX53" fmla="*/ 424815 w 3259932"/>
                  <a:gd name="connsiteY53" fmla="*/ 175927 h 335375"/>
                  <a:gd name="connsiteX54" fmla="*/ 540544 w 3259932"/>
                  <a:gd name="connsiteY54" fmla="*/ 175927 h 335375"/>
                  <a:gd name="connsiteX55" fmla="*/ 540544 w 3259932"/>
                  <a:gd name="connsiteY55" fmla="*/ 181928 h 335375"/>
                  <a:gd name="connsiteX56" fmla="*/ 578358 w 3259932"/>
                  <a:gd name="connsiteY56" fmla="*/ 181928 h 335375"/>
                  <a:gd name="connsiteX57" fmla="*/ 578358 w 3259932"/>
                  <a:gd name="connsiteY57" fmla="*/ 188119 h 335375"/>
                  <a:gd name="connsiteX58" fmla="*/ 630936 w 3259932"/>
                  <a:gd name="connsiteY58" fmla="*/ 188119 h 335375"/>
                  <a:gd name="connsiteX59" fmla="*/ 630936 w 3259932"/>
                  <a:gd name="connsiteY59" fmla="*/ 194215 h 335375"/>
                  <a:gd name="connsiteX60" fmla="*/ 649891 w 3259932"/>
                  <a:gd name="connsiteY60" fmla="*/ 194215 h 335375"/>
                  <a:gd name="connsiteX61" fmla="*/ 649891 w 3259932"/>
                  <a:gd name="connsiteY61" fmla="*/ 200311 h 335375"/>
                  <a:gd name="connsiteX62" fmla="*/ 660369 w 3259932"/>
                  <a:gd name="connsiteY62" fmla="*/ 200311 h 335375"/>
                  <a:gd name="connsiteX63" fmla="*/ 660369 w 3259932"/>
                  <a:gd name="connsiteY63" fmla="*/ 206502 h 335375"/>
                  <a:gd name="connsiteX64" fmla="*/ 694087 w 3259932"/>
                  <a:gd name="connsiteY64" fmla="*/ 206502 h 335375"/>
                  <a:gd name="connsiteX65" fmla="*/ 694087 w 3259932"/>
                  <a:gd name="connsiteY65" fmla="*/ 212598 h 335375"/>
                  <a:gd name="connsiteX66" fmla="*/ 700374 w 3259932"/>
                  <a:gd name="connsiteY66" fmla="*/ 212598 h 335375"/>
                  <a:gd name="connsiteX67" fmla="*/ 700374 w 3259932"/>
                  <a:gd name="connsiteY67" fmla="*/ 218694 h 335375"/>
                  <a:gd name="connsiteX68" fmla="*/ 715042 w 3259932"/>
                  <a:gd name="connsiteY68" fmla="*/ 218694 h 335375"/>
                  <a:gd name="connsiteX69" fmla="*/ 715042 w 3259932"/>
                  <a:gd name="connsiteY69" fmla="*/ 224790 h 335375"/>
                  <a:gd name="connsiteX70" fmla="*/ 727710 w 3259932"/>
                  <a:gd name="connsiteY70" fmla="*/ 224790 h 335375"/>
                  <a:gd name="connsiteX71" fmla="*/ 727710 w 3259932"/>
                  <a:gd name="connsiteY71" fmla="*/ 230981 h 335375"/>
                  <a:gd name="connsiteX72" fmla="*/ 752952 w 3259932"/>
                  <a:gd name="connsiteY72" fmla="*/ 230981 h 335375"/>
                  <a:gd name="connsiteX73" fmla="*/ 752952 w 3259932"/>
                  <a:gd name="connsiteY73" fmla="*/ 237077 h 335375"/>
                  <a:gd name="connsiteX74" fmla="*/ 982218 w 3259932"/>
                  <a:gd name="connsiteY74" fmla="*/ 237077 h 335375"/>
                  <a:gd name="connsiteX75" fmla="*/ 982218 w 3259932"/>
                  <a:gd name="connsiteY75" fmla="*/ 243269 h 335375"/>
                  <a:gd name="connsiteX76" fmla="*/ 1095756 w 3259932"/>
                  <a:gd name="connsiteY76" fmla="*/ 243269 h 335375"/>
                  <a:gd name="connsiteX77" fmla="*/ 1095756 w 3259932"/>
                  <a:gd name="connsiteY77" fmla="*/ 249460 h 335375"/>
                  <a:gd name="connsiteX78" fmla="*/ 1364933 w 3259932"/>
                  <a:gd name="connsiteY78" fmla="*/ 249460 h 335375"/>
                  <a:gd name="connsiteX79" fmla="*/ 1364933 w 3259932"/>
                  <a:gd name="connsiteY79" fmla="*/ 255746 h 335375"/>
                  <a:gd name="connsiteX80" fmla="*/ 1438561 w 3259932"/>
                  <a:gd name="connsiteY80" fmla="*/ 255746 h 335375"/>
                  <a:gd name="connsiteX81" fmla="*/ 1438561 w 3259932"/>
                  <a:gd name="connsiteY81" fmla="*/ 262033 h 335375"/>
                  <a:gd name="connsiteX82" fmla="*/ 1518476 w 3259932"/>
                  <a:gd name="connsiteY82" fmla="*/ 262033 h 335375"/>
                  <a:gd name="connsiteX83" fmla="*/ 1518476 w 3259932"/>
                  <a:gd name="connsiteY83" fmla="*/ 268319 h 335375"/>
                  <a:gd name="connsiteX84" fmla="*/ 1680401 w 3259932"/>
                  <a:gd name="connsiteY84" fmla="*/ 268319 h 335375"/>
                  <a:gd name="connsiteX85" fmla="*/ 1680401 w 3259932"/>
                  <a:gd name="connsiteY85" fmla="*/ 274796 h 335375"/>
                  <a:gd name="connsiteX86" fmla="*/ 1697260 w 3259932"/>
                  <a:gd name="connsiteY86" fmla="*/ 274796 h 335375"/>
                  <a:gd name="connsiteX87" fmla="*/ 1697260 w 3259932"/>
                  <a:gd name="connsiteY87" fmla="*/ 281178 h 335375"/>
                  <a:gd name="connsiteX88" fmla="*/ 1815084 w 3259932"/>
                  <a:gd name="connsiteY88" fmla="*/ 281178 h 335375"/>
                  <a:gd name="connsiteX89" fmla="*/ 1815084 w 3259932"/>
                  <a:gd name="connsiteY89" fmla="*/ 287655 h 335375"/>
                  <a:gd name="connsiteX90" fmla="*/ 1907572 w 3259932"/>
                  <a:gd name="connsiteY90" fmla="*/ 287655 h 335375"/>
                  <a:gd name="connsiteX91" fmla="*/ 1907572 w 3259932"/>
                  <a:gd name="connsiteY91" fmla="*/ 294037 h 335375"/>
                  <a:gd name="connsiteX92" fmla="*/ 1926527 w 3259932"/>
                  <a:gd name="connsiteY92" fmla="*/ 294037 h 335375"/>
                  <a:gd name="connsiteX93" fmla="*/ 1926527 w 3259932"/>
                  <a:gd name="connsiteY93" fmla="*/ 300514 h 335375"/>
                  <a:gd name="connsiteX94" fmla="*/ 2780348 w 3259932"/>
                  <a:gd name="connsiteY94" fmla="*/ 300514 h 335375"/>
                  <a:gd name="connsiteX95" fmla="*/ 2780348 w 3259932"/>
                  <a:gd name="connsiteY95" fmla="*/ 335375 h 335375"/>
                  <a:gd name="connsiteX96" fmla="*/ 3259932 w 3259932"/>
                  <a:gd name="connsiteY96" fmla="*/ 335375 h 335375"/>
                  <a:gd name="connsiteX0" fmla="*/ 0 w 3259932"/>
                  <a:gd name="connsiteY0" fmla="*/ 0 h 335375"/>
                  <a:gd name="connsiteX1" fmla="*/ 0 w 3259932"/>
                  <a:gd name="connsiteY1" fmla="*/ 6001 h 335375"/>
                  <a:gd name="connsiteX2" fmla="*/ 8382 w 3259932"/>
                  <a:gd name="connsiteY2" fmla="*/ 12097 h 335375"/>
                  <a:gd name="connsiteX3" fmla="*/ 21051 w 3259932"/>
                  <a:gd name="connsiteY3" fmla="*/ 12097 h 335375"/>
                  <a:gd name="connsiteX4" fmla="*/ 21051 w 3259932"/>
                  <a:gd name="connsiteY4" fmla="*/ 18193 h 335375"/>
                  <a:gd name="connsiteX5" fmla="*/ 37910 w 3259932"/>
                  <a:gd name="connsiteY5" fmla="*/ 18193 h 335375"/>
                  <a:gd name="connsiteX6" fmla="*/ 37910 w 3259932"/>
                  <a:gd name="connsiteY6" fmla="*/ 24194 h 335375"/>
                  <a:gd name="connsiteX7" fmla="*/ 65247 w 3259932"/>
                  <a:gd name="connsiteY7" fmla="*/ 24194 h 335375"/>
                  <a:gd name="connsiteX8" fmla="*/ 65247 w 3259932"/>
                  <a:gd name="connsiteY8" fmla="*/ 30290 h 335375"/>
                  <a:gd name="connsiteX9" fmla="*/ 67342 w 3259932"/>
                  <a:gd name="connsiteY9" fmla="*/ 30290 h 335375"/>
                  <a:gd name="connsiteX10" fmla="*/ 67342 w 3259932"/>
                  <a:gd name="connsiteY10" fmla="*/ 36386 h 335375"/>
                  <a:gd name="connsiteX11" fmla="*/ 77819 w 3259932"/>
                  <a:gd name="connsiteY11" fmla="*/ 36386 h 335375"/>
                  <a:gd name="connsiteX12" fmla="*/ 77819 w 3259932"/>
                  <a:gd name="connsiteY12" fmla="*/ 42386 h 335375"/>
                  <a:gd name="connsiteX13" fmla="*/ 84106 w 3259932"/>
                  <a:gd name="connsiteY13" fmla="*/ 42386 h 335375"/>
                  <a:gd name="connsiteX14" fmla="*/ 84106 w 3259932"/>
                  <a:gd name="connsiteY14" fmla="*/ 54578 h 335375"/>
                  <a:gd name="connsiteX15" fmla="*/ 92583 w 3259932"/>
                  <a:gd name="connsiteY15" fmla="*/ 54578 h 335375"/>
                  <a:gd name="connsiteX16" fmla="*/ 92583 w 3259932"/>
                  <a:gd name="connsiteY16" fmla="*/ 60579 h 335375"/>
                  <a:gd name="connsiteX17" fmla="*/ 98870 w 3259932"/>
                  <a:gd name="connsiteY17" fmla="*/ 60579 h 335375"/>
                  <a:gd name="connsiteX18" fmla="*/ 98870 w 3259932"/>
                  <a:gd name="connsiteY18" fmla="*/ 72771 h 335375"/>
                  <a:gd name="connsiteX19" fmla="*/ 100965 w 3259932"/>
                  <a:gd name="connsiteY19" fmla="*/ 72771 h 335375"/>
                  <a:gd name="connsiteX20" fmla="*/ 100965 w 3259932"/>
                  <a:gd name="connsiteY20" fmla="*/ 78867 h 335375"/>
                  <a:gd name="connsiteX21" fmla="*/ 113538 w 3259932"/>
                  <a:gd name="connsiteY21" fmla="*/ 78867 h 335375"/>
                  <a:gd name="connsiteX22" fmla="*/ 113538 w 3259932"/>
                  <a:gd name="connsiteY22" fmla="*/ 84868 h 335375"/>
                  <a:gd name="connsiteX23" fmla="*/ 136684 w 3259932"/>
                  <a:gd name="connsiteY23" fmla="*/ 84868 h 335375"/>
                  <a:gd name="connsiteX24" fmla="*/ 136684 w 3259932"/>
                  <a:gd name="connsiteY24" fmla="*/ 90964 h 335375"/>
                  <a:gd name="connsiteX25" fmla="*/ 143066 w 3259932"/>
                  <a:gd name="connsiteY25" fmla="*/ 90964 h 335375"/>
                  <a:gd name="connsiteX26" fmla="*/ 143066 w 3259932"/>
                  <a:gd name="connsiteY26" fmla="*/ 97060 h 335375"/>
                  <a:gd name="connsiteX27" fmla="*/ 151448 w 3259932"/>
                  <a:gd name="connsiteY27" fmla="*/ 97060 h 335375"/>
                  <a:gd name="connsiteX28" fmla="*/ 151448 w 3259932"/>
                  <a:gd name="connsiteY28" fmla="*/ 103061 h 335375"/>
                  <a:gd name="connsiteX29" fmla="*/ 159830 w 3259932"/>
                  <a:gd name="connsiteY29" fmla="*/ 103061 h 335375"/>
                  <a:gd name="connsiteX30" fmla="*/ 159830 w 3259932"/>
                  <a:gd name="connsiteY30" fmla="*/ 109157 h 335375"/>
                  <a:gd name="connsiteX31" fmla="*/ 164021 w 3259932"/>
                  <a:gd name="connsiteY31" fmla="*/ 109157 h 335375"/>
                  <a:gd name="connsiteX32" fmla="*/ 164021 w 3259932"/>
                  <a:gd name="connsiteY32" fmla="*/ 115253 h 335375"/>
                  <a:gd name="connsiteX33" fmla="*/ 237649 w 3259932"/>
                  <a:gd name="connsiteY33" fmla="*/ 115253 h 335375"/>
                  <a:gd name="connsiteX34" fmla="*/ 237649 w 3259932"/>
                  <a:gd name="connsiteY34" fmla="*/ 121253 h 335375"/>
                  <a:gd name="connsiteX35" fmla="*/ 258699 w 3259932"/>
                  <a:gd name="connsiteY35" fmla="*/ 121253 h 335375"/>
                  <a:gd name="connsiteX36" fmla="*/ 258699 w 3259932"/>
                  <a:gd name="connsiteY36" fmla="*/ 127349 h 335375"/>
                  <a:gd name="connsiteX37" fmla="*/ 264986 w 3259932"/>
                  <a:gd name="connsiteY37" fmla="*/ 127349 h 335375"/>
                  <a:gd name="connsiteX38" fmla="*/ 264986 w 3259932"/>
                  <a:gd name="connsiteY38" fmla="*/ 133445 h 335375"/>
                  <a:gd name="connsiteX39" fmla="*/ 307086 w 3259932"/>
                  <a:gd name="connsiteY39" fmla="*/ 133445 h 335375"/>
                  <a:gd name="connsiteX40" fmla="*/ 307086 w 3259932"/>
                  <a:gd name="connsiteY40" fmla="*/ 139446 h 335375"/>
                  <a:gd name="connsiteX41" fmla="*/ 321755 w 3259932"/>
                  <a:gd name="connsiteY41" fmla="*/ 139446 h 335375"/>
                  <a:gd name="connsiteX42" fmla="*/ 321755 w 3259932"/>
                  <a:gd name="connsiteY42" fmla="*/ 145542 h 335375"/>
                  <a:gd name="connsiteX43" fmla="*/ 351282 w 3259932"/>
                  <a:gd name="connsiteY43" fmla="*/ 145542 h 335375"/>
                  <a:gd name="connsiteX44" fmla="*/ 351282 w 3259932"/>
                  <a:gd name="connsiteY44" fmla="*/ 151638 h 335375"/>
                  <a:gd name="connsiteX45" fmla="*/ 353378 w 3259932"/>
                  <a:gd name="connsiteY45" fmla="*/ 151638 h 335375"/>
                  <a:gd name="connsiteX46" fmla="*/ 353378 w 3259932"/>
                  <a:gd name="connsiteY46" fmla="*/ 157639 h 335375"/>
                  <a:gd name="connsiteX47" fmla="*/ 376428 w 3259932"/>
                  <a:gd name="connsiteY47" fmla="*/ 157639 h 335375"/>
                  <a:gd name="connsiteX48" fmla="*/ 376428 w 3259932"/>
                  <a:gd name="connsiteY48" fmla="*/ 163735 h 335375"/>
                  <a:gd name="connsiteX49" fmla="*/ 389097 w 3259932"/>
                  <a:gd name="connsiteY49" fmla="*/ 163735 h 335375"/>
                  <a:gd name="connsiteX50" fmla="*/ 389097 w 3259932"/>
                  <a:gd name="connsiteY50" fmla="*/ 169831 h 335375"/>
                  <a:gd name="connsiteX51" fmla="*/ 424815 w 3259932"/>
                  <a:gd name="connsiteY51" fmla="*/ 169831 h 335375"/>
                  <a:gd name="connsiteX52" fmla="*/ 424815 w 3259932"/>
                  <a:gd name="connsiteY52" fmla="*/ 175927 h 335375"/>
                  <a:gd name="connsiteX53" fmla="*/ 540544 w 3259932"/>
                  <a:gd name="connsiteY53" fmla="*/ 175927 h 335375"/>
                  <a:gd name="connsiteX54" fmla="*/ 540544 w 3259932"/>
                  <a:gd name="connsiteY54" fmla="*/ 181928 h 335375"/>
                  <a:gd name="connsiteX55" fmla="*/ 578358 w 3259932"/>
                  <a:gd name="connsiteY55" fmla="*/ 181928 h 335375"/>
                  <a:gd name="connsiteX56" fmla="*/ 578358 w 3259932"/>
                  <a:gd name="connsiteY56" fmla="*/ 188119 h 335375"/>
                  <a:gd name="connsiteX57" fmla="*/ 630936 w 3259932"/>
                  <a:gd name="connsiteY57" fmla="*/ 188119 h 335375"/>
                  <a:gd name="connsiteX58" fmla="*/ 630936 w 3259932"/>
                  <a:gd name="connsiteY58" fmla="*/ 194215 h 335375"/>
                  <a:gd name="connsiteX59" fmla="*/ 649891 w 3259932"/>
                  <a:gd name="connsiteY59" fmla="*/ 194215 h 335375"/>
                  <a:gd name="connsiteX60" fmla="*/ 649891 w 3259932"/>
                  <a:gd name="connsiteY60" fmla="*/ 200311 h 335375"/>
                  <a:gd name="connsiteX61" fmla="*/ 660369 w 3259932"/>
                  <a:gd name="connsiteY61" fmla="*/ 200311 h 335375"/>
                  <a:gd name="connsiteX62" fmla="*/ 660369 w 3259932"/>
                  <a:gd name="connsiteY62" fmla="*/ 206502 h 335375"/>
                  <a:gd name="connsiteX63" fmla="*/ 694087 w 3259932"/>
                  <a:gd name="connsiteY63" fmla="*/ 206502 h 335375"/>
                  <a:gd name="connsiteX64" fmla="*/ 694087 w 3259932"/>
                  <a:gd name="connsiteY64" fmla="*/ 212598 h 335375"/>
                  <a:gd name="connsiteX65" fmla="*/ 700374 w 3259932"/>
                  <a:gd name="connsiteY65" fmla="*/ 212598 h 335375"/>
                  <a:gd name="connsiteX66" fmla="*/ 700374 w 3259932"/>
                  <a:gd name="connsiteY66" fmla="*/ 218694 h 335375"/>
                  <a:gd name="connsiteX67" fmla="*/ 715042 w 3259932"/>
                  <a:gd name="connsiteY67" fmla="*/ 218694 h 335375"/>
                  <a:gd name="connsiteX68" fmla="*/ 715042 w 3259932"/>
                  <a:gd name="connsiteY68" fmla="*/ 224790 h 335375"/>
                  <a:gd name="connsiteX69" fmla="*/ 727710 w 3259932"/>
                  <a:gd name="connsiteY69" fmla="*/ 224790 h 335375"/>
                  <a:gd name="connsiteX70" fmla="*/ 727710 w 3259932"/>
                  <a:gd name="connsiteY70" fmla="*/ 230981 h 335375"/>
                  <a:gd name="connsiteX71" fmla="*/ 752952 w 3259932"/>
                  <a:gd name="connsiteY71" fmla="*/ 230981 h 335375"/>
                  <a:gd name="connsiteX72" fmla="*/ 752952 w 3259932"/>
                  <a:gd name="connsiteY72" fmla="*/ 237077 h 335375"/>
                  <a:gd name="connsiteX73" fmla="*/ 982218 w 3259932"/>
                  <a:gd name="connsiteY73" fmla="*/ 237077 h 335375"/>
                  <a:gd name="connsiteX74" fmla="*/ 982218 w 3259932"/>
                  <a:gd name="connsiteY74" fmla="*/ 243269 h 335375"/>
                  <a:gd name="connsiteX75" fmla="*/ 1095756 w 3259932"/>
                  <a:gd name="connsiteY75" fmla="*/ 243269 h 335375"/>
                  <a:gd name="connsiteX76" fmla="*/ 1095756 w 3259932"/>
                  <a:gd name="connsiteY76" fmla="*/ 249460 h 335375"/>
                  <a:gd name="connsiteX77" fmla="*/ 1364933 w 3259932"/>
                  <a:gd name="connsiteY77" fmla="*/ 249460 h 335375"/>
                  <a:gd name="connsiteX78" fmla="*/ 1364933 w 3259932"/>
                  <a:gd name="connsiteY78" fmla="*/ 255746 h 335375"/>
                  <a:gd name="connsiteX79" fmla="*/ 1438561 w 3259932"/>
                  <a:gd name="connsiteY79" fmla="*/ 255746 h 335375"/>
                  <a:gd name="connsiteX80" fmla="*/ 1438561 w 3259932"/>
                  <a:gd name="connsiteY80" fmla="*/ 262033 h 335375"/>
                  <a:gd name="connsiteX81" fmla="*/ 1518476 w 3259932"/>
                  <a:gd name="connsiteY81" fmla="*/ 262033 h 335375"/>
                  <a:gd name="connsiteX82" fmla="*/ 1518476 w 3259932"/>
                  <a:gd name="connsiteY82" fmla="*/ 268319 h 335375"/>
                  <a:gd name="connsiteX83" fmla="*/ 1680401 w 3259932"/>
                  <a:gd name="connsiteY83" fmla="*/ 268319 h 335375"/>
                  <a:gd name="connsiteX84" fmla="*/ 1680401 w 3259932"/>
                  <a:gd name="connsiteY84" fmla="*/ 274796 h 335375"/>
                  <a:gd name="connsiteX85" fmla="*/ 1697260 w 3259932"/>
                  <a:gd name="connsiteY85" fmla="*/ 274796 h 335375"/>
                  <a:gd name="connsiteX86" fmla="*/ 1697260 w 3259932"/>
                  <a:gd name="connsiteY86" fmla="*/ 281178 h 335375"/>
                  <a:gd name="connsiteX87" fmla="*/ 1815084 w 3259932"/>
                  <a:gd name="connsiteY87" fmla="*/ 281178 h 335375"/>
                  <a:gd name="connsiteX88" fmla="*/ 1815084 w 3259932"/>
                  <a:gd name="connsiteY88" fmla="*/ 287655 h 335375"/>
                  <a:gd name="connsiteX89" fmla="*/ 1907572 w 3259932"/>
                  <a:gd name="connsiteY89" fmla="*/ 287655 h 335375"/>
                  <a:gd name="connsiteX90" fmla="*/ 1907572 w 3259932"/>
                  <a:gd name="connsiteY90" fmla="*/ 294037 h 335375"/>
                  <a:gd name="connsiteX91" fmla="*/ 1926527 w 3259932"/>
                  <a:gd name="connsiteY91" fmla="*/ 294037 h 335375"/>
                  <a:gd name="connsiteX92" fmla="*/ 1926527 w 3259932"/>
                  <a:gd name="connsiteY92" fmla="*/ 300514 h 335375"/>
                  <a:gd name="connsiteX93" fmla="*/ 2780348 w 3259932"/>
                  <a:gd name="connsiteY93" fmla="*/ 300514 h 335375"/>
                  <a:gd name="connsiteX94" fmla="*/ 2780348 w 3259932"/>
                  <a:gd name="connsiteY94" fmla="*/ 335375 h 335375"/>
                  <a:gd name="connsiteX95" fmla="*/ 3259932 w 3259932"/>
                  <a:gd name="connsiteY95" fmla="*/ 335375 h 335375"/>
                  <a:gd name="connsiteX0" fmla="*/ 0 w 3259932"/>
                  <a:gd name="connsiteY0" fmla="*/ 0 h 335375"/>
                  <a:gd name="connsiteX1" fmla="*/ 0 w 3259932"/>
                  <a:gd name="connsiteY1" fmla="*/ 6001 h 335375"/>
                  <a:gd name="connsiteX2" fmla="*/ 21051 w 3259932"/>
                  <a:gd name="connsiteY2" fmla="*/ 12097 h 335375"/>
                  <a:gd name="connsiteX3" fmla="*/ 21051 w 3259932"/>
                  <a:gd name="connsiteY3" fmla="*/ 18193 h 335375"/>
                  <a:gd name="connsiteX4" fmla="*/ 37910 w 3259932"/>
                  <a:gd name="connsiteY4" fmla="*/ 18193 h 335375"/>
                  <a:gd name="connsiteX5" fmla="*/ 37910 w 3259932"/>
                  <a:gd name="connsiteY5" fmla="*/ 24194 h 335375"/>
                  <a:gd name="connsiteX6" fmla="*/ 65247 w 3259932"/>
                  <a:gd name="connsiteY6" fmla="*/ 24194 h 335375"/>
                  <a:gd name="connsiteX7" fmla="*/ 65247 w 3259932"/>
                  <a:gd name="connsiteY7" fmla="*/ 30290 h 335375"/>
                  <a:gd name="connsiteX8" fmla="*/ 67342 w 3259932"/>
                  <a:gd name="connsiteY8" fmla="*/ 30290 h 335375"/>
                  <a:gd name="connsiteX9" fmla="*/ 67342 w 3259932"/>
                  <a:gd name="connsiteY9" fmla="*/ 36386 h 335375"/>
                  <a:gd name="connsiteX10" fmla="*/ 77819 w 3259932"/>
                  <a:gd name="connsiteY10" fmla="*/ 36386 h 335375"/>
                  <a:gd name="connsiteX11" fmla="*/ 77819 w 3259932"/>
                  <a:gd name="connsiteY11" fmla="*/ 42386 h 335375"/>
                  <a:gd name="connsiteX12" fmla="*/ 84106 w 3259932"/>
                  <a:gd name="connsiteY12" fmla="*/ 42386 h 335375"/>
                  <a:gd name="connsiteX13" fmla="*/ 84106 w 3259932"/>
                  <a:gd name="connsiteY13" fmla="*/ 54578 h 335375"/>
                  <a:gd name="connsiteX14" fmla="*/ 92583 w 3259932"/>
                  <a:gd name="connsiteY14" fmla="*/ 54578 h 335375"/>
                  <a:gd name="connsiteX15" fmla="*/ 92583 w 3259932"/>
                  <a:gd name="connsiteY15" fmla="*/ 60579 h 335375"/>
                  <a:gd name="connsiteX16" fmla="*/ 98870 w 3259932"/>
                  <a:gd name="connsiteY16" fmla="*/ 60579 h 335375"/>
                  <a:gd name="connsiteX17" fmla="*/ 98870 w 3259932"/>
                  <a:gd name="connsiteY17" fmla="*/ 72771 h 335375"/>
                  <a:gd name="connsiteX18" fmla="*/ 100965 w 3259932"/>
                  <a:gd name="connsiteY18" fmla="*/ 72771 h 335375"/>
                  <a:gd name="connsiteX19" fmla="*/ 100965 w 3259932"/>
                  <a:gd name="connsiteY19" fmla="*/ 78867 h 335375"/>
                  <a:gd name="connsiteX20" fmla="*/ 113538 w 3259932"/>
                  <a:gd name="connsiteY20" fmla="*/ 78867 h 335375"/>
                  <a:gd name="connsiteX21" fmla="*/ 113538 w 3259932"/>
                  <a:gd name="connsiteY21" fmla="*/ 84868 h 335375"/>
                  <a:gd name="connsiteX22" fmla="*/ 136684 w 3259932"/>
                  <a:gd name="connsiteY22" fmla="*/ 84868 h 335375"/>
                  <a:gd name="connsiteX23" fmla="*/ 136684 w 3259932"/>
                  <a:gd name="connsiteY23" fmla="*/ 90964 h 335375"/>
                  <a:gd name="connsiteX24" fmla="*/ 143066 w 3259932"/>
                  <a:gd name="connsiteY24" fmla="*/ 90964 h 335375"/>
                  <a:gd name="connsiteX25" fmla="*/ 143066 w 3259932"/>
                  <a:gd name="connsiteY25" fmla="*/ 97060 h 335375"/>
                  <a:gd name="connsiteX26" fmla="*/ 151448 w 3259932"/>
                  <a:gd name="connsiteY26" fmla="*/ 97060 h 335375"/>
                  <a:gd name="connsiteX27" fmla="*/ 151448 w 3259932"/>
                  <a:gd name="connsiteY27" fmla="*/ 103061 h 335375"/>
                  <a:gd name="connsiteX28" fmla="*/ 159830 w 3259932"/>
                  <a:gd name="connsiteY28" fmla="*/ 103061 h 335375"/>
                  <a:gd name="connsiteX29" fmla="*/ 159830 w 3259932"/>
                  <a:gd name="connsiteY29" fmla="*/ 109157 h 335375"/>
                  <a:gd name="connsiteX30" fmla="*/ 164021 w 3259932"/>
                  <a:gd name="connsiteY30" fmla="*/ 109157 h 335375"/>
                  <a:gd name="connsiteX31" fmla="*/ 164021 w 3259932"/>
                  <a:gd name="connsiteY31" fmla="*/ 115253 h 335375"/>
                  <a:gd name="connsiteX32" fmla="*/ 237649 w 3259932"/>
                  <a:gd name="connsiteY32" fmla="*/ 115253 h 335375"/>
                  <a:gd name="connsiteX33" fmla="*/ 237649 w 3259932"/>
                  <a:gd name="connsiteY33" fmla="*/ 121253 h 335375"/>
                  <a:gd name="connsiteX34" fmla="*/ 258699 w 3259932"/>
                  <a:gd name="connsiteY34" fmla="*/ 121253 h 335375"/>
                  <a:gd name="connsiteX35" fmla="*/ 258699 w 3259932"/>
                  <a:gd name="connsiteY35" fmla="*/ 127349 h 335375"/>
                  <a:gd name="connsiteX36" fmla="*/ 264986 w 3259932"/>
                  <a:gd name="connsiteY36" fmla="*/ 127349 h 335375"/>
                  <a:gd name="connsiteX37" fmla="*/ 264986 w 3259932"/>
                  <a:gd name="connsiteY37" fmla="*/ 133445 h 335375"/>
                  <a:gd name="connsiteX38" fmla="*/ 307086 w 3259932"/>
                  <a:gd name="connsiteY38" fmla="*/ 133445 h 335375"/>
                  <a:gd name="connsiteX39" fmla="*/ 307086 w 3259932"/>
                  <a:gd name="connsiteY39" fmla="*/ 139446 h 335375"/>
                  <a:gd name="connsiteX40" fmla="*/ 321755 w 3259932"/>
                  <a:gd name="connsiteY40" fmla="*/ 139446 h 335375"/>
                  <a:gd name="connsiteX41" fmla="*/ 321755 w 3259932"/>
                  <a:gd name="connsiteY41" fmla="*/ 145542 h 335375"/>
                  <a:gd name="connsiteX42" fmla="*/ 351282 w 3259932"/>
                  <a:gd name="connsiteY42" fmla="*/ 145542 h 335375"/>
                  <a:gd name="connsiteX43" fmla="*/ 351282 w 3259932"/>
                  <a:gd name="connsiteY43" fmla="*/ 151638 h 335375"/>
                  <a:gd name="connsiteX44" fmla="*/ 353378 w 3259932"/>
                  <a:gd name="connsiteY44" fmla="*/ 151638 h 335375"/>
                  <a:gd name="connsiteX45" fmla="*/ 353378 w 3259932"/>
                  <a:gd name="connsiteY45" fmla="*/ 157639 h 335375"/>
                  <a:gd name="connsiteX46" fmla="*/ 376428 w 3259932"/>
                  <a:gd name="connsiteY46" fmla="*/ 157639 h 335375"/>
                  <a:gd name="connsiteX47" fmla="*/ 376428 w 3259932"/>
                  <a:gd name="connsiteY47" fmla="*/ 163735 h 335375"/>
                  <a:gd name="connsiteX48" fmla="*/ 389097 w 3259932"/>
                  <a:gd name="connsiteY48" fmla="*/ 163735 h 335375"/>
                  <a:gd name="connsiteX49" fmla="*/ 389097 w 3259932"/>
                  <a:gd name="connsiteY49" fmla="*/ 169831 h 335375"/>
                  <a:gd name="connsiteX50" fmla="*/ 424815 w 3259932"/>
                  <a:gd name="connsiteY50" fmla="*/ 169831 h 335375"/>
                  <a:gd name="connsiteX51" fmla="*/ 424815 w 3259932"/>
                  <a:gd name="connsiteY51" fmla="*/ 175927 h 335375"/>
                  <a:gd name="connsiteX52" fmla="*/ 540544 w 3259932"/>
                  <a:gd name="connsiteY52" fmla="*/ 175927 h 335375"/>
                  <a:gd name="connsiteX53" fmla="*/ 540544 w 3259932"/>
                  <a:gd name="connsiteY53" fmla="*/ 181928 h 335375"/>
                  <a:gd name="connsiteX54" fmla="*/ 578358 w 3259932"/>
                  <a:gd name="connsiteY54" fmla="*/ 181928 h 335375"/>
                  <a:gd name="connsiteX55" fmla="*/ 578358 w 3259932"/>
                  <a:gd name="connsiteY55" fmla="*/ 188119 h 335375"/>
                  <a:gd name="connsiteX56" fmla="*/ 630936 w 3259932"/>
                  <a:gd name="connsiteY56" fmla="*/ 188119 h 335375"/>
                  <a:gd name="connsiteX57" fmla="*/ 630936 w 3259932"/>
                  <a:gd name="connsiteY57" fmla="*/ 194215 h 335375"/>
                  <a:gd name="connsiteX58" fmla="*/ 649891 w 3259932"/>
                  <a:gd name="connsiteY58" fmla="*/ 194215 h 335375"/>
                  <a:gd name="connsiteX59" fmla="*/ 649891 w 3259932"/>
                  <a:gd name="connsiteY59" fmla="*/ 200311 h 335375"/>
                  <a:gd name="connsiteX60" fmla="*/ 660369 w 3259932"/>
                  <a:gd name="connsiteY60" fmla="*/ 200311 h 335375"/>
                  <a:gd name="connsiteX61" fmla="*/ 660369 w 3259932"/>
                  <a:gd name="connsiteY61" fmla="*/ 206502 h 335375"/>
                  <a:gd name="connsiteX62" fmla="*/ 694087 w 3259932"/>
                  <a:gd name="connsiteY62" fmla="*/ 206502 h 335375"/>
                  <a:gd name="connsiteX63" fmla="*/ 694087 w 3259932"/>
                  <a:gd name="connsiteY63" fmla="*/ 212598 h 335375"/>
                  <a:gd name="connsiteX64" fmla="*/ 700374 w 3259932"/>
                  <a:gd name="connsiteY64" fmla="*/ 212598 h 335375"/>
                  <a:gd name="connsiteX65" fmla="*/ 700374 w 3259932"/>
                  <a:gd name="connsiteY65" fmla="*/ 218694 h 335375"/>
                  <a:gd name="connsiteX66" fmla="*/ 715042 w 3259932"/>
                  <a:gd name="connsiteY66" fmla="*/ 218694 h 335375"/>
                  <a:gd name="connsiteX67" fmla="*/ 715042 w 3259932"/>
                  <a:gd name="connsiteY67" fmla="*/ 224790 h 335375"/>
                  <a:gd name="connsiteX68" fmla="*/ 727710 w 3259932"/>
                  <a:gd name="connsiteY68" fmla="*/ 224790 h 335375"/>
                  <a:gd name="connsiteX69" fmla="*/ 727710 w 3259932"/>
                  <a:gd name="connsiteY69" fmla="*/ 230981 h 335375"/>
                  <a:gd name="connsiteX70" fmla="*/ 752952 w 3259932"/>
                  <a:gd name="connsiteY70" fmla="*/ 230981 h 335375"/>
                  <a:gd name="connsiteX71" fmla="*/ 752952 w 3259932"/>
                  <a:gd name="connsiteY71" fmla="*/ 237077 h 335375"/>
                  <a:gd name="connsiteX72" fmla="*/ 982218 w 3259932"/>
                  <a:gd name="connsiteY72" fmla="*/ 237077 h 335375"/>
                  <a:gd name="connsiteX73" fmla="*/ 982218 w 3259932"/>
                  <a:gd name="connsiteY73" fmla="*/ 243269 h 335375"/>
                  <a:gd name="connsiteX74" fmla="*/ 1095756 w 3259932"/>
                  <a:gd name="connsiteY74" fmla="*/ 243269 h 335375"/>
                  <a:gd name="connsiteX75" fmla="*/ 1095756 w 3259932"/>
                  <a:gd name="connsiteY75" fmla="*/ 249460 h 335375"/>
                  <a:gd name="connsiteX76" fmla="*/ 1364933 w 3259932"/>
                  <a:gd name="connsiteY76" fmla="*/ 249460 h 335375"/>
                  <a:gd name="connsiteX77" fmla="*/ 1364933 w 3259932"/>
                  <a:gd name="connsiteY77" fmla="*/ 255746 h 335375"/>
                  <a:gd name="connsiteX78" fmla="*/ 1438561 w 3259932"/>
                  <a:gd name="connsiteY78" fmla="*/ 255746 h 335375"/>
                  <a:gd name="connsiteX79" fmla="*/ 1438561 w 3259932"/>
                  <a:gd name="connsiteY79" fmla="*/ 262033 h 335375"/>
                  <a:gd name="connsiteX80" fmla="*/ 1518476 w 3259932"/>
                  <a:gd name="connsiteY80" fmla="*/ 262033 h 335375"/>
                  <a:gd name="connsiteX81" fmla="*/ 1518476 w 3259932"/>
                  <a:gd name="connsiteY81" fmla="*/ 268319 h 335375"/>
                  <a:gd name="connsiteX82" fmla="*/ 1680401 w 3259932"/>
                  <a:gd name="connsiteY82" fmla="*/ 268319 h 335375"/>
                  <a:gd name="connsiteX83" fmla="*/ 1680401 w 3259932"/>
                  <a:gd name="connsiteY83" fmla="*/ 274796 h 335375"/>
                  <a:gd name="connsiteX84" fmla="*/ 1697260 w 3259932"/>
                  <a:gd name="connsiteY84" fmla="*/ 274796 h 335375"/>
                  <a:gd name="connsiteX85" fmla="*/ 1697260 w 3259932"/>
                  <a:gd name="connsiteY85" fmla="*/ 281178 h 335375"/>
                  <a:gd name="connsiteX86" fmla="*/ 1815084 w 3259932"/>
                  <a:gd name="connsiteY86" fmla="*/ 281178 h 335375"/>
                  <a:gd name="connsiteX87" fmla="*/ 1815084 w 3259932"/>
                  <a:gd name="connsiteY87" fmla="*/ 287655 h 335375"/>
                  <a:gd name="connsiteX88" fmla="*/ 1907572 w 3259932"/>
                  <a:gd name="connsiteY88" fmla="*/ 287655 h 335375"/>
                  <a:gd name="connsiteX89" fmla="*/ 1907572 w 3259932"/>
                  <a:gd name="connsiteY89" fmla="*/ 294037 h 335375"/>
                  <a:gd name="connsiteX90" fmla="*/ 1926527 w 3259932"/>
                  <a:gd name="connsiteY90" fmla="*/ 294037 h 335375"/>
                  <a:gd name="connsiteX91" fmla="*/ 1926527 w 3259932"/>
                  <a:gd name="connsiteY91" fmla="*/ 300514 h 335375"/>
                  <a:gd name="connsiteX92" fmla="*/ 2780348 w 3259932"/>
                  <a:gd name="connsiteY92" fmla="*/ 300514 h 335375"/>
                  <a:gd name="connsiteX93" fmla="*/ 2780348 w 3259932"/>
                  <a:gd name="connsiteY93" fmla="*/ 335375 h 335375"/>
                  <a:gd name="connsiteX94" fmla="*/ 3259932 w 3259932"/>
                  <a:gd name="connsiteY94" fmla="*/ 335375 h 335375"/>
                  <a:gd name="connsiteX0" fmla="*/ 0 w 3259932"/>
                  <a:gd name="connsiteY0" fmla="*/ 0 h 329374"/>
                  <a:gd name="connsiteX1" fmla="*/ 21051 w 3259932"/>
                  <a:gd name="connsiteY1" fmla="*/ 6096 h 329374"/>
                  <a:gd name="connsiteX2" fmla="*/ 21051 w 3259932"/>
                  <a:gd name="connsiteY2" fmla="*/ 12192 h 329374"/>
                  <a:gd name="connsiteX3" fmla="*/ 37910 w 3259932"/>
                  <a:gd name="connsiteY3" fmla="*/ 12192 h 329374"/>
                  <a:gd name="connsiteX4" fmla="*/ 37910 w 3259932"/>
                  <a:gd name="connsiteY4" fmla="*/ 18193 h 329374"/>
                  <a:gd name="connsiteX5" fmla="*/ 65247 w 3259932"/>
                  <a:gd name="connsiteY5" fmla="*/ 18193 h 329374"/>
                  <a:gd name="connsiteX6" fmla="*/ 65247 w 3259932"/>
                  <a:gd name="connsiteY6" fmla="*/ 24289 h 329374"/>
                  <a:gd name="connsiteX7" fmla="*/ 67342 w 3259932"/>
                  <a:gd name="connsiteY7" fmla="*/ 24289 h 329374"/>
                  <a:gd name="connsiteX8" fmla="*/ 67342 w 3259932"/>
                  <a:gd name="connsiteY8" fmla="*/ 30385 h 329374"/>
                  <a:gd name="connsiteX9" fmla="*/ 77819 w 3259932"/>
                  <a:gd name="connsiteY9" fmla="*/ 30385 h 329374"/>
                  <a:gd name="connsiteX10" fmla="*/ 77819 w 3259932"/>
                  <a:gd name="connsiteY10" fmla="*/ 36385 h 329374"/>
                  <a:gd name="connsiteX11" fmla="*/ 84106 w 3259932"/>
                  <a:gd name="connsiteY11" fmla="*/ 36385 h 329374"/>
                  <a:gd name="connsiteX12" fmla="*/ 84106 w 3259932"/>
                  <a:gd name="connsiteY12" fmla="*/ 48577 h 329374"/>
                  <a:gd name="connsiteX13" fmla="*/ 92583 w 3259932"/>
                  <a:gd name="connsiteY13" fmla="*/ 48577 h 329374"/>
                  <a:gd name="connsiteX14" fmla="*/ 92583 w 3259932"/>
                  <a:gd name="connsiteY14" fmla="*/ 54578 h 329374"/>
                  <a:gd name="connsiteX15" fmla="*/ 98870 w 3259932"/>
                  <a:gd name="connsiteY15" fmla="*/ 54578 h 329374"/>
                  <a:gd name="connsiteX16" fmla="*/ 98870 w 3259932"/>
                  <a:gd name="connsiteY16" fmla="*/ 66770 h 329374"/>
                  <a:gd name="connsiteX17" fmla="*/ 100965 w 3259932"/>
                  <a:gd name="connsiteY17" fmla="*/ 66770 h 329374"/>
                  <a:gd name="connsiteX18" fmla="*/ 100965 w 3259932"/>
                  <a:gd name="connsiteY18" fmla="*/ 72866 h 329374"/>
                  <a:gd name="connsiteX19" fmla="*/ 113538 w 3259932"/>
                  <a:gd name="connsiteY19" fmla="*/ 72866 h 329374"/>
                  <a:gd name="connsiteX20" fmla="*/ 113538 w 3259932"/>
                  <a:gd name="connsiteY20" fmla="*/ 78867 h 329374"/>
                  <a:gd name="connsiteX21" fmla="*/ 136684 w 3259932"/>
                  <a:gd name="connsiteY21" fmla="*/ 78867 h 329374"/>
                  <a:gd name="connsiteX22" fmla="*/ 136684 w 3259932"/>
                  <a:gd name="connsiteY22" fmla="*/ 84963 h 329374"/>
                  <a:gd name="connsiteX23" fmla="*/ 143066 w 3259932"/>
                  <a:gd name="connsiteY23" fmla="*/ 84963 h 329374"/>
                  <a:gd name="connsiteX24" fmla="*/ 143066 w 3259932"/>
                  <a:gd name="connsiteY24" fmla="*/ 91059 h 329374"/>
                  <a:gd name="connsiteX25" fmla="*/ 151448 w 3259932"/>
                  <a:gd name="connsiteY25" fmla="*/ 91059 h 329374"/>
                  <a:gd name="connsiteX26" fmla="*/ 151448 w 3259932"/>
                  <a:gd name="connsiteY26" fmla="*/ 97060 h 329374"/>
                  <a:gd name="connsiteX27" fmla="*/ 159830 w 3259932"/>
                  <a:gd name="connsiteY27" fmla="*/ 97060 h 329374"/>
                  <a:gd name="connsiteX28" fmla="*/ 159830 w 3259932"/>
                  <a:gd name="connsiteY28" fmla="*/ 103156 h 329374"/>
                  <a:gd name="connsiteX29" fmla="*/ 164021 w 3259932"/>
                  <a:gd name="connsiteY29" fmla="*/ 103156 h 329374"/>
                  <a:gd name="connsiteX30" fmla="*/ 164021 w 3259932"/>
                  <a:gd name="connsiteY30" fmla="*/ 109252 h 329374"/>
                  <a:gd name="connsiteX31" fmla="*/ 237649 w 3259932"/>
                  <a:gd name="connsiteY31" fmla="*/ 109252 h 329374"/>
                  <a:gd name="connsiteX32" fmla="*/ 237649 w 3259932"/>
                  <a:gd name="connsiteY32" fmla="*/ 115252 h 329374"/>
                  <a:gd name="connsiteX33" fmla="*/ 258699 w 3259932"/>
                  <a:gd name="connsiteY33" fmla="*/ 115252 h 329374"/>
                  <a:gd name="connsiteX34" fmla="*/ 258699 w 3259932"/>
                  <a:gd name="connsiteY34" fmla="*/ 121348 h 329374"/>
                  <a:gd name="connsiteX35" fmla="*/ 264986 w 3259932"/>
                  <a:gd name="connsiteY35" fmla="*/ 121348 h 329374"/>
                  <a:gd name="connsiteX36" fmla="*/ 264986 w 3259932"/>
                  <a:gd name="connsiteY36" fmla="*/ 127444 h 329374"/>
                  <a:gd name="connsiteX37" fmla="*/ 307086 w 3259932"/>
                  <a:gd name="connsiteY37" fmla="*/ 127444 h 329374"/>
                  <a:gd name="connsiteX38" fmla="*/ 307086 w 3259932"/>
                  <a:gd name="connsiteY38" fmla="*/ 133445 h 329374"/>
                  <a:gd name="connsiteX39" fmla="*/ 321755 w 3259932"/>
                  <a:gd name="connsiteY39" fmla="*/ 133445 h 329374"/>
                  <a:gd name="connsiteX40" fmla="*/ 321755 w 3259932"/>
                  <a:gd name="connsiteY40" fmla="*/ 139541 h 329374"/>
                  <a:gd name="connsiteX41" fmla="*/ 351282 w 3259932"/>
                  <a:gd name="connsiteY41" fmla="*/ 139541 h 329374"/>
                  <a:gd name="connsiteX42" fmla="*/ 351282 w 3259932"/>
                  <a:gd name="connsiteY42" fmla="*/ 145637 h 329374"/>
                  <a:gd name="connsiteX43" fmla="*/ 353378 w 3259932"/>
                  <a:gd name="connsiteY43" fmla="*/ 145637 h 329374"/>
                  <a:gd name="connsiteX44" fmla="*/ 353378 w 3259932"/>
                  <a:gd name="connsiteY44" fmla="*/ 151638 h 329374"/>
                  <a:gd name="connsiteX45" fmla="*/ 376428 w 3259932"/>
                  <a:gd name="connsiteY45" fmla="*/ 151638 h 329374"/>
                  <a:gd name="connsiteX46" fmla="*/ 376428 w 3259932"/>
                  <a:gd name="connsiteY46" fmla="*/ 157734 h 329374"/>
                  <a:gd name="connsiteX47" fmla="*/ 389097 w 3259932"/>
                  <a:gd name="connsiteY47" fmla="*/ 157734 h 329374"/>
                  <a:gd name="connsiteX48" fmla="*/ 389097 w 3259932"/>
                  <a:gd name="connsiteY48" fmla="*/ 163830 h 329374"/>
                  <a:gd name="connsiteX49" fmla="*/ 424815 w 3259932"/>
                  <a:gd name="connsiteY49" fmla="*/ 163830 h 329374"/>
                  <a:gd name="connsiteX50" fmla="*/ 424815 w 3259932"/>
                  <a:gd name="connsiteY50" fmla="*/ 169926 h 329374"/>
                  <a:gd name="connsiteX51" fmla="*/ 540544 w 3259932"/>
                  <a:gd name="connsiteY51" fmla="*/ 169926 h 329374"/>
                  <a:gd name="connsiteX52" fmla="*/ 540544 w 3259932"/>
                  <a:gd name="connsiteY52" fmla="*/ 175927 h 329374"/>
                  <a:gd name="connsiteX53" fmla="*/ 578358 w 3259932"/>
                  <a:gd name="connsiteY53" fmla="*/ 175927 h 329374"/>
                  <a:gd name="connsiteX54" fmla="*/ 578358 w 3259932"/>
                  <a:gd name="connsiteY54" fmla="*/ 182118 h 329374"/>
                  <a:gd name="connsiteX55" fmla="*/ 630936 w 3259932"/>
                  <a:gd name="connsiteY55" fmla="*/ 182118 h 329374"/>
                  <a:gd name="connsiteX56" fmla="*/ 630936 w 3259932"/>
                  <a:gd name="connsiteY56" fmla="*/ 188214 h 329374"/>
                  <a:gd name="connsiteX57" fmla="*/ 649891 w 3259932"/>
                  <a:gd name="connsiteY57" fmla="*/ 188214 h 329374"/>
                  <a:gd name="connsiteX58" fmla="*/ 649891 w 3259932"/>
                  <a:gd name="connsiteY58" fmla="*/ 194310 h 329374"/>
                  <a:gd name="connsiteX59" fmla="*/ 660369 w 3259932"/>
                  <a:gd name="connsiteY59" fmla="*/ 194310 h 329374"/>
                  <a:gd name="connsiteX60" fmla="*/ 660369 w 3259932"/>
                  <a:gd name="connsiteY60" fmla="*/ 200501 h 329374"/>
                  <a:gd name="connsiteX61" fmla="*/ 694087 w 3259932"/>
                  <a:gd name="connsiteY61" fmla="*/ 200501 h 329374"/>
                  <a:gd name="connsiteX62" fmla="*/ 694087 w 3259932"/>
                  <a:gd name="connsiteY62" fmla="*/ 206597 h 329374"/>
                  <a:gd name="connsiteX63" fmla="*/ 700374 w 3259932"/>
                  <a:gd name="connsiteY63" fmla="*/ 206597 h 329374"/>
                  <a:gd name="connsiteX64" fmla="*/ 700374 w 3259932"/>
                  <a:gd name="connsiteY64" fmla="*/ 212693 h 329374"/>
                  <a:gd name="connsiteX65" fmla="*/ 715042 w 3259932"/>
                  <a:gd name="connsiteY65" fmla="*/ 212693 h 329374"/>
                  <a:gd name="connsiteX66" fmla="*/ 715042 w 3259932"/>
                  <a:gd name="connsiteY66" fmla="*/ 218789 h 329374"/>
                  <a:gd name="connsiteX67" fmla="*/ 727710 w 3259932"/>
                  <a:gd name="connsiteY67" fmla="*/ 218789 h 329374"/>
                  <a:gd name="connsiteX68" fmla="*/ 727710 w 3259932"/>
                  <a:gd name="connsiteY68" fmla="*/ 224980 h 329374"/>
                  <a:gd name="connsiteX69" fmla="*/ 752952 w 3259932"/>
                  <a:gd name="connsiteY69" fmla="*/ 224980 h 329374"/>
                  <a:gd name="connsiteX70" fmla="*/ 752952 w 3259932"/>
                  <a:gd name="connsiteY70" fmla="*/ 231076 h 329374"/>
                  <a:gd name="connsiteX71" fmla="*/ 982218 w 3259932"/>
                  <a:gd name="connsiteY71" fmla="*/ 231076 h 329374"/>
                  <a:gd name="connsiteX72" fmla="*/ 982218 w 3259932"/>
                  <a:gd name="connsiteY72" fmla="*/ 237268 h 329374"/>
                  <a:gd name="connsiteX73" fmla="*/ 1095756 w 3259932"/>
                  <a:gd name="connsiteY73" fmla="*/ 237268 h 329374"/>
                  <a:gd name="connsiteX74" fmla="*/ 1095756 w 3259932"/>
                  <a:gd name="connsiteY74" fmla="*/ 243459 h 329374"/>
                  <a:gd name="connsiteX75" fmla="*/ 1364933 w 3259932"/>
                  <a:gd name="connsiteY75" fmla="*/ 243459 h 329374"/>
                  <a:gd name="connsiteX76" fmla="*/ 1364933 w 3259932"/>
                  <a:gd name="connsiteY76" fmla="*/ 249745 h 329374"/>
                  <a:gd name="connsiteX77" fmla="*/ 1438561 w 3259932"/>
                  <a:gd name="connsiteY77" fmla="*/ 249745 h 329374"/>
                  <a:gd name="connsiteX78" fmla="*/ 1438561 w 3259932"/>
                  <a:gd name="connsiteY78" fmla="*/ 256032 h 329374"/>
                  <a:gd name="connsiteX79" fmla="*/ 1518476 w 3259932"/>
                  <a:gd name="connsiteY79" fmla="*/ 256032 h 329374"/>
                  <a:gd name="connsiteX80" fmla="*/ 1518476 w 3259932"/>
                  <a:gd name="connsiteY80" fmla="*/ 262318 h 329374"/>
                  <a:gd name="connsiteX81" fmla="*/ 1680401 w 3259932"/>
                  <a:gd name="connsiteY81" fmla="*/ 262318 h 329374"/>
                  <a:gd name="connsiteX82" fmla="*/ 1680401 w 3259932"/>
                  <a:gd name="connsiteY82" fmla="*/ 268795 h 329374"/>
                  <a:gd name="connsiteX83" fmla="*/ 1697260 w 3259932"/>
                  <a:gd name="connsiteY83" fmla="*/ 268795 h 329374"/>
                  <a:gd name="connsiteX84" fmla="*/ 1697260 w 3259932"/>
                  <a:gd name="connsiteY84" fmla="*/ 275177 h 329374"/>
                  <a:gd name="connsiteX85" fmla="*/ 1815084 w 3259932"/>
                  <a:gd name="connsiteY85" fmla="*/ 275177 h 329374"/>
                  <a:gd name="connsiteX86" fmla="*/ 1815084 w 3259932"/>
                  <a:gd name="connsiteY86" fmla="*/ 281654 h 329374"/>
                  <a:gd name="connsiteX87" fmla="*/ 1907572 w 3259932"/>
                  <a:gd name="connsiteY87" fmla="*/ 281654 h 329374"/>
                  <a:gd name="connsiteX88" fmla="*/ 1907572 w 3259932"/>
                  <a:gd name="connsiteY88" fmla="*/ 288036 h 329374"/>
                  <a:gd name="connsiteX89" fmla="*/ 1926527 w 3259932"/>
                  <a:gd name="connsiteY89" fmla="*/ 288036 h 329374"/>
                  <a:gd name="connsiteX90" fmla="*/ 1926527 w 3259932"/>
                  <a:gd name="connsiteY90" fmla="*/ 294513 h 329374"/>
                  <a:gd name="connsiteX91" fmla="*/ 2780348 w 3259932"/>
                  <a:gd name="connsiteY91" fmla="*/ 294513 h 329374"/>
                  <a:gd name="connsiteX92" fmla="*/ 2780348 w 3259932"/>
                  <a:gd name="connsiteY92" fmla="*/ 329374 h 329374"/>
                  <a:gd name="connsiteX93" fmla="*/ 3259932 w 3259932"/>
                  <a:gd name="connsiteY93" fmla="*/ 329374 h 329374"/>
                  <a:gd name="connsiteX0" fmla="*/ 0 w 3238881"/>
                  <a:gd name="connsiteY0" fmla="*/ 0 h 323278"/>
                  <a:gd name="connsiteX1" fmla="*/ 0 w 3238881"/>
                  <a:gd name="connsiteY1" fmla="*/ 6096 h 323278"/>
                  <a:gd name="connsiteX2" fmla="*/ 16859 w 3238881"/>
                  <a:gd name="connsiteY2" fmla="*/ 6096 h 323278"/>
                  <a:gd name="connsiteX3" fmla="*/ 16859 w 3238881"/>
                  <a:gd name="connsiteY3" fmla="*/ 12097 h 323278"/>
                  <a:gd name="connsiteX4" fmla="*/ 44196 w 3238881"/>
                  <a:gd name="connsiteY4" fmla="*/ 12097 h 323278"/>
                  <a:gd name="connsiteX5" fmla="*/ 44196 w 3238881"/>
                  <a:gd name="connsiteY5" fmla="*/ 18193 h 323278"/>
                  <a:gd name="connsiteX6" fmla="*/ 46291 w 3238881"/>
                  <a:gd name="connsiteY6" fmla="*/ 18193 h 323278"/>
                  <a:gd name="connsiteX7" fmla="*/ 46291 w 3238881"/>
                  <a:gd name="connsiteY7" fmla="*/ 24289 h 323278"/>
                  <a:gd name="connsiteX8" fmla="*/ 56768 w 3238881"/>
                  <a:gd name="connsiteY8" fmla="*/ 24289 h 323278"/>
                  <a:gd name="connsiteX9" fmla="*/ 56768 w 3238881"/>
                  <a:gd name="connsiteY9" fmla="*/ 30289 h 323278"/>
                  <a:gd name="connsiteX10" fmla="*/ 63055 w 3238881"/>
                  <a:gd name="connsiteY10" fmla="*/ 30289 h 323278"/>
                  <a:gd name="connsiteX11" fmla="*/ 63055 w 3238881"/>
                  <a:gd name="connsiteY11" fmla="*/ 42481 h 323278"/>
                  <a:gd name="connsiteX12" fmla="*/ 71532 w 3238881"/>
                  <a:gd name="connsiteY12" fmla="*/ 42481 h 323278"/>
                  <a:gd name="connsiteX13" fmla="*/ 71532 w 3238881"/>
                  <a:gd name="connsiteY13" fmla="*/ 48482 h 323278"/>
                  <a:gd name="connsiteX14" fmla="*/ 77819 w 3238881"/>
                  <a:gd name="connsiteY14" fmla="*/ 48482 h 323278"/>
                  <a:gd name="connsiteX15" fmla="*/ 77819 w 3238881"/>
                  <a:gd name="connsiteY15" fmla="*/ 60674 h 323278"/>
                  <a:gd name="connsiteX16" fmla="*/ 79914 w 3238881"/>
                  <a:gd name="connsiteY16" fmla="*/ 60674 h 323278"/>
                  <a:gd name="connsiteX17" fmla="*/ 79914 w 3238881"/>
                  <a:gd name="connsiteY17" fmla="*/ 66770 h 323278"/>
                  <a:gd name="connsiteX18" fmla="*/ 92487 w 3238881"/>
                  <a:gd name="connsiteY18" fmla="*/ 66770 h 323278"/>
                  <a:gd name="connsiteX19" fmla="*/ 92487 w 3238881"/>
                  <a:gd name="connsiteY19" fmla="*/ 72771 h 323278"/>
                  <a:gd name="connsiteX20" fmla="*/ 115633 w 3238881"/>
                  <a:gd name="connsiteY20" fmla="*/ 72771 h 323278"/>
                  <a:gd name="connsiteX21" fmla="*/ 115633 w 3238881"/>
                  <a:gd name="connsiteY21" fmla="*/ 78867 h 323278"/>
                  <a:gd name="connsiteX22" fmla="*/ 122015 w 3238881"/>
                  <a:gd name="connsiteY22" fmla="*/ 78867 h 323278"/>
                  <a:gd name="connsiteX23" fmla="*/ 122015 w 3238881"/>
                  <a:gd name="connsiteY23" fmla="*/ 84963 h 323278"/>
                  <a:gd name="connsiteX24" fmla="*/ 130397 w 3238881"/>
                  <a:gd name="connsiteY24" fmla="*/ 84963 h 323278"/>
                  <a:gd name="connsiteX25" fmla="*/ 130397 w 3238881"/>
                  <a:gd name="connsiteY25" fmla="*/ 90964 h 323278"/>
                  <a:gd name="connsiteX26" fmla="*/ 138779 w 3238881"/>
                  <a:gd name="connsiteY26" fmla="*/ 90964 h 323278"/>
                  <a:gd name="connsiteX27" fmla="*/ 138779 w 3238881"/>
                  <a:gd name="connsiteY27" fmla="*/ 97060 h 323278"/>
                  <a:gd name="connsiteX28" fmla="*/ 142970 w 3238881"/>
                  <a:gd name="connsiteY28" fmla="*/ 97060 h 323278"/>
                  <a:gd name="connsiteX29" fmla="*/ 142970 w 3238881"/>
                  <a:gd name="connsiteY29" fmla="*/ 103156 h 323278"/>
                  <a:gd name="connsiteX30" fmla="*/ 216598 w 3238881"/>
                  <a:gd name="connsiteY30" fmla="*/ 103156 h 323278"/>
                  <a:gd name="connsiteX31" fmla="*/ 216598 w 3238881"/>
                  <a:gd name="connsiteY31" fmla="*/ 109156 h 323278"/>
                  <a:gd name="connsiteX32" fmla="*/ 237648 w 3238881"/>
                  <a:gd name="connsiteY32" fmla="*/ 109156 h 323278"/>
                  <a:gd name="connsiteX33" fmla="*/ 237648 w 3238881"/>
                  <a:gd name="connsiteY33" fmla="*/ 115252 h 323278"/>
                  <a:gd name="connsiteX34" fmla="*/ 243935 w 3238881"/>
                  <a:gd name="connsiteY34" fmla="*/ 115252 h 323278"/>
                  <a:gd name="connsiteX35" fmla="*/ 243935 w 3238881"/>
                  <a:gd name="connsiteY35" fmla="*/ 121348 h 323278"/>
                  <a:gd name="connsiteX36" fmla="*/ 286035 w 3238881"/>
                  <a:gd name="connsiteY36" fmla="*/ 121348 h 323278"/>
                  <a:gd name="connsiteX37" fmla="*/ 286035 w 3238881"/>
                  <a:gd name="connsiteY37" fmla="*/ 127349 h 323278"/>
                  <a:gd name="connsiteX38" fmla="*/ 300704 w 3238881"/>
                  <a:gd name="connsiteY38" fmla="*/ 127349 h 323278"/>
                  <a:gd name="connsiteX39" fmla="*/ 300704 w 3238881"/>
                  <a:gd name="connsiteY39" fmla="*/ 133445 h 323278"/>
                  <a:gd name="connsiteX40" fmla="*/ 330231 w 3238881"/>
                  <a:gd name="connsiteY40" fmla="*/ 133445 h 323278"/>
                  <a:gd name="connsiteX41" fmla="*/ 330231 w 3238881"/>
                  <a:gd name="connsiteY41" fmla="*/ 139541 h 323278"/>
                  <a:gd name="connsiteX42" fmla="*/ 332327 w 3238881"/>
                  <a:gd name="connsiteY42" fmla="*/ 139541 h 323278"/>
                  <a:gd name="connsiteX43" fmla="*/ 332327 w 3238881"/>
                  <a:gd name="connsiteY43" fmla="*/ 145542 h 323278"/>
                  <a:gd name="connsiteX44" fmla="*/ 355377 w 3238881"/>
                  <a:gd name="connsiteY44" fmla="*/ 145542 h 323278"/>
                  <a:gd name="connsiteX45" fmla="*/ 355377 w 3238881"/>
                  <a:gd name="connsiteY45" fmla="*/ 151638 h 323278"/>
                  <a:gd name="connsiteX46" fmla="*/ 368046 w 3238881"/>
                  <a:gd name="connsiteY46" fmla="*/ 151638 h 323278"/>
                  <a:gd name="connsiteX47" fmla="*/ 368046 w 3238881"/>
                  <a:gd name="connsiteY47" fmla="*/ 157734 h 323278"/>
                  <a:gd name="connsiteX48" fmla="*/ 403764 w 3238881"/>
                  <a:gd name="connsiteY48" fmla="*/ 157734 h 323278"/>
                  <a:gd name="connsiteX49" fmla="*/ 403764 w 3238881"/>
                  <a:gd name="connsiteY49" fmla="*/ 163830 h 323278"/>
                  <a:gd name="connsiteX50" fmla="*/ 519493 w 3238881"/>
                  <a:gd name="connsiteY50" fmla="*/ 163830 h 323278"/>
                  <a:gd name="connsiteX51" fmla="*/ 519493 w 3238881"/>
                  <a:gd name="connsiteY51" fmla="*/ 169831 h 323278"/>
                  <a:gd name="connsiteX52" fmla="*/ 557307 w 3238881"/>
                  <a:gd name="connsiteY52" fmla="*/ 169831 h 323278"/>
                  <a:gd name="connsiteX53" fmla="*/ 557307 w 3238881"/>
                  <a:gd name="connsiteY53" fmla="*/ 176022 h 323278"/>
                  <a:gd name="connsiteX54" fmla="*/ 609885 w 3238881"/>
                  <a:gd name="connsiteY54" fmla="*/ 176022 h 323278"/>
                  <a:gd name="connsiteX55" fmla="*/ 609885 w 3238881"/>
                  <a:gd name="connsiteY55" fmla="*/ 182118 h 323278"/>
                  <a:gd name="connsiteX56" fmla="*/ 628840 w 3238881"/>
                  <a:gd name="connsiteY56" fmla="*/ 182118 h 323278"/>
                  <a:gd name="connsiteX57" fmla="*/ 628840 w 3238881"/>
                  <a:gd name="connsiteY57" fmla="*/ 188214 h 323278"/>
                  <a:gd name="connsiteX58" fmla="*/ 639318 w 3238881"/>
                  <a:gd name="connsiteY58" fmla="*/ 188214 h 323278"/>
                  <a:gd name="connsiteX59" fmla="*/ 639318 w 3238881"/>
                  <a:gd name="connsiteY59" fmla="*/ 194405 h 323278"/>
                  <a:gd name="connsiteX60" fmla="*/ 673036 w 3238881"/>
                  <a:gd name="connsiteY60" fmla="*/ 194405 h 323278"/>
                  <a:gd name="connsiteX61" fmla="*/ 673036 w 3238881"/>
                  <a:gd name="connsiteY61" fmla="*/ 200501 h 323278"/>
                  <a:gd name="connsiteX62" fmla="*/ 679323 w 3238881"/>
                  <a:gd name="connsiteY62" fmla="*/ 200501 h 323278"/>
                  <a:gd name="connsiteX63" fmla="*/ 679323 w 3238881"/>
                  <a:gd name="connsiteY63" fmla="*/ 206597 h 323278"/>
                  <a:gd name="connsiteX64" fmla="*/ 693991 w 3238881"/>
                  <a:gd name="connsiteY64" fmla="*/ 206597 h 323278"/>
                  <a:gd name="connsiteX65" fmla="*/ 693991 w 3238881"/>
                  <a:gd name="connsiteY65" fmla="*/ 212693 h 323278"/>
                  <a:gd name="connsiteX66" fmla="*/ 706659 w 3238881"/>
                  <a:gd name="connsiteY66" fmla="*/ 212693 h 323278"/>
                  <a:gd name="connsiteX67" fmla="*/ 706659 w 3238881"/>
                  <a:gd name="connsiteY67" fmla="*/ 218884 h 323278"/>
                  <a:gd name="connsiteX68" fmla="*/ 731901 w 3238881"/>
                  <a:gd name="connsiteY68" fmla="*/ 218884 h 323278"/>
                  <a:gd name="connsiteX69" fmla="*/ 731901 w 3238881"/>
                  <a:gd name="connsiteY69" fmla="*/ 224980 h 323278"/>
                  <a:gd name="connsiteX70" fmla="*/ 961167 w 3238881"/>
                  <a:gd name="connsiteY70" fmla="*/ 224980 h 323278"/>
                  <a:gd name="connsiteX71" fmla="*/ 961167 w 3238881"/>
                  <a:gd name="connsiteY71" fmla="*/ 231172 h 323278"/>
                  <a:gd name="connsiteX72" fmla="*/ 1074705 w 3238881"/>
                  <a:gd name="connsiteY72" fmla="*/ 231172 h 323278"/>
                  <a:gd name="connsiteX73" fmla="*/ 1074705 w 3238881"/>
                  <a:gd name="connsiteY73" fmla="*/ 237363 h 323278"/>
                  <a:gd name="connsiteX74" fmla="*/ 1343882 w 3238881"/>
                  <a:gd name="connsiteY74" fmla="*/ 237363 h 323278"/>
                  <a:gd name="connsiteX75" fmla="*/ 1343882 w 3238881"/>
                  <a:gd name="connsiteY75" fmla="*/ 243649 h 323278"/>
                  <a:gd name="connsiteX76" fmla="*/ 1417510 w 3238881"/>
                  <a:gd name="connsiteY76" fmla="*/ 243649 h 323278"/>
                  <a:gd name="connsiteX77" fmla="*/ 1417510 w 3238881"/>
                  <a:gd name="connsiteY77" fmla="*/ 249936 h 323278"/>
                  <a:gd name="connsiteX78" fmla="*/ 1497425 w 3238881"/>
                  <a:gd name="connsiteY78" fmla="*/ 249936 h 323278"/>
                  <a:gd name="connsiteX79" fmla="*/ 1497425 w 3238881"/>
                  <a:gd name="connsiteY79" fmla="*/ 256222 h 323278"/>
                  <a:gd name="connsiteX80" fmla="*/ 1659350 w 3238881"/>
                  <a:gd name="connsiteY80" fmla="*/ 256222 h 323278"/>
                  <a:gd name="connsiteX81" fmla="*/ 1659350 w 3238881"/>
                  <a:gd name="connsiteY81" fmla="*/ 262699 h 323278"/>
                  <a:gd name="connsiteX82" fmla="*/ 1676209 w 3238881"/>
                  <a:gd name="connsiteY82" fmla="*/ 262699 h 323278"/>
                  <a:gd name="connsiteX83" fmla="*/ 1676209 w 3238881"/>
                  <a:gd name="connsiteY83" fmla="*/ 269081 h 323278"/>
                  <a:gd name="connsiteX84" fmla="*/ 1794033 w 3238881"/>
                  <a:gd name="connsiteY84" fmla="*/ 269081 h 323278"/>
                  <a:gd name="connsiteX85" fmla="*/ 1794033 w 3238881"/>
                  <a:gd name="connsiteY85" fmla="*/ 275558 h 323278"/>
                  <a:gd name="connsiteX86" fmla="*/ 1886521 w 3238881"/>
                  <a:gd name="connsiteY86" fmla="*/ 275558 h 323278"/>
                  <a:gd name="connsiteX87" fmla="*/ 1886521 w 3238881"/>
                  <a:gd name="connsiteY87" fmla="*/ 281940 h 323278"/>
                  <a:gd name="connsiteX88" fmla="*/ 1905476 w 3238881"/>
                  <a:gd name="connsiteY88" fmla="*/ 281940 h 323278"/>
                  <a:gd name="connsiteX89" fmla="*/ 1905476 w 3238881"/>
                  <a:gd name="connsiteY89" fmla="*/ 288417 h 323278"/>
                  <a:gd name="connsiteX90" fmla="*/ 2759297 w 3238881"/>
                  <a:gd name="connsiteY90" fmla="*/ 288417 h 323278"/>
                  <a:gd name="connsiteX91" fmla="*/ 2759297 w 3238881"/>
                  <a:gd name="connsiteY91" fmla="*/ 323278 h 323278"/>
                  <a:gd name="connsiteX92" fmla="*/ 3238881 w 3238881"/>
                  <a:gd name="connsiteY92" fmla="*/ 323278 h 323278"/>
                  <a:gd name="connsiteX0" fmla="*/ 0 w 3238881"/>
                  <a:gd name="connsiteY0" fmla="*/ 0 h 323278"/>
                  <a:gd name="connsiteX1" fmla="*/ 16859 w 3238881"/>
                  <a:gd name="connsiteY1" fmla="*/ 6096 h 323278"/>
                  <a:gd name="connsiteX2" fmla="*/ 16859 w 3238881"/>
                  <a:gd name="connsiteY2" fmla="*/ 12097 h 323278"/>
                  <a:gd name="connsiteX3" fmla="*/ 44196 w 3238881"/>
                  <a:gd name="connsiteY3" fmla="*/ 12097 h 323278"/>
                  <a:gd name="connsiteX4" fmla="*/ 44196 w 3238881"/>
                  <a:gd name="connsiteY4" fmla="*/ 18193 h 323278"/>
                  <a:gd name="connsiteX5" fmla="*/ 46291 w 3238881"/>
                  <a:gd name="connsiteY5" fmla="*/ 18193 h 323278"/>
                  <a:gd name="connsiteX6" fmla="*/ 46291 w 3238881"/>
                  <a:gd name="connsiteY6" fmla="*/ 24289 h 323278"/>
                  <a:gd name="connsiteX7" fmla="*/ 56768 w 3238881"/>
                  <a:gd name="connsiteY7" fmla="*/ 24289 h 323278"/>
                  <a:gd name="connsiteX8" fmla="*/ 56768 w 3238881"/>
                  <a:gd name="connsiteY8" fmla="*/ 30289 h 323278"/>
                  <a:gd name="connsiteX9" fmla="*/ 63055 w 3238881"/>
                  <a:gd name="connsiteY9" fmla="*/ 30289 h 323278"/>
                  <a:gd name="connsiteX10" fmla="*/ 63055 w 3238881"/>
                  <a:gd name="connsiteY10" fmla="*/ 42481 h 323278"/>
                  <a:gd name="connsiteX11" fmla="*/ 71532 w 3238881"/>
                  <a:gd name="connsiteY11" fmla="*/ 42481 h 323278"/>
                  <a:gd name="connsiteX12" fmla="*/ 71532 w 3238881"/>
                  <a:gd name="connsiteY12" fmla="*/ 48482 h 323278"/>
                  <a:gd name="connsiteX13" fmla="*/ 77819 w 3238881"/>
                  <a:gd name="connsiteY13" fmla="*/ 48482 h 323278"/>
                  <a:gd name="connsiteX14" fmla="*/ 77819 w 3238881"/>
                  <a:gd name="connsiteY14" fmla="*/ 60674 h 323278"/>
                  <a:gd name="connsiteX15" fmla="*/ 79914 w 3238881"/>
                  <a:gd name="connsiteY15" fmla="*/ 60674 h 323278"/>
                  <a:gd name="connsiteX16" fmla="*/ 79914 w 3238881"/>
                  <a:gd name="connsiteY16" fmla="*/ 66770 h 323278"/>
                  <a:gd name="connsiteX17" fmla="*/ 92487 w 3238881"/>
                  <a:gd name="connsiteY17" fmla="*/ 66770 h 323278"/>
                  <a:gd name="connsiteX18" fmla="*/ 92487 w 3238881"/>
                  <a:gd name="connsiteY18" fmla="*/ 72771 h 323278"/>
                  <a:gd name="connsiteX19" fmla="*/ 115633 w 3238881"/>
                  <a:gd name="connsiteY19" fmla="*/ 72771 h 323278"/>
                  <a:gd name="connsiteX20" fmla="*/ 115633 w 3238881"/>
                  <a:gd name="connsiteY20" fmla="*/ 78867 h 323278"/>
                  <a:gd name="connsiteX21" fmla="*/ 122015 w 3238881"/>
                  <a:gd name="connsiteY21" fmla="*/ 78867 h 323278"/>
                  <a:gd name="connsiteX22" fmla="*/ 122015 w 3238881"/>
                  <a:gd name="connsiteY22" fmla="*/ 84963 h 323278"/>
                  <a:gd name="connsiteX23" fmla="*/ 130397 w 3238881"/>
                  <a:gd name="connsiteY23" fmla="*/ 84963 h 323278"/>
                  <a:gd name="connsiteX24" fmla="*/ 130397 w 3238881"/>
                  <a:gd name="connsiteY24" fmla="*/ 90964 h 323278"/>
                  <a:gd name="connsiteX25" fmla="*/ 138779 w 3238881"/>
                  <a:gd name="connsiteY25" fmla="*/ 90964 h 323278"/>
                  <a:gd name="connsiteX26" fmla="*/ 138779 w 3238881"/>
                  <a:gd name="connsiteY26" fmla="*/ 97060 h 323278"/>
                  <a:gd name="connsiteX27" fmla="*/ 142970 w 3238881"/>
                  <a:gd name="connsiteY27" fmla="*/ 97060 h 323278"/>
                  <a:gd name="connsiteX28" fmla="*/ 142970 w 3238881"/>
                  <a:gd name="connsiteY28" fmla="*/ 103156 h 323278"/>
                  <a:gd name="connsiteX29" fmla="*/ 216598 w 3238881"/>
                  <a:gd name="connsiteY29" fmla="*/ 103156 h 323278"/>
                  <a:gd name="connsiteX30" fmla="*/ 216598 w 3238881"/>
                  <a:gd name="connsiteY30" fmla="*/ 109156 h 323278"/>
                  <a:gd name="connsiteX31" fmla="*/ 237648 w 3238881"/>
                  <a:gd name="connsiteY31" fmla="*/ 109156 h 323278"/>
                  <a:gd name="connsiteX32" fmla="*/ 237648 w 3238881"/>
                  <a:gd name="connsiteY32" fmla="*/ 115252 h 323278"/>
                  <a:gd name="connsiteX33" fmla="*/ 243935 w 3238881"/>
                  <a:gd name="connsiteY33" fmla="*/ 115252 h 323278"/>
                  <a:gd name="connsiteX34" fmla="*/ 243935 w 3238881"/>
                  <a:gd name="connsiteY34" fmla="*/ 121348 h 323278"/>
                  <a:gd name="connsiteX35" fmla="*/ 286035 w 3238881"/>
                  <a:gd name="connsiteY35" fmla="*/ 121348 h 323278"/>
                  <a:gd name="connsiteX36" fmla="*/ 286035 w 3238881"/>
                  <a:gd name="connsiteY36" fmla="*/ 127349 h 323278"/>
                  <a:gd name="connsiteX37" fmla="*/ 300704 w 3238881"/>
                  <a:gd name="connsiteY37" fmla="*/ 127349 h 323278"/>
                  <a:gd name="connsiteX38" fmla="*/ 300704 w 3238881"/>
                  <a:gd name="connsiteY38" fmla="*/ 133445 h 323278"/>
                  <a:gd name="connsiteX39" fmla="*/ 330231 w 3238881"/>
                  <a:gd name="connsiteY39" fmla="*/ 133445 h 323278"/>
                  <a:gd name="connsiteX40" fmla="*/ 330231 w 3238881"/>
                  <a:gd name="connsiteY40" fmla="*/ 139541 h 323278"/>
                  <a:gd name="connsiteX41" fmla="*/ 332327 w 3238881"/>
                  <a:gd name="connsiteY41" fmla="*/ 139541 h 323278"/>
                  <a:gd name="connsiteX42" fmla="*/ 332327 w 3238881"/>
                  <a:gd name="connsiteY42" fmla="*/ 145542 h 323278"/>
                  <a:gd name="connsiteX43" fmla="*/ 355377 w 3238881"/>
                  <a:gd name="connsiteY43" fmla="*/ 145542 h 323278"/>
                  <a:gd name="connsiteX44" fmla="*/ 355377 w 3238881"/>
                  <a:gd name="connsiteY44" fmla="*/ 151638 h 323278"/>
                  <a:gd name="connsiteX45" fmla="*/ 368046 w 3238881"/>
                  <a:gd name="connsiteY45" fmla="*/ 151638 h 323278"/>
                  <a:gd name="connsiteX46" fmla="*/ 368046 w 3238881"/>
                  <a:gd name="connsiteY46" fmla="*/ 157734 h 323278"/>
                  <a:gd name="connsiteX47" fmla="*/ 403764 w 3238881"/>
                  <a:gd name="connsiteY47" fmla="*/ 157734 h 323278"/>
                  <a:gd name="connsiteX48" fmla="*/ 403764 w 3238881"/>
                  <a:gd name="connsiteY48" fmla="*/ 163830 h 323278"/>
                  <a:gd name="connsiteX49" fmla="*/ 519493 w 3238881"/>
                  <a:gd name="connsiteY49" fmla="*/ 163830 h 323278"/>
                  <a:gd name="connsiteX50" fmla="*/ 519493 w 3238881"/>
                  <a:gd name="connsiteY50" fmla="*/ 169831 h 323278"/>
                  <a:gd name="connsiteX51" fmla="*/ 557307 w 3238881"/>
                  <a:gd name="connsiteY51" fmla="*/ 169831 h 323278"/>
                  <a:gd name="connsiteX52" fmla="*/ 557307 w 3238881"/>
                  <a:gd name="connsiteY52" fmla="*/ 176022 h 323278"/>
                  <a:gd name="connsiteX53" fmla="*/ 609885 w 3238881"/>
                  <a:gd name="connsiteY53" fmla="*/ 176022 h 323278"/>
                  <a:gd name="connsiteX54" fmla="*/ 609885 w 3238881"/>
                  <a:gd name="connsiteY54" fmla="*/ 182118 h 323278"/>
                  <a:gd name="connsiteX55" fmla="*/ 628840 w 3238881"/>
                  <a:gd name="connsiteY55" fmla="*/ 182118 h 323278"/>
                  <a:gd name="connsiteX56" fmla="*/ 628840 w 3238881"/>
                  <a:gd name="connsiteY56" fmla="*/ 188214 h 323278"/>
                  <a:gd name="connsiteX57" fmla="*/ 639318 w 3238881"/>
                  <a:gd name="connsiteY57" fmla="*/ 188214 h 323278"/>
                  <a:gd name="connsiteX58" fmla="*/ 639318 w 3238881"/>
                  <a:gd name="connsiteY58" fmla="*/ 194405 h 323278"/>
                  <a:gd name="connsiteX59" fmla="*/ 673036 w 3238881"/>
                  <a:gd name="connsiteY59" fmla="*/ 194405 h 323278"/>
                  <a:gd name="connsiteX60" fmla="*/ 673036 w 3238881"/>
                  <a:gd name="connsiteY60" fmla="*/ 200501 h 323278"/>
                  <a:gd name="connsiteX61" fmla="*/ 679323 w 3238881"/>
                  <a:gd name="connsiteY61" fmla="*/ 200501 h 323278"/>
                  <a:gd name="connsiteX62" fmla="*/ 679323 w 3238881"/>
                  <a:gd name="connsiteY62" fmla="*/ 206597 h 323278"/>
                  <a:gd name="connsiteX63" fmla="*/ 693991 w 3238881"/>
                  <a:gd name="connsiteY63" fmla="*/ 206597 h 323278"/>
                  <a:gd name="connsiteX64" fmla="*/ 693991 w 3238881"/>
                  <a:gd name="connsiteY64" fmla="*/ 212693 h 323278"/>
                  <a:gd name="connsiteX65" fmla="*/ 706659 w 3238881"/>
                  <a:gd name="connsiteY65" fmla="*/ 212693 h 323278"/>
                  <a:gd name="connsiteX66" fmla="*/ 706659 w 3238881"/>
                  <a:gd name="connsiteY66" fmla="*/ 218884 h 323278"/>
                  <a:gd name="connsiteX67" fmla="*/ 731901 w 3238881"/>
                  <a:gd name="connsiteY67" fmla="*/ 218884 h 323278"/>
                  <a:gd name="connsiteX68" fmla="*/ 731901 w 3238881"/>
                  <a:gd name="connsiteY68" fmla="*/ 224980 h 323278"/>
                  <a:gd name="connsiteX69" fmla="*/ 961167 w 3238881"/>
                  <a:gd name="connsiteY69" fmla="*/ 224980 h 323278"/>
                  <a:gd name="connsiteX70" fmla="*/ 961167 w 3238881"/>
                  <a:gd name="connsiteY70" fmla="*/ 231172 h 323278"/>
                  <a:gd name="connsiteX71" fmla="*/ 1074705 w 3238881"/>
                  <a:gd name="connsiteY71" fmla="*/ 231172 h 323278"/>
                  <a:gd name="connsiteX72" fmla="*/ 1074705 w 3238881"/>
                  <a:gd name="connsiteY72" fmla="*/ 237363 h 323278"/>
                  <a:gd name="connsiteX73" fmla="*/ 1343882 w 3238881"/>
                  <a:gd name="connsiteY73" fmla="*/ 237363 h 323278"/>
                  <a:gd name="connsiteX74" fmla="*/ 1343882 w 3238881"/>
                  <a:gd name="connsiteY74" fmla="*/ 243649 h 323278"/>
                  <a:gd name="connsiteX75" fmla="*/ 1417510 w 3238881"/>
                  <a:gd name="connsiteY75" fmla="*/ 243649 h 323278"/>
                  <a:gd name="connsiteX76" fmla="*/ 1417510 w 3238881"/>
                  <a:gd name="connsiteY76" fmla="*/ 249936 h 323278"/>
                  <a:gd name="connsiteX77" fmla="*/ 1497425 w 3238881"/>
                  <a:gd name="connsiteY77" fmla="*/ 249936 h 323278"/>
                  <a:gd name="connsiteX78" fmla="*/ 1497425 w 3238881"/>
                  <a:gd name="connsiteY78" fmla="*/ 256222 h 323278"/>
                  <a:gd name="connsiteX79" fmla="*/ 1659350 w 3238881"/>
                  <a:gd name="connsiteY79" fmla="*/ 256222 h 323278"/>
                  <a:gd name="connsiteX80" fmla="*/ 1659350 w 3238881"/>
                  <a:gd name="connsiteY80" fmla="*/ 262699 h 323278"/>
                  <a:gd name="connsiteX81" fmla="*/ 1676209 w 3238881"/>
                  <a:gd name="connsiteY81" fmla="*/ 262699 h 323278"/>
                  <a:gd name="connsiteX82" fmla="*/ 1676209 w 3238881"/>
                  <a:gd name="connsiteY82" fmla="*/ 269081 h 323278"/>
                  <a:gd name="connsiteX83" fmla="*/ 1794033 w 3238881"/>
                  <a:gd name="connsiteY83" fmla="*/ 269081 h 323278"/>
                  <a:gd name="connsiteX84" fmla="*/ 1794033 w 3238881"/>
                  <a:gd name="connsiteY84" fmla="*/ 275558 h 323278"/>
                  <a:gd name="connsiteX85" fmla="*/ 1886521 w 3238881"/>
                  <a:gd name="connsiteY85" fmla="*/ 275558 h 323278"/>
                  <a:gd name="connsiteX86" fmla="*/ 1886521 w 3238881"/>
                  <a:gd name="connsiteY86" fmla="*/ 281940 h 323278"/>
                  <a:gd name="connsiteX87" fmla="*/ 1905476 w 3238881"/>
                  <a:gd name="connsiteY87" fmla="*/ 281940 h 323278"/>
                  <a:gd name="connsiteX88" fmla="*/ 1905476 w 3238881"/>
                  <a:gd name="connsiteY88" fmla="*/ 288417 h 323278"/>
                  <a:gd name="connsiteX89" fmla="*/ 2759297 w 3238881"/>
                  <a:gd name="connsiteY89" fmla="*/ 288417 h 323278"/>
                  <a:gd name="connsiteX90" fmla="*/ 2759297 w 3238881"/>
                  <a:gd name="connsiteY90" fmla="*/ 323278 h 323278"/>
                  <a:gd name="connsiteX91" fmla="*/ 3238881 w 3238881"/>
                  <a:gd name="connsiteY91" fmla="*/ 323278 h 323278"/>
                  <a:gd name="connsiteX0" fmla="*/ 0 w 3222022"/>
                  <a:gd name="connsiteY0" fmla="*/ 0 h 317182"/>
                  <a:gd name="connsiteX1" fmla="*/ 0 w 3222022"/>
                  <a:gd name="connsiteY1" fmla="*/ 6001 h 317182"/>
                  <a:gd name="connsiteX2" fmla="*/ 27337 w 3222022"/>
                  <a:gd name="connsiteY2" fmla="*/ 6001 h 317182"/>
                  <a:gd name="connsiteX3" fmla="*/ 27337 w 3222022"/>
                  <a:gd name="connsiteY3" fmla="*/ 12097 h 317182"/>
                  <a:gd name="connsiteX4" fmla="*/ 29432 w 3222022"/>
                  <a:gd name="connsiteY4" fmla="*/ 12097 h 317182"/>
                  <a:gd name="connsiteX5" fmla="*/ 29432 w 3222022"/>
                  <a:gd name="connsiteY5" fmla="*/ 18193 h 317182"/>
                  <a:gd name="connsiteX6" fmla="*/ 39909 w 3222022"/>
                  <a:gd name="connsiteY6" fmla="*/ 18193 h 317182"/>
                  <a:gd name="connsiteX7" fmla="*/ 39909 w 3222022"/>
                  <a:gd name="connsiteY7" fmla="*/ 24193 h 317182"/>
                  <a:gd name="connsiteX8" fmla="*/ 46196 w 3222022"/>
                  <a:gd name="connsiteY8" fmla="*/ 24193 h 317182"/>
                  <a:gd name="connsiteX9" fmla="*/ 46196 w 3222022"/>
                  <a:gd name="connsiteY9" fmla="*/ 36385 h 317182"/>
                  <a:gd name="connsiteX10" fmla="*/ 54673 w 3222022"/>
                  <a:gd name="connsiteY10" fmla="*/ 36385 h 317182"/>
                  <a:gd name="connsiteX11" fmla="*/ 54673 w 3222022"/>
                  <a:gd name="connsiteY11" fmla="*/ 42386 h 317182"/>
                  <a:gd name="connsiteX12" fmla="*/ 60960 w 3222022"/>
                  <a:gd name="connsiteY12" fmla="*/ 42386 h 317182"/>
                  <a:gd name="connsiteX13" fmla="*/ 60960 w 3222022"/>
                  <a:gd name="connsiteY13" fmla="*/ 54578 h 317182"/>
                  <a:gd name="connsiteX14" fmla="*/ 63055 w 3222022"/>
                  <a:gd name="connsiteY14" fmla="*/ 54578 h 317182"/>
                  <a:gd name="connsiteX15" fmla="*/ 63055 w 3222022"/>
                  <a:gd name="connsiteY15" fmla="*/ 60674 h 317182"/>
                  <a:gd name="connsiteX16" fmla="*/ 75628 w 3222022"/>
                  <a:gd name="connsiteY16" fmla="*/ 60674 h 317182"/>
                  <a:gd name="connsiteX17" fmla="*/ 75628 w 3222022"/>
                  <a:gd name="connsiteY17" fmla="*/ 66675 h 317182"/>
                  <a:gd name="connsiteX18" fmla="*/ 98774 w 3222022"/>
                  <a:gd name="connsiteY18" fmla="*/ 66675 h 317182"/>
                  <a:gd name="connsiteX19" fmla="*/ 98774 w 3222022"/>
                  <a:gd name="connsiteY19" fmla="*/ 72771 h 317182"/>
                  <a:gd name="connsiteX20" fmla="*/ 105156 w 3222022"/>
                  <a:gd name="connsiteY20" fmla="*/ 72771 h 317182"/>
                  <a:gd name="connsiteX21" fmla="*/ 105156 w 3222022"/>
                  <a:gd name="connsiteY21" fmla="*/ 78867 h 317182"/>
                  <a:gd name="connsiteX22" fmla="*/ 113538 w 3222022"/>
                  <a:gd name="connsiteY22" fmla="*/ 78867 h 317182"/>
                  <a:gd name="connsiteX23" fmla="*/ 113538 w 3222022"/>
                  <a:gd name="connsiteY23" fmla="*/ 84868 h 317182"/>
                  <a:gd name="connsiteX24" fmla="*/ 121920 w 3222022"/>
                  <a:gd name="connsiteY24" fmla="*/ 84868 h 317182"/>
                  <a:gd name="connsiteX25" fmla="*/ 121920 w 3222022"/>
                  <a:gd name="connsiteY25" fmla="*/ 90964 h 317182"/>
                  <a:gd name="connsiteX26" fmla="*/ 126111 w 3222022"/>
                  <a:gd name="connsiteY26" fmla="*/ 90964 h 317182"/>
                  <a:gd name="connsiteX27" fmla="*/ 126111 w 3222022"/>
                  <a:gd name="connsiteY27" fmla="*/ 97060 h 317182"/>
                  <a:gd name="connsiteX28" fmla="*/ 199739 w 3222022"/>
                  <a:gd name="connsiteY28" fmla="*/ 97060 h 317182"/>
                  <a:gd name="connsiteX29" fmla="*/ 199739 w 3222022"/>
                  <a:gd name="connsiteY29" fmla="*/ 103060 h 317182"/>
                  <a:gd name="connsiteX30" fmla="*/ 220789 w 3222022"/>
                  <a:gd name="connsiteY30" fmla="*/ 103060 h 317182"/>
                  <a:gd name="connsiteX31" fmla="*/ 220789 w 3222022"/>
                  <a:gd name="connsiteY31" fmla="*/ 109156 h 317182"/>
                  <a:gd name="connsiteX32" fmla="*/ 227076 w 3222022"/>
                  <a:gd name="connsiteY32" fmla="*/ 109156 h 317182"/>
                  <a:gd name="connsiteX33" fmla="*/ 227076 w 3222022"/>
                  <a:gd name="connsiteY33" fmla="*/ 115252 h 317182"/>
                  <a:gd name="connsiteX34" fmla="*/ 269176 w 3222022"/>
                  <a:gd name="connsiteY34" fmla="*/ 115252 h 317182"/>
                  <a:gd name="connsiteX35" fmla="*/ 269176 w 3222022"/>
                  <a:gd name="connsiteY35" fmla="*/ 121253 h 317182"/>
                  <a:gd name="connsiteX36" fmla="*/ 283845 w 3222022"/>
                  <a:gd name="connsiteY36" fmla="*/ 121253 h 317182"/>
                  <a:gd name="connsiteX37" fmla="*/ 283845 w 3222022"/>
                  <a:gd name="connsiteY37" fmla="*/ 127349 h 317182"/>
                  <a:gd name="connsiteX38" fmla="*/ 313372 w 3222022"/>
                  <a:gd name="connsiteY38" fmla="*/ 127349 h 317182"/>
                  <a:gd name="connsiteX39" fmla="*/ 313372 w 3222022"/>
                  <a:gd name="connsiteY39" fmla="*/ 133445 h 317182"/>
                  <a:gd name="connsiteX40" fmla="*/ 315468 w 3222022"/>
                  <a:gd name="connsiteY40" fmla="*/ 133445 h 317182"/>
                  <a:gd name="connsiteX41" fmla="*/ 315468 w 3222022"/>
                  <a:gd name="connsiteY41" fmla="*/ 139446 h 317182"/>
                  <a:gd name="connsiteX42" fmla="*/ 338518 w 3222022"/>
                  <a:gd name="connsiteY42" fmla="*/ 139446 h 317182"/>
                  <a:gd name="connsiteX43" fmla="*/ 338518 w 3222022"/>
                  <a:gd name="connsiteY43" fmla="*/ 145542 h 317182"/>
                  <a:gd name="connsiteX44" fmla="*/ 351187 w 3222022"/>
                  <a:gd name="connsiteY44" fmla="*/ 145542 h 317182"/>
                  <a:gd name="connsiteX45" fmla="*/ 351187 w 3222022"/>
                  <a:gd name="connsiteY45" fmla="*/ 151638 h 317182"/>
                  <a:gd name="connsiteX46" fmla="*/ 386905 w 3222022"/>
                  <a:gd name="connsiteY46" fmla="*/ 151638 h 317182"/>
                  <a:gd name="connsiteX47" fmla="*/ 386905 w 3222022"/>
                  <a:gd name="connsiteY47" fmla="*/ 157734 h 317182"/>
                  <a:gd name="connsiteX48" fmla="*/ 502634 w 3222022"/>
                  <a:gd name="connsiteY48" fmla="*/ 157734 h 317182"/>
                  <a:gd name="connsiteX49" fmla="*/ 502634 w 3222022"/>
                  <a:gd name="connsiteY49" fmla="*/ 163735 h 317182"/>
                  <a:gd name="connsiteX50" fmla="*/ 540448 w 3222022"/>
                  <a:gd name="connsiteY50" fmla="*/ 163735 h 317182"/>
                  <a:gd name="connsiteX51" fmla="*/ 540448 w 3222022"/>
                  <a:gd name="connsiteY51" fmla="*/ 169926 h 317182"/>
                  <a:gd name="connsiteX52" fmla="*/ 593026 w 3222022"/>
                  <a:gd name="connsiteY52" fmla="*/ 169926 h 317182"/>
                  <a:gd name="connsiteX53" fmla="*/ 593026 w 3222022"/>
                  <a:gd name="connsiteY53" fmla="*/ 176022 h 317182"/>
                  <a:gd name="connsiteX54" fmla="*/ 611981 w 3222022"/>
                  <a:gd name="connsiteY54" fmla="*/ 176022 h 317182"/>
                  <a:gd name="connsiteX55" fmla="*/ 611981 w 3222022"/>
                  <a:gd name="connsiteY55" fmla="*/ 182118 h 317182"/>
                  <a:gd name="connsiteX56" fmla="*/ 622459 w 3222022"/>
                  <a:gd name="connsiteY56" fmla="*/ 182118 h 317182"/>
                  <a:gd name="connsiteX57" fmla="*/ 622459 w 3222022"/>
                  <a:gd name="connsiteY57" fmla="*/ 188309 h 317182"/>
                  <a:gd name="connsiteX58" fmla="*/ 656177 w 3222022"/>
                  <a:gd name="connsiteY58" fmla="*/ 188309 h 317182"/>
                  <a:gd name="connsiteX59" fmla="*/ 656177 w 3222022"/>
                  <a:gd name="connsiteY59" fmla="*/ 194405 h 317182"/>
                  <a:gd name="connsiteX60" fmla="*/ 662464 w 3222022"/>
                  <a:gd name="connsiteY60" fmla="*/ 194405 h 317182"/>
                  <a:gd name="connsiteX61" fmla="*/ 662464 w 3222022"/>
                  <a:gd name="connsiteY61" fmla="*/ 200501 h 317182"/>
                  <a:gd name="connsiteX62" fmla="*/ 677132 w 3222022"/>
                  <a:gd name="connsiteY62" fmla="*/ 200501 h 317182"/>
                  <a:gd name="connsiteX63" fmla="*/ 677132 w 3222022"/>
                  <a:gd name="connsiteY63" fmla="*/ 206597 h 317182"/>
                  <a:gd name="connsiteX64" fmla="*/ 689800 w 3222022"/>
                  <a:gd name="connsiteY64" fmla="*/ 206597 h 317182"/>
                  <a:gd name="connsiteX65" fmla="*/ 689800 w 3222022"/>
                  <a:gd name="connsiteY65" fmla="*/ 212788 h 317182"/>
                  <a:gd name="connsiteX66" fmla="*/ 715042 w 3222022"/>
                  <a:gd name="connsiteY66" fmla="*/ 212788 h 317182"/>
                  <a:gd name="connsiteX67" fmla="*/ 715042 w 3222022"/>
                  <a:gd name="connsiteY67" fmla="*/ 218884 h 317182"/>
                  <a:gd name="connsiteX68" fmla="*/ 944308 w 3222022"/>
                  <a:gd name="connsiteY68" fmla="*/ 218884 h 317182"/>
                  <a:gd name="connsiteX69" fmla="*/ 944308 w 3222022"/>
                  <a:gd name="connsiteY69" fmla="*/ 225076 h 317182"/>
                  <a:gd name="connsiteX70" fmla="*/ 1057846 w 3222022"/>
                  <a:gd name="connsiteY70" fmla="*/ 225076 h 317182"/>
                  <a:gd name="connsiteX71" fmla="*/ 1057846 w 3222022"/>
                  <a:gd name="connsiteY71" fmla="*/ 231267 h 317182"/>
                  <a:gd name="connsiteX72" fmla="*/ 1327023 w 3222022"/>
                  <a:gd name="connsiteY72" fmla="*/ 231267 h 317182"/>
                  <a:gd name="connsiteX73" fmla="*/ 1327023 w 3222022"/>
                  <a:gd name="connsiteY73" fmla="*/ 237553 h 317182"/>
                  <a:gd name="connsiteX74" fmla="*/ 1400651 w 3222022"/>
                  <a:gd name="connsiteY74" fmla="*/ 237553 h 317182"/>
                  <a:gd name="connsiteX75" fmla="*/ 1400651 w 3222022"/>
                  <a:gd name="connsiteY75" fmla="*/ 243840 h 317182"/>
                  <a:gd name="connsiteX76" fmla="*/ 1480566 w 3222022"/>
                  <a:gd name="connsiteY76" fmla="*/ 243840 h 317182"/>
                  <a:gd name="connsiteX77" fmla="*/ 1480566 w 3222022"/>
                  <a:gd name="connsiteY77" fmla="*/ 250126 h 317182"/>
                  <a:gd name="connsiteX78" fmla="*/ 1642491 w 3222022"/>
                  <a:gd name="connsiteY78" fmla="*/ 250126 h 317182"/>
                  <a:gd name="connsiteX79" fmla="*/ 1642491 w 3222022"/>
                  <a:gd name="connsiteY79" fmla="*/ 256603 h 317182"/>
                  <a:gd name="connsiteX80" fmla="*/ 1659350 w 3222022"/>
                  <a:gd name="connsiteY80" fmla="*/ 256603 h 317182"/>
                  <a:gd name="connsiteX81" fmla="*/ 1659350 w 3222022"/>
                  <a:gd name="connsiteY81" fmla="*/ 262985 h 317182"/>
                  <a:gd name="connsiteX82" fmla="*/ 1777174 w 3222022"/>
                  <a:gd name="connsiteY82" fmla="*/ 262985 h 317182"/>
                  <a:gd name="connsiteX83" fmla="*/ 1777174 w 3222022"/>
                  <a:gd name="connsiteY83" fmla="*/ 269462 h 317182"/>
                  <a:gd name="connsiteX84" fmla="*/ 1869662 w 3222022"/>
                  <a:gd name="connsiteY84" fmla="*/ 269462 h 317182"/>
                  <a:gd name="connsiteX85" fmla="*/ 1869662 w 3222022"/>
                  <a:gd name="connsiteY85" fmla="*/ 275844 h 317182"/>
                  <a:gd name="connsiteX86" fmla="*/ 1888617 w 3222022"/>
                  <a:gd name="connsiteY86" fmla="*/ 275844 h 317182"/>
                  <a:gd name="connsiteX87" fmla="*/ 1888617 w 3222022"/>
                  <a:gd name="connsiteY87" fmla="*/ 282321 h 317182"/>
                  <a:gd name="connsiteX88" fmla="*/ 2742438 w 3222022"/>
                  <a:gd name="connsiteY88" fmla="*/ 282321 h 317182"/>
                  <a:gd name="connsiteX89" fmla="*/ 2742438 w 3222022"/>
                  <a:gd name="connsiteY89" fmla="*/ 317182 h 317182"/>
                  <a:gd name="connsiteX90" fmla="*/ 3222022 w 3222022"/>
                  <a:gd name="connsiteY90" fmla="*/ 317182 h 317182"/>
                  <a:gd name="connsiteX0" fmla="*/ 0 w 3222022"/>
                  <a:gd name="connsiteY0" fmla="*/ 0 h 317182"/>
                  <a:gd name="connsiteX1" fmla="*/ 27337 w 3222022"/>
                  <a:gd name="connsiteY1" fmla="*/ 6001 h 317182"/>
                  <a:gd name="connsiteX2" fmla="*/ 27337 w 3222022"/>
                  <a:gd name="connsiteY2" fmla="*/ 12097 h 317182"/>
                  <a:gd name="connsiteX3" fmla="*/ 29432 w 3222022"/>
                  <a:gd name="connsiteY3" fmla="*/ 12097 h 317182"/>
                  <a:gd name="connsiteX4" fmla="*/ 29432 w 3222022"/>
                  <a:gd name="connsiteY4" fmla="*/ 18193 h 317182"/>
                  <a:gd name="connsiteX5" fmla="*/ 39909 w 3222022"/>
                  <a:gd name="connsiteY5" fmla="*/ 18193 h 317182"/>
                  <a:gd name="connsiteX6" fmla="*/ 39909 w 3222022"/>
                  <a:gd name="connsiteY6" fmla="*/ 24193 h 317182"/>
                  <a:gd name="connsiteX7" fmla="*/ 46196 w 3222022"/>
                  <a:gd name="connsiteY7" fmla="*/ 24193 h 317182"/>
                  <a:gd name="connsiteX8" fmla="*/ 46196 w 3222022"/>
                  <a:gd name="connsiteY8" fmla="*/ 36385 h 317182"/>
                  <a:gd name="connsiteX9" fmla="*/ 54673 w 3222022"/>
                  <a:gd name="connsiteY9" fmla="*/ 36385 h 317182"/>
                  <a:gd name="connsiteX10" fmla="*/ 54673 w 3222022"/>
                  <a:gd name="connsiteY10" fmla="*/ 42386 h 317182"/>
                  <a:gd name="connsiteX11" fmla="*/ 60960 w 3222022"/>
                  <a:gd name="connsiteY11" fmla="*/ 42386 h 317182"/>
                  <a:gd name="connsiteX12" fmla="*/ 60960 w 3222022"/>
                  <a:gd name="connsiteY12" fmla="*/ 54578 h 317182"/>
                  <a:gd name="connsiteX13" fmla="*/ 63055 w 3222022"/>
                  <a:gd name="connsiteY13" fmla="*/ 54578 h 317182"/>
                  <a:gd name="connsiteX14" fmla="*/ 63055 w 3222022"/>
                  <a:gd name="connsiteY14" fmla="*/ 60674 h 317182"/>
                  <a:gd name="connsiteX15" fmla="*/ 75628 w 3222022"/>
                  <a:gd name="connsiteY15" fmla="*/ 60674 h 317182"/>
                  <a:gd name="connsiteX16" fmla="*/ 75628 w 3222022"/>
                  <a:gd name="connsiteY16" fmla="*/ 66675 h 317182"/>
                  <a:gd name="connsiteX17" fmla="*/ 98774 w 3222022"/>
                  <a:gd name="connsiteY17" fmla="*/ 66675 h 317182"/>
                  <a:gd name="connsiteX18" fmla="*/ 98774 w 3222022"/>
                  <a:gd name="connsiteY18" fmla="*/ 72771 h 317182"/>
                  <a:gd name="connsiteX19" fmla="*/ 105156 w 3222022"/>
                  <a:gd name="connsiteY19" fmla="*/ 72771 h 317182"/>
                  <a:gd name="connsiteX20" fmla="*/ 105156 w 3222022"/>
                  <a:gd name="connsiteY20" fmla="*/ 78867 h 317182"/>
                  <a:gd name="connsiteX21" fmla="*/ 113538 w 3222022"/>
                  <a:gd name="connsiteY21" fmla="*/ 78867 h 317182"/>
                  <a:gd name="connsiteX22" fmla="*/ 113538 w 3222022"/>
                  <a:gd name="connsiteY22" fmla="*/ 84868 h 317182"/>
                  <a:gd name="connsiteX23" fmla="*/ 121920 w 3222022"/>
                  <a:gd name="connsiteY23" fmla="*/ 84868 h 317182"/>
                  <a:gd name="connsiteX24" fmla="*/ 121920 w 3222022"/>
                  <a:gd name="connsiteY24" fmla="*/ 90964 h 317182"/>
                  <a:gd name="connsiteX25" fmla="*/ 126111 w 3222022"/>
                  <a:gd name="connsiteY25" fmla="*/ 90964 h 317182"/>
                  <a:gd name="connsiteX26" fmla="*/ 126111 w 3222022"/>
                  <a:gd name="connsiteY26" fmla="*/ 97060 h 317182"/>
                  <a:gd name="connsiteX27" fmla="*/ 199739 w 3222022"/>
                  <a:gd name="connsiteY27" fmla="*/ 97060 h 317182"/>
                  <a:gd name="connsiteX28" fmla="*/ 199739 w 3222022"/>
                  <a:gd name="connsiteY28" fmla="*/ 103060 h 317182"/>
                  <a:gd name="connsiteX29" fmla="*/ 220789 w 3222022"/>
                  <a:gd name="connsiteY29" fmla="*/ 103060 h 317182"/>
                  <a:gd name="connsiteX30" fmla="*/ 220789 w 3222022"/>
                  <a:gd name="connsiteY30" fmla="*/ 109156 h 317182"/>
                  <a:gd name="connsiteX31" fmla="*/ 227076 w 3222022"/>
                  <a:gd name="connsiteY31" fmla="*/ 109156 h 317182"/>
                  <a:gd name="connsiteX32" fmla="*/ 227076 w 3222022"/>
                  <a:gd name="connsiteY32" fmla="*/ 115252 h 317182"/>
                  <a:gd name="connsiteX33" fmla="*/ 269176 w 3222022"/>
                  <a:gd name="connsiteY33" fmla="*/ 115252 h 317182"/>
                  <a:gd name="connsiteX34" fmla="*/ 269176 w 3222022"/>
                  <a:gd name="connsiteY34" fmla="*/ 121253 h 317182"/>
                  <a:gd name="connsiteX35" fmla="*/ 283845 w 3222022"/>
                  <a:gd name="connsiteY35" fmla="*/ 121253 h 317182"/>
                  <a:gd name="connsiteX36" fmla="*/ 283845 w 3222022"/>
                  <a:gd name="connsiteY36" fmla="*/ 127349 h 317182"/>
                  <a:gd name="connsiteX37" fmla="*/ 313372 w 3222022"/>
                  <a:gd name="connsiteY37" fmla="*/ 127349 h 317182"/>
                  <a:gd name="connsiteX38" fmla="*/ 313372 w 3222022"/>
                  <a:gd name="connsiteY38" fmla="*/ 133445 h 317182"/>
                  <a:gd name="connsiteX39" fmla="*/ 315468 w 3222022"/>
                  <a:gd name="connsiteY39" fmla="*/ 133445 h 317182"/>
                  <a:gd name="connsiteX40" fmla="*/ 315468 w 3222022"/>
                  <a:gd name="connsiteY40" fmla="*/ 139446 h 317182"/>
                  <a:gd name="connsiteX41" fmla="*/ 338518 w 3222022"/>
                  <a:gd name="connsiteY41" fmla="*/ 139446 h 317182"/>
                  <a:gd name="connsiteX42" fmla="*/ 338518 w 3222022"/>
                  <a:gd name="connsiteY42" fmla="*/ 145542 h 317182"/>
                  <a:gd name="connsiteX43" fmla="*/ 351187 w 3222022"/>
                  <a:gd name="connsiteY43" fmla="*/ 145542 h 317182"/>
                  <a:gd name="connsiteX44" fmla="*/ 351187 w 3222022"/>
                  <a:gd name="connsiteY44" fmla="*/ 151638 h 317182"/>
                  <a:gd name="connsiteX45" fmla="*/ 386905 w 3222022"/>
                  <a:gd name="connsiteY45" fmla="*/ 151638 h 317182"/>
                  <a:gd name="connsiteX46" fmla="*/ 386905 w 3222022"/>
                  <a:gd name="connsiteY46" fmla="*/ 157734 h 317182"/>
                  <a:gd name="connsiteX47" fmla="*/ 502634 w 3222022"/>
                  <a:gd name="connsiteY47" fmla="*/ 157734 h 317182"/>
                  <a:gd name="connsiteX48" fmla="*/ 502634 w 3222022"/>
                  <a:gd name="connsiteY48" fmla="*/ 163735 h 317182"/>
                  <a:gd name="connsiteX49" fmla="*/ 540448 w 3222022"/>
                  <a:gd name="connsiteY49" fmla="*/ 163735 h 317182"/>
                  <a:gd name="connsiteX50" fmla="*/ 540448 w 3222022"/>
                  <a:gd name="connsiteY50" fmla="*/ 169926 h 317182"/>
                  <a:gd name="connsiteX51" fmla="*/ 593026 w 3222022"/>
                  <a:gd name="connsiteY51" fmla="*/ 169926 h 317182"/>
                  <a:gd name="connsiteX52" fmla="*/ 593026 w 3222022"/>
                  <a:gd name="connsiteY52" fmla="*/ 176022 h 317182"/>
                  <a:gd name="connsiteX53" fmla="*/ 611981 w 3222022"/>
                  <a:gd name="connsiteY53" fmla="*/ 176022 h 317182"/>
                  <a:gd name="connsiteX54" fmla="*/ 611981 w 3222022"/>
                  <a:gd name="connsiteY54" fmla="*/ 182118 h 317182"/>
                  <a:gd name="connsiteX55" fmla="*/ 622459 w 3222022"/>
                  <a:gd name="connsiteY55" fmla="*/ 182118 h 317182"/>
                  <a:gd name="connsiteX56" fmla="*/ 622459 w 3222022"/>
                  <a:gd name="connsiteY56" fmla="*/ 188309 h 317182"/>
                  <a:gd name="connsiteX57" fmla="*/ 656177 w 3222022"/>
                  <a:gd name="connsiteY57" fmla="*/ 188309 h 317182"/>
                  <a:gd name="connsiteX58" fmla="*/ 656177 w 3222022"/>
                  <a:gd name="connsiteY58" fmla="*/ 194405 h 317182"/>
                  <a:gd name="connsiteX59" fmla="*/ 662464 w 3222022"/>
                  <a:gd name="connsiteY59" fmla="*/ 194405 h 317182"/>
                  <a:gd name="connsiteX60" fmla="*/ 662464 w 3222022"/>
                  <a:gd name="connsiteY60" fmla="*/ 200501 h 317182"/>
                  <a:gd name="connsiteX61" fmla="*/ 677132 w 3222022"/>
                  <a:gd name="connsiteY61" fmla="*/ 200501 h 317182"/>
                  <a:gd name="connsiteX62" fmla="*/ 677132 w 3222022"/>
                  <a:gd name="connsiteY62" fmla="*/ 206597 h 317182"/>
                  <a:gd name="connsiteX63" fmla="*/ 689800 w 3222022"/>
                  <a:gd name="connsiteY63" fmla="*/ 206597 h 317182"/>
                  <a:gd name="connsiteX64" fmla="*/ 689800 w 3222022"/>
                  <a:gd name="connsiteY64" fmla="*/ 212788 h 317182"/>
                  <a:gd name="connsiteX65" fmla="*/ 715042 w 3222022"/>
                  <a:gd name="connsiteY65" fmla="*/ 212788 h 317182"/>
                  <a:gd name="connsiteX66" fmla="*/ 715042 w 3222022"/>
                  <a:gd name="connsiteY66" fmla="*/ 218884 h 317182"/>
                  <a:gd name="connsiteX67" fmla="*/ 944308 w 3222022"/>
                  <a:gd name="connsiteY67" fmla="*/ 218884 h 317182"/>
                  <a:gd name="connsiteX68" fmla="*/ 944308 w 3222022"/>
                  <a:gd name="connsiteY68" fmla="*/ 225076 h 317182"/>
                  <a:gd name="connsiteX69" fmla="*/ 1057846 w 3222022"/>
                  <a:gd name="connsiteY69" fmla="*/ 225076 h 317182"/>
                  <a:gd name="connsiteX70" fmla="*/ 1057846 w 3222022"/>
                  <a:gd name="connsiteY70" fmla="*/ 231267 h 317182"/>
                  <a:gd name="connsiteX71" fmla="*/ 1327023 w 3222022"/>
                  <a:gd name="connsiteY71" fmla="*/ 231267 h 317182"/>
                  <a:gd name="connsiteX72" fmla="*/ 1327023 w 3222022"/>
                  <a:gd name="connsiteY72" fmla="*/ 237553 h 317182"/>
                  <a:gd name="connsiteX73" fmla="*/ 1400651 w 3222022"/>
                  <a:gd name="connsiteY73" fmla="*/ 237553 h 317182"/>
                  <a:gd name="connsiteX74" fmla="*/ 1400651 w 3222022"/>
                  <a:gd name="connsiteY74" fmla="*/ 243840 h 317182"/>
                  <a:gd name="connsiteX75" fmla="*/ 1480566 w 3222022"/>
                  <a:gd name="connsiteY75" fmla="*/ 243840 h 317182"/>
                  <a:gd name="connsiteX76" fmla="*/ 1480566 w 3222022"/>
                  <a:gd name="connsiteY76" fmla="*/ 250126 h 317182"/>
                  <a:gd name="connsiteX77" fmla="*/ 1642491 w 3222022"/>
                  <a:gd name="connsiteY77" fmla="*/ 250126 h 317182"/>
                  <a:gd name="connsiteX78" fmla="*/ 1642491 w 3222022"/>
                  <a:gd name="connsiteY78" fmla="*/ 256603 h 317182"/>
                  <a:gd name="connsiteX79" fmla="*/ 1659350 w 3222022"/>
                  <a:gd name="connsiteY79" fmla="*/ 256603 h 317182"/>
                  <a:gd name="connsiteX80" fmla="*/ 1659350 w 3222022"/>
                  <a:gd name="connsiteY80" fmla="*/ 262985 h 317182"/>
                  <a:gd name="connsiteX81" fmla="*/ 1777174 w 3222022"/>
                  <a:gd name="connsiteY81" fmla="*/ 262985 h 317182"/>
                  <a:gd name="connsiteX82" fmla="*/ 1777174 w 3222022"/>
                  <a:gd name="connsiteY82" fmla="*/ 269462 h 317182"/>
                  <a:gd name="connsiteX83" fmla="*/ 1869662 w 3222022"/>
                  <a:gd name="connsiteY83" fmla="*/ 269462 h 317182"/>
                  <a:gd name="connsiteX84" fmla="*/ 1869662 w 3222022"/>
                  <a:gd name="connsiteY84" fmla="*/ 275844 h 317182"/>
                  <a:gd name="connsiteX85" fmla="*/ 1888617 w 3222022"/>
                  <a:gd name="connsiteY85" fmla="*/ 275844 h 317182"/>
                  <a:gd name="connsiteX86" fmla="*/ 1888617 w 3222022"/>
                  <a:gd name="connsiteY86" fmla="*/ 282321 h 317182"/>
                  <a:gd name="connsiteX87" fmla="*/ 2742438 w 3222022"/>
                  <a:gd name="connsiteY87" fmla="*/ 282321 h 317182"/>
                  <a:gd name="connsiteX88" fmla="*/ 2742438 w 3222022"/>
                  <a:gd name="connsiteY88" fmla="*/ 317182 h 317182"/>
                  <a:gd name="connsiteX89" fmla="*/ 3222022 w 3222022"/>
                  <a:gd name="connsiteY89" fmla="*/ 317182 h 317182"/>
                  <a:gd name="connsiteX0" fmla="*/ 0 w 3194685"/>
                  <a:gd name="connsiteY0" fmla="*/ 0 h 311181"/>
                  <a:gd name="connsiteX1" fmla="*/ 0 w 3194685"/>
                  <a:gd name="connsiteY1" fmla="*/ 6096 h 311181"/>
                  <a:gd name="connsiteX2" fmla="*/ 2095 w 3194685"/>
                  <a:gd name="connsiteY2" fmla="*/ 6096 h 311181"/>
                  <a:gd name="connsiteX3" fmla="*/ 2095 w 3194685"/>
                  <a:gd name="connsiteY3" fmla="*/ 12192 h 311181"/>
                  <a:gd name="connsiteX4" fmla="*/ 12572 w 3194685"/>
                  <a:gd name="connsiteY4" fmla="*/ 12192 h 311181"/>
                  <a:gd name="connsiteX5" fmla="*/ 12572 w 3194685"/>
                  <a:gd name="connsiteY5" fmla="*/ 18192 h 311181"/>
                  <a:gd name="connsiteX6" fmla="*/ 18859 w 3194685"/>
                  <a:gd name="connsiteY6" fmla="*/ 18192 h 311181"/>
                  <a:gd name="connsiteX7" fmla="*/ 18859 w 3194685"/>
                  <a:gd name="connsiteY7" fmla="*/ 30384 h 311181"/>
                  <a:gd name="connsiteX8" fmla="*/ 27336 w 3194685"/>
                  <a:gd name="connsiteY8" fmla="*/ 30384 h 311181"/>
                  <a:gd name="connsiteX9" fmla="*/ 27336 w 3194685"/>
                  <a:gd name="connsiteY9" fmla="*/ 36385 h 311181"/>
                  <a:gd name="connsiteX10" fmla="*/ 33623 w 3194685"/>
                  <a:gd name="connsiteY10" fmla="*/ 36385 h 311181"/>
                  <a:gd name="connsiteX11" fmla="*/ 33623 w 3194685"/>
                  <a:gd name="connsiteY11" fmla="*/ 48577 h 311181"/>
                  <a:gd name="connsiteX12" fmla="*/ 35718 w 3194685"/>
                  <a:gd name="connsiteY12" fmla="*/ 48577 h 311181"/>
                  <a:gd name="connsiteX13" fmla="*/ 35718 w 3194685"/>
                  <a:gd name="connsiteY13" fmla="*/ 54673 h 311181"/>
                  <a:gd name="connsiteX14" fmla="*/ 48291 w 3194685"/>
                  <a:gd name="connsiteY14" fmla="*/ 54673 h 311181"/>
                  <a:gd name="connsiteX15" fmla="*/ 48291 w 3194685"/>
                  <a:gd name="connsiteY15" fmla="*/ 60674 h 311181"/>
                  <a:gd name="connsiteX16" fmla="*/ 71437 w 3194685"/>
                  <a:gd name="connsiteY16" fmla="*/ 60674 h 311181"/>
                  <a:gd name="connsiteX17" fmla="*/ 71437 w 3194685"/>
                  <a:gd name="connsiteY17" fmla="*/ 66770 h 311181"/>
                  <a:gd name="connsiteX18" fmla="*/ 77819 w 3194685"/>
                  <a:gd name="connsiteY18" fmla="*/ 66770 h 311181"/>
                  <a:gd name="connsiteX19" fmla="*/ 77819 w 3194685"/>
                  <a:gd name="connsiteY19" fmla="*/ 72866 h 311181"/>
                  <a:gd name="connsiteX20" fmla="*/ 86201 w 3194685"/>
                  <a:gd name="connsiteY20" fmla="*/ 72866 h 311181"/>
                  <a:gd name="connsiteX21" fmla="*/ 86201 w 3194685"/>
                  <a:gd name="connsiteY21" fmla="*/ 78867 h 311181"/>
                  <a:gd name="connsiteX22" fmla="*/ 94583 w 3194685"/>
                  <a:gd name="connsiteY22" fmla="*/ 78867 h 311181"/>
                  <a:gd name="connsiteX23" fmla="*/ 94583 w 3194685"/>
                  <a:gd name="connsiteY23" fmla="*/ 84963 h 311181"/>
                  <a:gd name="connsiteX24" fmla="*/ 98774 w 3194685"/>
                  <a:gd name="connsiteY24" fmla="*/ 84963 h 311181"/>
                  <a:gd name="connsiteX25" fmla="*/ 98774 w 3194685"/>
                  <a:gd name="connsiteY25" fmla="*/ 91059 h 311181"/>
                  <a:gd name="connsiteX26" fmla="*/ 172402 w 3194685"/>
                  <a:gd name="connsiteY26" fmla="*/ 91059 h 311181"/>
                  <a:gd name="connsiteX27" fmla="*/ 172402 w 3194685"/>
                  <a:gd name="connsiteY27" fmla="*/ 97059 h 311181"/>
                  <a:gd name="connsiteX28" fmla="*/ 193452 w 3194685"/>
                  <a:gd name="connsiteY28" fmla="*/ 97059 h 311181"/>
                  <a:gd name="connsiteX29" fmla="*/ 193452 w 3194685"/>
                  <a:gd name="connsiteY29" fmla="*/ 103155 h 311181"/>
                  <a:gd name="connsiteX30" fmla="*/ 199739 w 3194685"/>
                  <a:gd name="connsiteY30" fmla="*/ 103155 h 311181"/>
                  <a:gd name="connsiteX31" fmla="*/ 199739 w 3194685"/>
                  <a:gd name="connsiteY31" fmla="*/ 109251 h 311181"/>
                  <a:gd name="connsiteX32" fmla="*/ 241839 w 3194685"/>
                  <a:gd name="connsiteY32" fmla="*/ 109251 h 311181"/>
                  <a:gd name="connsiteX33" fmla="*/ 241839 w 3194685"/>
                  <a:gd name="connsiteY33" fmla="*/ 115252 h 311181"/>
                  <a:gd name="connsiteX34" fmla="*/ 256508 w 3194685"/>
                  <a:gd name="connsiteY34" fmla="*/ 115252 h 311181"/>
                  <a:gd name="connsiteX35" fmla="*/ 256508 w 3194685"/>
                  <a:gd name="connsiteY35" fmla="*/ 121348 h 311181"/>
                  <a:gd name="connsiteX36" fmla="*/ 286035 w 3194685"/>
                  <a:gd name="connsiteY36" fmla="*/ 121348 h 311181"/>
                  <a:gd name="connsiteX37" fmla="*/ 286035 w 3194685"/>
                  <a:gd name="connsiteY37" fmla="*/ 127444 h 311181"/>
                  <a:gd name="connsiteX38" fmla="*/ 288131 w 3194685"/>
                  <a:gd name="connsiteY38" fmla="*/ 127444 h 311181"/>
                  <a:gd name="connsiteX39" fmla="*/ 288131 w 3194685"/>
                  <a:gd name="connsiteY39" fmla="*/ 133445 h 311181"/>
                  <a:gd name="connsiteX40" fmla="*/ 311181 w 3194685"/>
                  <a:gd name="connsiteY40" fmla="*/ 133445 h 311181"/>
                  <a:gd name="connsiteX41" fmla="*/ 311181 w 3194685"/>
                  <a:gd name="connsiteY41" fmla="*/ 139541 h 311181"/>
                  <a:gd name="connsiteX42" fmla="*/ 323850 w 3194685"/>
                  <a:gd name="connsiteY42" fmla="*/ 139541 h 311181"/>
                  <a:gd name="connsiteX43" fmla="*/ 323850 w 3194685"/>
                  <a:gd name="connsiteY43" fmla="*/ 145637 h 311181"/>
                  <a:gd name="connsiteX44" fmla="*/ 359568 w 3194685"/>
                  <a:gd name="connsiteY44" fmla="*/ 145637 h 311181"/>
                  <a:gd name="connsiteX45" fmla="*/ 359568 w 3194685"/>
                  <a:gd name="connsiteY45" fmla="*/ 151733 h 311181"/>
                  <a:gd name="connsiteX46" fmla="*/ 475297 w 3194685"/>
                  <a:gd name="connsiteY46" fmla="*/ 151733 h 311181"/>
                  <a:gd name="connsiteX47" fmla="*/ 475297 w 3194685"/>
                  <a:gd name="connsiteY47" fmla="*/ 157734 h 311181"/>
                  <a:gd name="connsiteX48" fmla="*/ 513111 w 3194685"/>
                  <a:gd name="connsiteY48" fmla="*/ 157734 h 311181"/>
                  <a:gd name="connsiteX49" fmla="*/ 513111 w 3194685"/>
                  <a:gd name="connsiteY49" fmla="*/ 163925 h 311181"/>
                  <a:gd name="connsiteX50" fmla="*/ 565689 w 3194685"/>
                  <a:gd name="connsiteY50" fmla="*/ 163925 h 311181"/>
                  <a:gd name="connsiteX51" fmla="*/ 565689 w 3194685"/>
                  <a:gd name="connsiteY51" fmla="*/ 170021 h 311181"/>
                  <a:gd name="connsiteX52" fmla="*/ 584644 w 3194685"/>
                  <a:gd name="connsiteY52" fmla="*/ 170021 h 311181"/>
                  <a:gd name="connsiteX53" fmla="*/ 584644 w 3194685"/>
                  <a:gd name="connsiteY53" fmla="*/ 176117 h 311181"/>
                  <a:gd name="connsiteX54" fmla="*/ 595122 w 3194685"/>
                  <a:gd name="connsiteY54" fmla="*/ 176117 h 311181"/>
                  <a:gd name="connsiteX55" fmla="*/ 595122 w 3194685"/>
                  <a:gd name="connsiteY55" fmla="*/ 182308 h 311181"/>
                  <a:gd name="connsiteX56" fmla="*/ 628840 w 3194685"/>
                  <a:gd name="connsiteY56" fmla="*/ 182308 h 311181"/>
                  <a:gd name="connsiteX57" fmla="*/ 628840 w 3194685"/>
                  <a:gd name="connsiteY57" fmla="*/ 188404 h 311181"/>
                  <a:gd name="connsiteX58" fmla="*/ 635127 w 3194685"/>
                  <a:gd name="connsiteY58" fmla="*/ 188404 h 311181"/>
                  <a:gd name="connsiteX59" fmla="*/ 635127 w 3194685"/>
                  <a:gd name="connsiteY59" fmla="*/ 194500 h 311181"/>
                  <a:gd name="connsiteX60" fmla="*/ 649795 w 3194685"/>
                  <a:gd name="connsiteY60" fmla="*/ 194500 h 311181"/>
                  <a:gd name="connsiteX61" fmla="*/ 649795 w 3194685"/>
                  <a:gd name="connsiteY61" fmla="*/ 200596 h 311181"/>
                  <a:gd name="connsiteX62" fmla="*/ 662463 w 3194685"/>
                  <a:gd name="connsiteY62" fmla="*/ 200596 h 311181"/>
                  <a:gd name="connsiteX63" fmla="*/ 662463 w 3194685"/>
                  <a:gd name="connsiteY63" fmla="*/ 206787 h 311181"/>
                  <a:gd name="connsiteX64" fmla="*/ 687705 w 3194685"/>
                  <a:gd name="connsiteY64" fmla="*/ 206787 h 311181"/>
                  <a:gd name="connsiteX65" fmla="*/ 687705 w 3194685"/>
                  <a:gd name="connsiteY65" fmla="*/ 212883 h 311181"/>
                  <a:gd name="connsiteX66" fmla="*/ 916971 w 3194685"/>
                  <a:gd name="connsiteY66" fmla="*/ 212883 h 311181"/>
                  <a:gd name="connsiteX67" fmla="*/ 916971 w 3194685"/>
                  <a:gd name="connsiteY67" fmla="*/ 219075 h 311181"/>
                  <a:gd name="connsiteX68" fmla="*/ 1030509 w 3194685"/>
                  <a:gd name="connsiteY68" fmla="*/ 219075 h 311181"/>
                  <a:gd name="connsiteX69" fmla="*/ 1030509 w 3194685"/>
                  <a:gd name="connsiteY69" fmla="*/ 225266 h 311181"/>
                  <a:gd name="connsiteX70" fmla="*/ 1299686 w 3194685"/>
                  <a:gd name="connsiteY70" fmla="*/ 225266 h 311181"/>
                  <a:gd name="connsiteX71" fmla="*/ 1299686 w 3194685"/>
                  <a:gd name="connsiteY71" fmla="*/ 231552 h 311181"/>
                  <a:gd name="connsiteX72" fmla="*/ 1373314 w 3194685"/>
                  <a:gd name="connsiteY72" fmla="*/ 231552 h 311181"/>
                  <a:gd name="connsiteX73" fmla="*/ 1373314 w 3194685"/>
                  <a:gd name="connsiteY73" fmla="*/ 237839 h 311181"/>
                  <a:gd name="connsiteX74" fmla="*/ 1453229 w 3194685"/>
                  <a:gd name="connsiteY74" fmla="*/ 237839 h 311181"/>
                  <a:gd name="connsiteX75" fmla="*/ 1453229 w 3194685"/>
                  <a:gd name="connsiteY75" fmla="*/ 244125 h 311181"/>
                  <a:gd name="connsiteX76" fmla="*/ 1615154 w 3194685"/>
                  <a:gd name="connsiteY76" fmla="*/ 244125 h 311181"/>
                  <a:gd name="connsiteX77" fmla="*/ 1615154 w 3194685"/>
                  <a:gd name="connsiteY77" fmla="*/ 250602 h 311181"/>
                  <a:gd name="connsiteX78" fmla="*/ 1632013 w 3194685"/>
                  <a:gd name="connsiteY78" fmla="*/ 250602 h 311181"/>
                  <a:gd name="connsiteX79" fmla="*/ 1632013 w 3194685"/>
                  <a:gd name="connsiteY79" fmla="*/ 256984 h 311181"/>
                  <a:gd name="connsiteX80" fmla="*/ 1749837 w 3194685"/>
                  <a:gd name="connsiteY80" fmla="*/ 256984 h 311181"/>
                  <a:gd name="connsiteX81" fmla="*/ 1749837 w 3194685"/>
                  <a:gd name="connsiteY81" fmla="*/ 263461 h 311181"/>
                  <a:gd name="connsiteX82" fmla="*/ 1842325 w 3194685"/>
                  <a:gd name="connsiteY82" fmla="*/ 263461 h 311181"/>
                  <a:gd name="connsiteX83" fmla="*/ 1842325 w 3194685"/>
                  <a:gd name="connsiteY83" fmla="*/ 269843 h 311181"/>
                  <a:gd name="connsiteX84" fmla="*/ 1861280 w 3194685"/>
                  <a:gd name="connsiteY84" fmla="*/ 269843 h 311181"/>
                  <a:gd name="connsiteX85" fmla="*/ 1861280 w 3194685"/>
                  <a:gd name="connsiteY85" fmla="*/ 276320 h 311181"/>
                  <a:gd name="connsiteX86" fmla="*/ 2715101 w 3194685"/>
                  <a:gd name="connsiteY86" fmla="*/ 276320 h 311181"/>
                  <a:gd name="connsiteX87" fmla="*/ 2715101 w 3194685"/>
                  <a:gd name="connsiteY87" fmla="*/ 311181 h 311181"/>
                  <a:gd name="connsiteX88" fmla="*/ 3194685 w 3194685"/>
                  <a:gd name="connsiteY88" fmla="*/ 311181 h 311181"/>
                  <a:gd name="connsiteX0" fmla="*/ 0 w 3194685"/>
                  <a:gd name="connsiteY0" fmla="*/ 0 h 311181"/>
                  <a:gd name="connsiteX1" fmla="*/ 0 w 3194685"/>
                  <a:gd name="connsiteY1" fmla="*/ 6096 h 311181"/>
                  <a:gd name="connsiteX2" fmla="*/ 2095 w 3194685"/>
                  <a:gd name="connsiteY2" fmla="*/ 12192 h 311181"/>
                  <a:gd name="connsiteX3" fmla="*/ 12572 w 3194685"/>
                  <a:gd name="connsiteY3" fmla="*/ 12192 h 311181"/>
                  <a:gd name="connsiteX4" fmla="*/ 12572 w 3194685"/>
                  <a:gd name="connsiteY4" fmla="*/ 18192 h 311181"/>
                  <a:gd name="connsiteX5" fmla="*/ 18859 w 3194685"/>
                  <a:gd name="connsiteY5" fmla="*/ 18192 h 311181"/>
                  <a:gd name="connsiteX6" fmla="*/ 18859 w 3194685"/>
                  <a:gd name="connsiteY6" fmla="*/ 30384 h 311181"/>
                  <a:gd name="connsiteX7" fmla="*/ 27336 w 3194685"/>
                  <a:gd name="connsiteY7" fmla="*/ 30384 h 311181"/>
                  <a:gd name="connsiteX8" fmla="*/ 27336 w 3194685"/>
                  <a:gd name="connsiteY8" fmla="*/ 36385 h 311181"/>
                  <a:gd name="connsiteX9" fmla="*/ 33623 w 3194685"/>
                  <a:gd name="connsiteY9" fmla="*/ 36385 h 311181"/>
                  <a:gd name="connsiteX10" fmla="*/ 33623 w 3194685"/>
                  <a:gd name="connsiteY10" fmla="*/ 48577 h 311181"/>
                  <a:gd name="connsiteX11" fmla="*/ 35718 w 3194685"/>
                  <a:gd name="connsiteY11" fmla="*/ 48577 h 311181"/>
                  <a:gd name="connsiteX12" fmla="*/ 35718 w 3194685"/>
                  <a:gd name="connsiteY12" fmla="*/ 54673 h 311181"/>
                  <a:gd name="connsiteX13" fmla="*/ 48291 w 3194685"/>
                  <a:gd name="connsiteY13" fmla="*/ 54673 h 311181"/>
                  <a:gd name="connsiteX14" fmla="*/ 48291 w 3194685"/>
                  <a:gd name="connsiteY14" fmla="*/ 60674 h 311181"/>
                  <a:gd name="connsiteX15" fmla="*/ 71437 w 3194685"/>
                  <a:gd name="connsiteY15" fmla="*/ 60674 h 311181"/>
                  <a:gd name="connsiteX16" fmla="*/ 71437 w 3194685"/>
                  <a:gd name="connsiteY16" fmla="*/ 66770 h 311181"/>
                  <a:gd name="connsiteX17" fmla="*/ 77819 w 3194685"/>
                  <a:gd name="connsiteY17" fmla="*/ 66770 h 311181"/>
                  <a:gd name="connsiteX18" fmla="*/ 77819 w 3194685"/>
                  <a:gd name="connsiteY18" fmla="*/ 72866 h 311181"/>
                  <a:gd name="connsiteX19" fmla="*/ 86201 w 3194685"/>
                  <a:gd name="connsiteY19" fmla="*/ 72866 h 311181"/>
                  <a:gd name="connsiteX20" fmla="*/ 86201 w 3194685"/>
                  <a:gd name="connsiteY20" fmla="*/ 78867 h 311181"/>
                  <a:gd name="connsiteX21" fmla="*/ 94583 w 3194685"/>
                  <a:gd name="connsiteY21" fmla="*/ 78867 h 311181"/>
                  <a:gd name="connsiteX22" fmla="*/ 94583 w 3194685"/>
                  <a:gd name="connsiteY22" fmla="*/ 84963 h 311181"/>
                  <a:gd name="connsiteX23" fmla="*/ 98774 w 3194685"/>
                  <a:gd name="connsiteY23" fmla="*/ 84963 h 311181"/>
                  <a:gd name="connsiteX24" fmla="*/ 98774 w 3194685"/>
                  <a:gd name="connsiteY24" fmla="*/ 91059 h 311181"/>
                  <a:gd name="connsiteX25" fmla="*/ 172402 w 3194685"/>
                  <a:gd name="connsiteY25" fmla="*/ 91059 h 311181"/>
                  <a:gd name="connsiteX26" fmla="*/ 172402 w 3194685"/>
                  <a:gd name="connsiteY26" fmla="*/ 97059 h 311181"/>
                  <a:gd name="connsiteX27" fmla="*/ 193452 w 3194685"/>
                  <a:gd name="connsiteY27" fmla="*/ 97059 h 311181"/>
                  <a:gd name="connsiteX28" fmla="*/ 193452 w 3194685"/>
                  <a:gd name="connsiteY28" fmla="*/ 103155 h 311181"/>
                  <a:gd name="connsiteX29" fmla="*/ 199739 w 3194685"/>
                  <a:gd name="connsiteY29" fmla="*/ 103155 h 311181"/>
                  <a:gd name="connsiteX30" fmla="*/ 199739 w 3194685"/>
                  <a:gd name="connsiteY30" fmla="*/ 109251 h 311181"/>
                  <a:gd name="connsiteX31" fmla="*/ 241839 w 3194685"/>
                  <a:gd name="connsiteY31" fmla="*/ 109251 h 311181"/>
                  <a:gd name="connsiteX32" fmla="*/ 241839 w 3194685"/>
                  <a:gd name="connsiteY32" fmla="*/ 115252 h 311181"/>
                  <a:gd name="connsiteX33" fmla="*/ 256508 w 3194685"/>
                  <a:gd name="connsiteY33" fmla="*/ 115252 h 311181"/>
                  <a:gd name="connsiteX34" fmla="*/ 256508 w 3194685"/>
                  <a:gd name="connsiteY34" fmla="*/ 121348 h 311181"/>
                  <a:gd name="connsiteX35" fmla="*/ 286035 w 3194685"/>
                  <a:gd name="connsiteY35" fmla="*/ 121348 h 311181"/>
                  <a:gd name="connsiteX36" fmla="*/ 286035 w 3194685"/>
                  <a:gd name="connsiteY36" fmla="*/ 127444 h 311181"/>
                  <a:gd name="connsiteX37" fmla="*/ 288131 w 3194685"/>
                  <a:gd name="connsiteY37" fmla="*/ 127444 h 311181"/>
                  <a:gd name="connsiteX38" fmla="*/ 288131 w 3194685"/>
                  <a:gd name="connsiteY38" fmla="*/ 133445 h 311181"/>
                  <a:gd name="connsiteX39" fmla="*/ 311181 w 3194685"/>
                  <a:gd name="connsiteY39" fmla="*/ 133445 h 311181"/>
                  <a:gd name="connsiteX40" fmla="*/ 311181 w 3194685"/>
                  <a:gd name="connsiteY40" fmla="*/ 139541 h 311181"/>
                  <a:gd name="connsiteX41" fmla="*/ 323850 w 3194685"/>
                  <a:gd name="connsiteY41" fmla="*/ 139541 h 311181"/>
                  <a:gd name="connsiteX42" fmla="*/ 323850 w 3194685"/>
                  <a:gd name="connsiteY42" fmla="*/ 145637 h 311181"/>
                  <a:gd name="connsiteX43" fmla="*/ 359568 w 3194685"/>
                  <a:gd name="connsiteY43" fmla="*/ 145637 h 311181"/>
                  <a:gd name="connsiteX44" fmla="*/ 359568 w 3194685"/>
                  <a:gd name="connsiteY44" fmla="*/ 151733 h 311181"/>
                  <a:gd name="connsiteX45" fmla="*/ 475297 w 3194685"/>
                  <a:gd name="connsiteY45" fmla="*/ 151733 h 311181"/>
                  <a:gd name="connsiteX46" fmla="*/ 475297 w 3194685"/>
                  <a:gd name="connsiteY46" fmla="*/ 157734 h 311181"/>
                  <a:gd name="connsiteX47" fmla="*/ 513111 w 3194685"/>
                  <a:gd name="connsiteY47" fmla="*/ 157734 h 311181"/>
                  <a:gd name="connsiteX48" fmla="*/ 513111 w 3194685"/>
                  <a:gd name="connsiteY48" fmla="*/ 163925 h 311181"/>
                  <a:gd name="connsiteX49" fmla="*/ 565689 w 3194685"/>
                  <a:gd name="connsiteY49" fmla="*/ 163925 h 311181"/>
                  <a:gd name="connsiteX50" fmla="*/ 565689 w 3194685"/>
                  <a:gd name="connsiteY50" fmla="*/ 170021 h 311181"/>
                  <a:gd name="connsiteX51" fmla="*/ 584644 w 3194685"/>
                  <a:gd name="connsiteY51" fmla="*/ 170021 h 311181"/>
                  <a:gd name="connsiteX52" fmla="*/ 584644 w 3194685"/>
                  <a:gd name="connsiteY52" fmla="*/ 176117 h 311181"/>
                  <a:gd name="connsiteX53" fmla="*/ 595122 w 3194685"/>
                  <a:gd name="connsiteY53" fmla="*/ 176117 h 311181"/>
                  <a:gd name="connsiteX54" fmla="*/ 595122 w 3194685"/>
                  <a:gd name="connsiteY54" fmla="*/ 182308 h 311181"/>
                  <a:gd name="connsiteX55" fmla="*/ 628840 w 3194685"/>
                  <a:gd name="connsiteY55" fmla="*/ 182308 h 311181"/>
                  <a:gd name="connsiteX56" fmla="*/ 628840 w 3194685"/>
                  <a:gd name="connsiteY56" fmla="*/ 188404 h 311181"/>
                  <a:gd name="connsiteX57" fmla="*/ 635127 w 3194685"/>
                  <a:gd name="connsiteY57" fmla="*/ 188404 h 311181"/>
                  <a:gd name="connsiteX58" fmla="*/ 635127 w 3194685"/>
                  <a:gd name="connsiteY58" fmla="*/ 194500 h 311181"/>
                  <a:gd name="connsiteX59" fmla="*/ 649795 w 3194685"/>
                  <a:gd name="connsiteY59" fmla="*/ 194500 h 311181"/>
                  <a:gd name="connsiteX60" fmla="*/ 649795 w 3194685"/>
                  <a:gd name="connsiteY60" fmla="*/ 200596 h 311181"/>
                  <a:gd name="connsiteX61" fmla="*/ 662463 w 3194685"/>
                  <a:gd name="connsiteY61" fmla="*/ 200596 h 311181"/>
                  <a:gd name="connsiteX62" fmla="*/ 662463 w 3194685"/>
                  <a:gd name="connsiteY62" fmla="*/ 206787 h 311181"/>
                  <a:gd name="connsiteX63" fmla="*/ 687705 w 3194685"/>
                  <a:gd name="connsiteY63" fmla="*/ 206787 h 311181"/>
                  <a:gd name="connsiteX64" fmla="*/ 687705 w 3194685"/>
                  <a:gd name="connsiteY64" fmla="*/ 212883 h 311181"/>
                  <a:gd name="connsiteX65" fmla="*/ 916971 w 3194685"/>
                  <a:gd name="connsiteY65" fmla="*/ 212883 h 311181"/>
                  <a:gd name="connsiteX66" fmla="*/ 916971 w 3194685"/>
                  <a:gd name="connsiteY66" fmla="*/ 219075 h 311181"/>
                  <a:gd name="connsiteX67" fmla="*/ 1030509 w 3194685"/>
                  <a:gd name="connsiteY67" fmla="*/ 219075 h 311181"/>
                  <a:gd name="connsiteX68" fmla="*/ 1030509 w 3194685"/>
                  <a:gd name="connsiteY68" fmla="*/ 225266 h 311181"/>
                  <a:gd name="connsiteX69" fmla="*/ 1299686 w 3194685"/>
                  <a:gd name="connsiteY69" fmla="*/ 225266 h 311181"/>
                  <a:gd name="connsiteX70" fmla="*/ 1299686 w 3194685"/>
                  <a:gd name="connsiteY70" fmla="*/ 231552 h 311181"/>
                  <a:gd name="connsiteX71" fmla="*/ 1373314 w 3194685"/>
                  <a:gd name="connsiteY71" fmla="*/ 231552 h 311181"/>
                  <a:gd name="connsiteX72" fmla="*/ 1373314 w 3194685"/>
                  <a:gd name="connsiteY72" fmla="*/ 237839 h 311181"/>
                  <a:gd name="connsiteX73" fmla="*/ 1453229 w 3194685"/>
                  <a:gd name="connsiteY73" fmla="*/ 237839 h 311181"/>
                  <a:gd name="connsiteX74" fmla="*/ 1453229 w 3194685"/>
                  <a:gd name="connsiteY74" fmla="*/ 244125 h 311181"/>
                  <a:gd name="connsiteX75" fmla="*/ 1615154 w 3194685"/>
                  <a:gd name="connsiteY75" fmla="*/ 244125 h 311181"/>
                  <a:gd name="connsiteX76" fmla="*/ 1615154 w 3194685"/>
                  <a:gd name="connsiteY76" fmla="*/ 250602 h 311181"/>
                  <a:gd name="connsiteX77" fmla="*/ 1632013 w 3194685"/>
                  <a:gd name="connsiteY77" fmla="*/ 250602 h 311181"/>
                  <a:gd name="connsiteX78" fmla="*/ 1632013 w 3194685"/>
                  <a:gd name="connsiteY78" fmla="*/ 256984 h 311181"/>
                  <a:gd name="connsiteX79" fmla="*/ 1749837 w 3194685"/>
                  <a:gd name="connsiteY79" fmla="*/ 256984 h 311181"/>
                  <a:gd name="connsiteX80" fmla="*/ 1749837 w 3194685"/>
                  <a:gd name="connsiteY80" fmla="*/ 263461 h 311181"/>
                  <a:gd name="connsiteX81" fmla="*/ 1842325 w 3194685"/>
                  <a:gd name="connsiteY81" fmla="*/ 263461 h 311181"/>
                  <a:gd name="connsiteX82" fmla="*/ 1842325 w 3194685"/>
                  <a:gd name="connsiteY82" fmla="*/ 269843 h 311181"/>
                  <a:gd name="connsiteX83" fmla="*/ 1861280 w 3194685"/>
                  <a:gd name="connsiteY83" fmla="*/ 269843 h 311181"/>
                  <a:gd name="connsiteX84" fmla="*/ 1861280 w 3194685"/>
                  <a:gd name="connsiteY84" fmla="*/ 276320 h 311181"/>
                  <a:gd name="connsiteX85" fmla="*/ 2715101 w 3194685"/>
                  <a:gd name="connsiteY85" fmla="*/ 276320 h 311181"/>
                  <a:gd name="connsiteX86" fmla="*/ 2715101 w 3194685"/>
                  <a:gd name="connsiteY86" fmla="*/ 311181 h 311181"/>
                  <a:gd name="connsiteX87" fmla="*/ 3194685 w 3194685"/>
                  <a:gd name="connsiteY87" fmla="*/ 311181 h 311181"/>
                  <a:gd name="connsiteX0" fmla="*/ 0 w 3194685"/>
                  <a:gd name="connsiteY0" fmla="*/ 0 h 305085"/>
                  <a:gd name="connsiteX1" fmla="*/ 2095 w 3194685"/>
                  <a:gd name="connsiteY1" fmla="*/ 6096 h 305085"/>
                  <a:gd name="connsiteX2" fmla="*/ 12572 w 3194685"/>
                  <a:gd name="connsiteY2" fmla="*/ 6096 h 305085"/>
                  <a:gd name="connsiteX3" fmla="*/ 12572 w 3194685"/>
                  <a:gd name="connsiteY3" fmla="*/ 12096 h 305085"/>
                  <a:gd name="connsiteX4" fmla="*/ 18859 w 3194685"/>
                  <a:gd name="connsiteY4" fmla="*/ 12096 h 305085"/>
                  <a:gd name="connsiteX5" fmla="*/ 18859 w 3194685"/>
                  <a:gd name="connsiteY5" fmla="*/ 24288 h 305085"/>
                  <a:gd name="connsiteX6" fmla="*/ 27336 w 3194685"/>
                  <a:gd name="connsiteY6" fmla="*/ 24288 h 305085"/>
                  <a:gd name="connsiteX7" fmla="*/ 27336 w 3194685"/>
                  <a:gd name="connsiteY7" fmla="*/ 30289 h 305085"/>
                  <a:gd name="connsiteX8" fmla="*/ 33623 w 3194685"/>
                  <a:gd name="connsiteY8" fmla="*/ 30289 h 305085"/>
                  <a:gd name="connsiteX9" fmla="*/ 33623 w 3194685"/>
                  <a:gd name="connsiteY9" fmla="*/ 42481 h 305085"/>
                  <a:gd name="connsiteX10" fmla="*/ 35718 w 3194685"/>
                  <a:gd name="connsiteY10" fmla="*/ 42481 h 305085"/>
                  <a:gd name="connsiteX11" fmla="*/ 35718 w 3194685"/>
                  <a:gd name="connsiteY11" fmla="*/ 48577 h 305085"/>
                  <a:gd name="connsiteX12" fmla="*/ 48291 w 3194685"/>
                  <a:gd name="connsiteY12" fmla="*/ 48577 h 305085"/>
                  <a:gd name="connsiteX13" fmla="*/ 48291 w 3194685"/>
                  <a:gd name="connsiteY13" fmla="*/ 54578 h 305085"/>
                  <a:gd name="connsiteX14" fmla="*/ 71437 w 3194685"/>
                  <a:gd name="connsiteY14" fmla="*/ 54578 h 305085"/>
                  <a:gd name="connsiteX15" fmla="*/ 71437 w 3194685"/>
                  <a:gd name="connsiteY15" fmla="*/ 60674 h 305085"/>
                  <a:gd name="connsiteX16" fmla="*/ 77819 w 3194685"/>
                  <a:gd name="connsiteY16" fmla="*/ 60674 h 305085"/>
                  <a:gd name="connsiteX17" fmla="*/ 77819 w 3194685"/>
                  <a:gd name="connsiteY17" fmla="*/ 66770 h 305085"/>
                  <a:gd name="connsiteX18" fmla="*/ 86201 w 3194685"/>
                  <a:gd name="connsiteY18" fmla="*/ 66770 h 305085"/>
                  <a:gd name="connsiteX19" fmla="*/ 86201 w 3194685"/>
                  <a:gd name="connsiteY19" fmla="*/ 72771 h 305085"/>
                  <a:gd name="connsiteX20" fmla="*/ 94583 w 3194685"/>
                  <a:gd name="connsiteY20" fmla="*/ 72771 h 305085"/>
                  <a:gd name="connsiteX21" fmla="*/ 94583 w 3194685"/>
                  <a:gd name="connsiteY21" fmla="*/ 78867 h 305085"/>
                  <a:gd name="connsiteX22" fmla="*/ 98774 w 3194685"/>
                  <a:gd name="connsiteY22" fmla="*/ 78867 h 305085"/>
                  <a:gd name="connsiteX23" fmla="*/ 98774 w 3194685"/>
                  <a:gd name="connsiteY23" fmla="*/ 84963 h 305085"/>
                  <a:gd name="connsiteX24" fmla="*/ 172402 w 3194685"/>
                  <a:gd name="connsiteY24" fmla="*/ 84963 h 305085"/>
                  <a:gd name="connsiteX25" fmla="*/ 172402 w 3194685"/>
                  <a:gd name="connsiteY25" fmla="*/ 90963 h 305085"/>
                  <a:gd name="connsiteX26" fmla="*/ 193452 w 3194685"/>
                  <a:gd name="connsiteY26" fmla="*/ 90963 h 305085"/>
                  <a:gd name="connsiteX27" fmla="*/ 193452 w 3194685"/>
                  <a:gd name="connsiteY27" fmla="*/ 97059 h 305085"/>
                  <a:gd name="connsiteX28" fmla="*/ 199739 w 3194685"/>
                  <a:gd name="connsiteY28" fmla="*/ 97059 h 305085"/>
                  <a:gd name="connsiteX29" fmla="*/ 199739 w 3194685"/>
                  <a:gd name="connsiteY29" fmla="*/ 103155 h 305085"/>
                  <a:gd name="connsiteX30" fmla="*/ 241839 w 3194685"/>
                  <a:gd name="connsiteY30" fmla="*/ 103155 h 305085"/>
                  <a:gd name="connsiteX31" fmla="*/ 241839 w 3194685"/>
                  <a:gd name="connsiteY31" fmla="*/ 109156 h 305085"/>
                  <a:gd name="connsiteX32" fmla="*/ 256508 w 3194685"/>
                  <a:gd name="connsiteY32" fmla="*/ 109156 h 305085"/>
                  <a:gd name="connsiteX33" fmla="*/ 256508 w 3194685"/>
                  <a:gd name="connsiteY33" fmla="*/ 115252 h 305085"/>
                  <a:gd name="connsiteX34" fmla="*/ 286035 w 3194685"/>
                  <a:gd name="connsiteY34" fmla="*/ 115252 h 305085"/>
                  <a:gd name="connsiteX35" fmla="*/ 286035 w 3194685"/>
                  <a:gd name="connsiteY35" fmla="*/ 121348 h 305085"/>
                  <a:gd name="connsiteX36" fmla="*/ 288131 w 3194685"/>
                  <a:gd name="connsiteY36" fmla="*/ 121348 h 305085"/>
                  <a:gd name="connsiteX37" fmla="*/ 288131 w 3194685"/>
                  <a:gd name="connsiteY37" fmla="*/ 127349 h 305085"/>
                  <a:gd name="connsiteX38" fmla="*/ 311181 w 3194685"/>
                  <a:gd name="connsiteY38" fmla="*/ 127349 h 305085"/>
                  <a:gd name="connsiteX39" fmla="*/ 311181 w 3194685"/>
                  <a:gd name="connsiteY39" fmla="*/ 133445 h 305085"/>
                  <a:gd name="connsiteX40" fmla="*/ 323850 w 3194685"/>
                  <a:gd name="connsiteY40" fmla="*/ 133445 h 305085"/>
                  <a:gd name="connsiteX41" fmla="*/ 323850 w 3194685"/>
                  <a:gd name="connsiteY41" fmla="*/ 139541 h 305085"/>
                  <a:gd name="connsiteX42" fmla="*/ 359568 w 3194685"/>
                  <a:gd name="connsiteY42" fmla="*/ 139541 h 305085"/>
                  <a:gd name="connsiteX43" fmla="*/ 359568 w 3194685"/>
                  <a:gd name="connsiteY43" fmla="*/ 145637 h 305085"/>
                  <a:gd name="connsiteX44" fmla="*/ 475297 w 3194685"/>
                  <a:gd name="connsiteY44" fmla="*/ 145637 h 305085"/>
                  <a:gd name="connsiteX45" fmla="*/ 475297 w 3194685"/>
                  <a:gd name="connsiteY45" fmla="*/ 151638 h 305085"/>
                  <a:gd name="connsiteX46" fmla="*/ 513111 w 3194685"/>
                  <a:gd name="connsiteY46" fmla="*/ 151638 h 305085"/>
                  <a:gd name="connsiteX47" fmla="*/ 513111 w 3194685"/>
                  <a:gd name="connsiteY47" fmla="*/ 157829 h 305085"/>
                  <a:gd name="connsiteX48" fmla="*/ 565689 w 3194685"/>
                  <a:gd name="connsiteY48" fmla="*/ 157829 h 305085"/>
                  <a:gd name="connsiteX49" fmla="*/ 565689 w 3194685"/>
                  <a:gd name="connsiteY49" fmla="*/ 163925 h 305085"/>
                  <a:gd name="connsiteX50" fmla="*/ 584644 w 3194685"/>
                  <a:gd name="connsiteY50" fmla="*/ 163925 h 305085"/>
                  <a:gd name="connsiteX51" fmla="*/ 584644 w 3194685"/>
                  <a:gd name="connsiteY51" fmla="*/ 170021 h 305085"/>
                  <a:gd name="connsiteX52" fmla="*/ 595122 w 3194685"/>
                  <a:gd name="connsiteY52" fmla="*/ 170021 h 305085"/>
                  <a:gd name="connsiteX53" fmla="*/ 595122 w 3194685"/>
                  <a:gd name="connsiteY53" fmla="*/ 176212 h 305085"/>
                  <a:gd name="connsiteX54" fmla="*/ 628840 w 3194685"/>
                  <a:gd name="connsiteY54" fmla="*/ 176212 h 305085"/>
                  <a:gd name="connsiteX55" fmla="*/ 628840 w 3194685"/>
                  <a:gd name="connsiteY55" fmla="*/ 182308 h 305085"/>
                  <a:gd name="connsiteX56" fmla="*/ 635127 w 3194685"/>
                  <a:gd name="connsiteY56" fmla="*/ 182308 h 305085"/>
                  <a:gd name="connsiteX57" fmla="*/ 635127 w 3194685"/>
                  <a:gd name="connsiteY57" fmla="*/ 188404 h 305085"/>
                  <a:gd name="connsiteX58" fmla="*/ 649795 w 3194685"/>
                  <a:gd name="connsiteY58" fmla="*/ 188404 h 305085"/>
                  <a:gd name="connsiteX59" fmla="*/ 649795 w 3194685"/>
                  <a:gd name="connsiteY59" fmla="*/ 194500 h 305085"/>
                  <a:gd name="connsiteX60" fmla="*/ 662463 w 3194685"/>
                  <a:gd name="connsiteY60" fmla="*/ 194500 h 305085"/>
                  <a:gd name="connsiteX61" fmla="*/ 662463 w 3194685"/>
                  <a:gd name="connsiteY61" fmla="*/ 200691 h 305085"/>
                  <a:gd name="connsiteX62" fmla="*/ 687705 w 3194685"/>
                  <a:gd name="connsiteY62" fmla="*/ 200691 h 305085"/>
                  <a:gd name="connsiteX63" fmla="*/ 687705 w 3194685"/>
                  <a:gd name="connsiteY63" fmla="*/ 206787 h 305085"/>
                  <a:gd name="connsiteX64" fmla="*/ 916971 w 3194685"/>
                  <a:gd name="connsiteY64" fmla="*/ 206787 h 305085"/>
                  <a:gd name="connsiteX65" fmla="*/ 916971 w 3194685"/>
                  <a:gd name="connsiteY65" fmla="*/ 212979 h 305085"/>
                  <a:gd name="connsiteX66" fmla="*/ 1030509 w 3194685"/>
                  <a:gd name="connsiteY66" fmla="*/ 212979 h 305085"/>
                  <a:gd name="connsiteX67" fmla="*/ 1030509 w 3194685"/>
                  <a:gd name="connsiteY67" fmla="*/ 219170 h 305085"/>
                  <a:gd name="connsiteX68" fmla="*/ 1299686 w 3194685"/>
                  <a:gd name="connsiteY68" fmla="*/ 219170 h 305085"/>
                  <a:gd name="connsiteX69" fmla="*/ 1299686 w 3194685"/>
                  <a:gd name="connsiteY69" fmla="*/ 225456 h 305085"/>
                  <a:gd name="connsiteX70" fmla="*/ 1373314 w 3194685"/>
                  <a:gd name="connsiteY70" fmla="*/ 225456 h 305085"/>
                  <a:gd name="connsiteX71" fmla="*/ 1373314 w 3194685"/>
                  <a:gd name="connsiteY71" fmla="*/ 231743 h 305085"/>
                  <a:gd name="connsiteX72" fmla="*/ 1453229 w 3194685"/>
                  <a:gd name="connsiteY72" fmla="*/ 231743 h 305085"/>
                  <a:gd name="connsiteX73" fmla="*/ 1453229 w 3194685"/>
                  <a:gd name="connsiteY73" fmla="*/ 238029 h 305085"/>
                  <a:gd name="connsiteX74" fmla="*/ 1615154 w 3194685"/>
                  <a:gd name="connsiteY74" fmla="*/ 238029 h 305085"/>
                  <a:gd name="connsiteX75" fmla="*/ 1615154 w 3194685"/>
                  <a:gd name="connsiteY75" fmla="*/ 244506 h 305085"/>
                  <a:gd name="connsiteX76" fmla="*/ 1632013 w 3194685"/>
                  <a:gd name="connsiteY76" fmla="*/ 244506 h 305085"/>
                  <a:gd name="connsiteX77" fmla="*/ 1632013 w 3194685"/>
                  <a:gd name="connsiteY77" fmla="*/ 250888 h 305085"/>
                  <a:gd name="connsiteX78" fmla="*/ 1749837 w 3194685"/>
                  <a:gd name="connsiteY78" fmla="*/ 250888 h 305085"/>
                  <a:gd name="connsiteX79" fmla="*/ 1749837 w 3194685"/>
                  <a:gd name="connsiteY79" fmla="*/ 257365 h 305085"/>
                  <a:gd name="connsiteX80" fmla="*/ 1842325 w 3194685"/>
                  <a:gd name="connsiteY80" fmla="*/ 257365 h 305085"/>
                  <a:gd name="connsiteX81" fmla="*/ 1842325 w 3194685"/>
                  <a:gd name="connsiteY81" fmla="*/ 263747 h 305085"/>
                  <a:gd name="connsiteX82" fmla="*/ 1861280 w 3194685"/>
                  <a:gd name="connsiteY82" fmla="*/ 263747 h 305085"/>
                  <a:gd name="connsiteX83" fmla="*/ 1861280 w 3194685"/>
                  <a:gd name="connsiteY83" fmla="*/ 270224 h 305085"/>
                  <a:gd name="connsiteX84" fmla="*/ 2715101 w 3194685"/>
                  <a:gd name="connsiteY84" fmla="*/ 270224 h 305085"/>
                  <a:gd name="connsiteX85" fmla="*/ 2715101 w 3194685"/>
                  <a:gd name="connsiteY85" fmla="*/ 305085 h 305085"/>
                  <a:gd name="connsiteX86" fmla="*/ 3194685 w 3194685"/>
                  <a:gd name="connsiteY86" fmla="*/ 305085 h 305085"/>
                  <a:gd name="connsiteX0" fmla="*/ 0 w 3194685"/>
                  <a:gd name="connsiteY0" fmla="*/ 0 h 305085"/>
                  <a:gd name="connsiteX1" fmla="*/ 12572 w 3194685"/>
                  <a:gd name="connsiteY1" fmla="*/ 6096 h 305085"/>
                  <a:gd name="connsiteX2" fmla="*/ 12572 w 3194685"/>
                  <a:gd name="connsiteY2" fmla="*/ 12096 h 305085"/>
                  <a:gd name="connsiteX3" fmla="*/ 18859 w 3194685"/>
                  <a:gd name="connsiteY3" fmla="*/ 12096 h 305085"/>
                  <a:gd name="connsiteX4" fmla="*/ 18859 w 3194685"/>
                  <a:gd name="connsiteY4" fmla="*/ 24288 h 305085"/>
                  <a:gd name="connsiteX5" fmla="*/ 27336 w 3194685"/>
                  <a:gd name="connsiteY5" fmla="*/ 24288 h 305085"/>
                  <a:gd name="connsiteX6" fmla="*/ 27336 w 3194685"/>
                  <a:gd name="connsiteY6" fmla="*/ 30289 h 305085"/>
                  <a:gd name="connsiteX7" fmla="*/ 33623 w 3194685"/>
                  <a:gd name="connsiteY7" fmla="*/ 30289 h 305085"/>
                  <a:gd name="connsiteX8" fmla="*/ 33623 w 3194685"/>
                  <a:gd name="connsiteY8" fmla="*/ 42481 h 305085"/>
                  <a:gd name="connsiteX9" fmla="*/ 35718 w 3194685"/>
                  <a:gd name="connsiteY9" fmla="*/ 42481 h 305085"/>
                  <a:gd name="connsiteX10" fmla="*/ 35718 w 3194685"/>
                  <a:gd name="connsiteY10" fmla="*/ 48577 h 305085"/>
                  <a:gd name="connsiteX11" fmla="*/ 48291 w 3194685"/>
                  <a:gd name="connsiteY11" fmla="*/ 48577 h 305085"/>
                  <a:gd name="connsiteX12" fmla="*/ 48291 w 3194685"/>
                  <a:gd name="connsiteY12" fmla="*/ 54578 h 305085"/>
                  <a:gd name="connsiteX13" fmla="*/ 71437 w 3194685"/>
                  <a:gd name="connsiteY13" fmla="*/ 54578 h 305085"/>
                  <a:gd name="connsiteX14" fmla="*/ 71437 w 3194685"/>
                  <a:gd name="connsiteY14" fmla="*/ 60674 h 305085"/>
                  <a:gd name="connsiteX15" fmla="*/ 77819 w 3194685"/>
                  <a:gd name="connsiteY15" fmla="*/ 60674 h 305085"/>
                  <a:gd name="connsiteX16" fmla="*/ 77819 w 3194685"/>
                  <a:gd name="connsiteY16" fmla="*/ 66770 h 305085"/>
                  <a:gd name="connsiteX17" fmla="*/ 86201 w 3194685"/>
                  <a:gd name="connsiteY17" fmla="*/ 66770 h 305085"/>
                  <a:gd name="connsiteX18" fmla="*/ 86201 w 3194685"/>
                  <a:gd name="connsiteY18" fmla="*/ 72771 h 305085"/>
                  <a:gd name="connsiteX19" fmla="*/ 94583 w 3194685"/>
                  <a:gd name="connsiteY19" fmla="*/ 72771 h 305085"/>
                  <a:gd name="connsiteX20" fmla="*/ 94583 w 3194685"/>
                  <a:gd name="connsiteY20" fmla="*/ 78867 h 305085"/>
                  <a:gd name="connsiteX21" fmla="*/ 98774 w 3194685"/>
                  <a:gd name="connsiteY21" fmla="*/ 78867 h 305085"/>
                  <a:gd name="connsiteX22" fmla="*/ 98774 w 3194685"/>
                  <a:gd name="connsiteY22" fmla="*/ 84963 h 305085"/>
                  <a:gd name="connsiteX23" fmla="*/ 172402 w 3194685"/>
                  <a:gd name="connsiteY23" fmla="*/ 84963 h 305085"/>
                  <a:gd name="connsiteX24" fmla="*/ 172402 w 3194685"/>
                  <a:gd name="connsiteY24" fmla="*/ 90963 h 305085"/>
                  <a:gd name="connsiteX25" fmla="*/ 193452 w 3194685"/>
                  <a:gd name="connsiteY25" fmla="*/ 90963 h 305085"/>
                  <a:gd name="connsiteX26" fmla="*/ 193452 w 3194685"/>
                  <a:gd name="connsiteY26" fmla="*/ 97059 h 305085"/>
                  <a:gd name="connsiteX27" fmla="*/ 199739 w 3194685"/>
                  <a:gd name="connsiteY27" fmla="*/ 97059 h 305085"/>
                  <a:gd name="connsiteX28" fmla="*/ 199739 w 3194685"/>
                  <a:gd name="connsiteY28" fmla="*/ 103155 h 305085"/>
                  <a:gd name="connsiteX29" fmla="*/ 241839 w 3194685"/>
                  <a:gd name="connsiteY29" fmla="*/ 103155 h 305085"/>
                  <a:gd name="connsiteX30" fmla="*/ 241839 w 3194685"/>
                  <a:gd name="connsiteY30" fmla="*/ 109156 h 305085"/>
                  <a:gd name="connsiteX31" fmla="*/ 256508 w 3194685"/>
                  <a:gd name="connsiteY31" fmla="*/ 109156 h 305085"/>
                  <a:gd name="connsiteX32" fmla="*/ 256508 w 3194685"/>
                  <a:gd name="connsiteY32" fmla="*/ 115252 h 305085"/>
                  <a:gd name="connsiteX33" fmla="*/ 286035 w 3194685"/>
                  <a:gd name="connsiteY33" fmla="*/ 115252 h 305085"/>
                  <a:gd name="connsiteX34" fmla="*/ 286035 w 3194685"/>
                  <a:gd name="connsiteY34" fmla="*/ 121348 h 305085"/>
                  <a:gd name="connsiteX35" fmla="*/ 288131 w 3194685"/>
                  <a:gd name="connsiteY35" fmla="*/ 121348 h 305085"/>
                  <a:gd name="connsiteX36" fmla="*/ 288131 w 3194685"/>
                  <a:gd name="connsiteY36" fmla="*/ 127349 h 305085"/>
                  <a:gd name="connsiteX37" fmla="*/ 311181 w 3194685"/>
                  <a:gd name="connsiteY37" fmla="*/ 127349 h 305085"/>
                  <a:gd name="connsiteX38" fmla="*/ 311181 w 3194685"/>
                  <a:gd name="connsiteY38" fmla="*/ 133445 h 305085"/>
                  <a:gd name="connsiteX39" fmla="*/ 323850 w 3194685"/>
                  <a:gd name="connsiteY39" fmla="*/ 133445 h 305085"/>
                  <a:gd name="connsiteX40" fmla="*/ 323850 w 3194685"/>
                  <a:gd name="connsiteY40" fmla="*/ 139541 h 305085"/>
                  <a:gd name="connsiteX41" fmla="*/ 359568 w 3194685"/>
                  <a:gd name="connsiteY41" fmla="*/ 139541 h 305085"/>
                  <a:gd name="connsiteX42" fmla="*/ 359568 w 3194685"/>
                  <a:gd name="connsiteY42" fmla="*/ 145637 h 305085"/>
                  <a:gd name="connsiteX43" fmla="*/ 475297 w 3194685"/>
                  <a:gd name="connsiteY43" fmla="*/ 145637 h 305085"/>
                  <a:gd name="connsiteX44" fmla="*/ 475297 w 3194685"/>
                  <a:gd name="connsiteY44" fmla="*/ 151638 h 305085"/>
                  <a:gd name="connsiteX45" fmla="*/ 513111 w 3194685"/>
                  <a:gd name="connsiteY45" fmla="*/ 151638 h 305085"/>
                  <a:gd name="connsiteX46" fmla="*/ 513111 w 3194685"/>
                  <a:gd name="connsiteY46" fmla="*/ 157829 h 305085"/>
                  <a:gd name="connsiteX47" fmla="*/ 565689 w 3194685"/>
                  <a:gd name="connsiteY47" fmla="*/ 157829 h 305085"/>
                  <a:gd name="connsiteX48" fmla="*/ 565689 w 3194685"/>
                  <a:gd name="connsiteY48" fmla="*/ 163925 h 305085"/>
                  <a:gd name="connsiteX49" fmla="*/ 584644 w 3194685"/>
                  <a:gd name="connsiteY49" fmla="*/ 163925 h 305085"/>
                  <a:gd name="connsiteX50" fmla="*/ 584644 w 3194685"/>
                  <a:gd name="connsiteY50" fmla="*/ 170021 h 305085"/>
                  <a:gd name="connsiteX51" fmla="*/ 595122 w 3194685"/>
                  <a:gd name="connsiteY51" fmla="*/ 170021 h 305085"/>
                  <a:gd name="connsiteX52" fmla="*/ 595122 w 3194685"/>
                  <a:gd name="connsiteY52" fmla="*/ 176212 h 305085"/>
                  <a:gd name="connsiteX53" fmla="*/ 628840 w 3194685"/>
                  <a:gd name="connsiteY53" fmla="*/ 176212 h 305085"/>
                  <a:gd name="connsiteX54" fmla="*/ 628840 w 3194685"/>
                  <a:gd name="connsiteY54" fmla="*/ 182308 h 305085"/>
                  <a:gd name="connsiteX55" fmla="*/ 635127 w 3194685"/>
                  <a:gd name="connsiteY55" fmla="*/ 182308 h 305085"/>
                  <a:gd name="connsiteX56" fmla="*/ 635127 w 3194685"/>
                  <a:gd name="connsiteY56" fmla="*/ 188404 h 305085"/>
                  <a:gd name="connsiteX57" fmla="*/ 649795 w 3194685"/>
                  <a:gd name="connsiteY57" fmla="*/ 188404 h 305085"/>
                  <a:gd name="connsiteX58" fmla="*/ 649795 w 3194685"/>
                  <a:gd name="connsiteY58" fmla="*/ 194500 h 305085"/>
                  <a:gd name="connsiteX59" fmla="*/ 662463 w 3194685"/>
                  <a:gd name="connsiteY59" fmla="*/ 194500 h 305085"/>
                  <a:gd name="connsiteX60" fmla="*/ 662463 w 3194685"/>
                  <a:gd name="connsiteY60" fmla="*/ 200691 h 305085"/>
                  <a:gd name="connsiteX61" fmla="*/ 687705 w 3194685"/>
                  <a:gd name="connsiteY61" fmla="*/ 200691 h 305085"/>
                  <a:gd name="connsiteX62" fmla="*/ 687705 w 3194685"/>
                  <a:gd name="connsiteY62" fmla="*/ 206787 h 305085"/>
                  <a:gd name="connsiteX63" fmla="*/ 916971 w 3194685"/>
                  <a:gd name="connsiteY63" fmla="*/ 206787 h 305085"/>
                  <a:gd name="connsiteX64" fmla="*/ 916971 w 3194685"/>
                  <a:gd name="connsiteY64" fmla="*/ 212979 h 305085"/>
                  <a:gd name="connsiteX65" fmla="*/ 1030509 w 3194685"/>
                  <a:gd name="connsiteY65" fmla="*/ 212979 h 305085"/>
                  <a:gd name="connsiteX66" fmla="*/ 1030509 w 3194685"/>
                  <a:gd name="connsiteY66" fmla="*/ 219170 h 305085"/>
                  <a:gd name="connsiteX67" fmla="*/ 1299686 w 3194685"/>
                  <a:gd name="connsiteY67" fmla="*/ 219170 h 305085"/>
                  <a:gd name="connsiteX68" fmla="*/ 1299686 w 3194685"/>
                  <a:gd name="connsiteY68" fmla="*/ 225456 h 305085"/>
                  <a:gd name="connsiteX69" fmla="*/ 1373314 w 3194685"/>
                  <a:gd name="connsiteY69" fmla="*/ 225456 h 305085"/>
                  <a:gd name="connsiteX70" fmla="*/ 1373314 w 3194685"/>
                  <a:gd name="connsiteY70" fmla="*/ 231743 h 305085"/>
                  <a:gd name="connsiteX71" fmla="*/ 1453229 w 3194685"/>
                  <a:gd name="connsiteY71" fmla="*/ 231743 h 305085"/>
                  <a:gd name="connsiteX72" fmla="*/ 1453229 w 3194685"/>
                  <a:gd name="connsiteY72" fmla="*/ 238029 h 305085"/>
                  <a:gd name="connsiteX73" fmla="*/ 1615154 w 3194685"/>
                  <a:gd name="connsiteY73" fmla="*/ 238029 h 305085"/>
                  <a:gd name="connsiteX74" fmla="*/ 1615154 w 3194685"/>
                  <a:gd name="connsiteY74" fmla="*/ 244506 h 305085"/>
                  <a:gd name="connsiteX75" fmla="*/ 1632013 w 3194685"/>
                  <a:gd name="connsiteY75" fmla="*/ 244506 h 305085"/>
                  <a:gd name="connsiteX76" fmla="*/ 1632013 w 3194685"/>
                  <a:gd name="connsiteY76" fmla="*/ 250888 h 305085"/>
                  <a:gd name="connsiteX77" fmla="*/ 1749837 w 3194685"/>
                  <a:gd name="connsiteY77" fmla="*/ 250888 h 305085"/>
                  <a:gd name="connsiteX78" fmla="*/ 1749837 w 3194685"/>
                  <a:gd name="connsiteY78" fmla="*/ 257365 h 305085"/>
                  <a:gd name="connsiteX79" fmla="*/ 1842325 w 3194685"/>
                  <a:gd name="connsiteY79" fmla="*/ 257365 h 305085"/>
                  <a:gd name="connsiteX80" fmla="*/ 1842325 w 3194685"/>
                  <a:gd name="connsiteY80" fmla="*/ 263747 h 305085"/>
                  <a:gd name="connsiteX81" fmla="*/ 1861280 w 3194685"/>
                  <a:gd name="connsiteY81" fmla="*/ 263747 h 305085"/>
                  <a:gd name="connsiteX82" fmla="*/ 1861280 w 3194685"/>
                  <a:gd name="connsiteY82" fmla="*/ 270224 h 305085"/>
                  <a:gd name="connsiteX83" fmla="*/ 2715101 w 3194685"/>
                  <a:gd name="connsiteY83" fmla="*/ 270224 h 305085"/>
                  <a:gd name="connsiteX84" fmla="*/ 2715101 w 3194685"/>
                  <a:gd name="connsiteY84" fmla="*/ 305085 h 305085"/>
                  <a:gd name="connsiteX85" fmla="*/ 3194685 w 3194685"/>
                  <a:gd name="connsiteY85" fmla="*/ 305085 h 305085"/>
                  <a:gd name="connsiteX0" fmla="*/ 0 w 3182113"/>
                  <a:gd name="connsiteY0" fmla="*/ 0 h 298989"/>
                  <a:gd name="connsiteX1" fmla="*/ 0 w 3182113"/>
                  <a:gd name="connsiteY1" fmla="*/ 6000 h 298989"/>
                  <a:gd name="connsiteX2" fmla="*/ 6287 w 3182113"/>
                  <a:gd name="connsiteY2" fmla="*/ 6000 h 298989"/>
                  <a:gd name="connsiteX3" fmla="*/ 6287 w 3182113"/>
                  <a:gd name="connsiteY3" fmla="*/ 18192 h 298989"/>
                  <a:gd name="connsiteX4" fmla="*/ 14764 w 3182113"/>
                  <a:gd name="connsiteY4" fmla="*/ 18192 h 298989"/>
                  <a:gd name="connsiteX5" fmla="*/ 14764 w 3182113"/>
                  <a:gd name="connsiteY5" fmla="*/ 24193 h 298989"/>
                  <a:gd name="connsiteX6" fmla="*/ 21051 w 3182113"/>
                  <a:gd name="connsiteY6" fmla="*/ 24193 h 298989"/>
                  <a:gd name="connsiteX7" fmla="*/ 21051 w 3182113"/>
                  <a:gd name="connsiteY7" fmla="*/ 36385 h 298989"/>
                  <a:gd name="connsiteX8" fmla="*/ 23146 w 3182113"/>
                  <a:gd name="connsiteY8" fmla="*/ 36385 h 298989"/>
                  <a:gd name="connsiteX9" fmla="*/ 23146 w 3182113"/>
                  <a:gd name="connsiteY9" fmla="*/ 42481 h 298989"/>
                  <a:gd name="connsiteX10" fmla="*/ 35719 w 3182113"/>
                  <a:gd name="connsiteY10" fmla="*/ 42481 h 298989"/>
                  <a:gd name="connsiteX11" fmla="*/ 35719 w 3182113"/>
                  <a:gd name="connsiteY11" fmla="*/ 48482 h 298989"/>
                  <a:gd name="connsiteX12" fmla="*/ 58865 w 3182113"/>
                  <a:gd name="connsiteY12" fmla="*/ 48482 h 298989"/>
                  <a:gd name="connsiteX13" fmla="*/ 58865 w 3182113"/>
                  <a:gd name="connsiteY13" fmla="*/ 54578 h 298989"/>
                  <a:gd name="connsiteX14" fmla="*/ 65247 w 3182113"/>
                  <a:gd name="connsiteY14" fmla="*/ 54578 h 298989"/>
                  <a:gd name="connsiteX15" fmla="*/ 65247 w 3182113"/>
                  <a:gd name="connsiteY15" fmla="*/ 60674 h 298989"/>
                  <a:gd name="connsiteX16" fmla="*/ 73629 w 3182113"/>
                  <a:gd name="connsiteY16" fmla="*/ 60674 h 298989"/>
                  <a:gd name="connsiteX17" fmla="*/ 73629 w 3182113"/>
                  <a:gd name="connsiteY17" fmla="*/ 66675 h 298989"/>
                  <a:gd name="connsiteX18" fmla="*/ 82011 w 3182113"/>
                  <a:gd name="connsiteY18" fmla="*/ 66675 h 298989"/>
                  <a:gd name="connsiteX19" fmla="*/ 82011 w 3182113"/>
                  <a:gd name="connsiteY19" fmla="*/ 72771 h 298989"/>
                  <a:gd name="connsiteX20" fmla="*/ 86202 w 3182113"/>
                  <a:gd name="connsiteY20" fmla="*/ 72771 h 298989"/>
                  <a:gd name="connsiteX21" fmla="*/ 86202 w 3182113"/>
                  <a:gd name="connsiteY21" fmla="*/ 78867 h 298989"/>
                  <a:gd name="connsiteX22" fmla="*/ 159830 w 3182113"/>
                  <a:gd name="connsiteY22" fmla="*/ 78867 h 298989"/>
                  <a:gd name="connsiteX23" fmla="*/ 159830 w 3182113"/>
                  <a:gd name="connsiteY23" fmla="*/ 84867 h 298989"/>
                  <a:gd name="connsiteX24" fmla="*/ 180880 w 3182113"/>
                  <a:gd name="connsiteY24" fmla="*/ 84867 h 298989"/>
                  <a:gd name="connsiteX25" fmla="*/ 180880 w 3182113"/>
                  <a:gd name="connsiteY25" fmla="*/ 90963 h 298989"/>
                  <a:gd name="connsiteX26" fmla="*/ 187167 w 3182113"/>
                  <a:gd name="connsiteY26" fmla="*/ 90963 h 298989"/>
                  <a:gd name="connsiteX27" fmla="*/ 187167 w 3182113"/>
                  <a:gd name="connsiteY27" fmla="*/ 97059 h 298989"/>
                  <a:gd name="connsiteX28" fmla="*/ 229267 w 3182113"/>
                  <a:gd name="connsiteY28" fmla="*/ 97059 h 298989"/>
                  <a:gd name="connsiteX29" fmla="*/ 229267 w 3182113"/>
                  <a:gd name="connsiteY29" fmla="*/ 103060 h 298989"/>
                  <a:gd name="connsiteX30" fmla="*/ 243936 w 3182113"/>
                  <a:gd name="connsiteY30" fmla="*/ 103060 h 298989"/>
                  <a:gd name="connsiteX31" fmla="*/ 243936 w 3182113"/>
                  <a:gd name="connsiteY31" fmla="*/ 109156 h 298989"/>
                  <a:gd name="connsiteX32" fmla="*/ 273463 w 3182113"/>
                  <a:gd name="connsiteY32" fmla="*/ 109156 h 298989"/>
                  <a:gd name="connsiteX33" fmla="*/ 273463 w 3182113"/>
                  <a:gd name="connsiteY33" fmla="*/ 115252 h 298989"/>
                  <a:gd name="connsiteX34" fmla="*/ 275559 w 3182113"/>
                  <a:gd name="connsiteY34" fmla="*/ 115252 h 298989"/>
                  <a:gd name="connsiteX35" fmla="*/ 275559 w 3182113"/>
                  <a:gd name="connsiteY35" fmla="*/ 121253 h 298989"/>
                  <a:gd name="connsiteX36" fmla="*/ 298609 w 3182113"/>
                  <a:gd name="connsiteY36" fmla="*/ 121253 h 298989"/>
                  <a:gd name="connsiteX37" fmla="*/ 298609 w 3182113"/>
                  <a:gd name="connsiteY37" fmla="*/ 127349 h 298989"/>
                  <a:gd name="connsiteX38" fmla="*/ 311278 w 3182113"/>
                  <a:gd name="connsiteY38" fmla="*/ 127349 h 298989"/>
                  <a:gd name="connsiteX39" fmla="*/ 311278 w 3182113"/>
                  <a:gd name="connsiteY39" fmla="*/ 133445 h 298989"/>
                  <a:gd name="connsiteX40" fmla="*/ 346996 w 3182113"/>
                  <a:gd name="connsiteY40" fmla="*/ 133445 h 298989"/>
                  <a:gd name="connsiteX41" fmla="*/ 346996 w 3182113"/>
                  <a:gd name="connsiteY41" fmla="*/ 139541 h 298989"/>
                  <a:gd name="connsiteX42" fmla="*/ 462725 w 3182113"/>
                  <a:gd name="connsiteY42" fmla="*/ 139541 h 298989"/>
                  <a:gd name="connsiteX43" fmla="*/ 462725 w 3182113"/>
                  <a:gd name="connsiteY43" fmla="*/ 145542 h 298989"/>
                  <a:gd name="connsiteX44" fmla="*/ 500539 w 3182113"/>
                  <a:gd name="connsiteY44" fmla="*/ 145542 h 298989"/>
                  <a:gd name="connsiteX45" fmla="*/ 500539 w 3182113"/>
                  <a:gd name="connsiteY45" fmla="*/ 151733 h 298989"/>
                  <a:gd name="connsiteX46" fmla="*/ 553117 w 3182113"/>
                  <a:gd name="connsiteY46" fmla="*/ 151733 h 298989"/>
                  <a:gd name="connsiteX47" fmla="*/ 553117 w 3182113"/>
                  <a:gd name="connsiteY47" fmla="*/ 157829 h 298989"/>
                  <a:gd name="connsiteX48" fmla="*/ 572072 w 3182113"/>
                  <a:gd name="connsiteY48" fmla="*/ 157829 h 298989"/>
                  <a:gd name="connsiteX49" fmla="*/ 572072 w 3182113"/>
                  <a:gd name="connsiteY49" fmla="*/ 163925 h 298989"/>
                  <a:gd name="connsiteX50" fmla="*/ 582550 w 3182113"/>
                  <a:gd name="connsiteY50" fmla="*/ 163925 h 298989"/>
                  <a:gd name="connsiteX51" fmla="*/ 582550 w 3182113"/>
                  <a:gd name="connsiteY51" fmla="*/ 170116 h 298989"/>
                  <a:gd name="connsiteX52" fmla="*/ 616268 w 3182113"/>
                  <a:gd name="connsiteY52" fmla="*/ 170116 h 298989"/>
                  <a:gd name="connsiteX53" fmla="*/ 616268 w 3182113"/>
                  <a:gd name="connsiteY53" fmla="*/ 176212 h 298989"/>
                  <a:gd name="connsiteX54" fmla="*/ 622555 w 3182113"/>
                  <a:gd name="connsiteY54" fmla="*/ 176212 h 298989"/>
                  <a:gd name="connsiteX55" fmla="*/ 622555 w 3182113"/>
                  <a:gd name="connsiteY55" fmla="*/ 182308 h 298989"/>
                  <a:gd name="connsiteX56" fmla="*/ 637223 w 3182113"/>
                  <a:gd name="connsiteY56" fmla="*/ 182308 h 298989"/>
                  <a:gd name="connsiteX57" fmla="*/ 637223 w 3182113"/>
                  <a:gd name="connsiteY57" fmla="*/ 188404 h 298989"/>
                  <a:gd name="connsiteX58" fmla="*/ 649891 w 3182113"/>
                  <a:gd name="connsiteY58" fmla="*/ 188404 h 298989"/>
                  <a:gd name="connsiteX59" fmla="*/ 649891 w 3182113"/>
                  <a:gd name="connsiteY59" fmla="*/ 194595 h 298989"/>
                  <a:gd name="connsiteX60" fmla="*/ 675133 w 3182113"/>
                  <a:gd name="connsiteY60" fmla="*/ 194595 h 298989"/>
                  <a:gd name="connsiteX61" fmla="*/ 675133 w 3182113"/>
                  <a:gd name="connsiteY61" fmla="*/ 200691 h 298989"/>
                  <a:gd name="connsiteX62" fmla="*/ 904399 w 3182113"/>
                  <a:gd name="connsiteY62" fmla="*/ 200691 h 298989"/>
                  <a:gd name="connsiteX63" fmla="*/ 904399 w 3182113"/>
                  <a:gd name="connsiteY63" fmla="*/ 206883 h 298989"/>
                  <a:gd name="connsiteX64" fmla="*/ 1017937 w 3182113"/>
                  <a:gd name="connsiteY64" fmla="*/ 206883 h 298989"/>
                  <a:gd name="connsiteX65" fmla="*/ 1017937 w 3182113"/>
                  <a:gd name="connsiteY65" fmla="*/ 213074 h 298989"/>
                  <a:gd name="connsiteX66" fmla="*/ 1287114 w 3182113"/>
                  <a:gd name="connsiteY66" fmla="*/ 213074 h 298989"/>
                  <a:gd name="connsiteX67" fmla="*/ 1287114 w 3182113"/>
                  <a:gd name="connsiteY67" fmla="*/ 219360 h 298989"/>
                  <a:gd name="connsiteX68" fmla="*/ 1360742 w 3182113"/>
                  <a:gd name="connsiteY68" fmla="*/ 219360 h 298989"/>
                  <a:gd name="connsiteX69" fmla="*/ 1360742 w 3182113"/>
                  <a:gd name="connsiteY69" fmla="*/ 225647 h 298989"/>
                  <a:gd name="connsiteX70" fmla="*/ 1440657 w 3182113"/>
                  <a:gd name="connsiteY70" fmla="*/ 225647 h 298989"/>
                  <a:gd name="connsiteX71" fmla="*/ 1440657 w 3182113"/>
                  <a:gd name="connsiteY71" fmla="*/ 231933 h 298989"/>
                  <a:gd name="connsiteX72" fmla="*/ 1602582 w 3182113"/>
                  <a:gd name="connsiteY72" fmla="*/ 231933 h 298989"/>
                  <a:gd name="connsiteX73" fmla="*/ 1602582 w 3182113"/>
                  <a:gd name="connsiteY73" fmla="*/ 238410 h 298989"/>
                  <a:gd name="connsiteX74" fmla="*/ 1619441 w 3182113"/>
                  <a:gd name="connsiteY74" fmla="*/ 238410 h 298989"/>
                  <a:gd name="connsiteX75" fmla="*/ 1619441 w 3182113"/>
                  <a:gd name="connsiteY75" fmla="*/ 244792 h 298989"/>
                  <a:gd name="connsiteX76" fmla="*/ 1737265 w 3182113"/>
                  <a:gd name="connsiteY76" fmla="*/ 244792 h 298989"/>
                  <a:gd name="connsiteX77" fmla="*/ 1737265 w 3182113"/>
                  <a:gd name="connsiteY77" fmla="*/ 251269 h 298989"/>
                  <a:gd name="connsiteX78" fmla="*/ 1829753 w 3182113"/>
                  <a:gd name="connsiteY78" fmla="*/ 251269 h 298989"/>
                  <a:gd name="connsiteX79" fmla="*/ 1829753 w 3182113"/>
                  <a:gd name="connsiteY79" fmla="*/ 257651 h 298989"/>
                  <a:gd name="connsiteX80" fmla="*/ 1848708 w 3182113"/>
                  <a:gd name="connsiteY80" fmla="*/ 257651 h 298989"/>
                  <a:gd name="connsiteX81" fmla="*/ 1848708 w 3182113"/>
                  <a:gd name="connsiteY81" fmla="*/ 264128 h 298989"/>
                  <a:gd name="connsiteX82" fmla="*/ 2702529 w 3182113"/>
                  <a:gd name="connsiteY82" fmla="*/ 264128 h 298989"/>
                  <a:gd name="connsiteX83" fmla="*/ 2702529 w 3182113"/>
                  <a:gd name="connsiteY83" fmla="*/ 298989 h 298989"/>
                  <a:gd name="connsiteX84" fmla="*/ 3182113 w 3182113"/>
                  <a:gd name="connsiteY84" fmla="*/ 298989 h 298989"/>
                  <a:gd name="connsiteX0" fmla="*/ 0 w 3182113"/>
                  <a:gd name="connsiteY0" fmla="*/ 0 h 298989"/>
                  <a:gd name="connsiteX1" fmla="*/ 0 w 3182113"/>
                  <a:gd name="connsiteY1" fmla="*/ 6000 h 298989"/>
                  <a:gd name="connsiteX2" fmla="*/ 6287 w 3182113"/>
                  <a:gd name="connsiteY2" fmla="*/ 18192 h 298989"/>
                  <a:gd name="connsiteX3" fmla="*/ 14764 w 3182113"/>
                  <a:gd name="connsiteY3" fmla="*/ 18192 h 298989"/>
                  <a:gd name="connsiteX4" fmla="*/ 14764 w 3182113"/>
                  <a:gd name="connsiteY4" fmla="*/ 24193 h 298989"/>
                  <a:gd name="connsiteX5" fmla="*/ 21051 w 3182113"/>
                  <a:gd name="connsiteY5" fmla="*/ 24193 h 298989"/>
                  <a:gd name="connsiteX6" fmla="*/ 21051 w 3182113"/>
                  <a:gd name="connsiteY6" fmla="*/ 36385 h 298989"/>
                  <a:gd name="connsiteX7" fmla="*/ 23146 w 3182113"/>
                  <a:gd name="connsiteY7" fmla="*/ 36385 h 298989"/>
                  <a:gd name="connsiteX8" fmla="*/ 23146 w 3182113"/>
                  <a:gd name="connsiteY8" fmla="*/ 42481 h 298989"/>
                  <a:gd name="connsiteX9" fmla="*/ 35719 w 3182113"/>
                  <a:gd name="connsiteY9" fmla="*/ 42481 h 298989"/>
                  <a:gd name="connsiteX10" fmla="*/ 35719 w 3182113"/>
                  <a:gd name="connsiteY10" fmla="*/ 48482 h 298989"/>
                  <a:gd name="connsiteX11" fmla="*/ 58865 w 3182113"/>
                  <a:gd name="connsiteY11" fmla="*/ 48482 h 298989"/>
                  <a:gd name="connsiteX12" fmla="*/ 58865 w 3182113"/>
                  <a:gd name="connsiteY12" fmla="*/ 54578 h 298989"/>
                  <a:gd name="connsiteX13" fmla="*/ 65247 w 3182113"/>
                  <a:gd name="connsiteY13" fmla="*/ 54578 h 298989"/>
                  <a:gd name="connsiteX14" fmla="*/ 65247 w 3182113"/>
                  <a:gd name="connsiteY14" fmla="*/ 60674 h 298989"/>
                  <a:gd name="connsiteX15" fmla="*/ 73629 w 3182113"/>
                  <a:gd name="connsiteY15" fmla="*/ 60674 h 298989"/>
                  <a:gd name="connsiteX16" fmla="*/ 73629 w 3182113"/>
                  <a:gd name="connsiteY16" fmla="*/ 66675 h 298989"/>
                  <a:gd name="connsiteX17" fmla="*/ 82011 w 3182113"/>
                  <a:gd name="connsiteY17" fmla="*/ 66675 h 298989"/>
                  <a:gd name="connsiteX18" fmla="*/ 82011 w 3182113"/>
                  <a:gd name="connsiteY18" fmla="*/ 72771 h 298989"/>
                  <a:gd name="connsiteX19" fmla="*/ 86202 w 3182113"/>
                  <a:gd name="connsiteY19" fmla="*/ 72771 h 298989"/>
                  <a:gd name="connsiteX20" fmla="*/ 86202 w 3182113"/>
                  <a:gd name="connsiteY20" fmla="*/ 78867 h 298989"/>
                  <a:gd name="connsiteX21" fmla="*/ 159830 w 3182113"/>
                  <a:gd name="connsiteY21" fmla="*/ 78867 h 298989"/>
                  <a:gd name="connsiteX22" fmla="*/ 159830 w 3182113"/>
                  <a:gd name="connsiteY22" fmla="*/ 84867 h 298989"/>
                  <a:gd name="connsiteX23" fmla="*/ 180880 w 3182113"/>
                  <a:gd name="connsiteY23" fmla="*/ 84867 h 298989"/>
                  <a:gd name="connsiteX24" fmla="*/ 180880 w 3182113"/>
                  <a:gd name="connsiteY24" fmla="*/ 90963 h 298989"/>
                  <a:gd name="connsiteX25" fmla="*/ 187167 w 3182113"/>
                  <a:gd name="connsiteY25" fmla="*/ 90963 h 298989"/>
                  <a:gd name="connsiteX26" fmla="*/ 187167 w 3182113"/>
                  <a:gd name="connsiteY26" fmla="*/ 97059 h 298989"/>
                  <a:gd name="connsiteX27" fmla="*/ 229267 w 3182113"/>
                  <a:gd name="connsiteY27" fmla="*/ 97059 h 298989"/>
                  <a:gd name="connsiteX28" fmla="*/ 229267 w 3182113"/>
                  <a:gd name="connsiteY28" fmla="*/ 103060 h 298989"/>
                  <a:gd name="connsiteX29" fmla="*/ 243936 w 3182113"/>
                  <a:gd name="connsiteY29" fmla="*/ 103060 h 298989"/>
                  <a:gd name="connsiteX30" fmla="*/ 243936 w 3182113"/>
                  <a:gd name="connsiteY30" fmla="*/ 109156 h 298989"/>
                  <a:gd name="connsiteX31" fmla="*/ 273463 w 3182113"/>
                  <a:gd name="connsiteY31" fmla="*/ 109156 h 298989"/>
                  <a:gd name="connsiteX32" fmla="*/ 273463 w 3182113"/>
                  <a:gd name="connsiteY32" fmla="*/ 115252 h 298989"/>
                  <a:gd name="connsiteX33" fmla="*/ 275559 w 3182113"/>
                  <a:gd name="connsiteY33" fmla="*/ 115252 h 298989"/>
                  <a:gd name="connsiteX34" fmla="*/ 275559 w 3182113"/>
                  <a:gd name="connsiteY34" fmla="*/ 121253 h 298989"/>
                  <a:gd name="connsiteX35" fmla="*/ 298609 w 3182113"/>
                  <a:gd name="connsiteY35" fmla="*/ 121253 h 298989"/>
                  <a:gd name="connsiteX36" fmla="*/ 298609 w 3182113"/>
                  <a:gd name="connsiteY36" fmla="*/ 127349 h 298989"/>
                  <a:gd name="connsiteX37" fmla="*/ 311278 w 3182113"/>
                  <a:gd name="connsiteY37" fmla="*/ 127349 h 298989"/>
                  <a:gd name="connsiteX38" fmla="*/ 311278 w 3182113"/>
                  <a:gd name="connsiteY38" fmla="*/ 133445 h 298989"/>
                  <a:gd name="connsiteX39" fmla="*/ 346996 w 3182113"/>
                  <a:gd name="connsiteY39" fmla="*/ 133445 h 298989"/>
                  <a:gd name="connsiteX40" fmla="*/ 346996 w 3182113"/>
                  <a:gd name="connsiteY40" fmla="*/ 139541 h 298989"/>
                  <a:gd name="connsiteX41" fmla="*/ 462725 w 3182113"/>
                  <a:gd name="connsiteY41" fmla="*/ 139541 h 298989"/>
                  <a:gd name="connsiteX42" fmla="*/ 462725 w 3182113"/>
                  <a:gd name="connsiteY42" fmla="*/ 145542 h 298989"/>
                  <a:gd name="connsiteX43" fmla="*/ 500539 w 3182113"/>
                  <a:gd name="connsiteY43" fmla="*/ 145542 h 298989"/>
                  <a:gd name="connsiteX44" fmla="*/ 500539 w 3182113"/>
                  <a:gd name="connsiteY44" fmla="*/ 151733 h 298989"/>
                  <a:gd name="connsiteX45" fmla="*/ 553117 w 3182113"/>
                  <a:gd name="connsiteY45" fmla="*/ 151733 h 298989"/>
                  <a:gd name="connsiteX46" fmla="*/ 553117 w 3182113"/>
                  <a:gd name="connsiteY46" fmla="*/ 157829 h 298989"/>
                  <a:gd name="connsiteX47" fmla="*/ 572072 w 3182113"/>
                  <a:gd name="connsiteY47" fmla="*/ 157829 h 298989"/>
                  <a:gd name="connsiteX48" fmla="*/ 572072 w 3182113"/>
                  <a:gd name="connsiteY48" fmla="*/ 163925 h 298989"/>
                  <a:gd name="connsiteX49" fmla="*/ 582550 w 3182113"/>
                  <a:gd name="connsiteY49" fmla="*/ 163925 h 298989"/>
                  <a:gd name="connsiteX50" fmla="*/ 582550 w 3182113"/>
                  <a:gd name="connsiteY50" fmla="*/ 170116 h 298989"/>
                  <a:gd name="connsiteX51" fmla="*/ 616268 w 3182113"/>
                  <a:gd name="connsiteY51" fmla="*/ 170116 h 298989"/>
                  <a:gd name="connsiteX52" fmla="*/ 616268 w 3182113"/>
                  <a:gd name="connsiteY52" fmla="*/ 176212 h 298989"/>
                  <a:gd name="connsiteX53" fmla="*/ 622555 w 3182113"/>
                  <a:gd name="connsiteY53" fmla="*/ 176212 h 298989"/>
                  <a:gd name="connsiteX54" fmla="*/ 622555 w 3182113"/>
                  <a:gd name="connsiteY54" fmla="*/ 182308 h 298989"/>
                  <a:gd name="connsiteX55" fmla="*/ 637223 w 3182113"/>
                  <a:gd name="connsiteY55" fmla="*/ 182308 h 298989"/>
                  <a:gd name="connsiteX56" fmla="*/ 637223 w 3182113"/>
                  <a:gd name="connsiteY56" fmla="*/ 188404 h 298989"/>
                  <a:gd name="connsiteX57" fmla="*/ 649891 w 3182113"/>
                  <a:gd name="connsiteY57" fmla="*/ 188404 h 298989"/>
                  <a:gd name="connsiteX58" fmla="*/ 649891 w 3182113"/>
                  <a:gd name="connsiteY58" fmla="*/ 194595 h 298989"/>
                  <a:gd name="connsiteX59" fmla="*/ 675133 w 3182113"/>
                  <a:gd name="connsiteY59" fmla="*/ 194595 h 298989"/>
                  <a:gd name="connsiteX60" fmla="*/ 675133 w 3182113"/>
                  <a:gd name="connsiteY60" fmla="*/ 200691 h 298989"/>
                  <a:gd name="connsiteX61" fmla="*/ 904399 w 3182113"/>
                  <a:gd name="connsiteY61" fmla="*/ 200691 h 298989"/>
                  <a:gd name="connsiteX62" fmla="*/ 904399 w 3182113"/>
                  <a:gd name="connsiteY62" fmla="*/ 206883 h 298989"/>
                  <a:gd name="connsiteX63" fmla="*/ 1017937 w 3182113"/>
                  <a:gd name="connsiteY63" fmla="*/ 206883 h 298989"/>
                  <a:gd name="connsiteX64" fmla="*/ 1017937 w 3182113"/>
                  <a:gd name="connsiteY64" fmla="*/ 213074 h 298989"/>
                  <a:gd name="connsiteX65" fmla="*/ 1287114 w 3182113"/>
                  <a:gd name="connsiteY65" fmla="*/ 213074 h 298989"/>
                  <a:gd name="connsiteX66" fmla="*/ 1287114 w 3182113"/>
                  <a:gd name="connsiteY66" fmla="*/ 219360 h 298989"/>
                  <a:gd name="connsiteX67" fmla="*/ 1360742 w 3182113"/>
                  <a:gd name="connsiteY67" fmla="*/ 219360 h 298989"/>
                  <a:gd name="connsiteX68" fmla="*/ 1360742 w 3182113"/>
                  <a:gd name="connsiteY68" fmla="*/ 225647 h 298989"/>
                  <a:gd name="connsiteX69" fmla="*/ 1440657 w 3182113"/>
                  <a:gd name="connsiteY69" fmla="*/ 225647 h 298989"/>
                  <a:gd name="connsiteX70" fmla="*/ 1440657 w 3182113"/>
                  <a:gd name="connsiteY70" fmla="*/ 231933 h 298989"/>
                  <a:gd name="connsiteX71" fmla="*/ 1602582 w 3182113"/>
                  <a:gd name="connsiteY71" fmla="*/ 231933 h 298989"/>
                  <a:gd name="connsiteX72" fmla="*/ 1602582 w 3182113"/>
                  <a:gd name="connsiteY72" fmla="*/ 238410 h 298989"/>
                  <a:gd name="connsiteX73" fmla="*/ 1619441 w 3182113"/>
                  <a:gd name="connsiteY73" fmla="*/ 238410 h 298989"/>
                  <a:gd name="connsiteX74" fmla="*/ 1619441 w 3182113"/>
                  <a:gd name="connsiteY74" fmla="*/ 244792 h 298989"/>
                  <a:gd name="connsiteX75" fmla="*/ 1737265 w 3182113"/>
                  <a:gd name="connsiteY75" fmla="*/ 244792 h 298989"/>
                  <a:gd name="connsiteX76" fmla="*/ 1737265 w 3182113"/>
                  <a:gd name="connsiteY76" fmla="*/ 251269 h 298989"/>
                  <a:gd name="connsiteX77" fmla="*/ 1829753 w 3182113"/>
                  <a:gd name="connsiteY77" fmla="*/ 251269 h 298989"/>
                  <a:gd name="connsiteX78" fmla="*/ 1829753 w 3182113"/>
                  <a:gd name="connsiteY78" fmla="*/ 257651 h 298989"/>
                  <a:gd name="connsiteX79" fmla="*/ 1848708 w 3182113"/>
                  <a:gd name="connsiteY79" fmla="*/ 257651 h 298989"/>
                  <a:gd name="connsiteX80" fmla="*/ 1848708 w 3182113"/>
                  <a:gd name="connsiteY80" fmla="*/ 264128 h 298989"/>
                  <a:gd name="connsiteX81" fmla="*/ 2702529 w 3182113"/>
                  <a:gd name="connsiteY81" fmla="*/ 264128 h 298989"/>
                  <a:gd name="connsiteX82" fmla="*/ 2702529 w 3182113"/>
                  <a:gd name="connsiteY82" fmla="*/ 298989 h 298989"/>
                  <a:gd name="connsiteX83" fmla="*/ 3182113 w 3182113"/>
                  <a:gd name="connsiteY83" fmla="*/ 298989 h 298989"/>
                  <a:gd name="connsiteX0" fmla="*/ 0 w 3182113"/>
                  <a:gd name="connsiteY0" fmla="*/ 0 h 298989"/>
                  <a:gd name="connsiteX1" fmla="*/ 6287 w 3182113"/>
                  <a:gd name="connsiteY1" fmla="*/ 18192 h 298989"/>
                  <a:gd name="connsiteX2" fmla="*/ 14764 w 3182113"/>
                  <a:gd name="connsiteY2" fmla="*/ 18192 h 298989"/>
                  <a:gd name="connsiteX3" fmla="*/ 14764 w 3182113"/>
                  <a:gd name="connsiteY3" fmla="*/ 24193 h 298989"/>
                  <a:gd name="connsiteX4" fmla="*/ 21051 w 3182113"/>
                  <a:gd name="connsiteY4" fmla="*/ 24193 h 298989"/>
                  <a:gd name="connsiteX5" fmla="*/ 21051 w 3182113"/>
                  <a:gd name="connsiteY5" fmla="*/ 36385 h 298989"/>
                  <a:gd name="connsiteX6" fmla="*/ 23146 w 3182113"/>
                  <a:gd name="connsiteY6" fmla="*/ 36385 h 298989"/>
                  <a:gd name="connsiteX7" fmla="*/ 23146 w 3182113"/>
                  <a:gd name="connsiteY7" fmla="*/ 42481 h 298989"/>
                  <a:gd name="connsiteX8" fmla="*/ 35719 w 3182113"/>
                  <a:gd name="connsiteY8" fmla="*/ 42481 h 298989"/>
                  <a:gd name="connsiteX9" fmla="*/ 35719 w 3182113"/>
                  <a:gd name="connsiteY9" fmla="*/ 48482 h 298989"/>
                  <a:gd name="connsiteX10" fmla="*/ 58865 w 3182113"/>
                  <a:gd name="connsiteY10" fmla="*/ 48482 h 298989"/>
                  <a:gd name="connsiteX11" fmla="*/ 58865 w 3182113"/>
                  <a:gd name="connsiteY11" fmla="*/ 54578 h 298989"/>
                  <a:gd name="connsiteX12" fmla="*/ 65247 w 3182113"/>
                  <a:gd name="connsiteY12" fmla="*/ 54578 h 298989"/>
                  <a:gd name="connsiteX13" fmla="*/ 65247 w 3182113"/>
                  <a:gd name="connsiteY13" fmla="*/ 60674 h 298989"/>
                  <a:gd name="connsiteX14" fmla="*/ 73629 w 3182113"/>
                  <a:gd name="connsiteY14" fmla="*/ 60674 h 298989"/>
                  <a:gd name="connsiteX15" fmla="*/ 73629 w 3182113"/>
                  <a:gd name="connsiteY15" fmla="*/ 66675 h 298989"/>
                  <a:gd name="connsiteX16" fmla="*/ 82011 w 3182113"/>
                  <a:gd name="connsiteY16" fmla="*/ 66675 h 298989"/>
                  <a:gd name="connsiteX17" fmla="*/ 82011 w 3182113"/>
                  <a:gd name="connsiteY17" fmla="*/ 72771 h 298989"/>
                  <a:gd name="connsiteX18" fmla="*/ 86202 w 3182113"/>
                  <a:gd name="connsiteY18" fmla="*/ 72771 h 298989"/>
                  <a:gd name="connsiteX19" fmla="*/ 86202 w 3182113"/>
                  <a:gd name="connsiteY19" fmla="*/ 78867 h 298989"/>
                  <a:gd name="connsiteX20" fmla="*/ 159830 w 3182113"/>
                  <a:gd name="connsiteY20" fmla="*/ 78867 h 298989"/>
                  <a:gd name="connsiteX21" fmla="*/ 159830 w 3182113"/>
                  <a:gd name="connsiteY21" fmla="*/ 84867 h 298989"/>
                  <a:gd name="connsiteX22" fmla="*/ 180880 w 3182113"/>
                  <a:gd name="connsiteY22" fmla="*/ 84867 h 298989"/>
                  <a:gd name="connsiteX23" fmla="*/ 180880 w 3182113"/>
                  <a:gd name="connsiteY23" fmla="*/ 90963 h 298989"/>
                  <a:gd name="connsiteX24" fmla="*/ 187167 w 3182113"/>
                  <a:gd name="connsiteY24" fmla="*/ 90963 h 298989"/>
                  <a:gd name="connsiteX25" fmla="*/ 187167 w 3182113"/>
                  <a:gd name="connsiteY25" fmla="*/ 97059 h 298989"/>
                  <a:gd name="connsiteX26" fmla="*/ 229267 w 3182113"/>
                  <a:gd name="connsiteY26" fmla="*/ 97059 h 298989"/>
                  <a:gd name="connsiteX27" fmla="*/ 229267 w 3182113"/>
                  <a:gd name="connsiteY27" fmla="*/ 103060 h 298989"/>
                  <a:gd name="connsiteX28" fmla="*/ 243936 w 3182113"/>
                  <a:gd name="connsiteY28" fmla="*/ 103060 h 298989"/>
                  <a:gd name="connsiteX29" fmla="*/ 243936 w 3182113"/>
                  <a:gd name="connsiteY29" fmla="*/ 109156 h 298989"/>
                  <a:gd name="connsiteX30" fmla="*/ 273463 w 3182113"/>
                  <a:gd name="connsiteY30" fmla="*/ 109156 h 298989"/>
                  <a:gd name="connsiteX31" fmla="*/ 273463 w 3182113"/>
                  <a:gd name="connsiteY31" fmla="*/ 115252 h 298989"/>
                  <a:gd name="connsiteX32" fmla="*/ 275559 w 3182113"/>
                  <a:gd name="connsiteY32" fmla="*/ 115252 h 298989"/>
                  <a:gd name="connsiteX33" fmla="*/ 275559 w 3182113"/>
                  <a:gd name="connsiteY33" fmla="*/ 121253 h 298989"/>
                  <a:gd name="connsiteX34" fmla="*/ 298609 w 3182113"/>
                  <a:gd name="connsiteY34" fmla="*/ 121253 h 298989"/>
                  <a:gd name="connsiteX35" fmla="*/ 298609 w 3182113"/>
                  <a:gd name="connsiteY35" fmla="*/ 127349 h 298989"/>
                  <a:gd name="connsiteX36" fmla="*/ 311278 w 3182113"/>
                  <a:gd name="connsiteY36" fmla="*/ 127349 h 298989"/>
                  <a:gd name="connsiteX37" fmla="*/ 311278 w 3182113"/>
                  <a:gd name="connsiteY37" fmla="*/ 133445 h 298989"/>
                  <a:gd name="connsiteX38" fmla="*/ 346996 w 3182113"/>
                  <a:gd name="connsiteY38" fmla="*/ 133445 h 298989"/>
                  <a:gd name="connsiteX39" fmla="*/ 346996 w 3182113"/>
                  <a:gd name="connsiteY39" fmla="*/ 139541 h 298989"/>
                  <a:gd name="connsiteX40" fmla="*/ 462725 w 3182113"/>
                  <a:gd name="connsiteY40" fmla="*/ 139541 h 298989"/>
                  <a:gd name="connsiteX41" fmla="*/ 462725 w 3182113"/>
                  <a:gd name="connsiteY41" fmla="*/ 145542 h 298989"/>
                  <a:gd name="connsiteX42" fmla="*/ 500539 w 3182113"/>
                  <a:gd name="connsiteY42" fmla="*/ 145542 h 298989"/>
                  <a:gd name="connsiteX43" fmla="*/ 500539 w 3182113"/>
                  <a:gd name="connsiteY43" fmla="*/ 151733 h 298989"/>
                  <a:gd name="connsiteX44" fmla="*/ 553117 w 3182113"/>
                  <a:gd name="connsiteY44" fmla="*/ 151733 h 298989"/>
                  <a:gd name="connsiteX45" fmla="*/ 553117 w 3182113"/>
                  <a:gd name="connsiteY45" fmla="*/ 157829 h 298989"/>
                  <a:gd name="connsiteX46" fmla="*/ 572072 w 3182113"/>
                  <a:gd name="connsiteY46" fmla="*/ 157829 h 298989"/>
                  <a:gd name="connsiteX47" fmla="*/ 572072 w 3182113"/>
                  <a:gd name="connsiteY47" fmla="*/ 163925 h 298989"/>
                  <a:gd name="connsiteX48" fmla="*/ 582550 w 3182113"/>
                  <a:gd name="connsiteY48" fmla="*/ 163925 h 298989"/>
                  <a:gd name="connsiteX49" fmla="*/ 582550 w 3182113"/>
                  <a:gd name="connsiteY49" fmla="*/ 170116 h 298989"/>
                  <a:gd name="connsiteX50" fmla="*/ 616268 w 3182113"/>
                  <a:gd name="connsiteY50" fmla="*/ 170116 h 298989"/>
                  <a:gd name="connsiteX51" fmla="*/ 616268 w 3182113"/>
                  <a:gd name="connsiteY51" fmla="*/ 176212 h 298989"/>
                  <a:gd name="connsiteX52" fmla="*/ 622555 w 3182113"/>
                  <a:gd name="connsiteY52" fmla="*/ 176212 h 298989"/>
                  <a:gd name="connsiteX53" fmla="*/ 622555 w 3182113"/>
                  <a:gd name="connsiteY53" fmla="*/ 182308 h 298989"/>
                  <a:gd name="connsiteX54" fmla="*/ 637223 w 3182113"/>
                  <a:gd name="connsiteY54" fmla="*/ 182308 h 298989"/>
                  <a:gd name="connsiteX55" fmla="*/ 637223 w 3182113"/>
                  <a:gd name="connsiteY55" fmla="*/ 188404 h 298989"/>
                  <a:gd name="connsiteX56" fmla="*/ 649891 w 3182113"/>
                  <a:gd name="connsiteY56" fmla="*/ 188404 h 298989"/>
                  <a:gd name="connsiteX57" fmla="*/ 649891 w 3182113"/>
                  <a:gd name="connsiteY57" fmla="*/ 194595 h 298989"/>
                  <a:gd name="connsiteX58" fmla="*/ 675133 w 3182113"/>
                  <a:gd name="connsiteY58" fmla="*/ 194595 h 298989"/>
                  <a:gd name="connsiteX59" fmla="*/ 675133 w 3182113"/>
                  <a:gd name="connsiteY59" fmla="*/ 200691 h 298989"/>
                  <a:gd name="connsiteX60" fmla="*/ 904399 w 3182113"/>
                  <a:gd name="connsiteY60" fmla="*/ 200691 h 298989"/>
                  <a:gd name="connsiteX61" fmla="*/ 904399 w 3182113"/>
                  <a:gd name="connsiteY61" fmla="*/ 206883 h 298989"/>
                  <a:gd name="connsiteX62" fmla="*/ 1017937 w 3182113"/>
                  <a:gd name="connsiteY62" fmla="*/ 206883 h 298989"/>
                  <a:gd name="connsiteX63" fmla="*/ 1017937 w 3182113"/>
                  <a:gd name="connsiteY63" fmla="*/ 213074 h 298989"/>
                  <a:gd name="connsiteX64" fmla="*/ 1287114 w 3182113"/>
                  <a:gd name="connsiteY64" fmla="*/ 213074 h 298989"/>
                  <a:gd name="connsiteX65" fmla="*/ 1287114 w 3182113"/>
                  <a:gd name="connsiteY65" fmla="*/ 219360 h 298989"/>
                  <a:gd name="connsiteX66" fmla="*/ 1360742 w 3182113"/>
                  <a:gd name="connsiteY66" fmla="*/ 219360 h 298989"/>
                  <a:gd name="connsiteX67" fmla="*/ 1360742 w 3182113"/>
                  <a:gd name="connsiteY67" fmla="*/ 225647 h 298989"/>
                  <a:gd name="connsiteX68" fmla="*/ 1440657 w 3182113"/>
                  <a:gd name="connsiteY68" fmla="*/ 225647 h 298989"/>
                  <a:gd name="connsiteX69" fmla="*/ 1440657 w 3182113"/>
                  <a:gd name="connsiteY69" fmla="*/ 231933 h 298989"/>
                  <a:gd name="connsiteX70" fmla="*/ 1602582 w 3182113"/>
                  <a:gd name="connsiteY70" fmla="*/ 231933 h 298989"/>
                  <a:gd name="connsiteX71" fmla="*/ 1602582 w 3182113"/>
                  <a:gd name="connsiteY71" fmla="*/ 238410 h 298989"/>
                  <a:gd name="connsiteX72" fmla="*/ 1619441 w 3182113"/>
                  <a:gd name="connsiteY72" fmla="*/ 238410 h 298989"/>
                  <a:gd name="connsiteX73" fmla="*/ 1619441 w 3182113"/>
                  <a:gd name="connsiteY73" fmla="*/ 244792 h 298989"/>
                  <a:gd name="connsiteX74" fmla="*/ 1737265 w 3182113"/>
                  <a:gd name="connsiteY74" fmla="*/ 244792 h 298989"/>
                  <a:gd name="connsiteX75" fmla="*/ 1737265 w 3182113"/>
                  <a:gd name="connsiteY75" fmla="*/ 251269 h 298989"/>
                  <a:gd name="connsiteX76" fmla="*/ 1829753 w 3182113"/>
                  <a:gd name="connsiteY76" fmla="*/ 251269 h 298989"/>
                  <a:gd name="connsiteX77" fmla="*/ 1829753 w 3182113"/>
                  <a:gd name="connsiteY77" fmla="*/ 257651 h 298989"/>
                  <a:gd name="connsiteX78" fmla="*/ 1848708 w 3182113"/>
                  <a:gd name="connsiteY78" fmla="*/ 257651 h 298989"/>
                  <a:gd name="connsiteX79" fmla="*/ 1848708 w 3182113"/>
                  <a:gd name="connsiteY79" fmla="*/ 264128 h 298989"/>
                  <a:gd name="connsiteX80" fmla="*/ 2702529 w 3182113"/>
                  <a:gd name="connsiteY80" fmla="*/ 264128 h 298989"/>
                  <a:gd name="connsiteX81" fmla="*/ 2702529 w 3182113"/>
                  <a:gd name="connsiteY81" fmla="*/ 298989 h 298989"/>
                  <a:gd name="connsiteX82" fmla="*/ 3182113 w 3182113"/>
                  <a:gd name="connsiteY82" fmla="*/ 298989 h 298989"/>
                  <a:gd name="connsiteX0" fmla="*/ 0 w 3175826"/>
                  <a:gd name="connsiteY0" fmla="*/ 0 h 280797"/>
                  <a:gd name="connsiteX1" fmla="*/ 8477 w 3175826"/>
                  <a:gd name="connsiteY1" fmla="*/ 0 h 280797"/>
                  <a:gd name="connsiteX2" fmla="*/ 8477 w 3175826"/>
                  <a:gd name="connsiteY2" fmla="*/ 6001 h 280797"/>
                  <a:gd name="connsiteX3" fmla="*/ 14764 w 3175826"/>
                  <a:gd name="connsiteY3" fmla="*/ 6001 h 280797"/>
                  <a:gd name="connsiteX4" fmla="*/ 14764 w 3175826"/>
                  <a:gd name="connsiteY4" fmla="*/ 18193 h 280797"/>
                  <a:gd name="connsiteX5" fmla="*/ 16859 w 3175826"/>
                  <a:gd name="connsiteY5" fmla="*/ 18193 h 280797"/>
                  <a:gd name="connsiteX6" fmla="*/ 16859 w 3175826"/>
                  <a:gd name="connsiteY6" fmla="*/ 24289 h 280797"/>
                  <a:gd name="connsiteX7" fmla="*/ 29432 w 3175826"/>
                  <a:gd name="connsiteY7" fmla="*/ 24289 h 280797"/>
                  <a:gd name="connsiteX8" fmla="*/ 29432 w 3175826"/>
                  <a:gd name="connsiteY8" fmla="*/ 30290 h 280797"/>
                  <a:gd name="connsiteX9" fmla="*/ 52578 w 3175826"/>
                  <a:gd name="connsiteY9" fmla="*/ 30290 h 280797"/>
                  <a:gd name="connsiteX10" fmla="*/ 52578 w 3175826"/>
                  <a:gd name="connsiteY10" fmla="*/ 36386 h 280797"/>
                  <a:gd name="connsiteX11" fmla="*/ 58960 w 3175826"/>
                  <a:gd name="connsiteY11" fmla="*/ 36386 h 280797"/>
                  <a:gd name="connsiteX12" fmla="*/ 58960 w 3175826"/>
                  <a:gd name="connsiteY12" fmla="*/ 42482 h 280797"/>
                  <a:gd name="connsiteX13" fmla="*/ 67342 w 3175826"/>
                  <a:gd name="connsiteY13" fmla="*/ 42482 h 280797"/>
                  <a:gd name="connsiteX14" fmla="*/ 67342 w 3175826"/>
                  <a:gd name="connsiteY14" fmla="*/ 48483 h 280797"/>
                  <a:gd name="connsiteX15" fmla="*/ 75724 w 3175826"/>
                  <a:gd name="connsiteY15" fmla="*/ 48483 h 280797"/>
                  <a:gd name="connsiteX16" fmla="*/ 75724 w 3175826"/>
                  <a:gd name="connsiteY16" fmla="*/ 54579 h 280797"/>
                  <a:gd name="connsiteX17" fmla="*/ 79915 w 3175826"/>
                  <a:gd name="connsiteY17" fmla="*/ 54579 h 280797"/>
                  <a:gd name="connsiteX18" fmla="*/ 79915 w 3175826"/>
                  <a:gd name="connsiteY18" fmla="*/ 60675 h 280797"/>
                  <a:gd name="connsiteX19" fmla="*/ 153543 w 3175826"/>
                  <a:gd name="connsiteY19" fmla="*/ 60675 h 280797"/>
                  <a:gd name="connsiteX20" fmla="*/ 153543 w 3175826"/>
                  <a:gd name="connsiteY20" fmla="*/ 66675 h 280797"/>
                  <a:gd name="connsiteX21" fmla="*/ 174593 w 3175826"/>
                  <a:gd name="connsiteY21" fmla="*/ 66675 h 280797"/>
                  <a:gd name="connsiteX22" fmla="*/ 174593 w 3175826"/>
                  <a:gd name="connsiteY22" fmla="*/ 72771 h 280797"/>
                  <a:gd name="connsiteX23" fmla="*/ 180880 w 3175826"/>
                  <a:gd name="connsiteY23" fmla="*/ 72771 h 280797"/>
                  <a:gd name="connsiteX24" fmla="*/ 180880 w 3175826"/>
                  <a:gd name="connsiteY24" fmla="*/ 78867 h 280797"/>
                  <a:gd name="connsiteX25" fmla="*/ 222980 w 3175826"/>
                  <a:gd name="connsiteY25" fmla="*/ 78867 h 280797"/>
                  <a:gd name="connsiteX26" fmla="*/ 222980 w 3175826"/>
                  <a:gd name="connsiteY26" fmla="*/ 84868 h 280797"/>
                  <a:gd name="connsiteX27" fmla="*/ 237649 w 3175826"/>
                  <a:gd name="connsiteY27" fmla="*/ 84868 h 280797"/>
                  <a:gd name="connsiteX28" fmla="*/ 237649 w 3175826"/>
                  <a:gd name="connsiteY28" fmla="*/ 90964 h 280797"/>
                  <a:gd name="connsiteX29" fmla="*/ 267176 w 3175826"/>
                  <a:gd name="connsiteY29" fmla="*/ 90964 h 280797"/>
                  <a:gd name="connsiteX30" fmla="*/ 267176 w 3175826"/>
                  <a:gd name="connsiteY30" fmla="*/ 97060 h 280797"/>
                  <a:gd name="connsiteX31" fmla="*/ 269272 w 3175826"/>
                  <a:gd name="connsiteY31" fmla="*/ 97060 h 280797"/>
                  <a:gd name="connsiteX32" fmla="*/ 269272 w 3175826"/>
                  <a:gd name="connsiteY32" fmla="*/ 103061 h 280797"/>
                  <a:gd name="connsiteX33" fmla="*/ 292322 w 3175826"/>
                  <a:gd name="connsiteY33" fmla="*/ 103061 h 280797"/>
                  <a:gd name="connsiteX34" fmla="*/ 292322 w 3175826"/>
                  <a:gd name="connsiteY34" fmla="*/ 109157 h 280797"/>
                  <a:gd name="connsiteX35" fmla="*/ 304991 w 3175826"/>
                  <a:gd name="connsiteY35" fmla="*/ 109157 h 280797"/>
                  <a:gd name="connsiteX36" fmla="*/ 304991 w 3175826"/>
                  <a:gd name="connsiteY36" fmla="*/ 115253 h 280797"/>
                  <a:gd name="connsiteX37" fmla="*/ 340709 w 3175826"/>
                  <a:gd name="connsiteY37" fmla="*/ 115253 h 280797"/>
                  <a:gd name="connsiteX38" fmla="*/ 340709 w 3175826"/>
                  <a:gd name="connsiteY38" fmla="*/ 121349 h 280797"/>
                  <a:gd name="connsiteX39" fmla="*/ 456438 w 3175826"/>
                  <a:gd name="connsiteY39" fmla="*/ 121349 h 280797"/>
                  <a:gd name="connsiteX40" fmla="*/ 456438 w 3175826"/>
                  <a:gd name="connsiteY40" fmla="*/ 127350 h 280797"/>
                  <a:gd name="connsiteX41" fmla="*/ 494252 w 3175826"/>
                  <a:gd name="connsiteY41" fmla="*/ 127350 h 280797"/>
                  <a:gd name="connsiteX42" fmla="*/ 494252 w 3175826"/>
                  <a:gd name="connsiteY42" fmla="*/ 133541 h 280797"/>
                  <a:gd name="connsiteX43" fmla="*/ 546830 w 3175826"/>
                  <a:gd name="connsiteY43" fmla="*/ 133541 h 280797"/>
                  <a:gd name="connsiteX44" fmla="*/ 546830 w 3175826"/>
                  <a:gd name="connsiteY44" fmla="*/ 139637 h 280797"/>
                  <a:gd name="connsiteX45" fmla="*/ 565785 w 3175826"/>
                  <a:gd name="connsiteY45" fmla="*/ 139637 h 280797"/>
                  <a:gd name="connsiteX46" fmla="*/ 565785 w 3175826"/>
                  <a:gd name="connsiteY46" fmla="*/ 145733 h 280797"/>
                  <a:gd name="connsiteX47" fmla="*/ 576263 w 3175826"/>
                  <a:gd name="connsiteY47" fmla="*/ 145733 h 280797"/>
                  <a:gd name="connsiteX48" fmla="*/ 576263 w 3175826"/>
                  <a:gd name="connsiteY48" fmla="*/ 151924 h 280797"/>
                  <a:gd name="connsiteX49" fmla="*/ 609981 w 3175826"/>
                  <a:gd name="connsiteY49" fmla="*/ 151924 h 280797"/>
                  <a:gd name="connsiteX50" fmla="*/ 609981 w 3175826"/>
                  <a:gd name="connsiteY50" fmla="*/ 158020 h 280797"/>
                  <a:gd name="connsiteX51" fmla="*/ 616268 w 3175826"/>
                  <a:gd name="connsiteY51" fmla="*/ 158020 h 280797"/>
                  <a:gd name="connsiteX52" fmla="*/ 616268 w 3175826"/>
                  <a:gd name="connsiteY52" fmla="*/ 164116 h 280797"/>
                  <a:gd name="connsiteX53" fmla="*/ 630936 w 3175826"/>
                  <a:gd name="connsiteY53" fmla="*/ 164116 h 280797"/>
                  <a:gd name="connsiteX54" fmla="*/ 630936 w 3175826"/>
                  <a:gd name="connsiteY54" fmla="*/ 170212 h 280797"/>
                  <a:gd name="connsiteX55" fmla="*/ 643604 w 3175826"/>
                  <a:gd name="connsiteY55" fmla="*/ 170212 h 280797"/>
                  <a:gd name="connsiteX56" fmla="*/ 643604 w 3175826"/>
                  <a:gd name="connsiteY56" fmla="*/ 176403 h 280797"/>
                  <a:gd name="connsiteX57" fmla="*/ 668846 w 3175826"/>
                  <a:gd name="connsiteY57" fmla="*/ 176403 h 280797"/>
                  <a:gd name="connsiteX58" fmla="*/ 668846 w 3175826"/>
                  <a:gd name="connsiteY58" fmla="*/ 182499 h 280797"/>
                  <a:gd name="connsiteX59" fmla="*/ 898112 w 3175826"/>
                  <a:gd name="connsiteY59" fmla="*/ 182499 h 280797"/>
                  <a:gd name="connsiteX60" fmla="*/ 898112 w 3175826"/>
                  <a:gd name="connsiteY60" fmla="*/ 188691 h 280797"/>
                  <a:gd name="connsiteX61" fmla="*/ 1011650 w 3175826"/>
                  <a:gd name="connsiteY61" fmla="*/ 188691 h 280797"/>
                  <a:gd name="connsiteX62" fmla="*/ 1011650 w 3175826"/>
                  <a:gd name="connsiteY62" fmla="*/ 194882 h 280797"/>
                  <a:gd name="connsiteX63" fmla="*/ 1280827 w 3175826"/>
                  <a:gd name="connsiteY63" fmla="*/ 194882 h 280797"/>
                  <a:gd name="connsiteX64" fmla="*/ 1280827 w 3175826"/>
                  <a:gd name="connsiteY64" fmla="*/ 201168 h 280797"/>
                  <a:gd name="connsiteX65" fmla="*/ 1354455 w 3175826"/>
                  <a:gd name="connsiteY65" fmla="*/ 201168 h 280797"/>
                  <a:gd name="connsiteX66" fmla="*/ 1354455 w 3175826"/>
                  <a:gd name="connsiteY66" fmla="*/ 207455 h 280797"/>
                  <a:gd name="connsiteX67" fmla="*/ 1434370 w 3175826"/>
                  <a:gd name="connsiteY67" fmla="*/ 207455 h 280797"/>
                  <a:gd name="connsiteX68" fmla="*/ 1434370 w 3175826"/>
                  <a:gd name="connsiteY68" fmla="*/ 213741 h 280797"/>
                  <a:gd name="connsiteX69" fmla="*/ 1596295 w 3175826"/>
                  <a:gd name="connsiteY69" fmla="*/ 213741 h 280797"/>
                  <a:gd name="connsiteX70" fmla="*/ 1596295 w 3175826"/>
                  <a:gd name="connsiteY70" fmla="*/ 220218 h 280797"/>
                  <a:gd name="connsiteX71" fmla="*/ 1613154 w 3175826"/>
                  <a:gd name="connsiteY71" fmla="*/ 220218 h 280797"/>
                  <a:gd name="connsiteX72" fmla="*/ 1613154 w 3175826"/>
                  <a:gd name="connsiteY72" fmla="*/ 226600 h 280797"/>
                  <a:gd name="connsiteX73" fmla="*/ 1730978 w 3175826"/>
                  <a:gd name="connsiteY73" fmla="*/ 226600 h 280797"/>
                  <a:gd name="connsiteX74" fmla="*/ 1730978 w 3175826"/>
                  <a:gd name="connsiteY74" fmla="*/ 233077 h 280797"/>
                  <a:gd name="connsiteX75" fmla="*/ 1823466 w 3175826"/>
                  <a:gd name="connsiteY75" fmla="*/ 233077 h 280797"/>
                  <a:gd name="connsiteX76" fmla="*/ 1823466 w 3175826"/>
                  <a:gd name="connsiteY76" fmla="*/ 239459 h 280797"/>
                  <a:gd name="connsiteX77" fmla="*/ 1842421 w 3175826"/>
                  <a:gd name="connsiteY77" fmla="*/ 239459 h 280797"/>
                  <a:gd name="connsiteX78" fmla="*/ 1842421 w 3175826"/>
                  <a:gd name="connsiteY78" fmla="*/ 245936 h 280797"/>
                  <a:gd name="connsiteX79" fmla="*/ 2696242 w 3175826"/>
                  <a:gd name="connsiteY79" fmla="*/ 245936 h 280797"/>
                  <a:gd name="connsiteX80" fmla="*/ 2696242 w 3175826"/>
                  <a:gd name="connsiteY80" fmla="*/ 280797 h 280797"/>
                  <a:gd name="connsiteX81" fmla="*/ 3175826 w 3175826"/>
                  <a:gd name="connsiteY81" fmla="*/ 280797 h 280797"/>
                  <a:gd name="connsiteX0" fmla="*/ 0 w 3175826"/>
                  <a:gd name="connsiteY0" fmla="*/ 0 h 280797"/>
                  <a:gd name="connsiteX1" fmla="*/ 8477 w 3175826"/>
                  <a:gd name="connsiteY1" fmla="*/ 0 h 280797"/>
                  <a:gd name="connsiteX2" fmla="*/ 14764 w 3175826"/>
                  <a:gd name="connsiteY2" fmla="*/ 6001 h 280797"/>
                  <a:gd name="connsiteX3" fmla="*/ 14764 w 3175826"/>
                  <a:gd name="connsiteY3" fmla="*/ 18193 h 280797"/>
                  <a:gd name="connsiteX4" fmla="*/ 16859 w 3175826"/>
                  <a:gd name="connsiteY4" fmla="*/ 18193 h 280797"/>
                  <a:gd name="connsiteX5" fmla="*/ 16859 w 3175826"/>
                  <a:gd name="connsiteY5" fmla="*/ 24289 h 280797"/>
                  <a:gd name="connsiteX6" fmla="*/ 29432 w 3175826"/>
                  <a:gd name="connsiteY6" fmla="*/ 24289 h 280797"/>
                  <a:gd name="connsiteX7" fmla="*/ 29432 w 3175826"/>
                  <a:gd name="connsiteY7" fmla="*/ 30290 h 280797"/>
                  <a:gd name="connsiteX8" fmla="*/ 52578 w 3175826"/>
                  <a:gd name="connsiteY8" fmla="*/ 30290 h 280797"/>
                  <a:gd name="connsiteX9" fmla="*/ 52578 w 3175826"/>
                  <a:gd name="connsiteY9" fmla="*/ 36386 h 280797"/>
                  <a:gd name="connsiteX10" fmla="*/ 58960 w 3175826"/>
                  <a:gd name="connsiteY10" fmla="*/ 36386 h 280797"/>
                  <a:gd name="connsiteX11" fmla="*/ 58960 w 3175826"/>
                  <a:gd name="connsiteY11" fmla="*/ 42482 h 280797"/>
                  <a:gd name="connsiteX12" fmla="*/ 67342 w 3175826"/>
                  <a:gd name="connsiteY12" fmla="*/ 42482 h 280797"/>
                  <a:gd name="connsiteX13" fmla="*/ 67342 w 3175826"/>
                  <a:gd name="connsiteY13" fmla="*/ 48483 h 280797"/>
                  <a:gd name="connsiteX14" fmla="*/ 75724 w 3175826"/>
                  <a:gd name="connsiteY14" fmla="*/ 48483 h 280797"/>
                  <a:gd name="connsiteX15" fmla="*/ 75724 w 3175826"/>
                  <a:gd name="connsiteY15" fmla="*/ 54579 h 280797"/>
                  <a:gd name="connsiteX16" fmla="*/ 79915 w 3175826"/>
                  <a:gd name="connsiteY16" fmla="*/ 54579 h 280797"/>
                  <a:gd name="connsiteX17" fmla="*/ 79915 w 3175826"/>
                  <a:gd name="connsiteY17" fmla="*/ 60675 h 280797"/>
                  <a:gd name="connsiteX18" fmla="*/ 153543 w 3175826"/>
                  <a:gd name="connsiteY18" fmla="*/ 60675 h 280797"/>
                  <a:gd name="connsiteX19" fmla="*/ 153543 w 3175826"/>
                  <a:gd name="connsiteY19" fmla="*/ 66675 h 280797"/>
                  <a:gd name="connsiteX20" fmla="*/ 174593 w 3175826"/>
                  <a:gd name="connsiteY20" fmla="*/ 66675 h 280797"/>
                  <a:gd name="connsiteX21" fmla="*/ 174593 w 3175826"/>
                  <a:gd name="connsiteY21" fmla="*/ 72771 h 280797"/>
                  <a:gd name="connsiteX22" fmla="*/ 180880 w 3175826"/>
                  <a:gd name="connsiteY22" fmla="*/ 72771 h 280797"/>
                  <a:gd name="connsiteX23" fmla="*/ 180880 w 3175826"/>
                  <a:gd name="connsiteY23" fmla="*/ 78867 h 280797"/>
                  <a:gd name="connsiteX24" fmla="*/ 222980 w 3175826"/>
                  <a:gd name="connsiteY24" fmla="*/ 78867 h 280797"/>
                  <a:gd name="connsiteX25" fmla="*/ 222980 w 3175826"/>
                  <a:gd name="connsiteY25" fmla="*/ 84868 h 280797"/>
                  <a:gd name="connsiteX26" fmla="*/ 237649 w 3175826"/>
                  <a:gd name="connsiteY26" fmla="*/ 84868 h 280797"/>
                  <a:gd name="connsiteX27" fmla="*/ 237649 w 3175826"/>
                  <a:gd name="connsiteY27" fmla="*/ 90964 h 280797"/>
                  <a:gd name="connsiteX28" fmla="*/ 267176 w 3175826"/>
                  <a:gd name="connsiteY28" fmla="*/ 90964 h 280797"/>
                  <a:gd name="connsiteX29" fmla="*/ 267176 w 3175826"/>
                  <a:gd name="connsiteY29" fmla="*/ 97060 h 280797"/>
                  <a:gd name="connsiteX30" fmla="*/ 269272 w 3175826"/>
                  <a:gd name="connsiteY30" fmla="*/ 97060 h 280797"/>
                  <a:gd name="connsiteX31" fmla="*/ 269272 w 3175826"/>
                  <a:gd name="connsiteY31" fmla="*/ 103061 h 280797"/>
                  <a:gd name="connsiteX32" fmla="*/ 292322 w 3175826"/>
                  <a:gd name="connsiteY32" fmla="*/ 103061 h 280797"/>
                  <a:gd name="connsiteX33" fmla="*/ 292322 w 3175826"/>
                  <a:gd name="connsiteY33" fmla="*/ 109157 h 280797"/>
                  <a:gd name="connsiteX34" fmla="*/ 304991 w 3175826"/>
                  <a:gd name="connsiteY34" fmla="*/ 109157 h 280797"/>
                  <a:gd name="connsiteX35" fmla="*/ 304991 w 3175826"/>
                  <a:gd name="connsiteY35" fmla="*/ 115253 h 280797"/>
                  <a:gd name="connsiteX36" fmla="*/ 340709 w 3175826"/>
                  <a:gd name="connsiteY36" fmla="*/ 115253 h 280797"/>
                  <a:gd name="connsiteX37" fmla="*/ 340709 w 3175826"/>
                  <a:gd name="connsiteY37" fmla="*/ 121349 h 280797"/>
                  <a:gd name="connsiteX38" fmla="*/ 456438 w 3175826"/>
                  <a:gd name="connsiteY38" fmla="*/ 121349 h 280797"/>
                  <a:gd name="connsiteX39" fmla="*/ 456438 w 3175826"/>
                  <a:gd name="connsiteY39" fmla="*/ 127350 h 280797"/>
                  <a:gd name="connsiteX40" fmla="*/ 494252 w 3175826"/>
                  <a:gd name="connsiteY40" fmla="*/ 127350 h 280797"/>
                  <a:gd name="connsiteX41" fmla="*/ 494252 w 3175826"/>
                  <a:gd name="connsiteY41" fmla="*/ 133541 h 280797"/>
                  <a:gd name="connsiteX42" fmla="*/ 546830 w 3175826"/>
                  <a:gd name="connsiteY42" fmla="*/ 133541 h 280797"/>
                  <a:gd name="connsiteX43" fmla="*/ 546830 w 3175826"/>
                  <a:gd name="connsiteY43" fmla="*/ 139637 h 280797"/>
                  <a:gd name="connsiteX44" fmla="*/ 565785 w 3175826"/>
                  <a:gd name="connsiteY44" fmla="*/ 139637 h 280797"/>
                  <a:gd name="connsiteX45" fmla="*/ 565785 w 3175826"/>
                  <a:gd name="connsiteY45" fmla="*/ 145733 h 280797"/>
                  <a:gd name="connsiteX46" fmla="*/ 576263 w 3175826"/>
                  <a:gd name="connsiteY46" fmla="*/ 145733 h 280797"/>
                  <a:gd name="connsiteX47" fmla="*/ 576263 w 3175826"/>
                  <a:gd name="connsiteY47" fmla="*/ 151924 h 280797"/>
                  <a:gd name="connsiteX48" fmla="*/ 609981 w 3175826"/>
                  <a:gd name="connsiteY48" fmla="*/ 151924 h 280797"/>
                  <a:gd name="connsiteX49" fmla="*/ 609981 w 3175826"/>
                  <a:gd name="connsiteY49" fmla="*/ 158020 h 280797"/>
                  <a:gd name="connsiteX50" fmla="*/ 616268 w 3175826"/>
                  <a:gd name="connsiteY50" fmla="*/ 158020 h 280797"/>
                  <a:gd name="connsiteX51" fmla="*/ 616268 w 3175826"/>
                  <a:gd name="connsiteY51" fmla="*/ 164116 h 280797"/>
                  <a:gd name="connsiteX52" fmla="*/ 630936 w 3175826"/>
                  <a:gd name="connsiteY52" fmla="*/ 164116 h 280797"/>
                  <a:gd name="connsiteX53" fmla="*/ 630936 w 3175826"/>
                  <a:gd name="connsiteY53" fmla="*/ 170212 h 280797"/>
                  <a:gd name="connsiteX54" fmla="*/ 643604 w 3175826"/>
                  <a:gd name="connsiteY54" fmla="*/ 170212 h 280797"/>
                  <a:gd name="connsiteX55" fmla="*/ 643604 w 3175826"/>
                  <a:gd name="connsiteY55" fmla="*/ 176403 h 280797"/>
                  <a:gd name="connsiteX56" fmla="*/ 668846 w 3175826"/>
                  <a:gd name="connsiteY56" fmla="*/ 176403 h 280797"/>
                  <a:gd name="connsiteX57" fmla="*/ 668846 w 3175826"/>
                  <a:gd name="connsiteY57" fmla="*/ 182499 h 280797"/>
                  <a:gd name="connsiteX58" fmla="*/ 898112 w 3175826"/>
                  <a:gd name="connsiteY58" fmla="*/ 182499 h 280797"/>
                  <a:gd name="connsiteX59" fmla="*/ 898112 w 3175826"/>
                  <a:gd name="connsiteY59" fmla="*/ 188691 h 280797"/>
                  <a:gd name="connsiteX60" fmla="*/ 1011650 w 3175826"/>
                  <a:gd name="connsiteY60" fmla="*/ 188691 h 280797"/>
                  <a:gd name="connsiteX61" fmla="*/ 1011650 w 3175826"/>
                  <a:gd name="connsiteY61" fmla="*/ 194882 h 280797"/>
                  <a:gd name="connsiteX62" fmla="*/ 1280827 w 3175826"/>
                  <a:gd name="connsiteY62" fmla="*/ 194882 h 280797"/>
                  <a:gd name="connsiteX63" fmla="*/ 1280827 w 3175826"/>
                  <a:gd name="connsiteY63" fmla="*/ 201168 h 280797"/>
                  <a:gd name="connsiteX64" fmla="*/ 1354455 w 3175826"/>
                  <a:gd name="connsiteY64" fmla="*/ 201168 h 280797"/>
                  <a:gd name="connsiteX65" fmla="*/ 1354455 w 3175826"/>
                  <a:gd name="connsiteY65" fmla="*/ 207455 h 280797"/>
                  <a:gd name="connsiteX66" fmla="*/ 1434370 w 3175826"/>
                  <a:gd name="connsiteY66" fmla="*/ 207455 h 280797"/>
                  <a:gd name="connsiteX67" fmla="*/ 1434370 w 3175826"/>
                  <a:gd name="connsiteY67" fmla="*/ 213741 h 280797"/>
                  <a:gd name="connsiteX68" fmla="*/ 1596295 w 3175826"/>
                  <a:gd name="connsiteY68" fmla="*/ 213741 h 280797"/>
                  <a:gd name="connsiteX69" fmla="*/ 1596295 w 3175826"/>
                  <a:gd name="connsiteY69" fmla="*/ 220218 h 280797"/>
                  <a:gd name="connsiteX70" fmla="*/ 1613154 w 3175826"/>
                  <a:gd name="connsiteY70" fmla="*/ 220218 h 280797"/>
                  <a:gd name="connsiteX71" fmla="*/ 1613154 w 3175826"/>
                  <a:gd name="connsiteY71" fmla="*/ 226600 h 280797"/>
                  <a:gd name="connsiteX72" fmla="*/ 1730978 w 3175826"/>
                  <a:gd name="connsiteY72" fmla="*/ 226600 h 280797"/>
                  <a:gd name="connsiteX73" fmla="*/ 1730978 w 3175826"/>
                  <a:gd name="connsiteY73" fmla="*/ 233077 h 280797"/>
                  <a:gd name="connsiteX74" fmla="*/ 1823466 w 3175826"/>
                  <a:gd name="connsiteY74" fmla="*/ 233077 h 280797"/>
                  <a:gd name="connsiteX75" fmla="*/ 1823466 w 3175826"/>
                  <a:gd name="connsiteY75" fmla="*/ 239459 h 280797"/>
                  <a:gd name="connsiteX76" fmla="*/ 1842421 w 3175826"/>
                  <a:gd name="connsiteY76" fmla="*/ 239459 h 280797"/>
                  <a:gd name="connsiteX77" fmla="*/ 1842421 w 3175826"/>
                  <a:gd name="connsiteY77" fmla="*/ 245936 h 280797"/>
                  <a:gd name="connsiteX78" fmla="*/ 2696242 w 3175826"/>
                  <a:gd name="connsiteY78" fmla="*/ 245936 h 280797"/>
                  <a:gd name="connsiteX79" fmla="*/ 2696242 w 3175826"/>
                  <a:gd name="connsiteY79" fmla="*/ 280797 h 280797"/>
                  <a:gd name="connsiteX80" fmla="*/ 3175826 w 3175826"/>
                  <a:gd name="connsiteY80" fmla="*/ 280797 h 280797"/>
                  <a:gd name="connsiteX0" fmla="*/ 0 w 3175826"/>
                  <a:gd name="connsiteY0" fmla="*/ 0 h 280797"/>
                  <a:gd name="connsiteX1" fmla="*/ 14764 w 3175826"/>
                  <a:gd name="connsiteY1" fmla="*/ 6001 h 280797"/>
                  <a:gd name="connsiteX2" fmla="*/ 14764 w 3175826"/>
                  <a:gd name="connsiteY2" fmla="*/ 18193 h 280797"/>
                  <a:gd name="connsiteX3" fmla="*/ 16859 w 3175826"/>
                  <a:gd name="connsiteY3" fmla="*/ 18193 h 280797"/>
                  <a:gd name="connsiteX4" fmla="*/ 16859 w 3175826"/>
                  <a:gd name="connsiteY4" fmla="*/ 24289 h 280797"/>
                  <a:gd name="connsiteX5" fmla="*/ 29432 w 3175826"/>
                  <a:gd name="connsiteY5" fmla="*/ 24289 h 280797"/>
                  <a:gd name="connsiteX6" fmla="*/ 29432 w 3175826"/>
                  <a:gd name="connsiteY6" fmla="*/ 30290 h 280797"/>
                  <a:gd name="connsiteX7" fmla="*/ 52578 w 3175826"/>
                  <a:gd name="connsiteY7" fmla="*/ 30290 h 280797"/>
                  <a:gd name="connsiteX8" fmla="*/ 52578 w 3175826"/>
                  <a:gd name="connsiteY8" fmla="*/ 36386 h 280797"/>
                  <a:gd name="connsiteX9" fmla="*/ 58960 w 3175826"/>
                  <a:gd name="connsiteY9" fmla="*/ 36386 h 280797"/>
                  <a:gd name="connsiteX10" fmla="*/ 58960 w 3175826"/>
                  <a:gd name="connsiteY10" fmla="*/ 42482 h 280797"/>
                  <a:gd name="connsiteX11" fmla="*/ 67342 w 3175826"/>
                  <a:gd name="connsiteY11" fmla="*/ 42482 h 280797"/>
                  <a:gd name="connsiteX12" fmla="*/ 67342 w 3175826"/>
                  <a:gd name="connsiteY12" fmla="*/ 48483 h 280797"/>
                  <a:gd name="connsiteX13" fmla="*/ 75724 w 3175826"/>
                  <a:gd name="connsiteY13" fmla="*/ 48483 h 280797"/>
                  <a:gd name="connsiteX14" fmla="*/ 75724 w 3175826"/>
                  <a:gd name="connsiteY14" fmla="*/ 54579 h 280797"/>
                  <a:gd name="connsiteX15" fmla="*/ 79915 w 3175826"/>
                  <a:gd name="connsiteY15" fmla="*/ 54579 h 280797"/>
                  <a:gd name="connsiteX16" fmla="*/ 79915 w 3175826"/>
                  <a:gd name="connsiteY16" fmla="*/ 60675 h 280797"/>
                  <a:gd name="connsiteX17" fmla="*/ 153543 w 3175826"/>
                  <a:gd name="connsiteY17" fmla="*/ 60675 h 280797"/>
                  <a:gd name="connsiteX18" fmla="*/ 153543 w 3175826"/>
                  <a:gd name="connsiteY18" fmla="*/ 66675 h 280797"/>
                  <a:gd name="connsiteX19" fmla="*/ 174593 w 3175826"/>
                  <a:gd name="connsiteY19" fmla="*/ 66675 h 280797"/>
                  <a:gd name="connsiteX20" fmla="*/ 174593 w 3175826"/>
                  <a:gd name="connsiteY20" fmla="*/ 72771 h 280797"/>
                  <a:gd name="connsiteX21" fmla="*/ 180880 w 3175826"/>
                  <a:gd name="connsiteY21" fmla="*/ 72771 h 280797"/>
                  <a:gd name="connsiteX22" fmla="*/ 180880 w 3175826"/>
                  <a:gd name="connsiteY22" fmla="*/ 78867 h 280797"/>
                  <a:gd name="connsiteX23" fmla="*/ 222980 w 3175826"/>
                  <a:gd name="connsiteY23" fmla="*/ 78867 h 280797"/>
                  <a:gd name="connsiteX24" fmla="*/ 222980 w 3175826"/>
                  <a:gd name="connsiteY24" fmla="*/ 84868 h 280797"/>
                  <a:gd name="connsiteX25" fmla="*/ 237649 w 3175826"/>
                  <a:gd name="connsiteY25" fmla="*/ 84868 h 280797"/>
                  <a:gd name="connsiteX26" fmla="*/ 237649 w 3175826"/>
                  <a:gd name="connsiteY26" fmla="*/ 90964 h 280797"/>
                  <a:gd name="connsiteX27" fmla="*/ 267176 w 3175826"/>
                  <a:gd name="connsiteY27" fmla="*/ 90964 h 280797"/>
                  <a:gd name="connsiteX28" fmla="*/ 267176 w 3175826"/>
                  <a:gd name="connsiteY28" fmla="*/ 97060 h 280797"/>
                  <a:gd name="connsiteX29" fmla="*/ 269272 w 3175826"/>
                  <a:gd name="connsiteY29" fmla="*/ 97060 h 280797"/>
                  <a:gd name="connsiteX30" fmla="*/ 269272 w 3175826"/>
                  <a:gd name="connsiteY30" fmla="*/ 103061 h 280797"/>
                  <a:gd name="connsiteX31" fmla="*/ 292322 w 3175826"/>
                  <a:gd name="connsiteY31" fmla="*/ 103061 h 280797"/>
                  <a:gd name="connsiteX32" fmla="*/ 292322 w 3175826"/>
                  <a:gd name="connsiteY32" fmla="*/ 109157 h 280797"/>
                  <a:gd name="connsiteX33" fmla="*/ 304991 w 3175826"/>
                  <a:gd name="connsiteY33" fmla="*/ 109157 h 280797"/>
                  <a:gd name="connsiteX34" fmla="*/ 304991 w 3175826"/>
                  <a:gd name="connsiteY34" fmla="*/ 115253 h 280797"/>
                  <a:gd name="connsiteX35" fmla="*/ 340709 w 3175826"/>
                  <a:gd name="connsiteY35" fmla="*/ 115253 h 280797"/>
                  <a:gd name="connsiteX36" fmla="*/ 340709 w 3175826"/>
                  <a:gd name="connsiteY36" fmla="*/ 121349 h 280797"/>
                  <a:gd name="connsiteX37" fmla="*/ 456438 w 3175826"/>
                  <a:gd name="connsiteY37" fmla="*/ 121349 h 280797"/>
                  <a:gd name="connsiteX38" fmla="*/ 456438 w 3175826"/>
                  <a:gd name="connsiteY38" fmla="*/ 127350 h 280797"/>
                  <a:gd name="connsiteX39" fmla="*/ 494252 w 3175826"/>
                  <a:gd name="connsiteY39" fmla="*/ 127350 h 280797"/>
                  <a:gd name="connsiteX40" fmla="*/ 494252 w 3175826"/>
                  <a:gd name="connsiteY40" fmla="*/ 133541 h 280797"/>
                  <a:gd name="connsiteX41" fmla="*/ 546830 w 3175826"/>
                  <a:gd name="connsiteY41" fmla="*/ 133541 h 280797"/>
                  <a:gd name="connsiteX42" fmla="*/ 546830 w 3175826"/>
                  <a:gd name="connsiteY42" fmla="*/ 139637 h 280797"/>
                  <a:gd name="connsiteX43" fmla="*/ 565785 w 3175826"/>
                  <a:gd name="connsiteY43" fmla="*/ 139637 h 280797"/>
                  <a:gd name="connsiteX44" fmla="*/ 565785 w 3175826"/>
                  <a:gd name="connsiteY44" fmla="*/ 145733 h 280797"/>
                  <a:gd name="connsiteX45" fmla="*/ 576263 w 3175826"/>
                  <a:gd name="connsiteY45" fmla="*/ 145733 h 280797"/>
                  <a:gd name="connsiteX46" fmla="*/ 576263 w 3175826"/>
                  <a:gd name="connsiteY46" fmla="*/ 151924 h 280797"/>
                  <a:gd name="connsiteX47" fmla="*/ 609981 w 3175826"/>
                  <a:gd name="connsiteY47" fmla="*/ 151924 h 280797"/>
                  <a:gd name="connsiteX48" fmla="*/ 609981 w 3175826"/>
                  <a:gd name="connsiteY48" fmla="*/ 158020 h 280797"/>
                  <a:gd name="connsiteX49" fmla="*/ 616268 w 3175826"/>
                  <a:gd name="connsiteY49" fmla="*/ 158020 h 280797"/>
                  <a:gd name="connsiteX50" fmla="*/ 616268 w 3175826"/>
                  <a:gd name="connsiteY50" fmla="*/ 164116 h 280797"/>
                  <a:gd name="connsiteX51" fmla="*/ 630936 w 3175826"/>
                  <a:gd name="connsiteY51" fmla="*/ 164116 h 280797"/>
                  <a:gd name="connsiteX52" fmla="*/ 630936 w 3175826"/>
                  <a:gd name="connsiteY52" fmla="*/ 170212 h 280797"/>
                  <a:gd name="connsiteX53" fmla="*/ 643604 w 3175826"/>
                  <a:gd name="connsiteY53" fmla="*/ 170212 h 280797"/>
                  <a:gd name="connsiteX54" fmla="*/ 643604 w 3175826"/>
                  <a:gd name="connsiteY54" fmla="*/ 176403 h 280797"/>
                  <a:gd name="connsiteX55" fmla="*/ 668846 w 3175826"/>
                  <a:gd name="connsiteY55" fmla="*/ 176403 h 280797"/>
                  <a:gd name="connsiteX56" fmla="*/ 668846 w 3175826"/>
                  <a:gd name="connsiteY56" fmla="*/ 182499 h 280797"/>
                  <a:gd name="connsiteX57" fmla="*/ 898112 w 3175826"/>
                  <a:gd name="connsiteY57" fmla="*/ 182499 h 280797"/>
                  <a:gd name="connsiteX58" fmla="*/ 898112 w 3175826"/>
                  <a:gd name="connsiteY58" fmla="*/ 188691 h 280797"/>
                  <a:gd name="connsiteX59" fmla="*/ 1011650 w 3175826"/>
                  <a:gd name="connsiteY59" fmla="*/ 188691 h 280797"/>
                  <a:gd name="connsiteX60" fmla="*/ 1011650 w 3175826"/>
                  <a:gd name="connsiteY60" fmla="*/ 194882 h 280797"/>
                  <a:gd name="connsiteX61" fmla="*/ 1280827 w 3175826"/>
                  <a:gd name="connsiteY61" fmla="*/ 194882 h 280797"/>
                  <a:gd name="connsiteX62" fmla="*/ 1280827 w 3175826"/>
                  <a:gd name="connsiteY62" fmla="*/ 201168 h 280797"/>
                  <a:gd name="connsiteX63" fmla="*/ 1354455 w 3175826"/>
                  <a:gd name="connsiteY63" fmla="*/ 201168 h 280797"/>
                  <a:gd name="connsiteX64" fmla="*/ 1354455 w 3175826"/>
                  <a:gd name="connsiteY64" fmla="*/ 207455 h 280797"/>
                  <a:gd name="connsiteX65" fmla="*/ 1434370 w 3175826"/>
                  <a:gd name="connsiteY65" fmla="*/ 207455 h 280797"/>
                  <a:gd name="connsiteX66" fmla="*/ 1434370 w 3175826"/>
                  <a:gd name="connsiteY66" fmla="*/ 213741 h 280797"/>
                  <a:gd name="connsiteX67" fmla="*/ 1596295 w 3175826"/>
                  <a:gd name="connsiteY67" fmla="*/ 213741 h 280797"/>
                  <a:gd name="connsiteX68" fmla="*/ 1596295 w 3175826"/>
                  <a:gd name="connsiteY68" fmla="*/ 220218 h 280797"/>
                  <a:gd name="connsiteX69" fmla="*/ 1613154 w 3175826"/>
                  <a:gd name="connsiteY69" fmla="*/ 220218 h 280797"/>
                  <a:gd name="connsiteX70" fmla="*/ 1613154 w 3175826"/>
                  <a:gd name="connsiteY70" fmla="*/ 226600 h 280797"/>
                  <a:gd name="connsiteX71" fmla="*/ 1730978 w 3175826"/>
                  <a:gd name="connsiteY71" fmla="*/ 226600 h 280797"/>
                  <a:gd name="connsiteX72" fmla="*/ 1730978 w 3175826"/>
                  <a:gd name="connsiteY72" fmla="*/ 233077 h 280797"/>
                  <a:gd name="connsiteX73" fmla="*/ 1823466 w 3175826"/>
                  <a:gd name="connsiteY73" fmla="*/ 233077 h 280797"/>
                  <a:gd name="connsiteX74" fmla="*/ 1823466 w 3175826"/>
                  <a:gd name="connsiteY74" fmla="*/ 239459 h 280797"/>
                  <a:gd name="connsiteX75" fmla="*/ 1842421 w 3175826"/>
                  <a:gd name="connsiteY75" fmla="*/ 239459 h 280797"/>
                  <a:gd name="connsiteX76" fmla="*/ 1842421 w 3175826"/>
                  <a:gd name="connsiteY76" fmla="*/ 245936 h 280797"/>
                  <a:gd name="connsiteX77" fmla="*/ 2696242 w 3175826"/>
                  <a:gd name="connsiteY77" fmla="*/ 245936 h 280797"/>
                  <a:gd name="connsiteX78" fmla="*/ 2696242 w 3175826"/>
                  <a:gd name="connsiteY78" fmla="*/ 280797 h 280797"/>
                  <a:gd name="connsiteX79" fmla="*/ 3175826 w 3175826"/>
                  <a:gd name="connsiteY79" fmla="*/ 280797 h 280797"/>
                  <a:gd name="connsiteX0" fmla="*/ 0 w 3161062"/>
                  <a:gd name="connsiteY0" fmla="*/ 0 h 274796"/>
                  <a:gd name="connsiteX1" fmla="*/ 0 w 3161062"/>
                  <a:gd name="connsiteY1" fmla="*/ 12192 h 274796"/>
                  <a:gd name="connsiteX2" fmla="*/ 2095 w 3161062"/>
                  <a:gd name="connsiteY2" fmla="*/ 12192 h 274796"/>
                  <a:gd name="connsiteX3" fmla="*/ 2095 w 3161062"/>
                  <a:gd name="connsiteY3" fmla="*/ 18288 h 274796"/>
                  <a:gd name="connsiteX4" fmla="*/ 14668 w 3161062"/>
                  <a:gd name="connsiteY4" fmla="*/ 18288 h 274796"/>
                  <a:gd name="connsiteX5" fmla="*/ 14668 w 3161062"/>
                  <a:gd name="connsiteY5" fmla="*/ 24289 h 274796"/>
                  <a:gd name="connsiteX6" fmla="*/ 37814 w 3161062"/>
                  <a:gd name="connsiteY6" fmla="*/ 24289 h 274796"/>
                  <a:gd name="connsiteX7" fmla="*/ 37814 w 3161062"/>
                  <a:gd name="connsiteY7" fmla="*/ 30385 h 274796"/>
                  <a:gd name="connsiteX8" fmla="*/ 44196 w 3161062"/>
                  <a:gd name="connsiteY8" fmla="*/ 30385 h 274796"/>
                  <a:gd name="connsiteX9" fmla="*/ 44196 w 3161062"/>
                  <a:gd name="connsiteY9" fmla="*/ 36481 h 274796"/>
                  <a:gd name="connsiteX10" fmla="*/ 52578 w 3161062"/>
                  <a:gd name="connsiteY10" fmla="*/ 36481 h 274796"/>
                  <a:gd name="connsiteX11" fmla="*/ 52578 w 3161062"/>
                  <a:gd name="connsiteY11" fmla="*/ 42482 h 274796"/>
                  <a:gd name="connsiteX12" fmla="*/ 60960 w 3161062"/>
                  <a:gd name="connsiteY12" fmla="*/ 42482 h 274796"/>
                  <a:gd name="connsiteX13" fmla="*/ 60960 w 3161062"/>
                  <a:gd name="connsiteY13" fmla="*/ 48578 h 274796"/>
                  <a:gd name="connsiteX14" fmla="*/ 65151 w 3161062"/>
                  <a:gd name="connsiteY14" fmla="*/ 48578 h 274796"/>
                  <a:gd name="connsiteX15" fmla="*/ 65151 w 3161062"/>
                  <a:gd name="connsiteY15" fmla="*/ 54674 h 274796"/>
                  <a:gd name="connsiteX16" fmla="*/ 138779 w 3161062"/>
                  <a:gd name="connsiteY16" fmla="*/ 54674 h 274796"/>
                  <a:gd name="connsiteX17" fmla="*/ 138779 w 3161062"/>
                  <a:gd name="connsiteY17" fmla="*/ 60674 h 274796"/>
                  <a:gd name="connsiteX18" fmla="*/ 159829 w 3161062"/>
                  <a:gd name="connsiteY18" fmla="*/ 60674 h 274796"/>
                  <a:gd name="connsiteX19" fmla="*/ 159829 w 3161062"/>
                  <a:gd name="connsiteY19" fmla="*/ 66770 h 274796"/>
                  <a:gd name="connsiteX20" fmla="*/ 166116 w 3161062"/>
                  <a:gd name="connsiteY20" fmla="*/ 66770 h 274796"/>
                  <a:gd name="connsiteX21" fmla="*/ 166116 w 3161062"/>
                  <a:gd name="connsiteY21" fmla="*/ 72866 h 274796"/>
                  <a:gd name="connsiteX22" fmla="*/ 208216 w 3161062"/>
                  <a:gd name="connsiteY22" fmla="*/ 72866 h 274796"/>
                  <a:gd name="connsiteX23" fmla="*/ 208216 w 3161062"/>
                  <a:gd name="connsiteY23" fmla="*/ 78867 h 274796"/>
                  <a:gd name="connsiteX24" fmla="*/ 222885 w 3161062"/>
                  <a:gd name="connsiteY24" fmla="*/ 78867 h 274796"/>
                  <a:gd name="connsiteX25" fmla="*/ 222885 w 3161062"/>
                  <a:gd name="connsiteY25" fmla="*/ 84963 h 274796"/>
                  <a:gd name="connsiteX26" fmla="*/ 252412 w 3161062"/>
                  <a:gd name="connsiteY26" fmla="*/ 84963 h 274796"/>
                  <a:gd name="connsiteX27" fmla="*/ 252412 w 3161062"/>
                  <a:gd name="connsiteY27" fmla="*/ 91059 h 274796"/>
                  <a:gd name="connsiteX28" fmla="*/ 254508 w 3161062"/>
                  <a:gd name="connsiteY28" fmla="*/ 91059 h 274796"/>
                  <a:gd name="connsiteX29" fmla="*/ 254508 w 3161062"/>
                  <a:gd name="connsiteY29" fmla="*/ 97060 h 274796"/>
                  <a:gd name="connsiteX30" fmla="*/ 277558 w 3161062"/>
                  <a:gd name="connsiteY30" fmla="*/ 97060 h 274796"/>
                  <a:gd name="connsiteX31" fmla="*/ 277558 w 3161062"/>
                  <a:gd name="connsiteY31" fmla="*/ 103156 h 274796"/>
                  <a:gd name="connsiteX32" fmla="*/ 290227 w 3161062"/>
                  <a:gd name="connsiteY32" fmla="*/ 103156 h 274796"/>
                  <a:gd name="connsiteX33" fmla="*/ 290227 w 3161062"/>
                  <a:gd name="connsiteY33" fmla="*/ 109252 h 274796"/>
                  <a:gd name="connsiteX34" fmla="*/ 325945 w 3161062"/>
                  <a:gd name="connsiteY34" fmla="*/ 109252 h 274796"/>
                  <a:gd name="connsiteX35" fmla="*/ 325945 w 3161062"/>
                  <a:gd name="connsiteY35" fmla="*/ 115348 h 274796"/>
                  <a:gd name="connsiteX36" fmla="*/ 441674 w 3161062"/>
                  <a:gd name="connsiteY36" fmla="*/ 115348 h 274796"/>
                  <a:gd name="connsiteX37" fmla="*/ 441674 w 3161062"/>
                  <a:gd name="connsiteY37" fmla="*/ 121349 h 274796"/>
                  <a:gd name="connsiteX38" fmla="*/ 479488 w 3161062"/>
                  <a:gd name="connsiteY38" fmla="*/ 121349 h 274796"/>
                  <a:gd name="connsiteX39" fmla="*/ 479488 w 3161062"/>
                  <a:gd name="connsiteY39" fmla="*/ 127540 h 274796"/>
                  <a:gd name="connsiteX40" fmla="*/ 532066 w 3161062"/>
                  <a:gd name="connsiteY40" fmla="*/ 127540 h 274796"/>
                  <a:gd name="connsiteX41" fmla="*/ 532066 w 3161062"/>
                  <a:gd name="connsiteY41" fmla="*/ 133636 h 274796"/>
                  <a:gd name="connsiteX42" fmla="*/ 551021 w 3161062"/>
                  <a:gd name="connsiteY42" fmla="*/ 133636 h 274796"/>
                  <a:gd name="connsiteX43" fmla="*/ 551021 w 3161062"/>
                  <a:gd name="connsiteY43" fmla="*/ 139732 h 274796"/>
                  <a:gd name="connsiteX44" fmla="*/ 561499 w 3161062"/>
                  <a:gd name="connsiteY44" fmla="*/ 139732 h 274796"/>
                  <a:gd name="connsiteX45" fmla="*/ 561499 w 3161062"/>
                  <a:gd name="connsiteY45" fmla="*/ 145923 h 274796"/>
                  <a:gd name="connsiteX46" fmla="*/ 595217 w 3161062"/>
                  <a:gd name="connsiteY46" fmla="*/ 145923 h 274796"/>
                  <a:gd name="connsiteX47" fmla="*/ 595217 w 3161062"/>
                  <a:gd name="connsiteY47" fmla="*/ 152019 h 274796"/>
                  <a:gd name="connsiteX48" fmla="*/ 601504 w 3161062"/>
                  <a:gd name="connsiteY48" fmla="*/ 152019 h 274796"/>
                  <a:gd name="connsiteX49" fmla="*/ 601504 w 3161062"/>
                  <a:gd name="connsiteY49" fmla="*/ 158115 h 274796"/>
                  <a:gd name="connsiteX50" fmla="*/ 616172 w 3161062"/>
                  <a:gd name="connsiteY50" fmla="*/ 158115 h 274796"/>
                  <a:gd name="connsiteX51" fmla="*/ 616172 w 3161062"/>
                  <a:gd name="connsiteY51" fmla="*/ 164211 h 274796"/>
                  <a:gd name="connsiteX52" fmla="*/ 628840 w 3161062"/>
                  <a:gd name="connsiteY52" fmla="*/ 164211 h 274796"/>
                  <a:gd name="connsiteX53" fmla="*/ 628840 w 3161062"/>
                  <a:gd name="connsiteY53" fmla="*/ 170402 h 274796"/>
                  <a:gd name="connsiteX54" fmla="*/ 654082 w 3161062"/>
                  <a:gd name="connsiteY54" fmla="*/ 170402 h 274796"/>
                  <a:gd name="connsiteX55" fmla="*/ 654082 w 3161062"/>
                  <a:gd name="connsiteY55" fmla="*/ 176498 h 274796"/>
                  <a:gd name="connsiteX56" fmla="*/ 883348 w 3161062"/>
                  <a:gd name="connsiteY56" fmla="*/ 176498 h 274796"/>
                  <a:gd name="connsiteX57" fmla="*/ 883348 w 3161062"/>
                  <a:gd name="connsiteY57" fmla="*/ 182690 h 274796"/>
                  <a:gd name="connsiteX58" fmla="*/ 996886 w 3161062"/>
                  <a:gd name="connsiteY58" fmla="*/ 182690 h 274796"/>
                  <a:gd name="connsiteX59" fmla="*/ 996886 w 3161062"/>
                  <a:gd name="connsiteY59" fmla="*/ 188881 h 274796"/>
                  <a:gd name="connsiteX60" fmla="*/ 1266063 w 3161062"/>
                  <a:gd name="connsiteY60" fmla="*/ 188881 h 274796"/>
                  <a:gd name="connsiteX61" fmla="*/ 1266063 w 3161062"/>
                  <a:gd name="connsiteY61" fmla="*/ 195167 h 274796"/>
                  <a:gd name="connsiteX62" fmla="*/ 1339691 w 3161062"/>
                  <a:gd name="connsiteY62" fmla="*/ 195167 h 274796"/>
                  <a:gd name="connsiteX63" fmla="*/ 1339691 w 3161062"/>
                  <a:gd name="connsiteY63" fmla="*/ 201454 h 274796"/>
                  <a:gd name="connsiteX64" fmla="*/ 1419606 w 3161062"/>
                  <a:gd name="connsiteY64" fmla="*/ 201454 h 274796"/>
                  <a:gd name="connsiteX65" fmla="*/ 1419606 w 3161062"/>
                  <a:gd name="connsiteY65" fmla="*/ 207740 h 274796"/>
                  <a:gd name="connsiteX66" fmla="*/ 1581531 w 3161062"/>
                  <a:gd name="connsiteY66" fmla="*/ 207740 h 274796"/>
                  <a:gd name="connsiteX67" fmla="*/ 1581531 w 3161062"/>
                  <a:gd name="connsiteY67" fmla="*/ 214217 h 274796"/>
                  <a:gd name="connsiteX68" fmla="*/ 1598390 w 3161062"/>
                  <a:gd name="connsiteY68" fmla="*/ 214217 h 274796"/>
                  <a:gd name="connsiteX69" fmla="*/ 1598390 w 3161062"/>
                  <a:gd name="connsiteY69" fmla="*/ 220599 h 274796"/>
                  <a:gd name="connsiteX70" fmla="*/ 1716214 w 3161062"/>
                  <a:gd name="connsiteY70" fmla="*/ 220599 h 274796"/>
                  <a:gd name="connsiteX71" fmla="*/ 1716214 w 3161062"/>
                  <a:gd name="connsiteY71" fmla="*/ 227076 h 274796"/>
                  <a:gd name="connsiteX72" fmla="*/ 1808702 w 3161062"/>
                  <a:gd name="connsiteY72" fmla="*/ 227076 h 274796"/>
                  <a:gd name="connsiteX73" fmla="*/ 1808702 w 3161062"/>
                  <a:gd name="connsiteY73" fmla="*/ 233458 h 274796"/>
                  <a:gd name="connsiteX74" fmla="*/ 1827657 w 3161062"/>
                  <a:gd name="connsiteY74" fmla="*/ 233458 h 274796"/>
                  <a:gd name="connsiteX75" fmla="*/ 1827657 w 3161062"/>
                  <a:gd name="connsiteY75" fmla="*/ 239935 h 274796"/>
                  <a:gd name="connsiteX76" fmla="*/ 2681478 w 3161062"/>
                  <a:gd name="connsiteY76" fmla="*/ 239935 h 274796"/>
                  <a:gd name="connsiteX77" fmla="*/ 2681478 w 3161062"/>
                  <a:gd name="connsiteY77" fmla="*/ 274796 h 274796"/>
                  <a:gd name="connsiteX78" fmla="*/ 3161062 w 3161062"/>
                  <a:gd name="connsiteY78" fmla="*/ 274796 h 274796"/>
                  <a:gd name="connsiteX0" fmla="*/ 0 w 3161062"/>
                  <a:gd name="connsiteY0" fmla="*/ 0 h 262604"/>
                  <a:gd name="connsiteX1" fmla="*/ 2095 w 3161062"/>
                  <a:gd name="connsiteY1" fmla="*/ 0 h 262604"/>
                  <a:gd name="connsiteX2" fmla="*/ 2095 w 3161062"/>
                  <a:gd name="connsiteY2" fmla="*/ 6096 h 262604"/>
                  <a:gd name="connsiteX3" fmla="*/ 14668 w 3161062"/>
                  <a:gd name="connsiteY3" fmla="*/ 6096 h 262604"/>
                  <a:gd name="connsiteX4" fmla="*/ 14668 w 3161062"/>
                  <a:gd name="connsiteY4" fmla="*/ 12097 h 262604"/>
                  <a:gd name="connsiteX5" fmla="*/ 37814 w 3161062"/>
                  <a:gd name="connsiteY5" fmla="*/ 12097 h 262604"/>
                  <a:gd name="connsiteX6" fmla="*/ 37814 w 3161062"/>
                  <a:gd name="connsiteY6" fmla="*/ 18193 h 262604"/>
                  <a:gd name="connsiteX7" fmla="*/ 44196 w 3161062"/>
                  <a:gd name="connsiteY7" fmla="*/ 18193 h 262604"/>
                  <a:gd name="connsiteX8" fmla="*/ 44196 w 3161062"/>
                  <a:gd name="connsiteY8" fmla="*/ 24289 h 262604"/>
                  <a:gd name="connsiteX9" fmla="*/ 52578 w 3161062"/>
                  <a:gd name="connsiteY9" fmla="*/ 24289 h 262604"/>
                  <a:gd name="connsiteX10" fmla="*/ 52578 w 3161062"/>
                  <a:gd name="connsiteY10" fmla="*/ 30290 h 262604"/>
                  <a:gd name="connsiteX11" fmla="*/ 60960 w 3161062"/>
                  <a:gd name="connsiteY11" fmla="*/ 30290 h 262604"/>
                  <a:gd name="connsiteX12" fmla="*/ 60960 w 3161062"/>
                  <a:gd name="connsiteY12" fmla="*/ 36386 h 262604"/>
                  <a:gd name="connsiteX13" fmla="*/ 65151 w 3161062"/>
                  <a:gd name="connsiteY13" fmla="*/ 36386 h 262604"/>
                  <a:gd name="connsiteX14" fmla="*/ 65151 w 3161062"/>
                  <a:gd name="connsiteY14" fmla="*/ 42482 h 262604"/>
                  <a:gd name="connsiteX15" fmla="*/ 138779 w 3161062"/>
                  <a:gd name="connsiteY15" fmla="*/ 42482 h 262604"/>
                  <a:gd name="connsiteX16" fmla="*/ 138779 w 3161062"/>
                  <a:gd name="connsiteY16" fmla="*/ 48482 h 262604"/>
                  <a:gd name="connsiteX17" fmla="*/ 159829 w 3161062"/>
                  <a:gd name="connsiteY17" fmla="*/ 48482 h 262604"/>
                  <a:gd name="connsiteX18" fmla="*/ 159829 w 3161062"/>
                  <a:gd name="connsiteY18" fmla="*/ 54578 h 262604"/>
                  <a:gd name="connsiteX19" fmla="*/ 166116 w 3161062"/>
                  <a:gd name="connsiteY19" fmla="*/ 54578 h 262604"/>
                  <a:gd name="connsiteX20" fmla="*/ 166116 w 3161062"/>
                  <a:gd name="connsiteY20" fmla="*/ 60674 h 262604"/>
                  <a:gd name="connsiteX21" fmla="*/ 208216 w 3161062"/>
                  <a:gd name="connsiteY21" fmla="*/ 60674 h 262604"/>
                  <a:gd name="connsiteX22" fmla="*/ 208216 w 3161062"/>
                  <a:gd name="connsiteY22" fmla="*/ 66675 h 262604"/>
                  <a:gd name="connsiteX23" fmla="*/ 222885 w 3161062"/>
                  <a:gd name="connsiteY23" fmla="*/ 66675 h 262604"/>
                  <a:gd name="connsiteX24" fmla="*/ 222885 w 3161062"/>
                  <a:gd name="connsiteY24" fmla="*/ 72771 h 262604"/>
                  <a:gd name="connsiteX25" fmla="*/ 252412 w 3161062"/>
                  <a:gd name="connsiteY25" fmla="*/ 72771 h 262604"/>
                  <a:gd name="connsiteX26" fmla="*/ 252412 w 3161062"/>
                  <a:gd name="connsiteY26" fmla="*/ 78867 h 262604"/>
                  <a:gd name="connsiteX27" fmla="*/ 254508 w 3161062"/>
                  <a:gd name="connsiteY27" fmla="*/ 78867 h 262604"/>
                  <a:gd name="connsiteX28" fmla="*/ 254508 w 3161062"/>
                  <a:gd name="connsiteY28" fmla="*/ 84868 h 262604"/>
                  <a:gd name="connsiteX29" fmla="*/ 277558 w 3161062"/>
                  <a:gd name="connsiteY29" fmla="*/ 84868 h 262604"/>
                  <a:gd name="connsiteX30" fmla="*/ 277558 w 3161062"/>
                  <a:gd name="connsiteY30" fmla="*/ 90964 h 262604"/>
                  <a:gd name="connsiteX31" fmla="*/ 290227 w 3161062"/>
                  <a:gd name="connsiteY31" fmla="*/ 90964 h 262604"/>
                  <a:gd name="connsiteX32" fmla="*/ 290227 w 3161062"/>
                  <a:gd name="connsiteY32" fmla="*/ 97060 h 262604"/>
                  <a:gd name="connsiteX33" fmla="*/ 325945 w 3161062"/>
                  <a:gd name="connsiteY33" fmla="*/ 97060 h 262604"/>
                  <a:gd name="connsiteX34" fmla="*/ 325945 w 3161062"/>
                  <a:gd name="connsiteY34" fmla="*/ 103156 h 262604"/>
                  <a:gd name="connsiteX35" fmla="*/ 441674 w 3161062"/>
                  <a:gd name="connsiteY35" fmla="*/ 103156 h 262604"/>
                  <a:gd name="connsiteX36" fmla="*/ 441674 w 3161062"/>
                  <a:gd name="connsiteY36" fmla="*/ 109157 h 262604"/>
                  <a:gd name="connsiteX37" fmla="*/ 479488 w 3161062"/>
                  <a:gd name="connsiteY37" fmla="*/ 109157 h 262604"/>
                  <a:gd name="connsiteX38" fmla="*/ 479488 w 3161062"/>
                  <a:gd name="connsiteY38" fmla="*/ 115348 h 262604"/>
                  <a:gd name="connsiteX39" fmla="*/ 532066 w 3161062"/>
                  <a:gd name="connsiteY39" fmla="*/ 115348 h 262604"/>
                  <a:gd name="connsiteX40" fmla="*/ 532066 w 3161062"/>
                  <a:gd name="connsiteY40" fmla="*/ 121444 h 262604"/>
                  <a:gd name="connsiteX41" fmla="*/ 551021 w 3161062"/>
                  <a:gd name="connsiteY41" fmla="*/ 121444 h 262604"/>
                  <a:gd name="connsiteX42" fmla="*/ 551021 w 3161062"/>
                  <a:gd name="connsiteY42" fmla="*/ 127540 h 262604"/>
                  <a:gd name="connsiteX43" fmla="*/ 561499 w 3161062"/>
                  <a:gd name="connsiteY43" fmla="*/ 127540 h 262604"/>
                  <a:gd name="connsiteX44" fmla="*/ 561499 w 3161062"/>
                  <a:gd name="connsiteY44" fmla="*/ 133731 h 262604"/>
                  <a:gd name="connsiteX45" fmla="*/ 595217 w 3161062"/>
                  <a:gd name="connsiteY45" fmla="*/ 133731 h 262604"/>
                  <a:gd name="connsiteX46" fmla="*/ 595217 w 3161062"/>
                  <a:gd name="connsiteY46" fmla="*/ 139827 h 262604"/>
                  <a:gd name="connsiteX47" fmla="*/ 601504 w 3161062"/>
                  <a:gd name="connsiteY47" fmla="*/ 139827 h 262604"/>
                  <a:gd name="connsiteX48" fmla="*/ 601504 w 3161062"/>
                  <a:gd name="connsiteY48" fmla="*/ 145923 h 262604"/>
                  <a:gd name="connsiteX49" fmla="*/ 616172 w 3161062"/>
                  <a:gd name="connsiteY49" fmla="*/ 145923 h 262604"/>
                  <a:gd name="connsiteX50" fmla="*/ 616172 w 3161062"/>
                  <a:gd name="connsiteY50" fmla="*/ 152019 h 262604"/>
                  <a:gd name="connsiteX51" fmla="*/ 628840 w 3161062"/>
                  <a:gd name="connsiteY51" fmla="*/ 152019 h 262604"/>
                  <a:gd name="connsiteX52" fmla="*/ 628840 w 3161062"/>
                  <a:gd name="connsiteY52" fmla="*/ 158210 h 262604"/>
                  <a:gd name="connsiteX53" fmla="*/ 654082 w 3161062"/>
                  <a:gd name="connsiteY53" fmla="*/ 158210 h 262604"/>
                  <a:gd name="connsiteX54" fmla="*/ 654082 w 3161062"/>
                  <a:gd name="connsiteY54" fmla="*/ 164306 h 262604"/>
                  <a:gd name="connsiteX55" fmla="*/ 883348 w 3161062"/>
                  <a:gd name="connsiteY55" fmla="*/ 164306 h 262604"/>
                  <a:gd name="connsiteX56" fmla="*/ 883348 w 3161062"/>
                  <a:gd name="connsiteY56" fmla="*/ 170498 h 262604"/>
                  <a:gd name="connsiteX57" fmla="*/ 996886 w 3161062"/>
                  <a:gd name="connsiteY57" fmla="*/ 170498 h 262604"/>
                  <a:gd name="connsiteX58" fmla="*/ 996886 w 3161062"/>
                  <a:gd name="connsiteY58" fmla="*/ 176689 h 262604"/>
                  <a:gd name="connsiteX59" fmla="*/ 1266063 w 3161062"/>
                  <a:gd name="connsiteY59" fmla="*/ 176689 h 262604"/>
                  <a:gd name="connsiteX60" fmla="*/ 1266063 w 3161062"/>
                  <a:gd name="connsiteY60" fmla="*/ 182975 h 262604"/>
                  <a:gd name="connsiteX61" fmla="*/ 1339691 w 3161062"/>
                  <a:gd name="connsiteY61" fmla="*/ 182975 h 262604"/>
                  <a:gd name="connsiteX62" fmla="*/ 1339691 w 3161062"/>
                  <a:gd name="connsiteY62" fmla="*/ 189262 h 262604"/>
                  <a:gd name="connsiteX63" fmla="*/ 1419606 w 3161062"/>
                  <a:gd name="connsiteY63" fmla="*/ 189262 h 262604"/>
                  <a:gd name="connsiteX64" fmla="*/ 1419606 w 3161062"/>
                  <a:gd name="connsiteY64" fmla="*/ 195548 h 262604"/>
                  <a:gd name="connsiteX65" fmla="*/ 1581531 w 3161062"/>
                  <a:gd name="connsiteY65" fmla="*/ 195548 h 262604"/>
                  <a:gd name="connsiteX66" fmla="*/ 1581531 w 3161062"/>
                  <a:gd name="connsiteY66" fmla="*/ 202025 h 262604"/>
                  <a:gd name="connsiteX67" fmla="*/ 1598390 w 3161062"/>
                  <a:gd name="connsiteY67" fmla="*/ 202025 h 262604"/>
                  <a:gd name="connsiteX68" fmla="*/ 1598390 w 3161062"/>
                  <a:gd name="connsiteY68" fmla="*/ 208407 h 262604"/>
                  <a:gd name="connsiteX69" fmla="*/ 1716214 w 3161062"/>
                  <a:gd name="connsiteY69" fmla="*/ 208407 h 262604"/>
                  <a:gd name="connsiteX70" fmla="*/ 1716214 w 3161062"/>
                  <a:gd name="connsiteY70" fmla="*/ 214884 h 262604"/>
                  <a:gd name="connsiteX71" fmla="*/ 1808702 w 3161062"/>
                  <a:gd name="connsiteY71" fmla="*/ 214884 h 262604"/>
                  <a:gd name="connsiteX72" fmla="*/ 1808702 w 3161062"/>
                  <a:gd name="connsiteY72" fmla="*/ 221266 h 262604"/>
                  <a:gd name="connsiteX73" fmla="*/ 1827657 w 3161062"/>
                  <a:gd name="connsiteY73" fmla="*/ 221266 h 262604"/>
                  <a:gd name="connsiteX74" fmla="*/ 1827657 w 3161062"/>
                  <a:gd name="connsiteY74" fmla="*/ 227743 h 262604"/>
                  <a:gd name="connsiteX75" fmla="*/ 2681478 w 3161062"/>
                  <a:gd name="connsiteY75" fmla="*/ 227743 h 262604"/>
                  <a:gd name="connsiteX76" fmla="*/ 2681478 w 3161062"/>
                  <a:gd name="connsiteY76" fmla="*/ 262604 h 262604"/>
                  <a:gd name="connsiteX77" fmla="*/ 3161062 w 3161062"/>
                  <a:gd name="connsiteY77" fmla="*/ 262604 h 262604"/>
                  <a:gd name="connsiteX0" fmla="*/ 0 w 3161062"/>
                  <a:gd name="connsiteY0" fmla="*/ 0 h 262604"/>
                  <a:gd name="connsiteX1" fmla="*/ 2095 w 3161062"/>
                  <a:gd name="connsiteY1" fmla="*/ 0 h 262604"/>
                  <a:gd name="connsiteX2" fmla="*/ 14668 w 3161062"/>
                  <a:gd name="connsiteY2" fmla="*/ 6096 h 262604"/>
                  <a:gd name="connsiteX3" fmla="*/ 14668 w 3161062"/>
                  <a:gd name="connsiteY3" fmla="*/ 12097 h 262604"/>
                  <a:gd name="connsiteX4" fmla="*/ 37814 w 3161062"/>
                  <a:gd name="connsiteY4" fmla="*/ 12097 h 262604"/>
                  <a:gd name="connsiteX5" fmla="*/ 37814 w 3161062"/>
                  <a:gd name="connsiteY5" fmla="*/ 18193 h 262604"/>
                  <a:gd name="connsiteX6" fmla="*/ 44196 w 3161062"/>
                  <a:gd name="connsiteY6" fmla="*/ 18193 h 262604"/>
                  <a:gd name="connsiteX7" fmla="*/ 44196 w 3161062"/>
                  <a:gd name="connsiteY7" fmla="*/ 24289 h 262604"/>
                  <a:gd name="connsiteX8" fmla="*/ 52578 w 3161062"/>
                  <a:gd name="connsiteY8" fmla="*/ 24289 h 262604"/>
                  <a:gd name="connsiteX9" fmla="*/ 52578 w 3161062"/>
                  <a:gd name="connsiteY9" fmla="*/ 30290 h 262604"/>
                  <a:gd name="connsiteX10" fmla="*/ 60960 w 3161062"/>
                  <a:gd name="connsiteY10" fmla="*/ 30290 h 262604"/>
                  <a:gd name="connsiteX11" fmla="*/ 60960 w 3161062"/>
                  <a:gd name="connsiteY11" fmla="*/ 36386 h 262604"/>
                  <a:gd name="connsiteX12" fmla="*/ 65151 w 3161062"/>
                  <a:gd name="connsiteY12" fmla="*/ 36386 h 262604"/>
                  <a:gd name="connsiteX13" fmla="*/ 65151 w 3161062"/>
                  <a:gd name="connsiteY13" fmla="*/ 42482 h 262604"/>
                  <a:gd name="connsiteX14" fmla="*/ 138779 w 3161062"/>
                  <a:gd name="connsiteY14" fmla="*/ 42482 h 262604"/>
                  <a:gd name="connsiteX15" fmla="*/ 138779 w 3161062"/>
                  <a:gd name="connsiteY15" fmla="*/ 48482 h 262604"/>
                  <a:gd name="connsiteX16" fmla="*/ 159829 w 3161062"/>
                  <a:gd name="connsiteY16" fmla="*/ 48482 h 262604"/>
                  <a:gd name="connsiteX17" fmla="*/ 159829 w 3161062"/>
                  <a:gd name="connsiteY17" fmla="*/ 54578 h 262604"/>
                  <a:gd name="connsiteX18" fmla="*/ 166116 w 3161062"/>
                  <a:gd name="connsiteY18" fmla="*/ 54578 h 262604"/>
                  <a:gd name="connsiteX19" fmla="*/ 166116 w 3161062"/>
                  <a:gd name="connsiteY19" fmla="*/ 60674 h 262604"/>
                  <a:gd name="connsiteX20" fmla="*/ 208216 w 3161062"/>
                  <a:gd name="connsiteY20" fmla="*/ 60674 h 262604"/>
                  <a:gd name="connsiteX21" fmla="*/ 208216 w 3161062"/>
                  <a:gd name="connsiteY21" fmla="*/ 66675 h 262604"/>
                  <a:gd name="connsiteX22" fmla="*/ 222885 w 3161062"/>
                  <a:gd name="connsiteY22" fmla="*/ 66675 h 262604"/>
                  <a:gd name="connsiteX23" fmla="*/ 222885 w 3161062"/>
                  <a:gd name="connsiteY23" fmla="*/ 72771 h 262604"/>
                  <a:gd name="connsiteX24" fmla="*/ 252412 w 3161062"/>
                  <a:gd name="connsiteY24" fmla="*/ 72771 h 262604"/>
                  <a:gd name="connsiteX25" fmla="*/ 252412 w 3161062"/>
                  <a:gd name="connsiteY25" fmla="*/ 78867 h 262604"/>
                  <a:gd name="connsiteX26" fmla="*/ 254508 w 3161062"/>
                  <a:gd name="connsiteY26" fmla="*/ 78867 h 262604"/>
                  <a:gd name="connsiteX27" fmla="*/ 254508 w 3161062"/>
                  <a:gd name="connsiteY27" fmla="*/ 84868 h 262604"/>
                  <a:gd name="connsiteX28" fmla="*/ 277558 w 3161062"/>
                  <a:gd name="connsiteY28" fmla="*/ 84868 h 262604"/>
                  <a:gd name="connsiteX29" fmla="*/ 277558 w 3161062"/>
                  <a:gd name="connsiteY29" fmla="*/ 90964 h 262604"/>
                  <a:gd name="connsiteX30" fmla="*/ 290227 w 3161062"/>
                  <a:gd name="connsiteY30" fmla="*/ 90964 h 262604"/>
                  <a:gd name="connsiteX31" fmla="*/ 290227 w 3161062"/>
                  <a:gd name="connsiteY31" fmla="*/ 97060 h 262604"/>
                  <a:gd name="connsiteX32" fmla="*/ 325945 w 3161062"/>
                  <a:gd name="connsiteY32" fmla="*/ 97060 h 262604"/>
                  <a:gd name="connsiteX33" fmla="*/ 325945 w 3161062"/>
                  <a:gd name="connsiteY33" fmla="*/ 103156 h 262604"/>
                  <a:gd name="connsiteX34" fmla="*/ 441674 w 3161062"/>
                  <a:gd name="connsiteY34" fmla="*/ 103156 h 262604"/>
                  <a:gd name="connsiteX35" fmla="*/ 441674 w 3161062"/>
                  <a:gd name="connsiteY35" fmla="*/ 109157 h 262604"/>
                  <a:gd name="connsiteX36" fmla="*/ 479488 w 3161062"/>
                  <a:gd name="connsiteY36" fmla="*/ 109157 h 262604"/>
                  <a:gd name="connsiteX37" fmla="*/ 479488 w 3161062"/>
                  <a:gd name="connsiteY37" fmla="*/ 115348 h 262604"/>
                  <a:gd name="connsiteX38" fmla="*/ 532066 w 3161062"/>
                  <a:gd name="connsiteY38" fmla="*/ 115348 h 262604"/>
                  <a:gd name="connsiteX39" fmla="*/ 532066 w 3161062"/>
                  <a:gd name="connsiteY39" fmla="*/ 121444 h 262604"/>
                  <a:gd name="connsiteX40" fmla="*/ 551021 w 3161062"/>
                  <a:gd name="connsiteY40" fmla="*/ 121444 h 262604"/>
                  <a:gd name="connsiteX41" fmla="*/ 551021 w 3161062"/>
                  <a:gd name="connsiteY41" fmla="*/ 127540 h 262604"/>
                  <a:gd name="connsiteX42" fmla="*/ 561499 w 3161062"/>
                  <a:gd name="connsiteY42" fmla="*/ 127540 h 262604"/>
                  <a:gd name="connsiteX43" fmla="*/ 561499 w 3161062"/>
                  <a:gd name="connsiteY43" fmla="*/ 133731 h 262604"/>
                  <a:gd name="connsiteX44" fmla="*/ 595217 w 3161062"/>
                  <a:gd name="connsiteY44" fmla="*/ 133731 h 262604"/>
                  <a:gd name="connsiteX45" fmla="*/ 595217 w 3161062"/>
                  <a:gd name="connsiteY45" fmla="*/ 139827 h 262604"/>
                  <a:gd name="connsiteX46" fmla="*/ 601504 w 3161062"/>
                  <a:gd name="connsiteY46" fmla="*/ 139827 h 262604"/>
                  <a:gd name="connsiteX47" fmla="*/ 601504 w 3161062"/>
                  <a:gd name="connsiteY47" fmla="*/ 145923 h 262604"/>
                  <a:gd name="connsiteX48" fmla="*/ 616172 w 3161062"/>
                  <a:gd name="connsiteY48" fmla="*/ 145923 h 262604"/>
                  <a:gd name="connsiteX49" fmla="*/ 616172 w 3161062"/>
                  <a:gd name="connsiteY49" fmla="*/ 152019 h 262604"/>
                  <a:gd name="connsiteX50" fmla="*/ 628840 w 3161062"/>
                  <a:gd name="connsiteY50" fmla="*/ 152019 h 262604"/>
                  <a:gd name="connsiteX51" fmla="*/ 628840 w 3161062"/>
                  <a:gd name="connsiteY51" fmla="*/ 158210 h 262604"/>
                  <a:gd name="connsiteX52" fmla="*/ 654082 w 3161062"/>
                  <a:gd name="connsiteY52" fmla="*/ 158210 h 262604"/>
                  <a:gd name="connsiteX53" fmla="*/ 654082 w 3161062"/>
                  <a:gd name="connsiteY53" fmla="*/ 164306 h 262604"/>
                  <a:gd name="connsiteX54" fmla="*/ 883348 w 3161062"/>
                  <a:gd name="connsiteY54" fmla="*/ 164306 h 262604"/>
                  <a:gd name="connsiteX55" fmla="*/ 883348 w 3161062"/>
                  <a:gd name="connsiteY55" fmla="*/ 170498 h 262604"/>
                  <a:gd name="connsiteX56" fmla="*/ 996886 w 3161062"/>
                  <a:gd name="connsiteY56" fmla="*/ 170498 h 262604"/>
                  <a:gd name="connsiteX57" fmla="*/ 996886 w 3161062"/>
                  <a:gd name="connsiteY57" fmla="*/ 176689 h 262604"/>
                  <a:gd name="connsiteX58" fmla="*/ 1266063 w 3161062"/>
                  <a:gd name="connsiteY58" fmla="*/ 176689 h 262604"/>
                  <a:gd name="connsiteX59" fmla="*/ 1266063 w 3161062"/>
                  <a:gd name="connsiteY59" fmla="*/ 182975 h 262604"/>
                  <a:gd name="connsiteX60" fmla="*/ 1339691 w 3161062"/>
                  <a:gd name="connsiteY60" fmla="*/ 182975 h 262604"/>
                  <a:gd name="connsiteX61" fmla="*/ 1339691 w 3161062"/>
                  <a:gd name="connsiteY61" fmla="*/ 189262 h 262604"/>
                  <a:gd name="connsiteX62" fmla="*/ 1419606 w 3161062"/>
                  <a:gd name="connsiteY62" fmla="*/ 189262 h 262604"/>
                  <a:gd name="connsiteX63" fmla="*/ 1419606 w 3161062"/>
                  <a:gd name="connsiteY63" fmla="*/ 195548 h 262604"/>
                  <a:gd name="connsiteX64" fmla="*/ 1581531 w 3161062"/>
                  <a:gd name="connsiteY64" fmla="*/ 195548 h 262604"/>
                  <a:gd name="connsiteX65" fmla="*/ 1581531 w 3161062"/>
                  <a:gd name="connsiteY65" fmla="*/ 202025 h 262604"/>
                  <a:gd name="connsiteX66" fmla="*/ 1598390 w 3161062"/>
                  <a:gd name="connsiteY66" fmla="*/ 202025 h 262604"/>
                  <a:gd name="connsiteX67" fmla="*/ 1598390 w 3161062"/>
                  <a:gd name="connsiteY67" fmla="*/ 208407 h 262604"/>
                  <a:gd name="connsiteX68" fmla="*/ 1716214 w 3161062"/>
                  <a:gd name="connsiteY68" fmla="*/ 208407 h 262604"/>
                  <a:gd name="connsiteX69" fmla="*/ 1716214 w 3161062"/>
                  <a:gd name="connsiteY69" fmla="*/ 214884 h 262604"/>
                  <a:gd name="connsiteX70" fmla="*/ 1808702 w 3161062"/>
                  <a:gd name="connsiteY70" fmla="*/ 214884 h 262604"/>
                  <a:gd name="connsiteX71" fmla="*/ 1808702 w 3161062"/>
                  <a:gd name="connsiteY71" fmla="*/ 221266 h 262604"/>
                  <a:gd name="connsiteX72" fmla="*/ 1827657 w 3161062"/>
                  <a:gd name="connsiteY72" fmla="*/ 221266 h 262604"/>
                  <a:gd name="connsiteX73" fmla="*/ 1827657 w 3161062"/>
                  <a:gd name="connsiteY73" fmla="*/ 227743 h 262604"/>
                  <a:gd name="connsiteX74" fmla="*/ 2681478 w 3161062"/>
                  <a:gd name="connsiteY74" fmla="*/ 227743 h 262604"/>
                  <a:gd name="connsiteX75" fmla="*/ 2681478 w 3161062"/>
                  <a:gd name="connsiteY75" fmla="*/ 262604 h 262604"/>
                  <a:gd name="connsiteX76" fmla="*/ 3161062 w 3161062"/>
                  <a:gd name="connsiteY76" fmla="*/ 262604 h 262604"/>
                  <a:gd name="connsiteX0" fmla="*/ 0 w 3161062"/>
                  <a:gd name="connsiteY0" fmla="*/ 0 h 262604"/>
                  <a:gd name="connsiteX1" fmla="*/ 14668 w 3161062"/>
                  <a:gd name="connsiteY1" fmla="*/ 6096 h 262604"/>
                  <a:gd name="connsiteX2" fmla="*/ 14668 w 3161062"/>
                  <a:gd name="connsiteY2" fmla="*/ 12097 h 262604"/>
                  <a:gd name="connsiteX3" fmla="*/ 37814 w 3161062"/>
                  <a:gd name="connsiteY3" fmla="*/ 12097 h 262604"/>
                  <a:gd name="connsiteX4" fmla="*/ 37814 w 3161062"/>
                  <a:gd name="connsiteY4" fmla="*/ 18193 h 262604"/>
                  <a:gd name="connsiteX5" fmla="*/ 44196 w 3161062"/>
                  <a:gd name="connsiteY5" fmla="*/ 18193 h 262604"/>
                  <a:gd name="connsiteX6" fmla="*/ 44196 w 3161062"/>
                  <a:gd name="connsiteY6" fmla="*/ 24289 h 262604"/>
                  <a:gd name="connsiteX7" fmla="*/ 52578 w 3161062"/>
                  <a:gd name="connsiteY7" fmla="*/ 24289 h 262604"/>
                  <a:gd name="connsiteX8" fmla="*/ 52578 w 3161062"/>
                  <a:gd name="connsiteY8" fmla="*/ 30290 h 262604"/>
                  <a:gd name="connsiteX9" fmla="*/ 60960 w 3161062"/>
                  <a:gd name="connsiteY9" fmla="*/ 30290 h 262604"/>
                  <a:gd name="connsiteX10" fmla="*/ 60960 w 3161062"/>
                  <a:gd name="connsiteY10" fmla="*/ 36386 h 262604"/>
                  <a:gd name="connsiteX11" fmla="*/ 65151 w 3161062"/>
                  <a:gd name="connsiteY11" fmla="*/ 36386 h 262604"/>
                  <a:gd name="connsiteX12" fmla="*/ 65151 w 3161062"/>
                  <a:gd name="connsiteY12" fmla="*/ 42482 h 262604"/>
                  <a:gd name="connsiteX13" fmla="*/ 138779 w 3161062"/>
                  <a:gd name="connsiteY13" fmla="*/ 42482 h 262604"/>
                  <a:gd name="connsiteX14" fmla="*/ 138779 w 3161062"/>
                  <a:gd name="connsiteY14" fmla="*/ 48482 h 262604"/>
                  <a:gd name="connsiteX15" fmla="*/ 159829 w 3161062"/>
                  <a:gd name="connsiteY15" fmla="*/ 48482 h 262604"/>
                  <a:gd name="connsiteX16" fmla="*/ 159829 w 3161062"/>
                  <a:gd name="connsiteY16" fmla="*/ 54578 h 262604"/>
                  <a:gd name="connsiteX17" fmla="*/ 166116 w 3161062"/>
                  <a:gd name="connsiteY17" fmla="*/ 54578 h 262604"/>
                  <a:gd name="connsiteX18" fmla="*/ 166116 w 3161062"/>
                  <a:gd name="connsiteY18" fmla="*/ 60674 h 262604"/>
                  <a:gd name="connsiteX19" fmla="*/ 208216 w 3161062"/>
                  <a:gd name="connsiteY19" fmla="*/ 60674 h 262604"/>
                  <a:gd name="connsiteX20" fmla="*/ 208216 w 3161062"/>
                  <a:gd name="connsiteY20" fmla="*/ 66675 h 262604"/>
                  <a:gd name="connsiteX21" fmla="*/ 222885 w 3161062"/>
                  <a:gd name="connsiteY21" fmla="*/ 66675 h 262604"/>
                  <a:gd name="connsiteX22" fmla="*/ 222885 w 3161062"/>
                  <a:gd name="connsiteY22" fmla="*/ 72771 h 262604"/>
                  <a:gd name="connsiteX23" fmla="*/ 252412 w 3161062"/>
                  <a:gd name="connsiteY23" fmla="*/ 72771 h 262604"/>
                  <a:gd name="connsiteX24" fmla="*/ 252412 w 3161062"/>
                  <a:gd name="connsiteY24" fmla="*/ 78867 h 262604"/>
                  <a:gd name="connsiteX25" fmla="*/ 254508 w 3161062"/>
                  <a:gd name="connsiteY25" fmla="*/ 78867 h 262604"/>
                  <a:gd name="connsiteX26" fmla="*/ 254508 w 3161062"/>
                  <a:gd name="connsiteY26" fmla="*/ 84868 h 262604"/>
                  <a:gd name="connsiteX27" fmla="*/ 277558 w 3161062"/>
                  <a:gd name="connsiteY27" fmla="*/ 84868 h 262604"/>
                  <a:gd name="connsiteX28" fmla="*/ 277558 w 3161062"/>
                  <a:gd name="connsiteY28" fmla="*/ 90964 h 262604"/>
                  <a:gd name="connsiteX29" fmla="*/ 290227 w 3161062"/>
                  <a:gd name="connsiteY29" fmla="*/ 90964 h 262604"/>
                  <a:gd name="connsiteX30" fmla="*/ 290227 w 3161062"/>
                  <a:gd name="connsiteY30" fmla="*/ 97060 h 262604"/>
                  <a:gd name="connsiteX31" fmla="*/ 325945 w 3161062"/>
                  <a:gd name="connsiteY31" fmla="*/ 97060 h 262604"/>
                  <a:gd name="connsiteX32" fmla="*/ 325945 w 3161062"/>
                  <a:gd name="connsiteY32" fmla="*/ 103156 h 262604"/>
                  <a:gd name="connsiteX33" fmla="*/ 441674 w 3161062"/>
                  <a:gd name="connsiteY33" fmla="*/ 103156 h 262604"/>
                  <a:gd name="connsiteX34" fmla="*/ 441674 w 3161062"/>
                  <a:gd name="connsiteY34" fmla="*/ 109157 h 262604"/>
                  <a:gd name="connsiteX35" fmla="*/ 479488 w 3161062"/>
                  <a:gd name="connsiteY35" fmla="*/ 109157 h 262604"/>
                  <a:gd name="connsiteX36" fmla="*/ 479488 w 3161062"/>
                  <a:gd name="connsiteY36" fmla="*/ 115348 h 262604"/>
                  <a:gd name="connsiteX37" fmla="*/ 532066 w 3161062"/>
                  <a:gd name="connsiteY37" fmla="*/ 115348 h 262604"/>
                  <a:gd name="connsiteX38" fmla="*/ 532066 w 3161062"/>
                  <a:gd name="connsiteY38" fmla="*/ 121444 h 262604"/>
                  <a:gd name="connsiteX39" fmla="*/ 551021 w 3161062"/>
                  <a:gd name="connsiteY39" fmla="*/ 121444 h 262604"/>
                  <a:gd name="connsiteX40" fmla="*/ 551021 w 3161062"/>
                  <a:gd name="connsiteY40" fmla="*/ 127540 h 262604"/>
                  <a:gd name="connsiteX41" fmla="*/ 561499 w 3161062"/>
                  <a:gd name="connsiteY41" fmla="*/ 127540 h 262604"/>
                  <a:gd name="connsiteX42" fmla="*/ 561499 w 3161062"/>
                  <a:gd name="connsiteY42" fmla="*/ 133731 h 262604"/>
                  <a:gd name="connsiteX43" fmla="*/ 595217 w 3161062"/>
                  <a:gd name="connsiteY43" fmla="*/ 133731 h 262604"/>
                  <a:gd name="connsiteX44" fmla="*/ 595217 w 3161062"/>
                  <a:gd name="connsiteY44" fmla="*/ 139827 h 262604"/>
                  <a:gd name="connsiteX45" fmla="*/ 601504 w 3161062"/>
                  <a:gd name="connsiteY45" fmla="*/ 139827 h 262604"/>
                  <a:gd name="connsiteX46" fmla="*/ 601504 w 3161062"/>
                  <a:gd name="connsiteY46" fmla="*/ 145923 h 262604"/>
                  <a:gd name="connsiteX47" fmla="*/ 616172 w 3161062"/>
                  <a:gd name="connsiteY47" fmla="*/ 145923 h 262604"/>
                  <a:gd name="connsiteX48" fmla="*/ 616172 w 3161062"/>
                  <a:gd name="connsiteY48" fmla="*/ 152019 h 262604"/>
                  <a:gd name="connsiteX49" fmla="*/ 628840 w 3161062"/>
                  <a:gd name="connsiteY49" fmla="*/ 152019 h 262604"/>
                  <a:gd name="connsiteX50" fmla="*/ 628840 w 3161062"/>
                  <a:gd name="connsiteY50" fmla="*/ 158210 h 262604"/>
                  <a:gd name="connsiteX51" fmla="*/ 654082 w 3161062"/>
                  <a:gd name="connsiteY51" fmla="*/ 158210 h 262604"/>
                  <a:gd name="connsiteX52" fmla="*/ 654082 w 3161062"/>
                  <a:gd name="connsiteY52" fmla="*/ 164306 h 262604"/>
                  <a:gd name="connsiteX53" fmla="*/ 883348 w 3161062"/>
                  <a:gd name="connsiteY53" fmla="*/ 164306 h 262604"/>
                  <a:gd name="connsiteX54" fmla="*/ 883348 w 3161062"/>
                  <a:gd name="connsiteY54" fmla="*/ 170498 h 262604"/>
                  <a:gd name="connsiteX55" fmla="*/ 996886 w 3161062"/>
                  <a:gd name="connsiteY55" fmla="*/ 170498 h 262604"/>
                  <a:gd name="connsiteX56" fmla="*/ 996886 w 3161062"/>
                  <a:gd name="connsiteY56" fmla="*/ 176689 h 262604"/>
                  <a:gd name="connsiteX57" fmla="*/ 1266063 w 3161062"/>
                  <a:gd name="connsiteY57" fmla="*/ 176689 h 262604"/>
                  <a:gd name="connsiteX58" fmla="*/ 1266063 w 3161062"/>
                  <a:gd name="connsiteY58" fmla="*/ 182975 h 262604"/>
                  <a:gd name="connsiteX59" fmla="*/ 1339691 w 3161062"/>
                  <a:gd name="connsiteY59" fmla="*/ 182975 h 262604"/>
                  <a:gd name="connsiteX60" fmla="*/ 1339691 w 3161062"/>
                  <a:gd name="connsiteY60" fmla="*/ 189262 h 262604"/>
                  <a:gd name="connsiteX61" fmla="*/ 1419606 w 3161062"/>
                  <a:gd name="connsiteY61" fmla="*/ 189262 h 262604"/>
                  <a:gd name="connsiteX62" fmla="*/ 1419606 w 3161062"/>
                  <a:gd name="connsiteY62" fmla="*/ 195548 h 262604"/>
                  <a:gd name="connsiteX63" fmla="*/ 1581531 w 3161062"/>
                  <a:gd name="connsiteY63" fmla="*/ 195548 h 262604"/>
                  <a:gd name="connsiteX64" fmla="*/ 1581531 w 3161062"/>
                  <a:gd name="connsiteY64" fmla="*/ 202025 h 262604"/>
                  <a:gd name="connsiteX65" fmla="*/ 1598390 w 3161062"/>
                  <a:gd name="connsiteY65" fmla="*/ 202025 h 262604"/>
                  <a:gd name="connsiteX66" fmla="*/ 1598390 w 3161062"/>
                  <a:gd name="connsiteY66" fmla="*/ 208407 h 262604"/>
                  <a:gd name="connsiteX67" fmla="*/ 1716214 w 3161062"/>
                  <a:gd name="connsiteY67" fmla="*/ 208407 h 262604"/>
                  <a:gd name="connsiteX68" fmla="*/ 1716214 w 3161062"/>
                  <a:gd name="connsiteY68" fmla="*/ 214884 h 262604"/>
                  <a:gd name="connsiteX69" fmla="*/ 1808702 w 3161062"/>
                  <a:gd name="connsiteY69" fmla="*/ 214884 h 262604"/>
                  <a:gd name="connsiteX70" fmla="*/ 1808702 w 3161062"/>
                  <a:gd name="connsiteY70" fmla="*/ 221266 h 262604"/>
                  <a:gd name="connsiteX71" fmla="*/ 1827657 w 3161062"/>
                  <a:gd name="connsiteY71" fmla="*/ 221266 h 262604"/>
                  <a:gd name="connsiteX72" fmla="*/ 1827657 w 3161062"/>
                  <a:gd name="connsiteY72" fmla="*/ 227743 h 262604"/>
                  <a:gd name="connsiteX73" fmla="*/ 2681478 w 3161062"/>
                  <a:gd name="connsiteY73" fmla="*/ 227743 h 262604"/>
                  <a:gd name="connsiteX74" fmla="*/ 2681478 w 3161062"/>
                  <a:gd name="connsiteY74" fmla="*/ 262604 h 262604"/>
                  <a:gd name="connsiteX75" fmla="*/ 3161062 w 3161062"/>
                  <a:gd name="connsiteY75" fmla="*/ 262604 h 262604"/>
                  <a:gd name="connsiteX0" fmla="*/ 0 w 3161062"/>
                  <a:gd name="connsiteY0" fmla="*/ 0 h 262604"/>
                  <a:gd name="connsiteX1" fmla="*/ 14668 w 3161062"/>
                  <a:gd name="connsiteY1" fmla="*/ 12097 h 262604"/>
                  <a:gd name="connsiteX2" fmla="*/ 37814 w 3161062"/>
                  <a:gd name="connsiteY2" fmla="*/ 12097 h 262604"/>
                  <a:gd name="connsiteX3" fmla="*/ 37814 w 3161062"/>
                  <a:gd name="connsiteY3" fmla="*/ 18193 h 262604"/>
                  <a:gd name="connsiteX4" fmla="*/ 44196 w 3161062"/>
                  <a:gd name="connsiteY4" fmla="*/ 18193 h 262604"/>
                  <a:gd name="connsiteX5" fmla="*/ 44196 w 3161062"/>
                  <a:gd name="connsiteY5" fmla="*/ 24289 h 262604"/>
                  <a:gd name="connsiteX6" fmla="*/ 52578 w 3161062"/>
                  <a:gd name="connsiteY6" fmla="*/ 24289 h 262604"/>
                  <a:gd name="connsiteX7" fmla="*/ 52578 w 3161062"/>
                  <a:gd name="connsiteY7" fmla="*/ 30290 h 262604"/>
                  <a:gd name="connsiteX8" fmla="*/ 60960 w 3161062"/>
                  <a:gd name="connsiteY8" fmla="*/ 30290 h 262604"/>
                  <a:gd name="connsiteX9" fmla="*/ 60960 w 3161062"/>
                  <a:gd name="connsiteY9" fmla="*/ 36386 h 262604"/>
                  <a:gd name="connsiteX10" fmla="*/ 65151 w 3161062"/>
                  <a:gd name="connsiteY10" fmla="*/ 36386 h 262604"/>
                  <a:gd name="connsiteX11" fmla="*/ 65151 w 3161062"/>
                  <a:gd name="connsiteY11" fmla="*/ 42482 h 262604"/>
                  <a:gd name="connsiteX12" fmla="*/ 138779 w 3161062"/>
                  <a:gd name="connsiteY12" fmla="*/ 42482 h 262604"/>
                  <a:gd name="connsiteX13" fmla="*/ 138779 w 3161062"/>
                  <a:gd name="connsiteY13" fmla="*/ 48482 h 262604"/>
                  <a:gd name="connsiteX14" fmla="*/ 159829 w 3161062"/>
                  <a:gd name="connsiteY14" fmla="*/ 48482 h 262604"/>
                  <a:gd name="connsiteX15" fmla="*/ 159829 w 3161062"/>
                  <a:gd name="connsiteY15" fmla="*/ 54578 h 262604"/>
                  <a:gd name="connsiteX16" fmla="*/ 166116 w 3161062"/>
                  <a:gd name="connsiteY16" fmla="*/ 54578 h 262604"/>
                  <a:gd name="connsiteX17" fmla="*/ 166116 w 3161062"/>
                  <a:gd name="connsiteY17" fmla="*/ 60674 h 262604"/>
                  <a:gd name="connsiteX18" fmla="*/ 208216 w 3161062"/>
                  <a:gd name="connsiteY18" fmla="*/ 60674 h 262604"/>
                  <a:gd name="connsiteX19" fmla="*/ 208216 w 3161062"/>
                  <a:gd name="connsiteY19" fmla="*/ 66675 h 262604"/>
                  <a:gd name="connsiteX20" fmla="*/ 222885 w 3161062"/>
                  <a:gd name="connsiteY20" fmla="*/ 66675 h 262604"/>
                  <a:gd name="connsiteX21" fmla="*/ 222885 w 3161062"/>
                  <a:gd name="connsiteY21" fmla="*/ 72771 h 262604"/>
                  <a:gd name="connsiteX22" fmla="*/ 252412 w 3161062"/>
                  <a:gd name="connsiteY22" fmla="*/ 72771 h 262604"/>
                  <a:gd name="connsiteX23" fmla="*/ 252412 w 3161062"/>
                  <a:gd name="connsiteY23" fmla="*/ 78867 h 262604"/>
                  <a:gd name="connsiteX24" fmla="*/ 254508 w 3161062"/>
                  <a:gd name="connsiteY24" fmla="*/ 78867 h 262604"/>
                  <a:gd name="connsiteX25" fmla="*/ 254508 w 3161062"/>
                  <a:gd name="connsiteY25" fmla="*/ 84868 h 262604"/>
                  <a:gd name="connsiteX26" fmla="*/ 277558 w 3161062"/>
                  <a:gd name="connsiteY26" fmla="*/ 84868 h 262604"/>
                  <a:gd name="connsiteX27" fmla="*/ 277558 w 3161062"/>
                  <a:gd name="connsiteY27" fmla="*/ 90964 h 262604"/>
                  <a:gd name="connsiteX28" fmla="*/ 290227 w 3161062"/>
                  <a:gd name="connsiteY28" fmla="*/ 90964 h 262604"/>
                  <a:gd name="connsiteX29" fmla="*/ 290227 w 3161062"/>
                  <a:gd name="connsiteY29" fmla="*/ 97060 h 262604"/>
                  <a:gd name="connsiteX30" fmla="*/ 325945 w 3161062"/>
                  <a:gd name="connsiteY30" fmla="*/ 97060 h 262604"/>
                  <a:gd name="connsiteX31" fmla="*/ 325945 w 3161062"/>
                  <a:gd name="connsiteY31" fmla="*/ 103156 h 262604"/>
                  <a:gd name="connsiteX32" fmla="*/ 441674 w 3161062"/>
                  <a:gd name="connsiteY32" fmla="*/ 103156 h 262604"/>
                  <a:gd name="connsiteX33" fmla="*/ 441674 w 3161062"/>
                  <a:gd name="connsiteY33" fmla="*/ 109157 h 262604"/>
                  <a:gd name="connsiteX34" fmla="*/ 479488 w 3161062"/>
                  <a:gd name="connsiteY34" fmla="*/ 109157 h 262604"/>
                  <a:gd name="connsiteX35" fmla="*/ 479488 w 3161062"/>
                  <a:gd name="connsiteY35" fmla="*/ 115348 h 262604"/>
                  <a:gd name="connsiteX36" fmla="*/ 532066 w 3161062"/>
                  <a:gd name="connsiteY36" fmla="*/ 115348 h 262604"/>
                  <a:gd name="connsiteX37" fmla="*/ 532066 w 3161062"/>
                  <a:gd name="connsiteY37" fmla="*/ 121444 h 262604"/>
                  <a:gd name="connsiteX38" fmla="*/ 551021 w 3161062"/>
                  <a:gd name="connsiteY38" fmla="*/ 121444 h 262604"/>
                  <a:gd name="connsiteX39" fmla="*/ 551021 w 3161062"/>
                  <a:gd name="connsiteY39" fmla="*/ 127540 h 262604"/>
                  <a:gd name="connsiteX40" fmla="*/ 561499 w 3161062"/>
                  <a:gd name="connsiteY40" fmla="*/ 127540 h 262604"/>
                  <a:gd name="connsiteX41" fmla="*/ 561499 w 3161062"/>
                  <a:gd name="connsiteY41" fmla="*/ 133731 h 262604"/>
                  <a:gd name="connsiteX42" fmla="*/ 595217 w 3161062"/>
                  <a:gd name="connsiteY42" fmla="*/ 133731 h 262604"/>
                  <a:gd name="connsiteX43" fmla="*/ 595217 w 3161062"/>
                  <a:gd name="connsiteY43" fmla="*/ 139827 h 262604"/>
                  <a:gd name="connsiteX44" fmla="*/ 601504 w 3161062"/>
                  <a:gd name="connsiteY44" fmla="*/ 139827 h 262604"/>
                  <a:gd name="connsiteX45" fmla="*/ 601504 w 3161062"/>
                  <a:gd name="connsiteY45" fmla="*/ 145923 h 262604"/>
                  <a:gd name="connsiteX46" fmla="*/ 616172 w 3161062"/>
                  <a:gd name="connsiteY46" fmla="*/ 145923 h 262604"/>
                  <a:gd name="connsiteX47" fmla="*/ 616172 w 3161062"/>
                  <a:gd name="connsiteY47" fmla="*/ 152019 h 262604"/>
                  <a:gd name="connsiteX48" fmla="*/ 628840 w 3161062"/>
                  <a:gd name="connsiteY48" fmla="*/ 152019 h 262604"/>
                  <a:gd name="connsiteX49" fmla="*/ 628840 w 3161062"/>
                  <a:gd name="connsiteY49" fmla="*/ 158210 h 262604"/>
                  <a:gd name="connsiteX50" fmla="*/ 654082 w 3161062"/>
                  <a:gd name="connsiteY50" fmla="*/ 158210 h 262604"/>
                  <a:gd name="connsiteX51" fmla="*/ 654082 w 3161062"/>
                  <a:gd name="connsiteY51" fmla="*/ 164306 h 262604"/>
                  <a:gd name="connsiteX52" fmla="*/ 883348 w 3161062"/>
                  <a:gd name="connsiteY52" fmla="*/ 164306 h 262604"/>
                  <a:gd name="connsiteX53" fmla="*/ 883348 w 3161062"/>
                  <a:gd name="connsiteY53" fmla="*/ 170498 h 262604"/>
                  <a:gd name="connsiteX54" fmla="*/ 996886 w 3161062"/>
                  <a:gd name="connsiteY54" fmla="*/ 170498 h 262604"/>
                  <a:gd name="connsiteX55" fmla="*/ 996886 w 3161062"/>
                  <a:gd name="connsiteY55" fmla="*/ 176689 h 262604"/>
                  <a:gd name="connsiteX56" fmla="*/ 1266063 w 3161062"/>
                  <a:gd name="connsiteY56" fmla="*/ 176689 h 262604"/>
                  <a:gd name="connsiteX57" fmla="*/ 1266063 w 3161062"/>
                  <a:gd name="connsiteY57" fmla="*/ 182975 h 262604"/>
                  <a:gd name="connsiteX58" fmla="*/ 1339691 w 3161062"/>
                  <a:gd name="connsiteY58" fmla="*/ 182975 h 262604"/>
                  <a:gd name="connsiteX59" fmla="*/ 1339691 w 3161062"/>
                  <a:gd name="connsiteY59" fmla="*/ 189262 h 262604"/>
                  <a:gd name="connsiteX60" fmla="*/ 1419606 w 3161062"/>
                  <a:gd name="connsiteY60" fmla="*/ 189262 h 262604"/>
                  <a:gd name="connsiteX61" fmla="*/ 1419606 w 3161062"/>
                  <a:gd name="connsiteY61" fmla="*/ 195548 h 262604"/>
                  <a:gd name="connsiteX62" fmla="*/ 1581531 w 3161062"/>
                  <a:gd name="connsiteY62" fmla="*/ 195548 h 262604"/>
                  <a:gd name="connsiteX63" fmla="*/ 1581531 w 3161062"/>
                  <a:gd name="connsiteY63" fmla="*/ 202025 h 262604"/>
                  <a:gd name="connsiteX64" fmla="*/ 1598390 w 3161062"/>
                  <a:gd name="connsiteY64" fmla="*/ 202025 h 262604"/>
                  <a:gd name="connsiteX65" fmla="*/ 1598390 w 3161062"/>
                  <a:gd name="connsiteY65" fmla="*/ 208407 h 262604"/>
                  <a:gd name="connsiteX66" fmla="*/ 1716214 w 3161062"/>
                  <a:gd name="connsiteY66" fmla="*/ 208407 h 262604"/>
                  <a:gd name="connsiteX67" fmla="*/ 1716214 w 3161062"/>
                  <a:gd name="connsiteY67" fmla="*/ 214884 h 262604"/>
                  <a:gd name="connsiteX68" fmla="*/ 1808702 w 3161062"/>
                  <a:gd name="connsiteY68" fmla="*/ 214884 h 262604"/>
                  <a:gd name="connsiteX69" fmla="*/ 1808702 w 3161062"/>
                  <a:gd name="connsiteY69" fmla="*/ 221266 h 262604"/>
                  <a:gd name="connsiteX70" fmla="*/ 1827657 w 3161062"/>
                  <a:gd name="connsiteY70" fmla="*/ 221266 h 262604"/>
                  <a:gd name="connsiteX71" fmla="*/ 1827657 w 3161062"/>
                  <a:gd name="connsiteY71" fmla="*/ 227743 h 262604"/>
                  <a:gd name="connsiteX72" fmla="*/ 2681478 w 3161062"/>
                  <a:gd name="connsiteY72" fmla="*/ 227743 h 262604"/>
                  <a:gd name="connsiteX73" fmla="*/ 2681478 w 3161062"/>
                  <a:gd name="connsiteY73" fmla="*/ 262604 h 262604"/>
                  <a:gd name="connsiteX74" fmla="*/ 3161062 w 3161062"/>
                  <a:gd name="connsiteY74" fmla="*/ 262604 h 262604"/>
                  <a:gd name="connsiteX0" fmla="*/ 0 w 3146394"/>
                  <a:gd name="connsiteY0" fmla="*/ 0 h 250507"/>
                  <a:gd name="connsiteX1" fmla="*/ 23146 w 3146394"/>
                  <a:gd name="connsiteY1" fmla="*/ 0 h 250507"/>
                  <a:gd name="connsiteX2" fmla="*/ 23146 w 3146394"/>
                  <a:gd name="connsiteY2" fmla="*/ 6096 h 250507"/>
                  <a:gd name="connsiteX3" fmla="*/ 29528 w 3146394"/>
                  <a:gd name="connsiteY3" fmla="*/ 6096 h 250507"/>
                  <a:gd name="connsiteX4" fmla="*/ 29528 w 3146394"/>
                  <a:gd name="connsiteY4" fmla="*/ 12192 h 250507"/>
                  <a:gd name="connsiteX5" fmla="*/ 37910 w 3146394"/>
                  <a:gd name="connsiteY5" fmla="*/ 12192 h 250507"/>
                  <a:gd name="connsiteX6" fmla="*/ 37910 w 3146394"/>
                  <a:gd name="connsiteY6" fmla="*/ 18193 h 250507"/>
                  <a:gd name="connsiteX7" fmla="*/ 46292 w 3146394"/>
                  <a:gd name="connsiteY7" fmla="*/ 18193 h 250507"/>
                  <a:gd name="connsiteX8" fmla="*/ 46292 w 3146394"/>
                  <a:gd name="connsiteY8" fmla="*/ 24289 h 250507"/>
                  <a:gd name="connsiteX9" fmla="*/ 50483 w 3146394"/>
                  <a:gd name="connsiteY9" fmla="*/ 24289 h 250507"/>
                  <a:gd name="connsiteX10" fmla="*/ 50483 w 3146394"/>
                  <a:gd name="connsiteY10" fmla="*/ 30385 h 250507"/>
                  <a:gd name="connsiteX11" fmla="*/ 124111 w 3146394"/>
                  <a:gd name="connsiteY11" fmla="*/ 30385 h 250507"/>
                  <a:gd name="connsiteX12" fmla="*/ 124111 w 3146394"/>
                  <a:gd name="connsiteY12" fmla="*/ 36385 h 250507"/>
                  <a:gd name="connsiteX13" fmla="*/ 145161 w 3146394"/>
                  <a:gd name="connsiteY13" fmla="*/ 36385 h 250507"/>
                  <a:gd name="connsiteX14" fmla="*/ 145161 w 3146394"/>
                  <a:gd name="connsiteY14" fmla="*/ 42481 h 250507"/>
                  <a:gd name="connsiteX15" fmla="*/ 151448 w 3146394"/>
                  <a:gd name="connsiteY15" fmla="*/ 42481 h 250507"/>
                  <a:gd name="connsiteX16" fmla="*/ 151448 w 3146394"/>
                  <a:gd name="connsiteY16" fmla="*/ 48577 h 250507"/>
                  <a:gd name="connsiteX17" fmla="*/ 193548 w 3146394"/>
                  <a:gd name="connsiteY17" fmla="*/ 48577 h 250507"/>
                  <a:gd name="connsiteX18" fmla="*/ 193548 w 3146394"/>
                  <a:gd name="connsiteY18" fmla="*/ 54578 h 250507"/>
                  <a:gd name="connsiteX19" fmla="*/ 208217 w 3146394"/>
                  <a:gd name="connsiteY19" fmla="*/ 54578 h 250507"/>
                  <a:gd name="connsiteX20" fmla="*/ 208217 w 3146394"/>
                  <a:gd name="connsiteY20" fmla="*/ 60674 h 250507"/>
                  <a:gd name="connsiteX21" fmla="*/ 237744 w 3146394"/>
                  <a:gd name="connsiteY21" fmla="*/ 60674 h 250507"/>
                  <a:gd name="connsiteX22" fmla="*/ 237744 w 3146394"/>
                  <a:gd name="connsiteY22" fmla="*/ 66770 h 250507"/>
                  <a:gd name="connsiteX23" fmla="*/ 239840 w 3146394"/>
                  <a:gd name="connsiteY23" fmla="*/ 66770 h 250507"/>
                  <a:gd name="connsiteX24" fmla="*/ 239840 w 3146394"/>
                  <a:gd name="connsiteY24" fmla="*/ 72771 h 250507"/>
                  <a:gd name="connsiteX25" fmla="*/ 262890 w 3146394"/>
                  <a:gd name="connsiteY25" fmla="*/ 72771 h 250507"/>
                  <a:gd name="connsiteX26" fmla="*/ 262890 w 3146394"/>
                  <a:gd name="connsiteY26" fmla="*/ 78867 h 250507"/>
                  <a:gd name="connsiteX27" fmla="*/ 275559 w 3146394"/>
                  <a:gd name="connsiteY27" fmla="*/ 78867 h 250507"/>
                  <a:gd name="connsiteX28" fmla="*/ 275559 w 3146394"/>
                  <a:gd name="connsiteY28" fmla="*/ 84963 h 250507"/>
                  <a:gd name="connsiteX29" fmla="*/ 311277 w 3146394"/>
                  <a:gd name="connsiteY29" fmla="*/ 84963 h 250507"/>
                  <a:gd name="connsiteX30" fmla="*/ 311277 w 3146394"/>
                  <a:gd name="connsiteY30" fmla="*/ 91059 h 250507"/>
                  <a:gd name="connsiteX31" fmla="*/ 427006 w 3146394"/>
                  <a:gd name="connsiteY31" fmla="*/ 91059 h 250507"/>
                  <a:gd name="connsiteX32" fmla="*/ 427006 w 3146394"/>
                  <a:gd name="connsiteY32" fmla="*/ 97060 h 250507"/>
                  <a:gd name="connsiteX33" fmla="*/ 464820 w 3146394"/>
                  <a:gd name="connsiteY33" fmla="*/ 97060 h 250507"/>
                  <a:gd name="connsiteX34" fmla="*/ 464820 w 3146394"/>
                  <a:gd name="connsiteY34" fmla="*/ 103251 h 250507"/>
                  <a:gd name="connsiteX35" fmla="*/ 517398 w 3146394"/>
                  <a:gd name="connsiteY35" fmla="*/ 103251 h 250507"/>
                  <a:gd name="connsiteX36" fmla="*/ 517398 w 3146394"/>
                  <a:gd name="connsiteY36" fmla="*/ 109347 h 250507"/>
                  <a:gd name="connsiteX37" fmla="*/ 536353 w 3146394"/>
                  <a:gd name="connsiteY37" fmla="*/ 109347 h 250507"/>
                  <a:gd name="connsiteX38" fmla="*/ 536353 w 3146394"/>
                  <a:gd name="connsiteY38" fmla="*/ 115443 h 250507"/>
                  <a:gd name="connsiteX39" fmla="*/ 546831 w 3146394"/>
                  <a:gd name="connsiteY39" fmla="*/ 115443 h 250507"/>
                  <a:gd name="connsiteX40" fmla="*/ 546831 w 3146394"/>
                  <a:gd name="connsiteY40" fmla="*/ 121634 h 250507"/>
                  <a:gd name="connsiteX41" fmla="*/ 580549 w 3146394"/>
                  <a:gd name="connsiteY41" fmla="*/ 121634 h 250507"/>
                  <a:gd name="connsiteX42" fmla="*/ 580549 w 3146394"/>
                  <a:gd name="connsiteY42" fmla="*/ 127730 h 250507"/>
                  <a:gd name="connsiteX43" fmla="*/ 586836 w 3146394"/>
                  <a:gd name="connsiteY43" fmla="*/ 127730 h 250507"/>
                  <a:gd name="connsiteX44" fmla="*/ 586836 w 3146394"/>
                  <a:gd name="connsiteY44" fmla="*/ 133826 h 250507"/>
                  <a:gd name="connsiteX45" fmla="*/ 601504 w 3146394"/>
                  <a:gd name="connsiteY45" fmla="*/ 133826 h 250507"/>
                  <a:gd name="connsiteX46" fmla="*/ 601504 w 3146394"/>
                  <a:gd name="connsiteY46" fmla="*/ 139922 h 250507"/>
                  <a:gd name="connsiteX47" fmla="*/ 614172 w 3146394"/>
                  <a:gd name="connsiteY47" fmla="*/ 139922 h 250507"/>
                  <a:gd name="connsiteX48" fmla="*/ 614172 w 3146394"/>
                  <a:gd name="connsiteY48" fmla="*/ 146113 h 250507"/>
                  <a:gd name="connsiteX49" fmla="*/ 639414 w 3146394"/>
                  <a:gd name="connsiteY49" fmla="*/ 146113 h 250507"/>
                  <a:gd name="connsiteX50" fmla="*/ 639414 w 3146394"/>
                  <a:gd name="connsiteY50" fmla="*/ 152209 h 250507"/>
                  <a:gd name="connsiteX51" fmla="*/ 868680 w 3146394"/>
                  <a:gd name="connsiteY51" fmla="*/ 152209 h 250507"/>
                  <a:gd name="connsiteX52" fmla="*/ 868680 w 3146394"/>
                  <a:gd name="connsiteY52" fmla="*/ 158401 h 250507"/>
                  <a:gd name="connsiteX53" fmla="*/ 982218 w 3146394"/>
                  <a:gd name="connsiteY53" fmla="*/ 158401 h 250507"/>
                  <a:gd name="connsiteX54" fmla="*/ 982218 w 3146394"/>
                  <a:gd name="connsiteY54" fmla="*/ 164592 h 250507"/>
                  <a:gd name="connsiteX55" fmla="*/ 1251395 w 3146394"/>
                  <a:gd name="connsiteY55" fmla="*/ 164592 h 250507"/>
                  <a:gd name="connsiteX56" fmla="*/ 1251395 w 3146394"/>
                  <a:gd name="connsiteY56" fmla="*/ 170878 h 250507"/>
                  <a:gd name="connsiteX57" fmla="*/ 1325023 w 3146394"/>
                  <a:gd name="connsiteY57" fmla="*/ 170878 h 250507"/>
                  <a:gd name="connsiteX58" fmla="*/ 1325023 w 3146394"/>
                  <a:gd name="connsiteY58" fmla="*/ 177165 h 250507"/>
                  <a:gd name="connsiteX59" fmla="*/ 1404938 w 3146394"/>
                  <a:gd name="connsiteY59" fmla="*/ 177165 h 250507"/>
                  <a:gd name="connsiteX60" fmla="*/ 1404938 w 3146394"/>
                  <a:gd name="connsiteY60" fmla="*/ 183451 h 250507"/>
                  <a:gd name="connsiteX61" fmla="*/ 1566863 w 3146394"/>
                  <a:gd name="connsiteY61" fmla="*/ 183451 h 250507"/>
                  <a:gd name="connsiteX62" fmla="*/ 1566863 w 3146394"/>
                  <a:gd name="connsiteY62" fmla="*/ 189928 h 250507"/>
                  <a:gd name="connsiteX63" fmla="*/ 1583722 w 3146394"/>
                  <a:gd name="connsiteY63" fmla="*/ 189928 h 250507"/>
                  <a:gd name="connsiteX64" fmla="*/ 1583722 w 3146394"/>
                  <a:gd name="connsiteY64" fmla="*/ 196310 h 250507"/>
                  <a:gd name="connsiteX65" fmla="*/ 1701546 w 3146394"/>
                  <a:gd name="connsiteY65" fmla="*/ 196310 h 250507"/>
                  <a:gd name="connsiteX66" fmla="*/ 1701546 w 3146394"/>
                  <a:gd name="connsiteY66" fmla="*/ 202787 h 250507"/>
                  <a:gd name="connsiteX67" fmla="*/ 1794034 w 3146394"/>
                  <a:gd name="connsiteY67" fmla="*/ 202787 h 250507"/>
                  <a:gd name="connsiteX68" fmla="*/ 1794034 w 3146394"/>
                  <a:gd name="connsiteY68" fmla="*/ 209169 h 250507"/>
                  <a:gd name="connsiteX69" fmla="*/ 1812989 w 3146394"/>
                  <a:gd name="connsiteY69" fmla="*/ 209169 h 250507"/>
                  <a:gd name="connsiteX70" fmla="*/ 1812989 w 3146394"/>
                  <a:gd name="connsiteY70" fmla="*/ 215646 h 250507"/>
                  <a:gd name="connsiteX71" fmla="*/ 2666810 w 3146394"/>
                  <a:gd name="connsiteY71" fmla="*/ 215646 h 250507"/>
                  <a:gd name="connsiteX72" fmla="*/ 2666810 w 3146394"/>
                  <a:gd name="connsiteY72" fmla="*/ 250507 h 250507"/>
                  <a:gd name="connsiteX73" fmla="*/ 3146394 w 3146394"/>
                  <a:gd name="connsiteY73" fmla="*/ 250507 h 250507"/>
                  <a:gd name="connsiteX0" fmla="*/ 0 w 3123248"/>
                  <a:gd name="connsiteY0" fmla="*/ 0 h 250507"/>
                  <a:gd name="connsiteX1" fmla="*/ 0 w 3123248"/>
                  <a:gd name="connsiteY1" fmla="*/ 6096 h 250507"/>
                  <a:gd name="connsiteX2" fmla="*/ 6382 w 3123248"/>
                  <a:gd name="connsiteY2" fmla="*/ 6096 h 250507"/>
                  <a:gd name="connsiteX3" fmla="*/ 6382 w 3123248"/>
                  <a:gd name="connsiteY3" fmla="*/ 12192 h 250507"/>
                  <a:gd name="connsiteX4" fmla="*/ 14764 w 3123248"/>
                  <a:gd name="connsiteY4" fmla="*/ 12192 h 250507"/>
                  <a:gd name="connsiteX5" fmla="*/ 14764 w 3123248"/>
                  <a:gd name="connsiteY5" fmla="*/ 18193 h 250507"/>
                  <a:gd name="connsiteX6" fmla="*/ 23146 w 3123248"/>
                  <a:gd name="connsiteY6" fmla="*/ 18193 h 250507"/>
                  <a:gd name="connsiteX7" fmla="*/ 23146 w 3123248"/>
                  <a:gd name="connsiteY7" fmla="*/ 24289 h 250507"/>
                  <a:gd name="connsiteX8" fmla="*/ 27337 w 3123248"/>
                  <a:gd name="connsiteY8" fmla="*/ 24289 h 250507"/>
                  <a:gd name="connsiteX9" fmla="*/ 27337 w 3123248"/>
                  <a:gd name="connsiteY9" fmla="*/ 30385 h 250507"/>
                  <a:gd name="connsiteX10" fmla="*/ 100965 w 3123248"/>
                  <a:gd name="connsiteY10" fmla="*/ 30385 h 250507"/>
                  <a:gd name="connsiteX11" fmla="*/ 100965 w 3123248"/>
                  <a:gd name="connsiteY11" fmla="*/ 36385 h 250507"/>
                  <a:gd name="connsiteX12" fmla="*/ 122015 w 3123248"/>
                  <a:gd name="connsiteY12" fmla="*/ 36385 h 250507"/>
                  <a:gd name="connsiteX13" fmla="*/ 122015 w 3123248"/>
                  <a:gd name="connsiteY13" fmla="*/ 42481 h 250507"/>
                  <a:gd name="connsiteX14" fmla="*/ 128302 w 3123248"/>
                  <a:gd name="connsiteY14" fmla="*/ 42481 h 250507"/>
                  <a:gd name="connsiteX15" fmla="*/ 128302 w 3123248"/>
                  <a:gd name="connsiteY15" fmla="*/ 48577 h 250507"/>
                  <a:gd name="connsiteX16" fmla="*/ 170402 w 3123248"/>
                  <a:gd name="connsiteY16" fmla="*/ 48577 h 250507"/>
                  <a:gd name="connsiteX17" fmla="*/ 170402 w 3123248"/>
                  <a:gd name="connsiteY17" fmla="*/ 54578 h 250507"/>
                  <a:gd name="connsiteX18" fmla="*/ 185071 w 3123248"/>
                  <a:gd name="connsiteY18" fmla="*/ 54578 h 250507"/>
                  <a:gd name="connsiteX19" fmla="*/ 185071 w 3123248"/>
                  <a:gd name="connsiteY19" fmla="*/ 60674 h 250507"/>
                  <a:gd name="connsiteX20" fmla="*/ 214598 w 3123248"/>
                  <a:gd name="connsiteY20" fmla="*/ 60674 h 250507"/>
                  <a:gd name="connsiteX21" fmla="*/ 214598 w 3123248"/>
                  <a:gd name="connsiteY21" fmla="*/ 66770 h 250507"/>
                  <a:gd name="connsiteX22" fmla="*/ 216694 w 3123248"/>
                  <a:gd name="connsiteY22" fmla="*/ 66770 h 250507"/>
                  <a:gd name="connsiteX23" fmla="*/ 216694 w 3123248"/>
                  <a:gd name="connsiteY23" fmla="*/ 72771 h 250507"/>
                  <a:gd name="connsiteX24" fmla="*/ 239744 w 3123248"/>
                  <a:gd name="connsiteY24" fmla="*/ 72771 h 250507"/>
                  <a:gd name="connsiteX25" fmla="*/ 239744 w 3123248"/>
                  <a:gd name="connsiteY25" fmla="*/ 78867 h 250507"/>
                  <a:gd name="connsiteX26" fmla="*/ 252413 w 3123248"/>
                  <a:gd name="connsiteY26" fmla="*/ 78867 h 250507"/>
                  <a:gd name="connsiteX27" fmla="*/ 252413 w 3123248"/>
                  <a:gd name="connsiteY27" fmla="*/ 84963 h 250507"/>
                  <a:gd name="connsiteX28" fmla="*/ 288131 w 3123248"/>
                  <a:gd name="connsiteY28" fmla="*/ 84963 h 250507"/>
                  <a:gd name="connsiteX29" fmla="*/ 288131 w 3123248"/>
                  <a:gd name="connsiteY29" fmla="*/ 91059 h 250507"/>
                  <a:gd name="connsiteX30" fmla="*/ 403860 w 3123248"/>
                  <a:gd name="connsiteY30" fmla="*/ 91059 h 250507"/>
                  <a:gd name="connsiteX31" fmla="*/ 403860 w 3123248"/>
                  <a:gd name="connsiteY31" fmla="*/ 97060 h 250507"/>
                  <a:gd name="connsiteX32" fmla="*/ 441674 w 3123248"/>
                  <a:gd name="connsiteY32" fmla="*/ 97060 h 250507"/>
                  <a:gd name="connsiteX33" fmla="*/ 441674 w 3123248"/>
                  <a:gd name="connsiteY33" fmla="*/ 103251 h 250507"/>
                  <a:gd name="connsiteX34" fmla="*/ 494252 w 3123248"/>
                  <a:gd name="connsiteY34" fmla="*/ 103251 h 250507"/>
                  <a:gd name="connsiteX35" fmla="*/ 494252 w 3123248"/>
                  <a:gd name="connsiteY35" fmla="*/ 109347 h 250507"/>
                  <a:gd name="connsiteX36" fmla="*/ 513207 w 3123248"/>
                  <a:gd name="connsiteY36" fmla="*/ 109347 h 250507"/>
                  <a:gd name="connsiteX37" fmla="*/ 513207 w 3123248"/>
                  <a:gd name="connsiteY37" fmla="*/ 115443 h 250507"/>
                  <a:gd name="connsiteX38" fmla="*/ 523685 w 3123248"/>
                  <a:gd name="connsiteY38" fmla="*/ 115443 h 250507"/>
                  <a:gd name="connsiteX39" fmla="*/ 523685 w 3123248"/>
                  <a:gd name="connsiteY39" fmla="*/ 121634 h 250507"/>
                  <a:gd name="connsiteX40" fmla="*/ 557403 w 3123248"/>
                  <a:gd name="connsiteY40" fmla="*/ 121634 h 250507"/>
                  <a:gd name="connsiteX41" fmla="*/ 557403 w 3123248"/>
                  <a:gd name="connsiteY41" fmla="*/ 127730 h 250507"/>
                  <a:gd name="connsiteX42" fmla="*/ 563690 w 3123248"/>
                  <a:gd name="connsiteY42" fmla="*/ 127730 h 250507"/>
                  <a:gd name="connsiteX43" fmla="*/ 563690 w 3123248"/>
                  <a:gd name="connsiteY43" fmla="*/ 133826 h 250507"/>
                  <a:gd name="connsiteX44" fmla="*/ 578358 w 3123248"/>
                  <a:gd name="connsiteY44" fmla="*/ 133826 h 250507"/>
                  <a:gd name="connsiteX45" fmla="*/ 578358 w 3123248"/>
                  <a:gd name="connsiteY45" fmla="*/ 139922 h 250507"/>
                  <a:gd name="connsiteX46" fmla="*/ 591026 w 3123248"/>
                  <a:gd name="connsiteY46" fmla="*/ 139922 h 250507"/>
                  <a:gd name="connsiteX47" fmla="*/ 591026 w 3123248"/>
                  <a:gd name="connsiteY47" fmla="*/ 146113 h 250507"/>
                  <a:gd name="connsiteX48" fmla="*/ 616268 w 3123248"/>
                  <a:gd name="connsiteY48" fmla="*/ 146113 h 250507"/>
                  <a:gd name="connsiteX49" fmla="*/ 616268 w 3123248"/>
                  <a:gd name="connsiteY49" fmla="*/ 152209 h 250507"/>
                  <a:gd name="connsiteX50" fmla="*/ 845534 w 3123248"/>
                  <a:gd name="connsiteY50" fmla="*/ 152209 h 250507"/>
                  <a:gd name="connsiteX51" fmla="*/ 845534 w 3123248"/>
                  <a:gd name="connsiteY51" fmla="*/ 158401 h 250507"/>
                  <a:gd name="connsiteX52" fmla="*/ 959072 w 3123248"/>
                  <a:gd name="connsiteY52" fmla="*/ 158401 h 250507"/>
                  <a:gd name="connsiteX53" fmla="*/ 959072 w 3123248"/>
                  <a:gd name="connsiteY53" fmla="*/ 164592 h 250507"/>
                  <a:gd name="connsiteX54" fmla="*/ 1228249 w 3123248"/>
                  <a:gd name="connsiteY54" fmla="*/ 164592 h 250507"/>
                  <a:gd name="connsiteX55" fmla="*/ 1228249 w 3123248"/>
                  <a:gd name="connsiteY55" fmla="*/ 170878 h 250507"/>
                  <a:gd name="connsiteX56" fmla="*/ 1301877 w 3123248"/>
                  <a:gd name="connsiteY56" fmla="*/ 170878 h 250507"/>
                  <a:gd name="connsiteX57" fmla="*/ 1301877 w 3123248"/>
                  <a:gd name="connsiteY57" fmla="*/ 177165 h 250507"/>
                  <a:gd name="connsiteX58" fmla="*/ 1381792 w 3123248"/>
                  <a:gd name="connsiteY58" fmla="*/ 177165 h 250507"/>
                  <a:gd name="connsiteX59" fmla="*/ 1381792 w 3123248"/>
                  <a:gd name="connsiteY59" fmla="*/ 183451 h 250507"/>
                  <a:gd name="connsiteX60" fmla="*/ 1543717 w 3123248"/>
                  <a:gd name="connsiteY60" fmla="*/ 183451 h 250507"/>
                  <a:gd name="connsiteX61" fmla="*/ 1543717 w 3123248"/>
                  <a:gd name="connsiteY61" fmla="*/ 189928 h 250507"/>
                  <a:gd name="connsiteX62" fmla="*/ 1560576 w 3123248"/>
                  <a:gd name="connsiteY62" fmla="*/ 189928 h 250507"/>
                  <a:gd name="connsiteX63" fmla="*/ 1560576 w 3123248"/>
                  <a:gd name="connsiteY63" fmla="*/ 196310 h 250507"/>
                  <a:gd name="connsiteX64" fmla="*/ 1678400 w 3123248"/>
                  <a:gd name="connsiteY64" fmla="*/ 196310 h 250507"/>
                  <a:gd name="connsiteX65" fmla="*/ 1678400 w 3123248"/>
                  <a:gd name="connsiteY65" fmla="*/ 202787 h 250507"/>
                  <a:gd name="connsiteX66" fmla="*/ 1770888 w 3123248"/>
                  <a:gd name="connsiteY66" fmla="*/ 202787 h 250507"/>
                  <a:gd name="connsiteX67" fmla="*/ 1770888 w 3123248"/>
                  <a:gd name="connsiteY67" fmla="*/ 209169 h 250507"/>
                  <a:gd name="connsiteX68" fmla="*/ 1789843 w 3123248"/>
                  <a:gd name="connsiteY68" fmla="*/ 209169 h 250507"/>
                  <a:gd name="connsiteX69" fmla="*/ 1789843 w 3123248"/>
                  <a:gd name="connsiteY69" fmla="*/ 215646 h 250507"/>
                  <a:gd name="connsiteX70" fmla="*/ 2643664 w 3123248"/>
                  <a:gd name="connsiteY70" fmla="*/ 215646 h 250507"/>
                  <a:gd name="connsiteX71" fmla="*/ 2643664 w 3123248"/>
                  <a:gd name="connsiteY71" fmla="*/ 250507 h 250507"/>
                  <a:gd name="connsiteX72" fmla="*/ 3123248 w 3123248"/>
                  <a:gd name="connsiteY72" fmla="*/ 250507 h 250507"/>
                  <a:gd name="connsiteX0" fmla="*/ 0 w 3123248"/>
                  <a:gd name="connsiteY0" fmla="*/ 0 h 250507"/>
                  <a:gd name="connsiteX1" fmla="*/ 0 w 3123248"/>
                  <a:gd name="connsiteY1" fmla="*/ 6096 h 250507"/>
                  <a:gd name="connsiteX2" fmla="*/ 6382 w 3123248"/>
                  <a:gd name="connsiteY2" fmla="*/ 12192 h 250507"/>
                  <a:gd name="connsiteX3" fmla="*/ 14764 w 3123248"/>
                  <a:gd name="connsiteY3" fmla="*/ 12192 h 250507"/>
                  <a:gd name="connsiteX4" fmla="*/ 14764 w 3123248"/>
                  <a:gd name="connsiteY4" fmla="*/ 18193 h 250507"/>
                  <a:gd name="connsiteX5" fmla="*/ 23146 w 3123248"/>
                  <a:gd name="connsiteY5" fmla="*/ 18193 h 250507"/>
                  <a:gd name="connsiteX6" fmla="*/ 23146 w 3123248"/>
                  <a:gd name="connsiteY6" fmla="*/ 24289 h 250507"/>
                  <a:gd name="connsiteX7" fmla="*/ 27337 w 3123248"/>
                  <a:gd name="connsiteY7" fmla="*/ 24289 h 250507"/>
                  <a:gd name="connsiteX8" fmla="*/ 27337 w 3123248"/>
                  <a:gd name="connsiteY8" fmla="*/ 30385 h 250507"/>
                  <a:gd name="connsiteX9" fmla="*/ 100965 w 3123248"/>
                  <a:gd name="connsiteY9" fmla="*/ 30385 h 250507"/>
                  <a:gd name="connsiteX10" fmla="*/ 100965 w 3123248"/>
                  <a:gd name="connsiteY10" fmla="*/ 36385 h 250507"/>
                  <a:gd name="connsiteX11" fmla="*/ 122015 w 3123248"/>
                  <a:gd name="connsiteY11" fmla="*/ 36385 h 250507"/>
                  <a:gd name="connsiteX12" fmla="*/ 122015 w 3123248"/>
                  <a:gd name="connsiteY12" fmla="*/ 42481 h 250507"/>
                  <a:gd name="connsiteX13" fmla="*/ 128302 w 3123248"/>
                  <a:gd name="connsiteY13" fmla="*/ 42481 h 250507"/>
                  <a:gd name="connsiteX14" fmla="*/ 128302 w 3123248"/>
                  <a:gd name="connsiteY14" fmla="*/ 48577 h 250507"/>
                  <a:gd name="connsiteX15" fmla="*/ 170402 w 3123248"/>
                  <a:gd name="connsiteY15" fmla="*/ 48577 h 250507"/>
                  <a:gd name="connsiteX16" fmla="*/ 170402 w 3123248"/>
                  <a:gd name="connsiteY16" fmla="*/ 54578 h 250507"/>
                  <a:gd name="connsiteX17" fmla="*/ 185071 w 3123248"/>
                  <a:gd name="connsiteY17" fmla="*/ 54578 h 250507"/>
                  <a:gd name="connsiteX18" fmla="*/ 185071 w 3123248"/>
                  <a:gd name="connsiteY18" fmla="*/ 60674 h 250507"/>
                  <a:gd name="connsiteX19" fmla="*/ 214598 w 3123248"/>
                  <a:gd name="connsiteY19" fmla="*/ 60674 h 250507"/>
                  <a:gd name="connsiteX20" fmla="*/ 214598 w 3123248"/>
                  <a:gd name="connsiteY20" fmla="*/ 66770 h 250507"/>
                  <a:gd name="connsiteX21" fmla="*/ 216694 w 3123248"/>
                  <a:gd name="connsiteY21" fmla="*/ 66770 h 250507"/>
                  <a:gd name="connsiteX22" fmla="*/ 216694 w 3123248"/>
                  <a:gd name="connsiteY22" fmla="*/ 72771 h 250507"/>
                  <a:gd name="connsiteX23" fmla="*/ 239744 w 3123248"/>
                  <a:gd name="connsiteY23" fmla="*/ 72771 h 250507"/>
                  <a:gd name="connsiteX24" fmla="*/ 239744 w 3123248"/>
                  <a:gd name="connsiteY24" fmla="*/ 78867 h 250507"/>
                  <a:gd name="connsiteX25" fmla="*/ 252413 w 3123248"/>
                  <a:gd name="connsiteY25" fmla="*/ 78867 h 250507"/>
                  <a:gd name="connsiteX26" fmla="*/ 252413 w 3123248"/>
                  <a:gd name="connsiteY26" fmla="*/ 84963 h 250507"/>
                  <a:gd name="connsiteX27" fmla="*/ 288131 w 3123248"/>
                  <a:gd name="connsiteY27" fmla="*/ 84963 h 250507"/>
                  <a:gd name="connsiteX28" fmla="*/ 288131 w 3123248"/>
                  <a:gd name="connsiteY28" fmla="*/ 91059 h 250507"/>
                  <a:gd name="connsiteX29" fmla="*/ 403860 w 3123248"/>
                  <a:gd name="connsiteY29" fmla="*/ 91059 h 250507"/>
                  <a:gd name="connsiteX30" fmla="*/ 403860 w 3123248"/>
                  <a:gd name="connsiteY30" fmla="*/ 97060 h 250507"/>
                  <a:gd name="connsiteX31" fmla="*/ 441674 w 3123248"/>
                  <a:gd name="connsiteY31" fmla="*/ 97060 h 250507"/>
                  <a:gd name="connsiteX32" fmla="*/ 441674 w 3123248"/>
                  <a:gd name="connsiteY32" fmla="*/ 103251 h 250507"/>
                  <a:gd name="connsiteX33" fmla="*/ 494252 w 3123248"/>
                  <a:gd name="connsiteY33" fmla="*/ 103251 h 250507"/>
                  <a:gd name="connsiteX34" fmla="*/ 494252 w 3123248"/>
                  <a:gd name="connsiteY34" fmla="*/ 109347 h 250507"/>
                  <a:gd name="connsiteX35" fmla="*/ 513207 w 3123248"/>
                  <a:gd name="connsiteY35" fmla="*/ 109347 h 250507"/>
                  <a:gd name="connsiteX36" fmla="*/ 513207 w 3123248"/>
                  <a:gd name="connsiteY36" fmla="*/ 115443 h 250507"/>
                  <a:gd name="connsiteX37" fmla="*/ 523685 w 3123248"/>
                  <a:gd name="connsiteY37" fmla="*/ 115443 h 250507"/>
                  <a:gd name="connsiteX38" fmla="*/ 523685 w 3123248"/>
                  <a:gd name="connsiteY38" fmla="*/ 121634 h 250507"/>
                  <a:gd name="connsiteX39" fmla="*/ 557403 w 3123248"/>
                  <a:gd name="connsiteY39" fmla="*/ 121634 h 250507"/>
                  <a:gd name="connsiteX40" fmla="*/ 557403 w 3123248"/>
                  <a:gd name="connsiteY40" fmla="*/ 127730 h 250507"/>
                  <a:gd name="connsiteX41" fmla="*/ 563690 w 3123248"/>
                  <a:gd name="connsiteY41" fmla="*/ 127730 h 250507"/>
                  <a:gd name="connsiteX42" fmla="*/ 563690 w 3123248"/>
                  <a:gd name="connsiteY42" fmla="*/ 133826 h 250507"/>
                  <a:gd name="connsiteX43" fmla="*/ 578358 w 3123248"/>
                  <a:gd name="connsiteY43" fmla="*/ 133826 h 250507"/>
                  <a:gd name="connsiteX44" fmla="*/ 578358 w 3123248"/>
                  <a:gd name="connsiteY44" fmla="*/ 139922 h 250507"/>
                  <a:gd name="connsiteX45" fmla="*/ 591026 w 3123248"/>
                  <a:gd name="connsiteY45" fmla="*/ 139922 h 250507"/>
                  <a:gd name="connsiteX46" fmla="*/ 591026 w 3123248"/>
                  <a:gd name="connsiteY46" fmla="*/ 146113 h 250507"/>
                  <a:gd name="connsiteX47" fmla="*/ 616268 w 3123248"/>
                  <a:gd name="connsiteY47" fmla="*/ 146113 h 250507"/>
                  <a:gd name="connsiteX48" fmla="*/ 616268 w 3123248"/>
                  <a:gd name="connsiteY48" fmla="*/ 152209 h 250507"/>
                  <a:gd name="connsiteX49" fmla="*/ 845534 w 3123248"/>
                  <a:gd name="connsiteY49" fmla="*/ 152209 h 250507"/>
                  <a:gd name="connsiteX50" fmla="*/ 845534 w 3123248"/>
                  <a:gd name="connsiteY50" fmla="*/ 158401 h 250507"/>
                  <a:gd name="connsiteX51" fmla="*/ 959072 w 3123248"/>
                  <a:gd name="connsiteY51" fmla="*/ 158401 h 250507"/>
                  <a:gd name="connsiteX52" fmla="*/ 959072 w 3123248"/>
                  <a:gd name="connsiteY52" fmla="*/ 164592 h 250507"/>
                  <a:gd name="connsiteX53" fmla="*/ 1228249 w 3123248"/>
                  <a:gd name="connsiteY53" fmla="*/ 164592 h 250507"/>
                  <a:gd name="connsiteX54" fmla="*/ 1228249 w 3123248"/>
                  <a:gd name="connsiteY54" fmla="*/ 170878 h 250507"/>
                  <a:gd name="connsiteX55" fmla="*/ 1301877 w 3123248"/>
                  <a:gd name="connsiteY55" fmla="*/ 170878 h 250507"/>
                  <a:gd name="connsiteX56" fmla="*/ 1301877 w 3123248"/>
                  <a:gd name="connsiteY56" fmla="*/ 177165 h 250507"/>
                  <a:gd name="connsiteX57" fmla="*/ 1381792 w 3123248"/>
                  <a:gd name="connsiteY57" fmla="*/ 177165 h 250507"/>
                  <a:gd name="connsiteX58" fmla="*/ 1381792 w 3123248"/>
                  <a:gd name="connsiteY58" fmla="*/ 183451 h 250507"/>
                  <a:gd name="connsiteX59" fmla="*/ 1543717 w 3123248"/>
                  <a:gd name="connsiteY59" fmla="*/ 183451 h 250507"/>
                  <a:gd name="connsiteX60" fmla="*/ 1543717 w 3123248"/>
                  <a:gd name="connsiteY60" fmla="*/ 189928 h 250507"/>
                  <a:gd name="connsiteX61" fmla="*/ 1560576 w 3123248"/>
                  <a:gd name="connsiteY61" fmla="*/ 189928 h 250507"/>
                  <a:gd name="connsiteX62" fmla="*/ 1560576 w 3123248"/>
                  <a:gd name="connsiteY62" fmla="*/ 196310 h 250507"/>
                  <a:gd name="connsiteX63" fmla="*/ 1678400 w 3123248"/>
                  <a:gd name="connsiteY63" fmla="*/ 196310 h 250507"/>
                  <a:gd name="connsiteX64" fmla="*/ 1678400 w 3123248"/>
                  <a:gd name="connsiteY64" fmla="*/ 202787 h 250507"/>
                  <a:gd name="connsiteX65" fmla="*/ 1770888 w 3123248"/>
                  <a:gd name="connsiteY65" fmla="*/ 202787 h 250507"/>
                  <a:gd name="connsiteX66" fmla="*/ 1770888 w 3123248"/>
                  <a:gd name="connsiteY66" fmla="*/ 209169 h 250507"/>
                  <a:gd name="connsiteX67" fmla="*/ 1789843 w 3123248"/>
                  <a:gd name="connsiteY67" fmla="*/ 209169 h 250507"/>
                  <a:gd name="connsiteX68" fmla="*/ 1789843 w 3123248"/>
                  <a:gd name="connsiteY68" fmla="*/ 215646 h 250507"/>
                  <a:gd name="connsiteX69" fmla="*/ 2643664 w 3123248"/>
                  <a:gd name="connsiteY69" fmla="*/ 215646 h 250507"/>
                  <a:gd name="connsiteX70" fmla="*/ 2643664 w 3123248"/>
                  <a:gd name="connsiteY70" fmla="*/ 250507 h 250507"/>
                  <a:gd name="connsiteX71" fmla="*/ 3123248 w 3123248"/>
                  <a:gd name="connsiteY71" fmla="*/ 250507 h 250507"/>
                  <a:gd name="connsiteX0" fmla="*/ 0 w 3123248"/>
                  <a:gd name="connsiteY0" fmla="*/ 0 h 250507"/>
                  <a:gd name="connsiteX1" fmla="*/ 6382 w 3123248"/>
                  <a:gd name="connsiteY1" fmla="*/ 12192 h 250507"/>
                  <a:gd name="connsiteX2" fmla="*/ 14764 w 3123248"/>
                  <a:gd name="connsiteY2" fmla="*/ 12192 h 250507"/>
                  <a:gd name="connsiteX3" fmla="*/ 14764 w 3123248"/>
                  <a:gd name="connsiteY3" fmla="*/ 18193 h 250507"/>
                  <a:gd name="connsiteX4" fmla="*/ 23146 w 3123248"/>
                  <a:gd name="connsiteY4" fmla="*/ 18193 h 250507"/>
                  <a:gd name="connsiteX5" fmla="*/ 23146 w 3123248"/>
                  <a:gd name="connsiteY5" fmla="*/ 24289 h 250507"/>
                  <a:gd name="connsiteX6" fmla="*/ 27337 w 3123248"/>
                  <a:gd name="connsiteY6" fmla="*/ 24289 h 250507"/>
                  <a:gd name="connsiteX7" fmla="*/ 27337 w 3123248"/>
                  <a:gd name="connsiteY7" fmla="*/ 30385 h 250507"/>
                  <a:gd name="connsiteX8" fmla="*/ 100965 w 3123248"/>
                  <a:gd name="connsiteY8" fmla="*/ 30385 h 250507"/>
                  <a:gd name="connsiteX9" fmla="*/ 100965 w 3123248"/>
                  <a:gd name="connsiteY9" fmla="*/ 36385 h 250507"/>
                  <a:gd name="connsiteX10" fmla="*/ 122015 w 3123248"/>
                  <a:gd name="connsiteY10" fmla="*/ 36385 h 250507"/>
                  <a:gd name="connsiteX11" fmla="*/ 122015 w 3123248"/>
                  <a:gd name="connsiteY11" fmla="*/ 42481 h 250507"/>
                  <a:gd name="connsiteX12" fmla="*/ 128302 w 3123248"/>
                  <a:gd name="connsiteY12" fmla="*/ 42481 h 250507"/>
                  <a:gd name="connsiteX13" fmla="*/ 128302 w 3123248"/>
                  <a:gd name="connsiteY13" fmla="*/ 48577 h 250507"/>
                  <a:gd name="connsiteX14" fmla="*/ 170402 w 3123248"/>
                  <a:gd name="connsiteY14" fmla="*/ 48577 h 250507"/>
                  <a:gd name="connsiteX15" fmla="*/ 170402 w 3123248"/>
                  <a:gd name="connsiteY15" fmla="*/ 54578 h 250507"/>
                  <a:gd name="connsiteX16" fmla="*/ 185071 w 3123248"/>
                  <a:gd name="connsiteY16" fmla="*/ 54578 h 250507"/>
                  <a:gd name="connsiteX17" fmla="*/ 185071 w 3123248"/>
                  <a:gd name="connsiteY17" fmla="*/ 60674 h 250507"/>
                  <a:gd name="connsiteX18" fmla="*/ 214598 w 3123248"/>
                  <a:gd name="connsiteY18" fmla="*/ 60674 h 250507"/>
                  <a:gd name="connsiteX19" fmla="*/ 214598 w 3123248"/>
                  <a:gd name="connsiteY19" fmla="*/ 66770 h 250507"/>
                  <a:gd name="connsiteX20" fmla="*/ 216694 w 3123248"/>
                  <a:gd name="connsiteY20" fmla="*/ 66770 h 250507"/>
                  <a:gd name="connsiteX21" fmla="*/ 216694 w 3123248"/>
                  <a:gd name="connsiteY21" fmla="*/ 72771 h 250507"/>
                  <a:gd name="connsiteX22" fmla="*/ 239744 w 3123248"/>
                  <a:gd name="connsiteY22" fmla="*/ 72771 h 250507"/>
                  <a:gd name="connsiteX23" fmla="*/ 239744 w 3123248"/>
                  <a:gd name="connsiteY23" fmla="*/ 78867 h 250507"/>
                  <a:gd name="connsiteX24" fmla="*/ 252413 w 3123248"/>
                  <a:gd name="connsiteY24" fmla="*/ 78867 h 250507"/>
                  <a:gd name="connsiteX25" fmla="*/ 252413 w 3123248"/>
                  <a:gd name="connsiteY25" fmla="*/ 84963 h 250507"/>
                  <a:gd name="connsiteX26" fmla="*/ 288131 w 3123248"/>
                  <a:gd name="connsiteY26" fmla="*/ 84963 h 250507"/>
                  <a:gd name="connsiteX27" fmla="*/ 288131 w 3123248"/>
                  <a:gd name="connsiteY27" fmla="*/ 91059 h 250507"/>
                  <a:gd name="connsiteX28" fmla="*/ 403860 w 3123248"/>
                  <a:gd name="connsiteY28" fmla="*/ 91059 h 250507"/>
                  <a:gd name="connsiteX29" fmla="*/ 403860 w 3123248"/>
                  <a:gd name="connsiteY29" fmla="*/ 97060 h 250507"/>
                  <a:gd name="connsiteX30" fmla="*/ 441674 w 3123248"/>
                  <a:gd name="connsiteY30" fmla="*/ 97060 h 250507"/>
                  <a:gd name="connsiteX31" fmla="*/ 441674 w 3123248"/>
                  <a:gd name="connsiteY31" fmla="*/ 103251 h 250507"/>
                  <a:gd name="connsiteX32" fmla="*/ 494252 w 3123248"/>
                  <a:gd name="connsiteY32" fmla="*/ 103251 h 250507"/>
                  <a:gd name="connsiteX33" fmla="*/ 494252 w 3123248"/>
                  <a:gd name="connsiteY33" fmla="*/ 109347 h 250507"/>
                  <a:gd name="connsiteX34" fmla="*/ 513207 w 3123248"/>
                  <a:gd name="connsiteY34" fmla="*/ 109347 h 250507"/>
                  <a:gd name="connsiteX35" fmla="*/ 513207 w 3123248"/>
                  <a:gd name="connsiteY35" fmla="*/ 115443 h 250507"/>
                  <a:gd name="connsiteX36" fmla="*/ 523685 w 3123248"/>
                  <a:gd name="connsiteY36" fmla="*/ 115443 h 250507"/>
                  <a:gd name="connsiteX37" fmla="*/ 523685 w 3123248"/>
                  <a:gd name="connsiteY37" fmla="*/ 121634 h 250507"/>
                  <a:gd name="connsiteX38" fmla="*/ 557403 w 3123248"/>
                  <a:gd name="connsiteY38" fmla="*/ 121634 h 250507"/>
                  <a:gd name="connsiteX39" fmla="*/ 557403 w 3123248"/>
                  <a:gd name="connsiteY39" fmla="*/ 127730 h 250507"/>
                  <a:gd name="connsiteX40" fmla="*/ 563690 w 3123248"/>
                  <a:gd name="connsiteY40" fmla="*/ 127730 h 250507"/>
                  <a:gd name="connsiteX41" fmla="*/ 563690 w 3123248"/>
                  <a:gd name="connsiteY41" fmla="*/ 133826 h 250507"/>
                  <a:gd name="connsiteX42" fmla="*/ 578358 w 3123248"/>
                  <a:gd name="connsiteY42" fmla="*/ 133826 h 250507"/>
                  <a:gd name="connsiteX43" fmla="*/ 578358 w 3123248"/>
                  <a:gd name="connsiteY43" fmla="*/ 139922 h 250507"/>
                  <a:gd name="connsiteX44" fmla="*/ 591026 w 3123248"/>
                  <a:gd name="connsiteY44" fmla="*/ 139922 h 250507"/>
                  <a:gd name="connsiteX45" fmla="*/ 591026 w 3123248"/>
                  <a:gd name="connsiteY45" fmla="*/ 146113 h 250507"/>
                  <a:gd name="connsiteX46" fmla="*/ 616268 w 3123248"/>
                  <a:gd name="connsiteY46" fmla="*/ 146113 h 250507"/>
                  <a:gd name="connsiteX47" fmla="*/ 616268 w 3123248"/>
                  <a:gd name="connsiteY47" fmla="*/ 152209 h 250507"/>
                  <a:gd name="connsiteX48" fmla="*/ 845534 w 3123248"/>
                  <a:gd name="connsiteY48" fmla="*/ 152209 h 250507"/>
                  <a:gd name="connsiteX49" fmla="*/ 845534 w 3123248"/>
                  <a:gd name="connsiteY49" fmla="*/ 158401 h 250507"/>
                  <a:gd name="connsiteX50" fmla="*/ 959072 w 3123248"/>
                  <a:gd name="connsiteY50" fmla="*/ 158401 h 250507"/>
                  <a:gd name="connsiteX51" fmla="*/ 959072 w 3123248"/>
                  <a:gd name="connsiteY51" fmla="*/ 164592 h 250507"/>
                  <a:gd name="connsiteX52" fmla="*/ 1228249 w 3123248"/>
                  <a:gd name="connsiteY52" fmla="*/ 164592 h 250507"/>
                  <a:gd name="connsiteX53" fmla="*/ 1228249 w 3123248"/>
                  <a:gd name="connsiteY53" fmla="*/ 170878 h 250507"/>
                  <a:gd name="connsiteX54" fmla="*/ 1301877 w 3123248"/>
                  <a:gd name="connsiteY54" fmla="*/ 170878 h 250507"/>
                  <a:gd name="connsiteX55" fmla="*/ 1301877 w 3123248"/>
                  <a:gd name="connsiteY55" fmla="*/ 177165 h 250507"/>
                  <a:gd name="connsiteX56" fmla="*/ 1381792 w 3123248"/>
                  <a:gd name="connsiteY56" fmla="*/ 177165 h 250507"/>
                  <a:gd name="connsiteX57" fmla="*/ 1381792 w 3123248"/>
                  <a:gd name="connsiteY57" fmla="*/ 183451 h 250507"/>
                  <a:gd name="connsiteX58" fmla="*/ 1543717 w 3123248"/>
                  <a:gd name="connsiteY58" fmla="*/ 183451 h 250507"/>
                  <a:gd name="connsiteX59" fmla="*/ 1543717 w 3123248"/>
                  <a:gd name="connsiteY59" fmla="*/ 189928 h 250507"/>
                  <a:gd name="connsiteX60" fmla="*/ 1560576 w 3123248"/>
                  <a:gd name="connsiteY60" fmla="*/ 189928 h 250507"/>
                  <a:gd name="connsiteX61" fmla="*/ 1560576 w 3123248"/>
                  <a:gd name="connsiteY61" fmla="*/ 196310 h 250507"/>
                  <a:gd name="connsiteX62" fmla="*/ 1678400 w 3123248"/>
                  <a:gd name="connsiteY62" fmla="*/ 196310 h 250507"/>
                  <a:gd name="connsiteX63" fmla="*/ 1678400 w 3123248"/>
                  <a:gd name="connsiteY63" fmla="*/ 202787 h 250507"/>
                  <a:gd name="connsiteX64" fmla="*/ 1770888 w 3123248"/>
                  <a:gd name="connsiteY64" fmla="*/ 202787 h 250507"/>
                  <a:gd name="connsiteX65" fmla="*/ 1770888 w 3123248"/>
                  <a:gd name="connsiteY65" fmla="*/ 209169 h 250507"/>
                  <a:gd name="connsiteX66" fmla="*/ 1789843 w 3123248"/>
                  <a:gd name="connsiteY66" fmla="*/ 209169 h 250507"/>
                  <a:gd name="connsiteX67" fmla="*/ 1789843 w 3123248"/>
                  <a:gd name="connsiteY67" fmla="*/ 215646 h 250507"/>
                  <a:gd name="connsiteX68" fmla="*/ 2643664 w 3123248"/>
                  <a:gd name="connsiteY68" fmla="*/ 215646 h 250507"/>
                  <a:gd name="connsiteX69" fmla="*/ 2643664 w 3123248"/>
                  <a:gd name="connsiteY69" fmla="*/ 250507 h 250507"/>
                  <a:gd name="connsiteX70" fmla="*/ 3123248 w 3123248"/>
                  <a:gd name="connsiteY70" fmla="*/ 250507 h 250507"/>
                  <a:gd name="connsiteX0" fmla="*/ 0 w 3116866"/>
                  <a:gd name="connsiteY0" fmla="*/ 0 h 238315"/>
                  <a:gd name="connsiteX1" fmla="*/ 8382 w 3116866"/>
                  <a:gd name="connsiteY1" fmla="*/ 0 h 238315"/>
                  <a:gd name="connsiteX2" fmla="*/ 8382 w 3116866"/>
                  <a:gd name="connsiteY2" fmla="*/ 6001 h 238315"/>
                  <a:gd name="connsiteX3" fmla="*/ 16764 w 3116866"/>
                  <a:gd name="connsiteY3" fmla="*/ 6001 h 238315"/>
                  <a:gd name="connsiteX4" fmla="*/ 16764 w 3116866"/>
                  <a:gd name="connsiteY4" fmla="*/ 12097 h 238315"/>
                  <a:gd name="connsiteX5" fmla="*/ 20955 w 3116866"/>
                  <a:gd name="connsiteY5" fmla="*/ 12097 h 238315"/>
                  <a:gd name="connsiteX6" fmla="*/ 20955 w 3116866"/>
                  <a:gd name="connsiteY6" fmla="*/ 18193 h 238315"/>
                  <a:gd name="connsiteX7" fmla="*/ 94583 w 3116866"/>
                  <a:gd name="connsiteY7" fmla="*/ 18193 h 238315"/>
                  <a:gd name="connsiteX8" fmla="*/ 94583 w 3116866"/>
                  <a:gd name="connsiteY8" fmla="*/ 24193 h 238315"/>
                  <a:gd name="connsiteX9" fmla="*/ 115633 w 3116866"/>
                  <a:gd name="connsiteY9" fmla="*/ 24193 h 238315"/>
                  <a:gd name="connsiteX10" fmla="*/ 115633 w 3116866"/>
                  <a:gd name="connsiteY10" fmla="*/ 30289 h 238315"/>
                  <a:gd name="connsiteX11" fmla="*/ 121920 w 3116866"/>
                  <a:gd name="connsiteY11" fmla="*/ 30289 h 238315"/>
                  <a:gd name="connsiteX12" fmla="*/ 121920 w 3116866"/>
                  <a:gd name="connsiteY12" fmla="*/ 36385 h 238315"/>
                  <a:gd name="connsiteX13" fmla="*/ 164020 w 3116866"/>
                  <a:gd name="connsiteY13" fmla="*/ 36385 h 238315"/>
                  <a:gd name="connsiteX14" fmla="*/ 164020 w 3116866"/>
                  <a:gd name="connsiteY14" fmla="*/ 42386 h 238315"/>
                  <a:gd name="connsiteX15" fmla="*/ 178689 w 3116866"/>
                  <a:gd name="connsiteY15" fmla="*/ 42386 h 238315"/>
                  <a:gd name="connsiteX16" fmla="*/ 178689 w 3116866"/>
                  <a:gd name="connsiteY16" fmla="*/ 48482 h 238315"/>
                  <a:gd name="connsiteX17" fmla="*/ 208216 w 3116866"/>
                  <a:gd name="connsiteY17" fmla="*/ 48482 h 238315"/>
                  <a:gd name="connsiteX18" fmla="*/ 208216 w 3116866"/>
                  <a:gd name="connsiteY18" fmla="*/ 54578 h 238315"/>
                  <a:gd name="connsiteX19" fmla="*/ 210312 w 3116866"/>
                  <a:gd name="connsiteY19" fmla="*/ 54578 h 238315"/>
                  <a:gd name="connsiteX20" fmla="*/ 210312 w 3116866"/>
                  <a:gd name="connsiteY20" fmla="*/ 60579 h 238315"/>
                  <a:gd name="connsiteX21" fmla="*/ 233362 w 3116866"/>
                  <a:gd name="connsiteY21" fmla="*/ 60579 h 238315"/>
                  <a:gd name="connsiteX22" fmla="*/ 233362 w 3116866"/>
                  <a:gd name="connsiteY22" fmla="*/ 66675 h 238315"/>
                  <a:gd name="connsiteX23" fmla="*/ 246031 w 3116866"/>
                  <a:gd name="connsiteY23" fmla="*/ 66675 h 238315"/>
                  <a:gd name="connsiteX24" fmla="*/ 246031 w 3116866"/>
                  <a:gd name="connsiteY24" fmla="*/ 72771 h 238315"/>
                  <a:gd name="connsiteX25" fmla="*/ 281749 w 3116866"/>
                  <a:gd name="connsiteY25" fmla="*/ 72771 h 238315"/>
                  <a:gd name="connsiteX26" fmla="*/ 281749 w 3116866"/>
                  <a:gd name="connsiteY26" fmla="*/ 78867 h 238315"/>
                  <a:gd name="connsiteX27" fmla="*/ 397478 w 3116866"/>
                  <a:gd name="connsiteY27" fmla="*/ 78867 h 238315"/>
                  <a:gd name="connsiteX28" fmla="*/ 397478 w 3116866"/>
                  <a:gd name="connsiteY28" fmla="*/ 84868 h 238315"/>
                  <a:gd name="connsiteX29" fmla="*/ 435292 w 3116866"/>
                  <a:gd name="connsiteY29" fmla="*/ 84868 h 238315"/>
                  <a:gd name="connsiteX30" fmla="*/ 435292 w 3116866"/>
                  <a:gd name="connsiteY30" fmla="*/ 91059 h 238315"/>
                  <a:gd name="connsiteX31" fmla="*/ 487870 w 3116866"/>
                  <a:gd name="connsiteY31" fmla="*/ 91059 h 238315"/>
                  <a:gd name="connsiteX32" fmla="*/ 487870 w 3116866"/>
                  <a:gd name="connsiteY32" fmla="*/ 97155 h 238315"/>
                  <a:gd name="connsiteX33" fmla="*/ 506825 w 3116866"/>
                  <a:gd name="connsiteY33" fmla="*/ 97155 h 238315"/>
                  <a:gd name="connsiteX34" fmla="*/ 506825 w 3116866"/>
                  <a:gd name="connsiteY34" fmla="*/ 103251 h 238315"/>
                  <a:gd name="connsiteX35" fmla="*/ 517303 w 3116866"/>
                  <a:gd name="connsiteY35" fmla="*/ 103251 h 238315"/>
                  <a:gd name="connsiteX36" fmla="*/ 517303 w 3116866"/>
                  <a:gd name="connsiteY36" fmla="*/ 109442 h 238315"/>
                  <a:gd name="connsiteX37" fmla="*/ 551021 w 3116866"/>
                  <a:gd name="connsiteY37" fmla="*/ 109442 h 238315"/>
                  <a:gd name="connsiteX38" fmla="*/ 551021 w 3116866"/>
                  <a:gd name="connsiteY38" fmla="*/ 115538 h 238315"/>
                  <a:gd name="connsiteX39" fmla="*/ 557308 w 3116866"/>
                  <a:gd name="connsiteY39" fmla="*/ 115538 h 238315"/>
                  <a:gd name="connsiteX40" fmla="*/ 557308 w 3116866"/>
                  <a:gd name="connsiteY40" fmla="*/ 121634 h 238315"/>
                  <a:gd name="connsiteX41" fmla="*/ 571976 w 3116866"/>
                  <a:gd name="connsiteY41" fmla="*/ 121634 h 238315"/>
                  <a:gd name="connsiteX42" fmla="*/ 571976 w 3116866"/>
                  <a:gd name="connsiteY42" fmla="*/ 127730 h 238315"/>
                  <a:gd name="connsiteX43" fmla="*/ 584644 w 3116866"/>
                  <a:gd name="connsiteY43" fmla="*/ 127730 h 238315"/>
                  <a:gd name="connsiteX44" fmla="*/ 584644 w 3116866"/>
                  <a:gd name="connsiteY44" fmla="*/ 133921 h 238315"/>
                  <a:gd name="connsiteX45" fmla="*/ 609886 w 3116866"/>
                  <a:gd name="connsiteY45" fmla="*/ 133921 h 238315"/>
                  <a:gd name="connsiteX46" fmla="*/ 609886 w 3116866"/>
                  <a:gd name="connsiteY46" fmla="*/ 140017 h 238315"/>
                  <a:gd name="connsiteX47" fmla="*/ 839152 w 3116866"/>
                  <a:gd name="connsiteY47" fmla="*/ 140017 h 238315"/>
                  <a:gd name="connsiteX48" fmla="*/ 839152 w 3116866"/>
                  <a:gd name="connsiteY48" fmla="*/ 146209 h 238315"/>
                  <a:gd name="connsiteX49" fmla="*/ 952690 w 3116866"/>
                  <a:gd name="connsiteY49" fmla="*/ 146209 h 238315"/>
                  <a:gd name="connsiteX50" fmla="*/ 952690 w 3116866"/>
                  <a:gd name="connsiteY50" fmla="*/ 152400 h 238315"/>
                  <a:gd name="connsiteX51" fmla="*/ 1221867 w 3116866"/>
                  <a:gd name="connsiteY51" fmla="*/ 152400 h 238315"/>
                  <a:gd name="connsiteX52" fmla="*/ 1221867 w 3116866"/>
                  <a:gd name="connsiteY52" fmla="*/ 158686 h 238315"/>
                  <a:gd name="connsiteX53" fmla="*/ 1295495 w 3116866"/>
                  <a:gd name="connsiteY53" fmla="*/ 158686 h 238315"/>
                  <a:gd name="connsiteX54" fmla="*/ 1295495 w 3116866"/>
                  <a:gd name="connsiteY54" fmla="*/ 164973 h 238315"/>
                  <a:gd name="connsiteX55" fmla="*/ 1375410 w 3116866"/>
                  <a:gd name="connsiteY55" fmla="*/ 164973 h 238315"/>
                  <a:gd name="connsiteX56" fmla="*/ 1375410 w 3116866"/>
                  <a:gd name="connsiteY56" fmla="*/ 171259 h 238315"/>
                  <a:gd name="connsiteX57" fmla="*/ 1537335 w 3116866"/>
                  <a:gd name="connsiteY57" fmla="*/ 171259 h 238315"/>
                  <a:gd name="connsiteX58" fmla="*/ 1537335 w 3116866"/>
                  <a:gd name="connsiteY58" fmla="*/ 177736 h 238315"/>
                  <a:gd name="connsiteX59" fmla="*/ 1554194 w 3116866"/>
                  <a:gd name="connsiteY59" fmla="*/ 177736 h 238315"/>
                  <a:gd name="connsiteX60" fmla="*/ 1554194 w 3116866"/>
                  <a:gd name="connsiteY60" fmla="*/ 184118 h 238315"/>
                  <a:gd name="connsiteX61" fmla="*/ 1672018 w 3116866"/>
                  <a:gd name="connsiteY61" fmla="*/ 184118 h 238315"/>
                  <a:gd name="connsiteX62" fmla="*/ 1672018 w 3116866"/>
                  <a:gd name="connsiteY62" fmla="*/ 190595 h 238315"/>
                  <a:gd name="connsiteX63" fmla="*/ 1764506 w 3116866"/>
                  <a:gd name="connsiteY63" fmla="*/ 190595 h 238315"/>
                  <a:gd name="connsiteX64" fmla="*/ 1764506 w 3116866"/>
                  <a:gd name="connsiteY64" fmla="*/ 196977 h 238315"/>
                  <a:gd name="connsiteX65" fmla="*/ 1783461 w 3116866"/>
                  <a:gd name="connsiteY65" fmla="*/ 196977 h 238315"/>
                  <a:gd name="connsiteX66" fmla="*/ 1783461 w 3116866"/>
                  <a:gd name="connsiteY66" fmla="*/ 203454 h 238315"/>
                  <a:gd name="connsiteX67" fmla="*/ 2637282 w 3116866"/>
                  <a:gd name="connsiteY67" fmla="*/ 203454 h 238315"/>
                  <a:gd name="connsiteX68" fmla="*/ 2637282 w 3116866"/>
                  <a:gd name="connsiteY68" fmla="*/ 238315 h 238315"/>
                  <a:gd name="connsiteX69" fmla="*/ 3116866 w 3116866"/>
                  <a:gd name="connsiteY69" fmla="*/ 238315 h 238315"/>
                  <a:gd name="connsiteX0" fmla="*/ 0 w 3116866"/>
                  <a:gd name="connsiteY0" fmla="*/ 0 h 238315"/>
                  <a:gd name="connsiteX1" fmla="*/ 8382 w 3116866"/>
                  <a:gd name="connsiteY1" fmla="*/ 6001 h 238315"/>
                  <a:gd name="connsiteX2" fmla="*/ 16764 w 3116866"/>
                  <a:gd name="connsiteY2" fmla="*/ 6001 h 238315"/>
                  <a:gd name="connsiteX3" fmla="*/ 16764 w 3116866"/>
                  <a:gd name="connsiteY3" fmla="*/ 12097 h 238315"/>
                  <a:gd name="connsiteX4" fmla="*/ 20955 w 3116866"/>
                  <a:gd name="connsiteY4" fmla="*/ 12097 h 238315"/>
                  <a:gd name="connsiteX5" fmla="*/ 20955 w 3116866"/>
                  <a:gd name="connsiteY5" fmla="*/ 18193 h 238315"/>
                  <a:gd name="connsiteX6" fmla="*/ 94583 w 3116866"/>
                  <a:gd name="connsiteY6" fmla="*/ 18193 h 238315"/>
                  <a:gd name="connsiteX7" fmla="*/ 94583 w 3116866"/>
                  <a:gd name="connsiteY7" fmla="*/ 24193 h 238315"/>
                  <a:gd name="connsiteX8" fmla="*/ 115633 w 3116866"/>
                  <a:gd name="connsiteY8" fmla="*/ 24193 h 238315"/>
                  <a:gd name="connsiteX9" fmla="*/ 115633 w 3116866"/>
                  <a:gd name="connsiteY9" fmla="*/ 30289 h 238315"/>
                  <a:gd name="connsiteX10" fmla="*/ 121920 w 3116866"/>
                  <a:gd name="connsiteY10" fmla="*/ 30289 h 238315"/>
                  <a:gd name="connsiteX11" fmla="*/ 121920 w 3116866"/>
                  <a:gd name="connsiteY11" fmla="*/ 36385 h 238315"/>
                  <a:gd name="connsiteX12" fmla="*/ 164020 w 3116866"/>
                  <a:gd name="connsiteY12" fmla="*/ 36385 h 238315"/>
                  <a:gd name="connsiteX13" fmla="*/ 164020 w 3116866"/>
                  <a:gd name="connsiteY13" fmla="*/ 42386 h 238315"/>
                  <a:gd name="connsiteX14" fmla="*/ 178689 w 3116866"/>
                  <a:gd name="connsiteY14" fmla="*/ 42386 h 238315"/>
                  <a:gd name="connsiteX15" fmla="*/ 178689 w 3116866"/>
                  <a:gd name="connsiteY15" fmla="*/ 48482 h 238315"/>
                  <a:gd name="connsiteX16" fmla="*/ 208216 w 3116866"/>
                  <a:gd name="connsiteY16" fmla="*/ 48482 h 238315"/>
                  <a:gd name="connsiteX17" fmla="*/ 208216 w 3116866"/>
                  <a:gd name="connsiteY17" fmla="*/ 54578 h 238315"/>
                  <a:gd name="connsiteX18" fmla="*/ 210312 w 3116866"/>
                  <a:gd name="connsiteY18" fmla="*/ 54578 h 238315"/>
                  <a:gd name="connsiteX19" fmla="*/ 210312 w 3116866"/>
                  <a:gd name="connsiteY19" fmla="*/ 60579 h 238315"/>
                  <a:gd name="connsiteX20" fmla="*/ 233362 w 3116866"/>
                  <a:gd name="connsiteY20" fmla="*/ 60579 h 238315"/>
                  <a:gd name="connsiteX21" fmla="*/ 233362 w 3116866"/>
                  <a:gd name="connsiteY21" fmla="*/ 66675 h 238315"/>
                  <a:gd name="connsiteX22" fmla="*/ 246031 w 3116866"/>
                  <a:gd name="connsiteY22" fmla="*/ 66675 h 238315"/>
                  <a:gd name="connsiteX23" fmla="*/ 246031 w 3116866"/>
                  <a:gd name="connsiteY23" fmla="*/ 72771 h 238315"/>
                  <a:gd name="connsiteX24" fmla="*/ 281749 w 3116866"/>
                  <a:gd name="connsiteY24" fmla="*/ 72771 h 238315"/>
                  <a:gd name="connsiteX25" fmla="*/ 281749 w 3116866"/>
                  <a:gd name="connsiteY25" fmla="*/ 78867 h 238315"/>
                  <a:gd name="connsiteX26" fmla="*/ 397478 w 3116866"/>
                  <a:gd name="connsiteY26" fmla="*/ 78867 h 238315"/>
                  <a:gd name="connsiteX27" fmla="*/ 397478 w 3116866"/>
                  <a:gd name="connsiteY27" fmla="*/ 84868 h 238315"/>
                  <a:gd name="connsiteX28" fmla="*/ 435292 w 3116866"/>
                  <a:gd name="connsiteY28" fmla="*/ 84868 h 238315"/>
                  <a:gd name="connsiteX29" fmla="*/ 435292 w 3116866"/>
                  <a:gd name="connsiteY29" fmla="*/ 91059 h 238315"/>
                  <a:gd name="connsiteX30" fmla="*/ 487870 w 3116866"/>
                  <a:gd name="connsiteY30" fmla="*/ 91059 h 238315"/>
                  <a:gd name="connsiteX31" fmla="*/ 487870 w 3116866"/>
                  <a:gd name="connsiteY31" fmla="*/ 97155 h 238315"/>
                  <a:gd name="connsiteX32" fmla="*/ 506825 w 3116866"/>
                  <a:gd name="connsiteY32" fmla="*/ 97155 h 238315"/>
                  <a:gd name="connsiteX33" fmla="*/ 506825 w 3116866"/>
                  <a:gd name="connsiteY33" fmla="*/ 103251 h 238315"/>
                  <a:gd name="connsiteX34" fmla="*/ 517303 w 3116866"/>
                  <a:gd name="connsiteY34" fmla="*/ 103251 h 238315"/>
                  <a:gd name="connsiteX35" fmla="*/ 517303 w 3116866"/>
                  <a:gd name="connsiteY35" fmla="*/ 109442 h 238315"/>
                  <a:gd name="connsiteX36" fmla="*/ 551021 w 3116866"/>
                  <a:gd name="connsiteY36" fmla="*/ 109442 h 238315"/>
                  <a:gd name="connsiteX37" fmla="*/ 551021 w 3116866"/>
                  <a:gd name="connsiteY37" fmla="*/ 115538 h 238315"/>
                  <a:gd name="connsiteX38" fmla="*/ 557308 w 3116866"/>
                  <a:gd name="connsiteY38" fmla="*/ 115538 h 238315"/>
                  <a:gd name="connsiteX39" fmla="*/ 557308 w 3116866"/>
                  <a:gd name="connsiteY39" fmla="*/ 121634 h 238315"/>
                  <a:gd name="connsiteX40" fmla="*/ 571976 w 3116866"/>
                  <a:gd name="connsiteY40" fmla="*/ 121634 h 238315"/>
                  <a:gd name="connsiteX41" fmla="*/ 571976 w 3116866"/>
                  <a:gd name="connsiteY41" fmla="*/ 127730 h 238315"/>
                  <a:gd name="connsiteX42" fmla="*/ 584644 w 3116866"/>
                  <a:gd name="connsiteY42" fmla="*/ 127730 h 238315"/>
                  <a:gd name="connsiteX43" fmla="*/ 584644 w 3116866"/>
                  <a:gd name="connsiteY43" fmla="*/ 133921 h 238315"/>
                  <a:gd name="connsiteX44" fmla="*/ 609886 w 3116866"/>
                  <a:gd name="connsiteY44" fmla="*/ 133921 h 238315"/>
                  <a:gd name="connsiteX45" fmla="*/ 609886 w 3116866"/>
                  <a:gd name="connsiteY45" fmla="*/ 140017 h 238315"/>
                  <a:gd name="connsiteX46" fmla="*/ 839152 w 3116866"/>
                  <a:gd name="connsiteY46" fmla="*/ 140017 h 238315"/>
                  <a:gd name="connsiteX47" fmla="*/ 839152 w 3116866"/>
                  <a:gd name="connsiteY47" fmla="*/ 146209 h 238315"/>
                  <a:gd name="connsiteX48" fmla="*/ 952690 w 3116866"/>
                  <a:gd name="connsiteY48" fmla="*/ 146209 h 238315"/>
                  <a:gd name="connsiteX49" fmla="*/ 952690 w 3116866"/>
                  <a:gd name="connsiteY49" fmla="*/ 152400 h 238315"/>
                  <a:gd name="connsiteX50" fmla="*/ 1221867 w 3116866"/>
                  <a:gd name="connsiteY50" fmla="*/ 152400 h 238315"/>
                  <a:gd name="connsiteX51" fmla="*/ 1221867 w 3116866"/>
                  <a:gd name="connsiteY51" fmla="*/ 158686 h 238315"/>
                  <a:gd name="connsiteX52" fmla="*/ 1295495 w 3116866"/>
                  <a:gd name="connsiteY52" fmla="*/ 158686 h 238315"/>
                  <a:gd name="connsiteX53" fmla="*/ 1295495 w 3116866"/>
                  <a:gd name="connsiteY53" fmla="*/ 164973 h 238315"/>
                  <a:gd name="connsiteX54" fmla="*/ 1375410 w 3116866"/>
                  <a:gd name="connsiteY54" fmla="*/ 164973 h 238315"/>
                  <a:gd name="connsiteX55" fmla="*/ 1375410 w 3116866"/>
                  <a:gd name="connsiteY55" fmla="*/ 171259 h 238315"/>
                  <a:gd name="connsiteX56" fmla="*/ 1537335 w 3116866"/>
                  <a:gd name="connsiteY56" fmla="*/ 171259 h 238315"/>
                  <a:gd name="connsiteX57" fmla="*/ 1537335 w 3116866"/>
                  <a:gd name="connsiteY57" fmla="*/ 177736 h 238315"/>
                  <a:gd name="connsiteX58" fmla="*/ 1554194 w 3116866"/>
                  <a:gd name="connsiteY58" fmla="*/ 177736 h 238315"/>
                  <a:gd name="connsiteX59" fmla="*/ 1554194 w 3116866"/>
                  <a:gd name="connsiteY59" fmla="*/ 184118 h 238315"/>
                  <a:gd name="connsiteX60" fmla="*/ 1672018 w 3116866"/>
                  <a:gd name="connsiteY60" fmla="*/ 184118 h 238315"/>
                  <a:gd name="connsiteX61" fmla="*/ 1672018 w 3116866"/>
                  <a:gd name="connsiteY61" fmla="*/ 190595 h 238315"/>
                  <a:gd name="connsiteX62" fmla="*/ 1764506 w 3116866"/>
                  <a:gd name="connsiteY62" fmla="*/ 190595 h 238315"/>
                  <a:gd name="connsiteX63" fmla="*/ 1764506 w 3116866"/>
                  <a:gd name="connsiteY63" fmla="*/ 196977 h 238315"/>
                  <a:gd name="connsiteX64" fmla="*/ 1783461 w 3116866"/>
                  <a:gd name="connsiteY64" fmla="*/ 196977 h 238315"/>
                  <a:gd name="connsiteX65" fmla="*/ 1783461 w 3116866"/>
                  <a:gd name="connsiteY65" fmla="*/ 203454 h 238315"/>
                  <a:gd name="connsiteX66" fmla="*/ 2637282 w 3116866"/>
                  <a:gd name="connsiteY66" fmla="*/ 203454 h 238315"/>
                  <a:gd name="connsiteX67" fmla="*/ 2637282 w 3116866"/>
                  <a:gd name="connsiteY67" fmla="*/ 238315 h 238315"/>
                  <a:gd name="connsiteX68" fmla="*/ 3116866 w 3116866"/>
                  <a:gd name="connsiteY68" fmla="*/ 238315 h 238315"/>
                  <a:gd name="connsiteX0" fmla="*/ 0 w 3116866"/>
                  <a:gd name="connsiteY0" fmla="*/ 0 h 238315"/>
                  <a:gd name="connsiteX1" fmla="*/ 8382 w 3116866"/>
                  <a:gd name="connsiteY1" fmla="*/ 6001 h 238315"/>
                  <a:gd name="connsiteX2" fmla="*/ 16764 w 3116866"/>
                  <a:gd name="connsiteY2" fmla="*/ 6001 h 238315"/>
                  <a:gd name="connsiteX3" fmla="*/ 20955 w 3116866"/>
                  <a:gd name="connsiteY3" fmla="*/ 12097 h 238315"/>
                  <a:gd name="connsiteX4" fmla="*/ 20955 w 3116866"/>
                  <a:gd name="connsiteY4" fmla="*/ 18193 h 238315"/>
                  <a:gd name="connsiteX5" fmla="*/ 94583 w 3116866"/>
                  <a:gd name="connsiteY5" fmla="*/ 18193 h 238315"/>
                  <a:gd name="connsiteX6" fmla="*/ 94583 w 3116866"/>
                  <a:gd name="connsiteY6" fmla="*/ 24193 h 238315"/>
                  <a:gd name="connsiteX7" fmla="*/ 115633 w 3116866"/>
                  <a:gd name="connsiteY7" fmla="*/ 24193 h 238315"/>
                  <a:gd name="connsiteX8" fmla="*/ 115633 w 3116866"/>
                  <a:gd name="connsiteY8" fmla="*/ 30289 h 238315"/>
                  <a:gd name="connsiteX9" fmla="*/ 121920 w 3116866"/>
                  <a:gd name="connsiteY9" fmla="*/ 30289 h 238315"/>
                  <a:gd name="connsiteX10" fmla="*/ 121920 w 3116866"/>
                  <a:gd name="connsiteY10" fmla="*/ 36385 h 238315"/>
                  <a:gd name="connsiteX11" fmla="*/ 164020 w 3116866"/>
                  <a:gd name="connsiteY11" fmla="*/ 36385 h 238315"/>
                  <a:gd name="connsiteX12" fmla="*/ 164020 w 3116866"/>
                  <a:gd name="connsiteY12" fmla="*/ 42386 h 238315"/>
                  <a:gd name="connsiteX13" fmla="*/ 178689 w 3116866"/>
                  <a:gd name="connsiteY13" fmla="*/ 42386 h 238315"/>
                  <a:gd name="connsiteX14" fmla="*/ 178689 w 3116866"/>
                  <a:gd name="connsiteY14" fmla="*/ 48482 h 238315"/>
                  <a:gd name="connsiteX15" fmla="*/ 208216 w 3116866"/>
                  <a:gd name="connsiteY15" fmla="*/ 48482 h 238315"/>
                  <a:gd name="connsiteX16" fmla="*/ 208216 w 3116866"/>
                  <a:gd name="connsiteY16" fmla="*/ 54578 h 238315"/>
                  <a:gd name="connsiteX17" fmla="*/ 210312 w 3116866"/>
                  <a:gd name="connsiteY17" fmla="*/ 54578 h 238315"/>
                  <a:gd name="connsiteX18" fmla="*/ 210312 w 3116866"/>
                  <a:gd name="connsiteY18" fmla="*/ 60579 h 238315"/>
                  <a:gd name="connsiteX19" fmla="*/ 233362 w 3116866"/>
                  <a:gd name="connsiteY19" fmla="*/ 60579 h 238315"/>
                  <a:gd name="connsiteX20" fmla="*/ 233362 w 3116866"/>
                  <a:gd name="connsiteY20" fmla="*/ 66675 h 238315"/>
                  <a:gd name="connsiteX21" fmla="*/ 246031 w 3116866"/>
                  <a:gd name="connsiteY21" fmla="*/ 66675 h 238315"/>
                  <a:gd name="connsiteX22" fmla="*/ 246031 w 3116866"/>
                  <a:gd name="connsiteY22" fmla="*/ 72771 h 238315"/>
                  <a:gd name="connsiteX23" fmla="*/ 281749 w 3116866"/>
                  <a:gd name="connsiteY23" fmla="*/ 72771 h 238315"/>
                  <a:gd name="connsiteX24" fmla="*/ 281749 w 3116866"/>
                  <a:gd name="connsiteY24" fmla="*/ 78867 h 238315"/>
                  <a:gd name="connsiteX25" fmla="*/ 397478 w 3116866"/>
                  <a:gd name="connsiteY25" fmla="*/ 78867 h 238315"/>
                  <a:gd name="connsiteX26" fmla="*/ 397478 w 3116866"/>
                  <a:gd name="connsiteY26" fmla="*/ 84868 h 238315"/>
                  <a:gd name="connsiteX27" fmla="*/ 435292 w 3116866"/>
                  <a:gd name="connsiteY27" fmla="*/ 84868 h 238315"/>
                  <a:gd name="connsiteX28" fmla="*/ 435292 w 3116866"/>
                  <a:gd name="connsiteY28" fmla="*/ 91059 h 238315"/>
                  <a:gd name="connsiteX29" fmla="*/ 487870 w 3116866"/>
                  <a:gd name="connsiteY29" fmla="*/ 91059 h 238315"/>
                  <a:gd name="connsiteX30" fmla="*/ 487870 w 3116866"/>
                  <a:gd name="connsiteY30" fmla="*/ 97155 h 238315"/>
                  <a:gd name="connsiteX31" fmla="*/ 506825 w 3116866"/>
                  <a:gd name="connsiteY31" fmla="*/ 97155 h 238315"/>
                  <a:gd name="connsiteX32" fmla="*/ 506825 w 3116866"/>
                  <a:gd name="connsiteY32" fmla="*/ 103251 h 238315"/>
                  <a:gd name="connsiteX33" fmla="*/ 517303 w 3116866"/>
                  <a:gd name="connsiteY33" fmla="*/ 103251 h 238315"/>
                  <a:gd name="connsiteX34" fmla="*/ 517303 w 3116866"/>
                  <a:gd name="connsiteY34" fmla="*/ 109442 h 238315"/>
                  <a:gd name="connsiteX35" fmla="*/ 551021 w 3116866"/>
                  <a:gd name="connsiteY35" fmla="*/ 109442 h 238315"/>
                  <a:gd name="connsiteX36" fmla="*/ 551021 w 3116866"/>
                  <a:gd name="connsiteY36" fmla="*/ 115538 h 238315"/>
                  <a:gd name="connsiteX37" fmla="*/ 557308 w 3116866"/>
                  <a:gd name="connsiteY37" fmla="*/ 115538 h 238315"/>
                  <a:gd name="connsiteX38" fmla="*/ 557308 w 3116866"/>
                  <a:gd name="connsiteY38" fmla="*/ 121634 h 238315"/>
                  <a:gd name="connsiteX39" fmla="*/ 571976 w 3116866"/>
                  <a:gd name="connsiteY39" fmla="*/ 121634 h 238315"/>
                  <a:gd name="connsiteX40" fmla="*/ 571976 w 3116866"/>
                  <a:gd name="connsiteY40" fmla="*/ 127730 h 238315"/>
                  <a:gd name="connsiteX41" fmla="*/ 584644 w 3116866"/>
                  <a:gd name="connsiteY41" fmla="*/ 127730 h 238315"/>
                  <a:gd name="connsiteX42" fmla="*/ 584644 w 3116866"/>
                  <a:gd name="connsiteY42" fmla="*/ 133921 h 238315"/>
                  <a:gd name="connsiteX43" fmla="*/ 609886 w 3116866"/>
                  <a:gd name="connsiteY43" fmla="*/ 133921 h 238315"/>
                  <a:gd name="connsiteX44" fmla="*/ 609886 w 3116866"/>
                  <a:gd name="connsiteY44" fmla="*/ 140017 h 238315"/>
                  <a:gd name="connsiteX45" fmla="*/ 839152 w 3116866"/>
                  <a:gd name="connsiteY45" fmla="*/ 140017 h 238315"/>
                  <a:gd name="connsiteX46" fmla="*/ 839152 w 3116866"/>
                  <a:gd name="connsiteY46" fmla="*/ 146209 h 238315"/>
                  <a:gd name="connsiteX47" fmla="*/ 952690 w 3116866"/>
                  <a:gd name="connsiteY47" fmla="*/ 146209 h 238315"/>
                  <a:gd name="connsiteX48" fmla="*/ 952690 w 3116866"/>
                  <a:gd name="connsiteY48" fmla="*/ 152400 h 238315"/>
                  <a:gd name="connsiteX49" fmla="*/ 1221867 w 3116866"/>
                  <a:gd name="connsiteY49" fmla="*/ 152400 h 238315"/>
                  <a:gd name="connsiteX50" fmla="*/ 1221867 w 3116866"/>
                  <a:gd name="connsiteY50" fmla="*/ 158686 h 238315"/>
                  <a:gd name="connsiteX51" fmla="*/ 1295495 w 3116866"/>
                  <a:gd name="connsiteY51" fmla="*/ 158686 h 238315"/>
                  <a:gd name="connsiteX52" fmla="*/ 1295495 w 3116866"/>
                  <a:gd name="connsiteY52" fmla="*/ 164973 h 238315"/>
                  <a:gd name="connsiteX53" fmla="*/ 1375410 w 3116866"/>
                  <a:gd name="connsiteY53" fmla="*/ 164973 h 238315"/>
                  <a:gd name="connsiteX54" fmla="*/ 1375410 w 3116866"/>
                  <a:gd name="connsiteY54" fmla="*/ 171259 h 238315"/>
                  <a:gd name="connsiteX55" fmla="*/ 1537335 w 3116866"/>
                  <a:gd name="connsiteY55" fmla="*/ 171259 h 238315"/>
                  <a:gd name="connsiteX56" fmla="*/ 1537335 w 3116866"/>
                  <a:gd name="connsiteY56" fmla="*/ 177736 h 238315"/>
                  <a:gd name="connsiteX57" fmla="*/ 1554194 w 3116866"/>
                  <a:gd name="connsiteY57" fmla="*/ 177736 h 238315"/>
                  <a:gd name="connsiteX58" fmla="*/ 1554194 w 3116866"/>
                  <a:gd name="connsiteY58" fmla="*/ 184118 h 238315"/>
                  <a:gd name="connsiteX59" fmla="*/ 1672018 w 3116866"/>
                  <a:gd name="connsiteY59" fmla="*/ 184118 h 238315"/>
                  <a:gd name="connsiteX60" fmla="*/ 1672018 w 3116866"/>
                  <a:gd name="connsiteY60" fmla="*/ 190595 h 238315"/>
                  <a:gd name="connsiteX61" fmla="*/ 1764506 w 3116866"/>
                  <a:gd name="connsiteY61" fmla="*/ 190595 h 238315"/>
                  <a:gd name="connsiteX62" fmla="*/ 1764506 w 3116866"/>
                  <a:gd name="connsiteY62" fmla="*/ 196977 h 238315"/>
                  <a:gd name="connsiteX63" fmla="*/ 1783461 w 3116866"/>
                  <a:gd name="connsiteY63" fmla="*/ 196977 h 238315"/>
                  <a:gd name="connsiteX64" fmla="*/ 1783461 w 3116866"/>
                  <a:gd name="connsiteY64" fmla="*/ 203454 h 238315"/>
                  <a:gd name="connsiteX65" fmla="*/ 2637282 w 3116866"/>
                  <a:gd name="connsiteY65" fmla="*/ 203454 h 238315"/>
                  <a:gd name="connsiteX66" fmla="*/ 2637282 w 3116866"/>
                  <a:gd name="connsiteY66" fmla="*/ 238315 h 238315"/>
                  <a:gd name="connsiteX67" fmla="*/ 3116866 w 3116866"/>
                  <a:gd name="connsiteY67" fmla="*/ 238315 h 238315"/>
                  <a:gd name="connsiteX0" fmla="*/ 0 w 3116866"/>
                  <a:gd name="connsiteY0" fmla="*/ 0 h 238315"/>
                  <a:gd name="connsiteX1" fmla="*/ 16764 w 3116866"/>
                  <a:gd name="connsiteY1" fmla="*/ 6001 h 238315"/>
                  <a:gd name="connsiteX2" fmla="*/ 20955 w 3116866"/>
                  <a:gd name="connsiteY2" fmla="*/ 12097 h 238315"/>
                  <a:gd name="connsiteX3" fmla="*/ 20955 w 3116866"/>
                  <a:gd name="connsiteY3" fmla="*/ 18193 h 238315"/>
                  <a:gd name="connsiteX4" fmla="*/ 94583 w 3116866"/>
                  <a:gd name="connsiteY4" fmla="*/ 18193 h 238315"/>
                  <a:gd name="connsiteX5" fmla="*/ 94583 w 3116866"/>
                  <a:gd name="connsiteY5" fmla="*/ 24193 h 238315"/>
                  <a:gd name="connsiteX6" fmla="*/ 115633 w 3116866"/>
                  <a:gd name="connsiteY6" fmla="*/ 24193 h 238315"/>
                  <a:gd name="connsiteX7" fmla="*/ 115633 w 3116866"/>
                  <a:gd name="connsiteY7" fmla="*/ 30289 h 238315"/>
                  <a:gd name="connsiteX8" fmla="*/ 121920 w 3116866"/>
                  <a:gd name="connsiteY8" fmla="*/ 30289 h 238315"/>
                  <a:gd name="connsiteX9" fmla="*/ 121920 w 3116866"/>
                  <a:gd name="connsiteY9" fmla="*/ 36385 h 238315"/>
                  <a:gd name="connsiteX10" fmla="*/ 164020 w 3116866"/>
                  <a:gd name="connsiteY10" fmla="*/ 36385 h 238315"/>
                  <a:gd name="connsiteX11" fmla="*/ 164020 w 3116866"/>
                  <a:gd name="connsiteY11" fmla="*/ 42386 h 238315"/>
                  <a:gd name="connsiteX12" fmla="*/ 178689 w 3116866"/>
                  <a:gd name="connsiteY12" fmla="*/ 42386 h 238315"/>
                  <a:gd name="connsiteX13" fmla="*/ 178689 w 3116866"/>
                  <a:gd name="connsiteY13" fmla="*/ 48482 h 238315"/>
                  <a:gd name="connsiteX14" fmla="*/ 208216 w 3116866"/>
                  <a:gd name="connsiteY14" fmla="*/ 48482 h 238315"/>
                  <a:gd name="connsiteX15" fmla="*/ 208216 w 3116866"/>
                  <a:gd name="connsiteY15" fmla="*/ 54578 h 238315"/>
                  <a:gd name="connsiteX16" fmla="*/ 210312 w 3116866"/>
                  <a:gd name="connsiteY16" fmla="*/ 54578 h 238315"/>
                  <a:gd name="connsiteX17" fmla="*/ 210312 w 3116866"/>
                  <a:gd name="connsiteY17" fmla="*/ 60579 h 238315"/>
                  <a:gd name="connsiteX18" fmla="*/ 233362 w 3116866"/>
                  <a:gd name="connsiteY18" fmla="*/ 60579 h 238315"/>
                  <a:gd name="connsiteX19" fmla="*/ 233362 w 3116866"/>
                  <a:gd name="connsiteY19" fmla="*/ 66675 h 238315"/>
                  <a:gd name="connsiteX20" fmla="*/ 246031 w 3116866"/>
                  <a:gd name="connsiteY20" fmla="*/ 66675 h 238315"/>
                  <a:gd name="connsiteX21" fmla="*/ 246031 w 3116866"/>
                  <a:gd name="connsiteY21" fmla="*/ 72771 h 238315"/>
                  <a:gd name="connsiteX22" fmla="*/ 281749 w 3116866"/>
                  <a:gd name="connsiteY22" fmla="*/ 72771 h 238315"/>
                  <a:gd name="connsiteX23" fmla="*/ 281749 w 3116866"/>
                  <a:gd name="connsiteY23" fmla="*/ 78867 h 238315"/>
                  <a:gd name="connsiteX24" fmla="*/ 397478 w 3116866"/>
                  <a:gd name="connsiteY24" fmla="*/ 78867 h 238315"/>
                  <a:gd name="connsiteX25" fmla="*/ 397478 w 3116866"/>
                  <a:gd name="connsiteY25" fmla="*/ 84868 h 238315"/>
                  <a:gd name="connsiteX26" fmla="*/ 435292 w 3116866"/>
                  <a:gd name="connsiteY26" fmla="*/ 84868 h 238315"/>
                  <a:gd name="connsiteX27" fmla="*/ 435292 w 3116866"/>
                  <a:gd name="connsiteY27" fmla="*/ 91059 h 238315"/>
                  <a:gd name="connsiteX28" fmla="*/ 487870 w 3116866"/>
                  <a:gd name="connsiteY28" fmla="*/ 91059 h 238315"/>
                  <a:gd name="connsiteX29" fmla="*/ 487870 w 3116866"/>
                  <a:gd name="connsiteY29" fmla="*/ 97155 h 238315"/>
                  <a:gd name="connsiteX30" fmla="*/ 506825 w 3116866"/>
                  <a:gd name="connsiteY30" fmla="*/ 97155 h 238315"/>
                  <a:gd name="connsiteX31" fmla="*/ 506825 w 3116866"/>
                  <a:gd name="connsiteY31" fmla="*/ 103251 h 238315"/>
                  <a:gd name="connsiteX32" fmla="*/ 517303 w 3116866"/>
                  <a:gd name="connsiteY32" fmla="*/ 103251 h 238315"/>
                  <a:gd name="connsiteX33" fmla="*/ 517303 w 3116866"/>
                  <a:gd name="connsiteY33" fmla="*/ 109442 h 238315"/>
                  <a:gd name="connsiteX34" fmla="*/ 551021 w 3116866"/>
                  <a:gd name="connsiteY34" fmla="*/ 109442 h 238315"/>
                  <a:gd name="connsiteX35" fmla="*/ 551021 w 3116866"/>
                  <a:gd name="connsiteY35" fmla="*/ 115538 h 238315"/>
                  <a:gd name="connsiteX36" fmla="*/ 557308 w 3116866"/>
                  <a:gd name="connsiteY36" fmla="*/ 115538 h 238315"/>
                  <a:gd name="connsiteX37" fmla="*/ 557308 w 3116866"/>
                  <a:gd name="connsiteY37" fmla="*/ 121634 h 238315"/>
                  <a:gd name="connsiteX38" fmla="*/ 571976 w 3116866"/>
                  <a:gd name="connsiteY38" fmla="*/ 121634 h 238315"/>
                  <a:gd name="connsiteX39" fmla="*/ 571976 w 3116866"/>
                  <a:gd name="connsiteY39" fmla="*/ 127730 h 238315"/>
                  <a:gd name="connsiteX40" fmla="*/ 584644 w 3116866"/>
                  <a:gd name="connsiteY40" fmla="*/ 127730 h 238315"/>
                  <a:gd name="connsiteX41" fmla="*/ 584644 w 3116866"/>
                  <a:gd name="connsiteY41" fmla="*/ 133921 h 238315"/>
                  <a:gd name="connsiteX42" fmla="*/ 609886 w 3116866"/>
                  <a:gd name="connsiteY42" fmla="*/ 133921 h 238315"/>
                  <a:gd name="connsiteX43" fmla="*/ 609886 w 3116866"/>
                  <a:gd name="connsiteY43" fmla="*/ 140017 h 238315"/>
                  <a:gd name="connsiteX44" fmla="*/ 839152 w 3116866"/>
                  <a:gd name="connsiteY44" fmla="*/ 140017 h 238315"/>
                  <a:gd name="connsiteX45" fmla="*/ 839152 w 3116866"/>
                  <a:gd name="connsiteY45" fmla="*/ 146209 h 238315"/>
                  <a:gd name="connsiteX46" fmla="*/ 952690 w 3116866"/>
                  <a:gd name="connsiteY46" fmla="*/ 146209 h 238315"/>
                  <a:gd name="connsiteX47" fmla="*/ 952690 w 3116866"/>
                  <a:gd name="connsiteY47" fmla="*/ 152400 h 238315"/>
                  <a:gd name="connsiteX48" fmla="*/ 1221867 w 3116866"/>
                  <a:gd name="connsiteY48" fmla="*/ 152400 h 238315"/>
                  <a:gd name="connsiteX49" fmla="*/ 1221867 w 3116866"/>
                  <a:gd name="connsiteY49" fmla="*/ 158686 h 238315"/>
                  <a:gd name="connsiteX50" fmla="*/ 1295495 w 3116866"/>
                  <a:gd name="connsiteY50" fmla="*/ 158686 h 238315"/>
                  <a:gd name="connsiteX51" fmla="*/ 1295495 w 3116866"/>
                  <a:gd name="connsiteY51" fmla="*/ 164973 h 238315"/>
                  <a:gd name="connsiteX52" fmla="*/ 1375410 w 3116866"/>
                  <a:gd name="connsiteY52" fmla="*/ 164973 h 238315"/>
                  <a:gd name="connsiteX53" fmla="*/ 1375410 w 3116866"/>
                  <a:gd name="connsiteY53" fmla="*/ 171259 h 238315"/>
                  <a:gd name="connsiteX54" fmla="*/ 1537335 w 3116866"/>
                  <a:gd name="connsiteY54" fmla="*/ 171259 h 238315"/>
                  <a:gd name="connsiteX55" fmla="*/ 1537335 w 3116866"/>
                  <a:gd name="connsiteY55" fmla="*/ 177736 h 238315"/>
                  <a:gd name="connsiteX56" fmla="*/ 1554194 w 3116866"/>
                  <a:gd name="connsiteY56" fmla="*/ 177736 h 238315"/>
                  <a:gd name="connsiteX57" fmla="*/ 1554194 w 3116866"/>
                  <a:gd name="connsiteY57" fmla="*/ 184118 h 238315"/>
                  <a:gd name="connsiteX58" fmla="*/ 1672018 w 3116866"/>
                  <a:gd name="connsiteY58" fmla="*/ 184118 h 238315"/>
                  <a:gd name="connsiteX59" fmla="*/ 1672018 w 3116866"/>
                  <a:gd name="connsiteY59" fmla="*/ 190595 h 238315"/>
                  <a:gd name="connsiteX60" fmla="*/ 1764506 w 3116866"/>
                  <a:gd name="connsiteY60" fmla="*/ 190595 h 238315"/>
                  <a:gd name="connsiteX61" fmla="*/ 1764506 w 3116866"/>
                  <a:gd name="connsiteY61" fmla="*/ 196977 h 238315"/>
                  <a:gd name="connsiteX62" fmla="*/ 1783461 w 3116866"/>
                  <a:gd name="connsiteY62" fmla="*/ 196977 h 238315"/>
                  <a:gd name="connsiteX63" fmla="*/ 1783461 w 3116866"/>
                  <a:gd name="connsiteY63" fmla="*/ 203454 h 238315"/>
                  <a:gd name="connsiteX64" fmla="*/ 2637282 w 3116866"/>
                  <a:gd name="connsiteY64" fmla="*/ 203454 h 238315"/>
                  <a:gd name="connsiteX65" fmla="*/ 2637282 w 3116866"/>
                  <a:gd name="connsiteY65" fmla="*/ 238315 h 238315"/>
                  <a:gd name="connsiteX66" fmla="*/ 3116866 w 3116866"/>
                  <a:gd name="connsiteY66" fmla="*/ 238315 h 238315"/>
                  <a:gd name="connsiteX0" fmla="*/ 0 w 3100102"/>
                  <a:gd name="connsiteY0" fmla="*/ 0 h 232314"/>
                  <a:gd name="connsiteX1" fmla="*/ 4191 w 3100102"/>
                  <a:gd name="connsiteY1" fmla="*/ 6096 h 232314"/>
                  <a:gd name="connsiteX2" fmla="*/ 4191 w 3100102"/>
                  <a:gd name="connsiteY2" fmla="*/ 12192 h 232314"/>
                  <a:gd name="connsiteX3" fmla="*/ 77819 w 3100102"/>
                  <a:gd name="connsiteY3" fmla="*/ 12192 h 232314"/>
                  <a:gd name="connsiteX4" fmla="*/ 77819 w 3100102"/>
                  <a:gd name="connsiteY4" fmla="*/ 18192 h 232314"/>
                  <a:gd name="connsiteX5" fmla="*/ 98869 w 3100102"/>
                  <a:gd name="connsiteY5" fmla="*/ 18192 h 232314"/>
                  <a:gd name="connsiteX6" fmla="*/ 98869 w 3100102"/>
                  <a:gd name="connsiteY6" fmla="*/ 24288 h 232314"/>
                  <a:gd name="connsiteX7" fmla="*/ 105156 w 3100102"/>
                  <a:gd name="connsiteY7" fmla="*/ 24288 h 232314"/>
                  <a:gd name="connsiteX8" fmla="*/ 105156 w 3100102"/>
                  <a:gd name="connsiteY8" fmla="*/ 30384 h 232314"/>
                  <a:gd name="connsiteX9" fmla="*/ 147256 w 3100102"/>
                  <a:gd name="connsiteY9" fmla="*/ 30384 h 232314"/>
                  <a:gd name="connsiteX10" fmla="*/ 147256 w 3100102"/>
                  <a:gd name="connsiteY10" fmla="*/ 36385 h 232314"/>
                  <a:gd name="connsiteX11" fmla="*/ 161925 w 3100102"/>
                  <a:gd name="connsiteY11" fmla="*/ 36385 h 232314"/>
                  <a:gd name="connsiteX12" fmla="*/ 161925 w 3100102"/>
                  <a:gd name="connsiteY12" fmla="*/ 42481 h 232314"/>
                  <a:gd name="connsiteX13" fmla="*/ 191452 w 3100102"/>
                  <a:gd name="connsiteY13" fmla="*/ 42481 h 232314"/>
                  <a:gd name="connsiteX14" fmla="*/ 191452 w 3100102"/>
                  <a:gd name="connsiteY14" fmla="*/ 48577 h 232314"/>
                  <a:gd name="connsiteX15" fmla="*/ 193548 w 3100102"/>
                  <a:gd name="connsiteY15" fmla="*/ 48577 h 232314"/>
                  <a:gd name="connsiteX16" fmla="*/ 193548 w 3100102"/>
                  <a:gd name="connsiteY16" fmla="*/ 54578 h 232314"/>
                  <a:gd name="connsiteX17" fmla="*/ 216598 w 3100102"/>
                  <a:gd name="connsiteY17" fmla="*/ 54578 h 232314"/>
                  <a:gd name="connsiteX18" fmla="*/ 216598 w 3100102"/>
                  <a:gd name="connsiteY18" fmla="*/ 60674 h 232314"/>
                  <a:gd name="connsiteX19" fmla="*/ 229267 w 3100102"/>
                  <a:gd name="connsiteY19" fmla="*/ 60674 h 232314"/>
                  <a:gd name="connsiteX20" fmla="*/ 229267 w 3100102"/>
                  <a:gd name="connsiteY20" fmla="*/ 66770 h 232314"/>
                  <a:gd name="connsiteX21" fmla="*/ 264985 w 3100102"/>
                  <a:gd name="connsiteY21" fmla="*/ 66770 h 232314"/>
                  <a:gd name="connsiteX22" fmla="*/ 264985 w 3100102"/>
                  <a:gd name="connsiteY22" fmla="*/ 72866 h 232314"/>
                  <a:gd name="connsiteX23" fmla="*/ 380714 w 3100102"/>
                  <a:gd name="connsiteY23" fmla="*/ 72866 h 232314"/>
                  <a:gd name="connsiteX24" fmla="*/ 380714 w 3100102"/>
                  <a:gd name="connsiteY24" fmla="*/ 78867 h 232314"/>
                  <a:gd name="connsiteX25" fmla="*/ 418528 w 3100102"/>
                  <a:gd name="connsiteY25" fmla="*/ 78867 h 232314"/>
                  <a:gd name="connsiteX26" fmla="*/ 418528 w 3100102"/>
                  <a:gd name="connsiteY26" fmla="*/ 85058 h 232314"/>
                  <a:gd name="connsiteX27" fmla="*/ 471106 w 3100102"/>
                  <a:gd name="connsiteY27" fmla="*/ 85058 h 232314"/>
                  <a:gd name="connsiteX28" fmla="*/ 471106 w 3100102"/>
                  <a:gd name="connsiteY28" fmla="*/ 91154 h 232314"/>
                  <a:gd name="connsiteX29" fmla="*/ 490061 w 3100102"/>
                  <a:gd name="connsiteY29" fmla="*/ 91154 h 232314"/>
                  <a:gd name="connsiteX30" fmla="*/ 490061 w 3100102"/>
                  <a:gd name="connsiteY30" fmla="*/ 97250 h 232314"/>
                  <a:gd name="connsiteX31" fmla="*/ 500539 w 3100102"/>
                  <a:gd name="connsiteY31" fmla="*/ 97250 h 232314"/>
                  <a:gd name="connsiteX32" fmla="*/ 500539 w 3100102"/>
                  <a:gd name="connsiteY32" fmla="*/ 103441 h 232314"/>
                  <a:gd name="connsiteX33" fmla="*/ 534257 w 3100102"/>
                  <a:gd name="connsiteY33" fmla="*/ 103441 h 232314"/>
                  <a:gd name="connsiteX34" fmla="*/ 534257 w 3100102"/>
                  <a:gd name="connsiteY34" fmla="*/ 109537 h 232314"/>
                  <a:gd name="connsiteX35" fmla="*/ 540544 w 3100102"/>
                  <a:gd name="connsiteY35" fmla="*/ 109537 h 232314"/>
                  <a:gd name="connsiteX36" fmla="*/ 540544 w 3100102"/>
                  <a:gd name="connsiteY36" fmla="*/ 115633 h 232314"/>
                  <a:gd name="connsiteX37" fmla="*/ 555212 w 3100102"/>
                  <a:gd name="connsiteY37" fmla="*/ 115633 h 232314"/>
                  <a:gd name="connsiteX38" fmla="*/ 555212 w 3100102"/>
                  <a:gd name="connsiteY38" fmla="*/ 121729 h 232314"/>
                  <a:gd name="connsiteX39" fmla="*/ 567880 w 3100102"/>
                  <a:gd name="connsiteY39" fmla="*/ 121729 h 232314"/>
                  <a:gd name="connsiteX40" fmla="*/ 567880 w 3100102"/>
                  <a:gd name="connsiteY40" fmla="*/ 127920 h 232314"/>
                  <a:gd name="connsiteX41" fmla="*/ 593122 w 3100102"/>
                  <a:gd name="connsiteY41" fmla="*/ 127920 h 232314"/>
                  <a:gd name="connsiteX42" fmla="*/ 593122 w 3100102"/>
                  <a:gd name="connsiteY42" fmla="*/ 134016 h 232314"/>
                  <a:gd name="connsiteX43" fmla="*/ 822388 w 3100102"/>
                  <a:gd name="connsiteY43" fmla="*/ 134016 h 232314"/>
                  <a:gd name="connsiteX44" fmla="*/ 822388 w 3100102"/>
                  <a:gd name="connsiteY44" fmla="*/ 140208 h 232314"/>
                  <a:gd name="connsiteX45" fmla="*/ 935926 w 3100102"/>
                  <a:gd name="connsiteY45" fmla="*/ 140208 h 232314"/>
                  <a:gd name="connsiteX46" fmla="*/ 935926 w 3100102"/>
                  <a:gd name="connsiteY46" fmla="*/ 146399 h 232314"/>
                  <a:gd name="connsiteX47" fmla="*/ 1205103 w 3100102"/>
                  <a:gd name="connsiteY47" fmla="*/ 146399 h 232314"/>
                  <a:gd name="connsiteX48" fmla="*/ 1205103 w 3100102"/>
                  <a:gd name="connsiteY48" fmla="*/ 152685 h 232314"/>
                  <a:gd name="connsiteX49" fmla="*/ 1278731 w 3100102"/>
                  <a:gd name="connsiteY49" fmla="*/ 152685 h 232314"/>
                  <a:gd name="connsiteX50" fmla="*/ 1278731 w 3100102"/>
                  <a:gd name="connsiteY50" fmla="*/ 158972 h 232314"/>
                  <a:gd name="connsiteX51" fmla="*/ 1358646 w 3100102"/>
                  <a:gd name="connsiteY51" fmla="*/ 158972 h 232314"/>
                  <a:gd name="connsiteX52" fmla="*/ 1358646 w 3100102"/>
                  <a:gd name="connsiteY52" fmla="*/ 165258 h 232314"/>
                  <a:gd name="connsiteX53" fmla="*/ 1520571 w 3100102"/>
                  <a:gd name="connsiteY53" fmla="*/ 165258 h 232314"/>
                  <a:gd name="connsiteX54" fmla="*/ 1520571 w 3100102"/>
                  <a:gd name="connsiteY54" fmla="*/ 171735 h 232314"/>
                  <a:gd name="connsiteX55" fmla="*/ 1537430 w 3100102"/>
                  <a:gd name="connsiteY55" fmla="*/ 171735 h 232314"/>
                  <a:gd name="connsiteX56" fmla="*/ 1537430 w 3100102"/>
                  <a:gd name="connsiteY56" fmla="*/ 178117 h 232314"/>
                  <a:gd name="connsiteX57" fmla="*/ 1655254 w 3100102"/>
                  <a:gd name="connsiteY57" fmla="*/ 178117 h 232314"/>
                  <a:gd name="connsiteX58" fmla="*/ 1655254 w 3100102"/>
                  <a:gd name="connsiteY58" fmla="*/ 184594 h 232314"/>
                  <a:gd name="connsiteX59" fmla="*/ 1747742 w 3100102"/>
                  <a:gd name="connsiteY59" fmla="*/ 184594 h 232314"/>
                  <a:gd name="connsiteX60" fmla="*/ 1747742 w 3100102"/>
                  <a:gd name="connsiteY60" fmla="*/ 190976 h 232314"/>
                  <a:gd name="connsiteX61" fmla="*/ 1766697 w 3100102"/>
                  <a:gd name="connsiteY61" fmla="*/ 190976 h 232314"/>
                  <a:gd name="connsiteX62" fmla="*/ 1766697 w 3100102"/>
                  <a:gd name="connsiteY62" fmla="*/ 197453 h 232314"/>
                  <a:gd name="connsiteX63" fmla="*/ 2620518 w 3100102"/>
                  <a:gd name="connsiteY63" fmla="*/ 197453 h 232314"/>
                  <a:gd name="connsiteX64" fmla="*/ 2620518 w 3100102"/>
                  <a:gd name="connsiteY64" fmla="*/ 232314 h 232314"/>
                  <a:gd name="connsiteX65" fmla="*/ 3100102 w 3100102"/>
                  <a:gd name="connsiteY65" fmla="*/ 232314 h 232314"/>
                  <a:gd name="connsiteX0" fmla="*/ 0 w 3100102"/>
                  <a:gd name="connsiteY0" fmla="*/ 0 h 232314"/>
                  <a:gd name="connsiteX1" fmla="*/ 4191 w 3100102"/>
                  <a:gd name="connsiteY1" fmla="*/ 12192 h 232314"/>
                  <a:gd name="connsiteX2" fmla="*/ 77819 w 3100102"/>
                  <a:gd name="connsiteY2" fmla="*/ 12192 h 232314"/>
                  <a:gd name="connsiteX3" fmla="*/ 77819 w 3100102"/>
                  <a:gd name="connsiteY3" fmla="*/ 18192 h 232314"/>
                  <a:gd name="connsiteX4" fmla="*/ 98869 w 3100102"/>
                  <a:gd name="connsiteY4" fmla="*/ 18192 h 232314"/>
                  <a:gd name="connsiteX5" fmla="*/ 98869 w 3100102"/>
                  <a:gd name="connsiteY5" fmla="*/ 24288 h 232314"/>
                  <a:gd name="connsiteX6" fmla="*/ 105156 w 3100102"/>
                  <a:gd name="connsiteY6" fmla="*/ 24288 h 232314"/>
                  <a:gd name="connsiteX7" fmla="*/ 105156 w 3100102"/>
                  <a:gd name="connsiteY7" fmla="*/ 30384 h 232314"/>
                  <a:gd name="connsiteX8" fmla="*/ 147256 w 3100102"/>
                  <a:gd name="connsiteY8" fmla="*/ 30384 h 232314"/>
                  <a:gd name="connsiteX9" fmla="*/ 147256 w 3100102"/>
                  <a:gd name="connsiteY9" fmla="*/ 36385 h 232314"/>
                  <a:gd name="connsiteX10" fmla="*/ 161925 w 3100102"/>
                  <a:gd name="connsiteY10" fmla="*/ 36385 h 232314"/>
                  <a:gd name="connsiteX11" fmla="*/ 161925 w 3100102"/>
                  <a:gd name="connsiteY11" fmla="*/ 42481 h 232314"/>
                  <a:gd name="connsiteX12" fmla="*/ 191452 w 3100102"/>
                  <a:gd name="connsiteY12" fmla="*/ 42481 h 232314"/>
                  <a:gd name="connsiteX13" fmla="*/ 191452 w 3100102"/>
                  <a:gd name="connsiteY13" fmla="*/ 48577 h 232314"/>
                  <a:gd name="connsiteX14" fmla="*/ 193548 w 3100102"/>
                  <a:gd name="connsiteY14" fmla="*/ 48577 h 232314"/>
                  <a:gd name="connsiteX15" fmla="*/ 193548 w 3100102"/>
                  <a:gd name="connsiteY15" fmla="*/ 54578 h 232314"/>
                  <a:gd name="connsiteX16" fmla="*/ 216598 w 3100102"/>
                  <a:gd name="connsiteY16" fmla="*/ 54578 h 232314"/>
                  <a:gd name="connsiteX17" fmla="*/ 216598 w 3100102"/>
                  <a:gd name="connsiteY17" fmla="*/ 60674 h 232314"/>
                  <a:gd name="connsiteX18" fmla="*/ 229267 w 3100102"/>
                  <a:gd name="connsiteY18" fmla="*/ 60674 h 232314"/>
                  <a:gd name="connsiteX19" fmla="*/ 229267 w 3100102"/>
                  <a:gd name="connsiteY19" fmla="*/ 66770 h 232314"/>
                  <a:gd name="connsiteX20" fmla="*/ 264985 w 3100102"/>
                  <a:gd name="connsiteY20" fmla="*/ 66770 h 232314"/>
                  <a:gd name="connsiteX21" fmla="*/ 264985 w 3100102"/>
                  <a:gd name="connsiteY21" fmla="*/ 72866 h 232314"/>
                  <a:gd name="connsiteX22" fmla="*/ 380714 w 3100102"/>
                  <a:gd name="connsiteY22" fmla="*/ 72866 h 232314"/>
                  <a:gd name="connsiteX23" fmla="*/ 380714 w 3100102"/>
                  <a:gd name="connsiteY23" fmla="*/ 78867 h 232314"/>
                  <a:gd name="connsiteX24" fmla="*/ 418528 w 3100102"/>
                  <a:gd name="connsiteY24" fmla="*/ 78867 h 232314"/>
                  <a:gd name="connsiteX25" fmla="*/ 418528 w 3100102"/>
                  <a:gd name="connsiteY25" fmla="*/ 85058 h 232314"/>
                  <a:gd name="connsiteX26" fmla="*/ 471106 w 3100102"/>
                  <a:gd name="connsiteY26" fmla="*/ 85058 h 232314"/>
                  <a:gd name="connsiteX27" fmla="*/ 471106 w 3100102"/>
                  <a:gd name="connsiteY27" fmla="*/ 91154 h 232314"/>
                  <a:gd name="connsiteX28" fmla="*/ 490061 w 3100102"/>
                  <a:gd name="connsiteY28" fmla="*/ 91154 h 232314"/>
                  <a:gd name="connsiteX29" fmla="*/ 490061 w 3100102"/>
                  <a:gd name="connsiteY29" fmla="*/ 97250 h 232314"/>
                  <a:gd name="connsiteX30" fmla="*/ 500539 w 3100102"/>
                  <a:gd name="connsiteY30" fmla="*/ 97250 h 232314"/>
                  <a:gd name="connsiteX31" fmla="*/ 500539 w 3100102"/>
                  <a:gd name="connsiteY31" fmla="*/ 103441 h 232314"/>
                  <a:gd name="connsiteX32" fmla="*/ 534257 w 3100102"/>
                  <a:gd name="connsiteY32" fmla="*/ 103441 h 232314"/>
                  <a:gd name="connsiteX33" fmla="*/ 534257 w 3100102"/>
                  <a:gd name="connsiteY33" fmla="*/ 109537 h 232314"/>
                  <a:gd name="connsiteX34" fmla="*/ 540544 w 3100102"/>
                  <a:gd name="connsiteY34" fmla="*/ 109537 h 232314"/>
                  <a:gd name="connsiteX35" fmla="*/ 540544 w 3100102"/>
                  <a:gd name="connsiteY35" fmla="*/ 115633 h 232314"/>
                  <a:gd name="connsiteX36" fmla="*/ 555212 w 3100102"/>
                  <a:gd name="connsiteY36" fmla="*/ 115633 h 232314"/>
                  <a:gd name="connsiteX37" fmla="*/ 555212 w 3100102"/>
                  <a:gd name="connsiteY37" fmla="*/ 121729 h 232314"/>
                  <a:gd name="connsiteX38" fmla="*/ 567880 w 3100102"/>
                  <a:gd name="connsiteY38" fmla="*/ 121729 h 232314"/>
                  <a:gd name="connsiteX39" fmla="*/ 567880 w 3100102"/>
                  <a:gd name="connsiteY39" fmla="*/ 127920 h 232314"/>
                  <a:gd name="connsiteX40" fmla="*/ 593122 w 3100102"/>
                  <a:gd name="connsiteY40" fmla="*/ 127920 h 232314"/>
                  <a:gd name="connsiteX41" fmla="*/ 593122 w 3100102"/>
                  <a:gd name="connsiteY41" fmla="*/ 134016 h 232314"/>
                  <a:gd name="connsiteX42" fmla="*/ 822388 w 3100102"/>
                  <a:gd name="connsiteY42" fmla="*/ 134016 h 232314"/>
                  <a:gd name="connsiteX43" fmla="*/ 822388 w 3100102"/>
                  <a:gd name="connsiteY43" fmla="*/ 140208 h 232314"/>
                  <a:gd name="connsiteX44" fmla="*/ 935926 w 3100102"/>
                  <a:gd name="connsiteY44" fmla="*/ 140208 h 232314"/>
                  <a:gd name="connsiteX45" fmla="*/ 935926 w 3100102"/>
                  <a:gd name="connsiteY45" fmla="*/ 146399 h 232314"/>
                  <a:gd name="connsiteX46" fmla="*/ 1205103 w 3100102"/>
                  <a:gd name="connsiteY46" fmla="*/ 146399 h 232314"/>
                  <a:gd name="connsiteX47" fmla="*/ 1205103 w 3100102"/>
                  <a:gd name="connsiteY47" fmla="*/ 152685 h 232314"/>
                  <a:gd name="connsiteX48" fmla="*/ 1278731 w 3100102"/>
                  <a:gd name="connsiteY48" fmla="*/ 152685 h 232314"/>
                  <a:gd name="connsiteX49" fmla="*/ 1278731 w 3100102"/>
                  <a:gd name="connsiteY49" fmla="*/ 158972 h 232314"/>
                  <a:gd name="connsiteX50" fmla="*/ 1358646 w 3100102"/>
                  <a:gd name="connsiteY50" fmla="*/ 158972 h 232314"/>
                  <a:gd name="connsiteX51" fmla="*/ 1358646 w 3100102"/>
                  <a:gd name="connsiteY51" fmla="*/ 165258 h 232314"/>
                  <a:gd name="connsiteX52" fmla="*/ 1520571 w 3100102"/>
                  <a:gd name="connsiteY52" fmla="*/ 165258 h 232314"/>
                  <a:gd name="connsiteX53" fmla="*/ 1520571 w 3100102"/>
                  <a:gd name="connsiteY53" fmla="*/ 171735 h 232314"/>
                  <a:gd name="connsiteX54" fmla="*/ 1537430 w 3100102"/>
                  <a:gd name="connsiteY54" fmla="*/ 171735 h 232314"/>
                  <a:gd name="connsiteX55" fmla="*/ 1537430 w 3100102"/>
                  <a:gd name="connsiteY55" fmla="*/ 178117 h 232314"/>
                  <a:gd name="connsiteX56" fmla="*/ 1655254 w 3100102"/>
                  <a:gd name="connsiteY56" fmla="*/ 178117 h 232314"/>
                  <a:gd name="connsiteX57" fmla="*/ 1655254 w 3100102"/>
                  <a:gd name="connsiteY57" fmla="*/ 184594 h 232314"/>
                  <a:gd name="connsiteX58" fmla="*/ 1747742 w 3100102"/>
                  <a:gd name="connsiteY58" fmla="*/ 184594 h 232314"/>
                  <a:gd name="connsiteX59" fmla="*/ 1747742 w 3100102"/>
                  <a:gd name="connsiteY59" fmla="*/ 190976 h 232314"/>
                  <a:gd name="connsiteX60" fmla="*/ 1766697 w 3100102"/>
                  <a:gd name="connsiteY60" fmla="*/ 190976 h 232314"/>
                  <a:gd name="connsiteX61" fmla="*/ 1766697 w 3100102"/>
                  <a:gd name="connsiteY61" fmla="*/ 197453 h 232314"/>
                  <a:gd name="connsiteX62" fmla="*/ 2620518 w 3100102"/>
                  <a:gd name="connsiteY62" fmla="*/ 197453 h 232314"/>
                  <a:gd name="connsiteX63" fmla="*/ 2620518 w 3100102"/>
                  <a:gd name="connsiteY63" fmla="*/ 232314 h 232314"/>
                  <a:gd name="connsiteX64" fmla="*/ 3100102 w 3100102"/>
                  <a:gd name="connsiteY64" fmla="*/ 232314 h 232314"/>
                  <a:gd name="connsiteX0" fmla="*/ 0 w 3095911"/>
                  <a:gd name="connsiteY0" fmla="*/ 0 h 220122"/>
                  <a:gd name="connsiteX1" fmla="*/ 73628 w 3095911"/>
                  <a:gd name="connsiteY1" fmla="*/ 0 h 220122"/>
                  <a:gd name="connsiteX2" fmla="*/ 73628 w 3095911"/>
                  <a:gd name="connsiteY2" fmla="*/ 6000 h 220122"/>
                  <a:gd name="connsiteX3" fmla="*/ 94678 w 3095911"/>
                  <a:gd name="connsiteY3" fmla="*/ 6000 h 220122"/>
                  <a:gd name="connsiteX4" fmla="*/ 94678 w 3095911"/>
                  <a:gd name="connsiteY4" fmla="*/ 12096 h 220122"/>
                  <a:gd name="connsiteX5" fmla="*/ 100965 w 3095911"/>
                  <a:gd name="connsiteY5" fmla="*/ 12096 h 220122"/>
                  <a:gd name="connsiteX6" fmla="*/ 100965 w 3095911"/>
                  <a:gd name="connsiteY6" fmla="*/ 18192 h 220122"/>
                  <a:gd name="connsiteX7" fmla="*/ 143065 w 3095911"/>
                  <a:gd name="connsiteY7" fmla="*/ 18192 h 220122"/>
                  <a:gd name="connsiteX8" fmla="*/ 143065 w 3095911"/>
                  <a:gd name="connsiteY8" fmla="*/ 24193 h 220122"/>
                  <a:gd name="connsiteX9" fmla="*/ 157734 w 3095911"/>
                  <a:gd name="connsiteY9" fmla="*/ 24193 h 220122"/>
                  <a:gd name="connsiteX10" fmla="*/ 157734 w 3095911"/>
                  <a:gd name="connsiteY10" fmla="*/ 30289 h 220122"/>
                  <a:gd name="connsiteX11" fmla="*/ 187261 w 3095911"/>
                  <a:gd name="connsiteY11" fmla="*/ 30289 h 220122"/>
                  <a:gd name="connsiteX12" fmla="*/ 187261 w 3095911"/>
                  <a:gd name="connsiteY12" fmla="*/ 36385 h 220122"/>
                  <a:gd name="connsiteX13" fmla="*/ 189357 w 3095911"/>
                  <a:gd name="connsiteY13" fmla="*/ 36385 h 220122"/>
                  <a:gd name="connsiteX14" fmla="*/ 189357 w 3095911"/>
                  <a:gd name="connsiteY14" fmla="*/ 42386 h 220122"/>
                  <a:gd name="connsiteX15" fmla="*/ 212407 w 3095911"/>
                  <a:gd name="connsiteY15" fmla="*/ 42386 h 220122"/>
                  <a:gd name="connsiteX16" fmla="*/ 212407 w 3095911"/>
                  <a:gd name="connsiteY16" fmla="*/ 48482 h 220122"/>
                  <a:gd name="connsiteX17" fmla="*/ 225076 w 3095911"/>
                  <a:gd name="connsiteY17" fmla="*/ 48482 h 220122"/>
                  <a:gd name="connsiteX18" fmla="*/ 225076 w 3095911"/>
                  <a:gd name="connsiteY18" fmla="*/ 54578 h 220122"/>
                  <a:gd name="connsiteX19" fmla="*/ 260794 w 3095911"/>
                  <a:gd name="connsiteY19" fmla="*/ 54578 h 220122"/>
                  <a:gd name="connsiteX20" fmla="*/ 260794 w 3095911"/>
                  <a:gd name="connsiteY20" fmla="*/ 60674 h 220122"/>
                  <a:gd name="connsiteX21" fmla="*/ 376523 w 3095911"/>
                  <a:gd name="connsiteY21" fmla="*/ 60674 h 220122"/>
                  <a:gd name="connsiteX22" fmla="*/ 376523 w 3095911"/>
                  <a:gd name="connsiteY22" fmla="*/ 66675 h 220122"/>
                  <a:gd name="connsiteX23" fmla="*/ 414337 w 3095911"/>
                  <a:gd name="connsiteY23" fmla="*/ 66675 h 220122"/>
                  <a:gd name="connsiteX24" fmla="*/ 414337 w 3095911"/>
                  <a:gd name="connsiteY24" fmla="*/ 72866 h 220122"/>
                  <a:gd name="connsiteX25" fmla="*/ 466915 w 3095911"/>
                  <a:gd name="connsiteY25" fmla="*/ 72866 h 220122"/>
                  <a:gd name="connsiteX26" fmla="*/ 466915 w 3095911"/>
                  <a:gd name="connsiteY26" fmla="*/ 78962 h 220122"/>
                  <a:gd name="connsiteX27" fmla="*/ 485870 w 3095911"/>
                  <a:gd name="connsiteY27" fmla="*/ 78962 h 220122"/>
                  <a:gd name="connsiteX28" fmla="*/ 485870 w 3095911"/>
                  <a:gd name="connsiteY28" fmla="*/ 85058 h 220122"/>
                  <a:gd name="connsiteX29" fmla="*/ 496348 w 3095911"/>
                  <a:gd name="connsiteY29" fmla="*/ 85058 h 220122"/>
                  <a:gd name="connsiteX30" fmla="*/ 496348 w 3095911"/>
                  <a:gd name="connsiteY30" fmla="*/ 91249 h 220122"/>
                  <a:gd name="connsiteX31" fmla="*/ 530066 w 3095911"/>
                  <a:gd name="connsiteY31" fmla="*/ 91249 h 220122"/>
                  <a:gd name="connsiteX32" fmla="*/ 530066 w 3095911"/>
                  <a:gd name="connsiteY32" fmla="*/ 97345 h 220122"/>
                  <a:gd name="connsiteX33" fmla="*/ 536353 w 3095911"/>
                  <a:gd name="connsiteY33" fmla="*/ 97345 h 220122"/>
                  <a:gd name="connsiteX34" fmla="*/ 536353 w 3095911"/>
                  <a:gd name="connsiteY34" fmla="*/ 103441 h 220122"/>
                  <a:gd name="connsiteX35" fmla="*/ 551021 w 3095911"/>
                  <a:gd name="connsiteY35" fmla="*/ 103441 h 220122"/>
                  <a:gd name="connsiteX36" fmla="*/ 551021 w 3095911"/>
                  <a:gd name="connsiteY36" fmla="*/ 109537 h 220122"/>
                  <a:gd name="connsiteX37" fmla="*/ 563689 w 3095911"/>
                  <a:gd name="connsiteY37" fmla="*/ 109537 h 220122"/>
                  <a:gd name="connsiteX38" fmla="*/ 563689 w 3095911"/>
                  <a:gd name="connsiteY38" fmla="*/ 115728 h 220122"/>
                  <a:gd name="connsiteX39" fmla="*/ 588931 w 3095911"/>
                  <a:gd name="connsiteY39" fmla="*/ 115728 h 220122"/>
                  <a:gd name="connsiteX40" fmla="*/ 588931 w 3095911"/>
                  <a:gd name="connsiteY40" fmla="*/ 121824 h 220122"/>
                  <a:gd name="connsiteX41" fmla="*/ 818197 w 3095911"/>
                  <a:gd name="connsiteY41" fmla="*/ 121824 h 220122"/>
                  <a:gd name="connsiteX42" fmla="*/ 818197 w 3095911"/>
                  <a:gd name="connsiteY42" fmla="*/ 128016 h 220122"/>
                  <a:gd name="connsiteX43" fmla="*/ 931735 w 3095911"/>
                  <a:gd name="connsiteY43" fmla="*/ 128016 h 220122"/>
                  <a:gd name="connsiteX44" fmla="*/ 931735 w 3095911"/>
                  <a:gd name="connsiteY44" fmla="*/ 134207 h 220122"/>
                  <a:gd name="connsiteX45" fmla="*/ 1200912 w 3095911"/>
                  <a:gd name="connsiteY45" fmla="*/ 134207 h 220122"/>
                  <a:gd name="connsiteX46" fmla="*/ 1200912 w 3095911"/>
                  <a:gd name="connsiteY46" fmla="*/ 140493 h 220122"/>
                  <a:gd name="connsiteX47" fmla="*/ 1274540 w 3095911"/>
                  <a:gd name="connsiteY47" fmla="*/ 140493 h 220122"/>
                  <a:gd name="connsiteX48" fmla="*/ 1274540 w 3095911"/>
                  <a:gd name="connsiteY48" fmla="*/ 146780 h 220122"/>
                  <a:gd name="connsiteX49" fmla="*/ 1354455 w 3095911"/>
                  <a:gd name="connsiteY49" fmla="*/ 146780 h 220122"/>
                  <a:gd name="connsiteX50" fmla="*/ 1354455 w 3095911"/>
                  <a:gd name="connsiteY50" fmla="*/ 153066 h 220122"/>
                  <a:gd name="connsiteX51" fmla="*/ 1516380 w 3095911"/>
                  <a:gd name="connsiteY51" fmla="*/ 153066 h 220122"/>
                  <a:gd name="connsiteX52" fmla="*/ 1516380 w 3095911"/>
                  <a:gd name="connsiteY52" fmla="*/ 159543 h 220122"/>
                  <a:gd name="connsiteX53" fmla="*/ 1533239 w 3095911"/>
                  <a:gd name="connsiteY53" fmla="*/ 159543 h 220122"/>
                  <a:gd name="connsiteX54" fmla="*/ 1533239 w 3095911"/>
                  <a:gd name="connsiteY54" fmla="*/ 165925 h 220122"/>
                  <a:gd name="connsiteX55" fmla="*/ 1651063 w 3095911"/>
                  <a:gd name="connsiteY55" fmla="*/ 165925 h 220122"/>
                  <a:gd name="connsiteX56" fmla="*/ 1651063 w 3095911"/>
                  <a:gd name="connsiteY56" fmla="*/ 172402 h 220122"/>
                  <a:gd name="connsiteX57" fmla="*/ 1743551 w 3095911"/>
                  <a:gd name="connsiteY57" fmla="*/ 172402 h 220122"/>
                  <a:gd name="connsiteX58" fmla="*/ 1743551 w 3095911"/>
                  <a:gd name="connsiteY58" fmla="*/ 178784 h 220122"/>
                  <a:gd name="connsiteX59" fmla="*/ 1762506 w 3095911"/>
                  <a:gd name="connsiteY59" fmla="*/ 178784 h 220122"/>
                  <a:gd name="connsiteX60" fmla="*/ 1762506 w 3095911"/>
                  <a:gd name="connsiteY60" fmla="*/ 185261 h 220122"/>
                  <a:gd name="connsiteX61" fmla="*/ 2616327 w 3095911"/>
                  <a:gd name="connsiteY61" fmla="*/ 185261 h 220122"/>
                  <a:gd name="connsiteX62" fmla="*/ 2616327 w 3095911"/>
                  <a:gd name="connsiteY62" fmla="*/ 220122 h 220122"/>
                  <a:gd name="connsiteX63" fmla="*/ 3095911 w 3095911"/>
                  <a:gd name="connsiteY63" fmla="*/ 220122 h 220122"/>
                  <a:gd name="connsiteX0" fmla="*/ 0 w 3022283"/>
                  <a:gd name="connsiteY0" fmla="*/ 0 h 220122"/>
                  <a:gd name="connsiteX1" fmla="*/ 0 w 3022283"/>
                  <a:gd name="connsiteY1" fmla="*/ 6000 h 220122"/>
                  <a:gd name="connsiteX2" fmla="*/ 21050 w 3022283"/>
                  <a:gd name="connsiteY2" fmla="*/ 6000 h 220122"/>
                  <a:gd name="connsiteX3" fmla="*/ 21050 w 3022283"/>
                  <a:gd name="connsiteY3" fmla="*/ 12096 h 220122"/>
                  <a:gd name="connsiteX4" fmla="*/ 27337 w 3022283"/>
                  <a:gd name="connsiteY4" fmla="*/ 12096 h 220122"/>
                  <a:gd name="connsiteX5" fmla="*/ 27337 w 3022283"/>
                  <a:gd name="connsiteY5" fmla="*/ 18192 h 220122"/>
                  <a:gd name="connsiteX6" fmla="*/ 69437 w 3022283"/>
                  <a:gd name="connsiteY6" fmla="*/ 18192 h 220122"/>
                  <a:gd name="connsiteX7" fmla="*/ 69437 w 3022283"/>
                  <a:gd name="connsiteY7" fmla="*/ 24193 h 220122"/>
                  <a:gd name="connsiteX8" fmla="*/ 84106 w 3022283"/>
                  <a:gd name="connsiteY8" fmla="*/ 24193 h 220122"/>
                  <a:gd name="connsiteX9" fmla="*/ 84106 w 3022283"/>
                  <a:gd name="connsiteY9" fmla="*/ 30289 h 220122"/>
                  <a:gd name="connsiteX10" fmla="*/ 113633 w 3022283"/>
                  <a:gd name="connsiteY10" fmla="*/ 30289 h 220122"/>
                  <a:gd name="connsiteX11" fmla="*/ 113633 w 3022283"/>
                  <a:gd name="connsiteY11" fmla="*/ 36385 h 220122"/>
                  <a:gd name="connsiteX12" fmla="*/ 115729 w 3022283"/>
                  <a:gd name="connsiteY12" fmla="*/ 36385 h 220122"/>
                  <a:gd name="connsiteX13" fmla="*/ 115729 w 3022283"/>
                  <a:gd name="connsiteY13" fmla="*/ 42386 h 220122"/>
                  <a:gd name="connsiteX14" fmla="*/ 138779 w 3022283"/>
                  <a:gd name="connsiteY14" fmla="*/ 42386 h 220122"/>
                  <a:gd name="connsiteX15" fmla="*/ 138779 w 3022283"/>
                  <a:gd name="connsiteY15" fmla="*/ 48482 h 220122"/>
                  <a:gd name="connsiteX16" fmla="*/ 151448 w 3022283"/>
                  <a:gd name="connsiteY16" fmla="*/ 48482 h 220122"/>
                  <a:gd name="connsiteX17" fmla="*/ 151448 w 3022283"/>
                  <a:gd name="connsiteY17" fmla="*/ 54578 h 220122"/>
                  <a:gd name="connsiteX18" fmla="*/ 187166 w 3022283"/>
                  <a:gd name="connsiteY18" fmla="*/ 54578 h 220122"/>
                  <a:gd name="connsiteX19" fmla="*/ 187166 w 3022283"/>
                  <a:gd name="connsiteY19" fmla="*/ 60674 h 220122"/>
                  <a:gd name="connsiteX20" fmla="*/ 302895 w 3022283"/>
                  <a:gd name="connsiteY20" fmla="*/ 60674 h 220122"/>
                  <a:gd name="connsiteX21" fmla="*/ 302895 w 3022283"/>
                  <a:gd name="connsiteY21" fmla="*/ 66675 h 220122"/>
                  <a:gd name="connsiteX22" fmla="*/ 340709 w 3022283"/>
                  <a:gd name="connsiteY22" fmla="*/ 66675 h 220122"/>
                  <a:gd name="connsiteX23" fmla="*/ 340709 w 3022283"/>
                  <a:gd name="connsiteY23" fmla="*/ 72866 h 220122"/>
                  <a:gd name="connsiteX24" fmla="*/ 393287 w 3022283"/>
                  <a:gd name="connsiteY24" fmla="*/ 72866 h 220122"/>
                  <a:gd name="connsiteX25" fmla="*/ 393287 w 3022283"/>
                  <a:gd name="connsiteY25" fmla="*/ 78962 h 220122"/>
                  <a:gd name="connsiteX26" fmla="*/ 412242 w 3022283"/>
                  <a:gd name="connsiteY26" fmla="*/ 78962 h 220122"/>
                  <a:gd name="connsiteX27" fmla="*/ 412242 w 3022283"/>
                  <a:gd name="connsiteY27" fmla="*/ 85058 h 220122"/>
                  <a:gd name="connsiteX28" fmla="*/ 422720 w 3022283"/>
                  <a:gd name="connsiteY28" fmla="*/ 85058 h 220122"/>
                  <a:gd name="connsiteX29" fmla="*/ 422720 w 3022283"/>
                  <a:gd name="connsiteY29" fmla="*/ 91249 h 220122"/>
                  <a:gd name="connsiteX30" fmla="*/ 456438 w 3022283"/>
                  <a:gd name="connsiteY30" fmla="*/ 91249 h 220122"/>
                  <a:gd name="connsiteX31" fmla="*/ 456438 w 3022283"/>
                  <a:gd name="connsiteY31" fmla="*/ 97345 h 220122"/>
                  <a:gd name="connsiteX32" fmla="*/ 462725 w 3022283"/>
                  <a:gd name="connsiteY32" fmla="*/ 97345 h 220122"/>
                  <a:gd name="connsiteX33" fmla="*/ 462725 w 3022283"/>
                  <a:gd name="connsiteY33" fmla="*/ 103441 h 220122"/>
                  <a:gd name="connsiteX34" fmla="*/ 477393 w 3022283"/>
                  <a:gd name="connsiteY34" fmla="*/ 103441 h 220122"/>
                  <a:gd name="connsiteX35" fmla="*/ 477393 w 3022283"/>
                  <a:gd name="connsiteY35" fmla="*/ 109537 h 220122"/>
                  <a:gd name="connsiteX36" fmla="*/ 490061 w 3022283"/>
                  <a:gd name="connsiteY36" fmla="*/ 109537 h 220122"/>
                  <a:gd name="connsiteX37" fmla="*/ 490061 w 3022283"/>
                  <a:gd name="connsiteY37" fmla="*/ 115728 h 220122"/>
                  <a:gd name="connsiteX38" fmla="*/ 515303 w 3022283"/>
                  <a:gd name="connsiteY38" fmla="*/ 115728 h 220122"/>
                  <a:gd name="connsiteX39" fmla="*/ 515303 w 3022283"/>
                  <a:gd name="connsiteY39" fmla="*/ 121824 h 220122"/>
                  <a:gd name="connsiteX40" fmla="*/ 744569 w 3022283"/>
                  <a:gd name="connsiteY40" fmla="*/ 121824 h 220122"/>
                  <a:gd name="connsiteX41" fmla="*/ 744569 w 3022283"/>
                  <a:gd name="connsiteY41" fmla="*/ 128016 h 220122"/>
                  <a:gd name="connsiteX42" fmla="*/ 858107 w 3022283"/>
                  <a:gd name="connsiteY42" fmla="*/ 128016 h 220122"/>
                  <a:gd name="connsiteX43" fmla="*/ 858107 w 3022283"/>
                  <a:gd name="connsiteY43" fmla="*/ 134207 h 220122"/>
                  <a:gd name="connsiteX44" fmla="*/ 1127284 w 3022283"/>
                  <a:gd name="connsiteY44" fmla="*/ 134207 h 220122"/>
                  <a:gd name="connsiteX45" fmla="*/ 1127284 w 3022283"/>
                  <a:gd name="connsiteY45" fmla="*/ 140493 h 220122"/>
                  <a:gd name="connsiteX46" fmla="*/ 1200912 w 3022283"/>
                  <a:gd name="connsiteY46" fmla="*/ 140493 h 220122"/>
                  <a:gd name="connsiteX47" fmla="*/ 1200912 w 3022283"/>
                  <a:gd name="connsiteY47" fmla="*/ 146780 h 220122"/>
                  <a:gd name="connsiteX48" fmla="*/ 1280827 w 3022283"/>
                  <a:gd name="connsiteY48" fmla="*/ 146780 h 220122"/>
                  <a:gd name="connsiteX49" fmla="*/ 1280827 w 3022283"/>
                  <a:gd name="connsiteY49" fmla="*/ 153066 h 220122"/>
                  <a:gd name="connsiteX50" fmla="*/ 1442752 w 3022283"/>
                  <a:gd name="connsiteY50" fmla="*/ 153066 h 220122"/>
                  <a:gd name="connsiteX51" fmla="*/ 1442752 w 3022283"/>
                  <a:gd name="connsiteY51" fmla="*/ 159543 h 220122"/>
                  <a:gd name="connsiteX52" fmla="*/ 1459611 w 3022283"/>
                  <a:gd name="connsiteY52" fmla="*/ 159543 h 220122"/>
                  <a:gd name="connsiteX53" fmla="*/ 1459611 w 3022283"/>
                  <a:gd name="connsiteY53" fmla="*/ 165925 h 220122"/>
                  <a:gd name="connsiteX54" fmla="*/ 1577435 w 3022283"/>
                  <a:gd name="connsiteY54" fmla="*/ 165925 h 220122"/>
                  <a:gd name="connsiteX55" fmla="*/ 1577435 w 3022283"/>
                  <a:gd name="connsiteY55" fmla="*/ 172402 h 220122"/>
                  <a:gd name="connsiteX56" fmla="*/ 1669923 w 3022283"/>
                  <a:gd name="connsiteY56" fmla="*/ 172402 h 220122"/>
                  <a:gd name="connsiteX57" fmla="*/ 1669923 w 3022283"/>
                  <a:gd name="connsiteY57" fmla="*/ 178784 h 220122"/>
                  <a:gd name="connsiteX58" fmla="*/ 1688878 w 3022283"/>
                  <a:gd name="connsiteY58" fmla="*/ 178784 h 220122"/>
                  <a:gd name="connsiteX59" fmla="*/ 1688878 w 3022283"/>
                  <a:gd name="connsiteY59" fmla="*/ 185261 h 220122"/>
                  <a:gd name="connsiteX60" fmla="*/ 2542699 w 3022283"/>
                  <a:gd name="connsiteY60" fmla="*/ 185261 h 220122"/>
                  <a:gd name="connsiteX61" fmla="*/ 2542699 w 3022283"/>
                  <a:gd name="connsiteY61" fmla="*/ 220122 h 220122"/>
                  <a:gd name="connsiteX62" fmla="*/ 3022283 w 3022283"/>
                  <a:gd name="connsiteY62" fmla="*/ 220122 h 220122"/>
                  <a:gd name="connsiteX0" fmla="*/ 0 w 3022283"/>
                  <a:gd name="connsiteY0" fmla="*/ 0 h 214122"/>
                  <a:gd name="connsiteX1" fmla="*/ 21050 w 3022283"/>
                  <a:gd name="connsiteY1" fmla="*/ 0 h 214122"/>
                  <a:gd name="connsiteX2" fmla="*/ 21050 w 3022283"/>
                  <a:gd name="connsiteY2" fmla="*/ 6096 h 214122"/>
                  <a:gd name="connsiteX3" fmla="*/ 27337 w 3022283"/>
                  <a:gd name="connsiteY3" fmla="*/ 6096 h 214122"/>
                  <a:gd name="connsiteX4" fmla="*/ 27337 w 3022283"/>
                  <a:gd name="connsiteY4" fmla="*/ 12192 h 214122"/>
                  <a:gd name="connsiteX5" fmla="*/ 69437 w 3022283"/>
                  <a:gd name="connsiteY5" fmla="*/ 12192 h 214122"/>
                  <a:gd name="connsiteX6" fmla="*/ 69437 w 3022283"/>
                  <a:gd name="connsiteY6" fmla="*/ 18193 h 214122"/>
                  <a:gd name="connsiteX7" fmla="*/ 84106 w 3022283"/>
                  <a:gd name="connsiteY7" fmla="*/ 18193 h 214122"/>
                  <a:gd name="connsiteX8" fmla="*/ 84106 w 3022283"/>
                  <a:gd name="connsiteY8" fmla="*/ 24289 h 214122"/>
                  <a:gd name="connsiteX9" fmla="*/ 113633 w 3022283"/>
                  <a:gd name="connsiteY9" fmla="*/ 24289 h 214122"/>
                  <a:gd name="connsiteX10" fmla="*/ 113633 w 3022283"/>
                  <a:gd name="connsiteY10" fmla="*/ 30385 h 214122"/>
                  <a:gd name="connsiteX11" fmla="*/ 115729 w 3022283"/>
                  <a:gd name="connsiteY11" fmla="*/ 30385 h 214122"/>
                  <a:gd name="connsiteX12" fmla="*/ 115729 w 3022283"/>
                  <a:gd name="connsiteY12" fmla="*/ 36386 h 214122"/>
                  <a:gd name="connsiteX13" fmla="*/ 138779 w 3022283"/>
                  <a:gd name="connsiteY13" fmla="*/ 36386 h 214122"/>
                  <a:gd name="connsiteX14" fmla="*/ 138779 w 3022283"/>
                  <a:gd name="connsiteY14" fmla="*/ 42482 h 214122"/>
                  <a:gd name="connsiteX15" fmla="*/ 151448 w 3022283"/>
                  <a:gd name="connsiteY15" fmla="*/ 42482 h 214122"/>
                  <a:gd name="connsiteX16" fmla="*/ 151448 w 3022283"/>
                  <a:gd name="connsiteY16" fmla="*/ 48578 h 214122"/>
                  <a:gd name="connsiteX17" fmla="*/ 187166 w 3022283"/>
                  <a:gd name="connsiteY17" fmla="*/ 48578 h 214122"/>
                  <a:gd name="connsiteX18" fmla="*/ 187166 w 3022283"/>
                  <a:gd name="connsiteY18" fmla="*/ 54674 h 214122"/>
                  <a:gd name="connsiteX19" fmla="*/ 302895 w 3022283"/>
                  <a:gd name="connsiteY19" fmla="*/ 54674 h 214122"/>
                  <a:gd name="connsiteX20" fmla="*/ 302895 w 3022283"/>
                  <a:gd name="connsiteY20" fmla="*/ 60675 h 214122"/>
                  <a:gd name="connsiteX21" fmla="*/ 340709 w 3022283"/>
                  <a:gd name="connsiteY21" fmla="*/ 60675 h 214122"/>
                  <a:gd name="connsiteX22" fmla="*/ 340709 w 3022283"/>
                  <a:gd name="connsiteY22" fmla="*/ 66866 h 214122"/>
                  <a:gd name="connsiteX23" fmla="*/ 393287 w 3022283"/>
                  <a:gd name="connsiteY23" fmla="*/ 66866 h 214122"/>
                  <a:gd name="connsiteX24" fmla="*/ 393287 w 3022283"/>
                  <a:gd name="connsiteY24" fmla="*/ 72962 h 214122"/>
                  <a:gd name="connsiteX25" fmla="*/ 412242 w 3022283"/>
                  <a:gd name="connsiteY25" fmla="*/ 72962 h 214122"/>
                  <a:gd name="connsiteX26" fmla="*/ 412242 w 3022283"/>
                  <a:gd name="connsiteY26" fmla="*/ 79058 h 214122"/>
                  <a:gd name="connsiteX27" fmla="*/ 422720 w 3022283"/>
                  <a:gd name="connsiteY27" fmla="*/ 79058 h 214122"/>
                  <a:gd name="connsiteX28" fmla="*/ 422720 w 3022283"/>
                  <a:gd name="connsiteY28" fmla="*/ 85249 h 214122"/>
                  <a:gd name="connsiteX29" fmla="*/ 456438 w 3022283"/>
                  <a:gd name="connsiteY29" fmla="*/ 85249 h 214122"/>
                  <a:gd name="connsiteX30" fmla="*/ 456438 w 3022283"/>
                  <a:gd name="connsiteY30" fmla="*/ 91345 h 214122"/>
                  <a:gd name="connsiteX31" fmla="*/ 462725 w 3022283"/>
                  <a:gd name="connsiteY31" fmla="*/ 91345 h 214122"/>
                  <a:gd name="connsiteX32" fmla="*/ 462725 w 3022283"/>
                  <a:gd name="connsiteY32" fmla="*/ 97441 h 214122"/>
                  <a:gd name="connsiteX33" fmla="*/ 477393 w 3022283"/>
                  <a:gd name="connsiteY33" fmla="*/ 97441 h 214122"/>
                  <a:gd name="connsiteX34" fmla="*/ 477393 w 3022283"/>
                  <a:gd name="connsiteY34" fmla="*/ 103537 h 214122"/>
                  <a:gd name="connsiteX35" fmla="*/ 490061 w 3022283"/>
                  <a:gd name="connsiteY35" fmla="*/ 103537 h 214122"/>
                  <a:gd name="connsiteX36" fmla="*/ 490061 w 3022283"/>
                  <a:gd name="connsiteY36" fmla="*/ 109728 h 214122"/>
                  <a:gd name="connsiteX37" fmla="*/ 515303 w 3022283"/>
                  <a:gd name="connsiteY37" fmla="*/ 109728 h 214122"/>
                  <a:gd name="connsiteX38" fmla="*/ 515303 w 3022283"/>
                  <a:gd name="connsiteY38" fmla="*/ 115824 h 214122"/>
                  <a:gd name="connsiteX39" fmla="*/ 744569 w 3022283"/>
                  <a:gd name="connsiteY39" fmla="*/ 115824 h 214122"/>
                  <a:gd name="connsiteX40" fmla="*/ 744569 w 3022283"/>
                  <a:gd name="connsiteY40" fmla="*/ 122016 h 214122"/>
                  <a:gd name="connsiteX41" fmla="*/ 858107 w 3022283"/>
                  <a:gd name="connsiteY41" fmla="*/ 122016 h 214122"/>
                  <a:gd name="connsiteX42" fmla="*/ 858107 w 3022283"/>
                  <a:gd name="connsiteY42" fmla="*/ 128207 h 214122"/>
                  <a:gd name="connsiteX43" fmla="*/ 1127284 w 3022283"/>
                  <a:gd name="connsiteY43" fmla="*/ 128207 h 214122"/>
                  <a:gd name="connsiteX44" fmla="*/ 1127284 w 3022283"/>
                  <a:gd name="connsiteY44" fmla="*/ 134493 h 214122"/>
                  <a:gd name="connsiteX45" fmla="*/ 1200912 w 3022283"/>
                  <a:gd name="connsiteY45" fmla="*/ 134493 h 214122"/>
                  <a:gd name="connsiteX46" fmla="*/ 1200912 w 3022283"/>
                  <a:gd name="connsiteY46" fmla="*/ 140780 h 214122"/>
                  <a:gd name="connsiteX47" fmla="*/ 1280827 w 3022283"/>
                  <a:gd name="connsiteY47" fmla="*/ 140780 h 214122"/>
                  <a:gd name="connsiteX48" fmla="*/ 1280827 w 3022283"/>
                  <a:gd name="connsiteY48" fmla="*/ 147066 h 214122"/>
                  <a:gd name="connsiteX49" fmla="*/ 1442752 w 3022283"/>
                  <a:gd name="connsiteY49" fmla="*/ 147066 h 214122"/>
                  <a:gd name="connsiteX50" fmla="*/ 1442752 w 3022283"/>
                  <a:gd name="connsiteY50" fmla="*/ 153543 h 214122"/>
                  <a:gd name="connsiteX51" fmla="*/ 1459611 w 3022283"/>
                  <a:gd name="connsiteY51" fmla="*/ 153543 h 214122"/>
                  <a:gd name="connsiteX52" fmla="*/ 1459611 w 3022283"/>
                  <a:gd name="connsiteY52" fmla="*/ 159925 h 214122"/>
                  <a:gd name="connsiteX53" fmla="*/ 1577435 w 3022283"/>
                  <a:gd name="connsiteY53" fmla="*/ 159925 h 214122"/>
                  <a:gd name="connsiteX54" fmla="*/ 1577435 w 3022283"/>
                  <a:gd name="connsiteY54" fmla="*/ 166402 h 214122"/>
                  <a:gd name="connsiteX55" fmla="*/ 1669923 w 3022283"/>
                  <a:gd name="connsiteY55" fmla="*/ 166402 h 214122"/>
                  <a:gd name="connsiteX56" fmla="*/ 1669923 w 3022283"/>
                  <a:gd name="connsiteY56" fmla="*/ 172784 h 214122"/>
                  <a:gd name="connsiteX57" fmla="*/ 1688878 w 3022283"/>
                  <a:gd name="connsiteY57" fmla="*/ 172784 h 214122"/>
                  <a:gd name="connsiteX58" fmla="*/ 1688878 w 3022283"/>
                  <a:gd name="connsiteY58" fmla="*/ 179261 h 214122"/>
                  <a:gd name="connsiteX59" fmla="*/ 2542699 w 3022283"/>
                  <a:gd name="connsiteY59" fmla="*/ 179261 h 214122"/>
                  <a:gd name="connsiteX60" fmla="*/ 2542699 w 3022283"/>
                  <a:gd name="connsiteY60" fmla="*/ 214122 h 214122"/>
                  <a:gd name="connsiteX61" fmla="*/ 3022283 w 3022283"/>
                  <a:gd name="connsiteY61" fmla="*/ 214122 h 214122"/>
                  <a:gd name="connsiteX0" fmla="*/ 0 w 3001233"/>
                  <a:gd name="connsiteY0" fmla="*/ 0 h 214122"/>
                  <a:gd name="connsiteX1" fmla="*/ 0 w 3001233"/>
                  <a:gd name="connsiteY1" fmla="*/ 6096 h 214122"/>
                  <a:gd name="connsiteX2" fmla="*/ 6287 w 3001233"/>
                  <a:gd name="connsiteY2" fmla="*/ 6096 h 214122"/>
                  <a:gd name="connsiteX3" fmla="*/ 6287 w 3001233"/>
                  <a:gd name="connsiteY3" fmla="*/ 12192 h 214122"/>
                  <a:gd name="connsiteX4" fmla="*/ 48387 w 3001233"/>
                  <a:gd name="connsiteY4" fmla="*/ 12192 h 214122"/>
                  <a:gd name="connsiteX5" fmla="*/ 48387 w 3001233"/>
                  <a:gd name="connsiteY5" fmla="*/ 18193 h 214122"/>
                  <a:gd name="connsiteX6" fmla="*/ 63056 w 3001233"/>
                  <a:gd name="connsiteY6" fmla="*/ 18193 h 214122"/>
                  <a:gd name="connsiteX7" fmla="*/ 63056 w 3001233"/>
                  <a:gd name="connsiteY7" fmla="*/ 24289 h 214122"/>
                  <a:gd name="connsiteX8" fmla="*/ 92583 w 3001233"/>
                  <a:gd name="connsiteY8" fmla="*/ 24289 h 214122"/>
                  <a:gd name="connsiteX9" fmla="*/ 92583 w 3001233"/>
                  <a:gd name="connsiteY9" fmla="*/ 30385 h 214122"/>
                  <a:gd name="connsiteX10" fmla="*/ 94679 w 3001233"/>
                  <a:gd name="connsiteY10" fmla="*/ 30385 h 214122"/>
                  <a:gd name="connsiteX11" fmla="*/ 94679 w 3001233"/>
                  <a:gd name="connsiteY11" fmla="*/ 36386 h 214122"/>
                  <a:gd name="connsiteX12" fmla="*/ 117729 w 3001233"/>
                  <a:gd name="connsiteY12" fmla="*/ 36386 h 214122"/>
                  <a:gd name="connsiteX13" fmla="*/ 117729 w 3001233"/>
                  <a:gd name="connsiteY13" fmla="*/ 42482 h 214122"/>
                  <a:gd name="connsiteX14" fmla="*/ 130398 w 3001233"/>
                  <a:gd name="connsiteY14" fmla="*/ 42482 h 214122"/>
                  <a:gd name="connsiteX15" fmla="*/ 130398 w 3001233"/>
                  <a:gd name="connsiteY15" fmla="*/ 48578 h 214122"/>
                  <a:gd name="connsiteX16" fmla="*/ 166116 w 3001233"/>
                  <a:gd name="connsiteY16" fmla="*/ 48578 h 214122"/>
                  <a:gd name="connsiteX17" fmla="*/ 166116 w 3001233"/>
                  <a:gd name="connsiteY17" fmla="*/ 54674 h 214122"/>
                  <a:gd name="connsiteX18" fmla="*/ 281845 w 3001233"/>
                  <a:gd name="connsiteY18" fmla="*/ 54674 h 214122"/>
                  <a:gd name="connsiteX19" fmla="*/ 281845 w 3001233"/>
                  <a:gd name="connsiteY19" fmla="*/ 60675 h 214122"/>
                  <a:gd name="connsiteX20" fmla="*/ 319659 w 3001233"/>
                  <a:gd name="connsiteY20" fmla="*/ 60675 h 214122"/>
                  <a:gd name="connsiteX21" fmla="*/ 319659 w 3001233"/>
                  <a:gd name="connsiteY21" fmla="*/ 66866 h 214122"/>
                  <a:gd name="connsiteX22" fmla="*/ 372237 w 3001233"/>
                  <a:gd name="connsiteY22" fmla="*/ 66866 h 214122"/>
                  <a:gd name="connsiteX23" fmla="*/ 372237 w 3001233"/>
                  <a:gd name="connsiteY23" fmla="*/ 72962 h 214122"/>
                  <a:gd name="connsiteX24" fmla="*/ 391192 w 3001233"/>
                  <a:gd name="connsiteY24" fmla="*/ 72962 h 214122"/>
                  <a:gd name="connsiteX25" fmla="*/ 391192 w 3001233"/>
                  <a:gd name="connsiteY25" fmla="*/ 79058 h 214122"/>
                  <a:gd name="connsiteX26" fmla="*/ 401670 w 3001233"/>
                  <a:gd name="connsiteY26" fmla="*/ 79058 h 214122"/>
                  <a:gd name="connsiteX27" fmla="*/ 401670 w 3001233"/>
                  <a:gd name="connsiteY27" fmla="*/ 85249 h 214122"/>
                  <a:gd name="connsiteX28" fmla="*/ 435388 w 3001233"/>
                  <a:gd name="connsiteY28" fmla="*/ 85249 h 214122"/>
                  <a:gd name="connsiteX29" fmla="*/ 435388 w 3001233"/>
                  <a:gd name="connsiteY29" fmla="*/ 91345 h 214122"/>
                  <a:gd name="connsiteX30" fmla="*/ 441675 w 3001233"/>
                  <a:gd name="connsiteY30" fmla="*/ 91345 h 214122"/>
                  <a:gd name="connsiteX31" fmla="*/ 441675 w 3001233"/>
                  <a:gd name="connsiteY31" fmla="*/ 97441 h 214122"/>
                  <a:gd name="connsiteX32" fmla="*/ 456343 w 3001233"/>
                  <a:gd name="connsiteY32" fmla="*/ 97441 h 214122"/>
                  <a:gd name="connsiteX33" fmla="*/ 456343 w 3001233"/>
                  <a:gd name="connsiteY33" fmla="*/ 103537 h 214122"/>
                  <a:gd name="connsiteX34" fmla="*/ 469011 w 3001233"/>
                  <a:gd name="connsiteY34" fmla="*/ 103537 h 214122"/>
                  <a:gd name="connsiteX35" fmla="*/ 469011 w 3001233"/>
                  <a:gd name="connsiteY35" fmla="*/ 109728 h 214122"/>
                  <a:gd name="connsiteX36" fmla="*/ 494253 w 3001233"/>
                  <a:gd name="connsiteY36" fmla="*/ 109728 h 214122"/>
                  <a:gd name="connsiteX37" fmla="*/ 494253 w 3001233"/>
                  <a:gd name="connsiteY37" fmla="*/ 115824 h 214122"/>
                  <a:gd name="connsiteX38" fmla="*/ 723519 w 3001233"/>
                  <a:gd name="connsiteY38" fmla="*/ 115824 h 214122"/>
                  <a:gd name="connsiteX39" fmla="*/ 723519 w 3001233"/>
                  <a:gd name="connsiteY39" fmla="*/ 122016 h 214122"/>
                  <a:gd name="connsiteX40" fmla="*/ 837057 w 3001233"/>
                  <a:gd name="connsiteY40" fmla="*/ 122016 h 214122"/>
                  <a:gd name="connsiteX41" fmla="*/ 837057 w 3001233"/>
                  <a:gd name="connsiteY41" fmla="*/ 128207 h 214122"/>
                  <a:gd name="connsiteX42" fmla="*/ 1106234 w 3001233"/>
                  <a:gd name="connsiteY42" fmla="*/ 128207 h 214122"/>
                  <a:gd name="connsiteX43" fmla="*/ 1106234 w 3001233"/>
                  <a:gd name="connsiteY43" fmla="*/ 134493 h 214122"/>
                  <a:gd name="connsiteX44" fmla="*/ 1179862 w 3001233"/>
                  <a:gd name="connsiteY44" fmla="*/ 134493 h 214122"/>
                  <a:gd name="connsiteX45" fmla="*/ 1179862 w 3001233"/>
                  <a:gd name="connsiteY45" fmla="*/ 140780 h 214122"/>
                  <a:gd name="connsiteX46" fmla="*/ 1259777 w 3001233"/>
                  <a:gd name="connsiteY46" fmla="*/ 140780 h 214122"/>
                  <a:gd name="connsiteX47" fmla="*/ 1259777 w 3001233"/>
                  <a:gd name="connsiteY47" fmla="*/ 147066 h 214122"/>
                  <a:gd name="connsiteX48" fmla="*/ 1421702 w 3001233"/>
                  <a:gd name="connsiteY48" fmla="*/ 147066 h 214122"/>
                  <a:gd name="connsiteX49" fmla="*/ 1421702 w 3001233"/>
                  <a:gd name="connsiteY49" fmla="*/ 153543 h 214122"/>
                  <a:gd name="connsiteX50" fmla="*/ 1438561 w 3001233"/>
                  <a:gd name="connsiteY50" fmla="*/ 153543 h 214122"/>
                  <a:gd name="connsiteX51" fmla="*/ 1438561 w 3001233"/>
                  <a:gd name="connsiteY51" fmla="*/ 159925 h 214122"/>
                  <a:gd name="connsiteX52" fmla="*/ 1556385 w 3001233"/>
                  <a:gd name="connsiteY52" fmla="*/ 159925 h 214122"/>
                  <a:gd name="connsiteX53" fmla="*/ 1556385 w 3001233"/>
                  <a:gd name="connsiteY53" fmla="*/ 166402 h 214122"/>
                  <a:gd name="connsiteX54" fmla="*/ 1648873 w 3001233"/>
                  <a:gd name="connsiteY54" fmla="*/ 166402 h 214122"/>
                  <a:gd name="connsiteX55" fmla="*/ 1648873 w 3001233"/>
                  <a:gd name="connsiteY55" fmla="*/ 172784 h 214122"/>
                  <a:gd name="connsiteX56" fmla="*/ 1667828 w 3001233"/>
                  <a:gd name="connsiteY56" fmla="*/ 172784 h 214122"/>
                  <a:gd name="connsiteX57" fmla="*/ 1667828 w 3001233"/>
                  <a:gd name="connsiteY57" fmla="*/ 179261 h 214122"/>
                  <a:gd name="connsiteX58" fmla="*/ 2521649 w 3001233"/>
                  <a:gd name="connsiteY58" fmla="*/ 179261 h 214122"/>
                  <a:gd name="connsiteX59" fmla="*/ 2521649 w 3001233"/>
                  <a:gd name="connsiteY59" fmla="*/ 214122 h 214122"/>
                  <a:gd name="connsiteX60" fmla="*/ 3001233 w 3001233"/>
                  <a:gd name="connsiteY60" fmla="*/ 214122 h 214122"/>
                  <a:gd name="connsiteX0" fmla="*/ 0 w 3001233"/>
                  <a:gd name="connsiteY0" fmla="*/ 0 h 208026"/>
                  <a:gd name="connsiteX1" fmla="*/ 6287 w 3001233"/>
                  <a:gd name="connsiteY1" fmla="*/ 0 h 208026"/>
                  <a:gd name="connsiteX2" fmla="*/ 6287 w 3001233"/>
                  <a:gd name="connsiteY2" fmla="*/ 6096 h 208026"/>
                  <a:gd name="connsiteX3" fmla="*/ 48387 w 3001233"/>
                  <a:gd name="connsiteY3" fmla="*/ 6096 h 208026"/>
                  <a:gd name="connsiteX4" fmla="*/ 48387 w 3001233"/>
                  <a:gd name="connsiteY4" fmla="*/ 12097 h 208026"/>
                  <a:gd name="connsiteX5" fmla="*/ 63056 w 3001233"/>
                  <a:gd name="connsiteY5" fmla="*/ 12097 h 208026"/>
                  <a:gd name="connsiteX6" fmla="*/ 63056 w 3001233"/>
                  <a:gd name="connsiteY6" fmla="*/ 18193 h 208026"/>
                  <a:gd name="connsiteX7" fmla="*/ 92583 w 3001233"/>
                  <a:gd name="connsiteY7" fmla="*/ 18193 h 208026"/>
                  <a:gd name="connsiteX8" fmla="*/ 92583 w 3001233"/>
                  <a:gd name="connsiteY8" fmla="*/ 24289 h 208026"/>
                  <a:gd name="connsiteX9" fmla="*/ 94679 w 3001233"/>
                  <a:gd name="connsiteY9" fmla="*/ 24289 h 208026"/>
                  <a:gd name="connsiteX10" fmla="*/ 94679 w 3001233"/>
                  <a:gd name="connsiteY10" fmla="*/ 30290 h 208026"/>
                  <a:gd name="connsiteX11" fmla="*/ 117729 w 3001233"/>
                  <a:gd name="connsiteY11" fmla="*/ 30290 h 208026"/>
                  <a:gd name="connsiteX12" fmla="*/ 117729 w 3001233"/>
                  <a:gd name="connsiteY12" fmla="*/ 36386 h 208026"/>
                  <a:gd name="connsiteX13" fmla="*/ 130398 w 3001233"/>
                  <a:gd name="connsiteY13" fmla="*/ 36386 h 208026"/>
                  <a:gd name="connsiteX14" fmla="*/ 130398 w 3001233"/>
                  <a:gd name="connsiteY14" fmla="*/ 42482 h 208026"/>
                  <a:gd name="connsiteX15" fmla="*/ 166116 w 3001233"/>
                  <a:gd name="connsiteY15" fmla="*/ 42482 h 208026"/>
                  <a:gd name="connsiteX16" fmla="*/ 166116 w 3001233"/>
                  <a:gd name="connsiteY16" fmla="*/ 48578 h 208026"/>
                  <a:gd name="connsiteX17" fmla="*/ 281845 w 3001233"/>
                  <a:gd name="connsiteY17" fmla="*/ 48578 h 208026"/>
                  <a:gd name="connsiteX18" fmla="*/ 281845 w 3001233"/>
                  <a:gd name="connsiteY18" fmla="*/ 54579 h 208026"/>
                  <a:gd name="connsiteX19" fmla="*/ 319659 w 3001233"/>
                  <a:gd name="connsiteY19" fmla="*/ 54579 h 208026"/>
                  <a:gd name="connsiteX20" fmla="*/ 319659 w 3001233"/>
                  <a:gd name="connsiteY20" fmla="*/ 60770 h 208026"/>
                  <a:gd name="connsiteX21" fmla="*/ 372237 w 3001233"/>
                  <a:gd name="connsiteY21" fmla="*/ 60770 h 208026"/>
                  <a:gd name="connsiteX22" fmla="*/ 372237 w 3001233"/>
                  <a:gd name="connsiteY22" fmla="*/ 66866 h 208026"/>
                  <a:gd name="connsiteX23" fmla="*/ 391192 w 3001233"/>
                  <a:gd name="connsiteY23" fmla="*/ 66866 h 208026"/>
                  <a:gd name="connsiteX24" fmla="*/ 391192 w 3001233"/>
                  <a:gd name="connsiteY24" fmla="*/ 72962 h 208026"/>
                  <a:gd name="connsiteX25" fmla="*/ 401670 w 3001233"/>
                  <a:gd name="connsiteY25" fmla="*/ 72962 h 208026"/>
                  <a:gd name="connsiteX26" fmla="*/ 401670 w 3001233"/>
                  <a:gd name="connsiteY26" fmla="*/ 79153 h 208026"/>
                  <a:gd name="connsiteX27" fmla="*/ 435388 w 3001233"/>
                  <a:gd name="connsiteY27" fmla="*/ 79153 h 208026"/>
                  <a:gd name="connsiteX28" fmla="*/ 435388 w 3001233"/>
                  <a:gd name="connsiteY28" fmla="*/ 85249 h 208026"/>
                  <a:gd name="connsiteX29" fmla="*/ 441675 w 3001233"/>
                  <a:gd name="connsiteY29" fmla="*/ 85249 h 208026"/>
                  <a:gd name="connsiteX30" fmla="*/ 441675 w 3001233"/>
                  <a:gd name="connsiteY30" fmla="*/ 91345 h 208026"/>
                  <a:gd name="connsiteX31" fmla="*/ 456343 w 3001233"/>
                  <a:gd name="connsiteY31" fmla="*/ 91345 h 208026"/>
                  <a:gd name="connsiteX32" fmla="*/ 456343 w 3001233"/>
                  <a:gd name="connsiteY32" fmla="*/ 97441 h 208026"/>
                  <a:gd name="connsiteX33" fmla="*/ 469011 w 3001233"/>
                  <a:gd name="connsiteY33" fmla="*/ 97441 h 208026"/>
                  <a:gd name="connsiteX34" fmla="*/ 469011 w 3001233"/>
                  <a:gd name="connsiteY34" fmla="*/ 103632 h 208026"/>
                  <a:gd name="connsiteX35" fmla="*/ 494253 w 3001233"/>
                  <a:gd name="connsiteY35" fmla="*/ 103632 h 208026"/>
                  <a:gd name="connsiteX36" fmla="*/ 494253 w 3001233"/>
                  <a:gd name="connsiteY36" fmla="*/ 109728 h 208026"/>
                  <a:gd name="connsiteX37" fmla="*/ 723519 w 3001233"/>
                  <a:gd name="connsiteY37" fmla="*/ 109728 h 208026"/>
                  <a:gd name="connsiteX38" fmla="*/ 723519 w 3001233"/>
                  <a:gd name="connsiteY38" fmla="*/ 115920 h 208026"/>
                  <a:gd name="connsiteX39" fmla="*/ 837057 w 3001233"/>
                  <a:gd name="connsiteY39" fmla="*/ 115920 h 208026"/>
                  <a:gd name="connsiteX40" fmla="*/ 837057 w 3001233"/>
                  <a:gd name="connsiteY40" fmla="*/ 122111 h 208026"/>
                  <a:gd name="connsiteX41" fmla="*/ 1106234 w 3001233"/>
                  <a:gd name="connsiteY41" fmla="*/ 122111 h 208026"/>
                  <a:gd name="connsiteX42" fmla="*/ 1106234 w 3001233"/>
                  <a:gd name="connsiteY42" fmla="*/ 128397 h 208026"/>
                  <a:gd name="connsiteX43" fmla="*/ 1179862 w 3001233"/>
                  <a:gd name="connsiteY43" fmla="*/ 128397 h 208026"/>
                  <a:gd name="connsiteX44" fmla="*/ 1179862 w 3001233"/>
                  <a:gd name="connsiteY44" fmla="*/ 134684 h 208026"/>
                  <a:gd name="connsiteX45" fmla="*/ 1259777 w 3001233"/>
                  <a:gd name="connsiteY45" fmla="*/ 134684 h 208026"/>
                  <a:gd name="connsiteX46" fmla="*/ 1259777 w 3001233"/>
                  <a:gd name="connsiteY46" fmla="*/ 140970 h 208026"/>
                  <a:gd name="connsiteX47" fmla="*/ 1421702 w 3001233"/>
                  <a:gd name="connsiteY47" fmla="*/ 140970 h 208026"/>
                  <a:gd name="connsiteX48" fmla="*/ 1421702 w 3001233"/>
                  <a:gd name="connsiteY48" fmla="*/ 147447 h 208026"/>
                  <a:gd name="connsiteX49" fmla="*/ 1438561 w 3001233"/>
                  <a:gd name="connsiteY49" fmla="*/ 147447 h 208026"/>
                  <a:gd name="connsiteX50" fmla="*/ 1438561 w 3001233"/>
                  <a:gd name="connsiteY50" fmla="*/ 153829 h 208026"/>
                  <a:gd name="connsiteX51" fmla="*/ 1556385 w 3001233"/>
                  <a:gd name="connsiteY51" fmla="*/ 153829 h 208026"/>
                  <a:gd name="connsiteX52" fmla="*/ 1556385 w 3001233"/>
                  <a:gd name="connsiteY52" fmla="*/ 160306 h 208026"/>
                  <a:gd name="connsiteX53" fmla="*/ 1648873 w 3001233"/>
                  <a:gd name="connsiteY53" fmla="*/ 160306 h 208026"/>
                  <a:gd name="connsiteX54" fmla="*/ 1648873 w 3001233"/>
                  <a:gd name="connsiteY54" fmla="*/ 166688 h 208026"/>
                  <a:gd name="connsiteX55" fmla="*/ 1667828 w 3001233"/>
                  <a:gd name="connsiteY55" fmla="*/ 166688 h 208026"/>
                  <a:gd name="connsiteX56" fmla="*/ 1667828 w 3001233"/>
                  <a:gd name="connsiteY56" fmla="*/ 173165 h 208026"/>
                  <a:gd name="connsiteX57" fmla="*/ 2521649 w 3001233"/>
                  <a:gd name="connsiteY57" fmla="*/ 173165 h 208026"/>
                  <a:gd name="connsiteX58" fmla="*/ 2521649 w 3001233"/>
                  <a:gd name="connsiteY58" fmla="*/ 208026 h 208026"/>
                  <a:gd name="connsiteX59" fmla="*/ 3001233 w 3001233"/>
                  <a:gd name="connsiteY59" fmla="*/ 208026 h 208026"/>
                  <a:gd name="connsiteX0" fmla="*/ 0 w 3001233"/>
                  <a:gd name="connsiteY0" fmla="*/ 0 h 208026"/>
                  <a:gd name="connsiteX1" fmla="*/ 6287 w 3001233"/>
                  <a:gd name="connsiteY1" fmla="*/ 0 h 208026"/>
                  <a:gd name="connsiteX2" fmla="*/ 48387 w 3001233"/>
                  <a:gd name="connsiteY2" fmla="*/ 6096 h 208026"/>
                  <a:gd name="connsiteX3" fmla="*/ 48387 w 3001233"/>
                  <a:gd name="connsiteY3" fmla="*/ 12097 h 208026"/>
                  <a:gd name="connsiteX4" fmla="*/ 63056 w 3001233"/>
                  <a:gd name="connsiteY4" fmla="*/ 12097 h 208026"/>
                  <a:gd name="connsiteX5" fmla="*/ 63056 w 3001233"/>
                  <a:gd name="connsiteY5" fmla="*/ 18193 h 208026"/>
                  <a:gd name="connsiteX6" fmla="*/ 92583 w 3001233"/>
                  <a:gd name="connsiteY6" fmla="*/ 18193 h 208026"/>
                  <a:gd name="connsiteX7" fmla="*/ 92583 w 3001233"/>
                  <a:gd name="connsiteY7" fmla="*/ 24289 h 208026"/>
                  <a:gd name="connsiteX8" fmla="*/ 94679 w 3001233"/>
                  <a:gd name="connsiteY8" fmla="*/ 24289 h 208026"/>
                  <a:gd name="connsiteX9" fmla="*/ 94679 w 3001233"/>
                  <a:gd name="connsiteY9" fmla="*/ 30290 h 208026"/>
                  <a:gd name="connsiteX10" fmla="*/ 117729 w 3001233"/>
                  <a:gd name="connsiteY10" fmla="*/ 30290 h 208026"/>
                  <a:gd name="connsiteX11" fmla="*/ 117729 w 3001233"/>
                  <a:gd name="connsiteY11" fmla="*/ 36386 h 208026"/>
                  <a:gd name="connsiteX12" fmla="*/ 130398 w 3001233"/>
                  <a:gd name="connsiteY12" fmla="*/ 36386 h 208026"/>
                  <a:gd name="connsiteX13" fmla="*/ 130398 w 3001233"/>
                  <a:gd name="connsiteY13" fmla="*/ 42482 h 208026"/>
                  <a:gd name="connsiteX14" fmla="*/ 166116 w 3001233"/>
                  <a:gd name="connsiteY14" fmla="*/ 42482 h 208026"/>
                  <a:gd name="connsiteX15" fmla="*/ 166116 w 3001233"/>
                  <a:gd name="connsiteY15" fmla="*/ 48578 h 208026"/>
                  <a:gd name="connsiteX16" fmla="*/ 281845 w 3001233"/>
                  <a:gd name="connsiteY16" fmla="*/ 48578 h 208026"/>
                  <a:gd name="connsiteX17" fmla="*/ 281845 w 3001233"/>
                  <a:gd name="connsiteY17" fmla="*/ 54579 h 208026"/>
                  <a:gd name="connsiteX18" fmla="*/ 319659 w 3001233"/>
                  <a:gd name="connsiteY18" fmla="*/ 54579 h 208026"/>
                  <a:gd name="connsiteX19" fmla="*/ 319659 w 3001233"/>
                  <a:gd name="connsiteY19" fmla="*/ 60770 h 208026"/>
                  <a:gd name="connsiteX20" fmla="*/ 372237 w 3001233"/>
                  <a:gd name="connsiteY20" fmla="*/ 60770 h 208026"/>
                  <a:gd name="connsiteX21" fmla="*/ 372237 w 3001233"/>
                  <a:gd name="connsiteY21" fmla="*/ 66866 h 208026"/>
                  <a:gd name="connsiteX22" fmla="*/ 391192 w 3001233"/>
                  <a:gd name="connsiteY22" fmla="*/ 66866 h 208026"/>
                  <a:gd name="connsiteX23" fmla="*/ 391192 w 3001233"/>
                  <a:gd name="connsiteY23" fmla="*/ 72962 h 208026"/>
                  <a:gd name="connsiteX24" fmla="*/ 401670 w 3001233"/>
                  <a:gd name="connsiteY24" fmla="*/ 72962 h 208026"/>
                  <a:gd name="connsiteX25" fmla="*/ 401670 w 3001233"/>
                  <a:gd name="connsiteY25" fmla="*/ 79153 h 208026"/>
                  <a:gd name="connsiteX26" fmla="*/ 435388 w 3001233"/>
                  <a:gd name="connsiteY26" fmla="*/ 79153 h 208026"/>
                  <a:gd name="connsiteX27" fmla="*/ 435388 w 3001233"/>
                  <a:gd name="connsiteY27" fmla="*/ 85249 h 208026"/>
                  <a:gd name="connsiteX28" fmla="*/ 441675 w 3001233"/>
                  <a:gd name="connsiteY28" fmla="*/ 85249 h 208026"/>
                  <a:gd name="connsiteX29" fmla="*/ 441675 w 3001233"/>
                  <a:gd name="connsiteY29" fmla="*/ 91345 h 208026"/>
                  <a:gd name="connsiteX30" fmla="*/ 456343 w 3001233"/>
                  <a:gd name="connsiteY30" fmla="*/ 91345 h 208026"/>
                  <a:gd name="connsiteX31" fmla="*/ 456343 w 3001233"/>
                  <a:gd name="connsiteY31" fmla="*/ 97441 h 208026"/>
                  <a:gd name="connsiteX32" fmla="*/ 469011 w 3001233"/>
                  <a:gd name="connsiteY32" fmla="*/ 97441 h 208026"/>
                  <a:gd name="connsiteX33" fmla="*/ 469011 w 3001233"/>
                  <a:gd name="connsiteY33" fmla="*/ 103632 h 208026"/>
                  <a:gd name="connsiteX34" fmla="*/ 494253 w 3001233"/>
                  <a:gd name="connsiteY34" fmla="*/ 103632 h 208026"/>
                  <a:gd name="connsiteX35" fmla="*/ 494253 w 3001233"/>
                  <a:gd name="connsiteY35" fmla="*/ 109728 h 208026"/>
                  <a:gd name="connsiteX36" fmla="*/ 723519 w 3001233"/>
                  <a:gd name="connsiteY36" fmla="*/ 109728 h 208026"/>
                  <a:gd name="connsiteX37" fmla="*/ 723519 w 3001233"/>
                  <a:gd name="connsiteY37" fmla="*/ 115920 h 208026"/>
                  <a:gd name="connsiteX38" fmla="*/ 837057 w 3001233"/>
                  <a:gd name="connsiteY38" fmla="*/ 115920 h 208026"/>
                  <a:gd name="connsiteX39" fmla="*/ 837057 w 3001233"/>
                  <a:gd name="connsiteY39" fmla="*/ 122111 h 208026"/>
                  <a:gd name="connsiteX40" fmla="*/ 1106234 w 3001233"/>
                  <a:gd name="connsiteY40" fmla="*/ 122111 h 208026"/>
                  <a:gd name="connsiteX41" fmla="*/ 1106234 w 3001233"/>
                  <a:gd name="connsiteY41" fmla="*/ 128397 h 208026"/>
                  <a:gd name="connsiteX42" fmla="*/ 1179862 w 3001233"/>
                  <a:gd name="connsiteY42" fmla="*/ 128397 h 208026"/>
                  <a:gd name="connsiteX43" fmla="*/ 1179862 w 3001233"/>
                  <a:gd name="connsiteY43" fmla="*/ 134684 h 208026"/>
                  <a:gd name="connsiteX44" fmla="*/ 1259777 w 3001233"/>
                  <a:gd name="connsiteY44" fmla="*/ 134684 h 208026"/>
                  <a:gd name="connsiteX45" fmla="*/ 1259777 w 3001233"/>
                  <a:gd name="connsiteY45" fmla="*/ 140970 h 208026"/>
                  <a:gd name="connsiteX46" fmla="*/ 1421702 w 3001233"/>
                  <a:gd name="connsiteY46" fmla="*/ 140970 h 208026"/>
                  <a:gd name="connsiteX47" fmla="*/ 1421702 w 3001233"/>
                  <a:gd name="connsiteY47" fmla="*/ 147447 h 208026"/>
                  <a:gd name="connsiteX48" fmla="*/ 1438561 w 3001233"/>
                  <a:gd name="connsiteY48" fmla="*/ 147447 h 208026"/>
                  <a:gd name="connsiteX49" fmla="*/ 1438561 w 3001233"/>
                  <a:gd name="connsiteY49" fmla="*/ 153829 h 208026"/>
                  <a:gd name="connsiteX50" fmla="*/ 1556385 w 3001233"/>
                  <a:gd name="connsiteY50" fmla="*/ 153829 h 208026"/>
                  <a:gd name="connsiteX51" fmla="*/ 1556385 w 3001233"/>
                  <a:gd name="connsiteY51" fmla="*/ 160306 h 208026"/>
                  <a:gd name="connsiteX52" fmla="*/ 1648873 w 3001233"/>
                  <a:gd name="connsiteY52" fmla="*/ 160306 h 208026"/>
                  <a:gd name="connsiteX53" fmla="*/ 1648873 w 3001233"/>
                  <a:gd name="connsiteY53" fmla="*/ 166688 h 208026"/>
                  <a:gd name="connsiteX54" fmla="*/ 1667828 w 3001233"/>
                  <a:gd name="connsiteY54" fmla="*/ 166688 h 208026"/>
                  <a:gd name="connsiteX55" fmla="*/ 1667828 w 3001233"/>
                  <a:gd name="connsiteY55" fmla="*/ 173165 h 208026"/>
                  <a:gd name="connsiteX56" fmla="*/ 2521649 w 3001233"/>
                  <a:gd name="connsiteY56" fmla="*/ 173165 h 208026"/>
                  <a:gd name="connsiteX57" fmla="*/ 2521649 w 3001233"/>
                  <a:gd name="connsiteY57" fmla="*/ 208026 h 208026"/>
                  <a:gd name="connsiteX58" fmla="*/ 3001233 w 3001233"/>
                  <a:gd name="connsiteY58" fmla="*/ 208026 h 208026"/>
                  <a:gd name="connsiteX0" fmla="*/ 0 w 3001233"/>
                  <a:gd name="connsiteY0" fmla="*/ 0 h 208026"/>
                  <a:gd name="connsiteX1" fmla="*/ 48387 w 3001233"/>
                  <a:gd name="connsiteY1" fmla="*/ 6096 h 208026"/>
                  <a:gd name="connsiteX2" fmla="*/ 48387 w 3001233"/>
                  <a:gd name="connsiteY2" fmla="*/ 12097 h 208026"/>
                  <a:gd name="connsiteX3" fmla="*/ 63056 w 3001233"/>
                  <a:gd name="connsiteY3" fmla="*/ 12097 h 208026"/>
                  <a:gd name="connsiteX4" fmla="*/ 63056 w 3001233"/>
                  <a:gd name="connsiteY4" fmla="*/ 18193 h 208026"/>
                  <a:gd name="connsiteX5" fmla="*/ 92583 w 3001233"/>
                  <a:gd name="connsiteY5" fmla="*/ 18193 h 208026"/>
                  <a:gd name="connsiteX6" fmla="*/ 92583 w 3001233"/>
                  <a:gd name="connsiteY6" fmla="*/ 24289 h 208026"/>
                  <a:gd name="connsiteX7" fmla="*/ 94679 w 3001233"/>
                  <a:gd name="connsiteY7" fmla="*/ 24289 h 208026"/>
                  <a:gd name="connsiteX8" fmla="*/ 94679 w 3001233"/>
                  <a:gd name="connsiteY8" fmla="*/ 30290 h 208026"/>
                  <a:gd name="connsiteX9" fmla="*/ 117729 w 3001233"/>
                  <a:gd name="connsiteY9" fmla="*/ 30290 h 208026"/>
                  <a:gd name="connsiteX10" fmla="*/ 117729 w 3001233"/>
                  <a:gd name="connsiteY10" fmla="*/ 36386 h 208026"/>
                  <a:gd name="connsiteX11" fmla="*/ 130398 w 3001233"/>
                  <a:gd name="connsiteY11" fmla="*/ 36386 h 208026"/>
                  <a:gd name="connsiteX12" fmla="*/ 130398 w 3001233"/>
                  <a:gd name="connsiteY12" fmla="*/ 42482 h 208026"/>
                  <a:gd name="connsiteX13" fmla="*/ 166116 w 3001233"/>
                  <a:gd name="connsiteY13" fmla="*/ 42482 h 208026"/>
                  <a:gd name="connsiteX14" fmla="*/ 166116 w 3001233"/>
                  <a:gd name="connsiteY14" fmla="*/ 48578 h 208026"/>
                  <a:gd name="connsiteX15" fmla="*/ 281845 w 3001233"/>
                  <a:gd name="connsiteY15" fmla="*/ 48578 h 208026"/>
                  <a:gd name="connsiteX16" fmla="*/ 281845 w 3001233"/>
                  <a:gd name="connsiteY16" fmla="*/ 54579 h 208026"/>
                  <a:gd name="connsiteX17" fmla="*/ 319659 w 3001233"/>
                  <a:gd name="connsiteY17" fmla="*/ 54579 h 208026"/>
                  <a:gd name="connsiteX18" fmla="*/ 319659 w 3001233"/>
                  <a:gd name="connsiteY18" fmla="*/ 60770 h 208026"/>
                  <a:gd name="connsiteX19" fmla="*/ 372237 w 3001233"/>
                  <a:gd name="connsiteY19" fmla="*/ 60770 h 208026"/>
                  <a:gd name="connsiteX20" fmla="*/ 372237 w 3001233"/>
                  <a:gd name="connsiteY20" fmla="*/ 66866 h 208026"/>
                  <a:gd name="connsiteX21" fmla="*/ 391192 w 3001233"/>
                  <a:gd name="connsiteY21" fmla="*/ 66866 h 208026"/>
                  <a:gd name="connsiteX22" fmla="*/ 391192 w 3001233"/>
                  <a:gd name="connsiteY22" fmla="*/ 72962 h 208026"/>
                  <a:gd name="connsiteX23" fmla="*/ 401670 w 3001233"/>
                  <a:gd name="connsiteY23" fmla="*/ 72962 h 208026"/>
                  <a:gd name="connsiteX24" fmla="*/ 401670 w 3001233"/>
                  <a:gd name="connsiteY24" fmla="*/ 79153 h 208026"/>
                  <a:gd name="connsiteX25" fmla="*/ 435388 w 3001233"/>
                  <a:gd name="connsiteY25" fmla="*/ 79153 h 208026"/>
                  <a:gd name="connsiteX26" fmla="*/ 435388 w 3001233"/>
                  <a:gd name="connsiteY26" fmla="*/ 85249 h 208026"/>
                  <a:gd name="connsiteX27" fmla="*/ 441675 w 3001233"/>
                  <a:gd name="connsiteY27" fmla="*/ 85249 h 208026"/>
                  <a:gd name="connsiteX28" fmla="*/ 441675 w 3001233"/>
                  <a:gd name="connsiteY28" fmla="*/ 91345 h 208026"/>
                  <a:gd name="connsiteX29" fmla="*/ 456343 w 3001233"/>
                  <a:gd name="connsiteY29" fmla="*/ 91345 h 208026"/>
                  <a:gd name="connsiteX30" fmla="*/ 456343 w 3001233"/>
                  <a:gd name="connsiteY30" fmla="*/ 97441 h 208026"/>
                  <a:gd name="connsiteX31" fmla="*/ 469011 w 3001233"/>
                  <a:gd name="connsiteY31" fmla="*/ 97441 h 208026"/>
                  <a:gd name="connsiteX32" fmla="*/ 469011 w 3001233"/>
                  <a:gd name="connsiteY32" fmla="*/ 103632 h 208026"/>
                  <a:gd name="connsiteX33" fmla="*/ 494253 w 3001233"/>
                  <a:gd name="connsiteY33" fmla="*/ 103632 h 208026"/>
                  <a:gd name="connsiteX34" fmla="*/ 494253 w 3001233"/>
                  <a:gd name="connsiteY34" fmla="*/ 109728 h 208026"/>
                  <a:gd name="connsiteX35" fmla="*/ 723519 w 3001233"/>
                  <a:gd name="connsiteY35" fmla="*/ 109728 h 208026"/>
                  <a:gd name="connsiteX36" fmla="*/ 723519 w 3001233"/>
                  <a:gd name="connsiteY36" fmla="*/ 115920 h 208026"/>
                  <a:gd name="connsiteX37" fmla="*/ 837057 w 3001233"/>
                  <a:gd name="connsiteY37" fmla="*/ 115920 h 208026"/>
                  <a:gd name="connsiteX38" fmla="*/ 837057 w 3001233"/>
                  <a:gd name="connsiteY38" fmla="*/ 122111 h 208026"/>
                  <a:gd name="connsiteX39" fmla="*/ 1106234 w 3001233"/>
                  <a:gd name="connsiteY39" fmla="*/ 122111 h 208026"/>
                  <a:gd name="connsiteX40" fmla="*/ 1106234 w 3001233"/>
                  <a:gd name="connsiteY40" fmla="*/ 128397 h 208026"/>
                  <a:gd name="connsiteX41" fmla="*/ 1179862 w 3001233"/>
                  <a:gd name="connsiteY41" fmla="*/ 128397 h 208026"/>
                  <a:gd name="connsiteX42" fmla="*/ 1179862 w 3001233"/>
                  <a:gd name="connsiteY42" fmla="*/ 134684 h 208026"/>
                  <a:gd name="connsiteX43" fmla="*/ 1259777 w 3001233"/>
                  <a:gd name="connsiteY43" fmla="*/ 134684 h 208026"/>
                  <a:gd name="connsiteX44" fmla="*/ 1259777 w 3001233"/>
                  <a:gd name="connsiteY44" fmla="*/ 140970 h 208026"/>
                  <a:gd name="connsiteX45" fmla="*/ 1421702 w 3001233"/>
                  <a:gd name="connsiteY45" fmla="*/ 140970 h 208026"/>
                  <a:gd name="connsiteX46" fmla="*/ 1421702 w 3001233"/>
                  <a:gd name="connsiteY46" fmla="*/ 147447 h 208026"/>
                  <a:gd name="connsiteX47" fmla="*/ 1438561 w 3001233"/>
                  <a:gd name="connsiteY47" fmla="*/ 147447 h 208026"/>
                  <a:gd name="connsiteX48" fmla="*/ 1438561 w 3001233"/>
                  <a:gd name="connsiteY48" fmla="*/ 153829 h 208026"/>
                  <a:gd name="connsiteX49" fmla="*/ 1556385 w 3001233"/>
                  <a:gd name="connsiteY49" fmla="*/ 153829 h 208026"/>
                  <a:gd name="connsiteX50" fmla="*/ 1556385 w 3001233"/>
                  <a:gd name="connsiteY50" fmla="*/ 160306 h 208026"/>
                  <a:gd name="connsiteX51" fmla="*/ 1648873 w 3001233"/>
                  <a:gd name="connsiteY51" fmla="*/ 160306 h 208026"/>
                  <a:gd name="connsiteX52" fmla="*/ 1648873 w 3001233"/>
                  <a:gd name="connsiteY52" fmla="*/ 166688 h 208026"/>
                  <a:gd name="connsiteX53" fmla="*/ 1667828 w 3001233"/>
                  <a:gd name="connsiteY53" fmla="*/ 166688 h 208026"/>
                  <a:gd name="connsiteX54" fmla="*/ 1667828 w 3001233"/>
                  <a:gd name="connsiteY54" fmla="*/ 173165 h 208026"/>
                  <a:gd name="connsiteX55" fmla="*/ 2521649 w 3001233"/>
                  <a:gd name="connsiteY55" fmla="*/ 173165 h 208026"/>
                  <a:gd name="connsiteX56" fmla="*/ 2521649 w 3001233"/>
                  <a:gd name="connsiteY56" fmla="*/ 208026 h 208026"/>
                  <a:gd name="connsiteX57" fmla="*/ 3001233 w 3001233"/>
                  <a:gd name="connsiteY57" fmla="*/ 208026 h 208026"/>
                  <a:gd name="connsiteX0" fmla="*/ 0 w 2952846"/>
                  <a:gd name="connsiteY0" fmla="*/ 0 h 201930"/>
                  <a:gd name="connsiteX1" fmla="*/ 0 w 2952846"/>
                  <a:gd name="connsiteY1" fmla="*/ 6001 h 201930"/>
                  <a:gd name="connsiteX2" fmla="*/ 14669 w 2952846"/>
                  <a:gd name="connsiteY2" fmla="*/ 6001 h 201930"/>
                  <a:gd name="connsiteX3" fmla="*/ 14669 w 2952846"/>
                  <a:gd name="connsiteY3" fmla="*/ 12097 h 201930"/>
                  <a:gd name="connsiteX4" fmla="*/ 44196 w 2952846"/>
                  <a:gd name="connsiteY4" fmla="*/ 12097 h 201930"/>
                  <a:gd name="connsiteX5" fmla="*/ 44196 w 2952846"/>
                  <a:gd name="connsiteY5" fmla="*/ 18193 h 201930"/>
                  <a:gd name="connsiteX6" fmla="*/ 46292 w 2952846"/>
                  <a:gd name="connsiteY6" fmla="*/ 18193 h 201930"/>
                  <a:gd name="connsiteX7" fmla="*/ 46292 w 2952846"/>
                  <a:gd name="connsiteY7" fmla="*/ 24194 h 201930"/>
                  <a:gd name="connsiteX8" fmla="*/ 69342 w 2952846"/>
                  <a:gd name="connsiteY8" fmla="*/ 24194 h 201930"/>
                  <a:gd name="connsiteX9" fmla="*/ 69342 w 2952846"/>
                  <a:gd name="connsiteY9" fmla="*/ 30290 h 201930"/>
                  <a:gd name="connsiteX10" fmla="*/ 82011 w 2952846"/>
                  <a:gd name="connsiteY10" fmla="*/ 30290 h 201930"/>
                  <a:gd name="connsiteX11" fmla="*/ 82011 w 2952846"/>
                  <a:gd name="connsiteY11" fmla="*/ 36386 h 201930"/>
                  <a:gd name="connsiteX12" fmla="*/ 117729 w 2952846"/>
                  <a:gd name="connsiteY12" fmla="*/ 36386 h 201930"/>
                  <a:gd name="connsiteX13" fmla="*/ 117729 w 2952846"/>
                  <a:gd name="connsiteY13" fmla="*/ 42482 h 201930"/>
                  <a:gd name="connsiteX14" fmla="*/ 233458 w 2952846"/>
                  <a:gd name="connsiteY14" fmla="*/ 42482 h 201930"/>
                  <a:gd name="connsiteX15" fmla="*/ 233458 w 2952846"/>
                  <a:gd name="connsiteY15" fmla="*/ 48483 h 201930"/>
                  <a:gd name="connsiteX16" fmla="*/ 271272 w 2952846"/>
                  <a:gd name="connsiteY16" fmla="*/ 48483 h 201930"/>
                  <a:gd name="connsiteX17" fmla="*/ 271272 w 2952846"/>
                  <a:gd name="connsiteY17" fmla="*/ 54674 h 201930"/>
                  <a:gd name="connsiteX18" fmla="*/ 323850 w 2952846"/>
                  <a:gd name="connsiteY18" fmla="*/ 54674 h 201930"/>
                  <a:gd name="connsiteX19" fmla="*/ 323850 w 2952846"/>
                  <a:gd name="connsiteY19" fmla="*/ 60770 h 201930"/>
                  <a:gd name="connsiteX20" fmla="*/ 342805 w 2952846"/>
                  <a:gd name="connsiteY20" fmla="*/ 60770 h 201930"/>
                  <a:gd name="connsiteX21" fmla="*/ 342805 w 2952846"/>
                  <a:gd name="connsiteY21" fmla="*/ 66866 h 201930"/>
                  <a:gd name="connsiteX22" fmla="*/ 353283 w 2952846"/>
                  <a:gd name="connsiteY22" fmla="*/ 66866 h 201930"/>
                  <a:gd name="connsiteX23" fmla="*/ 353283 w 2952846"/>
                  <a:gd name="connsiteY23" fmla="*/ 73057 h 201930"/>
                  <a:gd name="connsiteX24" fmla="*/ 387001 w 2952846"/>
                  <a:gd name="connsiteY24" fmla="*/ 73057 h 201930"/>
                  <a:gd name="connsiteX25" fmla="*/ 387001 w 2952846"/>
                  <a:gd name="connsiteY25" fmla="*/ 79153 h 201930"/>
                  <a:gd name="connsiteX26" fmla="*/ 393288 w 2952846"/>
                  <a:gd name="connsiteY26" fmla="*/ 79153 h 201930"/>
                  <a:gd name="connsiteX27" fmla="*/ 393288 w 2952846"/>
                  <a:gd name="connsiteY27" fmla="*/ 85249 h 201930"/>
                  <a:gd name="connsiteX28" fmla="*/ 407956 w 2952846"/>
                  <a:gd name="connsiteY28" fmla="*/ 85249 h 201930"/>
                  <a:gd name="connsiteX29" fmla="*/ 407956 w 2952846"/>
                  <a:gd name="connsiteY29" fmla="*/ 91345 h 201930"/>
                  <a:gd name="connsiteX30" fmla="*/ 420624 w 2952846"/>
                  <a:gd name="connsiteY30" fmla="*/ 91345 h 201930"/>
                  <a:gd name="connsiteX31" fmla="*/ 420624 w 2952846"/>
                  <a:gd name="connsiteY31" fmla="*/ 97536 h 201930"/>
                  <a:gd name="connsiteX32" fmla="*/ 445866 w 2952846"/>
                  <a:gd name="connsiteY32" fmla="*/ 97536 h 201930"/>
                  <a:gd name="connsiteX33" fmla="*/ 445866 w 2952846"/>
                  <a:gd name="connsiteY33" fmla="*/ 103632 h 201930"/>
                  <a:gd name="connsiteX34" fmla="*/ 675132 w 2952846"/>
                  <a:gd name="connsiteY34" fmla="*/ 103632 h 201930"/>
                  <a:gd name="connsiteX35" fmla="*/ 675132 w 2952846"/>
                  <a:gd name="connsiteY35" fmla="*/ 109824 h 201930"/>
                  <a:gd name="connsiteX36" fmla="*/ 788670 w 2952846"/>
                  <a:gd name="connsiteY36" fmla="*/ 109824 h 201930"/>
                  <a:gd name="connsiteX37" fmla="*/ 788670 w 2952846"/>
                  <a:gd name="connsiteY37" fmla="*/ 116015 h 201930"/>
                  <a:gd name="connsiteX38" fmla="*/ 1057847 w 2952846"/>
                  <a:gd name="connsiteY38" fmla="*/ 116015 h 201930"/>
                  <a:gd name="connsiteX39" fmla="*/ 1057847 w 2952846"/>
                  <a:gd name="connsiteY39" fmla="*/ 122301 h 201930"/>
                  <a:gd name="connsiteX40" fmla="*/ 1131475 w 2952846"/>
                  <a:gd name="connsiteY40" fmla="*/ 122301 h 201930"/>
                  <a:gd name="connsiteX41" fmla="*/ 1131475 w 2952846"/>
                  <a:gd name="connsiteY41" fmla="*/ 128588 h 201930"/>
                  <a:gd name="connsiteX42" fmla="*/ 1211390 w 2952846"/>
                  <a:gd name="connsiteY42" fmla="*/ 128588 h 201930"/>
                  <a:gd name="connsiteX43" fmla="*/ 1211390 w 2952846"/>
                  <a:gd name="connsiteY43" fmla="*/ 134874 h 201930"/>
                  <a:gd name="connsiteX44" fmla="*/ 1373315 w 2952846"/>
                  <a:gd name="connsiteY44" fmla="*/ 134874 h 201930"/>
                  <a:gd name="connsiteX45" fmla="*/ 1373315 w 2952846"/>
                  <a:gd name="connsiteY45" fmla="*/ 141351 h 201930"/>
                  <a:gd name="connsiteX46" fmla="*/ 1390174 w 2952846"/>
                  <a:gd name="connsiteY46" fmla="*/ 141351 h 201930"/>
                  <a:gd name="connsiteX47" fmla="*/ 1390174 w 2952846"/>
                  <a:gd name="connsiteY47" fmla="*/ 147733 h 201930"/>
                  <a:gd name="connsiteX48" fmla="*/ 1507998 w 2952846"/>
                  <a:gd name="connsiteY48" fmla="*/ 147733 h 201930"/>
                  <a:gd name="connsiteX49" fmla="*/ 1507998 w 2952846"/>
                  <a:gd name="connsiteY49" fmla="*/ 154210 h 201930"/>
                  <a:gd name="connsiteX50" fmla="*/ 1600486 w 2952846"/>
                  <a:gd name="connsiteY50" fmla="*/ 154210 h 201930"/>
                  <a:gd name="connsiteX51" fmla="*/ 1600486 w 2952846"/>
                  <a:gd name="connsiteY51" fmla="*/ 160592 h 201930"/>
                  <a:gd name="connsiteX52" fmla="*/ 1619441 w 2952846"/>
                  <a:gd name="connsiteY52" fmla="*/ 160592 h 201930"/>
                  <a:gd name="connsiteX53" fmla="*/ 1619441 w 2952846"/>
                  <a:gd name="connsiteY53" fmla="*/ 167069 h 201930"/>
                  <a:gd name="connsiteX54" fmla="*/ 2473262 w 2952846"/>
                  <a:gd name="connsiteY54" fmla="*/ 167069 h 201930"/>
                  <a:gd name="connsiteX55" fmla="*/ 2473262 w 2952846"/>
                  <a:gd name="connsiteY55" fmla="*/ 201930 h 201930"/>
                  <a:gd name="connsiteX56" fmla="*/ 2952846 w 2952846"/>
                  <a:gd name="connsiteY56" fmla="*/ 201930 h 201930"/>
                  <a:gd name="connsiteX0" fmla="*/ 0 w 2952846"/>
                  <a:gd name="connsiteY0" fmla="*/ 0 h 201930"/>
                  <a:gd name="connsiteX1" fmla="*/ 14669 w 2952846"/>
                  <a:gd name="connsiteY1" fmla="*/ 6001 h 201930"/>
                  <a:gd name="connsiteX2" fmla="*/ 14669 w 2952846"/>
                  <a:gd name="connsiteY2" fmla="*/ 12097 h 201930"/>
                  <a:gd name="connsiteX3" fmla="*/ 44196 w 2952846"/>
                  <a:gd name="connsiteY3" fmla="*/ 12097 h 201930"/>
                  <a:gd name="connsiteX4" fmla="*/ 44196 w 2952846"/>
                  <a:gd name="connsiteY4" fmla="*/ 18193 h 201930"/>
                  <a:gd name="connsiteX5" fmla="*/ 46292 w 2952846"/>
                  <a:gd name="connsiteY5" fmla="*/ 18193 h 201930"/>
                  <a:gd name="connsiteX6" fmla="*/ 46292 w 2952846"/>
                  <a:gd name="connsiteY6" fmla="*/ 24194 h 201930"/>
                  <a:gd name="connsiteX7" fmla="*/ 69342 w 2952846"/>
                  <a:gd name="connsiteY7" fmla="*/ 24194 h 201930"/>
                  <a:gd name="connsiteX8" fmla="*/ 69342 w 2952846"/>
                  <a:gd name="connsiteY8" fmla="*/ 30290 h 201930"/>
                  <a:gd name="connsiteX9" fmla="*/ 82011 w 2952846"/>
                  <a:gd name="connsiteY9" fmla="*/ 30290 h 201930"/>
                  <a:gd name="connsiteX10" fmla="*/ 82011 w 2952846"/>
                  <a:gd name="connsiteY10" fmla="*/ 36386 h 201930"/>
                  <a:gd name="connsiteX11" fmla="*/ 117729 w 2952846"/>
                  <a:gd name="connsiteY11" fmla="*/ 36386 h 201930"/>
                  <a:gd name="connsiteX12" fmla="*/ 117729 w 2952846"/>
                  <a:gd name="connsiteY12" fmla="*/ 42482 h 201930"/>
                  <a:gd name="connsiteX13" fmla="*/ 233458 w 2952846"/>
                  <a:gd name="connsiteY13" fmla="*/ 42482 h 201930"/>
                  <a:gd name="connsiteX14" fmla="*/ 233458 w 2952846"/>
                  <a:gd name="connsiteY14" fmla="*/ 48483 h 201930"/>
                  <a:gd name="connsiteX15" fmla="*/ 271272 w 2952846"/>
                  <a:gd name="connsiteY15" fmla="*/ 48483 h 201930"/>
                  <a:gd name="connsiteX16" fmla="*/ 271272 w 2952846"/>
                  <a:gd name="connsiteY16" fmla="*/ 54674 h 201930"/>
                  <a:gd name="connsiteX17" fmla="*/ 323850 w 2952846"/>
                  <a:gd name="connsiteY17" fmla="*/ 54674 h 201930"/>
                  <a:gd name="connsiteX18" fmla="*/ 323850 w 2952846"/>
                  <a:gd name="connsiteY18" fmla="*/ 60770 h 201930"/>
                  <a:gd name="connsiteX19" fmla="*/ 342805 w 2952846"/>
                  <a:gd name="connsiteY19" fmla="*/ 60770 h 201930"/>
                  <a:gd name="connsiteX20" fmla="*/ 342805 w 2952846"/>
                  <a:gd name="connsiteY20" fmla="*/ 66866 h 201930"/>
                  <a:gd name="connsiteX21" fmla="*/ 353283 w 2952846"/>
                  <a:gd name="connsiteY21" fmla="*/ 66866 h 201930"/>
                  <a:gd name="connsiteX22" fmla="*/ 353283 w 2952846"/>
                  <a:gd name="connsiteY22" fmla="*/ 73057 h 201930"/>
                  <a:gd name="connsiteX23" fmla="*/ 387001 w 2952846"/>
                  <a:gd name="connsiteY23" fmla="*/ 73057 h 201930"/>
                  <a:gd name="connsiteX24" fmla="*/ 387001 w 2952846"/>
                  <a:gd name="connsiteY24" fmla="*/ 79153 h 201930"/>
                  <a:gd name="connsiteX25" fmla="*/ 393288 w 2952846"/>
                  <a:gd name="connsiteY25" fmla="*/ 79153 h 201930"/>
                  <a:gd name="connsiteX26" fmla="*/ 393288 w 2952846"/>
                  <a:gd name="connsiteY26" fmla="*/ 85249 h 201930"/>
                  <a:gd name="connsiteX27" fmla="*/ 407956 w 2952846"/>
                  <a:gd name="connsiteY27" fmla="*/ 85249 h 201930"/>
                  <a:gd name="connsiteX28" fmla="*/ 407956 w 2952846"/>
                  <a:gd name="connsiteY28" fmla="*/ 91345 h 201930"/>
                  <a:gd name="connsiteX29" fmla="*/ 420624 w 2952846"/>
                  <a:gd name="connsiteY29" fmla="*/ 91345 h 201930"/>
                  <a:gd name="connsiteX30" fmla="*/ 420624 w 2952846"/>
                  <a:gd name="connsiteY30" fmla="*/ 97536 h 201930"/>
                  <a:gd name="connsiteX31" fmla="*/ 445866 w 2952846"/>
                  <a:gd name="connsiteY31" fmla="*/ 97536 h 201930"/>
                  <a:gd name="connsiteX32" fmla="*/ 445866 w 2952846"/>
                  <a:gd name="connsiteY32" fmla="*/ 103632 h 201930"/>
                  <a:gd name="connsiteX33" fmla="*/ 675132 w 2952846"/>
                  <a:gd name="connsiteY33" fmla="*/ 103632 h 201930"/>
                  <a:gd name="connsiteX34" fmla="*/ 675132 w 2952846"/>
                  <a:gd name="connsiteY34" fmla="*/ 109824 h 201930"/>
                  <a:gd name="connsiteX35" fmla="*/ 788670 w 2952846"/>
                  <a:gd name="connsiteY35" fmla="*/ 109824 h 201930"/>
                  <a:gd name="connsiteX36" fmla="*/ 788670 w 2952846"/>
                  <a:gd name="connsiteY36" fmla="*/ 116015 h 201930"/>
                  <a:gd name="connsiteX37" fmla="*/ 1057847 w 2952846"/>
                  <a:gd name="connsiteY37" fmla="*/ 116015 h 201930"/>
                  <a:gd name="connsiteX38" fmla="*/ 1057847 w 2952846"/>
                  <a:gd name="connsiteY38" fmla="*/ 122301 h 201930"/>
                  <a:gd name="connsiteX39" fmla="*/ 1131475 w 2952846"/>
                  <a:gd name="connsiteY39" fmla="*/ 122301 h 201930"/>
                  <a:gd name="connsiteX40" fmla="*/ 1131475 w 2952846"/>
                  <a:gd name="connsiteY40" fmla="*/ 128588 h 201930"/>
                  <a:gd name="connsiteX41" fmla="*/ 1211390 w 2952846"/>
                  <a:gd name="connsiteY41" fmla="*/ 128588 h 201930"/>
                  <a:gd name="connsiteX42" fmla="*/ 1211390 w 2952846"/>
                  <a:gd name="connsiteY42" fmla="*/ 134874 h 201930"/>
                  <a:gd name="connsiteX43" fmla="*/ 1373315 w 2952846"/>
                  <a:gd name="connsiteY43" fmla="*/ 134874 h 201930"/>
                  <a:gd name="connsiteX44" fmla="*/ 1373315 w 2952846"/>
                  <a:gd name="connsiteY44" fmla="*/ 141351 h 201930"/>
                  <a:gd name="connsiteX45" fmla="*/ 1390174 w 2952846"/>
                  <a:gd name="connsiteY45" fmla="*/ 141351 h 201930"/>
                  <a:gd name="connsiteX46" fmla="*/ 1390174 w 2952846"/>
                  <a:gd name="connsiteY46" fmla="*/ 147733 h 201930"/>
                  <a:gd name="connsiteX47" fmla="*/ 1507998 w 2952846"/>
                  <a:gd name="connsiteY47" fmla="*/ 147733 h 201930"/>
                  <a:gd name="connsiteX48" fmla="*/ 1507998 w 2952846"/>
                  <a:gd name="connsiteY48" fmla="*/ 154210 h 201930"/>
                  <a:gd name="connsiteX49" fmla="*/ 1600486 w 2952846"/>
                  <a:gd name="connsiteY49" fmla="*/ 154210 h 201930"/>
                  <a:gd name="connsiteX50" fmla="*/ 1600486 w 2952846"/>
                  <a:gd name="connsiteY50" fmla="*/ 160592 h 201930"/>
                  <a:gd name="connsiteX51" fmla="*/ 1619441 w 2952846"/>
                  <a:gd name="connsiteY51" fmla="*/ 160592 h 201930"/>
                  <a:gd name="connsiteX52" fmla="*/ 1619441 w 2952846"/>
                  <a:gd name="connsiteY52" fmla="*/ 167069 h 201930"/>
                  <a:gd name="connsiteX53" fmla="*/ 2473262 w 2952846"/>
                  <a:gd name="connsiteY53" fmla="*/ 167069 h 201930"/>
                  <a:gd name="connsiteX54" fmla="*/ 2473262 w 2952846"/>
                  <a:gd name="connsiteY54" fmla="*/ 201930 h 201930"/>
                  <a:gd name="connsiteX55" fmla="*/ 2952846 w 2952846"/>
                  <a:gd name="connsiteY55" fmla="*/ 201930 h 201930"/>
                  <a:gd name="connsiteX0" fmla="*/ 0 w 2938177"/>
                  <a:gd name="connsiteY0" fmla="*/ 0 h 195929"/>
                  <a:gd name="connsiteX1" fmla="*/ 0 w 2938177"/>
                  <a:gd name="connsiteY1" fmla="*/ 6096 h 195929"/>
                  <a:gd name="connsiteX2" fmla="*/ 29527 w 2938177"/>
                  <a:gd name="connsiteY2" fmla="*/ 6096 h 195929"/>
                  <a:gd name="connsiteX3" fmla="*/ 29527 w 2938177"/>
                  <a:gd name="connsiteY3" fmla="*/ 12192 h 195929"/>
                  <a:gd name="connsiteX4" fmla="*/ 31623 w 2938177"/>
                  <a:gd name="connsiteY4" fmla="*/ 12192 h 195929"/>
                  <a:gd name="connsiteX5" fmla="*/ 31623 w 2938177"/>
                  <a:gd name="connsiteY5" fmla="*/ 18193 h 195929"/>
                  <a:gd name="connsiteX6" fmla="*/ 54673 w 2938177"/>
                  <a:gd name="connsiteY6" fmla="*/ 18193 h 195929"/>
                  <a:gd name="connsiteX7" fmla="*/ 54673 w 2938177"/>
                  <a:gd name="connsiteY7" fmla="*/ 24289 h 195929"/>
                  <a:gd name="connsiteX8" fmla="*/ 67342 w 2938177"/>
                  <a:gd name="connsiteY8" fmla="*/ 24289 h 195929"/>
                  <a:gd name="connsiteX9" fmla="*/ 67342 w 2938177"/>
                  <a:gd name="connsiteY9" fmla="*/ 30385 h 195929"/>
                  <a:gd name="connsiteX10" fmla="*/ 103060 w 2938177"/>
                  <a:gd name="connsiteY10" fmla="*/ 30385 h 195929"/>
                  <a:gd name="connsiteX11" fmla="*/ 103060 w 2938177"/>
                  <a:gd name="connsiteY11" fmla="*/ 36481 h 195929"/>
                  <a:gd name="connsiteX12" fmla="*/ 218789 w 2938177"/>
                  <a:gd name="connsiteY12" fmla="*/ 36481 h 195929"/>
                  <a:gd name="connsiteX13" fmla="*/ 218789 w 2938177"/>
                  <a:gd name="connsiteY13" fmla="*/ 42482 h 195929"/>
                  <a:gd name="connsiteX14" fmla="*/ 256603 w 2938177"/>
                  <a:gd name="connsiteY14" fmla="*/ 42482 h 195929"/>
                  <a:gd name="connsiteX15" fmla="*/ 256603 w 2938177"/>
                  <a:gd name="connsiteY15" fmla="*/ 48673 h 195929"/>
                  <a:gd name="connsiteX16" fmla="*/ 309181 w 2938177"/>
                  <a:gd name="connsiteY16" fmla="*/ 48673 h 195929"/>
                  <a:gd name="connsiteX17" fmla="*/ 309181 w 2938177"/>
                  <a:gd name="connsiteY17" fmla="*/ 54769 h 195929"/>
                  <a:gd name="connsiteX18" fmla="*/ 328136 w 2938177"/>
                  <a:gd name="connsiteY18" fmla="*/ 54769 h 195929"/>
                  <a:gd name="connsiteX19" fmla="*/ 328136 w 2938177"/>
                  <a:gd name="connsiteY19" fmla="*/ 60865 h 195929"/>
                  <a:gd name="connsiteX20" fmla="*/ 338614 w 2938177"/>
                  <a:gd name="connsiteY20" fmla="*/ 60865 h 195929"/>
                  <a:gd name="connsiteX21" fmla="*/ 338614 w 2938177"/>
                  <a:gd name="connsiteY21" fmla="*/ 67056 h 195929"/>
                  <a:gd name="connsiteX22" fmla="*/ 372332 w 2938177"/>
                  <a:gd name="connsiteY22" fmla="*/ 67056 h 195929"/>
                  <a:gd name="connsiteX23" fmla="*/ 372332 w 2938177"/>
                  <a:gd name="connsiteY23" fmla="*/ 73152 h 195929"/>
                  <a:gd name="connsiteX24" fmla="*/ 378619 w 2938177"/>
                  <a:gd name="connsiteY24" fmla="*/ 73152 h 195929"/>
                  <a:gd name="connsiteX25" fmla="*/ 378619 w 2938177"/>
                  <a:gd name="connsiteY25" fmla="*/ 79248 h 195929"/>
                  <a:gd name="connsiteX26" fmla="*/ 393287 w 2938177"/>
                  <a:gd name="connsiteY26" fmla="*/ 79248 h 195929"/>
                  <a:gd name="connsiteX27" fmla="*/ 393287 w 2938177"/>
                  <a:gd name="connsiteY27" fmla="*/ 85344 h 195929"/>
                  <a:gd name="connsiteX28" fmla="*/ 405955 w 2938177"/>
                  <a:gd name="connsiteY28" fmla="*/ 85344 h 195929"/>
                  <a:gd name="connsiteX29" fmla="*/ 405955 w 2938177"/>
                  <a:gd name="connsiteY29" fmla="*/ 91535 h 195929"/>
                  <a:gd name="connsiteX30" fmla="*/ 431197 w 2938177"/>
                  <a:gd name="connsiteY30" fmla="*/ 91535 h 195929"/>
                  <a:gd name="connsiteX31" fmla="*/ 431197 w 2938177"/>
                  <a:gd name="connsiteY31" fmla="*/ 97631 h 195929"/>
                  <a:gd name="connsiteX32" fmla="*/ 660463 w 2938177"/>
                  <a:gd name="connsiteY32" fmla="*/ 97631 h 195929"/>
                  <a:gd name="connsiteX33" fmla="*/ 660463 w 2938177"/>
                  <a:gd name="connsiteY33" fmla="*/ 103823 h 195929"/>
                  <a:gd name="connsiteX34" fmla="*/ 774001 w 2938177"/>
                  <a:gd name="connsiteY34" fmla="*/ 103823 h 195929"/>
                  <a:gd name="connsiteX35" fmla="*/ 774001 w 2938177"/>
                  <a:gd name="connsiteY35" fmla="*/ 110014 h 195929"/>
                  <a:gd name="connsiteX36" fmla="*/ 1043178 w 2938177"/>
                  <a:gd name="connsiteY36" fmla="*/ 110014 h 195929"/>
                  <a:gd name="connsiteX37" fmla="*/ 1043178 w 2938177"/>
                  <a:gd name="connsiteY37" fmla="*/ 116300 h 195929"/>
                  <a:gd name="connsiteX38" fmla="*/ 1116806 w 2938177"/>
                  <a:gd name="connsiteY38" fmla="*/ 116300 h 195929"/>
                  <a:gd name="connsiteX39" fmla="*/ 1116806 w 2938177"/>
                  <a:gd name="connsiteY39" fmla="*/ 122587 h 195929"/>
                  <a:gd name="connsiteX40" fmla="*/ 1196721 w 2938177"/>
                  <a:gd name="connsiteY40" fmla="*/ 122587 h 195929"/>
                  <a:gd name="connsiteX41" fmla="*/ 1196721 w 2938177"/>
                  <a:gd name="connsiteY41" fmla="*/ 128873 h 195929"/>
                  <a:gd name="connsiteX42" fmla="*/ 1358646 w 2938177"/>
                  <a:gd name="connsiteY42" fmla="*/ 128873 h 195929"/>
                  <a:gd name="connsiteX43" fmla="*/ 1358646 w 2938177"/>
                  <a:gd name="connsiteY43" fmla="*/ 135350 h 195929"/>
                  <a:gd name="connsiteX44" fmla="*/ 1375505 w 2938177"/>
                  <a:gd name="connsiteY44" fmla="*/ 135350 h 195929"/>
                  <a:gd name="connsiteX45" fmla="*/ 1375505 w 2938177"/>
                  <a:gd name="connsiteY45" fmla="*/ 141732 h 195929"/>
                  <a:gd name="connsiteX46" fmla="*/ 1493329 w 2938177"/>
                  <a:gd name="connsiteY46" fmla="*/ 141732 h 195929"/>
                  <a:gd name="connsiteX47" fmla="*/ 1493329 w 2938177"/>
                  <a:gd name="connsiteY47" fmla="*/ 148209 h 195929"/>
                  <a:gd name="connsiteX48" fmla="*/ 1585817 w 2938177"/>
                  <a:gd name="connsiteY48" fmla="*/ 148209 h 195929"/>
                  <a:gd name="connsiteX49" fmla="*/ 1585817 w 2938177"/>
                  <a:gd name="connsiteY49" fmla="*/ 154591 h 195929"/>
                  <a:gd name="connsiteX50" fmla="*/ 1604772 w 2938177"/>
                  <a:gd name="connsiteY50" fmla="*/ 154591 h 195929"/>
                  <a:gd name="connsiteX51" fmla="*/ 1604772 w 2938177"/>
                  <a:gd name="connsiteY51" fmla="*/ 161068 h 195929"/>
                  <a:gd name="connsiteX52" fmla="*/ 2458593 w 2938177"/>
                  <a:gd name="connsiteY52" fmla="*/ 161068 h 195929"/>
                  <a:gd name="connsiteX53" fmla="*/ 2458593 w 2938177"/>
                  <a:gd name="connsiteY53" fmla="*/ 195929 h 195929"/>
                  <a:gd name="connsiteX54" fmla="*/ 2938177 w 2938177"/>
                  <a:gd name="connsiteY54" fmla="*/ 195929 h 195929"/>
                  <a:gd name="connsiteX0" fmla="*/ 0 w 2938177"/>
                  <a:gd name="connsiteY0" fmla="*/ 0 h 195929"/>
                  <a:gd name="connsiteX1" fmla="*/ 29527 w 2938177"/>
                  <a:gd name="connsiteY1" fmla="*/ 6096 h 195929"/>
                  <a:gd name="connsiteX2" fmla="*/ 29527 w 2938177"/>
                  <a:gd name="connsiteY2" fmla="*/ 12192 h 195929"/>
                  <a:gd name="connsiteX3" fmla="*/ 31623 w 2938177"/>
                  <a:gd name="connsiteY3" fmla="*/ 12192 h 195929"/>
                  <a:gd name="connsiteX4" fmla="*/ 31623 w 2938177"/>
                  <a:gd name="connsiteY4" fmla="*/ 18193 h 195929"/>
                  <a:gd name="connsiteX5" fmla="*/ 54673 w 2938177"/>
                  <a:gd name="connsiteY5" fmla="*/ 18193 h 195929"/>
                  <a:gd name="connsiteX6" fmla="*/ 54673 w 2938177"/>
                  <a:gd name="connsiteY6" fmla="*/ 24289 h 195929"/>
                  <a:gd name="connsiteX7" fmla="*/ 67342 w 2938177"/>
                  <a:gd name="connsiteY7" fmla="*/ 24289 h 195929"/>
                  <a:gd name="connsiteX8" fmla="*/ 67342 w 2938177"/>
                  <a:gd name="connsiteY8" fmla="*/ 30385 h 195929"/>
                  <a:gd name="connsiteX9" fmla="*/ 103060 w 2938177"/>
                  <a:gd name="connsiteY9" fmla="*/ 30385 h 195929"/>
                  <a:gd name="connsiteX10" fmla="*/ 103060 w 2938177"/>
                  <a:gd name="connsiteY10" fmla="*/ 36481 h 195929"/>
                  <a:gd name="connsiteX11" fmla="*/ 218789 w 2938177"/>
                  <a:gd name="connsiteY11" fmla="*/ 36481 h 195929"/>
                  <a:gd name="connsiteX12" fmla="*/ 218789 w 2938177"/>
                  <a:gd name="connsiteY12" fmla="*/ 42482 h 195929"/>
                  <a:gd name="connsiteX13" fmla="*/ 256603 w 2938177"/>
                  <a:gd name="connsiteY13" fmla="*/ 42482 h 195929"/>
                  <a:gd name="connsiteX14" fmla="*/ 256603 w 2938177"/>
                  <a:gd name="connsiteY14" fmla="*/ 48673 h 195929"/>
                  <a:gd name="connsiteX15" fmla="*/ 309181 w 2938177"/>
                  <a:gd name="connsiteY15" fmla="*/ 48673 h 195929"/>
                  <a:gd name="connsiteX16" fmla="*/ 309181 w 2938177"/>
                  <a:gd name="connsiteY16" fmla="*/ 54769 h 195929"/>
                  <a:gd name="connsiteX17" fmla="*/ 328136 w 2938177"/>
                  <a:gd name="connsiteY17" fmla="*/ 54769 h 195929"/>
                  <a:gd name="connsiteX18" fmla="*/ 328136 w 2938177"/>
                  <a:gd name="connsiteY18" fmla="*/ 60865 h 195929"/>
                  <a:gd name="connsiteX19" fmla="*/ 338614 w 2938177"/>
                  <a:gd name="connsiteY19" fmla="*/ 60865 h 195929"/>
                  <a:gd name="connsiteX20" fmla="*/ 338614 w 2938177"/>
                  <a:gd name="connsiteY20" fmla="*/ 67056 h 195929"/>
                  <a:gd name="connsiteX21" fmla="*/ 372332 w 2938177"/>
                  <a:gd name="connsiteY21" fmla="*/ 67056 h 195929"/>
                  <a:gd name="connsiteX22" fmla="*/ 372332 w 2938177"/>
                  <a:gd name="connsiteY22" fmla="*/ 73152 h 195929"/>
                  <a:gd name="connsiteX23" fmla="*/ 378619 w 2938177"/>
                  <a:gd name="connsiteY23" fmla="*/ 73152 h 195929"/>
                  <a:gd name="connsiteX24" fmla="*/ 378619 w 2938177"/>
                  <a:gd name="connsiteY24" fmla="*/ 79248 h 195929"/>
                  <a:gd name="connsiteX25" fmla="*/ 393287 w 2938177"/>
                  <a:gd name="connsiteY25" fmla="*/ 79248 h 195929"/>
                  <a:gd name="connsiteX26" fmla="*/ 393287 w 2938177"/>
                  <a:gd name="connsiteY26" fmla="*/ 85344 h 195929"/>
                  <a:gd name="connsiteX27" fmla="*/ 405955 w 2938177"/>
                  <a:gd name="connsiteY27" fmla="*/ 85344 h 195929"/>
                  <a:gd name="connsiteX28" fmla="*/ 405955 w 2938177"/>
                  <a:gd name="connsiteY28" fmla="*/ 91535 h 195929"/>
                  <a:gd name="connsiteX29" fmla="*/ 431197 w 2938177"/>
                  <a:gd name="connsiteY29" fmla="*/ 91535 h 195929"/>
                  <a:gd name="connsiteX30" fmla="*/ 431197 w 2938177"/>
                  <a:gd name="connsiteY30" fmla="*/ 97631 h 195929"/>
                  <a:gd name="connsiteX31" fmla="*/ 660463 w 2938177"/>
                  <a:gd name="connsiteY31" fmla="*/ 97631 h 195929"/>
                  <a:gd name="connsiteX32" fmla="*/ 660463 w 2938177"/>
                  <a:gd name="connsiteY32" fmla="*/ 103823 h 195929"/>
                  <a:gd name="connsiteX33" fmla="*/ 774001 w 2938177"/>
                  <a:gd name="connsiteY33" fmla="*/ 103823 h 195929"/>
                  <a:gd name="connsiteX34" fmla="*/ 774001 w 2938177"/>
                  <a:gd name="connsiteY34" fmla="*/ 110014 h 195929"/>
                  <a:gd name="connsiteX35" fmla="*/ 1043178 w 2938177"/>
                  <a:gd name="connsiteY35" fmla="*/ 110014 h 195929"/>
                  <a:gd name="connsiteX36" fmla="*/ 1043178 w 2938177"/>
                  <a:gd name="connsiteY36" fmla="*/ 116300 h 195929"/>
                  <a:gd name="connsiteX37" fmla="*/ 1116806 w 2938177"/>
                  <a:gd name="connsiteY37" fmla="*/ 116300 h 195929"/>
                  <a:gd name="connsiteX38" fmla="*/ 1116806 w 2938177"/>
                  <a:gd name="connsiteY38" fmla="*/ 122587 h 195929"/>
                  <a:gd name="connsiteX39" fmla="*/ 1196721 w 2938177"/>
                  <a:gd name="connsiteY39" fmla="*/ 122587 h 195929"/>
                  <a:gd name="connsiteX40" fmla="*/ 1196721 w 2938177"/>
                  <a:gd name="connsiteY40" fmla="*/ 128873 h 195929"/>
                  <a:gd name="connsiteX41" fmla="*/ 1358646 w 2938177"/>
                  <a:gd name="connsiteY41" fmla="*/ 128873 h 195929"/>
                  <a:gd name="connsiteX42" fmla="*/ 1358646 w 2938177"/>
                  <a:gd name="connsiteY42" fmla="*/ 135350 h 195929"/>
                  <a:gd name="connsiteX43" fmla="*/ 1375505 w 2938177"/>
                  <a:gd name="connsiteY43" fmla="*/ 135350 h 195929"/>
                  <a:gd name="connsiteX44" fmla="*/ 1375505 w 2938177"/>
                  <a:gd name="connsiteY44" fmla="*/ 141732 h 195929"/>
                  <a:gd name="connsiteX45" fmla="*/ 1493329 w 2938177"/>
                  <a:gd name="connsiteY45" fmla="*/ 141732 h 195929"/>
                  <a:gd name="connsiteX46" fmla="*/ 1493329 w 2938177"/>
                  <a:gd name="connsiteY46" fmla="*/ 148209 h 195929"/>
                  <a:gd name="connsiteX47" fmla="*/ 1585817 w 2938177"/>
                  <a:gd name="connsiteY47" fmla="*/ 148209 h 195929"/>
                  <a:gd name="connsiteX48" fmla="*/ 1585817 w 2938177"/>
                  <a:gd name="connsiteY48" fmla="*/ 154591 h 195929"/>
                  <a:gd name="connsiteX49" fmla="*/ 1604772 w 2938177"/>
                  <a:gd name="connsiteY49" fmla="*/ 154591 h 195929"/>
                  <a:gd name="connsiteX50" fmla="*/ 1604772 w 2938177"/>
                  <a:gd name="connsiteY50" fmla="*/ 161068 h 195929"/>
                  <a:gd name="connsiteX51" fmla="*/ 2458593 w 2938177"/>
                  <a:gd name="connsiteY51" fmla="*/ 161068 h 195929"/>
                  <a:gd name="connsiteX52" fmla="*/ 2458593 w 2938177"/>
                  <a:gd name="connsiteY52" fmla="*/ 195929 h 195929"/>
                  <a:gd name="connsiteX53" fmla="*/ 2938177 w 2938177"/>
                  <a:gd name="connsiteY53" fmla="*/ 195929 h 195929"/>
                  <a:gd name="connsiteX0" fmla="*/ 0 w 2908650"/>
                  <a:gd name="connsiteY0" fmla="*/ 0 h 189833"/>
                  <a:gd name="connsiteX1" fmla="*/ 0 w 2908650"/>
                  <a:gd name="connsiteY1" fmla="*/ 6096 h 189833"/>
                  <a:gd name="connsiteX2" fmla="*/ 2096 w 2908650"/>
                  <a:gd name="connsiteY2" fmla="*/ 6096 h 189833"/>
                  <a:gd name="connsiteX3" fmla="*/ 2096 w 2908650"/>
                  <a:gd name="connsiteY3" fmla="*/ 12097 h 189833"/>
                  <a:gd name="connsiteX4" fmla="*/ 25146 w 2908650"/>
                  <a:gd name="connsiteY4" fmla="*/ 12097 h 189833"/>
                  <a:gd name="connsiteX5" fmla="*/ 25146 w 2908650"/>
                  <a:gd name="connsiteY5" fmla="*/ 18193 h 189833"/>
                  <a:gd name="connsiteX6" fmla="*/ 37815 w 2908650"/>
                  <a:gd name="connsiteY6" fmla="*/ 18193 h 189833"/>
                  <a:gd name="connsiteX7" fmla="*/ 37815 w 2908650"/>
                  <a:gd name="connsiteY7" fmla="*/ 24289 h 189833"/>
                  <a:gd name="connsiteX8" fmla="*/ 73533 w 2908650"/>
                  <a:gd name="connsiteY8" fmla="*/ 24289 h 189833"/>
                  <a:gd name="connsiteX9" fmla="*/ 73533 w 2908650"/>
                  <a:gd name="connsiteY9" fmla="*/ 30385 h 189833"/>
                  <a:gd name="connsiteX10" fmla="*/ 189262 w 2908650"/>
                  <a:gd name="connsiteY10" fmla="*/ 30385 h 189833"/>
                  <a:gd name="connsiteX11" fmla="*/ 189262 w 2908650"/>
                  <a:gd name="connsiteY11" fmla="*/ 36386 h 189833"/>
                  <a:gd name="connsiteX12" fmla="*/ 227076 w 2908650"/>
                  <a:gd name="connsiteY12" fmla="*/ 36386 h 189833"/>
                  <a:gd name="connsiteX13" fmla="*/ 227076 w 2908650"/>
                  <a:gd name="connsiteY13" fmla="*/ 42577 h 189833"/>
                  <a:gd name="connsiteX14" fmla="*/ 279654 w 2908650"/>
                  <a:gd name="connsiteY14" fmla="*/ 42577 h 189833"/>
                  <a:gd name="connsiteX15" fmla="*/ 279654 w 2908650"/>
                  <a:gd name="connsiteY15" fmla="*/ 48673 h 189833"/>
                  <a:gd name="connsiteX16" fmla="*/ 298609 w 2908650"/>
                  <a:gd name="connsiteY16" fmla="*/ 48673 h 189833"/>
                  <a:gd name="connsiteX17" fmla="*/ 298609 w 2908650"/>
                  <a:gd name="connsiteY17" fmla="*/ 54769 h 189833"/>
                  <a:gd name="connsiteX18" fmla="*/ 309087 w 2908650"/>
                  <a:gd name="connsiteY18" fmla="*/ 54769 h 189833"/>
                  <a:gd name="connsiteX19" fmla="*/ 309087 w 2908650"/>
                  <a:gd name="connsiteY19" fmla="*/ 60960 h 189833"/>
                  <a:gd name="connsiteX20" fmla="*/ 342805 w 2908650"/>
                  <a:gd name="connsiteY20" fmla="*/ 60960 h 189833"/>
                  <a:gd name="connsiteX21" fmla="*/ 342805 w 2908650"/>
                  <a:gd name="connsiteY21" fmla="*/ 67056 h 189833"/>
                  <a:gd name="connsiteX22" fmla="*/ 349092 w 2908650"/>
                  <a:gd name="connsiteY22" fmla="*/ 67056 h 189833"/>
                  <a:gd name="connsiteX23" fmla="*/ 349092 w 2908650"/>
                  <a:gd name="connsiteY23" fmla="*/ 73152 h 189833"/>
                  <a:gd name="connsiteX24" fmla="*/ 363760 w 2908650"/>
                  <a:gd name="connsiteY24" fmla="*/ 73152 h 189833"/>
                  <a:gd name="connsiteX25" fmla="*/ 363760 w 2908650"/>
                  <a:gd name="connsiteY25" fmla="*/ 79248 h 189833"/>
                  <a:gd name="connsiteX26" fmla="*/ 376428 w 2908650"/>
                  <a:gd name="connsiteY26" fmla="*/ 79248 h 189833"/>
                  <a:gd name="connsiteX27" fmla="*/ 376428 w 2908650"/>
                  <a:gd name="connsiteY27" fmla="*/ 85439 h 189833"/>
                  <a:gd name="connsiteX28" fmla="*/ 401670 w 2908650"/>
                  <a:gd name="connsiteY28" fmla="*/ 85439 h 189833"/>
                  <a:gd name="connsiteX29" fmla="*/ 401670 w 2908650"/>
                  <a:gd name="connsiteY29" fmla="*/ 91535 h 189833"/>
                  <a:gd name="connsiteX30" fmla="*/ 630936 w 2908650"/>
                  <a:gd name="connsiteY30" fmla="*/ 91535 h 189833"/>
                  <a:gd name="connsiteX31" fmla="*/ 630936 w 2908650"/>
                  <a:gd name="connsiteY31" fmla="*/ 97727 h 189833"/>
                  <a:gd name="connsiteX32" fmla="*/ 744474 w 2908650"/>
                  <a:gd name="connsiteY32" fmla="*/ 97727 h 189833"/>
                  <a:gd name="connsiteX33" fmla="*/ 744474 w 2908650"/>
                  <a:gd name="connsiteY33" fmla="*/ 103918 h 189833"/>
                  <a:gd name="connsiteX34" fmla="*/ 1013651 w 2908650"/>
                  <a:gd name="connsiteY34" fmla="*/ 103918 h 189833"/>
                  <a:gd name="connsiteX35" fmla="*/ 1013651 w 2908650"/>
                  <a:gd name="connsiteY35" fmla="*/ 110204 h 189833"/>
                  <a:gd name="connsiteX36" fmla="*/ 1087279 w 2908650"/>
                  <a:gd name="connsiteY36" fmla="*/ 110204 h 189833"/>
                  <a:gd name="connsiteX37" fmla="*/ 1087279 w 2908650"/>
                  <a:gd name="connsiteY37" fmla="*/ 116491 h 189833"/>
                  <a:gd name="connsiteX38" fmla="*/ 1167194 w 2908650"/>
                  <a:gd name="connsiteY38" fmla="*/ 116491 h 189833"/>
                  <a:gd name="connsiteX39" fmla="*/ 1167194 w 2908650"/>
                  <a:gd name="connsiteY39" fmla="*/ 122777 h 189833"/>
                  <a:gd name="connsiteX40" fmla="*/ 1329119 w 2908650"/>
                  <a:gd name="connsiteY40" fmla="*/ 122777 h 189833"/>
                  <a:gd name="connsiteX41" fmla="*/ 1329119 w 2908650"/>
                  <a:gd name="connsiteY41" fmla="*/ 129254 h 189833"/>
                  <a:gd name="connsiteX42" fmla="*/ 1345978 w 2908650"/>
                  <a:gd name="connsiteY42" fmla="*/ 129254 h 189833"/>
                  <a:gd name="connsiteX43" fmla="*/ 1345978 w 2908650"/>
                  <a:gd name="connsiteY43" fmla="*/ 135636 h 189833"/>
                  <a:gd name="connsiteX44" fmla="*/ 1463802 w 2908650"/>
                  <a:gd name="connsiteY44" fmla="*/ 135636 h 189833"/>
                  <a:gd name="connsiteX45" fmla="*/ 1463802 w 2908650"/>
                  <a:gd name="connsiteY45" fmla="*/ 142113 h 189833"/>
                  <a:gd name="connsiteX46" fmla="*/ 1556290 w 2908650"/>
                  <a:gd name="connsiteY46" fmla="*/ 142113 h 189833"/>
                  <a:gd name="connsiteX47" fmla="*/ 1556290 w 2908650"/>
                  <a:gd name="connsiteY47" fmla="*/ 148495 h 189833"/>
                  <a:gd name="connsiteX48" fmla="*/ 1575245 w 2908650"/>
                  <a:gd name="connsiteY48" fmla="*/ 148495 h 189833"/>
                  <a:gd name="connsiteX49" fmla="*/ 1575245 w 2908650"/>
                  <a:gd name="connsiteY49" fmla="*/ 154972 h 189833"/>
                  <a:gd name="connsiteX50" fmla="*/ 2429066 w 2908650"/>
                  <a:gd name="connsiteY50" fmla="*/ 154972 h 189833"/>
                  <a:gd name="connsiteX51" fmla="*/ 2429066 w 2908650"/>
                  <a:gd name="connsiteY51" fmla="*/ 189833 h 189833"/>
                  <a:gd name="connsiteX52" fmla="*/ 2908650 w 2908650"/>
                  <a:gd name="connsiteY52" fmla="*/ 189833 h 189833"/>
                  <a:gd name="connsiteX0" fmla="*/ 0 w 2908650"/>
                  <a:gd name="connsiteY0" fmla="*/ 0 h 189833"/>
                  <a:gd name="connsiteX1" fmla="*/ 0 w 2908650"/>
                  <a:gd name="connsiteY1" fmla="*/ 6096 h 189833"/>
                  <a:gd name="connsiteX2" fmla="*/ 2096 w 2908650"/>
                  <a:gd name="connsiteY2" fmla="*/ 12097 h 189833"/>
                  <a:gd name="connsiteX3" fmla="*/ 25146 w 2908650"/>
                  <a:gd name="connsiteY3" fmla="*/ 12097 h 189833"/>
                  <a:gd name="connsiteX4" fmla="*/ 25146 w 2908650"/>
                  <a:gd name="connsiteY4" fmla="*/ 18193 h 189833"/>
                  <a:gd name="connsiteX5" fmla="*/ 37815 w 2908650"/>
                  <a:gd name="connsiteY5" fmla="*/ 18193 h 189833"/>
                  <a:gd name="connsiteX6" fmla="*/ 37815 w 2908650"/>
                  <a:gd name="connsiteY6" fmla="*/ 24289 h 189833"/>
                  <a:gd name="connsiteX7" fmla="*/ 73533 w 2908650"/>
                  <a:gd name="connsiteY7" fmla="*/ 24289 h 189833"/>
                  <a:gd name="connsiteX8" fmla="*/ 73533 w 2908650"/>
                  <a:gd name="connsiteY8" fmla="*/ 30385 h 189833"/>
                  <a:gd name="connsiteX9" fmla="*/ 189262 w 2908650"/>
                  <a:gd name="connsiteY9" fmla="*/ 30385 h 189833"/>
                  <a:gd name="connsiteX10" fmla="*/ 189262 w 2908650"/>
                  <a:gd name="connsiteY10" fmla="*/ 36386 h 189833"/>
                  <a:gd name="connsiteX11" fmla="*/ 227076 w 2908650"/>
                  <a:gd name="connsiteY11" fmla="*/ 36386 h 189833"/>
                  <a:gd name="connsiteX12" fmla="*/ 227076 w 2908650"/>
                  <a:gd name="connsiteY12" fmla="*/ 42577 h 189833"/>
                  <a:gd name="connsiteX13" fmla="*/ 279654 w 2908650"/>
                  <a:gd name="connsiteY13" fmla="*/ 42577 h 189833"/>
                  <a:gd name="connsiteX14" fmla="*/ 279654 w 2908650"/>
                  <a:gd name="connsiteY14" fmla="*/ 48673 h 189833"/>
                  <a:gd name="connsiteX15" fmla="*/ 298609 w 2908650"/>
                  <a:gd name="connsiteY15" fmla="*/ 48673 h 189833"/>
                  <a:gd name="connsiteX16" fmla="*/ 298609 w 2908650"/>
                  <a:gd name="connsiteY16" fmla="*/ 54769 h 189833"/>
                  <a:gd name="connsiteX17" fmla="*/ 309087 w 2908650"/>
                  <a:gd name="connsiteY17" fmla="*/ 54769 h 189833"/>
                  <a:gd name="connsiteX18" fmla="*/ 309087 w 2908650"/>
                  <a:gd name="connsiteY18" fmla="*/ 60960 h 189833"/>
                  <a:gd name="connsiteX19" fmla="*/ 342805 w 2908650"/>
                  <a:gd name="connsiteY19" fmla="*/ 60960 h 189833"/>
                  <a:gd name="connsiteX20" fmla="*/ 342805 w 2908650"/>
                  <a:gd name="connsiteY20" fmla="*/ 67056 h 189833"/>
                  <a:gd name="connsiteX21" fmla="*/ 349092 w 2908650"/>
                  <a:gd name="connsiteY21" fmla="*/ 67056 h 189833"/>
                  <a:gd name="connsiteX22" fmla="*/ 349092 w 2908650"/>
                  <a:gd name="connsiteY22" fmla="*/ 73152 h 189833"/>
                  <a:gd name="connsiteX23" fmla="*/ 363760 w 2908650"/>
                  <a:gd name="connsiteY23" fmla="*/ 73152 h 189833"/>
                  <a:gd name="connsiteX24" fmla="*/ 363760 w 2908650"/>
                  <a:gd name="connsiteY24" fmla="*/ 79248 h 189833"/>
                  <a:gd name="connsiteX25" fmla="*/ 376428 w 2908650"/>
                  <a:gd name="connsiteY25" fmla="*/ 79248 h 189833"/>
                  <a:gd name="connsiteX26" fmla="*/ 376428 w 2908650"/>
                  <a:gd name="connsiteY26" fmla="*/ 85439 h 189833"/>
                  <a:gd name="connsiteX27" fmla="*/ 401670 w 2908650"/>
                  <a:gd name="connsiteY27" fmla="*/ 85439 h 189833"/>
                  <a:gd name="connsiteX28" fmla="*/ 401670 w 2908650"/>
                  <a:gd name="connsiteY28" fmla="*/ 91535 h 189833"/>
                  <a:gd name="connsiteX29" fmla="*/ 630936 w 2908650"/>
                  <a:gd name="connsiteY29" fmla="*/ 91535 h 189833"/>
                  <a:gd name="connsiteX30" fmla="*/ 630936 w 2908650"/>
                  <a:gd name="connsiteY30" fmla="*/ 97727 h 189833"/>
                  <a:gd name="connsiteX31" fmla="*/ 744474 w 2908650"/>
                  <a:gd name="connsiteY31" fmla="*/ 97727 h 189833"/>
                  <a:gd name="connsiteX32" fmla="*/ 744474 w 2908650"/>
                  <a:gd name="connsiteY32" fmla="*/ 103918 h 189833"/>
                  <a:gd name="connsiteX33" fmla="*/ 1013651 w 2908650"/>
                  <a:gd name="connsiteY33" fmla="*/ 103918 h 189833"/>
                  <a:gd name="connsiteX34" fmla="*/ 1013651 w 2908650"/>
                  <a:gd name="connsiteY34" fmla="*/ 110204 h 189833"/>
                  <a:gd name="connsiteX35" fmla="*/ 1087279 w 2908650"/>
                  <a:gd name="connsiteY35" fmla="*/ 110204 h 189833"/>
                  <a:gd name="connsiteX36" fmla="*/ 1087279 w 2908650"/>
                  <a:gd name="connsiteY36" fmla="*/ 116491 h 189833"/>
                  <a:gd name="connsiteX37" fmla="*/ 1167194 w 2908650"/>
                  <a:gd name="connsiteY37" fmla="*/ 116491 h 189833"/>
                  <a:gd name="connsiteX38" fmla="*/ 1167194 w 2908650"/>
                  <a:gd name="connsiteY38" fmla="*/ 122777 h 189833"/>
                  <a:gd name="connsiteX39" fmla="*/ 1329119 w 2908650"/>
                  <a:gd name="connsiteY39" fmla="*/ 122777 h 189833"/>
                  <a:gd name="connsiteX40" fmla="*/ 1329119 w 2908650"/>
                  <a:gd name="connsiteY40" fmla="*/ 129254 h 189833"/>
                  <a:gd name="connsiteX41" fmla="*/ 1345978 w 2908650"/>
                  <a:gd name="connsiteY41" fmla="*/ 129254 h 189833"/>
                  <a:gd name="connsiteX42" fmla="*/ 1345978 w 2908650"/>
                  <a:gd name="connsiteY42" fmla="*/ 135636 h 189833"/>
                  <a:gd name="connsiteX43" fmla="*/ 1463802 w 2908650"/>
                  <a:gd name="connsiteY43" fmla="*/ 135636 h 189833"/>
                  <a:gd name="connsiteX44" fmla="*/ 1463802 w 2908650"/>
                  <a:gd name="connsiteY44" fmla="*/ 142113 h 189833"/>
                  <a:gd name="connsiteX45" fmla="*/ 1556290 w 2908650"/>
                  <a:gd name="connsiteY45" fmla="*/ 142113 h 189833"/>
                  <a:gd name="connsiteX46" fmla="*/ 1556290 w 2908650"/>
                  <a:gd name="connsiteY46" fmla="*/ 148495 h 189833"/>
                  <a:gd name="connsiteX47" fmla="*/ 1575245 w 2908650"/>
                  <a:gd name="connsiteY47" fmla="*/ 148495 h 189833"/>
                  <a:gd name="connsiteX48" fmla="*/ 1575245 w 2908650"/>
                  <a:gd name="connsiteY48" fmla="*/ 154972 h 189833"/>
                  <a:gd name="connsiteX49" fmla="*/ 2429066 w 2908650"/>
                  <a:gd name="connsiteY49" fmla="*/ 154972 h 189833"/>
                  <a:gd name="connsiteX50" fmla="*/ 2429066 w 2908650"/>
                  <a:gd name="connsiteY50" fmla="*/ 189833 h 189833"/>
                  <a:gd name="connsiteX51" fmla="*/ 2908650 w 2908650"/>
                  <a:gd name="connsiteY51" fmla="*/ 189833 h 189833"/>
                  <a:gd name="connsiteX0" fmla="*/ 0 w 2908650"/>
                  <a:gd name="connsiteY0" fmla="*/ 0 h 189833"/>
                  <a:gd name="connsiteX1" fmla="*/ 2096 w 2908650"/>
                  <a:gd name="connsiteY1" fmla="*/ 12097 h 189833"/>
                  <a:gd name="connsiteX2" fmla="*/ 25146 w 2908650"/>
                  <a:gd name="connsiteY2" fmla="*/ 12097 h 189833"/>
                  <a:gd name="connsiteX3" fmla="*/ 25146 w 2908650"/>
                  <a:gd name="connsiteY3" fmla="*/ 18193 h 189833"/>
                  <a:gd name="connsiteX4" fmla="*/ 37815 w 2908650"/>
                  <a:gd name="connsiteY4" fmla="*/ 18193 h 189833"/>
                  <a:gd name="connsiteX5" fmla="*/ 37815 w 2908650"/>
                  <a:gd name="connsiteY5" fmla="*/ 24289 h 189833"/>
                  <a:gd name="connsiteX6" fmla="*/ 73533 w 2908650"/>
                  <a:gd name="connsiteY6" fmla="*/ 24289 h 189833"/>
                  <a:gd name="connsiteX7" fmla="*/ 73533 w 2908650"/>
                  <a:gd name="connsiteY7" fmla="*/ 30385 h 189833"/>
                  <a:gd name="connsiteX8" fmla="*/ 189262 w 2908650"/>
                  <a:gd name="connsiteY8" fmla="*/ 30385 h 189833"/>
                  <a:gd name="connsiteX9" fmla="*/ 189262 w 2908650"/>
                  <a:gd name="connsiteY9" fmla="*/ 36386 h 189833"/>
                  <a:gd name="connsiteX10" fmla="*/ 227076 w 2908650"/>
                  <a:gd name="connsiteY10" fmla="*/ 36386 h 189833"/>
                  <a:gd name="connsiteX11" fmla="*/ 227076 w 2908650"/>
                  <a:gd name="connsiteY11" fmla="*/ 42577 h 189833"/>
                  <a:gd name="connsiteX12" fmla="*/ 279654 w 2908650"/>
                  <a:gd name="connsiteY12" fmla="*/ 42577 h 189833"/>
                  <a:gd name="connsiteX13" fmla="*/ 279654 w 2908650"/>
                  <a:gd name="connsiteY13" fmla="*/ 48673 h 189833"/>
                  <a:gd name="connsiteX14" fmla="*/ 298609 w 2908650"/>
                  <a:gd name="connsiteY14" fmla="*/ 48673 h 189833"/>
                  <a:gd name="connsiteX15" fmla="*/ 298609 w 2908650"/>
                  <a:gd name="connsiteY15" fmla="*/ 54769 h 189833"/>
                  <a:gd name="connsiteX16" fmla="*/ 309087 w 2908650"/>
                  <a:gd name="connsiteY16" fmla="*/ 54769 h 189833"/>
                  <a:gd name="connsiteX17" fmla="*/ 309087 w 2908650"/>
                  <a:gd name="connsiteY17" fmla="*/ 60960 h 189833"/>
                  <a:gd name="connsiteX18" fmla="*/ 342805 w 2908650"/>
                  <a:gd name="connsiteY18" fmla="*/ 60960 h 189833"/>
                  <a:gd name="connsiteX19" fmla="*/ 342805 w 2908650"/>
                  <a:gd name="connsiteY19" fmla="*/ 67056 h 189833"/>
                  <a:gd name="connsiteX20" fmla="*/ 349092 w 2908650"/>
                  <a:gd name="connsiteY20" fmla="*/ 67056 h 189833"/>
                  <a:gd name="connsiteX21" fmla="*/ 349092 w 2908650"/>
                  <a:gd name="connsiteY21" fmla="*/ 73152 h 189833"/>
                  <a:gd name="connsiteX22" fmla="*/ 363760 w 2908650"/>
                  <a:gd name="connsiteY22" fmla="*/ 73152 h 189833"/>
                  <a:gd name="connsiteX23" fmla="*/ 363760 w 2908650"/>
                  <a:gd name="connsiteY23" fmla="*/ 79248 h 189833"/>
                  <a:gd name="connsiteX24" fmla="*/ 376428 w 2908650"/>
                  <a:gd name="connsiteY24" fmla="*/ 79248 h 189833"/>
                  <a:gd name="connsiteX25" fmla="*/ 376428 w 2908650"/>
                  <a:gd name="connsiteY25" fmla="*/ 85439 h 189833"/>
                  <a:gd name="connsiteX26" fmla="*/ 401670 w 2908650"/>
                  <a:gd name="connsiteY26" fmla="*/ 85439 h 189833"/>
                  <a:gd name="connsiteX27" fmla="*/ 401670 w 2908650"/>
                  <a:gd name="connsiteY27" fmla="*/ 91535 h 189833"/>
                  <a:gd name="connsiteX28" fmla="*/ 630936 w 2908650"/>
                  <a:gd name="connsiteY28" fmla="*/ 91535 h 189833"/>
                  <a:gd name="connsiteX29" fmla="*/ 630936 w 2908650"/>
                  <a:gd name="connsiteY29" fmla="*/ 97727 h 189833"/>
                  <a:gd name="connsiteX30" fmla="*/ 744474 w 2908650"/>
                  <a:gd name="connsiteY30" fmla="*/ 97727 h 189833"/>
                  <a:gd name="connsiteX31" fmla="*/ 744474 w 2908650"/>
                  <a:gd name="connsiteY31" fmla="*/ 103918 h 189833"/>
                  <a:gd name="connsiteX32" fmla="*/ 1013651 w 2908650"/>
                  <a:gd name="connsiteY32" fmla="*/ 103918 h 189833"/>
                  <a:gd name="connsiteX33" fmla="*/ 1013651 w 2908650"/>
                  <a:gd name="connsiteY33" fmla="*/ 110204 h 189833"/>
                  <a:gd name="connsiteX34" fmla="*/ 1087279 w 2908650"/>
                  <a:gd name="connsiteY34" fmla="*/ 110204 h 189833"/>
                  <a:gd name="connsiteX35" fmla="*/ 1087279 w 2908650"/>
                  <a:gd name="connsiteY35" fmla="*/ 116491 h 189833"/>
                  <a:gd name="connsiteX36" fmla="*/ 1167194 w 2908650"/>
                  <a:gd name="connsiteY36" fmla="*/ 116491 h 189833"/>
                  <a:gd name="connsiteX37" fmla="*/ 1167194 w 2908650"/>
                  <a:gd name="connsiteY37" fmla="*/ 122777 h 189833"/>
                  <a:gd name="connsiteX38" fmla="*/ 1329119 w 2908650"/>
                  <a:gd name="connsiteY38" fmla="*/ 122777 h 189833"/>
                  <a:gd name="connsiteX39" fmla="*/ 1329119 w 2908650"/>
                  <a:gd name="connsiteY39" fmla="*/ 129254 h 189833"/>
                  <a:gd name="connsiteX40" fmla="*/ 1345978 w 2908650"/>
                  <a:gd name="connsiteY40" fmla="*/ 129254 h 189833"/>
                  <a:gd name="connsiteX41" fmla="*/ 1345978 w 2908650"/>
                  <a:gd name="connsiteY41" fmla="*/ 135636 h 189833"/>
                  <a:gd name="connsiteX42" fmla="*/ 1463802 w 2908650"/>
                  <a:gd name="connsiteY42" fmla="*/ 135636 h 189833"/>
                  <a:gd name="connsiteX43" fmla="*/ 1463802 w 2908650"/>
                  <a:gd name="connsiteY43" fmla="*/ 142113 h 189833"/>
                  <a:gd name="connsiteX44" fmla="*/ 1556290 w 2908650"/>
                  <a:gd name="connsiteY44" fmla="*/ 142113 h 189833"/>
                  <a:gd name="connsiteX45" fmla="*/ 1556290 w 2908650"/>
                  <a:gd name="connsiteY45" fmla="*/ 148495 h 189833"/>
                  <a:gd name="connsiteX46" fmla="*/ 1575245 w 2908650"/>
                  <a:gd name="connsiteY46" fmla="*/ 148495 h 189833"/>
                  <a:gd name="connsiteX47" fmla="*/ 1575245 w 2908650"/>
                  <a:gd name="connsiteY47" fmla="*/ 154972 h 189833"/>
                  <a:gd name="connsiteX48" fmla="*/ 2429066 w 2908650"/>
                  <a:gd name="connsiteY48" fmla="*/ 154972 h 189833"/>
                  <a:gd name="connsiteX49" fmla="*/ 2429066 w 2908650"/>
                  <a:gd name="connsiteY49" fmla="*/ 189833 h 189833"/>
                  <a:gd name="connsiteX50" fmla="*/ 2908650 w 2908650"/>
                  <a:gd name="connsiteY50" fmla="*/ 189833 h 189833"/>
                  <a:gd name="connsiteX0" fmla="*/ 0 w 2906554"/>
                  <a:gd name="connsiteY0" fmla="*/ 0 h 177736"/>
                  <a:gd name="connsiteX1" fmla="*/ 23050 w 2906554"/>
                  <a:gd name="connsiteY1" fmla="*/ 0 h 177736"/>
                  <a:gd name="connsiteX2" fmla="*/ 23050 w 2906554"/>
                  <a:gd name="connsiteY2" fmla="*/ 6096 h 177736"/>
                  <a:gd name="connsiteX3" fmla="*/ 35719 w 2906554"/>
                  <a:gd name="connsiteY3" fmla="*/ 6096 h 177736"/>
                  <a:gd name="connsiteX4" fmla="*/ 35719 w 2906554"/>
                  <a:gd name="connsiteY4" fmla="*/ 12192 h 177736"/>
                  <a:gd name="connsiteX5" fmla="*/ 71437 w 2906554"/>
                  <a:gd name="connsiteY5" fmla="*/ 12192 h 177736"/>
                  <a:gd name="connsiteX6" fmla="*/ 71437 w 2906554"/>
                  <a:gd name="connsiteY6" fmla="*/ 18288 h 177736"/>
                  <a:gd name="connsiteX7" fmla="*/ 187166 w 2906554"/>
                  <a:gd name="connsiteY7" fmla="*/ 18288 h 177736"/>
                  <a:gd name="connsiteX8" fmla="*/ 187166 w 2906554"/>
                  <a:gd name="connsiteY8" fmla="*/ 24289 h 177736"/>
                  <a:gd name="connsiteX9" fmla="*/ 224980 w 2906554"/>
                  <a:gd name="connsiteY9" fmla="*/ 24289 h 177736"/>
                  <a:gd name="connsiteX10" fmla="*/ 224980 w 2906554"/>
                  <a:gd name="connsiteY10" fmla="*/ 30480 h 177736"/>
                  <a:gd name="connsiteX11" fmla="*/ 277558 w 2906554"/>
                  <a:gd name="connsiteY11" fmla="*/ 30480 h 177736"/>
                  <a:gd name="connsiteX12" fmla="*/ 277558 w 2906554"/>
                  <a:gd name="connsiteY12" fmla="*/ 36576 h 177736"/>
                  <a:gd name="connsiteX13" fmla="*/ 296513 w 2906554"/>
                  <a:gd name="connsiteY13" fmla="*/ 36576 h 177736"/>
                  <a:gd name="connsiteX14" fmla="*/ 296513 w 2906554"/>
                  <a:gd name="connsiteY14" fmla="*/ 42672 h 177736"/>
                  <a:gd name="connsiteX15" fmla="*/ 306991 w 2906554"/>
                  <a:gd name="connsiteY15" fmla="*/ 42672 h 177736"/>
                  <a:gd name="connsiteX16" fmla="*/ 306991 w 2906554"/>
                  <a:gd name="connsiteY16" fmla="*/ 48863 h 177736"/>
                  <a:gd name="connsiteX17" fmla="*/ 340709 w 2906554"/>
                  <a:gd name="connsiteY17" fmla="*/ 48863 h 177736"/>
                  <a:gd name="connsiteX18" fmla="*/ 340709 w 2906554"/>
                  <a:gd name="connsiteY18" fmla="*/ 54959 h 177736"/>
                  <a:gd name="connsiteX19" fmla="*/ 346996 w 2906554"/>
                  <a:gd name="connsiteY19" fmla="*/ 54959 h 177736"/>
                  <a:gd name="connsiteX20" fmla="*/ 346996 w 2906554"/>
                  <a:gd name="connsiteY20" fmla="*/ 61055 h 177736"/>
                  <a:gd name="connsiteX21" fmla="*/ 361664 w 2906554"/>
                  <a:gd name="connsiteY21" fmla="*/ 61055 h 177736"/>
                  <a:gd name="connsiteX22" fmla="*/ 361664 w 2906554"/>
                  <a:gd name="connsiteY22" fmla="*/ 67151 h 177736"/>
                  <a:gd name="connsiteX23" fmla="*/ 374332 w 2906554"/>
                  <a:gd name="connsiteY23" fmla="*/ 67151 h 177736"/>
                  <a:gd name="connsiteX24" fmla="*/ 374332 w 2906554"/>
                  <a:gd name="connsiteY24" fmla="*/ 73342 h 177736"/>
                  <a:gd name="connsiteX25" fmla="*/ 399574 w 2906554"/>
                  <a:gd name="connsiteY25" fmla="*/ 73342 h 177736"/>
                  <a:gd name="connsiteX26" fmla="*/ 399574 w 2906554"/>
                  <a:gd name="connsiteY26" fmla="*/ 79438 h 177736"/>
                  <a:gd name="connsiteX27" fmla="*/ 628840 w 2906554"/>
                  <a:gd name="connsiteY27" fmla="*/ 79438 h 177736"/>
                  <a:gd name="connsiteX28" fmla="*/ 628840 w 2906554"/>
                  <a:gd name="connsiteY28" fmla="*/ 85630 h 177736"/>
                  <a:gd name="connsiteX29" fmla="*/ 742378 w 2906554"/>
                  <a:gd name="connsiteY29" fmla="*/ 85630 h 177736"/>
                  <a:gd name="connsiteX30" fmla="*/ 742378 w 2906554"/>
                  <a:gd name="connsiteY30" fmla="*/ 91821 h 177736"/>
                  <a:gd name="connsiteX31" fmla="*/ 1011555 w 2906554"/>
                  <a:gd name="connsiteY31" fmla="*/ 91821 h 177736"/>
                  <a:gd name="connsiteX32" fmla="*/ 1011555 w 2906554"/>
                  <a:gd name="connsiteY32" fmla="*/ 98107 h 177736"/>
                  <a:gd name="connsiteX33" fmla="*/ 1085183 w 2906554"/>
                  <a:gd name="connsiteY33" fmla="*/ 98107 h 177736"/>
                  <a:gd name="connsiteX34" fmla="*/ 1085183 w 2906554"/>
                  <a:gd name="connsiteY34" fmla="*/ 104394 h 177736"/>
                  <a:gd name="connsiteX35" fmla="*/ 1165098 w 2906554"/>
                  <a:gd name="connsiteY35" fmla="*/ 104394 h 177736"/>
                  <a:gd name="connsiteX36" fmla="*/ 1165098 w 2906554"/>
                  <a:gd name="connsiteY36" fmla="*/ 110680 h 177736"/>
                  <a:gd name="connsiteX37" fmla="*/ 1327023 w 2906554"/>
                  <a:gd name="connsiteY37" fmla="*/ 110680 h 177736"/>
                  <a:gd name="connsiteX38" fmla="*/ 1327023 w 2906554"/>
                  <a:gd name="connsiteY38" fmla="*/ 117157 h 177736"/>
                  <a:gd name="connsiteX39" fmla="*/ 1343882 w 2906554"/>
                  <a:gd name="connsiteY39" fmla="*/ 117157 h 177736"/>
                  <a:gd name="connsiteX40" fmla="*/ 1343882 w 2906554"/>
                  <a:gd name="connsiteY40" fmla="*/ 123539 h 177736"/>
                  <a:gd name="connsiteX41" fmla="*/ 1461706 w 2906554"/>
                  <a:gd name="connsiteY41" fmla="*/ 123539 h 177736"/>
                  <a:gd name="connsiteX42" fmla="*/ 1461706 w 2906554"/>
                  <a:gd name="connsiteY42" fmla="*/ 130016 h 177736"/>
                  <a:gd name="connsiteX43" fmla="*/ 1554194 w 2906554"/>
                  <a:gd name="connsiteY43" fmla="*/ 130016 h 177736"/>
                  <a:gd name="connsiteX44" fmla="*/ 1554194 w 2906554"/>
                  <a:gd name="connsiteY44" fmla="*/ 136398 h 177736"/>
                  <a:gd name="connsiteX45" fmla="*/ 1573149 w 2906554"/>
                  <a:gd name="connsiteY45" fmla="*/ 136398 h 177736"/>
                  <a:gd name="connsiteX46" fmla="*/ 1573149 w 2906554"/>
                  <a:gd name="connsiteY46" fmla="*/ 142875 h 177736"/>
                  <a:gd name="connsiteX47" fmla="*/ 2426970 w 2906554"/>
                  <a:gd name="connsiteY47" fmla="*/ 142875 h 177736"/>
                  <a:gd name="connsiteX48" fmla="*/ 2426970 w 2906554"/>
                  <a:gd name="connsiteY48" fmla="*/ 177736 h 177736"/>
                  <a:gd name="connsiteX49" fmla="*/ 2906554 w 2906554"/>
                  <a:gd name="connsiteY49" fmla="*/ 177736 h 177736"/>
                  <a:gd name="connsiteX0" fmla="*/ 0 w 2883504"/>
                  <a:gd name="connsiteY0" fmla="*/ 0 h 177736"/>
                  <a:gd name="connsiteX1" fmla="*/ 0 w 2883504"/>
                  <a:gd name="connsiteY1" fmla="*/ 6096 h 177736"/>
                  <a:gd name="connsiteX2" fmla="*/ 12669 w 2883504"/>
                  <a:gd name="connsiteY2" fmla="*/ 6096 h 177736"/>
                  <a:gd name="connsiteX3" fmla="*/ 12669 w 2883504"/>
                  <a:gd name="connsiteY3" fmla="*/ 12192 h 177736"/>
                  <a:gd name="connsiteX4" fmla="*/ 48387 w 2883504"/>
                  <a:gd name="connsiteY4" fmla="*/ 12192 h 177736"/>
                  <a:gd name="connsiteX5" fmla="*/ 48387 w 2883504"/>
                  <a:gd name="connsiteY5" fmla="*/ 18288 h 177736"/>
                  <a:gd name="connsiteX6" fmla="*/ 164116 w 2883504"/>
                  <a:gd name="connsiteY6" fmla="*/ 18288 h 177736"/>
                  <a:gd name="connsiteX7" fmla="*/ 164116 w 2883504"/>
                  <a:gd name="connsiteY7" fmla="*/ 24289 h 177736"/>
                  <a:gd name="connsiteX8" fmla="*/ 201930 w 2883504"/>
                  <a:gd name="connsiteY8" fmla="*/ 24289 h 177736"/>
                  <a:gd name="connsiteX9" fmla="*/ 201930 w 2883504"/>
                  <a:gd name="connsiteY9" fmla="*/ 30480 h 177736"/>
                  <a:gd name="connsiteX10" fmla="*/ 254508 w 2883504"/>
                  <a:gd name="connsiteY10" fmla="*/ 30480 h 177736"/>
                  <a:gd name="connsiteX11" fmla="*/ 254508 w 2883504"/>
                  <a:gd name="connsiteY11" fmla="*/ 36576 h 177736"/>
                  <a:gd name="connsiteX12" fmla="*/ 273463 w 2883504"/>
                  <a:gd name="connsiteY12" fmla="*/ 36576 h 177736"/>
                  <a:gd name="connsiteX13" fmla="*/ 273463 w 2883504"/>
                  <a:gd name="connsiteY13" fmla="*/ 42672 h 177736"/>
                  <a:gd name="connsiteX14" fmla="*/ 283941 w 2883504"/>
                  <a:gd name="connsiteY14" fmla="*/ 42672 h 177736"/>
                  <a:gd name="connsiteX15" fmla="*/ 283941 w 2883504"/>
                  <a:gd name="connsiteY15" fmla="*/ 48863 h 177736"/>
                  <a:gd name="connsiteX16" fmla="*/ 317659 w 2883504"/>
                  <a:gd name="connsiteY16" fmla="*/ 48863 h 177736"/>
                  <a:gd name="connsiteX17" fmla="*/ 317659 w 2883504"/>
                  <a:gd name="connsiteY17" fmla="*/ 54959 h 177736"/>
                  <a:gd name="connsiteX18" fmla="*/ 323946 w 2883504"/>
                  <a:gd name="connsiteY18" fmla="*/ 54959 h 177736"/>
                  <a:gd name="connsiteX19" fmla="*/ 323946 w 2883504"/>
                  <a:gd name="connsiteY19" fmla="*/ 61055 h 177736"/>
                  <a:gd name="connsiteX20" fmla="*/ 338614 w 2883504"/>
                  <a:gd name="connsiteY20" fmla="*/ 61055 h 177736"/>
                  <a:gd name="connsiteX21" fmla="*/ 338614 w 2883504"/>
                  <a:gd name="connsiteY21" fmla="*/ 67151 h 177736"/>
                  <a:gd name="connsiteX22" fmla="*/ 351282 w 2883504"/>
                  <a:gd name="connsiteY22" fmla="*/ 67151 h 177736"/>
                  <a:gd name="connsiteX23" fmla="*/ 351282 w 2883504"/>
                  <a:gd name="connsiteY23" fmla="*/ 73342 h 177736"/>
                  <a:gd name="connsiteX24" fmla="*/ 376524 w 2883504"/>
                  <a:gd name="connsiteY24" fmla="*/ 73342 h 177736"/>
                  <a:gd name="connsiteX25" fmla="*/ 376524 w 2883504"/>
                  <a:gd name="connsiteY25" fmla="*/ 79438 h 177736"/>
                  <a:gd name="connsiteX26" fmla="*/ 605790 w 2883504"/>
                  <a:gd name="connsiteY26" fmla="*/ 79438 h 177736"/>
                  <a:gd name="connsiteX27" fmla="*/ 605790 w 2883504"/>
                  <a:gd name="connsiteY27" fmla="*/ 85630 h 177736"/>
                  <a:gd name="connsiteX28" fmla="*/ 719328 w 2883504"/>
                  <a:gd name="connsiteY28" fmla="*/ 85630 h 177736"/>
                  <a:gd name="connsiteX29" fmla="*/ 719328 w 2883504"/>
                  <a:gd name="connsiteY29" fmla="*/ 91821 h 177736"/>
                  <a:gd name="connsiteX30" fmla="*/ 988505 w 2883504"/>
                  <a:gd name="connsiteY30" fmla="*/ 91821 h 177736"/>
                  <a:gd name="connsiteX31" fmla="*/ 988505 w 2883504"/>
                  <a:gd name="connsiteY31" fmla="*/ 98107 h 177736"/>
                  <a:gd name="connsiteX32" fmla="*/ 1062133 w 2883504"/>
                  <a:gd name="connsiteY32" fmla="*/ 98107 h 177736"/>
                  <a:gd name="connsiteX33" fmla="*/ 1062133 w 2883504"/>
                  <a:gd name="connsiteY33" fmla="*/ 104394 h 177736"/>
                  <a:gd name="connsiteX34" fmla="*/ 1142048 w 2883504"/>
                  <a:gd name="connsiteY34" fmla="*/ 104394 h 177736"/>
                  <a:gd name="connsiteX35" fmla="*/ 1142048 w 2883504"/>
                  <a:gd name="connsiteY35" fmla="*/ 110680 h 177736"/>
                  <a:gd name="connsiteX36" fmla="*/ 1303973 w 2883504"/>
                  <a:gd name="connsiteY36" fmla="*/ 110680 h 177736"/>
                  <a:gd name="connsiteX37" fmla="*/ 1303973 w 2883504"/>
                  <a:gd name="connsiteY37" fmla="*/ 117157 h 177736"/>
                  <a:gd name="connsiteX38" fmla="*/ 1320832 w 2883504"/>
                  <a:gd name="connsiteY38" fmla="*/ 117157 h 177736"/>
                  <a:gd name="connsiteX39" fmla="*/ 1320832 w 2883504"/>
                  <a:gd name="connsiteY39" fmla="*/ 123539 h 177736"/>
                  <a:gd name="connsiteX40" fmla="*/ 1438656 w 2883504"/>
                  <a:gd name="connsiteY40" fmla="*/ 123539 h 177736"/>
                  <a:gd name="connsiteX41" fmla="*/ 1438656 w 2883504"/>
                  <a:gd name="connsiteY41" fmla="*/ 130016 h 177736"/>
                  <a:gd name="connsiteX42" fmla="*/ 1531144 w 2883504"/>
                  <a:gd name="connsiteY42" fmla="*/ 130016 h 177736"/>
                  <a:gd name="connsiteX43" fmla="*/ 1531144 w 2883504"/>
                  <a:gd name="connsiteY43" fmla="*/ 136398 h 177736"/>
                  <a:gd name="connsiteX44" fmla="*/ 1550099 w 2883504"/>
                  <a:gd name="connsiteY44" fmla="*/ 136398 h 177736"/>
                  <a:gd name="connsiteX45" fmla="*/ 1550099 w 2883504"/>
                  <a:gd name="connsiteY45" fmla="*/ 142875 h 177736"/>
                  <a:gd name="connsiteX46" fmla="*/ 2403920 w 2883504"/>
                  <a:gd name="connsiteY46" fmla="*/ 142875 h 177736"/>
                  <a:gd name="connsiteX47" fmla="*/ 2403920 w 2883504"/>
                  <a:gd name="connsiteY47" fmla="*/ 177736 h 177736"/>
                  <a:gd name="connsiteX48" fmla="*/ 2883504 w 2883504"/>
                  <a:gd name="connsiteY48" fmla="*/ 177736 h 177736"/>
                  <a:gd name="connsiteX0" fmla="*/ 0 w 2883504"/>
                  <a:gd name="connsiteY0" fmla="*/ 0 h 177736"/>
                  <a:gd name="connsiteX1" fmla="*/ 12669 w 2883504"/>
                  <a:gd name="connsiteY1" fmla="*/ 6096 h 177736"/>
                  <a:gd name="connsiteX2" fmla="*/ 12669 w 2883504"/>
                  <a:gd name="connsiteY2" fmla="*/ 12192 h 177736"/>
                  <a:gd name="connsiteX3" fmla="*/ 48387 w 2883504"/>
                  <a:gd name="connsiteY3" fmla="*/ 12192 h 177736"/>
                  <a:gd name="connsiteX4" fmla="*/ 48387 w 2883504"/>
                  <a:gd name="connsiteY4" fmla="*/ 18288 h 177736"/>
                  <a:gd name="connsiteX5" fmla="*/ 164116 w 2883504"/>
                  <a:gd name="connsiteY5" fmla="*/ 18288 h 177736"/>
                  <a:gd name="connsiteX6" fmla="*/ 164116 w 2883504"/>
                  <a:gd name="connsiteY6" fmla="*/ 24289 h 177736"/>
                  <a:gd name="connsiteX7" fmla="*/ 201930 w 2883504"/>
                  <a:gd name="connsiteY7" fmla="*/ 24289 h 177736"/>
                  <a:gd name="connsiteX8" fmla="*/ 201930 w 2883504"/>
                  <a:gd name="connsiteY8" fmla="*/ 30480 h 177736"/>
                  <a:gd name="connsiteX9" fmla="*/ 254508 w 2883504"/>
                  <a:gd name="connsiteY9" fmla="*/ 30480 h 177736"/>
                  <a:gd name="connsiteX10" fmla="*/ 254508 w 2883504"/>
                  <a:gd name="connsiteY10" fmla="*/ 36576 h 177736"/>
                  <a:gd name="connsiteX11" fmla="*/ 273463 w 2883504"/>
                  <a:gd name="connsiteY11" fmla="*/ 36576 h 177736"/>
                  <a:gd name="connsiteX12" fmla="*/ 273463 w 2883504"/>
                  <a:gd name="connsiteY12" fmla="*/ 42672 h 177736"/>
                  <a:gd name="connsiteX13" fmla="*/ 283941 w 2883504"/>
                  <a:gd name="connsiteY13" fmla="*/ 42672 h 177736"/>
                  <a:gd name="connsiteX14" fmla="*/ 283941 w 2883504"/>
                  <a:gd name="connsiteY14" fmla="*/ 48863 h 177736"/>
                  <a:gd name="connsiteX15" fmla="*/ 317659 w 2883504"/>
                  <a:gd name="connsiteY15" fmla="*/ 48863 h 177736"/>
                  <a:gd name="connsiteX16" fmla="*/ 317659 w 2883504"/>
                  <a:gd name="connsiteY16" fmla="*/ 54959 h 177736"/>
                  <a:gd name="connsiteX17" fmla="*/ 323946 w 2883504"/>
                  <a:gd name="connsiteY17" fmla="*/ 54959 h 177736"/>
                  <a:gd name="connsiteX18" fmla="*/ 323946 w 2883504"/>
                  <a:gd name="connsiteY18" fmla="*/ 61055 h 177736"/>
                  <a:gd name="connsiteX19" fmla="*/ 338614 w 2883504"/>
                  <a:gd name="connsiteY19" fmla="*/ 61055 h 177736"/>
                  <a:gd name="connsiteX20" fmla="*/ 338614 w 2883504"/>
                  <a:gd name="connsiteY20" fmla="*/ 67151 h 177736"/>
                  <a:gd name="connsiteX21" fmla="*/ 351282 w 2883504"/>
                  <a:gd name="connsiteY21" fmla="*/ 67151 h 177736"/>
                  <a:gd name="connsiteX22" fmla="*/ 351282 w 2883504"/>
                  <a:gd name="connsiteY22" fmla="*/ 73342 h 177736"/>
                  <a:gd name="connsiteX23" fmla="*/ 376524 w 2883504"/>
                  <a:gd name="connsiteY23" fmla="*/ 73342 h 177736"/>
                  <a:gd name="connsiteX24" fmla="*/ 376524 w 2883504"/>
                  <a:gd name="connsiteY24" fmla="*/ 79438 h 177736"/>
                  <a:gd name="connsiteX25" fmla="*/ 605790 w 2883504"/>
                  <a:gd name="connsiteY25" fmla="*/ 79438 h 177736"/>
                  <a:gd name="connsiteX26" fmla="*/ 605790 w 2883504"/>
                  <a:gd name="connsiteY26" fmla="*/ 85630 h 177736"/>
                  <a:gd name="connsiteX27" fmla="*/ 719328 w 2883504"/>
                  <a:gd name="connsiteY27" fmla="*/ 85630 h 177736"/>
                  <a:gd name="connsiteX28" fmla="*/ 719328 w 2883504"/>
                  <a:gd name="connsiteY28" fmla="*/ 91821 h 177736"/>
                  <a:gd name="connsiteX29" fmla="*/ 988505 w 2883504"/>
                  <a:gd name="connsiteY29" fmla="*/ 91821 h 177736"/>
                  <a:gd name="connsiteX30" fmla="*/ 988505 w 2883504"/>
                  <a:gd name="connsiteY30" fmla="*/ 98107 h 177736"/>
                  <a:gd name="connsiteX31" fmla="*/ 1062133 w 2883504"/>
                  <a:gd name="connsiteY31" fmla="*/ 98107 h 177736"/>
                  <a:gd name="connsiteX32" fmla="*/ 1062133 w 2883504"/>
                  <a:gd name="connsiteY32" fmla="*/ 104394 h 177736"/>
                  <a:gd name="connsiteX33" fmla="*/ 1142048 w 2883504"/>
                  <a:gd name="connsiteY33" fmla="*/ 104394 h 177736"/>
                  <a:gd name="connsiteX34" fmla="*/ 1142048 w 2883504"/>
                  <a:gd name="connsiteY34" fmla="*/ 110680 h 177736"/>
                  <a:gd name="connsiteX35" fmla="*/ 1303973 w 2883504"/>
                  <a:gd name="connsiteY35" fmla="*/ 110680 h 177736"/>
                  <a:gd name="connsiteX36" fmla="*/ 1303973 w 2883504"/>
                  <a:gd name="connsiteY36" fmla="*/ 117157 h 177736"/>
                  <a:gd name="connsiteX37" fmla="*/ 1320832 w 2883504"/>
                  <a:gd name="connsiteY37" fmla="*/ 117157 h 177736"/>
                  <a:gd name="connsiteX38" fmla="*/ 1320832 w 2883504"/>
                  <a:gd name="connsiteY38" fmla="*/ 123539 h 177736"/>
                  <a:gd name="connsiteX39" fmla="*/ 1438656 w 2883504"/>
                  <a:gd name="connsiteY39" fmla="*/ 123539 h 177736"/>
                  <a:gd name="connsiteX40" fmla="*/ 1438656 w 2883504"/>
                  <a:gd name="connsiteY40" fmla="*/ 130016 h 177736"/>
                  <a:gd name="connsiteX41" fmla="*/ 1531144 w 2883504"/>
                  <a:gd name="connsiteY41" fmla="*/ 130016 h 177736"/>
                  <a:gd name="connsiteX42" fmla="*/ 1531144 w 2883504"/>
                  <a:gd name="connsiteY42" fmla="*/ 136398 h 177736"/>
                  <a:gd name="connsiteX43" fmla="*/ 1550099 w 2883504"/>
                  <a:gd name="connsiteY43" fmla="*/ 136398 h 177736"/>
                  <a:gd name="connsiteX44" fmla="*/ 1550099 w 2883504"/>
                  <a:gd name="connsiteY44" fmla="*/ 142875 h 177736"/>
                  <a:gd name="connsiteX45" fmla="*/ 2403920 w 2883504"/>
                  <a:gd name="connsiteY45" fmla="*/ 142875 h 177736"/>
                  <a:gd name="connsiteX46" fmla="*/ 2403920 w 2883504"/>
                  <a:gd name="connsiteY46" fmla="*/ 177736 h 177736"/>
                  <a:gd name="connsiteX47" fmla="*/ 2883504 w 2883504"/>
                  <a:gd name="connsiteY47" fmla="*/ 177736 h 177736"/>
                  <a:gd name="connsiteX0" fmla="*/ 0 w 2870835"/>
                  <a:gd name="connsiteY0" fmla="*/ 0 h 171640"/>
                  <a:gd name="connsiteX1" fmla="*/ 0 w 2870835"/>
                  <a:gd name="connsiteY1" fmla="*/ 6096 h 171640"/>
                  <a:gd name="connsiteX2" fmla="*/ 35718 w 2870835"/>
                  <a:gd name="connsiteY2" fmla="*/ 6096 h 171640"/>
                  <a:gd name="connsiteX3" fmla="*/ 35718 w 2870835"/>
                  <a:gd name="connsiteY3" fmla="*/ 12192 h 171640"/>
                  <a:gd name="connsiteX4" fmla="*/ 151447 w 2870835"/>
                  <a:gd name="connsiteY4" fmla="*/ 12192 h 171640"/>
                  <a:gd name="connsiteX5" fmla="*/ 151447 w 2870835"/>
                  <a:gd name="connsiteY5" fmla="*/ 18193 h 171640"/>
                  <a:gd name="connsiteX6" fmla="*/ 189261 w 2870835"/>
                  <a:gd name="connsiteY6" fmla="*/ 18193 h 171640"/>
                  <a:gd name="connsiteX7" fmla="*/ 189261 w 2870835"/>
                  <a:gd name="connsiteY7" fmla="*/ 24384 h 171640"/>
                  <a:gd name="connsiteX8" fmla="*/ 241839 w 2870835"/>
                  <a:gd name="connsiteY8" fmla="*/ 24384 h 171640"/>
                  <a:gd name="connsiteX9" fmla="*/ 241839 w 2870835"/>
                  <a:gd name="connsiteY9" fmla="*/ 30480 h 171640"/>
                  <a:gd name="connsiteX10" fmla="*/ 260794 w 2870835"/>
                  <a:gd name="connsiteY10" fmla="*/ 30480 h 171640"/>
                  <a:gd name="connsiteX11" fmla="*/ 260794 w 2870835"/>
                  <a:gd name="connsiteY11" fmla="*/ 36576 h 171640"/>
                  <a:gd name="connsiteX12" fmla="*/ 271272 w 2870835"/>
                  <a:gd name="connsiteY12" fmla="*/ 36576 h 171640"/>
                  <a:gd name="connsiteX13" fmla="*/ 271272 w 2870835"/>
                  <a:gd name="connsiteY13" fmla="*/ 42767 h 171640"/>
                  <a:gd name="connsiteX14" fmla="*/ 304990 w 2870835"/>
                  <a:gd name="connsiteY14" fmla="*/ 42767 h 171640"/>
                  <a:gd name="connsiteX15" fmla="*/ 304990 w 2870835"/>
                  <a:gd name="connsiteY15" fmla="*/ 48863 h 171640"/>
                  <a:gd name="connsiteX16" fmla="*/ 311277 w 2870835"/>
                  <a:gd name="connsiteY16" fmla="*/ 48863 h 171640"/>
                  <a:gd name="connsiteX17" fmla="*/ 311277 w 2870835"/>
                  <a:gd name="connsiteY17" fmla="*/ 54959 h 171640"/>
                  <a:gd name="connsiteX18" fmla="*/ 325945 w 2870835"/>
                  <a:gd name="connsiteY18" fmla="*/ 54959 h 171640"/>
                  <a:gd name="connsiteX19" fmla="*/ 325945 w 2870835"/>
                  <a:gd name="connsiteY19" fmla="*/ 61055 h 171640"/>
                  <a:gd name="connsiteX20" fmla="*/ 338613 w 2870835"/>
                  <a:gd name="connsiteY20" fmla="*/ 61055 h 171640"/>
                  <a:gd name="connsiteX21" fmla="*/ 338613 w 2870835"/>
                  <a:gd name="connsiteY21" fmla="*/ 67246 h 171640"/>
                  <a:gd name="connsiteX22" fmla="*/ 363855 w 2870835"/>
                  <a:gd name="connsiteY22" fmla="*/ 67246 h 171640"/>
                  <a:gd name="connsiteX23" fmla="*/ 363855 w 2870835"/>
                  <a:gd name="connsiteY23" fmla="*/ 73342 h 171640"/>
                  <a:gd name="connsiteX24" fmla="*/ 593121 w 2870835"/>
                  <a:gd name="connsiteY24" fmla="*/ 73342 h 171640"/>
                  <a:gd name="connsiteX25" fmla="*/ 593121 w 2870835"/>
                  <a:gd name="connsiteY25" fmla="*/ 79534 h 171640"/>
                  <a:gd name="connsiteX26" fmla="*/ 706659 w 2870835"/>
                  <a:gd name="connsiteY26" fmla="*/ 79534 h 171640"/>
                  <a:gd name="connsiteX27" fmla="*/ 706659 w 2870835"/>
                  <a:gd name="connsiteY27" fmla="*/ 85725 h 171640"/>
                  <a:gd name="connsiteX28" fmla="*/ 975836 w 2870835"/>
                  <a:gd name="connsiteY28" fmla="*/ 85725 h 171640"/>
                  <a:gd name="connsiteX29" fmla="*/ 975836 w 2870835"/>
                  <a:gd name="connsiteY29" fmla="*/ 92011 h 171640"/>
                  <a:gd name="connsiteX30" fmla="*/ 1049464 w 2870835"/>
                  <a:gd name="connsiteY30" fmla="*/ 92011 h 171640"/>
                  <a:gd name="connsiteX31" fmla="*/ 1049464 w 2870835"/>
                  <a:gd name="connsiteY31" fmla="*/ 98298 h 171640"/>
                  <a:gd name="connsiteX32" fmla="*/ 1129379 w 2870835"/>
                  <a:gd name="connsiteY32" fmla="*/ 98298 h 171640"/>
                  <a:gd name="connsiteX33" fmla="*/ 1129379 w 2870835"/>
                  <a:gd name="connsiteY33" fmla="*/ 104584 h 171640"/>
                  <a:gd name="connsiteX34" fmla="*/ 1291304 w 2870835"/>
                  <a:gd name="connsiteY34" fmla="*/ 104584 h 171640"/>
                  <a:gd name="connsiteX35" fmla="*/ 1291304 w 2870835"/>
                  <a:gd name="connsiteY35" fmla="*/ 111061 h 171640"/>
                  <a:gd name="connsiteX36" fmla="*/ 1308163 w 2870835"/>
                  <a:gd name="connsiteY36" fmla="*/ 111061 h 171640"/>
                  <a:gd name="connsiteX37" fmla="*/ 1308163 w 2870835"/>
                  <a:gd name="connsiteY37" fmla="*/ 117443 h 171640"/>
                  <a:gd name="connsiteX38" fmla="*/ 1425987 w 2870835"/>
                  <a:gd name="connsiteY38" fmla="*/ 117443 h 171640"/>
                  <a:gd name="connsiteX39" fmla="*/ 1425987 w 2870835"/>
                  <a:gd name="connsiteY39" fmla="*/ 123920 h 171640"/>
                  <a:gd name="connsiteX40" fmla="*/ 1518475 w 2870835"/>
                  <a:gd name="connsiteY40" fmla="*/ 123920 h 171640"/>
                  <a:gd name="connsiteX41" fmla="*/ 1518475 w 2870835"/>
                  <a:gd name="connsiteY41" fmla="*/ 130302 h 171640"/>
                  <a:gd name="connsiteX42" fmla="*/ 1537430 w 2870835"/>
                  <a:gd name="connsiteY42" fmla="*/ 130302 h 171640"/>
                  <a:gd name="connsiteX43" fmla="*/ 1537430 w 2870835"/>
                  <a:gd name="connsiteY43" fmla="*/ 136779 h 171640"/>
                  <a:gd name="connsiteX44" fmla="*/ 2391251 w 2870835"/>
                  <a:gd name="connsiteY44" fmla="*/ 136779 h 171640"/>
                  <a:gd name="connsiteX45" fmla="*/ 2391251 w 2870835"/>
                  <a:gd name="connsiteY45" fmla="*/ 171640 h 171640"/>
                  <a:gd name="connsiteX46" fmla="*/ 2870835 w 2870835"/>
                  <a:gd name="connsiteY46" fmla="*/ 171640 h 171640"/>
                  <a:gd name="connsiteX0" fmla="*/ 0 w 2870835"/>
                  <a:gd name="connsiteY0" fmla="*/ 0 h 171640"/>
                  <a:gd name="connsiteX1" fmla="*/ 35718 w 2870835"/>
                  <a:gd name="connsiteY1" fmla="*/ 6096 h 171640"/>
                  <a:gd name="connsiteX2" fmla="*/ 35718 w 2870835"/>
                  <a:gd name="connsiteY2" fmla="*/ 12192 h 171640"/>
                  <a:gd name="connsiteX3" fmla="*/ 151447 w 2870835"/>
                  <a:gd name="connsiteY3" fmla="*/ 12192 h 171640"/>
                  <a:gd name="connsiteX4" fmla="*/ 151447 w 2870835"/>
                  <a:gd name="connsiteY4" fmla="*/ 18193 h 171640"/>
                  <a:gd name="connsiteX5" fmla="*/ 189261 w 2870835"/>
                  <a:gd name="connsiteY5" fmla="*/ 18193 h 171640"/>
                  <a:gd name="connsiteX6" fmla="*/ 189261 w 2870835"/>
                  <a:gd name="connsiteY6" fmla="*/ 24384 h 171640"/>
                  <a:gd name="connsiteX7" fmla="*/ 241839 w 2870835"/>
                  <a:gd name="connsiteY7" fmla="*/ 24384 h 171640"/>
                  <a:gd name="connsiteX8" fmla="*/ 241839 w 2870835"/>
                  <a:gd name="connsiteY8" fmla="*/ 30480 h 171640"/>
                  <a:gd name="connsiteX9" fmla="*/ 260794 w 2870835"/>
                  <a:gd name="connsiteY9" fmla="*/ 30480 h 171640"/>
                  <a:gd name="connsiteX10" fmla="*/ 260794 w 2870835"/>
                  <a:gd name="connsiteY10" fmla="*/ 36576 h 171640"/>
                  <a:gd name="connsiteX11" fmla="*/ 271272 w 2870835"/>
                  <a:gd name="connsiteY11" fmla="*/ 36576 h 171640"/>
                  <a:gd name="connsiteX12" fmla="*/ 271272 w 2870835"/>
                  <a:gd name="connsiteY12" fmla="*/ 42767 h 171640"/>
                  <a:gd name="connsiteX13" fmla="*/ 304990 w 2870835"/>
                  <a:gd name="connsiteY13" fmla="*/ 42767 h 171640"/>
                  <a:gd name="connsiteX14" fmla="*/ 304990 w 2870835"/>
                  <a:gd name="connsiteY14" fmla="*/ 48863 h 171640"/>
                  <a:gd name="connsiteX15" fmla="*/ 311277 w 2870835"/>
                  <a:gd name="connsiteY15" fmla="*/ 48863 h 171640"/>
                  <a:gd name="connsiteX16" fmla="*/ 311277 w 2870835"/>
                  <a:gd name="connsiteY16" fmla="*/ 54959 h 171640"/>
                  <a:gd name="connsiteX17" fmla="*/ 325945 w 2870835"/>
                  <a:gd name="connsiteY17" fmla="*/ 54959 h 171640"/>
                  <a:gd name="connsiteX18" fmla="*/ 325945 w 2870835"/>
                  <a:gd name="connsiteY18" fmla="*/ 61055 h 171640"/>
                  <a:gd name="connsiteX19" fmla="*/ 338613 w 2870835"/>
                  <a:gd name="connsiteY19" fmla="*/ 61055 h 171640"/>
                  <a:gd name="connsiteX20" fmla="*/ 338613 w 2870835"/>
                  <a:gd name="connsiteY20" fmla="*/ 67246 h 171640"/>
                  <a:gd name="connsiteX21" fmla="*/ 363855 w 2870835"/>
                  <a:gd name="connsiteY21" fmla="*/ 67246 h 171640"/>
                  <a:gd name="connsiteX22" fmla="*/ 363855 w 2870835"/>
                  <a:gd name="connsiteY22" fmla="*/ 73342 h 171640"/>
                  <a:gd name="connsiteX23" fmla="*/ 593121 w 2870835"/>
                  <a:gd name="connsiteY23" fmla="*/ 73342 h 171640"/>
                  <a:gd name="connsiteX24" fmla="*/ 593121 w 2870835"/>
                  <a:gd name="connsiteY24" fmla="*/ 79534 h 171640"/>
                  <a:gd name="connsiteX25" fmla="*/ 706659 w 2870835"/>
                  <a:gd name="connsiteY25" fmla="*/ 79534 h 171640"/>
                  <a:gd name="connsiteX26" fmla="*/ 706659 w 2870835"/>
                  <a:gd name="connsiteY26" fmla="*/ 85725 h 171640"/>
                  <a:gd name="connsiteX27" fmla="*/ 975836 w 2870835"/>
                  <a:gd name="connsiteY27" fmla="*/ 85725 h 171640"/>
                  <a:gd name="connsiteX28" fmla="*/ 975836 w 2870835"/>
                  <a:gd name="connsiteY28" fmla="*/ 92011 h 171640"/>
                  <a:gd name="connsiteX29" fmla="*/ 1049464 w 2870835"/>
                  <a:gd name="connsiteY29" fmla="*/ 92011 h 171640"/>
                  <a:gd name="connsiteX30" fmla="*/ 1049464 w 2870835"/>
                  <a:gd name="connsiteY30" fmla="*/ 98298 h 171640"/>
                  <a:gd name="connsiteX31" fmla="*/ 1129379 w 2870835"/>
                  <a:gd name="connsiteY31" fmla="*/ 98298 h 171640"/>
                  <a:gd name="connsiteX32" fmla="*/ 1129379 w 2870835"/>
                  <a:gd name="connsiteY32" fmla="*/ 104584 h 171640"/>
                  <a:gd name="connsiteX33" fmla="*/ 1291304 w 2870835"/>
                  <a:gd name="connsiteY33" fmla="*/ 104584 h 171640"/>
                  <a:gd name="connsiteX34" fmla="*/ 1291304 w 2870835"/>
                  <a:gd name="connsiteY34" fmla="*/ 111061 h 171640"/>
                  <a:gd name="connsiteX35" fmla="*/ 1308163 w 2870835"/>
                  <a:gd name="connsiteY35" fmla="*/ 111061 h 171640"/>
                  <a:gd name="connsiteX36" fmla="*/ 1308163 w 2870835"/>
                  <a:gd name="connsiteY36" fmla="*/ 117443 h 171640"/>
                  <a:gd name="connsiteX37" fmla="*/ 1425987 w 2870835"/>
                  <a:gd name="connsiteY37" fmla="*/ 117443 h 171640"/>
                  <a:gd name="connsiteX38" fmla="*/ 1425987 w 2870835"/>
                  <a:gd name="connsiteY38" fmla="*/ 123920 h 171640"/>
                  <a:gd name="connsiteX39" fmla="*/ 1518475 w 2870835"/>
                  <a:gd name="connsiteY39" fmla="*/ 123920 h 171640"/>
                  <a:gd name="connsiteX40" fmla="*/ 1518475 w 2870835"/>
                  <a:gd name="connsiteY40" fmla="*/ 130302 h 171640"/>
                  <a:gd name="connsiteX41" fmla="*/ 1537430 w 2870835"/>
                  <a:gd name="connsiteY41" fmla="*/ 130302 h 171640"/>
                  <a:gd name="connsiteX42" fmla="*/ 1537430 w 2870835"/>
                  <a:gd name="connsiteY42" fmla="*/ 136779 h 171640"/>
                  <a:gd name="connsiteX43" fmla="*/ 2391251 w 2870835"/>
                  <a:gd name="connsiteY43" fmla="*/ 136779 h 171640"/>
                  <a:gd name="connsiteX44" fmla="*/ 2391251 w 2870835"/>
                  <a:gd name="connsiteY44" fmla="*/ 171640 h 171640"/>
                  <a:gd name="connsiteX45" fmla="*/ 2870835 w 2870835"/>
                  <a:gd name="connsiteY45" fmla="*/ 171640 h 171640"/>
                  <a:gd name="connsiteX0" fmla="*/ 0 w 2835117"/>
                  <a:gd name="connsiteY0" fmla="*/ 0 h 165544"/>
                  <a:gd name="connsiteX1" fmla="*/ 0 w 2835117"/>
                  <a:gd name="connsiteY1" fmla="*/ 6096 h 165544"/>
                  <a:gd name="connsiteX2" fmla="*/ 115729 w 2835117"/>
                  <a:gd name="connsiteY2" fmla="*/ 6096 h 165544"/>
                  <a:gd name="connsiteX3" fmla="*/ 115729 w 2835117"/>
                  <a:gd name="connsiteY3" fmla="*/ 12097 h 165544"/>
                  <a:gd name="connsiteX4" fmla="*/ 153543 w 2835117"/>
                  <a:gd name="connsiteY4" fmla="*/ 12097 h 165544"/>
                  <a:gd name="connsiteX5" fmla="*/ 153543 w 2835117"/>
                  <a:gd name="connsiteY5" fmla="*/ 18288 h 165544"/>
                  <a:gd name="connsiteX6" fmla="*/ 206121 w 2835117"/>
                  <a:gd name="connsiteY6" fmla="*/ 18288 h 165544"/>
                  <a:gd name="connsiteX7" fmla="*/ 206121 w 2835117"/>
                  <a:gd name="connsiteY7" fmla="*/ 24384 h 165544"/>
                  <a:gd name="connsiteX8" fmla="*/ 225076 w 2835117"/>
                  <a:gd name="connsiteY8" fmla="*/ 24384 h 165544"/>
                  <a:gd name="connsiteX9" fmla="*/ 225076 w 2835117"/>
                  <a:gd name="connsiteY9" fmla="*/ 30480 h 165544"/>
                  <a:gd name="connsiteX10" fmla="*/ 235554 w 2835117"/>
                  <a:gd name="connsiteY10" fmla="*/ 30480 h 165544"/>
                  <a:gd name="connsiteX11" fmla="*/ 235554 w 2835117"/>
                  <a:gd name="connsiteY11" fmla="*/ 36671 h 165544"/>
                  <a:gd name="connsiteX12" fmla="*/ 269272 w 2835117"/>
                  <a:gd name="connsiteY12" fmla="*/ 36671 h 165544"/>
                  <a:gd name="connsiteX13" fmla="*/ 269272 w 2835117"/>
                  <a:gd name="connsiteY13" fmla="*/ 42767 h 165544"/>
                  <a:gd name="connsiteX14" fmla="*/ 275559 w 2835117"/>
                  <a:gd name="connsiteY14" fmla="*/ 42767 h 165544"/>
                  <a:gd name="connsiteX15" fmla="*/ 275559 w 2835117"/>
                  <a:gd name="connsiteY15" fmla="*/ 48863 h 165544"/>
                  <a:gd name="connsiteX16" fmla="*/ 290227 w 2835117"/>
                  <a:gd name="connsiteY16" fmla="*/ 48863 h 165544"/>
                  <a:gd name="connsiteX17" fmla="*/ 290227 w 2835117"/>
                  <a:gd name="connsiteY17" fmla="*/ 54959 h 165544"/>
                  <a:gd name="connsiteX18" fmla="*/ 302895 w 2835117"/>
                  <a:gd name="connsiteY18" fmla="*/ 54959 h 165544"/>
                  <a:gd name="connsiteX19" fmla="*/ 302895 w 2835117"/>
                  <a:gd name="connsiteY19" fmla="*/ 61150 h 165544"/>
                  <a:gd name="connsiteX20" fmla="*/ 328137 w 2835117"/>
                  <a:gd name="connsiteY20" fmla="*/ 61150 h 165544"/>
                  <a:gd name="connsiteX21" fmla="*/ 328137 w 2835117"/>
                  <a:gd name="connsiteY21" fmla="*/ 67246 h 165544"/>
                  <a:gd name="connsiteX22" fmla="*/ 557403 w 2835117"/>
                  <a:gd name="connsiteY22" fmla="*/ 67246 h 165544"/>
                  <a:gd name="connsiteX23" fmla="*/ 557403 w 2835117"/>
                  <a:gd name="connsiteY23" fmla="*/ 73438 h 165544"/>
                  <a:gd name="connsiteX24" fmla="*/ 670941 w 2835117"/>
                  <a:gd name="connsiteY24" fmla="*/ 73438 h 165544"/>
                  <a:gd name="connsiteX25" fmla="*/ 670941 w 2835117"/>
                  <a:gd name="connsiteY25" fmla="*/ 79629 h 165544"/>
                  <a:gd name="connsiteX26" fmla="*/ 940118 w 2835117"/>
                  <a:gd name="connsiteY26" fmla="*/ 79629 h 165544"/>
                  <a:gd name="connsiteX27" fmla="*/ 940118 w 2835117"/>
                  <a:gd name="connsiteY27" fmla="*/ 85915 h 165544"/>
                  <a:gd name="connsiteX28" fmla="*/ 1013746 w 2835117"/>
                  <a:gd name="connsiteY28" fmla="*/ 85915 h 165544"/>
                  <a:gd name="connsiteX29" fmla="*/ 1013746 w 2835117"/>
                  <a:gd name="connsiteY29" fmla="*/ 92202 h 165544"/>
                  <a:gd name="connsiteX30" fmla="*/ 1093661 w 2835117"/>
                  <a:gd name="connsiteY30" fmla="*/ 92202 h 165544"/>
                  <a:gd name="connsiteX31" fmla="*/ 1093661 w 2835117"/>
                  <a:gd name="connsiteY31" fmla="*/ 98488 h 165544"/>
                  <a:gd name="connsiteX32" fmla="*/ 1255586 w 2835117"/>
                  <a:gd name="connsiteY32" fmla="*/ 98488 h 165544"/>
                  <a:gd name="connsiteX33" fmla="*/ 1255586 w 2835117"/>
                  <a:gd name="connsiteY33" fmla="*/ 104965 h 165544"/>
                  <a:gd name="connsiteX34" fmla="*/ 1272445 w 2835117"/>
                  <a:gd name="connsiteY34" fmla="*/ 104965 h 165544"/>
                  <a:gd name="connsiteX35" fmla="*/ 1272445 w 2835117"/>
                  <a:gd name="connsiteY35" fmla="*/ 111347 h 165544"/>
                  <a:gd name="connsiteX36" fmla="*/ 1390269 w 2835117"/>
                  <a:gd name="connsiteY36" fmla="*/ 111347 h 165544"/>
                  <a:gd name="connsiteX37" fmla="*/ 1390269 w 2835117"/>
                  <a:gd name="connsiteY37" fmla="*/ 117824 h 165544"/>
                  <a:gd name="connsiteX38" fmla="*/ 1482757 w 2835117"/>
                  <a:gd name="connsiteY38" fmla="*/ 117824 h 165544"/>
                  <a:gd name="connsiteX39" fmla="*/ 1482757 w 2835117"/>
                  <a:gd name="connsiteY39" fmla="*/ 124206 h 165544"/>
                  <a:gd name="connsiteX40" fmla="*/ 1501712 w 2835117"/>
                  <a:gd name="connsiteY40" fmla="*/ 124206 h 165544"/>
                  <a:gd name="connsiteX41" fmla="*/ 1501712 w 2835117"/>
                  <a:gd name="connsiteY41" fmla="*/ 130683 h 165544"/>
                  <a:gd name="connsiteX42" fmla="*/ 2355533 w 2835117"/>
                  <a:gd name="connsiteY42" fmla="*/ 130683 h 165544"/>
                  <a:gd name="connsiteX43" fmla="*/ 2355533 w 2835117"/>
                  <a:gd name="connsiteY43" fmla="*/ 165544 h 165544"/>
                  <a:gd name="connsiteX44" fmla="*/ 2835117 w 2835117"/>
                  <a:gd name="connsiteY44" fmla="*/ 165544 h 165544"/>
                  <a:gd name="connsiteX0" fmla="*/ 0 w 2835117"/>
                  <a:gd name="connsiteY0" fmla="*/ 0 h 165544"/>
                  <a:gd name="connsiteX1" fmla="*/ 115729 w 2835117"/>
                  <a:gd name="connsiteY1" fmla="*/ 6096 h 165544"/>
                  <a:gd name="connsiteX2" fmla="*/ 115729 w 2835117"/>
                  <a:gd name="connsiteY2" fmla="*/ 12097 h 165544"/>
                  <a:gd name="connsiteX3" fmla="*/ 153543 w 2835117"/>
                  <a:gd name="connsiteY3" fmla="*/ 12097 h 165544"/>
                  <a:gd name="connsiteX4" fmla="*/ 153543 w 2835117"/>
                  <a:gd name="connsiteY4" fmla="*/ 18288 h 165544"/>
                  <a:gd name="connsiteX5" fmla="*/ 206121 w 2835117"/>
                  <a:gd name="connsiteY5" fmla="*/ 18288 h 165544"/>
                  <a:gd name="connsiteX6" fmla="*/ 206121 w 2835117"/>
                  <a:gd name="connsiteY6" fmla="*/ 24384 h 165544"/>
                  <a:gd name="connsiteX7" fmla="*/ 225076 w 2835117"/>
                  <a:gd name="connsiteY7" fmla="*/ 24384 h 165544"/>
                  <a:gd name="connsiteX8" fmla="*/ 225076 w 2835117"/>
                  <a:gd name="connsiteY8" fmla="*/ 30480 h 165544"/>
                  <a:gd name="connsiteX9" fmla="*/ 235554 w 2835117"/>
                  <a:gd name="connsiteY9" fmla="*/ 30480 h 165544"/>
                  <a:gd name="connsiteX10" fmla="*/ 235554 w 2835117"/>
                  <a:gd name="connsiteY10" fmla="*/ 36671 h 165544"/>
                  <a:gd name="connsiteX11" fmla="*/ 269272 w 2835117"/>
                  <a:gd name="connsiteY11" fmla="*/ 36671 h 165544"/>
                  <a:gd name="connsiteX12" fmla="*/ 269272 w 2835117"/>
                  <a:gd name="connsiteY12" fmla="*/ 42767 h 165544"/>
                  <a:gd name="connsiteX13" fmla="*/ 275559 w 2835117"/>
                  <a:gd name="connsiteY13" fmla="*/ 42767 h 165544"/>
                  <a:gd name="connsiteX14" fmla="*/ 275559 w 2835117"/>
                  <a:gd name="connsiteY14" fmla="*/ 48863 h 165544"/>
                  <a:gd name="connsiteX15" fmla="*/ 290227 w 2835117"/>
                  <a:gd name="connsiteY15" fmla="*/ 48863 h 165544"/>
                  <a:gd name="connsiteX16" fmla="*/ 290227 w 2835117"/>
                  <a:gd name="connsiteY16" fmla="*/ 54959 h 165544"/>
                  <a:gd name="connsiteX17" fmla="*/ 302895 w 2835117"/>
                  <a:gd name="connsiteY17" fmla="*/ 54959 h 165544"/>
                  <a:gd name="connsiteX18" fmla="*/ 302895 w 2835117"/>
                  <a:gd name="connsiteY18" fmla="*/ 61150 h 165544"/>
                  <a:gd name="connsiteX19" fmla="*/ 328137 w 2835117"/>
                  <a:gd name="connsiteY19" fmla="*/ 61150 h 165544"/>
                  <a:gd name="connsiteX20" fmla="*/ 328137 w 2835117"/>
                  <a:gd name="connsiteY20" fmla="*/ 67246 h 165544"/>
                  <a:gd name="connsiteX21" fmla="*/ 557403 w 2835117"/>
                  <a:gd name="connsiteY21" fmla="*/ 67246 h 165544"/>
                  <a:gd name="connsiteX22" fmla="*/ 557403 w 2835117"/>
                  <a:gd name="connsiteY22" fmla="*/ 73438 h 165544"/>
                  <a:gd name="connsiteX23" fmla="*/ 670941 w 2835117"/>
                  <a:gd name="connsiteY23" fmla="*/ 73438 h 165544"/>
                  <a:gd name="connsiteX24" fmla="*/ 670941 w 2835117"/>
                  <a:gd name="connsiteY24" fmla="*/ 79629 h 165544"/>
                  <a:gd name="connsiteX25" fmla="*/ 940118 w 2835117"/>
                  <a:gd name="connsiteY25" fmla="*/ 79629 h 165544"/>
                  <a:gd name="connsiteX26" fmla="*/ 940118 w 2835117"/>
                  <a:gd name="connsiteY26" fmla="*/ 85915 h 165544"/>
                  <a:gd name="connsiteX27" fmla="*/ 1013746 w 2835117"/>
                  <a:gd name="connsiteY27" fmla="*/ 85915 h 165544"/>
                  <a:gd name="connsiteX28" fmla="*/ 1013746 w 2835117"/>
                  <a:gd name="connsiteY28" fmla="*/ 92202 h 165544"/>
                  <a:gd name="connsiteX29" fmla="*/ 1093661 w 2835117"/>
                  <a:gd name="connsiteY29" fmla="*/ 92202 h 165544"/>
                  <a:gd name="connsiteX30" fmla="*/ 1093661 w 2835117"/>
                  <a:gd name="connsiteY30" fmla="*/ 98488 h 165544"/>
                  <a:gd name="connsiteX31" fmla="*/ 1255586 w 2835117"/>
                  <a:gd name="connsiteY31" fmla="*/ 98488 h 165544"/>
                  <a:gd name="connsiteX32" fmla="*/ 1255586 w 2835117"/>
                  <a:gd name="connsiteY32" fmla="*/ 104965 h 165544"/>
                  <a:gd name="connsiteX33" fmla="*/ 1272445 w 2835117"/>
                  <a:gd name="connsiteY33" fmla="*/ 104965 h 165544"/>
                  <a:gd name="connsiteX34" fmla="*/ 1272445 w 2835117"/>
                  <a:gd name="connsiteY34" fmla="*/ 111347 h 165544"/>
                  <a:gd name="connsiteX35" fmla="*/ 1390269 w 2835117"/>
                  <a:gd name="connsiteY35" fmla="*/ 111347 h 165544"/>
                  <a:gd name="connsiteX36" fmla="*/ 1390269 w 2835117"/>
                  <a:gd name="connsiteY36" fmla="*/ 117824 h 165544"/>
                  <a:gd name="connsiteX37" fmla="*/ 1482757 w 2835117"/>
                  <a:gd name="connsiteY37" fmla="*/ 117824 h 165544"/>
                  <a:gd name="connsiteX38" fmla="*/ 1482757 w 2835117"/>
                  <a:gd name="connsiteY38" fmla="*/ 124206 h 165544"/>
                  <a:gd name="connsiteX39" fmla="*/ 1501712 w 2835117"/>
                  <a:gd name="connsiteY39" fmla="*/ 124206 h 165544"/>
                  <a:gd name="connsiteX40" fmla="*/ 1501712 w 2835117"/>
                  <a:gd name="connsiteY40" fmla="*/ 130683 h 165544"/>
                  <a:gd name="connsiteX41" fmla="*/ 2355533 w 2835117"/>
                  <a:gd name="connsiteY41" fmla="*/ 130683 h 165544"/>
                  <a:gd name="connsiteX42" fmla="*/ 2355533 w 2835117"/>
                  <a:gd name="connsiteY42" fmla="*/ 165544 h 165544"/>
                  <a:gd name="connsiteX43" fmla="*/ 2835117 w 2835117"/>
                  <a:gd name="connsiteY43" fmla="*/ 165544 h 165544"/>
                  <a:gd name="connsiteX0" fmla="*/ 0 w 2719388"/>
                  <a:gd name="connsiteY0" fmla="*/ 0 h 159448"/>
                  <a:gd name="connsiteX1" fmla="*/ 0 w 2719388"/>
                  <a:gd name="connsiteY1" fmla="*/ 6001 h 159448"/>
                  <a:gd name="connsiteX2" fmla="*/ 37814 w 2719388"/>
                  <a:gd name="connsiteY2" fmla="*/ 6001 h 159448"/>
                  <a:gd name="connsiteX3" fmla="*/ 37814 w 2719388"/>
                  <a:gd name="connsiteY3" fmla="*/ 12192 h 159448"/>
                  <a:gd name="connsiteX4" fmla="*/ 90392 w 2719388"/>
                  <a:gd name="connsiteY4" fmla="*/ 12192 h 159448"/>
                  <a:gd name="connsiteX5" fmla="*/ 90392 w 2719388"/>
                  <a:gd name="connsiteY5" fmla="*/ 18288 h 159448"/>
                  <a:gd name="connsiteX6" fmla="*/ 109347 w 2719388"/>
                  <a:gd name="connsiteY6" fmla="*/ 18288 h 159448"/>
                  <a:gd name="connsiteX7" fmla="*/ 109347 w 2719388"/>
                  <a:gd name="connsiteY7" fmla="*/ 24384 h 159448"/>
                  <a:gd name="connsiteX8" fmla="*/ 119825 w 2719388"/>
                  <a:gd name="connsiteY8" fmla="*/ 24384 h 159448"/>
                  <a:gd name="connsiteX9" fmla="*/ 119825 w 2719388"/>
                  <a:gd name="connsiteY9" fmla="*/ 30575 h 159448"/>
                  <a:gd name="connsiteX10" fmla="*/ 153543 w 2719388"/>
                  <a:gd name="connsiteY10" fmla="*/ 30575 h 159448"/>
                  <a:gd name="connsiteX11" fmla="*/ 153543 w 2719388"/>
                  <a:gd name="connsiteY11" fmla="*/ 36671 h 159448"/>
                  <a:gd name="connsiteX12" fmla="*/ 159830 w 2719388"/>
                  <a:gd name="connsiteY12" fmla="*/ 36671 h 159448"/>
                  <a:gd name="connsiteX13" fmla="*/ 159830 w 2719388"/>
                  <a:gd name="connsiteY13" fmla="*/ 42767 h 159448"/>
                  <a:gd name="connsiteX14" fmla="*/ 174498 w 2719388"/>
                  <a:gd name="connsiteY14" fmla="*/ 42767 h 159448"/>
                  <a:gd name="connsiteX15" fmla="*/ 174498 w 2719388"/>
                  <a:gd name="connsiteY15" fmla="*/ 48863 h 159448"/>
                  <a:gd name="connsiteX16" fmla="*/ 187166 w 2719388"/>
                  <a:gd name="connsiteY16" fmla="*/ 48863 h 159448"/>
                  <a:gd name="connsiteX17" fmla="*/ 187166 w 2719388"/>
                  <a:gd name="connsiteY17" fmla="*/ 55054 h 159448"/>
                  <a:gd name="connsiteX18" fmla="*/ 212408 w 2719388"/>
                  <a:gd name="connsiteY18" fmla="*/ 55054 h 159448"/>
                  <a:gd name="connsiteX19" fmla="*/ 212408 w 2719388"/>
                  <a:gd name="connsiteY19" fmla="*/ 61150 h 159448"/>
                  <a:gd name="connsiteX20" fmla="*/ 441674 w 2719388"/>
                  <a:gd name="connsiteY20" fmla="*/ 61150 h 159448"/>
                  <a:gd name="connsiteX21" fmla="*/ 441674 w 2719388"/>
                  <a:gd name="connsiteY21" fmla="*/ 67342 h 159448"/>
                  <a:gd name="connsiteX22" fmla="*/ 555212 w 2719388"/>
                  <a:gd name="connsiteY22" fmla="*/ 67342 h 159448"/>
                  <a:gd name="connsiteX23" fmla="*/ 555212 w 2719388"/>
                  <a:gd name="connsiteY23" fmla="*/ 73533 h 159448"/>
                  <a:gd name="connsiteX24" fmla="*/ 824389 w 2719388"/>
                  <a:gd name="connsiteY24" fmla="*/ 73533 h 159448"/>
                  <a:gd name="connsiteX25" fmla="*/ 824389 w 2719388"/>
                  <a:gd name="connsiteY25" fmla="*/ 79819 h 159448"/>
                  <a:gd name="connsiteX26" fmla="*/ 898017 w 2719388"/>
                  <a:gd name="connsiteY26" fmla="*/ 79819 h 159448"/>
                  <a:gd name="connsiteX27" fmla="*/ 898017 w 2719388"/>
                  <a:gd name="connsiteY27" fmla="*/ 86106 h 159448"/>
                  <a:gd name="connsiteX28" fmla="*/ 977932 w 2719388"/>
                  <a:gd name="connsiteY28" fmla="*/ 86106 h 159448"/>
                  <a:gd name="connsiteX29" fmla="*/ 977932 w 2719388"/>
                  <a:gd name="connsiteY29" fmla="*/ 92392 h 159448"/>
                  <a:gd name="connsiteX30" fmla="*/ 1139857 w 2719388"/>
                  <a:gd name="connsiteY30" fmla="*/ 92392 h 159448"/>
                  <a:gd name="connsiteX31" fmla="*/ 1139857 w 2719388"/>
                  <a:gd name="connsiteY31" fmla="*/ 98869 h 159448"/>
                  <a:gd name="connsiteX32" fmla="*/ 1156716 w 2719388"/>
                  <a:gd name="connsiteY32" fmla="*/ 98869 h 159448"/>
                  <a:gd name="connsiteX33" fmla="*/ 1156716 w 2719388"/>
                  <a:gd name="connsiteY33" fmla="*/ 105251 h 159448"/>
                  <a:gd name="connsiteX34" fmla="*/ 1274540 w 2719388"/>
                  <a:gd name="connsiteY34" fmla="*/ 105251 h 159448"/>
                  <a:gd name="connsiteX35" fmla="*/ 1274540 w 2719388"/>
                  <a:gd name="connsiteY35" fmla="*/ 111728 h 159448"/>
                  <a:gd name="connsiteX36" fmla="*/ 1367028 w 2719388"/>
                  <a:gd name="connsiteY36" fmla="*/ 111728 h 159448"/>
                  <a:gd name="connsiteX37" fmla="*/ 1367028 w 2719388"/>
                  <a:gd name="connsiteY37" fmla="*/ 118110 h 159448"/>
                  <a:gd name="connsiteX38" fmla="*/ 1385983 w 2719388"/>
                  <a:gd name="connsiteY38" fmla="*/ 118110 h 159448"/>
                  <a:gd name="connsiteX39" fmla="*/ 1385983 w 2719388"/>
                  <a:gd name="connsiteY39" fmla="*/ 124587 h 159448"/>
                  <a:gd name="connsiteX40" fmla="*/ 2239804 w 2719388"/>
                  <a:gd name="connsiteY40" fmla="*/ 124587 h 159448"/>
                  <a:gd name="connsiteX41" fmla="*/ 2239804 w 2719388"/>
                  <a:gd name="connsiteY41" fmla="*/ 159448 h 159448"/>
                  <a:gd name="connsiteX42" fmla="*/ 2719388 w 2719388"/>
                  <a:gd name="connsiteY42" fmla="*/ 159448 h 159448"/>
                  <a:gd name="connsiteX0" fmla="*/ 0 w 2719388"/>
                  <a:gd name="connsiteY0" fmla="*/ 0 h 159448"/>
                  <a:gd name="connsiteX1" fmla="*/ 37814 w 2719388"/>
                  <a:gd name="connsiteY1" fmla="*/ 6001 h 159448"/>
                  <a:gd name="connsiteX2" fmla="*/ 37814 w 2719388"/>
                  <a:gd name="connsiteY2" fmla="*/ 12192 h 159448"/>
                  <a:gd name="connsiteX3" fmla="*/ 90392 w 2719388"/>
                  <a:gd name="connsiteY3" fmla="*/ 12192 h 159448"/>
                  <a:gd name="connsiteX4" fmla="*/ 90392 w 2719388"/>
                  <a:gd name="connsiteY4" fmla="*/ 18288 h 159448"/>
                  <a:gd name="connsiteX5" fmla="*/ 109347 w 2719388"/>
                  <a:gd name="connsiteY5" fmla="*/ 18288 h 159448"/>
                  <a:gd name="connsiteX6" fmla="*/ 109347 w 2719388"/>
                  <a:gd name="connsiteY6" fmla="*/ 24384 h 159448"/>
                  <a:gd name="connsiteX7" fmla="*/ 119825 w 2719388"/>
                  <a:gd name="connsiteY7" fmla="*/ 24384 h 159448"/>
                  <a:gd name="connsiteX8" fmla="*/ 119825 w 2719388"/>
                  <a:gd name="connsiteY8" fmla="*/ 30575 h 159448"/>
                  <a:gd name="connsiteX9" fmla="*/ 153543 w 2719388"/>
                  <a:gd name="connsiteY9" fmla="*/ 30575 h 159448"/>
                  <a:gd name="connsiteX10" fmla="*/ 153543 w 2719388"/>
                  <a:gd name="connsiteY10" fmla="*/ 36671 h 159448"/>
                  <a:gd name="connsiteX11" fmla="*/ 159830 w 2719388"/>
                  <a:gd name="connsiteY11" fmla="*/ 36671 h 159448"/>
                  <a:gd name="connsiteX12" fmla="*/ 159830 w 2719388"/>
                  <a:gd name="connsiteY12" fmla="*/ 42767 h 159448"/>
                  <a:gd name="connsiteX13" fmla="*/ 174498 w 2719388"/>
                  <a:gd name="connsiteY13" fmla="*/ 42767 h 159448"/>
                  <a:gd name="connsiteX14" fmla="*/ 174498 w 2719388"/>
                  <a:gd name="connsiteY14" fmla="*/ 48863 h 159448"/>
                  <a:gd name="connsiteX15" fmla="*/ 187166 w 2719388"/>
                  <a:gd name="connsiteY15" fmla="*/ 48863 h 159448"/>
                  <a:gd name="connsiteX16" fmla="*/ 187166 w 2719388"/>
                  <a:gd name="connsiteY16" fmla="*/ 55054 h 159448"/>
                  <a:gd name="connsiteX17" fmla="*/ 212408 w 2719388"/>
                  <a:gd name="connsiteY17" fmla="*/ 55054 h 159448"/>
                  <a:gd name="connsiteX18" fmla="*/ 212408 w 2719388"/>
                  <a:gd name="connsiteY18" fmla="*/ 61150 h 159448"/>
                  <a:gd name="connsiteX19" fmla="*/ 441674 w 2719388"/>
                  <a:gd name="connsiteY19" fmla="*/ 61150 h 159448"/>
                  <a:gd name="connsiteX20" fmla="*/ 441674 w 2719388"/>
                  <a:gd name="connsiteY20" fmla="*/ 67342 h 159448"/>
                  <a:gd name="connsiteX21" fmla="*/ 555212 w 2719388"/>
                  <a:gd name="connsiteY21" fmla="*/ 67342 h 159448"/>
                  <a:gd name="connsiteX22" fmla="*/ 555212 w 2719388"/>
                  <a:gd name="connsiteY22" fmla="*/ 73533 h 159448"/>
                  <a:gd name="connsiteX23" fmla="*/ 824389 w 2719388"/>
                  <a:gd name="connsiteY23" fmla="*/ 73533 h 159448"/>
                  <a:gd name="connsiteX24" fmla="*/ 824389 w 2719388"/>
                  <a:gd name="connsiteY24" fmla="*/ 79819 h 159448"/>
                  <a:gd name="connsiteX25" fmla="*/ 898017 w 2719388"/>
                  <a:gd name="connsiteY25" fmla="*/ 79819 h 159448"/>
                  <a:gd name="connsiteX26" fmla="*/ 898017 w 2719388"/>
                  <a:gd name="connsiteY26" fmla="*/ 86106 h 159448"/>
                  <a:gd name="connsiteX27" fmla="*/ 977932 w 2719388"/>
                  <a:gd name="connsiteY27" fmla="*/ 86106 h 159448"/>
                  <a:gd name="connsiteX28" fmla="*/ 977932 w 2719388"/>
                  <a:gd name="connsiteY28" fmla="*/ 92392 h 159448"/>
                  <a:gd name="connsiteX29" fmla="*/ 1139857 w 2719388"/>
                  <a:gd name="connsiteY29" fmla="*/ 92392 h 159448"/>
                  <a:gd name="connsiteX30" fmla="*/ 1139857 w 2719388"/>
                  <a:gd name="connsiteY30" fmla="*/ 98869 h 159448"/>
                  <a:gd name="connsiteX31" fmla="*/ 1156716 w 2719388"/>
                  <a:gd name="connsiteY31" fmla="*/ 98869 h 159448"/>
                  <a:gd name="connsiteX32" fmla="*/ 1156716 w 2719388"/>
                  <a:gd name="connsiteY32" fmla="*/ 105251 h 159448"/>
                  <a:gd name="connsiteX33" fmla="*/ 1274540 w 2719388"/>
                  <a:gd name="connsiteY33" fmla="*/ 105251 h 159448"/>
                  <a:gd name="connsiteX34" fmla="*/ 1274540 w 2719388"/>
                  <a:gd name="connsiteY34" fmla="*/ 111728 h 159448"/>
                  <a:gd name="connsiteX35" fmla="*/ 1367028 w 2719388"/>
                  <a:gd name="connsiteY35" fmla="*/ 111728 h 159448"/>
                  <a:gd name="connsiteX36" fmla="*/ 1367028 w 2719388"/>
                  <a:gd name="connsiteY36" fmla="*/ 118110 h 159448"/>
                  <a:gd name="connsiteX37" fmla="*/ 1385983 w 2719388"/>
                  <a:gd name="connsiteY37" fmla="*/ 118110 h 159448"/>
                  <a:gd name="connsiteX38" fmla="*/ 1385983 w 2719388"/>
                  <a:gd name="connsiteY38" fmla="*/ 124587 h 159448"/>
                  <a:gd name="connsiteX39" fmla="*/ 2239804 w 2719388"/>
                  <a:gd name="connsiteY39" fmla="*/ 124587 h 159448"/>
                  <a:gd name="connsiteX40" fmla="*/ 2239804 w 2719388"/>
                  <a:gd name="connsiteY40" fmla="*/ 159448 h 159448"/>
                  <a:gd name="connsiteX41" fmla="*/ 2719388 w 2719388"/>
                  <a:gd name="connsiteY41" fmla="*/ 159448 h 159448"/>
                  <a:gd name="connsiteX0" fmla="*/ 0 w 2681574"/>
                  <a:gd name="connsiteY0" fmla="*/ 0 h 153447"/>
                  <a:gd name="connsiteX1" fmla="*/ 0 w 2681574"/>
                  <a:gd name="connsiteY1" fmla="*/ 6191 h 153447"/>
                  <a:gd name="connsiteX2" fmla="*/ 52578 w 2681574"/>
                  <a:gd name="connsiteY2" fmla="*/ 6191 h 153447"/>
                  <a:gd name="connsiteX3" fmla="*/ 52578 w 2681574"/>
                  <a:gd name="connsiteY3" fmla="*/ 12287 h 153447"/>
                  <a:gd name="connsiteX4" fmla="*/ 71533 w 2681574"/>
                  <a:gd name="connsiteY4" fmla="*/ 12287 h 153447"/>
                  <a:gd name="connsiteX5" fmla="*/ 71533 w 2681574"/>
                  <a:gd name="connsiteY5" fmla="*/ 18383 h 153447"/>
                  <a:gd name="connsiteX6" fmla="*/ 82011 w 2681574"/>
                  <a:gd name="connsiteY6" fmla="*/ 18383 h 153447"/>
                  <a:gd name="connsiteX7" fmla="*/ 82011 w 2681574"/>
                  <a:gd name="connsiteY7" fmla="*/ 24574 h 153447"/>
                  <a:gd name="connsiteX8" fmla="*/ 115729 w 2681574"/>
                  <a:gd name="connsiteY8" fmla="*/ 24574 h 153447"/>
                  <a:gd name="connsiteX9" fmla="*/ 115729 w 2681574"/>
                  <a:gd name="connsiteY9" fmla="*/ 30670 h 153447"/>
                  <a:gd name="connsiteX10" fmla="*/ 122016 w 2681574"/>
                  <a:gd name="connsiteY10" fmla="*/ 30670 h 153447"/>
                  <a:gd name="connsiteX11" fmla="*/ 122016 w 2681574"/>
                  <a:gd name="connsiteY11" fmla="*/ 36766 h 153447"/>
                  <a:gd name="connsiteX12" fmla="*/ 136684 w 2681574"/>
                  <a:gd name="connsiteY12" fmla="*/ 36766 h 153447"/>
                  <a:gd name="connsiteX13" fmla="*/ 136684 w 2681574"/>
                  <a:gd name="connsiteY13" fmla="*/ 42862 h 153447"/>
                  <a:gd name="connsiteX14" fmla="*/ 149352 w 2681574"/>
                  <a:gd name="connsiteY14" fmla="*/ 42862 h 153447"/>
                  <a:gd name="connsiteX15" fmla="*/ 149352 w 2681574"/>
                  <a:gd name="connsiteY15" fmla="*/ 49053 h 153447"/>
                  <a:gd name="connsiteX16" fmla="*/ 174594 w 2681574"/>
                  <a:gd name="connsiteY16" fmla="*/ 49053 h 153447"/>
                  <a:gd name="connsiteX17" fmla="*/ 174594 w 2681574"/>
                  <a:gd name="connsiteY17" fmla="*/ 55149 h 153447"/>
                  <a:gd name="connsiteX18" fmla="*/ 403860 w 2681574"/>
                  <a:gd name="connsiteY18" fmla="*/ 55149 h 153447"/>
                  <a:gd name="connsiteX19" fmla="*/ 403860 w 2681574"/>
                  <a:gd name="connsiteY19" fmla="*/ 61341 h 153447"/>
                  <a:gd name="connsiteX20" fmla="*/ 517398 w 2681574"/>
                  <a:gd name="connsiteY20" fmla="*/ 61341 h 153447"/>
                  <a:gd name="connsiteX21" fmla="*/ 517398 w 2681574"/>
                  <a:gd name="connsiteY21" fmla="*/ 67532 h 153447"/>
                  <a:gd name="connsiteX22" fmla="*/ 786575 w 2681574"/>
                  <a:gd name="connsiteY22" fmla="*/ 67532 h 153447"/>
                  <a:gd name="connsiteX23" fmla="*/ 786575 w 2681574"/>
                  <a:gd name="connsiteY23" fmla="*/ 73818 h 153447"/>
                  <a:gd name="connsiteX24" fmla="*/ 860203 w 2681574"/>
                  <a:gd name="connsiteY24" fmla="*/ 73818 h 153447"/>
                  <a:gd name="connsiteX25" fmla="*/ 860203 w 2681574"/>
                  <a:gd name="connsiteY25" fmla="*/ 80105 h 153447"/>
                  <a:gd name="connsiteX26" fmla="*/ 940118 w 2681574"/>
                  <a:gd name="connsiteY26" fmla="*/ 80105 h 153447"/>
                  <a:gd name="connsiteX27" fmla="*/ 940118 w 2681574"/>
                  <a:gd name="connsiteY27" fmla="*/ 86391 h 153447"/>
                  <a:gd name="connsiteX28" fmla="*/ 1102043 w 2681574"/>
                  <a:gd name="connsiteY28" fmla="*/ 86391 h 153447"/>
                  <a:gd name="connsiteX29" fmla="*/ 1102043 w 2681574"/>
                  <a:gd name="connsiteY29" fmla="*/ 92868 h 153447"/>
                  <a:gd name="connsiteX30" fmla="*/ 1118902 w 2681574"/>
                  <a:gd name="connsiteY30" fmla="*/ 92868 h 153447"/>
                  <a:gd name="connsiteX31" fmla="*/ 1118902 w 2681574"/>
                  <a:gd name="connsiteY31" fmla="*/ 99250 h 153447"/>
                  <a:gd name="connsiteX32" fmla="*/ 1236726 w 2681574"/>
                  <a:gd name="connsiteY32" fmla="*/ 99250 h 153447"/>
                  <a:gd name="connsiteX33" fmla="*/ 1236726 w 2681574"/>
                  <a:gd name="connsiteY33" fmla="*/ 105727 h 153447"/>
                  <a:gd name="connsiteX34" fmla="*/ 1329214 w 2681574"/>
                  <a:gd name="connsiteY34" fmla="*/ 105727 h 153447"/>
                  <a:gd name="connsiteX35" fmla="*/ 1329214 w 2681574"/>
                  <a:gd name="connsiteY35" fmla="*/ 112109 h 153447"/>
                  <a:gd name="connsiteX36" fmla="*/ 1348169 w 2681574"/>
                  <a:gd name="connsiteY36" fmla="*/ 112109 h 153447"/>
                  <a:gd name="connsiteX37" fmla="*/ 1348169 w 2681574"/>
                  <a:gd name="connsiteY37" fmla="*/ 118586 h 153447"/>
                  <a:gd name="connsiteX38" fmla="*/ 2201990 w 2681574"/>
                  <a:gd name="connsiteY38" fmla="*/ 118586 h 153447"/>
                  <a:gd name="connsiteX39" fmla="*/ 2201990 w 2681574"/>
                  <a:gd name="connsiteY39" fmla="*/ 153447 h 153447"/>
                  <a:gd name="connsiteX40" fmla="*/ 2681574 w 2681574"/>
                  <a:gd name="connsiteY40" fmla="*/ 153447 h 153447"/>
                  <a:gd name="connsiteX0" fmla="*/ 0 w 2681574"/>
                  <a:gd name="connsiteY0" fmla="*/ 0 h 147256"/>
                  <a:gd name="connsiteX1" fmla="*/ 52578 w 2681574"/>
                  <a:gd name="connsiteY1" fmla="*/ 0 h 147256"/>
                  <a:gd name="connsiteX2" fmla="*/ 52578 w 2681574"/>
                  <a:gd name="connsiteY2" fmla="*/ 6096 h 147256"/>
                  <a:gd name="connsiteX3" fmla="*/ 71533 w 2681574"/>
                  <a:gd name="connsiteY3" fmla="*/ 6096 h 147256"/>
                  <a:gd name="connsiteX4" fmla="*/ 71533 w 2681574"/>
                  <a:gd name="connsiteY4" fmla="*/ 12192 h 147256"/>
                  <a:gd name="connsiteX5" fmla="*/ 82011 w 2681574"/>
                  <a:gd name="connsiteY5" fmla="*/ 12192 h 147256"/>
                  <a:gd name="connsiteX6" fmla="*/ 82011 w 2681574"/>
                  <a:gd name="connsiteY6" fmla="*/ 18383 h 147256"/>
                  <a:gd name="connsiteX7" fmla="*/ 115729 w 2681574"/>
                  <a:gd name="connsiteY7" fmla="*/ 18383 h 147256"/>
                  <a:gd name="connsiteX8" fmla="*/ 115729 w 2681574"/>
                  <a:gd name="connsiteY8" fmla="*/ 24479 h 147256"/>
                  <a:gd name="connsiteX9" fmla="*/ 122016 w 2681574"/>
                  <a:gd name="connsiteY9" fmla="*/ 24479 h 147256"/>
                  <a:gd name="connsiteX10" fmla="*/ 122016 w 2681574"/>
                  <a:gd name="connsiteY10" fmla="*/ 30575 h 147256"/>
                  <a:gd name="connsiteX11" fmla="*/ 136684 w 2681574"/>
                  <a:gd name="connsiteY11" fmla="*/ 30575 h 147256"/>
                  <a:gd name="connsiteX12" fmla="*/ 136684 w 2681574"/>
                  <a:gd name="connsiteY12" fmla="*/ 36671 h 147256"/>
                  <a:gd name="connsiteX13" fmla="*/ 149352 w 2681574"/>
                  <a:gd name="connsiteY13" fmla="*/ 36671 h 147256"/>
                  <a:gd name="connsiteX14" fmla="*/ 149352 w 2681574"/>
                  <a:gd name="connsiteY14" fmla="*/ 42862 h 147256"/>
                  <a:gd name="connsiteX15" fmla="*/ 174594 w 2681574"/>
                  <a:gd name="connsiteY15" fmla="*/ 42862 h 147256"/>
                  <a:gd name="connsiteX16" fmla="*/ 174594 w 2681574"/>
                  <a:gd name="connsiteY16" fmla="*/ 48958 h 147256"/>
                  <a:gd name="connsiteX17" fmla="*/ 403860 w 2681574"/>
                  <a:gd name="connsiteY17" fmla="*/ 48958 h 147256"/>
                  <a:gd name="connsiteX18" fmla="*/ 403860 w 2681574"/>
                  <a:gd name="connsiteY18" fmla="*/ 55150 h 147256"/>
                  <a:gd name="connsiteX19" fmla="*/ 517398 w 2681574"/>
                  <a:gd name="connsiteY19" fmla="*/ 55150 h 147256"/>
                  <a:gd name="connsiteX20" fmla="*/ 517398 w 2681574"/>
                  <a:gd name="connsiteY20" fmla="*/ 61341 h 147256"/>
                  <a:gd name="connsiteX21" fmla="*/ 786575 w 2681574"/>
                  <a:gd name="connsiteY21" fmla="*/ 61341 h 147256"/>
                  <a:gd name="connsiteX22" fmla="*/ 786575 w 2681574"/>
                  <a:gd name="connsiteY22" fmla="*/ 67627 h 147256"/>
                  <a:gd name="connsiteX23" fmla="*/ 860203 w 2681574"/>
                  <a:gd name="connsiteY23" fmla="*/ 67627 h 147256"/>
                  <a:gd name="connsiteX24" fmla="*/ 860203 w 2681574"/>
                  <a:gd name="connsiteY24" fmla="*/ 73914 h 147256"/>
                  <a:gd name="connsiteX25" fmla="*/ 940118 w 2681574"/>
                  <a:gd name="connsiteY25" fmla="*/ 73914 h 147256"/>
                  <a:gd name="connsiteX26" fmla="*/ 940118 w 2681574"/>
                  <a:gd name="connsiteY26" fmla="*/ 80200 h 147256"/>
                  <a:gd name="connsiteX27" fmla="*/ 1102043 w 2681574"/>
                  <a:gd name="connsiteY27" fmla="*/ 80200 h 147256"/>
                  <a:gd name="connsiteX28" fmla="*/ 1102043 w 2681574"/>
                  <a:gd name="connsiteY28" fmla="*/ 86677 h 147256"/>
                  <a:gd name="connsiteX29" fmla="*/ 1118902 w 2681574"/>
                  <a:gd name="connsiteY29" fmla="*/ 86677 h 147256"/>
                  <a:gd name="connsiteX30" fmla="*/ 1118902 w 2681574"/>
                  <a:gd name="connsiteY30" fmla="*/ 93059 h 147256"/>
                  <a:gd name="connsiteX31" fmla="*/ 1236726 w 2681574"/>
                  <a:gd name="connsiteY31" fmla="*/ 93059 h 147256"/>
                  <a:gd name="connsiteX32" fmla="*/ 1236726 w 2681574"/>
                  <a:gd name="connsiteY32" fmla="*/ 99536 h 147256"/>
                  <a:gd name="connsiteX33" fmla="*/ 1329214 w 2681574"/>
                  <a:gd name="connsiteY33" fmla="*/ 99536 h 147256"/>
                  <a:gd name="connsiteX34" fmla="*/ 1329214 w 2681574"/>
                  <a:gd name="connsiteY34" fmla="*/ 105918 h 147256"/>
                  <a:gd name="connsiteX35" fmla="*/ 1348169 w 2681574"/>
                  <a:gd name="connsiteY35" fmla="*/ 105918 h 147256"/>
                  <a:gd name="connsiteX36" fmla="*/ 1348169 w 2681574"/>
                  <a:gd name="connsiteY36" fmla="*/ 112395 h 147256"/>
                  <a:gd name="connsiteX37" fmla="*/ 2201990 w 2681574"/>
                  <a:gd name="connsiteY37" fmla="*/ 112395 h 147256"/>
                  <a:gd name="connsiteX38" fmla="*/ 2201990 w 2681574"/>
                  <a:gd name="connsiteY38" fmla="*/ 147256 h 147256"/>
                  <a:gd name="connsiteX39" fmla="*/ 2681574 w 2681574"/>
                  <a:gd name="connsiteY39" fmla="*/ 147256 h 147256"/>
                  <a:gd name="connsiteX0" fmla="*/ 0 w 2628996"/>
                  <a:gd name="connsiteY0" fmla="*/ 0 h 147256"/>
                  <a:gd name="connsiteX1" fmla="*/ 0 w 2628996"/>
                  <a:gd name="connsiteY1" fmla="*/ 6096 h 147256"/>
                  <a:gd name="connsiteX2" fmla="*/ 18955 w 2628996"/>
                  <a:gd name="connsiteY2" fmla="*/ 6096 h 147256"/>
                  <a:gd name="connsiteX3" fmla="*/ 18955 w 2628996"/>
                  <a:gd name="connsiteY3" fmla="*/ 12192 h 147256"/>
                  <a:gd name="connsiteX4" fmla="*/ 29433 w 2628996"/>
                  <a:gd name="connsiteY4" fmla="*/ 12192 h 147256"/>
                  <a:gd name="connsiteX5" fmla="*/ 29433 w 2628996"/>
                  <a:gd name="connsiteY5" fmla="*/ 18383 h 147256"/>
                  <a:gd name="connsiteX6" fmla="*/ 63151 w 2628996"/>
                  <a:gd name="connsiteY6" fmla="*/ 18383 h 147256"/>
                  <a:gd name="connsiteX7" fmla="*/ 63151 w 2628996"/>
                  <a:gd name="connsiteY7" fmla="*/ 24479 h 147256"/>
                  <a:gd name="connsiteX8" fmla="*/ 69438 w 2628996"/>
                  <a:gd name="connsiteY8" fmla="*/ 24479 h 147256"/>
                  <a:gd name="connsiteX9" fmla="*/ 69438 w 2628996"/>
                  <a:gd name="connsiteY9" fmla="*/ 30575 h 147256"/>
                  <a:gd name="connsiteX10" fmla="*/ 84106 w 2628996"/>
                  <a:gd name="connsiteY10" fmla="*/ 30575 h 147256"/>
                  <a:gd name="connsiteX11" fmla="*/ 84106 w 2628996"/>
                  <a:gd name="connsiteY11" fmla="*/ 36671 h 147256"/>
                  <a:gd name="connsiteX12" fmla="*/ 96774 w 2628996"/>
                  <a:gd name="connsiteY12" fmla="*/ 36671 h 147256"/>
                  <a:gd name="connsiteX13" fmla="*/ 96774 w 2628996"/>
                  <a:gd name="connsiteY13" fmla="*/ 42862 h 147256"/>
                  <a:gd name="connsiteX14" fmla="*/ 122016 w 2628996"/>
                  <a:gd name="connsiteY14" fmla="*/ 42862 h 147256"/>
                  <a:gd name="connsiteX15" fmla="*/ 122016 w 2628996"/>
                  <a:gd name="connsiteY15" fmla="*/ 48958 h 147256"/>
                  <a:gd name="connsiteX16" fmla="*/ 351282 w 2628996"/>
                  <a:gd name="connsiteY16" fmla="*/ 48958 h 147256"/>
                  <a:gd name="connsiteX17" fmla="*/ 351282 w 2628996"/>
                  <a:gd name="connsiteY17" fmla="*/ 55150 h 147256"/>
                  <a:gd name="connsiteX18" fmla="*/ 464820 w 2628996"/>
                  <a:gd name="connsiteY18" fmla="*/ 55150 h 147256"/>
                  <a:gd name="connsiteX19" fmla="*/ 464820 w 2628996"/>
                  <a:gd name="connsiteY19" fmla="*/ 61341 h 147256"/>
                  <a:gd name="connsiteX20" fmla="*/ 733997 w 2628996"/>
                  <a:gd name="connsiteY20" fmla="*/ 61341 h 147256"/>
                  <a:gd name="connsiteX21" fmla="*/ 733997 w 2628996"/>
                  <a:gd name="connsiteY21" fmla="*/ 67627 h 147256"/>
                  <a:gd name="connsiteX22" fmla="*/ 807625 w 2628996"/>
                  <a:gd name="connsiteY22" fmla="*/ 67627 h 147256"/>
                  <a:gd name="connsiteX23" fmla="*/ 807625 w 2628996"/>
                  <a:gd name="connsiteY23" fmla="*/ 73914 h 147256"/>
                  <a:gd name="connsiteX24" fmla="*/ 887540 w 2628996"/>
                  <a:gd name="connsiteY24" fmla="*/ 73914 h 147256"/>
                  <a:gd name="connsiteX25" fmla="*/ 887540 w 2628996"/>
                  <a:gd name="connsiteY25" fmla="*/ 80200 h 147256"/>
                  <a:gd name="connsiteX26" fmla="*/ 1049465 w 2628996"/>
                  <a:gd name="connsiteY26" fmla="*/ 80200 h 147256"/>
                  <a:gd name="connsiteX27" fmla="*/ 1049465 w 2628996"/>
                  <a:gd name="connsiteY27" fmla="*/ 86677 h 147256"/>
                  <a:gd name="connsiteX28" fmla="*/ 1066324 w 2628996"/>
                  <a:gd name="connsiteY28" fmla="*/ 86677 h 147256"/>
                  <a:gd name="connsiteX29" fmla="*/ 1066324 w 2628996"/>
                  <a:gd name="connsiteY29" fmla="*/ 93059 h 147256"/>
                  <a:gd name="connsiteX30" fmla="*/ 1184148 w 2628996"/>
                  <a:gd name="connsiteY30" fmla="*/ 93059 h 147256"/>
                  <a:gd name="connsiteX31" fmla="*/ 1184148 w 2628996"/>
                  <a:gd name="connsiteY31" fmla="*/ 99536 h 147256"/>
                  <a:gd name="connsiteX32" fmla="*/ 1276636 w 2628996"/>
                  <a:gd name="connsiteY32" fmla="*/ 99536 h 147256"/>
                  <a:gd name="connsiteX33" fmla="*/ 1276636 w 2628996"/>
                  <a:gd name="connsiteY33" fmla="*/ 105918 h 147256"/>
                  <a:gd name="connsiteX34" fmla="*/ 1295591 w 2628996"/>
                  <a:gd name="connsiteY34" fmla="*/ 105918 h 147256"/>
                  <a:gd name="connsiteX35" fmla="*/ 1295591 w 2628996"/>
                  <a:gd name="connsiteY35" fmla="*/ 112395 h 147256"/>
                  <a:gd name="connsiteX36" fmla="*/ 2149412 w 2628996"/>
                  <a:gd name="connsiteY36" fmla="*/ 112395 h 147256"/>
                  <a:gd name="connsiteX37" fmla="*/ 2149412 w 2628996"/>
                  <a:gd name="connsiteY37" fmla="*/ 147256 h 147256"/>
                  <a:gd name="connsiteX38" fmla="*/ 2628996 w 2628996"/>
                  <a:gd name="connsiteY38" fmla="*/ 147256 h 147256"/>
                  <a:gd name="connsiteX0" fmla="*/ 0 w 2628996"/>
                  <a:gd name="connsiteY0" fmla="*/ 0 h 147256"/>
                  <a:gd name="connsiteX1" fmla="*/ 18955 w 2628996"/>
                  <a:gd name="connsiteY1" fmla="*/ 6096 h 147256"/>
                  <a:gd name="connsiteX2" fmla="*/ 18955 w 2628996"/>
                  <a:gd name="connsiteY2" fmla="*/ 12192 h 147256"/>
                  <a:gd name="connsiteX3" fmla="*/ 29433 w 2628996"/>
                  <a:gd name="connsiteY3" fmla="*/ 12192 h 147256"/>
                  <a:gd name="connsiteX4" fmla="*/ 29433 w 2628996"/>
                  <a:gd name="connsiteY4" fmla="*/ 18383 h 147256"/>
                  <a:gd name="connsiteX5" fmla="*/ 63151 w 2628996"/>
                  <a:gd name="connsiteY5" fmla="*/ 18383 h 147256"/>
                  <a:gd name="connsiteX6" fmla="*/ 63151 w 2628996"/>
                  <a:gd name="connsiteY6" fmla="*/ 24479 h 147256"/>
                  <a:gd name="connsiteX7" fmla="*/ 69438 w 2628996"/>
                  <a:gd name="connsiteY7" fmla="*/ 24479 h 147256"/>
                  <a:gd name="connsiteX8" fmla="*/ 69438 w 2628996"/>
                  <a:gd name="connsiteY8" fmla="*/ 30575 h 147256"/>
                  <a:gd name="connsiteX9" fmla="*/ 84106 w 2628996"/>
                  <a:gd name="connsiteY9" fmla="*/ 30575 h 147256"/>
                  <a:gd name="connsiteX10" fmla="*/ 84106 w 2628996"/>
                  <a:gd name="connsiteY10" fmla="*/ 36671 h 147256"/>
                  <a:gd name="connsiteX11" fmla="*/ 96774 w 2628996"/>
                  <a:gd name="connsiteY11" fmla="*/ 36671 h 147256"/>
                  <a:gd name="connsiteX12" fmla="*/ 96774 w 2628996"/>
                  <a:gd name="connsiteY12" fmla="*/ 42862 h 147256"/>
                  <a:gd name="connsiteX13" fmla="*/ 122016 w 2628996"/>
                  <a:gd name="connsiteY13" fmla="*/ 42862 h 147256"/>
                  <a:gd name="connsiteX14" fmla="*/ 122016 w 2628996"/>
                  <a:gd name="connsiteY14" fmla="*/ 48958 h 147256"/>
                  <a:gd name="connsiteX15" fmla="*/ 351282 w 2628996"/>
                  <a:gd name="connsiteY15" fmla="*/ 48958 h 147256"/>
                  <a:gd name="connsiteX16" fmla="*/ 351282 w 2628996"/>
                  <a:gd name="connsiteY16" fmla="*/ 55150 h 147256"/>
                  <a:gd name="connsiteX17" fmla="*/ 464820 w 2628996"/>
                  <a:gd name="connsiteY17" fmla="*/ 55150 h 147256"/>
                  <a:gd name="connsiteX18" fmla="*/ 464820 w 2628996"/>
                  <a:gd name="connsiteY18" fmla="*/ 61341 h 147256"/>
                  <a:gd name="connsiteX19" fmla="*/ 733997 w 2628996"/>
                  <a:gd name="connsiteY19" fmla="*/ 61341 h 147256"/>
                  <a:gd name="connsiteX20" fmla="*/ 733997 w 2628996"/>
                  <a:gd name="connsiteY20" fmla="*/ 67627 h 147256"/>
                  <a:gd name="connsiteX21" fmla="*/ 807625 w 2628996"/>
                  <a:gd name="connsiteY21" fmla="*/ 67627 h 147256"/>
                  <a:gd name="connsiteX22" fmla="*/ 807625 w 2628996"/>
                  <a:gd name="connsiteY22" fmla="*/ 73914 h 147256"/>
                  <a:gd name="connsiteX23" fmla="*/ 887540 w 2628996"/>
                  <a:gd name="connsiteY23" fmla="*/ 73914 h 147256"/>
                  <a:gd name="connsiteX24" fmla="*/ 887540 w 2628996"/>
                  <a:gd name="connsiteY24" fmla="*/ 80200 h 147256"/>
                  <a:gd name="connsiteX25" fmla="*/ 1049465 w 2628996"/>
                  <a:gd name="connsiteY25" fmla="*/ 80200 h 147256"/>
                  <a:gd name="connsiteX26" fmla="*/ 1049465 w 2628996"/>
                  <a:gd name="connsiteY26" fmla="*/ 86677 h 147256"/>
                  <a:gd name="connsiteX27" fmla="*/ 1066324 w 2628996"/>
                  <a:gd name="connsiteY27" fmla="*/ 86677 h 147256"/>
                  <a:gd name="connsiteX28" fmla="*/ 1066324 w 2628996"/>
                  <a:gd name="connsiteY28" fmla="*/ 93059 h 147256"/>
                  <a:gd name="connsiteX29" fmla="*/ 1184148 w 2628996"/>
                  <a:gd name="connsiteY29" fmla="*/ 93059 h 147256"/>
                  <a:gd name="connsiteX30" fmla="*/ 1184148 w 2628996"/>
                  <a:gd name="connsiteY30" fmla="*/ 99536 h 147256"/>
                  <a:gd name="connsiteX31" fmla="*/ 1276636 w 2628996"/>
                  <a:gd name="connsiteY31" fmla="*/ 99536 h 147256"/>
                  <a:gd name="connsiteX32" fmla="*/ 1276636 w 2628996"/>
                  <a:gd name="connsiteY32" fmla="*/ 105918 h 147256"/>
                  <a:gd name="connsiteX33" fmla="*/ 1295591 w 2628996"/>
                  <a:gd name="connsiteY33" fmla="*/ 105918 h 147256"/>
                  <a:gd name="connsiteX34" fmla="*/ 1295591 w 2628996"/>
                  <a:gd name="connsiteY34" fmla="*/ 112395 h 147256"/>
                  <a:gd name="connsiteX35" fmla="*/ 2149412 w 2628996"/>
                  <a:gd name="connsiteY35" fmla="*/ 112395 h 147256"/>
                  <a:gd name="connsiteX36" fmla="*/ 2149412 w 2628996"/>
                  <a:gd name="connsiteY36" fmla="*/ 147256 h 147256"/>
                  <a:gd name="connsiteX37" fmla="*/ 2628996 w 2628996"/>
                  <a:gd name="connsiteY37" fmla="*/ 147256 h 147256"/>
                  <a:gd name="connsiteX0" fmla="*/ 0 w 2610041"/>
                  <a:gd name="connsiteY0" fmla="*/ 0 h 141160"/>
                  <a:gd name="connsiteX1" fmla="*/ 0 w 2610041"/>
                  <a:gd name="connsiteY1" fmla="*/ 6096 h 141160"/>
                  <a:gd name="connsiteX2" fmla="*/ 10478 w 2610041"/>
                  <a:gd name="connsiteY2" fmla="*/ 6096 h 141160"/>
                  <a:gd name="connsiteX3" fmla="*/ 10478 w 2610041"/>
                  <a:gd name="connsiteY3" fmla="*/ 12287 h 141160"/>
                  <a:gd name="connsiteX4" fmla="*/ 44196 w 2610041"/>
                  <a:gd name="connsiteY4" fmla="*/ 12287 h 141160"/>
                  <a:gd name="connsiteX5" fmla="*/ 44196 w 2610041"/>
                  <a:gd name="connsiteY5" fmla="*/ 18383 h 141160"/>
                  <a:gd name="connsiteX6" fmla="*/ 50483 w 2610041"/>
                  <a:gd name="connsiteY6" fmla="*/ 18383 h 141160"/>
                  <a:gd name="connsiteX7" fmla="*/ 50483 w 2610041"/>
                  <a:gd name="connsiteY7" fmla="*/ 24479 h 141160"/>
                  <a:gd name="connsiteX8" fmla="*/ 65151 w 2610041"/>
                  <a:gd name="connsiteY8" fmla="*/ 24479 h 141160"/>
                  <a:gd name="connsiteX9" fmla="*/ 65151 w 2610041"/>
                  <a:gd name="connsiteY9" fmla="*/ 30575 h 141160"/>
                  <a:gd name="connsiteX10" fmla="*/ 77819 w 2610041"/>
                  <a:gd name="connsiteY10" fmla="*/ 30575 h 141160"/>
                  <a:gd name="connsiteX11" fmla="*/ 77819 w 2610041"/>
                  <a:gd name="connsiteY11" fmla="*/ 36766 h 141160"/>
                  <a:gd name="connsiteX12" fmla="*/ 103061 w 2610041"/>
                  <a:gd name="connsiteY12" fmla="*/ 36766 h 141160"/>
                  <a:gd name="connsiteX13" fmla="*/ 103061 w 2610041"/>
                  <a:gd name="connsiteY13" fmla="*/ 42862 h 141160"/>
                  <a:gd name="connsiteX14" fmla="*/ 332327 w 2610041"/>
                  <a:gd name="connsiteY14" fmla="*/ 42862 h 141160"/>
                  <a:gd name="connsiteX15" fmla="*/ 332327 w 2610041"/>
                  <a:gd name="connsiteY15" fmla="*/ 49054 h 141160"/>
                  <a:gd name="connsiteX16" fmla="*/ 445865 w 2610041"/>
                  <a:gd name="connsiteY16" fmla="*/ 49054 h 141160"/>
                  <a:gd name="connsiteX17" fmla="*/ 445865 w 2610041"/>
                  <a:gd name="connsiteY17" fmla="*/ 55245 h 141160"/>
                  <a:gd name="connsiteX18" fmla="*/ 715042 w 2610041"/>
                  <a:gd name="connsiteY18" fmla="*/ 55245 h 141160"/>
                  <a:gd name="connsiteX19" fmla="*/ 715042 w 2610041"/>
                  <a:gd name="connsiteY19" fmla="*/ 61531 h 141160"/>
                  <a:gd name="connsiteX20" fmla="*/ 788670 w 2610041"/>
                  <a:gd name="connsiteY20" fmla="*/ 61531 h 141160"/>
                  <a:gd name="connsiteX21" fmla="*/ 788670 w 2610041"/>
                  <a:gd name="connsiteY21" fmla="*/ 67818 h 141160"/>
                  <a:gd name="connsiteX22" fmla="*/ 868585 w 2610041"/>
                  <a:gd name="connsiteY22" fmla="*/ 67818 h 141160"/>
                  <a:gd name="connsiteX23" fmla="*/ 868585 w 2610041"/>
                  <a:gd name="connsiteY23" fmla="*/ 74104 h 141160"/>
                  <a:gd name="connsiteX24" fmla="*/ 1030510 w 2610041"/>
                  <a:gd name="connsiteY24" fmla="*/ 74104 h 141160"/>
                  <a:gd name="connsiteX25" fmla="*/ 1030510 w 2610041"/>
                  <a:gd name="connsiteY25" fmla="*/ 80581 h 141160"/>
                  <a:gd name="connsiteX26" fmla="*/ 1047369 w 2610041"/>
                  <a:gd name="connsiteY26" fmla="*/ 80581 h 141160"/>
                  <a:gd name="connsiteX27" fmla="*/ 1047369 w 2610041"/>
                  <a:gd name="connsiteY27" fmla="*/ 86963 h 141160"/>
                  <a:gd name="connsiteX28" fmla="*/ 1165193 w 2610041"/>
                  <a:gd name="connsiteY28" fmla="*/ 86963 h 141160"/>
                  <a:gd name="connsiteX29" fmla="*/ 1165193 w 2610041"/>
                  <a:gd name="connsiteY29" fmla="*/ 93440 h 141160"/>
                  <a:gd name="connsiteX30" fmla="*/ 1257681 w 2610041"/>
                  <a:gd name="connsiteY30" fmla="*/ 93440 h 141160"/>
                  <a:gd name="connsiteX31" fmla="*/ 1257681 w 2610041"/>
                  <a:gd name="connsiteY31" fmla="*/ 99822 h 141160"/>
                  <a:gd name="connsiteX32" fmla="*/ 1276636 w 2610041"/>
                  <a:gd name="connsiteY32" fmla="*/ 99822 h 141160"/>
                  <a:gd name="connsiteX33" fmla="*/ 1276636 w 2610041"/>
                  <a:gd name="connsiteY33" fmla="*/ 106299 h 141160"/>
                  <a:gd name="connsiteX34" fmla="*/ 2130457 w 2610041"/>
                  <a:gd name="connsiteY34" fmla="*/ 106299 h 141160"/>
                  <a:gd name="connsiteX35" fmla="*/ 2130457 w 2610041"/>
                  <a:gd name="connsiteY35" fmla="*/ 141160 h 141160"/>
                  <a:gd name="connsiteX36" fmla="*/ 2610041 w 2610041"/>
                  <a:gd name="connsiteY36" fmla="*/ 141160 h 141160"/>
                  <a:gd name="connsiteX0" fmla="*/ 0 w 2610041"/>
                  <a:gd name="connsiteY0" fmla="*/ 0 h 141160"/>
                  <a:gd name="connsiteX1" fmla="*/ 10478 w 2610041"/>
                  <a:gd name="connsiteY1" fmla="*/ 6096 h 141160"/>
                  <a:gd name="connsiteX2" fmla="*/ 10478 w 2610041"/>
                  <a:gd name="connsiteY2" fmla="*/ 12287 h 141160"/>
                  <a:gd name="connsiteX3" fmla="*/ 44196 w 2610041"/>
                  <a:gd name="connsiteY3" fmla="*/ 12287 h 141160"/>
                  <a:gd name="connsiteX4" fmla="*/ 44196 w 2610041"/>
                  <a:gd name="connsiteY4" fmla="*/ 18383 h 141160"/>
                  <a:gd name="connsiteX5" fmla="*/ 50483 w 2610041"/>
                  <a:gd name="connsiteY5" fmla="*/ 18383 h 141160"/>
                  <a:gd name="connsiteX6" fmla="*/ 50483 w 2610041"/>
                  <a:gd name="connsiteY6" fmla="*/ 24479 h 141160"/>
                  <a:gd name="connsiteX7" fmla="*/ 65151 w 2610041"/>
                  <a:gd name="connsiteY7" fmla="*/ 24479 h 141160"/>
                  <a:gd name="connsiteX8" fmla="*/ 65151 w 2610041"/>
                  <a:gd name="connsiteY8" fmla="*/ 30575 h 141160"/>
                  <a:gd name="connsiteX9" fmla="*/ 77819 w 2610041"/>
                  <a:gd name="connsiteY9" fmla="*/ 30575 h 141160"/>
                  <a:gd name="connsiteX10" fmla="*/ 77819 w 2610041"/>
                  <a:gd name="connsiteY10" fmla="*/ 36766 h 141160"/>
                  <a:gd name="connsiteX11" fmla="*/ 103061 w 2610041"/>
                  <a:gd name="connsiteY11" fmla="*/ 36766 h 141160"/>
                  <a:gd name="connsiteX12" fmla="*/ 103061 w 2610041"/>
                  <a:gd name="connsiteY12" fmla="*/ 42862 h 141160"/>
                  <a:gd name="connsiteX13" fmla="*/ 332327 w 2610041"/>
                  <a:gd name="connsiteY13" fmla="*/ 42862 h 141160"/>
                  <a:gd name="connsiteX14" fmla="*/ 332327 w 2610041"/>
                  <a:gd name="connsiteY14" fmla="*/ 49054 h 141160"/>
                  <a:gd name="connsiteX15" fmla="*/ 445865 w 2610041"/>
                  <a:gd name="connsiteY15" fmla="*/ 49054 h 141160"/>
                  <a:gd name="connsiteX16" fmla="*/ 445865 w 2610041"/>
                  <a:gd name="connsiteY16" fmla="*/ 55245 h 141160"/>
                  <a:gd name="connsiteX17" fmla="*/ 715042 w 2610041"/>
                  <a:gd name="connsiteY17" fmla="*/ 55245 h 141160"/>
                  <a:gd name="connsiteX18" fmla="*/ 715042 w 2610041"/>
                  <a:gd name="connsiteY18" fmla="*/ 61531 h 141160"/>
                  <a:gd name="connsiteX19" fmla="*/ 788670 w 2610041"/>
                  <a:gd name="connsiteY19" fmla="*/ 61531 h 141160"/>
                  <a:gd name="connsiteX20" fmla="*/ 788670 w 2610041"/>
                  <a:gd name="connsiteY20" fmla="*/ 67818 h 141160"/>
                  <a:gd name="connsiteX21" fmla="*/ 868585 w 2610041"/>
                  <a:gd name="connsiteY21" fmla="*/ 67818 h 141160"/>
                  <a:gd name="connsiteX22" fmla="*/ 868585 w 2610041"/>
                  <a:gd name="connsiteY22" fmla="*/ 74104 h 141160"/>
                  <a:gd name="connsiteX23" fmla="*/ 1030510 w 2610041"/>
                  <a:gd name="connsiteY23" fmla="*/ 74104 h 141160"/>
                  <a:gd name="connsiteX24" fmla="*/ 1030510 w 2610041"/>
                  <a:gd name="connsiteY24" fmla="*/ 80581 h 141160"/>
                  <a:gd name="connsiteX25" fmla="*/ 1047369 w 2610041"/>
                  <a:gd name="connsiteY25" fmla="*/ 80581 h 141160"/>
                  <a:gd name="connsiteX26" fmla="*/ 1047369 w 2610041"/>
                  <a:gd name="connsiteY26" fmla="*/ 86963 h 141160"/>
                  <a:gd name="connsiteX27" fmla="*/ 1165193 w 2610041"/>
                  <a:gd name="connsiteY27" fmla="*/ 86963 h 141160"/>
                  <a:gd name="connsiteX28" fmla="*/ 1165193 w 2610041"/>
                  <a:gd name="connsiteY28" fmla="*/ 93440 h 141160"/>
                  <a:gd name="connsiteX29" fmla="*/ 1257681 w 2610041"/>
                  <a:gd name="connsiteY29" fmla="*/ 93440 h 141160"/>
                  <a:gd name="connsiteX30" fmla="*/ 1257681 w 2610041"/>
                  <a:gd name="connsiteY30" fmla="*/ 99822 h 141160"/>
                  <a:gd name="connsiteX31" fmla="*/ 1276636 w 2610041"/>
                  <a:gd name="connsiteY31" fmla="*/ 99822 h 141160"/>
                  <a:gd name="connsiteX32" fmla="*/ 1276636 w 2610041"/>
                  <a:gd name="connsiteY32" fmla="*/ 106299 h 141160"/>
                  <a:gd name="connsiteX33" fmla="*/ 2130457 w 2610041"/>
                  <a:gd name="connsiteY33" fmla="*/ 106299 h 141160"/>
                  <a:gd name="connsiteX34" fmla="*/ 2130457 w 2610041"/>
                  <a:gd name="connsiteY34" fmla="*/ 141160 h 141160"/>
                  <a:gd name="connsiteX35" fmla="*/ 2610041 w 2610041"/>
                  <a:gd name="connsiteY35" fmla="*/ 141160 h 141160"/>
                  <a:gd name="connsiteX0" fmla="*/ 0 w 2599563"/>
                  <a:gd name="connsiteY0" fmla="*/ 0 h 135064"/>
                  <a:gd name="connsiteX1" fmla="*/ 0 w 2599563"/>
                  <a:gd name="connsiteY1" fmla="*/ 6191 h 135064"/>
                  <a:gd name="connsiteX2" fmla="*/ 33718 w 2599563"/>
                  <a:gd name="connsiteY2" fmla="*/ 6191 h 135064"/>
                  <a:gd name="connsiteX3" fmla="*/ 33718 w 2599563"/>
                  <a:gd name="connsiteY3" fmla="*/ 12287 h 135064"/>
                  <a:gd name="connsiteX4" fmla="*/ 40005 w 2599563"/>
                  <a:gd name="connsiteY4" fmla="*/ 12287 h 135064"/>
                  <a:gd name="connsiteX5" fmla="*/ 40005 w 2599563"/>
                  <a:gd name="connsiteY5" fmla="*/ 18383 h 135064"/>
                  <a:gd name="connsiteX6" fmla="*/ 54673 w 2599563"/>
                  <a:gd name="connsiteY6" fmla="*/ 18383 h 135064"/>
                  <a:gd name="connsiteX7" fmla="*/ 54673 w 2599563"/>
                  <a:gd name="connsiteY7" fmla="*/ 24479 h 135064"/>
                  <a:gd name="connsiteX8" fmla="*/ 67341 w 2599563"/>
                  <a:gd name="connsiteY8" fmla="*/ 24479 h 135064"/>
                  <a:gd name="connsiteX9" fmla="*/ 67341 w 2599563"/>
                  <a:gd name="connsiteY9" fmla="*/ 30670 h 135064"/>
                  <a:gd name="connsiteX10" fmla="*/ 92583 w 2599563"/>
                  <a:gd name="connsiteY10" fmla="*/ 30670 h 135064"/>
                  <a:gd name="connsiteX11" fmla="*/ 92583 w 2599563"/>
                  <a:gd name="connsiteY11" fmla="*/ 36766 h 135064"/>
                  <a:gd name="connsiteX12" fmla="*/ 321849 w 2599563"/>
                  <a:gd name="connsiteY12" fmla="*/ 36766 h 135064"/>
                  <a:gd name="connsiteX13" fmla="*/ 321849 w 2599563"/>
                  <a:gd name="connsiteY13" fmla="*/ 42958 h 135064"/>
                  <a:gd name="connsiteX14" fmla="*/ 435387 w 2599563"/>
                  <a:gd name="connsiteY14" fmla="*/ 42958 h 135064"/>
                  <a:gd name="connsiteX15" fmla="*/ 435387 w 2599563"/>
                  <a:gd name="connsiteY15" fmla="*/ 49149 h 135064"/>
                  <a:gd name="connsiteX16" fmla="*/ 704564 w 2599563"/>
                  <a:gd name="connsiteY16" fmla="*/ 49149 h 135064"/>
                  <a:gd name="connsiteX17" fmla="*/ 704564 w 2599563"/>
                  <a:gd name="connsiteY17" fmla="*/ 55435 h 135064"/>
                  <a:gd name="connsiteX18" fmla="*/ 778192 w 2599563"/>
                  <a:gd name="connsiteY18" fmla="*/ 55435 h 135064"/>
                  <a:gd name="connsiteX19" fmla="*/ 778192 w 2599563"/>
                  <a:gd name="connsiteY19" fmla="*/ 61722 h 135064"/>
                  <a:gd name="connsiteX20" fmla="*/ 858107 w 2599563"/>
                  <a:gd name="connsiteY20" fmla="*/ 61722 h 135064"/>
                  <a:gd name="connsiteX21" fmla="*/ 858107 w 2599563"/>
                  <a:gd name="connsiteY21" fmla="*/ 68008 h 135064"/>
                  <a:gd name="connsiteX22" fmla="*/ 1020032 w 2599563"/>
                  <a:gd name="connsiteY22" fmla="*/ 68008 h 135064"/>
                  <a:gd name="connsiteX23" fmla="*/ 1020032 w 2599563"/>
                  <a:gd name="connsiteY23" fmla="*/ 74485 h 135064"/>
                  <a:gd name="connsiteX24" fmla="*/ 1036891 w 2599563"/>
                  <a:gd name="connsiteY24" fmla="*/ 74485 h 135064"/>
                  <a:gd name="connsiteX25" fmla="*/ 1036891 w 2599563"/>
                  <a:gd name="connsiteY25" fmla="*/ 80867 h 135064"/>
                  <a:gd name="connsiteX26" fmla="*/ 1154715 w 2599563"/>
                  <a:gd name="connsiteY26" fmla="*/ 80867 h 135064"/>
                  <a:gd name="connsiteX27" fmla="*/ 1154715 w 2599563"/>
                  <a:gd name="connsiteY27" fmla="*/ 87344 h 135064"/>
                  <a:gd name="connsiteX28" fmla="*/ 1247203 w 2599563"/>
                  <a:gd name="connsiteY28" fmla="*/ 87344 h 135064"/>
                  <a:gd name="connsiteX29" fmla="*/ 1247203 w 2599563"/>
                  <a:gd name="connsiteY29" fmla="*/ 93726 h 135064"/>
                  <a:gd name="connsiteX30" fmla="*/ 1266158 w 2599563"/>
                  <a:gd name="connsiteY30" fmla="*/ 93726 h 135064"/>
                  <a:gd name="connsiteX31" fmla="*/ 1266158 w 2599563"/>
                  <a:gd name="connsiteY31" fmla="*/ 100203 h 135064"/>
                  <a:gd name="connsiteX32" fmla="*/ 2119979 w 2599563"/>
                  <a:gd name="connsiteY32" fmla="*/ 100203 h 135064"/>
                  <a:gd name="connsiteX33" fmla="*/ 2119979 w 2599563"/>
                  <a:gd name="connsiteY33" fmla="*/ 135064 h 135064"/>
                  <a:gd name="connsiteX34" fmla="*/ 2599563 w 2599563"/>
                  <a:gd name="connsiteY34" fmla="*/ 135064 h 135064"/>
                  <a:gd name="connsiteX0" fmla="*/ 0 w 2599563"/>
                  <a:gd name="connsiteY0" fmla="*/ 0 h 135064"/>
                  <a:gd name="connsiteX1" fmla="*/ 33718 w 2599563"/>
                  <a:gd name="connsiteY1" fmla="*/ 6191 h 135064"/>
                  <a:gd name="connsiteX2" fmla="*/ 33718 w 2599563"/>
                  <a:gd name="connsiteY2" fmla="*/ 12287 h 135064"/>
                  <a:gd name="connsiteX3" fmla="*/ 40005 w 2599563"/>
                  <a:gd name="connsiteY3" fmla="*/ 12287 h 135064"/>
                  <a:gd name="connsiteX4" fmla="*/ 40005 w 2599563"/>
                  <a:gd name="connsiteY4" fmla="*/ 18383 h 135064"/>
                  <a:gd name="connsiteX5" fmla="*/ 54673 w 2599563"/>
                  <a:gd name="connsiteY5" fmla="*/ 18383 h 135064"/>
                  <a:gd name="connsiteX6" fmla="*/ 54673 w 2599563"/>
                  <a:gd name="connsiteY6" fmla="*/ 24479 h 135064"/>
                  <a:gd name="connsiteX7" fmla="*/ 67341 w 2599563"/>
                  <a:gd name="connsiteY7" fmla="*/ 24479 h 135064"/>
                  <a:gd name="connsiteX8" fmla="*/ 67341 w 2599563"/>
                  <a:gd name="connsiteY8" fmla="*/ 30670 h 135064"/>
                  <a:gd name="connsiteX9" fmla="*/ 92583 w 2599563"/>
                  <a:gd name="connsiteY9" fmla="*/ 30670 h 135064"/>
                  <a:gd name="connsiteX10" fmla="*/ 92583 w 2599563"/>
                  <a:gd name="connsiteY10" fmla="*/ 36766 h 135064"/>
                  <a:gd name="connsiteX11" fmla="*/ 321849 w 2599563"/>
                  <a:gd name="connsiteY11" fmla="*/ 36766 h 135064"/>
                  <a:gd name="connsiteX12" fmla="*/ 321849 w 2599563"/>
                  <a:gd name="connsiteY12" fmla="*/ 42958 h 135064"/>
                  <a:gd name="connsiteX13" fmla="*/ 435387 w 2599563"/>
                  <a:gd name="connsiteY13" fmla="*/ 42958 h 135064"/>
                  <a:gd name="connsiteX14" fmla="*/ 435387 w 2599563"/>
                  <a:gd name="connsiteY14" fmla="*/ 49149 h 135064"/>
                  <a:gd name="connsiteX15" fmla="*/ 704564 w 2599563"/>
                  <a:gd name="connsiteY15" fmla="*/ 49149 h 135064"/>
                  <a:gd name="connsiteX16" fmla="*/ 704564 w 2599563"/>
                  <a:gd name="connsiteY16" fmla="*/ 55435 h 135064"/>
                  <a:gd name="connsiteX17" fmla="*/ 778192 w 2599563"/>
                  <a:gd name="connsiteY17" fmla="*/ 55435 h 135064"/>
                  <a:gd name="connsiteX18" fmla="*/ 778192 w 2599563"/>
                  <a:gd name="connsiteY18" fmla="*/ 61722 h 135064"/>
                  <a:gd name="connsiteX19" fmla="*/ 858107 w 2599563"/>
                  <a:gd name="connsiteY19" fmla="*/ 61722 h 135064"/>
                  <a:gd name="connsiteX20" fmla="*/ 858107 w 2599563"/>
                  <a:gd name="connsiteY20" fmla="*/ 68008 h 135064"/>
                  <a:gd name="connsiteX21" fmla="*/ 1020032 w 2599563"/>
                  <a:gd name="connsiteY21" fmla="*/ 68008 h 135064"/>
                  <a:gd name="connsiteX22" fmla="*/ 1020032 w 2599563"/>
                  <a:gd name="connsiteY22" fmla="*/ 74485 h 135064"/>
                  <a:gd name="connsiteX23" fmla="*/ 1036891 w 2599563"/>
                  <a:gd name="connsiteY23" fmla="*/ 74485 h 135064"/>
                  <a:gd name="connsiteX24" fmla="*/ 1036891 w 2599563"/>
                  <a:gd name="connsiteY24" fmla="*/ 80867 h 135064"/>
                  <a:gd name="connsiteX25" fmla="*/ 1154715 w 2599563"/>
                  <a:gd name="connsiteY25" fmla="*/ 80867 h 135064"/>
                  <a:gd name="connsiteX26" fmla="*/ 1154715 w 2599563"/>
                  <a:gd name="connsiteY26" fmla="*/ 87344 h 135064"/>
                  <a:gd name="connsiteX27" fmla="*/ 1247203 w 2599563"/>
                  <a:gd name="connsiteY27" fmla="*/ 87344 h 135064"/>
                  <a:gd name="connsiteX28" fmla="*/ 1247203 w 2599563"/>
                  <a:gd name="connsiteY28" fmla="*/ 93726 h 135064"/>
                  <a:gd name="connsiteX29" fmla="*/ 1266158 w 2599563"/>
                  <a:gd name="connsiteY29" fmla="*/ 93726 h 135064"/>
                  <a:gd name="connsiteX30" fmla="*/ 1266158 w 2599563"/>
                  <a:gd name="connsiteY30" fmla="*/ 100203 h 135064"/>
                  <a:gd name="connsiteX31" fmla="*/ 2119979 w 2599563"/>
                  <a:gd name="connsiteY31" fmla="*/ 100203 h 135064"/>
                  <a:gd name="connsiteX32" fmla="*/ 2119979 w 2599563"/>
                  <a:gd name="connsiteY32" fmla="*/ 135064 h 135064"/>
                  <a:gd name="connsiteX33" fmla="*/ 2599563 w 2599563"/>
                  <a:gd name="connsiteY33" fmla="*/ 135064 h 135064"/>
                  <a:gd name="connsiteX0" fmla="*/ 0 w 2565845"/>
                  <a:gd name="connsiteY0" fmla="*/ 0 h 128873"/>
                  <a:gd name="connsiteX1" fmla="*/ 0 w 2565845"/>
                  <a:gd name="connsiteY1" fmla="*/ 6096 h 128873"/>
                  <a:gd name="connsiteX2" fmla="*/ 6287 w 2565845"/>
                  <a:gd name="connsiteY2" fmla="*/ 6096 h 128873"/>
                  <a:gd name="connsiteX3" fmla="*/ 6287 w 2565845"/>
                  <a:gd name="connsiteY3" fmla="*/ 12192 h 128873"/>
                  <a:gd name="connsiteX4" fmla="*/ 20955 w 2565845"/>
                  <a:gd name="connsiteY4" fmla="*/ 12192 h 128873"/>
                  <a:gd name="connsiteX5" fmla="*/ 20955 w 2565845"/>
                  <a:gd name="connsiteY5" fmla="*/ 18288 h 128873"/>
                  <a:gd name="connsiteX6" fmla="*/ 33623 w 2565845"/>
                  <a:gd name="connsiteY6" fmla="*/ 18288 h 128873"/>
                  <a:gd name="connsiteX7" fmla="*/ 33623 w 2565845"/>
                  <a:gd name="connsiteY7" fmla="*/ 24479 h 128873"/>
                  <a:gd name="connsiteX8" fmla="*/ 58865 w 2565845"/>
                  <a:gd name="connsiteY8" fmla="*/ 24479 h 128873"/>
                  <a:gd name="connsiteX9" fmla="*/ 58865 w 2565845"/>
                  <a:gd name="connsiteY9" fmla="*/ 30575 h 128873"/>
                  <a:gd name="connsiteX10" fmla="*/ 288131 w 2565845"/>
                  <a:gd name="connsiteY10" fmla="*/ 30575 h 128873"/>
                  <a:gd name="connsiteX11" fmla="*/ 288131 w 2565845"/>
                  <a:gd name="connsiteY11" fmla="*/ 36767 h 128873"/>
                  <a:gd name="connsiteX12" fmla="*/ 401669 w 2565845"/>
                  <a:gd name="connsiteY12" fmla="*/ 36767 h 128873"/>
                  <a:gd name="connsiteX13" fmla="*/ 401669 w 2565845"/>
                  <a:gd name="connsiteY13" fmla="*/ 42958 h 128873"/>
                  <a:gd name="connsiteX14" fmla="*/ 670846 w 2565845"/>
                  <a:gd name="connsiteY14" fmla="*/ 42958 h 128873"/>
                  <a:gd name="connsiteX15" fmla="*/ 670846 w 2565845"/>
                  <a:gd name="connsiteY15" fmla="*/ 49244 h 128873"/>
                  <a:gd name="connsiteX16" fmla="*/ 744474 w 2565845"/>
                  <a:gd name="connsiteY16" fmla="*/ 49244 h 128873"/>
                  <a:gd name="connsiteX17" fmla="*/ 744474 w 2565845"/>
                  <a:gd name="connsiteY17" fmla="*/ 55531 h 128873"/>
                  <a:gd name="connsiteX18" fmla="*/ 824389 w 2565845"/>
                  <a:gd name="connsiteY18" fmla="*/ 55531 h 128873"/>
                  <a:gd name="connsiteX19" fmla="*/ 824389 w 2565845"/>
                  <a:gd name="connsiteY19" fmla="*/ 61817 h 128873"/>
                  <a:gd name="connsiteX20" fmla="*/ 986314 w 2565845"/>
                  <a:gd name="connsiteY20" fmla="*/ 61817 h 128873"/>
                  <a:gd name="connsiteX21" fmla="*/ 986314 w 2565845"/>
                  <a:gd name="connsiteY21" fmla="*/ 68294 h 128873"/>
                  <a:gd name="connsiteX22" fmla="*/ 1003173 w 2565845"/>
                  <a:gd name="connsiteY22" fmla="*/ 68294 h 128873"/>
                  <a:gd name="connsiteX23" fmla="*/ 1003173 w 2565845"/>
                  <a:gd name="connsiteY23" fmla="*/ 74676 h 128873"/>
                  <a:gd name="connsiteX24" fmla="*/ 1120997 w 2565845"/>
                  <a:gd name="connsiteY24" fmla="*/ 74676 h 128873"/>
                  <a:gd name="connsiteX25" fmla="*/ 1120997 w 2565845"/>
                  <a:gd name="connsiteY25" fmla="*/ 81153 h 128873"/>
                  <a:gd name="connsiteX26" fmla="*/ 1213485 w 2565845"/>
                  <a:gd name="connsiteY26" fmla="*/ 81153 h 128873"/>
                  <a:gd name="connsiteX27" fmla="*/ 1213485 w 2565845"/>
                  <a:gd name="connsiteY27" fmla="*/ 87535 h 128873"/>
                  <a:gd name="connsiteX28" fmla="*/ 1232440 w 2565845"/>
                  <a:gd name="connsiteY28" fmla="*/ 87535 h 128873"/>
                  <a:gd name="connsiteX29" fmla="*/ 1232440 w 2565845"/>
                  <a:gd name="connsiteY29" fmla="*/ 94012 h 128873"/>
                  <a:gd name="connsiteX30" fmla="*/ 2086261 w 2565845"/>
                  <a:gd name="connsiteY30" fmla="*/ 94012 h 128873"/>
                  <a:gd name="connsiteX31" fmla="*/ 2086261 w 2565845"/>
                  <a:gd name="connsiteY31" fmla="*/ 128873 h 128873"/>
                  <a:gd name="connsiteX32" fmla="*/ 2565845 w 2565845"/>
                  <a:gd name="connsiteY32" fmla="*/ 128873 h 128873"/>
                  <a:gd name="connsiteX0" fmla="*/ 0 w 2565845"/>
                  <a:gd name="connsiteY0" fmla="*/ 0 h 128873"/>
                  <a:gd name="connsiteX1" fmla="*/ 6287 w 2565845"/>
                  <a:gd name="connsiteY1" fmla="*/ 6096 h 128873"/>
                  <a:gd name="connsiteX2" fmla="*/ 6287 w 2565845"/>
                  <a:gd name="connsiteY2" fmla="*/ 12192 h 128873"/>
                  <a:gd name="connsiteX3" fmla="*/ 20955 w 2565845"/>
                  <a:gd name="connsiteY3" fmla="*/ 12192 h 128873"/>
                  <a:gd name="connsiteX4" fmla="*/ 20955 w 2565845"/>
                  <a:gd name="connsiteY4" fmla="*/ 18288 h 128873"/>
                  <a:gd name="connsiteX5" fmla="*/ 33623 w 2565845"/>
                  <a:gd name="connsiteY5" fmla="*/ 18288 h 128873"/>
                  <a:gd name="connsiteX6" fmla="*/ 33623 w 2565845"/>
                  <a:gd name="connsiteY6" fmla="*/ 24479 h 128873"/>
                  <a:gd name="connsiteX7" fmla="*/ 58865 w 2565845"/>
                  <a:gd name="connsiteY7" fmla="*/ 24479 h 128873"/>
                  <a:gd name="connsiteX8" fmla="*/ 58865 w 2565845"/>
                  <a:gd name="connsiteY8" fmla="*/ 30575 h 128873"/>
                  <a:gd name="connsiteX9" fmla="*/ 288131 w 2565845"/>
                  <a:gd name="connsiteY9" fmla="*/ 30575 h 128873"/>
                  <a:gd name="connsiteX10" fmla="*/ 288131 w 2565845"/>
                  <a:gd name="connsiteY10" fmla="*/ 36767 h 128873"/>
                  <a:gd name="connsiteX11" fmla="*/ 401669 w 2565845"/>
                  <a:gd name="connsiteY11" fmla="*/ 36767 h 128873"/>
                  <a:gd name="connsiteX12" fmla="*/ 401669 w 2565845"/>
                  <a:gd name="connsiteY12" fmla="*/ 42958 h 128873"/>
                  <a:gd name="connsiteX13" fmla="*/ 670846 w 2565845"/>
                  <a:gd name="connsiteY13" fmla="*/ 42958 h 128873"/>
                  <a:gd name="connsiteX14" fmla="*/ 670846 w 2565845"/>
                  <a:gd name="connsiteY14" fmla="*/ 49244 h 128873"/>
                  <a:gd name="connsiteX15" fmla="*/ 744474 w 2565845"/>
                  <a:gd name="connsiteY15" fmla="*/ 49244 h 128873"/>
                  <a:gd name="connsiteX16" fmla="*/ 744474 w 2565845"/>
                  <a:gd name="connsiteY16" fmla="*/ 55531 h 128873"/>
                  <a:gd name="connsiteX17" fmla="*/ 824389 w 2565845"/>
                  <a:gd name="connsiteY17" fmla="*/ 55531 h 128873"/>
                  <a:gd name="connsiteX18" fmla="*/ 824389 w 2565845"/>
                  <a:gd name="connsiteY18" fmla="*/ 61817 h 128873"/>
                  <a:gd name="connsiteX19" fmla="*/ 986314 w 2565845"/>
                  <a:gd name="connsiteY19" fmla="*/ 61817 h 128873"/>
                  <a:gd name="connsiteX20" fmla="*/ 986314 w 2565845"/>
                  <a:gd name="connsiteY20" fmla="*/ 68294 h 128873"/>
                  <a:gd name="connsiteX21" fmla="*/ 1003173 w 2565845"/>
                  <a:gd name="connsiteY21" fmla="*/ 68294 h 128873"/>
                  <a:gd name="connsiteX22" fmla="*/ 1003173 w 2565845"/>
                  <a:gd name="connsiteY22" fmla="*/ 74676 h 128873"/>
                  <a:gd name="connsiteX23" fmla="*/ 1120997 w 2565845"/>
                  <a:gd name="connsiteY23" fmla="*/ 74676 h 128873"/>
                  <a:gd name="connsiteX24" fmla="*/ 1120997 w 2565845"/>
                  <a:gd name="connsiteY24" fmla="*/ 81153 h 128873"/>
                  <a:gd name="connsiteX25" fmla="*/ 1213485 w 2565845"/>
                  <a:gd name="connsiteY25" fmla="*/ 81153 h 128873"/>
                  <a:gd name="connsiteX26" fmla="*/ 1213485 w 2565845"/>
                  <a:gd name="connsiteY26" fmla="*/ 87535 h 128873"/>
                  <a:gd name="connsiteX27" fmla="*/ 1232440 w 2565845"/>
                  <a:gd name="connsiteY27" fmla="*/ 87535 h 128873"/>
                  <a:gd name="connsiteX28" fmla="*/ 1232440 w 2565845"/>
                  <a:gd name="connsiteY28" fmla="*/ 94012 h 128873"/>
                  <a:gd name="connsiteX29" fmla="*/ 2086261 w 2565845"/>
                  <a:gd name="connsiteY29" fmla="*/ 94012 h 128873"/>
                  <a:gd name="connsiteX30" fmla="*/ 2086261 w 2565845"/>
                  <a:gd name="connsiteY30" fmla="*/ 128873 h 128873"/>
                  <a:gd name="connsiteX31" fmla="*/ 2565845 w 2565845"/>
                  <a:gd name="connsiteY31" fmla="*/ 128873 h 128873"/>
                  <a:gd name="connsiteX0" fmla="*/ 0 w 2565845"/>
                  <a:gd name="connsiteY0" fmla="*/ 0 h 128873"/>
                  <a:gd name="connsiteX1" fmla="*/ 6287 w 2565845"/>
                  <a:gd name="connsiteY1" fmla="*/ 12192 h 128873"/>
                  <a:gd name="connsiteX2" fmla="*/ 20955 w 2565845"/>
                  <a:gd name="connsiteY2" fmla="*/ 12192 h 128873"/>
                  <a:gd name="connsiteX3" fmla="*/ 20955 w 2565845"/>
                  <a:gd name="connsiteY3" fmla="*/ 18288 h 128873"/>
                  <a:gd name="connsiteX4" fmla="*/ 33623 w 2565845"/>
                  <a:gd name="connsiteY4" fmla="*/ 18288 h 128873"/>
                  <a:gd name="connsiteX5" fmla="*/ 33623 w 2565845"/>
                  <a:gd name="connsiteY5" fmla="*/ 24479 h 128873"/>
                  <a:gd name="connsiteX6" fmla="*/ 58865 w 2565845"/>
                  <a:gd name="connsiteY6" fmla="*/ 24479 h 128873"/>
                  <a:gd name="connsiteX7" fmla="*/ 58865 w 2565845"/>
                  <a:gd name="connsiteY7" fmla="*/ 30575 h 128873"/>
                  <a:gd name="connsiteX8" fmla="*/ 288131 w 2565845"/>
                  <a:gd name="connsiteY8" fmla="*/ 30575 h 128873"/>
                  <a:gd name="connsiteX9" fmla="*/ 288131 w 2565845"/>
                  <a:gd name="connsiteY9" fmla="*/ 36767 h 128873"/>
                  <a:gd name="connsiteX10" fmla="*/ 401669 w 2565845"/>
                  <a:gd name="connsiteY10" fmla="*/ 36767 h 128873"/>
                  <a:gd name="connsiteX11" fmla="*/ 401669 w 2565845"/>
                  <a:gd name="connsiteY11" fmla="*/ 42958 h 128873"/>
                  <a:gd name="connsiteX12" fmla="*/ 670846 w 2565845"/>
                  <a:gd name="connsiteY12" fmla="*/ 42958 h 128873"/>
                  <a:gd name="connsiteX13" fmla="*/ 670846 w 2565845"/>
                  <a:gd name="connsiteY13" fmla="*/ 49244 h 128873"/>
                  <a:gd name="connsiteX14" fmla="*/ 744474 w 2565845"/>
                  <a:gd name="connsiteY14" fmla="*/ 49244 h 128873"/>
                  <a:gd name="connsiteX15" fmla="*/ 744474 w 2565845"/>
                  <a:gd name="connsiteY15" fmla="*/ 55531 h 128873"/>
                  <a:gd name="connsiteX16" fmla="*/ 824389 w 2565845"/>
                  <a:gd name="connsiteY16" fmla="*/ 55531 h 128873"/>
                  <a:gd name="connsiteX17" fmla="*/ 824389 w 2565845"/>
                  <a:gd name="connsiteY17" fmla="*/ 61817 h 128873"/>
                  <a:gd name="connsiteX18" fmla="*/ 986314 w 2565845"/>
                  <a:gd name="connsiteY18" fmla="*/ 61817 h 128873"/>
                  <a:gd name="connsiteX19" fmla="*/ 986314 w 2565845"/>
                  <a:gd name="connsiteY19" fmla="*/ 68294 h 128873"/>
                  <a:gd name="connsiteX20" fmla="*/ 1003173 w 2565845"/>
                  <a:gd name="connsiteY20" fmla="*/ 68294 h 128873"/>
                  <a:gd name="connsiteX21" fmla="*/ 1003173 w 2565845"/>
                  <a:gd name="connsiteY21" fmla="*/ 74676 h 128873"/>
                  <a:gd name="connsiteX22" fmla="*/ 1120997 w 2565845"/>
                  <a:gd name="connsiteY22" fmla="*/ 74676 h 128873"/>
                  <a:gd name="connsiteX23" fmla="*/ 1120997 w 2565845"/>
                  <a:gd name="connsiteY23" fmla="*/ 81153 h 128873"/>
                  <a:gd name="connsiteX24" fmla="*/ 1213485 w 2565845"/>
                  <a:gd name="connsiteY24" fmla="*/ 81153 h 128873"/>
                  <a:gd name="connsiteX25" fmla="*/ 1213485 w 2565845"/>
                  <a:gd name="connsiteY25" fmla="*/ 87535 h 128873"/>
                  <a:gd name="connsiteX26" fmla="*/ 1232440 w 2565845"/>
                  <a:gd name="connsiteY26" fmla="*/ 87535 h 128873"/>
                  <a:gd name="connsiteX27" fmla="*/ 1232440 w 2565845"/>
                  <a:gd name="connsiteY27" fmla="*/ 94012 h 128873"/>
                  <a:gd name="connsiteX28" fmla="*/ 2086261 w 2565845"/>
                  <a:gd name="connsiteY28" fmla="*/ 94012 h 128873"/>
                  <a:gd name="connsiteX29" fmla="*/ 2086261 w 2565845"/>
                  <a:gd name="connsiteY29" fmla="*/ 128873 h 128873"/>
                  <a:gd name="connsiteX30" fmla="*/ 2565845 w 2565845"/>
                  <a:gd name="connsiteY30" fmla="*/ 128873 h 128873"/>
                  <a:gd name="connsiteX0" fmla="*/ 0 w 2559558"/>
                  <a:gd name="connsiteY0" fmla="*/ 0 h 116681"/>
                  <a:gd name="connsiteX1" fmla="*/ 14668 w 2559558"/>
                  <a:gd name="connsiteY1" fmla="*/ 0 h 116681"/>
                  <a:gd name="connsiteX2" fmla="*/ 14668 w 2559558"/>
                  <a:gd name="connsiteY2" fmla="*/ 6096 h 116681"/>
                  <a:gd name="connsiteX3" fmla="*/ 27336 w 2559558"/>
                  <a:gd name="connsiteY3" fmla="*/ 6096 h 116681"/>
                  <a:gd name="connsiteX4" fmla="*/ 27336 w 2559558"/>
                  <a:gd name="connsiteY4" fmla="*/ 12287 h 116681"/>
                  <a:gd name="connsiteX5" fmla="*/ 52578 w 2559558"/>
                  <a:gd name="connsiteY5" fmla="*/ 12287 h 116681"/>
                  <a:gd name="connsiteX6" fmla="*/ 52578 w 2559558"/>
                  <a:gd name="connsiteY6" fmla="*/ 18383 h 116681"/>
                  <a:gd name="connsiteX7" fmla="*/ 281844 w 2559558"/>
                  <a:gd name="connsiteY7" fmla="*/ 18383 h 116681"/>
                  <a:gd name="connsiteX8" fmla="*/ 281844 w 2559558"/>
                  <a:gd name="connsiteY8" fmla="*/ 24575 h 116681"/>
                  <a:gd name="connsiteX9" fmla="*/ 395382 w 2559558"/>
                  <a:gd name="connsiteY9" fmla="*/ 24575 h 116681"/>
                  <a:gd name="connsiteX10" fmla="*/ 395382 w 2559558"/>
                  <a:gd name="connsiteY10" fmla="*/ 30766 h 116681"/>
                  <a:gd name="connsiteX11" fmla="*/ 664559 w 2559558"/>
                  <a:gd name="connsiteY11" fmla="*/ 30766 h 116681"/>
                  <a:gd name="connsiteX12" fmla="*/ 664559 w 2559558"/>
                  <a:gd name="connsiteY12" fmla="*/ 37052 h 116681"/>
                  <a:gd name="connsiteX13" fmla="*/ 738187 w 2559558"/>
                  <a:gd name="connsiteY13" fmla="*/ 37052 h 116681"/>
                  <a:gd name="connsiteX14" fmla="*/ 738187 w 2559558"/>
                  <a:gd name="connsiteY14" fmla="*/ 43339 h 116681"/>
                  <a:gd name="connsiteX15" fmla="*/ 818102 w 2559558"/>
                  <a:gd name="connsiteY15" fmla="*/ 43339 h 116681"/>
                  <a:gd name="connsiteX16" fmla="*/ 818102 w 2559558"/>
                  <a:gd name="connsiteY16" fmla="*/ 49625 h 116681"/>
                  <a:gd name="connsiteX17" fmla="*/ 980027 w 2559558"/>
                  <a:gd name="connsiteY17" fmla="*/ 49625 h 116681"/>
                  <a:gd name="connsiteX18" fmla="*/ 980027 w 2559558"/>
                  <a:gd name="connsiteY18" fmla="*/ 56102 h 116681"/>
                  <a:gd name="connsiteX19" fmla="*/ 996886 w 2559558"/>
                  <a:gd name="connsiteY19" fmla="*/ 56102 h 116681"/>
                  <a:gd name="connsiteX20" fmla="*/ 996886 w 2559558"/>
                  <a:gd name="connsiteY20" fmla="*/ 62484 h 116681"/>
                  <a:gd name="connsiteX21" fmla="*/ 1114710 w 2559558"/>
                  <a:gd name="connsiteY21" fmla="*/ 62484 h 116681"/>
                  <a:gd name="connsiteX22" fmla="*/ 1114710 w 2559558"/>
                  <a:gd name="connsiteY22" fmla="*/ 68961 h 116681"/>
                  <a:gd name="connsiteX23" fmla="*/ 1207198 w 2559558"/>
                  <a:gd name="connsiteY23" fmla="*/ 68961 h 116681"/>
                  <a:gd name="connsiteX24" fmla="*/ 1207198 w 2559558"/>
                  <a:gd name="connsiteY24" fmla="*/ 75343 h 116681"/>
                  <a:gd name="connsiteX25" fmla="*/ 1226153 w 2559558"/>
                  <a:gd name="connsiteY25" fmla="*/ 75343 h 116681"/>
                  <a:gd name="connsiteX26" fmla="*/ 1226153 w 2559558"/>
                  <a:gd name="connsiteY26" fmla="*/ 81820 h 116681"/>
                  <a:gd name="connsiteX27" fmla="*/ 2079974 w 2559558"/>
                  <a:gd name="connsiteY27" fmla="*/ 81820 h 116681"/>
                  <a:gd name="connsiteX28" fmla="*/ 2079974 w 2559558"/>
                  <a:gd name="connsiteY28" fmla="*/ 116681 h 116681"/>
                  <a:gd name="connsiteX29" fmla="*/ 2559558 w 2559558"/>
                  <a:gd name="connsiteY29" fmla="*/ 116681 h 116681"/>
                  <a:gd name="connsiteX0" fmla="*/ 0 w 2544890"/>
                  <a:gd name="connsiteY0" fmla="*/ 0 h 116681"/>
                  <a:gd name="connsiteX1" fmla="*/ 0 w 2544890"/>
                  <a:gd name="connsiteY1" fmla="*/ 6096 h 116681"/>
                  <a:gd name="connsiteX2" fmla="*/ 12668 w 2544890"/>
                  <a:gd name="connsiteY2" fmla="*/ 6096 h 116681"/>
                  <a:gd name="connsiteX3" fmla="*/ 12668 w 2544890"/>
                  <a:gd name="connsiteY3" fmla="*/ 12287 h 116681"/>
                  <a:gd name="connsiteX4" fmla="*/ 37910 w 2544890"/>
                  <a:gd name="connsiteY4" fmla="*/ 12287 h 116681"/>
                  <a:gd name="connsiteX5" fmla="*/ 37910 w 2544890"/>
                  <a:gd name="connsiteY5" fmla="*/ 18383 h 116681"/>
                  <a:gd name="connsiteX6" fmla="*/ 267176 w 2544890"/>
                  <a:gd name="connsiteY6" fmla="*/ 18383 h 116681"/>
                  <a:gd name="connsiteX7" fmla="*/ 267176 w 2544890"/>
                  <a:gd name="connsiteY7" fmla="*/ 24575 h 116681"/>
                  <a:gd name="connsiteX8" fmla="*/ 380714 w 2544890"/>
                  <a:gd name="connsiteY8" fmla="*/ 24575 h 116681"/>
                  <a:gd name="connsiteX9" fmla="*/ 380714 w 2544890"/>
                  <a:gd name="connsiteY9" fmla="*/ 30766 h 116681"/>
                  <a:gd name="connsiteX10" fmla="*/ 649891 w 2544890"/>
                  <a:gd name="connsiteY10" fmla="*/ 30766 h 116681"/>
                  <a:gd name="connsiteX11" fmla="*/ 649891 w 2544890"/>
                  <a:gd name="connsiteY11" fmla="*/ 37052 h 116681"/>
                  <a:gd name="connsiteX12" fmla="*/ 723519 w 2544890"/>
                  <a:gd name="connsiteY12" fmla="*/ 37052 h 116681"/>
                  <a:gd name="connsiteX13" fmla="*/ 723519 w 2544890"/>
                  <a:gd name="connsiteY13" fmla="*/ 43339 h 116681"/>
                  <a:gd name="connsiteX14" fmla="*/ 803434 w 2544890"/>
                  <a:gd name="connsiteY14" fmla="*/ 43339 h 116681"/>
                  <a:gd name="connsiteX15" fmla="*/ 803434 w 2544890"/>
                  <a:gd name="connsiteY15" fmla="*/ 49625 h 116681"/>
                  <a:gd name="connsiteX16" fmla="*/ 965359 w 2544890"/>
                  <a:gd name="connsiteY16" fmla="*/ 49625 h 116681"/>
                  <a:gd name="connsiteX17" fmla="*/ 965359 w 2544890"/>
                  <a:gd name="connsiteY17" fmla="*/ 56102 h 116681"/>
                  <a:gd name="connsiteX18" fmla="*/ 982218 w 2544890"/>
                  <a:gd name="connsiteY18" fmla="*/ 56102 h 116681"/>
                  <a:gd name="connsiteX19" fmla="*/ 982218 w 2544890"/>
                  <a:gd name="connsiteY19" fmla="*/ 62484 h 116681"/>
                  <a:gd name="connsiteX20" fmla="*/ 1100042 w 2544890"/>
                  <a:gd name="connsiteY20" fmla="*/ 62484 h 116681"/>
                  <a:gd name="connsiteX21" fmla="*/ 1100042 w 2544890"/>
                  <a:gd name="connsiteY21" fmla="*/ 68961 h 116681"/>
                  <a:gd name="connsiteX22" fmla="*/ 1192530 w 2544890"/>
                  <a:gd name="connsiteY22" fmla="*/ 68961 h 116681"/>
                  <a:gd name="connsiteX23" fmla="*/ 1192530 w 2544890"/>
                  <a:gd name="connsiteY23" fmla="*/ 75343 h 116681"/>
                  <a:gd name="connsiteX24" fmla="*/ 1211485 w 2544890"/>
                  <a:gd name="connsiteY24" fmla="*/ 75343 h 116681"/>
                  <a:gd name="connsiteX25" fmla="*/ 1211485 w 2544890"/>
                  <a:gd name="connsiteY25" fmla="*/ 81820 h 116681"/>
                  <a:gd name="connsiteX26" fmla="*/ 2065306 w 2544890"/>
                  <a:gd name="connsiteY26" fmla="*/ 81820 h 116681"/>
                  <a:gd name="connsiteX27" fmla="*/ 2065306 w 2544890"/>
                  <a:gd name="connsiteY27" fmla="*/ 116681 h 116681"/>
                  <a:gd name="connsiteX28" fmla="*/ 2544890 w 2544890"/>
                  <a:gd name="connsiteY28" fmla="*/ 116681 h 116681"/>
                  <a:gd name="connsiteX0" fmla="*/ 0 w 2544890"/>
                  <a:gd name="connsiteY0" fmla="*/ 0 h 110585"/>
                  <a:gd name="connsiteX1" fmla="*/ 12668 w 2544890"/>
                  <a:gd name="connsiteY1" fmla="*/ 0 h 110585"/>
                  <a:gd name="connsiteX2" fmla="*/ 12668 w 2544890"/>
                  <a:gd name="connsiteY2" fmla="*/ 6191 h 110585"/>
                  <a:gd name="connsiteX3" fmla="*/ 37910 w 2544890"/>
                  <a:gd name="connsiteY3" fmla="*/ 6191 h 110585"/>
                  <a:gd name="connsiteX4" fmla="*/ 37910 w 2544890"/>
                  <a:gd name="connsiteY4" fmla="*/ 12287 h 110585"/>
                  <a:gd name="connsiteX5" fmla="*/ 267176 w 2544890"/>
                  <a:gd name="connsiteY5" fmla="*/ 12287 h 110585"/>
                  <a:gd name="connsiteX6" fmla="*/ 267176 w 2544890"/>
                  <a:gd name="connsiteY6" fmla="*/ 18479 h 110585"/>
                  <a:gd name="connsiteX7" fmla="*/ 380714 w 2544890"/>
                  <a:gd name="connsiteY7" fmla="*/ 18479 h 110585"/>
                  <a:gd name="connsiteX8" fmla="*/ 380714 w 2544890"/>
                  <a:gd name="connsiteY8" fmla="*/ 24670 h 110585"/>
                  <a:gd name="connsiteX9" fmla="*/ 649891 w 2544890"/>
                  <a:gd name="connsiteY9" fmla="*/ 24670 h 110585"/>
                  <a:gd name="connsiteX10" fmla="*/ 649891 w 2544890"/>
                  <a:gd name="connsiteY10" fmla="*/ 30956 h 110585"/>
                  <a:gd name="connsiteX11" fmla="*/ 723519 w 2544890"/>
                  <a:gd name="connsiteY11" fmla="*/ 30956 h 110585"/>
                  <a:gd name="connsiteX12" fmla="*/ 723519 w 2544890"/>
                  <a:gd name="connsiteY12" fmla="*/ 37243 h 110585"/>
                  <a:gd name="connsiteX13" fmla="*/ 803434 w 2544890"/>
                  <a:gd name="connsiteY13" fmla="*/ 37243 h 110585"/>
                  <a:gd name="connsiteX14" fmla="*/ 803434 w 2544890"/>
                  <a:gd name="connsiteY14" fmla="*/ 43529 h 110585"/>
                  <a:gd name="connsiteX15" fmla="*/ 965359 w 2544890"/>
                  <a:gd name="connsiteY15" fmla="*/ 43529 h 110585"/>
                  <a:gd name="connsiteX16" fmla="*/ 965359 w 2544890"/>
                  <a:gd name="connsiteY16" fmla="*/ 50006 h 110585"/>
                  <a:gd name="connsiteX17" fmla="*/ 982218 w 2544890"/>
                  <a:gd name="connsiteY17" fmla="*/ 50006 h 110585"/>
                  <a:gd name="connsiteX18" fmla="*/ 982218 w 2544890"/>
                  <a:gd name="connsiteY18" fmla="*/ 56388 h 110585"/>
                  <a:gd name="connsiteX19" fmla="*/ 1100042 w 2544890"/>
                  <a:gd name="connsiteY19" fmla="*/ 56388 h 110585"/>
                  <a:gd name="connsiteX20" fmla="*/ 1100042 w 2544890"/>
                  <a:gd name="connsiteY20" fmla="*/ 62865 h 110585"/>
                  <a:gd name="connsiteX21" fmla="*/ 1192530 w 2544890"/>
                  <a:gd name="connsiteY21" fmla="*/ 62865 h 110585"/>
                  <a:gd name="connsiteX22" fmla="*/ 1192530 w 2544890"/>
                  <a:gd name="connsiteY22" fmla="*/ 69247 h 110585"/>
                  <a:gd name="connsiteX23" fmla="*/ 1211485 w 2544890"/>
                  <a:gd name="connsiteY23" fmla="*/ 69247 h 110585"/>
                  <a:gd name="connsiteX24" fmla="*/ 1211485 w 2544890"/>
                  <a:gd name="connsiteY24" fmla="*/ 75724 h 110585"/>
                  <a:gd name="connsiteX25" fmla="*/ 2065306 w 2544890"/>
                  <a:gd name="connsiteY25" fmla="*/ 75724 h 110585"/>
                  <a:gd name="connsiteX26" fmla="*/ 2065306 w 2544890"/>
                  <a:gd name="connsiteY26" fmla="*/ 110585 h 110585"/>
                  <a:gd name="connsiteX27" fmla="*/ 2544890 w 2544890"/>
                  <a:gd name="connsiteY27" fmla="*/ 110585 h 110585"/>
                  <a:gd name="connsiteX0" fmla="*/ 0 w 2532222"/>
                  <a:gd name="connsiteY0" fmla="*/ 0 h 110585"/>
                  <a:gd name="connsiteX1" fmla="*/ 0 w 2532222"/>
                  <a:gd name="connsiteY1" fmla="*/ 6191 h 110585"/>
                  <a:gd name="connsiteX2" fmla="*/ 25242 w 2532222"/>
                  <a:gd name="connsiteY2" fmla="*/ 6191 h 110585"/>
                  <a:gd name="connsiteX3" fmla="*/ 25242 w 2532222"/>
                  <a:gd name="connsiteY3" fmla="*/ 12287 h 110585"/>
                  <a:gd name="connsiteX4" fmla="*/ 254508 w 2532222"/>
                  <a:gd name="connsiteY4" fmla="*/ 12287 h 110585"/>
                  <a:gd name="connsiteX5" fmla="*/ 254508 w 2532222"/>
                  <a:gd name="connsiteY5" fmla="*/ 18479 h 110585"/>
                  <a:gd name="connsiteX6" fmla="*/ 368046 w 2532222"/>
                  <a:gd name="connsiteY6" fmla="*/ 18479 h 110585"/>
                  <a:gd name="connsiteX7" fmla="*/ 368046 w 2532222"/>
                  <a:gd name="connsiteY7" fmla="*/ 24670 h 110585"/>
                  <a:gd name="connsiteX8" fmla="*/ 637223 w 2532222"/>
                  <a:gd name="connsiteY8" fmla="*/ 24670 h 110585"/>
                  <a:gd name="connsiteX9" fmla="*/ 637223 w 2532222"/>
                  <a:gd name="connsiteY9" fmla="*/ 30956 h 110585"/>
                  <a:gd name="connsiteX10" fmla="*/ 710851 w 2532222"/>
                  <a:gd name="connsiteY10" fmla="*/ 30956 h 110585"/>
                  <a:gd name="connsiteX11" fmla="*/ 710851 w 2532222"/>
                  <a:gd name="connsiteY11" fmla="*/ 37243 h 110585"/>
                  <a:gd name="connsiteX12" fmla="*/ 790766 w 2532222"/>
                  <a:gd name="connsiteY12" fmla="*/ 37243 h 110585"/>
                  <a:gd name="connsiteX13" fmla="*/ 790766 w 2532222"/>
                  <a:gd name="connsiteY13" fmla="*/ 43529 h 110585"/>
                  <a:gd name="connsiteX14" fmla="*/ 952691 w 2532222"/>
                  <a:gd name="connsiteY14" fmla="*/ 43529 h 110585"/>
                  <a:gd name="connsiteX15" fmla="*/ 952691 w 2532222"/>
                  <a:gd name="connsiteY15" fmla="*/ 50006 h 110585"/>
                  <a:gd name="connsiteX16" fmla="*/ 969550 w 2532222"/>
                  <a:gd name="connsiteY16" fmla="*/ 50006 h 110585"/>
                  <a:gd name="connsiteX17" fmla="*/ 969550 w 2532222"/>
                  <a:gd name="connsiteY17" fmla="*/ 56388 h 110585"/>
                  <a:gd name="connsiteX18" fmla="*/ 1087374 w 2532222"/>
                  <a:gd name="connsiteY18" fmla="*/ 56388 h 110585"/>
                  <a:gd name="connsiteX19" fmla="*/ 1087374 w 2532222"/>
                  <a:gd name="connsiteY19" fmla="*/ 62865 h 110585"/>
                  <a:gd name="connsiteX20" fmla="*/ 1179862 w 2532222"/>
                  <a:gd name="connsiteY20" fmla="*/ 62865 h 110585"/>
                  <a:gd name="connsiteX21" fmla="*/ 1179862 w 2532222"/>
                  <a:gd name="connsiteY21" fmla="*/ 69247 h 110585"/>
                  <a:gd name="connsiteX22" fmla="*/ 1198817 w 2532222"/>
                  <a:gd name="connsiteY22" fmla="*/ 69247 h 110585"/>
                  <a:gd name="connsiteX23" fmla="*/ 1198817 w 2532222"/>
                  <a:gd name="connsiteY23" fmla="*/ 75724 h 110585"/>
                  <a:gd name="connsiteX24" fmla="*/ 2052638 w 2532222"/>
                  <a:gd name="connsiteY24" fmla="*/ 75724 h 110585"/>
                  <a:gd name="connsiteX25" fmla="*/ 2052638 w 2532222"/>
                  <a:gd name="connsiteY25" fmla="*/ 110585 h 110585"/>
                  <a:gd name="connsiteX26" fmla="*/ 2532222 w 2532222"/>
                  <a:gd name="connsiteY26" fmla="*/ 110585 h 110585"/>
                  <a:gd name="connsiteX0" fmla="*/ 0 w 2532222"/>
                  <a:gd name="connsiteY0" fmla="*/ 0 h 110585"/>
                  <a:gd name="connsiteX1" fmla="*/ 25242 w 2532222"/>
                  <a:gd name="connsiteY1" fmla="*/ 6191 h 110585"/>
                  <a:gd name="connsiteX2" fmla="*/ 25242 w 2532222"/>
                  <a:gd name="connsiteY2" fmla="*/ 12287 h 110585"/>
                  <a:gd name="connsiteX3" fmla="*/ 254508 w 2532222"/>
                  <a:gd name="connsiteY3" fmla="*/ 12287 h 110585"/>
                  <a:gd name="connsiteX4" fmla="*/ 254508 w 2532222"/>
                  <a:gd name="connsiteY4" fmla="*/ 18479 h 110585"/>
                  <a:gd name="connsiteX5" fmla="*/ 368046 w 2532222"/>
                  <a:gd name="connsiteY5" fmla="*/ 18479 h 110585"/>
                  <a:gd name="connsiteX6" fmla="*/ 368046 w 2532222"/>
                  <a:gd name="connsiteY6" fmla="*/ 24670 h 110585"/>
                  <a:gd name="connsiteX7" fmla="*/ 637223 w 2532222"/>
                  <a:gd name="connsiteY7" fmla="*/ 24670 h 110585"/>
                  <a:gd name="connsiteX8" fmla="*/ 637223 w 2532222"/>
                  <a:gd name="connsiteY8" fmla="*/ 30956 h 110585"/>
                  <a:gd name="connsiteX9" fmla="*/ 710851 w 2532222"/>
                  <a:gd name="connsiteY9" fmla="*/ 30956 h 110585"/>
                  <a:gd name="connsiteX10" fmla="*/ 710851 w 2532222"/>
                  <a:gd name="connsiteY10" fmla="*/ 37243 h 110585"/>
                  <a:gd name="connsiteX11" fmla="*/ 790766 w 2532222"/>
                  <a:gd name="connsiteY11" fmla="*/ 37243 h 110585"/>
                  <a:gd name="connsiteX12" fmla="*/ 790766 w 2532222"/>
                  <a:gd name="connsiteY12" fmla="*/ 43529 h 110585"/>
                  <a:gd name="connsiteX13" fmla="*/ 952691 w 2532222"/>
                  <a:gd name="connsiteY13" fmla="*/ 43529 h 110585"/>
                  <a:gd name="connsiteX14" fmla="*/ 952691 w 2532222"/>
                  <a:gd name="connsiteY14" fmla="*/ 50006 h 110585"/>
                  <a:gd name="connsiteX15" fmla="*/ 969550 w 2532222"/>
                  <a:gd name="connsiteY15" fmla="*/ 50006 h 110585"/>
                  <a:gd name="connsiteX16" fmla="*/ 969550 w 2532222"/>
                  <a:gd name="connsiteY16" fmla="*/ 56388 h 110585"/>
                  <a:gd name="connsiteX17" fmla="*/ 1087374 w 2532222"/>
                  <a:gd name="connsiteY17" fmla="*/ 56388 h 110585"/>
                  <a:gd name="connsiteX18" fmla="*/ 1087374 w 2532222"/>
                  <a:gd name="connsiteY18" fmla="*/ 62865 h 110585"/>
                  <a:gd name="connsiteX19" fmla="*/ 1179862 w 2532222"/>
                  <a:gd name="connsiteY19" fmla="*/ 62865 h 110585"/>
                  <a:gd name="connsiteX20" fmla="*/ 1179862 w 2532222"/>
                  <a:gd name="connsiteY20" fmla="*/ 69247 h 110585"/>
                  <a:gd name="connsiteX21" fmla="*/ 1198817 w 2532222"/>
                  <a:gd name="connsiteY21" fmla="*/ 69247 h 110585"/>
                  <a:gd name="connsiteX22" fmla="*/ 1198817 w 2532222"/>
                  <a:gd name="connsiteY22" fmla="*/ 75724 h 110585"/>
                  <a:gd name="connsiteX23" fmla="*/ 2052638 w 2532222"/>
                  <a:gd name="connsiteY23" fmla="*/ 75724 h 110585"/>
                  <a:gd name="connsiteX24" fmla="*/ 2052638 w 2532222"/>
                  <a:gd name="connsiteY24" fmla="*/ 110585 h 110585"/>
                  <a:gd name="connsiteX25" fmla="*/ 2532222 w 2532222"/>
                  <a:gd name="connsiteY25" fmla="*/ 110585 h 110585"/>
                  <a:gd name="connsiteX0" fmla="*/ 0 w 2506980"/>
                  <a:gd name="connsiteY0" fmla="*/ 0 h 104394"/>
                  <a:gd name="connsiteX1" fmla="*/ 0 w 2506980"/>
                  <a:gd name="connsiteY1" fmla="*/ 6096 h 104394"/>
                  <a:gd name="connsiteX2" fmla="*/ 229266 w 2506980"/>
                  <a:gd name="connsiteY2" fmla="*/ 6096 h 104394"/>
                  <a:gd name="connsiteX3" fmla="*/ 229266 w 2506980"/>
                  <a:gd name="connsiteY3" fmla="*/ 12288 h 104394"/>
                  <a:gd name="connsiteX4" fmla="*/ 342804 w 2506980"/>
                  <a:gd name="connsiteY4" fmla="*/ 12288 h 104394"/>
                  <a:gd name="connsiteX5" fmla="*/ 342804 w 2506980"/>
                  <a:gd name="connsiteY5" fmla="*/ 18479 h 104394"/>
                  <a:gd name="connsiteX6" fmla="*/ 611981 w 2506980"/>
                  <a:gd name="connsiteY6" fmla="*/ 18479 h 104394"/>
                  <a:gd name="connsiteX7" fmla="*/ 611981 w 2506980"/>
                  <a:gd name="connsiteY7" fmla="*/ 24765 h 104394"/>
                  <a:gd name="connsiteX8" fmla="*/ 685609 w 2506980"/>
                  <a:gd name="connsiteY8" fmla="*/ 24765 h 104394"/>
                  <a:gd name="connsiteX9" fmla="*/ 685609 w 2506980"/>
                  <a:gd name="connsiteY9" fmla="*/ 31052 h 104394"/>
                  <a:gd name="connsiteX10" fmla="*/ 765524 w 2506980"/>
                  <a:gd name="connsiteY10" fmla="*/ 31052 h 104394"/>
                  <a:gd name="connsiteX11" fmla="*/ 765524 w 2506980"/>
                  <a:gd name="connsiteY11" fmla="*/ 37338 h 104394"/>
                  <a:gd name="connsiteX12" fmla="*/ 927449 w 2506980"/>
                  <a:gd name="connsiteY12" fmla="*/ 37338 h 104394"/>
                  <a:gd name="connsiteX13" fmla="*/ 927449 w 2506980"/>
                  <a:gd name="connsiteY13" fmla="*/ 43815 h 104394"/>
                  <a:gd name="connsiteX14" fmla="*/ 944308 w 2506980"/>
                  <a:gd name="connsiteY14" fmla="*/ 43815 h 104394"/>
                  <a:gd name="connsiteX15" fmla="*/ 944308 w 2506980"/>
                  <a:gd name="connsiteY15" fmla="*/ 50197 h 104394"/>
                  <a:gd name="connsiteX16" fmla="*/ 1062132 w 2506980"/>
                  <a:gd name="connsiteY16" fmla="*/ 50197 h 104394"/>
                  <a:gd name="connsiteX17" fmla="*/ 1062132 w 2506980"/>
                  <a:gd name="connsiteY17" fmla="*/ 56674 h 104394"/>
                  <a:gd name="connsiteX18" fmla="*/ 1154620 w 2506980"/>
                  <a:gd name="connsiteY18" fmla="*/ 56674 h 104394"/>
                  <a:gd name="connsiteX19" fmla="*/ 1154620 w 2506980"/>
                  <a:gd name="connsiteY19" fmla="*/ 63056 h 104394"/>
                  <a:gd name="connsiteX20" fmla="*/ 1173575 w 2506980"/>
                  <a:gd name="connsiteY20" fmla="*/ 63056 h 104394"/>
                  <a:gd name="connsiteX21" fmla="*/ 1173575 w 2506980"/>
                  <a:gd name="connsiteY21" fmla="*/ 69533 h 104394"/>
                  <a:gd name="connsiteX22" fmla="*/ 2027396 w 2506980"/>
                  <a:gd name="connsiteY22" fmla="*/ 69533 h 104394"/>
                  <a:gd name="connsiteX23" fmla="*/ 2027396 w 2506980"/>
                  <a:gd name="connsiteY23" fmla="*/ 104394 h 104394"/>
                  <a:gd name="connsiteX24" fmla="*/ 2506980 w 2506980"/>
                  <a:gd name="connsiteY24" fmla="*/ 104394 h 104394"/>
                  <a:gd name="connsiteX0" fmla="*/ 0 w 2506980"/>
                  <a:gd name="connsiteY0" fmla="*/ 0 h 104394"/>
                  <a:gd name="connsiteX1" fmla="*/ 229266 w 2506980"/>
                  <a:gd name="connsiteY1" fmla="*/ 6096 h 104394"/>
                  <a:gd name="connsiteX2" fmla="*/ 229266 w 2506980"/>
                  <a:gd name="connsiteY2" fmla="*/ 12288 h 104394"/>
                  <a:gd name="connsiteX3" fmla="*/ 342804 w 2506980"/>
                  <a:gd name="connsiteY3" fmla="*/ 12288 h 104394"/>
                  <a:gd name="connsiteX4" fmla="*/ 342804 w 2506980"/>
                  <a:gd name="connsiteY4" fmla="*/ 18479 h 104394"/>
                  <a:gd name="connsiteX5" fmla="*/ 611981 w 2506980"/>
                  <a:gd name="connsiteY5" fmla="*/ 18479 h 104394"/>
                  <a:gd name="connsiteX6" fmla="*/ 611981 w 2506980"/>
                  <a:gd name="connsiteY6" fmla="*/ 24765 h 104394"/>
                  <a:gd name="connsiteX7" fmla="*/ 685609 w 2506980"/>
                  <a:gd name="connsiteY7" fmla="*/ 24765 h 104394"/>
                  <a:gd name="connsiteX8" fmla="*/ 685609 w 2506980"/>
                  <a:gd name="connsiteY8" fmla="*/ 31052 h 104394"/>
                  <a:gd name="connsiteX9" fmla="*/ 765524 w 2506980"/>
                  <a:gd name="connsiteY9" fmla="*/ 31052 h 104394"/>
                  <a:gd name="connsiteX10" fmla="*/ 765524 w 2506980"/>
                  <a:gd name="connsiteY10" fmla="*/ 37338 h 104394"/>
                  <a:gd name="connsiteX11" fmla="*/ 927449 w 2506980"/>
                  <a:gd name="connsiteY11" fmla="*/ 37338 h 104394"/>
                  <a:gd name="connsiteX12" fmla="*/ 927449 w 2506980"/>
                  <a:gd name="connsiteY12" fmla="*/ 43815 h 104394"/>
                  <a:gd name="connsiteX13" fmla="*/ 944308 w 2506980"/>
                  <a:gd name="connsiteY13" fmla="*/ 43815 h 104394"/>
                  <a:gd name="connsiteX14" fmla="*/ 944308 w 2506980"/>
                  <a:gd name="connsiteY14" fmla="*/ 50197 h 104394"/>
                  <a:gd name="connsiteX15" fmla="*/ 1062132 w 2506980"/>
                  <a:gd name="connsiteY15" fmla="*/ 50197 h 104394"/>
                  <a:gd name="connsiteX16" fmla="*/ 1062132 w 2506980"/>
                  <a:gd name="connsiteY16" fmla="*/ 56674 h 104394"/>
                  <a:gd name="connsiteX17" fmla="*/ 1154620 w 2506980"/>
                  <a:gd name="connsiteY17" fmla="*/ 56674 h 104394"/>
                  <a:gd name="connsiteX18" fmla="*/ 1154620 w 2506980"/>
                  <a:gd name="connsiteY18" fmla="*/ 63056 h 104394"/>
                  <a:gd name="connsiteX19" fmla="*/ 1173575 w 2506980"/>
                  <a:gd name="connsiteY19" fmla="*/ 63056 h 104394"/>
                  <a:gd name="connsiteX20" fmla="*/ 1173575 w 2506980"/>
                  <a:gd name="connsiteY20" fmla="*/ 69533 h 104394"/>
                  <a:gd name="connsiteX21" fmla="*/ 2027396 w 2506980"/>
                  <a:gd name="connsiteY21" fmla="*/ 69533 h 104394"/>
                  <a:gd name="connsiteX22" fmla="*/ 2027396 w 2506980"/>
                  <a:gd name="connsiteY22" fmla="*/ 104394 h 104394"/>
                  <a:gd name="connsiteX23" fmla="*/ 2506980 w 2506980"/>
                  <a:gd name="connsiteY23" fmla="*/ 104394 h 104394"/>
                  <a:gd name="connsiteX0" fmla="*/ 0 w 2277714"/>
                  <a:gd name="connsiteY0" fmla="*/ 0 h 98298"/>
                  <a:gd name="connsiteX1" fmla="*/ 0 w 2277714"/>
                  <a:gd name="connsiteY1" fmla="*/ 6192 h 98298"/>
                  <a:gd name="connsiteX2" fmla="*/ 113538 w 2277714"/>
                  <a:gd name="connsiteY2" fmla="*/ 6192 h 98298"/>
                  <a:gd name="connsiteX3" fmla="*/ 113538 w 2277714"/>
                  <a:gd name="connsiteY3" fmla="*/ 12383 h 98298"/>
                  <a:gd name="connsiteX4" fmla="*/ 382715 w 2277714"/>
                  <a:gd name="connsiteY4" fmla="*/ 12383 h 98298"/>
                  <a:gd name="connsiteX5" fmla="*/ 382715 w 2277714"/>
                  <a:gd name="connsiteY5" fmla="*/ 18669 h 98298"/>
                  <a:gd name="connsiteX6" fmla="*/ 456343 w 2277714"/>
                  <a:gd name="connsiteY6" fmla="*/ 18669 h 98298"/>
                  <a:gd name="connsiteX7" fmla="*/ 456343 w 2277714"/>
                  <a:gd name="connsiteY7" fmla="*/ 24956 h 98298"/>
                  <a:gd name="connsiteX8" fmla="*/ 536258 w 2277714"/>
                  <a:gd name="connsiteY8" fmla="*/ 24956 h 98298"/>
                  <a:gd name="connsiteX9" fmla="*/ 536258 w 2277714"/>
                  <a:gd name="connsiteY9" fmla="*/ 31242 h 98298"/>
                  <a:gd name="connsiteX10" fmla="*/ 698183 w 2277714"/>
                  <a:gd name="connsiteY10" fmla="*/ 31242 h 98298"/>
                  <a:gd name="connsiteX11" fmla="*/ 698183 w 2277714"/>
                  <a:gd name="connsiteY11" fmla="*/ 37719 h 98298"/>
                  <a:gd name="connsiteX12" fmla="*/ 715042 w 2277714"/>
                  <a:gd name="connsiteY12" fmla="*/ 37719 h 98298"/>
                  <a:gd name="connsiteX13" fmla="*/ 715042 w 2277714"/>
                  <a:gd name="connsiteY13" fmla="*/ 44101 h 98298"/>
                  <a:gd name="connsiteX14" fmla="*/ 832866 w 2277714"/>
                  <a:gd name="connsiteY14" fmla="*/ 44101 h 98298"/>
                  <a:gd name="connsiteX15" fmla="*/ 832866 w 2277714"/>
                  <a:gd name="connsiteY15" fmla="*/ 50578 h 98298"/>
                  <a:gd name="connsiteX16" fmla="*/ 925354 w 2277714"/>
                  <a:gd name="connsiteY16" fmla="*/ 50578 h 98298"/>
                  <a:gd name="connsiteX17" fmla="*/ 925354 w 2277714"/>
                  <a:gd name="connsiteY17" fmla="*/ 56960 h 98298"/>
                  <a:gd name="connsiteX18" fmla="*/ 944309 w 2277714"/>
                  <a:gd name="connsiteY18" fmla="*/ 56960 h 98298"/>
                  <a:gd name="connsiteX19" fmla="*/ 944309 w 2277714"/>
                  <a:gd name="connsiteY19" fmla="*/ 63437 h 98298"/>
                  <a:gd name="connsiteX20" fmla="*/ 1798130 w 2277714"/>
                  <a:gd name="connsiteY20" fmla="*/ 63437 h 98298"/>
                  <a:gd name="connsiteX21" fmla="*/ 1798130 w 2277714"/>
                  <a:gd name="connsiteY21" fmla="*/ 98298 h 98298"/>
                  <a:gd name="connsiteX22" fmla="*/ 2277714 w 2277714"/>
                  <a:gd name="connsiteY22" fmla="*/ 98298 h 98298"/>
                  <a:gd name="connsiteX0" fmla="*/ 0 w 2277714"/>
                  <a:gd name="connsiteY0" fmla="*/ 0 h 98298"/>
                  <a:gd name="connsiteX1" fmla="*/ 113538 w 2277714"/>
                  <a:gd name="connsiteY1" fmla="*/ 6192 h 98298"/>
                  <a:gd name="connsiteX2" fmla="*/ 113538 w 2277714"/>
                  <a:gd name="connsiteY2" fmla="*/ 12383 h 98298"/>
                  <a:gd name="connsiteX3" fmla="*/ 382715 w 2277714"/>
                  <a:gd name="connsiteY3" fmla="*/ 12383 h 98298"/>
                  <a:gd name="connsiteX4" fmla="*/ 382715 w 2277714"/>
                  <a:gd name="connsiteY4" fmla="*/ 18669 h 98298"/>
                  <a:gd name="connsiteX5" fmla="*/ 456343 w 2277714"/>
                  <a:gd name="connsiteY5" fmla="*/ 18669 h 98298"/>
                  <a:gd name="connsiteX6" fmla="*/ 456343 w 2277714"/>
                  <a:gd name="connsiteY6" fmla="*/ 24956 h 98298"/>
                  <a:gd name="connsiteX7" fmla="*/ 536258 w 2277714"/>
                  <a:gd name="connsiteY7" fmla="*/ 24956 h 98298"/>
                  <a:gd name="connsiteX8" fmla="*/ 536258 w 2277714"/>
                  <a:gd name="connsiteY8" fmla="*/ 31242 h 98298"/>
                  <a:gd name="connsiteX9" fmla="*/ 698183 w 2277714"/>
                  <a:gd name="connsiteY9" fmla="*/ 31242 h 98298"/>
                  <a:gd name="connsiteX10" fmla="*/ 698183 w 2277714"/>
                  <a:gd name="connsiteY10" fmla="*/ 37719 h 98298"/>
                  <a:gd name="connsiteX11" fmla="*/ 715042 w 2277714"/>
                  <a:gd name="connsiteY11" fmla="*/ 37719 h 98298"/>
                  <a:gd name="connsiteX12" fmla="*/ 715042 w 2277714"/>
                  <a:gd name="connsiteY12" fmla="*/ 44101 h 98298"/>
                  <a:gd name="connsiteX13" fmla="*/ 832866 w 2277714"/>
                  <a:gd name="connsiteY13" fmla="*/ 44101 h 98298"/>
                  <a:gd name="connsiteX14" fmla="*/ 832866 w 2277714"/>
                  <a:gd name="connsiteY14" fmla="*/ 50578 h 98298"/>
                  <a:gd name="connsiteX15" fmla="*/ 925354 w 2277714"/>
                  <a:gd name="connsiteY15" fmla="*/ 50578 h 98298"/>
                  <a:gd name="connsiteX16" fmla="*/ 925354 w 2277714"/>
                  <a:gd name="connsiteY16" fmla="*/ 56960 h 98298"/>
                  <a:gd name="connsiteX17" fmla="*/ 944309 w 2277714"/>
                  <a:gd name="connsiteY17" fmla="*/ 56960 h 98298"/>
                  <a:gd name="connsiteX18" fmla="*/ 944309 w 2277714"/>
                  <a:gd name="connsiteY18" fmla="*/ 63437 h 98298"/>
                  <a:gd name="connsiteX19" fmla="*/ 1798130 w 2277714"/>
                  <a:gd name="connsiteY19" fmla="*/ 63437 h 98298"/>
                  <a:gd name="connsiteX20" fmla="*/ 1798130 w 2277714"/>
                  <a:gd name="connsiteY20" fmla="*/ 98298 h 98298"/>
                  <a:gd name="connsiteX21" fmla="*/ 2277714 w 2277714"/>
                  <a:gd name="connsiteY21" fmla="*/ 98298 h 98298"/>
                  <a:gd name="connsiteX0" fmla="*/ 0 w 2164176"/>
                  <a:gd name="connsiteY0" fmla="*/ 0 h 92106"/>
                  <a:gd name="connsiteX1" fmla="*/ 0 w 2164176"/>
                  <a:gd name="connsiteY1" fmla="*/ 6191 h 92106"/>
                  <a:gd name="connsiteX2" fmla="*/ 269177 w 2164176"/>
                  <a:gd name="connsiteY2" fmla="*/ 6191 h 92106"/>
                  <a:gd name="connsiteX3" fmla="*/ 269177 w 2164176"/>
                  <a:gd name="connsiteY3" fmla="*/ 12477 h 92106"/>
                  <a:gd name="connsiteX4" fmla="*/ 342805 w 2164176"/>
                  <a:gd name="connsiteY4" fmla="*/ 12477 h 92106"/>
                  <a:gd name="connsiteX5" fmla="*/ 342805 w 2164176"/>
                  <a:gd name="connsiteY5" fmla="*/ 18764 h 92106"/>
                  <a:gd name="connsiteX6" fmla="*/ 422720 w 2164176"/>
                  <a:gd name="connsiteY6" fmla="*/ 18764 h 92106"/>
                  <a:gd name="connsiteX7" fmla="*/ 422720 w 2164176"/>
                  <a:gd name="connsiteY7" fmla="*/ 25050 h 92106"/>
                  <a:gd name="connsiteX8" fmla="*/ 584645 w 2164176"/>
                  <a:gd name="connsiteY8" fmla="*/ 25050 h 92106"/>
                  <a:gd name="connsiteX9" fmla="*/ 584645 w 2164176"/>
                  <a:gd name="connsiteY9" fmla="*/ 31527 h 92106"/>
                  <a:gd name="connsiteX10" fmla="*/ 601504 w 2164176"/>
                  <a:gd name="connsiteY10" fmla="*/ 31527 h 92106"/>
                  <a:gd name="connsiteX11" fmla="*/ 601504 w 2164176"/>
                  <a:gd name="connsiteY11" fmla="*/ 37909 h 92106"/>
                  <a:gd name="connsiteX12" fmla="*/ 719328 w 2164176"/>
                  <a:gd name="connsiteY12" fmla="*/ 37909 h 92106"/>
                  <a:gd name="connsiteX13" fmla="*/ 719328 w 2164176"/>
                  <a:gd name="connsiteY13" fmla="*/ 44386 h 92106"/>
                  <a:gd name="connsiteX14" fmla="*/ 811816 w 2164176"/>
                  <a:gd name="connsiteY14" fmla="*/ 44386 h 92106"/>
                  <a:gd name="connsiteX15" fmla="*/ 811816 w 2164176"/>
                  <a:gd name="connsiteY15" fmla="*/ 50768 h 92106"/>
                  <a:gd name="connsiteX16" fmla="*/ 830771 w 2164176"/>
                  <a:gd name="connsiteY16" fmla="*/ 50768 h 92106"/>
                  <a:gd name="connsiteX17" fmla="*/ 830771 w 2164176"/>
                  <a:gd name="connsiteY17" fmla="*/ 57245 h 92106"/>
                  <a:gd name="connsiteX18" fmla="*/ 1684592 w 2164176"/>
                  <a:gd name="connsiteY18" fmla="*/ 57245 h 92106"/>
                  <a:gd name="connsiteX19" fmla="*/ 1684592 w 2164176"/>
                  <a:gd name="connsiteY19" fmla="*/ 92106 h 92106"/>
                  <a:gd name="connsiteX20" fmla="*/ 2164176 w 2164176"/>
                  <a:gd name="connsiteY20" fmla="*/ 92106 h 92106"/>
                  <a:gd name="connsiteX0" fmla="*/ 0 w 2164176"/>
                  <a:gd name="connsiteY0" fmla="*/ 0 h 92106"/>
                  <a:gd name="connsiteX1" fmla="*/ 269177 w 2164176"/>
                  <a:gd name="connsiteY1" fmla="*/ 6191 h 92106"/>
                  <a:gd name="connsiteX2" fmla="*/ 269177 w 2164176"/>
                  <a:gd name="connsiteY2" fmla="*/ 12477 h 92106"/>
                  <a:gd name="connsiteX3" fmla="*/ 342805 w 2164176"/>
                  <a:gd name="connsiteY3" fmla="*/ 12477 h 92106"/>
                  <a:gd name="connsiteX4" fmla="*/ 342805 w 2164176"/>
                  <a:gd name="connsiteY4" fmla="*/ 18764 h 92106"/>
                  <a:gd name="connsiteX5" fmla="*/ 422720 w 2164176"/>
                  <a:gd name="connsiteY5" fmla="*/ 18764 h 92106"/>
                  <a:gd name="connsiteX6" fmla="*/ 422720 w 2164176"/>
                  <a:gd name="connsiteY6" fmla="*/ 25050 h 92106"/>
                  <a:gd name="connsiteX7" fmla="*/ 584645 w 2164176"/>
                  <a:gd name="connsiteY7" fmla="*/ 25050 h 92106"/>
                  <a:gd name="connsiteX8" fmla="*/ 584645 w 2164176"/>
                  <a:gd name="connsiteY8" fmla="*/ 31527 h 92106"/>
                  <a:gd name="connsiteX9" fmla="*/ 601504 w 2164176"/>
                  <a:gd name="connsiteY9" fmla="*/ 31527 h 92106"/>
                  <a:gd name="connsiteX10" fmla="*/ 601504 w 2164176"/>
                  <a:gd name="connsiteY10" fmla="*/ 37909 h 92106"/>
                  <a:gd name="connsiteX11" fmla="*/ 719328 w 2164176"/>
                  <a:gd name="connsiteY11" fmla="*/ 37909 h 92106"/>
                  <a:gd name="connsiteX12" fmla="*/ 719328 w 2164176"/>
                  <a:gd name="connsiteY12" fmla="*/ 44386 h 92106"/>
                  <a:gd name="connsiteX13" fmla="*/ 811816 w 2164176"/>
                  <a:gd name="connsiteY13" fmla="*/ 44386 h 92106"/>
                  <a:gd name="connsiteX14" fmla="*/ 811816 w 2164176"/>
                  <a:gd name="connsiteY14" fmla="*/ 50768 h 92106"/>
                  <a:gd name="connsiteX15" fmla="*/ 830771 w 2164176"/>
                  <a:gd name="connsiteY15" fmla="*/ 50768 h 92106"/>
                  <a:gd name="connsiteX16" fmla="*/ 830771 w 2164176"/>
                  <a:gd name="connsiteY16" fmla="*/ 57245 h 92106"/>
                  <a:gd name="connsiteX17" fmla="*/ 1684592 w 2164176"/>
                  <a:gd name="connsiteY17" fmla="*/ 57245 h 92106"/>
                  <a:gd name="connsiteX18" fmla="*/ 1684592 w 2164176"/>
                  <a:gd name="connsiteY18" fmla="*/ 92106 h 92106"/>
                  <a:gd name="connsiteX19" fmla="*/ 2164176 w 2164176"/>
                  <a:gd name="connsiteY19" fmla="*/ 92106 h 92106"/>
                  <a:gd name="connsiteX0" fmla="*/ 0 w 1894999"/>
                  <a:gd name="connsiteY0" fmla="*/ 0 h 85915"/>
                  <a:gd name="connsiteX1" fmla="*/ 0 w 1894999"/>
                  <a:gd name="connsiteY1" fmla="*/ 6286 h 85915"/>
                  <a:gd name="connsiteX2" fmla="*/ 73628 w 1894999"/>
                  <a:gd name="connsiteY2" fmla="*/ 6286 h 85915"/>
                  <a:gd name="connsiteX3" fmla="*/ 73628 w 1894999"/>
                  <a:gd name="connsiteY3" fmla="*/ 12573 h 85915"/>
                  <a:gd name="connsiteX4" fmla="*/ 153543 w 1894999"/>
                  <a:gd name="connsiteY4" fmla="*/ 12573 h 85915"/>
                  <a:gd name="connsiteX5" fmla="*/ 153543 w 1894999"/>
                  <a:gd name="connsiteY5" fmla="*/ 18859 h 85915"/>
                  <a:gd name="connsiteX6" fmla="*/ 315468 w 1894999"/>
                  <a:gd name="connsiteY6" fmla="*/ 18859 h 85915"/>
                  <a:gd name="connsiteX7" fmla="*/ 315468 w 1894999"/>
                  <a:gd name="connsiteY7" fmla="*/ 25336 h 85915"/>
                  <a:gd name="connsiteX8" fmla="*/ 332327 w 1894999"/>
                  <a:gd name="connsiteY8" fmla="*/ 25336 h 85915"/>
                  <a:gd name="connsiteX9" fmla="*/ 332327 w 1894999"/>
                  <a:gd name="connsiteY9" fmla="*/ 31718 h 85915"/>
                  <a:gd name="connsiteX10" fmla="*/ 450151 w 1894999"/>
                  <a:gd name="connsiteY10" fmla="*/ 31718 h 85915"/>
                  <a:gd name="connsiteX11" fmla="*/ 450151 w 1894999"/>
                  <a:gd name="connsiteY11" fmla="*/ 38195 h 85915"/>
                  <a:gd name="connsiteX12" fmla="*/ 542639 w 1894999"/>
                  <a:gd name="connsiteY12" fmla="*/ 38195 h 85915"/>
                  <a:gd name="connsiteX13" fmla="*/ 542639 w 1894999"/>
                  <a:gd name="connsiteY13" fmla="*/ 44577 h 85915"/>
                  <a:gd name="connsiteX14" fmla="*/ 561594 w 1894999"/>
                  <a:gd name="connsiteY14" fmla="*/ 44577 h 85915"/>
                  <a:gd name="connsiteX15" fmla="*/ 561594 w 1894999"/>
                  <a:gd name="connsiteY15" fmla="*/ 51054 h 85915"/>
                  <a:gd name="connsiteX16" fmla="*/ 1415415 w 1894999"/>
                  <a:gd name="connsiteY16" fmla="*/ 51054 h 85915"/>
                  <a:gd name="connsiteX17" fmla="*/ 1415415 w 1894999"/>
                  <a:gd name="connsiteY17" fmla="*/ 85915 h 85915"/>
                  <a:gd name="connsiteX18" fmla="*/ 1894999 w 1894999"/>
                  <a:gd name="connsiteY18" fmla="*/ 85915 h 85915"/>
                  <a:gd name="connsiteX0" fmla="*/ 0 w 1894999"/>
                  <a:gd name="connsiteY0" fmla="*/ 0 h 85915"/>
                  <a:gd name="connsiteX1" fmla="*/ 73628 w 1894999"/>
                  <a:gd name="connsiteY1" fmla="*/ 6286 h 85915"/>
                  <a:gd name="connsiteX2" fmla="*/ 73628 w 1894999"/>
                  <a:gd name="connsiteY2" fmla="*/ 12573 h 85915"/>
                  <a:gd name="connsiteX3" fmla="*/ 153543 w 1894999"/>
                  <a:gd name="connsiteY3" fmla="*/ 12573 h 85915"/>
                  <a:gd name="connsiteX4" fmla="*/ 153543 w 1894999"/>
                  <a:gd name="connsiteY4" fmla="*/ 18859 h 85915"/>
                  <a:gd name="connsiteX5" fmla="*/ 315468 w 1894999"/>
                  <a:gd name="connsiteY5" fmla="*/ 18859 h 85915"/>
                  <a:gd name="connsiteX6" fmla="*/ 315468 w 1894999"/>
                  <a:gd name="connsiteY6" fmla="*/ 25336 h 85915"/>
                  <a:gd name="connsiteX7" fmla="*/ 332327 w 1894999"/>
                  <a:gd name="connsiteY7" fmla="*/ 25336 h 85915"/>
                  <a:gd name="connsiteX8" fmla="*/ 332327 w 1894999"/>
                  <a:gd name="connsiteY8" fmla="*/ 31718 h 85915"/>
                  <a:gd name="connsiteX9" fmla="*/ 450151 w 1894999"/>
                  <a:gd name="connsiteY9" fmla="*/ 31718 h 85915"/>
                  <a:gd name="connsiteX10" fmla="*/ 450151 w 1894999"/>
                  <a:gd name="connsiteY10" fmla="*/ 38195 h 85915"/>
                  <a:gd name="connsiteX11" fmla="*/ 542639 w 1894999"/>
                  <a:gd name="connsiteY11" fmla="*/ 38195 h 85915"/>
                  <a:gd name="connsiteX12" fmla="*/ 542639 w 1894999"/>
                  <a:gd name="connsiteY12" fmla="*/ 44577 h 85915"/>
                  <a:gd name="connsiteX13" fmla="*/ 561594 w 1894999"/>
                  <a:gd name="connsiteY13" fmla="*/ 44577 h 85915"/>
                  <a:gd name="connsiteX14" fmla="*/ 561594 w 1894999"/>
                  <a:gd name="connsiteY14" fmla="*/ 51054 h 85915"/>
                  <a:gd name="connsiteX15" fmla="*/ 1415415 w 1894999"/>
                  <a:gd name="connsiteY15" fmla="*/ 51054 h 85915"/>
                  <a:gd name="connsiteX16" fmla="*/ 1415415 w 1894999"/>
                  <a:gd name="connsiteY16" fmla="*/ 85915 h 85915"/>
                  <a:gd name="connsiteX17" fmla="*/ 1894999 w 1894999"/>
                  <a:gd name="connsiteY17" fmla="*/ 85915 h 85915"/>
                  <a:gd name="connsiteX0" fmla="*/ 0 w 1821371"/>
                  <a:gd name="connsiteY0" fmla="*/ 0 h 79629"/>
                  <a:gd name="connsiteX1" fmla="*/ 0 w 1821371"/>
                  <a:gd name="connsiteY1" fmla="*/ 6287 h 79629"/>
                  <a:gd name="connsiteX2" fmla="*/ 79915 w 1821371"/>
                  <a:gd name="connsiteY2" fmla="*/ 6287 h 79629"/>
                  <a:gd name="connsiteX3" fmla="*/ 79915 w 1821371"/>
                  <a:gd name="connsiteY3" fmla="*/ 12573 h 79629"/>
                  <a:gd name="connsiteX4" fmla="*/ 241840 w 1821371"/>
                  <a:gd name="connsiteY4" fmla="*/ 12573 h 79629"/>
                  <a:gd name="connsiteX5" fmla="*/ 241840 w 1821371"/>
                  <a:gd name="connsiteY5" fmla="*/ 19050 h 79629"/>
                  <a:gd name="connsiteX6" fmla="*/ 258699 w 1821371"/>
                  <a:gd name="connsiteY6" fmla="*/ 19050 h 79629"/>
                  <a:gd name="connsiteX7" fmla="*/ 258699 w 1821371"/>
                  <a:gd name="connsiteY7" fmla="*/ 25432 h 79629"/>
                  <a:gd name="connsiteX8" fmla="*/ 376523 w 1821371"/>
                  <a:gd name="connsiteY8" fmla="*/ 25432 h 79629"/>
                  <a:gd name="connsiteX9" fmla="*/ 376523 w 1821371"/>
                  <a:gd name="connsiteY9" fmla="*/ 31909 h 79629"/>
                  <a:gd name="connsiteX10" fmla="*/ 469011 w 1821371"/>
                  <a:gd name="connsiteY10" fmla="*/ 31909 h 79629"/>
                  <a:gd name="connsiteX11" fmla="*/ 469011 w 1821371"/>
                  <a:gd name="connsiteY11" fmla="*/ 38291 h 79629"/>
                  <a:gd name="connsiteX12" fmla="*/ 487966 w 1821371"/>
                  <a:gd name="connsiteY12" fmla="*/ 38291 h 79629"/>
                  <a:gd name="connsiteX13" fmla="*/ 487966 w 1821371"/>
                  <a:gd name="connsiteY13" fmla="*/ 44768 h 79629"/>
                  <a:gd name="connsiteX14" fmla="*/ 1341787 w 1821371"/>
                  <a:gd name="connsiteY14" fmla="*/ 44768 h 79629"/>
                  <a:gd name="connsiteX15" fmla="*/ 1341787 w 1821371"/>
                  <a:gd name="connsiteY15" fmla="*/ 79629 h 79629"/>
                  <a:gd name="connsiteX16" fmla="*/ 1821371 w 1821371"/>
                  <a:gd name="connsiteY16" fmla="*/ 79629 h 79629"/>
                  <a:gd name="connsiteX0" fmla="*/ 0 w 1821371"/>
                  <a:gd name="connsiteY0" fmla="*/ 0 h 79629"/>
                  <a:gd name="connsiteX1" fmla="*/ 79915 w 1821371"/>
                  <a:gd name="connsiteY1" fmla="*/ 6287 h 79629"/>
                  <a:gd name="connsiteX2" fmla="*/ 79915 w 1821371"/>
                  <a:gd name="connsiteY2" fmla="*/ 12573 h 79629"/>
                  <a:gd name="connsiteX3" fmla="*/ 241840 w 1821371"/>
                  <a:gd name="connsiteY3" fmla="*/ 12573 h 79629"/>
                  <a:gd name="connsiteX4" fmla="*/ 241840 w 1821371"/>
                  <a:gd name="connsiteY4" fmla="*/ 19050 h 79629"/>
                  <a:gd name="connsiteX5" fmla="*/ 258699 w 1821371"/>
                  <a:gd name="connsiteY5" fmla="*/ 19050 h 79629"/>
                  <a:gd name="connsiteX6" fmla="*/ 258699 w 1821371"/>
                  <a:gd name="connsiteY6" fmla="*/ 25432 h 79629"/>
                  <a:gd name="connsiteX7" fmla="*/ 376523 w 1821371"/>
                  <a:gd name="connsiteY7" fmla="*/ 25432 h 79629"/>
                  <a:gd name="connsiteX8" fmla="*/ 376523 w 1821371"/>
                  <a:gd name="connsiteY8" fmla="*/ 31909 h 79629"/>
                  <a:gd name="connsiteX9" fmla="*/ 469011 w 1821371"/>
                  <a:gd name="connsiteY9" fmla="*/ 31909 h 79629"/>
                  <a:gd name="connsiteX10" fmla="*/ 469011 w 1821371"/>
                  <a:gd name="connsiteY10" fmla="*/ 38291 h 79629"/>
                  <a:gd name="connsiteX11" fmla="*/ 487966 w 1821371"/>
                  <a:gd name="connsiteY11" fmla="*/ 38291 h 79629"/>
                  <a:gd name="connsiteX12" fmla="*/ 487966 w 1821371"/>
                  <a:gd name="connsiteY12" fmla="*/ 44768 h 79629"/>
                  <a:gd name="connsiteX13" fmla="*/ 1341787 w 1821371"/>
                  <a:gd name="connsiteY13" fmla="*/ 44768 h 79629"/>
                  <a:gd name="connsiteX14" fmla="*/ 1341787 w 1821371"/>
                  <a:gd name="connsiteY14" fmla="*/ 79629 h 79629"/>
                  <a:gd name="connsiteX15" fmla="*/ 1821371 w 1821371"/>
                  <a:gd name="connsiteY15" fmla="*/ 79629 h 79629"/>
                  <a:gd name="connsiteX0" fmla="*/ 0 w 1741456"/>
                  <a:gd name="connsiteY0" fmla="*/ 0 h 73342"/>
                  <a:gd name="connsiteX1" fmla="*/ 0 w 1741456"/>
                  <a:gd name="connsiteY1" fmla="*/ 6286 h 73342"/>
                  <a:gd name="connsiteX2" fmla="*/ 161925 w 1741456"/>
                  <a:gd name="connsiteY2" fmla="*/ 6286 h 73342"/>
                  <a:gd name="connsiteX3" fmla="*/ 161925 w 1741456"/>
                  <a:gd name="connsiteY3" fmla="*/ 12763 h 73342"/>
                  <a:gd name="connsiteX4" fmla="*/ 178784 w 1741456"/>
                  <a:gd name="connsiteY4" fmla="*/ 12763 h 73342"/>
                  <a:gd name="connsiteX5" fmla="*/ 178784 w 1741456"/>
                  <a:gd name="connsiteY5" fmla="*/ 19145 h 73342"/>
                  <a:gd name="connsiteX6" fmla="*/ 296608 w 1741456"/>
                  <a:gd name="connsiteY6" fmla="*/ 19145 h 73342"/>
                  <a:gd name="connsiteX7" fmla="*/ 296608 w 1741456"/>
                  <a:gd name="connsiteY7" fmla="*/ 25622 h 73342"/>
                  <a:gd name="connsiteX8" fmla="*/ 389096 w 1741456"/>
                  <a:gd name="connsiteY8" fmla="*/ 25622 h 73342"/>
                  <a:gd name="connsiteX9" fmla="*/ 389096 w 1741456"/>
                  <a:gd name="connsiteY9" fmla="*/ 32004 h 73342"/>
                  <a:gd name="connsiteX10" fmla="*/ 408051 w 1741456"/>
                  <a:gd name="connsiteY10" fmla="*/ 32004 h 73342"/>
                  <a:gd name="connsiteX11" fmla="*/ 408051 w 1741456"/>
                  <a:gd name="connsiteY11" fmla="*/ 38481 h 73342"/>
                  <a:gd name="connsiteX12" fmla="*/ 1261872 w 1741456"/>
                  <a:gd name="connsiteY12" fmla="*/ 38481 h 73342"/>
                  <a:gd name="connsiteX13" fmla="*/ 1261872 w 1741456"/>
                  <a:gd name="connsiteY13" fmla="*/ 73342 h 73342"/>
                  <a:gd name="connsiteX14" fmla="*/ 1741456 w 1741456"/>
                  <a:gd name="connsiteY14" fmla="*/ 73342 h 73342"/>
                  <a:gd name="connsiteX0" fmla="*/ 0 w 1741456"/>
                  <a:gd name="connsiteY0" fmla="*/ 0 h 73342"/>
                  <a:gd name="connsiteX1" fmla="*/ 161925 w 1741456"/>
                  <a:gd name="connsiteY1" fmla="*/ 6286 h 73342"/>
                  <a:gd name="connsiteX2" fmla="*/ 161925 w 1741456"/>
                  <a:gd name="connsiteY2" fmla="*/ 12763 h 73342"/>
                  <a:gd name="connsiteX3" fmla="*/ 178784 w 1741456"/>
                  <a:gd name="connsiteY3" fmla="*/ 12763 h 73342"/>
                  <a:gd name="connsiteX4" fmla="*/ 178784 w 1741456"/>
                  <a:gd name="connsiteY4" fmla="*/ 19145 h 73342"/>
                  <a:gd name="connsiteX5" fmla="*/ 296608 w 1741456"/>
                  <a:gd name="connsiteY5" fmla="*/ 19145 h 73342"/>
                  <a:gd name="connsiteX6" fmla="*/ 296608 w 1741456"/>
                  <a:gd name="connsiteY6" fmla="*/ 25622 h 73342"/>
                  <a:gd name="connsiteX7" fmla="*/ 389096 w 1741456"/>
                  <a:gd name="connsiteY7" fmla="*/ 25622 h 73342"/>
                  <a:gd name="connsiteX8" fmla="*/ 389096 w 1741456"/>
                  <a:gd name="connsiteY8" fmla="*/ 32004 h 73342"/>
                  <a:gd name="connsiteX9" fmla="*/ 408051 w 1741456"/>
                  <a:gd name="connsiteY9" fmla="*/ 32004 h 73342"/>
                  <a:gd name="connsiteX10" fmla="*/ 408051 w 1741456"/>
                  <a:gd name="connsiteY10" fmla="*/ 38481 h 73342"/>
                  <a:gd name="connsiteX11" fmla="*/ 1261872 w 1741456"/>
                  <a:gd name="connsiteY11" fmla="*/ 38481 h 73342"/>
                  <a:gd name="connsiteX12" fmla="*/ 1261872 w 1741456"/>
                  <a:gd name="connsiteY12" fmla="*/ 73342 h 73342"/>
                  <a:gd name="connsiteX13" fmla="*/ 1741456 w 1741456"/>
                  <a:gd name="connsiteY13" fmla="*/ 73342 h 73342"/>
                  <a:gd name="connsiteX0" fmla="*/ 0 w 1579531"/>
                  <a:gd name="connsiteY0" fmla="*/ 0 h 67056"/>
                  <a:gd name="connsiteX1" fmla="*/ 0 w 1579531"/>
                  <a:gd name="connsiteY1" fmla="*/ 6477 h 67056"/>
                  <a:gd name="connsiteX2" fmla="*/ 16859 w 1579531"/>
                  <a:gd name="connsiteY2" fmla="*/ 6477 h 67056"/>
                  <a:gd name="connsiteX3" fmla="*/ 16859 w 1579531"/>
                  <a:gd name="connsiteY3" fmla="*/ 12859 h 67056"/>
                  <a:gd name="connsiteX4" fmla="*/ 134683 w 1579531"/>
                  <a:gd name="connsiteY4" fmla="*/ 12859 h 67056"/>
                  <a:gd name="connsiteX5" fmla="*/ 134683 w 1579531"/>
                  <a:gd name="connsiteY5" fmla="*/ 19336 h 67056"/>
                  <a:gd name="connsiteX6" fmla="*/ 227171 w 1579531"/>
                  <a:gd name="connsiteY6" fmla="*/ 19336 h 67056"/>
                  <a:gd name="connsiteX7" fmla="*/ 227171 w 1579531"/>
                  <a:gd name="connsiteY7" fmla="*/ 25718 h 67056"/>
                  <a:gd name="connsiteX8" fmla="*/ 246126 w 1579531"/>
                  <a:gd name="connsiteY8" fmla="*/ 25718 h 67056"/>
                  <a:gd name="connsiteX9" fmla="*/ 246126 w 1579531"/>
                  <a:gd name="connsiteY9" fmla="*/ 32195 h 67056"/>
                  <a:gd name="connsiteX10" fmla="*/ 1099947 w 1579531"/>
                  <a:gd name="connsiteY10" fmla="*/ 32195 h 67056"/>
                  <a:gd name="connsiteX11" fmla="*/ 1099947 w 1579531"/>
                  <a:gd name="connsiteY11" fmla="*/ 67056 h 67056"/>
                  <a:gd name="connsiteX12" fmla="*/ 1579531 w 1579531"/>
                  <a:gd name="connsiteY12" fmla="*/ 67056 h 67056"/>
                  <a:gd name="connsiteX0" fmla="*/ 0 w 1579531"/>
                  <a:gd name="connsiteY0" fmla="*/ 0 h 60579"/>
                  <a:gd name="connsiteX1" fmla="*/ 16859 w 1579531"/>
                  <a:gd name="connsiteY1" fmla="*/ 0 h 60579"/>
                  <a:gd name="connsiteX2" fmla="*/ 16859 w 1579531"/>
                  <a:gd name="connsiteY2" fmla="*/ 6382 h 60579"/>
                  <a:gd name="connsiteX3" fmla="*/ 134683 w 1579531"/>
                  <a:gd name="connsiteY3" fmla="*/ 6382 h 60579"/>
                  <a:gd name="connsiteX4" fmla="*/ 134683 w 1579531"/>
                  <a:gd name="connsiteY4" fmla="*/ 12859 h 60579"/>
                  <a:gd name="connsiteX5" fmla="*/ 227171 w 1579531"/>
                  <a:gd name="connsiteY5" fmla="*/ 12859 h 60579"/>
                  <a:gd name="connsiteX6" fmla="*/ 227171 w 1579531"/>
                  <a:gd name="connsiteY6" fmla="*/ 19241 h 60579"/>
                  <a:gd name="connsiteX7" fmla="*/ 246126 w 1579531"/>
                  <a:gd name="connsiteY7" fmla="*/ 19241 h 60579"/>
                  <a:gd name="connsiteX8" fmla="*/ 246126 w 1579531"/>
                  <a:gd name="connsiteY8" fmla="*/ 25718 h 60579"/>
                  <a:gd name="connsiteX9" fmla="*/ 1099947 w 1579531"/>
                  <a:gd name="connsiteY9" fmla="*/ 25718 h 60579"/>
                  <a:gd name="connsiteX10" fmla="*/ 1099947 w 1579531"/>
                  <a:gd name="connsiteY10" fmla="*/ 60579 h 60579"/>
                  <a:gd name="connsiteX11" fmla="*/ 1579531 w 1579531"/>
                  <a:gd name="connsiteY11" fmla="*/ 60579 h 60579"/>
                  <a:gd name="connsiteX0" fmla="*/ 0 w 1562672"/>
                  <a:gd name="connsiteY0" fmla="*/ 0 h 60579"/>
                  <a:gd name="connsiteX1" fmla="*/ 0 w 1562672"/>
                  <a:gd name="connsiteY1" fmla="*/ 6382 h 60579"/>
                  <a:gd name="connsiteX2" fmla="*/ 117824 w 1562672"/>
                  <a:gd name="connsiteY2" fmla="*/ 6382 h 60579"/>
                  <a:gd name="connsiteX3" fmla="*/ 117824 w 1562672"/>
                  <a:gd name="connsiteY3" fmla="*/ 12859 h 60579"/>
                  <a:gd name="connsiteX4" fmla="*/ 210312 w 1562672"/>
                  <a:gd name="connsiteY4" fmla="*/ 12859 h 60579"/>
                  <a:gd name="connsiteX5" fmla="*/ 210312 w 1562672"/>
                  <a:gd name="connsiteY5" fmla="*/ 19241 h 60579"/>
                  <a:gd name="connsiteX6" fmla="*/ 229267 w 1562672"/>
                  <a:gd name="connsiteY6" fmla="*/ 19241 h 60579"/>
                  <a:gd name="connsiteX7" fmla="*/ 229267 w 1562672"/>
                  <a:gd name="connsiteY7" fmla="*/ 25718 h 60579"/>
                  <a:gd name="connsiteX8" fmla="*/ 1083088 w 1562672"/>
                  <a:gd name="connsiteY8" fmla="*/ 25718 h 60579"/>
                  <a:gd name="connsiteX9" fmla="*/ 1083088 w 1562672"/>
                  <a:gd name="connsiteY9" fmla="*/ 60579 h 60579"/>
                  <a:gd name="connsiteX10" fmla="*/ 1562672 w 1562672"/>
                  <a:gd name="connsiteY10" fmla="*/ 60579 h 60579"/>
                  <a:gd name="connsiteX0" fmla="*/ 0 w 1562672"/>
                  <a:gd name="connsiteY0" fmla="*/ 0 h 54197"/>
                  <a:gd name="connsiteX1" fmla="*/ 117824 w 1562672"/>
                  <a:gd name="connsiteY1" fmla="*/ 0 h 54197"/>
                  <a:gd name="connsiteX2" fmla="*/ 117824 w 1562672"/>
                  <a:gd name="connsiteY2" fmla="*/ 6477 h 54197"/>
                  <a:gd name="connsiteX3" fmla="*/ 210312 w 1562672"/>
                  <a:gd name="connsiteY3" fmla="*/ 6477 h 54197"/>
                  <a:gd name="connsiteX4" fmla="*/ 210312 w 1562672"/>
                  <a:gd name="connsiteY4" fmla="*/ 12859 h 54197"/>
                  <a:gd name="connsiteX5" fmla="*/ 229267 w 1562672"/>
                  <a:gd name="connsiteY5" fmla="*/ 12859 h 54197"/>
                  <a:gd name="connsiteX6" fmla="*/ 229267 w 1562672"/>
                  <a:gd name="connsiteY6" fmla="*/ 19336 h 54197"/>
                  <a:gd name="connsiteX7" fmla="*/ 1083088 w 1562672"/>
                  <a:gd name="connsiteY7" fmla="*/ 19336 h 54197"/>
                  <a:gd name="connsiteX8" fmla="*/ 1083088 w 1562672"/>
                  <a:gd name="connsiteY8" fmla="*/ 54197 h 54197"/>
                  <a:gd name="connsiteX9" fmla="*/ 1562672 w 1562672"/>
                  <a:gd name="connsiteY9" fmla="*/ 54197 h 54197"/>
                  <a:gd name="connsiteX0" fmla="*/ 0 w 1516791"/>
                  <a:gd name="connsiteY0" fmla="*/ 2526 h 54197"/>
                  <a:gd name="connsiteX1" fmla="*/ 71943 w 1516791"/>
                  <a:gd name="connsiteY1" fmla="*/ 0 h 54197"/>
                  <a:gd name="connsiteX2" fmla="*/ 71943 w 1516791"/>
                  <a:gd name="connsiteY2" fmla="*/ 6477 h 54197"/>
                  <a:gd name="connsiteX3" fmla="*/ 164431 w 1516791"/>
                  <a:gd name="connsiteY3" fmla="*/ 6477 h 54197"/>
                  <a:gd name="connsiteX4" fmla="*/ 164431 w 1516791"/>
                  <a:gd name="connsiteY4" fmla="*/ 12859 h 54197"/>
                  <a:gd name="connsiteX5" fmla="*/ 183386 w 1516791"/>
                  <a:gd name="connsiteY5" fmla="*/ 12859 h 54197"/>
                  <a:gd name="connsiteX6" fmla="*/ 183386 w 1516791"/>
                  <a:gd name="connsiteY6" fmla="*/ 19336 h 54197"/>
                  <a:gd name="connsiteX7" fmla="*/ 1037207 w 1516791"/>
                  <a:gd name="connsiteY7" fmla="*/ 19336 h 54197"/>
                  <a:gd name="connsiteX8" fmla="*/ 1037207 w 1516791"/>
                  <a:gd name="connsiteY8" fmla="*/ 54197 h 54197"/>
                  <a:gd name="connsiteX9" fmla="*/ 1516791 w 1516791"/>
                  <a:gd name="connsiteY9" fmla="*/ 54197 h 54197"/>
                  <a:gd name="connsiteX0" fmla="*/ 0 w 1506595"/>
                  <a:gd name="connsiteY0" fmla="*/ 1263 h 54197"/>
                  <a:gd name="connsiteX1" fmla="*/ 61747 w 1506595"/>
                  <a:gd name="connsiteY1" fmla="*/ 0 h 54197"/>
                  <a:gd name="connsiteX2" fmla="*/ 61747 w 1506595"/>
                  <a:gd name="connsiteY2" fmla="*/ 6477 h 54197"/>
                  <a:gd name="connsiteX3" fmla="*/ 154235 w 1506595"/>
                  <a:gd name="connsiteY3" fmla="*/ 6477 h 54197"/>
                  <a:gd name="connsiteX4" fmla="*/ 154235 w 1506595"/>
                  <a:gd name="connsiteY4" fmla="*/ 12859 h 54197"/>
                  <a:gd name="connsiteX5" fmla="*/ 173190 w 1506595"/>
                  <a:gd name="connsiteY5" fmla="*/ 12859 h 54197"/>
                  <a:gd name="connsiteX6" fmla="*/ 173190 w 1506595"/>
                  <a:gd name="connsiteY6" fmla="*/ 19336 h 54197"/>
                  <a:gd name="connsiteX7" fmla="*/ 1027011 w 1506595"/>
                  <a:gd name="connsiteY7" fmla="*/ 19336 h 54197"/>
                  <a:gd name="connsiteX8" fmla="*/ 1027011 w 1506595"/>
                  <a:gd name="connsiteY8" fmla="*/ 54197 h 54197"/>
                  <a:gd name="connsiteX9" fmla="*/ 1506595 w 1506595"/>
                  <a:gd name="connsiteY9" fmla="*/ 54197 h 54197"/>
                  <a:gd name="connsiteX0" fmla="*/ 0 w 1506595"/>
                  <a:gd name="connsiteY0" fmla="*/ 1263 h 54197"/>
                  <a:gd name="connsiteX1" fmla="*/ 61747 w 1506595"/>
                  <a:gd name="connsiteY1" fmla="*/ 0 h 54197"/>
                  <a:gd name="connsiteX2" fmla="*/ 61747 w 1506595"/>
                  <a:gd name="connsiteY2" fmla="*/ 6477 h 54197"/>
                  <a:gd name="connsiteX3" fmla="*/ 154235 w 1506595"/>
                  <a:gd name="connsiteY3" fmla="*/ 6477 h 54197"/>
                  <a:gd name="connsiteX4" fmla="*/ 154235 w 1506595"/>
                  <a:gd name="connsiteY4" fmla="*/ 12859 h 54197"/>
                  <a:gd name="connsiteX5" fmla="*/ 173190 w 1506595"/>
                  <a:gd name="connsiteY5" fmla="*/ 12859 h 54197"/>
                  <a:gd name="connsiteX6" fmla="*/ 173190 w 1506595"/>
                  <a:gd name="connsiteY6" fmla="*/ 19336 h 54197"/>
                  <a:gd name="connsiteX7" fmla="*/ 764763 w 1506595"/>
                  <a:gd name="connsiteY7" fmla="*/ 19311 h 54197"/>
                  <a:gd name="connsiteX8" fmla="*/ 1027011 w 1506595"/>
                  <a:gd name="connsiteY8" fmla="*/ 19336 h 54197"/>
                  <a:gd name="connsiteX9" fmla="*/ 1027011 w 1506595"/>
                  <a:gd name="connsiteY9" fmla="*/ 54197 h 54197"/>
                  <a:gd name="connsiteX10" fmla="*/ 1506595 w 1506595"/>
                  <a:gd name="connsiteY10" fmla="*/ 54197 h 54197"/>
                  <a:gd name="connsiteX0" fmla="*/ 0 w 1027011"/>
                  <a:gd name="connsiteY0" fmla="*/ 1263 h 54197"/>
                  <a:gd name="connsiteX1" fmla="*/ 61747 w 1027011"/>
                  <a:gd name="connsiteY1" fmla="*/ 0 h 54197"/>
                  <a:gd name="connsiteX2" fmla="*/ 61747 w 1027011"/>
                  <a:gd name="connsiteY2" fmla="*/ 6477 h 54197"/>
                  <a:gd name="connsiteX3" fmla="*/ 154235 w 1027011"/>
                  <a:gd name="connsiteY3" fmla="*/ 6477 h 54197"/>
                  <a:gd name="connsiteX4" fmla="*/ 154235 w 1027011"/>
                  <a:gd name="connsiteY4" fmla="*/ 12859 h 54197"/>
                  <a:gd name="connsiteX5" fmla="*/ 173190 w 1027011"/>
                  <a:gd name="connsiteY5" fmla="*/ 12859 h 54197"/>
                  <a:gd name="connsiteX6" fmla="*/ 173190 w 1027011"/>
                  <a:gd name="connsiteY6" fmla="*/ 19336 h 54197"/>
                  <a:gd name="connsiteX7" fmla="*/ 764763 w 1027011"/>
                  <a:gd name="connsiteY7" fmla="*/ 19311 h 54197"/>
                  <a:gd name="connsiteX8" fmla="*/ 1027011 w 1027011"/>
                  <a:gd name="connsiteY8" fmla="*/ 19336 h 54197"/>
                  <a:gd name="connsiteX9" fmla="*/ 1027011 w 1027011"/>
                  <a:gd name="connsiteY9" fmla="*/ 54197 h 54197"/>
                  <a:gd name="connsiteX0" fmla="*/ 0 w 1027011"/>
                  <a:gd name="connsiteY0" fmla="*/ 1263 h 19336"/>
                  <a:gd name="connsiteX1" fmla="*/ 61747 w 1027011"/>
                  <a:gd name="connsiteY1" fmla="*/ 0 h 19336"/>
                  <a:gd name="connsiteX2" fmla="*/ 61747 w 1027011"/>
                  <a:gd name="connsiteY2" fmla="*/ 6477 h 19336"/>
                  <a:gd name="connsiteX3" fmla="*/ 154235 w 1027011"/>
                  <a:gd name="connsiteY3" fmla="*/ 6477 h 19336"/>
                  <a:gd name="connsiteX4" fmla="*/ 154235 w 1027011"/>
                  <a:gd name="connsiteY4" fmla="*/ 12859 h 19336"/>
                  <a:gd name="connsiteX5" fmla="*/ 173190 w 1027011"/>
                  <a:gd name="connsiteY5" fmla="*/ 12859 h 19336"/>
                  <a:gd name="connsiteX6" fmla="*/ 173190 w 1027011"/>
                  <a:gd name="connsiteY6" fmla="*/ 19336 h 19336"/>
                  <a:gd name="connsiteX7" fmla="*/ 764763 w 1027011"/>
                  <a:gd name="connsiteY7" fmla="*/ 19311 h 19336"/>
                  <a:gd name="connsiteX8" fmla="*/ 1027011 w 1027011"/>
                  <a:gd name="connsiteY8" fmla="*/ 19336 h 19336"/>
                  <a:gd name="connsiteX0" fmla="*/ 0 w 764763"/>
                  <a:gd name="connsiteY0" fmla="*/ 1263 h 19336"/>
                  <a:gd name="connsiteX1" fmla="*/ 61747 w 764763"/>
                  <a:gd name="connsiteY1" fmla="*/ 0 h 19336"/>
                  <a:gd name="connsiteX2" fmla="*/ 61747 w 764763"/>
                  <a:gd name="connsiteY2" fmla="*/ 6477 h 19336"/>
                  <a:gd name="connsiteX3" fmla="*/ 154235 w 764763"/>
                  <a:gd name="connsiteY3" fmla="*/ 6477 h 19336"/>
                  <a:gd name="connsiteX4" fmla="*/ 154235 w 764763"/>
                  <a:gd name="connsiteY4" fmla="*/ 12859 h 19336"/>
                  <a:gd name="connsiteX5" fmla="*/ 173190 w 764763"/>
                  <a:gd name="connsiteY5" fmla="*/ 12859 h 19336"/>
                  <a:gd name="connsiteX6" fmla="*/ 173190 w 764763"/>
                  <a:gd name="connsiteY6" fmla="*/ 19336 h 19336"/>
                  <a:gd name="connsiteX7" fmla="*/ 764763 w 764763"/>
                  <a:gd name="connsiteY7" fmla="*/ 19311 h 19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4763" h="19336">
                    <a:moveTo>
                      <a:pt x="0" y="1263"/>
                    </a:moveTo>
                    <a:lnTo>
                      <a:pt x="61747" y="0"/>
                    </a:lnTo>
                    <a:lnTo>
                      <a:pt x="61747" y="6477"/>
                    </a:lnTo>
                    <a:lnTo>
                      <a:pt x="154235" y="6477"/>
                    </a:lnTo>
                    <a:lnTo>
                      <a:pt x="154235" y="12859"/>
                    </a:lnTo>
                    <a:lnTo>
                      <a:pt x="173190" y="12859"/>
                    </a:lnTo>
                    <a:lnTo>
                      <a:pt x="173190" y="19336"/>
                    </a:lnTo>
                    <a:lnTo>
                      <a:pt x="764763" y="19311"/>
                    </a:lnTo>
                  </a:path>
                </a:pathLst>
              </a:custGeom>
              <a:noFill/>
              <a:ln w="12700" cap="flat" cmpd="sng" algn="ctr">
                <a:solidFill>
                  <a:schemeClr val="tx1">
                    <a:lumMod val="50000"/>
                    <a:lumOff val="50000"/>
                  </a:schemeClr>
                </a:solidFill>
                <a:prstDash val="solid"/>
                <a:miter lim="800000"/>
              </a:ln>
              <a:effectLst/>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1173" name="Group 1172">
                <a:extLst>
                  <a:ext uri="{FF2B5EF4-FFF2-40B4-BE49-F238E27FC236}">
                    <a16:creationId xmlns:a16="http://schemas.microsoft.com/office/drawing/2014/main" id="{671F1018-0F2F-76AD-3F5C-3CDA459DC266}"/>
                  </a:ext>
                </a:extLst>
              </p:cNvPr>
              <p:cNvGrpSpPr/>
              <p:nvPr/>
            </p:nvGrpSpPr>
            <p:grpSpPr>
              <a:xfrm>
                <a:off x="7845373" y="2907839"/>
                <a:ext cx="1022379" cy="90004"/>
                <a:chOff x="7845373" y="1070482"/>
                <a:chExt cx="1022379" cy="90004"/>
              </a:xfrm>
            </p:grpSpPr>
            <p:grpSp>
              <p:nvGrpSpPr>
                <p:cNvPr id="1174" name="Group 1173">
                  <a:extLst>
                    <a:ext uri="{FF2B5EF4-FFF2-40B4-BE49-F238E27FC236}">
                      <a16:creationId xmlns:a16="http://schemas.microsoft.com/office/drawing/2014/main" id="{92414E43-FCE2-34A5-7F3A-BA1329C631EC}"/>
                    </a:ext>
                  </a:extLst>
                </p:cNvPr>
                <p:cNvGrpSpPr/>
                <p:nvPr/>
              </p:nvGrpSpPr>
              <p:grpSpPr>
                <a:xfrm>
                  <a:off x="7845373" y="1070482"/>
                  <a:ext cx="68895" cy="90004"/>
                  <a:chOff x="1773255" y="1810053"/>
                  <a:chExt cx="84653" cy="84653"/>
                </a:xfrm>
              </p:grpSpPr>
              <p:cxnSp>
                <p:nvCxnSpPr>
                  <p:cNvPr id="1259" name="Straight Connector 1258">
                    <a:extLst>
                      <a:ext uri="{FF2B5EF4-FFF2-40B4-BE49-F238E27FC236}">
                        <a16:creationId xmlns:a16="http://schemas.microsoft.com/office/drawing/2014/main" id="{240582C1-619D-159B-1625-968A82F08395}"/>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60" name="Straight Connector 1259">
                    <a:extLst>
                      <a:ext uri="{FF2B5EF4-FFF2-40B4-BE49-F238E27FC236}">
                        <a16:creationId xmlns:a16="http://schemas.microsoft.com/office/drawing/2014/main" id="{019E6638-2406-D323-FDB7-77F50558D33F}"/>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175" name="Group 1174">
                  <a:extLst>
                    <a:ext uri="{FF2B5EF4-FFF2-40B4-BE49-F238E27FC236}">
                      <a16:creationId xmlns:a16="http://schemas.microsoft.com/office/drawing/2014/main" id="{3A03E277-63C6-3C0B-0D7C-3F6C49322D0C}"/>
                    </a:ext>
                  </a:extLst>
                </p:cNvPr>
                <p:cNvGrpSpPr/>
                <p:nvPr/>
              </p:nvGrpSpPr>
              <p:grpSpPr>
                <a:xfrm>
                  <a:off x="7866691" y="1070482"/>
                  <a:ext cx="68895" cy="90004"/>
                  <a:chOff x="1773255" y="1810053"/>
                  <a:chExt cx="84653" cy="84653"/>
                </a:xfrm>
              </p:grpSpPr>
              <p:cxnSp>
                <p:nvCxnSpPr>
                  <p:cNvPr id="1257" name="Straight Connector 1256">
                    <a:extLst>
                      <a:ext uri="{FF2B5EF4-FFF2-40B4-BE49-F238E27FC236}">
                        <a16:creationId xmlns:a16="http://schemas.microsoft.com/office/drawing/2014/main" id="{072D2860-83C5-1CE5-BD48-8B4D8ABD0AB1}"/>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58" name="Straight Connector 1257">
                    <a:extLst>
                      <a:ext uri="{FF2B5EF4-FFF2-40B4-BE49-F238E27FC236}">
                        <a16:creationId xmlns:a16="http://schemas.microsoft.com/office/drawing/2014/main" id="{6133AE7A-23E1-5A2D-378A-716381A202EA}"/>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176" name="Group 1175">
                  <a:extLst>
                    <a:ext uri="{FF2B5EF4-FFF2-40B4-BE49-F238E27FC236}">
                      <a16:creationId xmlns:a16="http://schemas.microsoft.com/office/drawing/2014/main" id="{05F75DB1-33B7-6FF4-9B90-DE92E8B278DD}"/>
                    </a:ext>
                  </a:extLst>
                </p:cNvPr>
                <p:cNvGrpSpPr/>
                <p:nvPr/>
              </p:nvGrpSpPr>
              <p:grpSpPr>
                <a:xfrm>
                  <a:off x="7905450" y="1070482"/>
                  <a:ext cx="68895" cy="90004"/>
                  <a:chOff x="1773255" y="1810053"/>
                  <a:chExt cx="84653" cy="84653"/>
                </a:xfrm>
              </p:grpSpPr>
              <p:cxnSp>
                <p:nvCxnSpPr>
                  <p:cNvPr id="1255" name="Straight Connector 1254">
                    <a:extLst>
                      <a:ext uri="{FF2B5EF4-FFF2-40B4-BE49-F238E27FC236}">
                        <a16:creationId xmlns:a16="http://schemas.microsoft.com/office/drawing/2014/main" id="{173F53DC-70D8-B7EA-E19B-AAA3ABD62EA5}"/>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56" name="Straight Connector 1255">
                    <a:extLst>
                      <a:ext uri="{FF2B5EF4-FFF2-40B4-BE49-F238E27FC236}">
                        <a16:creationId xmlns:a16="http://schemas.microsoft.com/office/drawing/2014/main" id="{1B56B2AF-913C-27C0-490F-88EA2E7D8037}"/>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177" name="Group 1176">
                  <a:extLst>
                    <a:ext uri="{FF2B5EF4-FFF2-40B4-BE49-F238E27FC236}">
                      <a16:creationId xmlns:a16="http://schemas.microsoft.com/office/drawing/2014/main" id="{ECC0AC50-5920-E2A5-5D21-5E123F364076}"/>
                    </a:ext>
                  </a:extLst>
                </p:cNvPr>
                <p:cNvGrpSpPr/>
                <p:nvPr/>
              </p:nvGrpSpPr>
              <p:grpSpPr>
                <a:xfrm>
                  <a:off x="7924830" y="1070482"/>
                  <a:ext cx="68895" cy="90004"/>
                  <a:chOff x="1773255" y="1810053"/>
                  <a:chExt cx="84653" cy="84653"/>
                </a:xfrm>
              </p:grpSpPr>
              <p:cxnSp>
                <p:nvCxnSpPr>
                  <p:cNvPr id="1253" name="Straight Connector 1252">
                    <a:extLst>
                      <a:ext uri="{FF2B5EF4-FFF2-40B4-BE49-F238E27FC236}">
                        <a16:creationId xmlns:a16="http://schemas.microsoft.com/office/drawing/2014/main" id="{3BA3E556-5E7A-4D48-EBB2-8541B201512B}"/>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54" name="Straight Connector 1253">
                    <a:extLst>
                      <a:ext uri="{FF2B5EF4-FFF2-40B4-BE49-F238E27FC236}">
                        <a16:creationId xmlns:a16="http://schemas.microsoft.com/office/drawing/2014/main" id="{C742C607-1E5A-41C6-11D6-BF7610D72C73}"/>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178" name="Group 1177">
                  <a:extLst>
                    <a:ext uri="{FF2B5EF4-FFF2-40B4-BE49-F238E27FC236}">
                      <a16:creationId xmlns:a16="http://schemas.microsoft.com/office/drawing/2014/main" id="{C6AA8F66-AA53-F87A-BABB-43B3160DF69C}"/>
                    </a:ext>
                  </a:extLst>
                </p:cNvPr>
                <p:cNvGrpSpPr/>
                <p:nvPr/>
              </p:nvGrpSpPr>
              <p:grpSpPr>
                <a:xfrm>
                  <a:off x="7934519" y="1070482"/>
                  <a:ext cx="68895" cy="90004"/>
                  <a:chOff x="1773255" y="1810053"/>
                  <a:chExt cx="84653" cy="84653"/>
                </a:xfrm>
              </p:grpSpPr>
              <p:cxnSp>
                <p:nvCxnSpPr>
                  <p:cNvPr id="1251" name="Straight Connector 1250">
                    <a:extLst>
                      <a:ext uri="{FF2B5EF4-FFF2-40B4-BE49-F238E27FC236}">
                        <a16:creationId xmlns:a16="http://schemas.microsoft.com/office/drawing/2014/main" id="{0ADF6703-523D-E5EE-A317-14CA39627A16}"/>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52" name="Straight Connector 1251">
                    <a:extLst>
                      <a:ext uri="{FF2B5EF4-FFF2-40B4-BE49-F238E27FC236}">
                        <a16:creationId xmlns:a16="http://schemas.microsoft.com/office/drawing/2014/main" id="{711CCE80-1500-996A-9434-1915854E708D}"/>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179" name="Group 1178">
                  <a:extLst>
                    <a:ext uri="{FF2B5EF4-FFF2-40B4-BE49-F238E27FC236}">
                      <a16:creationId xmlns:a16="http://schemas.microsoft.com/office/drawing/2014/main" id="{DE3E50D4-920B-8BDF-E460-8CA8023927A4}"/>
                    </a:ext>
                  </a:extLst>
                </p:cNvPr>
                <p:cNvGrpSpPr/>
                <p:nvPr/>
              </p:nvGrpSpPr>
              <p:grpSpPr>
                <a:xfrm>
                  <a:off x="7963589" y="1070482"/>
                  <a:ext cx="68895" cy="90004"/>
                  <a:chOff x="1773255" y="1810053"/>
                  <a:chExt cx="84653" cy="84653"/>
                </a:xfrm>
              </p:grpSpPr>
              <p:cxnSp>
                <p:nvCxnSpPr>
                  <p:cNvPr id="1249" name="Straight Connector 1248">
                    <a:extLst>
                      <a:ext uri="{FF2B5EF4-FFF2-40B4-BE49-F238E27FC236}">
                        <a16:creationId xmlns:a16="http://schemas.microsoft.com/office/drawing/2014/main" id="{1F731E8D-D0E0-CD77-475B-3609C92C61CF}"/>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50" name="Straight Connector 1249">
                    <a:extLst>
                      <a:ext uri="{FF2B5EF4-FFF2-40B4-BE49-F238E27FC236}">
                        <a16:creationId xmlns:a16="http://schemas.microsoft.com/office/drawing/2014/main" id="{0B479B30-1708-00FB-28CF-2A3E4673944D}"/>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180" name="Group 1179">
                  <a:extLst>
                    <a:ext uri="{FF2B5EF4-FFF2-40B4-BE49-F238E27FC236}">
                      <a16:creationId xmlns:a16="http://schemas.microsoft.com/office/drawing/2014/main" id="{68D2B82C-FF8D-0DD7-19C5-348DB1DB2804}"/>
                    </a:ext>
                  </a:extLst>
                </p:cNvPr>
                <p:cNvGrpSpPr/>
                <p:nvPr/>
              </p:nvGrpSpPr>
              <p:grpSpPr>
                <a:xfrm>
                  <a:off x="7988783" y="1070482"/>
                  <a:ext cx="68895" cy="90004"/>
                  <a:chOff x="1773255" y="1810053"/>
                  <a:chExt cx="84653" cy="84653"/>
                </a:xfrm>
              </p:grpSpPr>
              <p:cxnSp>
                <p:nvCxnSpPr>
                  <p:cNvPr id="1247" name="Straight Connector 1246">
                    <a:extLst>
                      <a:ext uri="{FF2B5EF4-FFF2-40B4-BE49-F238E27FC236}">
                        <a16:creationId xmlns:a16="http://schemas.microsoft.com/office/drawing/2014/main" id="{C179C521-925D-9ABA-D9CA-BD9FF4DAC6E8}"/>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48" name="Straight Connector 1247">
                    <a:extLst>
                      <a:ext uri="{FF2B5EF4-FFF2-40B4-BE49-F238E27FC236}">
                        <a16:creationId xmlns:a16="http://schemas.microsoft.com/office/drawing/2014/main" id="{21211855-422F-FC53-5B43-9809C7D344AE}"/>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181" name="Group 1180">
                  <a:extLst>
                    <a:ext uri="{FF2B5EF4-FFF2-40B4-BE49-F238E27FC236}">
                      <a16:creationId xmlns:a16="http://schemas.microsoft.com/office/drawing/2014/main" id="{4C8F9746-CC9D-2C95-C77F-98794DAA8D50}"/>
                    </a:ext>
                  </a:extLst>
                </p:cNvPr>
                <p:cNvGrpSpPr/>
                <p:nvPr/>
              </p:nvGrpSpPr>
              <p:grpSpPr>
                <a:xfrm>
                  <a:off x="8043047" y="1070482"/>
                  <a:ext cx="68895" cy="90004"/>
                  <a:chOff x="1773255" y="1810053"/>
                  <a:chExt cx="84653" cy="84653"/>
                </a:xfrm>
              </p:grpSpPr>
              <p:cxnSp>
                <p:nvCxnSpPr>
                  <p:cNvPr id="1245" name="Straight Connector 1244">
                    <a:extLst>
                      <a:ext uri="{FF2B5EF4-FFF2-40B4-BE49-F238E27FC236}">
                        <a16:creationId xmlns:a16="http://schemas.microsoft.com/office/drawing/2014/main" id="{6B2E0BD5-CB3C-89AB-D1A6-7D7BDD260C3C}"/>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46" name="Straight Connector 1245">
                    <a:extLst>
                      <a:ext uri="{FF2B5EF4-FFF2-40B4-BE49-F238E27FC236}">
                        <a16:creationId xmlns:a16="http://schemas.microsoft.com/office/drawing/2014/main" id="{AD4AB1C4-ACA2-2713-59CB-35DE0DB60669}"/>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182" name="Group 1181">
                  <a:extLst>
                    <a:ext uri="{FF2B5EF4-FFF2-40B4-BE49-F238E27FC236}">
                      <a16:creationId xmlns:a16="http://schemas.microsoft.com/office/drawing/2014/main" id="{FDEB6A4B-ECBB-C0F7-74BA-FD0AD37540B3}"/>
                    </a:ext>
                  </a:extLst>
                </p:cNvPr>
                <p:cNvGrpSpPr/>
                <p:nvPr/>
              </p:nvGrpSpPr>
              <p:grpSpPr>
                <a:xfrm>
                  <a:off x="8087620" y="1070482"/>
                  <a:ext cx="68895" cy="90004"/>
                  <a:chOff x="1773255" y="1810053"/>
                  <a:chExt cx="84653" cy="84653"/>
                </a:xfrm>
              </p:grpSpPr>
              <p:cxnSp>
                <p:nvCxnSpPr>
                  <p:cNvPr id="1243" name="Straight Connector 1242">
                    <a:extLst>
                      <a:ext uri="{FF2B5EF4-FFF2-40B4-BE49-F238E27FC236}">
                        <a16:creationId xmlns:a16="http://schemas.microsoft.com/office/drawing/2014/main" id="{F93689F6-2761-C521-34B5-860CCF3EBB7B}"/>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44" name="Straight Connector 1243">
                    <a:extLst>
                      <a:ext uri="{FF2B5EF4-FFF2-40B4-BE49-F238E27FC236}">
                        <a16:creationId xmlns:a16="http://schemas.microsoft.com/office/drawing/2014/main" id="{570F4356-A9EF-547F-DF49-9951CBCB55F5}"/>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183" name="Group 1182">
                  <a:extLst>
                    <a:ext uri="{FF2B5EF4-FFF2-40B4-BE49-F238E27FC236}">
                      <a16:creationId xmlns:a16="http://schemas.microsoft.com/office/drawing/2014/main" id="{8C00EBB4-B4AA-70F5-2FE9-446A48D1AB54}"/>
                    </a:ext>
                  </a:extLst>
                </p:cNvPr>
                <p:cNvGrpSpPr/>
                <p:nvPr/>
              </p:nvGrpSpPr>
              <p:grpSpPr>
                <a:xfrm>
                  <a:off x="8128317" y="1070482"/>
                  <a:ext cx="68895" cy="90004"/>
                  <a:chOff x="1773255" y="1810053"/>
                  <a:chExt cx="84653" cy="84653"/>
                </a:xfrm>
              </p:grpSpPr>
              <p:cxnSp>
                <p:nvCxnSpPr>
                  <p:cNvPr id="1241" name="Straight Connector 1240">
                    <a:extLst>
                      <a:ext uri="{FF2B5EF4-FFF2-40B4-BE49-F238E27FC236}">
                        <a16:creationId xmlns:a16="http://schemas.microsoft.com/office/drawing/2014/main" id="{63A449D3-9AF4-FE65-5E31-28B64A3D7DFC}"/>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42" name="Straight Connector 1241">
                    <a:extLst>
                      <a:ext uri="{FF2B5EF4-FFF2-40B4-BE49-F238E27FC236}">
                        <a16:creationId xmlns:a16="http://schemas.microsoft.com/office/drawing/2014/main" id="{541A576D-AA5F-6B7B-EC3A-D46273685B26}"/>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184" name="Group 1183">
                  <a:extLst>
                    <a:ext uri="{FF2B5EF4-FFF2-40B4-BE49-F238E27FC236}">
                      <a16:creationId xmlns:a16="http://schemas.microsoft.com/office/drawing/2014/main" id="{1E120C5C-ECF2-C472-6A7E-E6B2F1B6808C}"/>
                    </a:ext>
                  </a:extLst>
                </p:cNvPr>
                <p:cNvGrpSpPr/>
                <p:nvPr/>
              </p:nvGrpSpPr>
              <p:grpSpPr>
                <a:xfrm>
                  <a:off x="8155449" y="1070482"/>
                  <a:ext cx="68895" cy="90004"/>
                  <a:chOff x="1773255" y="1810053"/>
                  <a:chExt cx="84653" cy="84653"/>
                </a:xfrm>
              </p:grpSpPr>
              <p:cxnSp>
                <p:nvCxnSpPr>
                  <p:cNvPr id="1239" name="Straight Connector 1238">
                    <a:extLst>
                      <a:ext uri="{FF2B5EF4-FFF2-40B4-BE49-F238E27FC236}">
                        <a16:creationId xmlns:a16="http://schemas.microsoft.com/office/drawing/2014/main" id="{522B07EA-983D-D5DE-2BEA-7AB2A234AD45}"/>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40" name="Straight Connector 1239">
                    <a:extLst>
                      <a:ext uri="{FF2B5EF4-FFF2-40B4-BE49-F238E27FC236}">
                        <a16:creationId xmlns:a16="http://schemas.microsoft.com/office/drawing/2014/main" id="{71A2AB8B-8419-18CB-CD07-1C791CA05E9F}"/>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185" name="Group 1184">
                  <a:extLst>
                    <a:ext uri="{FF2B5EF4-FFF2-40B4-BE49-F238E27FC236}">
                      <a16:creationId xmlns:a16="http://schemas.microsoft.com/office/drawing/2014/main" id="{54404C0F-7C56-A693-A994-67D1B77C3558}"/>
                    </a:ext>
                  </a:extLst>
                </p:cNvPr>
                <p:cNvGrpSpPr/>
                <p:nvPr/>
              </p:nvGrpSpPr>
              <p:grpSpPr>
                <a:xfrm>
                  <a:off x="8188395" y="1070482"/>
                  <a:ext cx="68895" cy="90004"/>
                  <a:chOff x="1773255" y="1810053"/>
                  <a:chExt cx="84653" cy="84653"/>
                </a:xfrm>
              </p:grpSpPr>
              <p:cxnSp>
                <p:nvCxnSpPr>
                  <p:cNvPr id="1237" name="Straight Connector 1236">
                    <a:extLst>
                      <a:ext uri="{FF2B5EF4-FFF2-40B4-BE49-F238E27FC236}">
                        <a16:creationId xmlns:a16="http://schemas.microsoft.com/office/drawing/2014/main" id="{C4265DC3-4ADB-FF7C-0650-5C06A813761D}"/>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38" name="Straight Connector 1237">
                    <a:extLst>
                      <a:ext uri="{FF2B5EF4-FFF2-40B4-BE49-F238E27FC236}">
                        <a16:creationId xmlns:a16="http://schemas.microsoft.com/office/drawing/2014/main" id="{59684DA4-BF26-5DA9-EDED-485B1140B17D}"/>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186" name="Group 1185">
                  <a:extLst>
                    <a:ext uri="{FF2B5EF4-FFF2-40B4-BE49-F238E27FC236}">
                      <a16:creationId xmlns:a16="http://schemas.microsoft.com/office/drawing/2014/main" id="{9A1892F5-8161-B2BC-D906-5450A6D939AF}"/>
                    </a:ext>
                  </a:extLst>
                </p:cNvPr>
                <p:cNvGrpSpPr/>
                <p:nvPr/>
              </p:nvGrpSpPr>
              <p:grpSpPr>
                <a:xfrm>
                  <a:off x="8221340" y="1070482"/>
                  <a:ext cx="68895" cy="90004"/>
                  <a:chOff x="1773255" y="1810053"/>
                  <a:chExt cx="84653" cy="84653"/>
                </a:xfrm>
              </p:grpSpPr>
              <p:cxnSp>
                <p:nvCxnSpPr>
                  <p:cNvPr id="1235" name="Straight Connector 1234">
                    <a:extLst>
                      <a:ext uri="{FF2B5EF4-FFF2-40B4-BE49-F238E27FC236}">
                        <a16:creationId xmlns:a16="http://schemas.microsoft.com/office/drawing/2014/main" id="{D93A0958-240F-BFE8-ED8F-8258FE14F90C}"/>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36" name="Straight Connector 1235">
                    <a:extLst>
                      <a:ext uri="{FF2B5EF4-FFF2-40B4-BE49-F238E27FC236}">
                        <a16:creationId xmlns:a16="http://schemas.microsoft.com/office/drawing/2014/main" id="{237235D9-1080-C358-F55C-1995A843E0F2}"/>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187" name="Group 1186">
                  <a:extLst>
                    <a:ext uri="{FF2B5EF4-FFF2-40B4-BE49-F238E27FC236}">
                      <a16:creationId xmlns:a16="http://schemas.microsoft.com/office/drawing/2014/main" id="{DB52EE51-5318-E746-4164-2B19BC169893}"/>
                    </a:ext>
                  </a:extLst>
                </p:cNvPr>
                <p:cNvGrpSpPr/>
                <p:nvPr/>
              </p:nvGrpSpPr>
              <p:grpSpPr>
                <a:xfrm>
                  <a:off x="8246534" y="1070482"/>
                  <a:ext cx="68895" cy="90004"/>
                  <a:chOff x="1773255" y="1810053"/>
                  <a:chExt cx="84653" cy="84653"/>
                </a:xfrm>
              </p:grpSpPr>
              <p:cxnSp>
                <p:nvCxnSpPr>
                  <p:cNvPr id="1233" name="Straight Connector 1232">
                    <a:extLst>
                      <a:ext uri="{FF2B5EF4-FFF2-40B4-BE49-F238E27FC236}">
                        <a16:creationId xmlns:a16="http://schemas.microsoft.com/office/drawing/2014/main" id="{9ECAEE5A-95B8-AE79-761E-6EF862B63F50}"/>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34" name="Straight Connector 1233">
                    <a:extLst>
                      <a:ext uri="{FF2B5EF4-FFF2-40B4-BE49-F238E27FC236}">
                        <a16:creationId xmlns:a16="http://schemas.microsoft.com/office/drawing/2014/main" id="{4D917CDF-D27D-FB85-77DF-F2828B7E56D0}"/>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188" name="Group 1187">
                  <a:extLst>
                    <a:ext uri="{FF2B5EF4-FFF2-40B4-BE49-F238E27FC236}">
                      <a16:creationId xmlns:a16="http://schemas.microsoft.com/office/drawing/2014/main" id="{8F83B6B2-5CBD-8149-31E0-5A3CC0D103DD}"/>
                    </a:ext>
                  </a:extLst>
                </p:cNvPr>
                <p:cNvGrpSpPr/>
                <p:nvPr/>
              </p:nvGrpSpPr>
              <p:grpSpPr>
                <a:xfrm>
                  <a:off x="8265914" y="1070482"/>
                  <a:ext cx="68895" cy="90004"/>
                  <a:chOff x="1773255" y="1810053"/>
                  <a:chExt cx="84653" cy="84653"/>
                </a:xfrm>
              </p:grpSpPr>
              <p:cxnSp>
                <p:nvCxnSpPr>
                  <p:cNvPr id="1231" name="Straight Connector 1230">
                    <a:extLst>
                      <a:ext uri="{FF2B5EF4-FFF2-40B4-BE49-F238E27FC236}">
                        <a16:creationId xmlns:a16="http://schemas.microsoft.com/office/drawing/2014/main" id="{89C77155-7F17-9A3D-B7C8-D17BB5F3070B}"/>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32" name="Straight Connector 1231">
                    <a:extLst>
                      <a:ext uri="{FF2B5EF4-FFF2-40B4-BE49-F238E27FC236}">
                        <a16:creationId xmlns:a16="http://schemas.microsoft.com/office/drawing/2014/main" id="{5A4A4A34-06E3-876F-1923-AA1140EDE8B1}"/>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189" name="Group 1188">
                  <a:extLst>
                    <a:ext uri="{FF2B5EF4-FFF2-40B4-BE49-F238E27FC236}">
                      <a16:creationId xmlns:a16="http://schemas.microsoft.com/office/drawing/2014/main" id="{7FD1B561-FA2B-0B44-4613-B614814E1A2A}"/>
                    </a:ext>
                  </a:extLst>
                </p:cNvPr>
                <p:cNvGrpSpPr/>
                <p:nvPr/>
              </p:nvGrpSpPr>
              <p:grpSpPr>
                <a:xfrm>
                  <a:off x="8300798" y="1070482"/>
                  <a:ext cx="68895" cy="90004"/>
                  <a:chOff x="1773255" y="1810053"/>
                  <a:chExt cx="84653" cy="84653"/>
                </a:xfrm>
              </p:grpSpPr>
              <p:cxnSp>
                <p:nvCxnSpPr>
                  <p:cNvPr id="1229" name="Straight Connector 1228">
                    <a:extLst>
                      <a:ext uri="{FF2B5EF4-FFF2-40B4-BE49-F238E27FC236}">
                        <a16:creationId xmlns:a16="http://schemas.microsoft.com/office/drawing/2014/main" id="{35169287-8CD0-981D-AB04-3830C0CF2BED}"/>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30" name="Straight Connector 1229">
                    <a:extLst>
                      <a:ext uri="{FF2B5EF4-FFF2-40B4-BE49-F238E27FC236}">
                        <a16:creationId xmlns:a16="http://schemas.microsoft.com/office/drawing/2014/main" id="{ACB6B08D-FC43-D2F5-8CCF-A19C1D07E373}"/>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190" name="Group 1189">
                  <a:extLst>
                    <a:ext uri="{FF2B5EF4-FFF2-40B4-BE49-F238E27FC236}">
                      <a16:creationId xmlns:a16="http://schemas.microsoft.com/office/drawing/2014/main" id="{D17E0A46-9C04-523C-5A56-3CE91065847C}"/>
                    </a:ext>
                  </a:extLst>
                </p:cNvPr>
                <p:cNvGrpSpPr/>
                <p:nvPr/>
              </p:nvGrpSpPr>
              <p:grpSpPr>
                <a:xfrm>
                  <a:off x="8368627" y="1070482"/>
                  <a:ext cx="68895" cy="90004"/>
                  <a:chOff x="1773255" y="1810053"/>
                  <a:chExt cx="84653" cy="84653"/>
                </a:xfrm>
              </p:grpSpPr>
              <p:cxnSp>
                <p:nvCxnSpPr>
                  <p:cNvPr id="1227" name="Straight Connector 1226">
                    <a:extLst>
                      <a:ext uri="{FF2B5EF4-FFF2-40B4-BE49-F238E27FC236}">
                        <a16:creationId xmlns:a16="http://schemas.microsoft.com/office/drawing/2014/main" id="{8C633D4A-ECB0-E060-7030-99BBB7282EE6}"/>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28" name="Straight Connector 1227">
                    <a:extLst>
                      <a:ext uri="{FF2B5EF4-FFF2-40B4-BE49-F238E27FC236}">
                        <a16:creationId xmlns:a16="http://schemas.microsoft.com/office/drawing/2014/main" id="{EE1C0A89-DBD7-DBA5-3F5F-5621DAF7C42F}"/>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191" name="Group 1190">
                  <a:extLst>
                    <a:ext uri="{FF2B5EF4-FFF2-40B4-BE49-F238E27FC236}">
                      <a16:creationId xmlns:a16="http://schemas.microsoft.com/office/drawing/2014/main" id="{200BEF09-E212-EA44-98B4-4BD9F653212C}"/>
                    </a:ext>
                  </a:extLst>
                </p:cNvPr>
                <p:cNvGrpSpPr/>
                <p:nvPr/>
              </p:nvGrpSpPr>
              <p:grpSpPr>
                <a:xfrm>
                  <a:off x="8388007" y="1070482"/>
                  <a:ext cx="68895" cy="90004"/>
                  <a:chOff x="1773255" y="1810053"/>
                  <a:chExt cx="84653" cy="84653"/>
                </a:xfrm>
              </p:grpSpPr>
              <p:cxnSp>
                <p:nvCxnSpPr>
                  <p:cNvPr id="1225" name="Straight Connector 1224">
                    <a:extLst>
                      <a:ext uri="{FF2B5EF4-FFF2-40B4-BE49-F238E27FC236}">
                        <a16:creationId xmlns:a16="http://schemas.microsoft.com/office/drawing/2014/main" id="{CB25D94F-087C-6068-2E82-A46223519192}"/>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26" name="Straight Connector 1225">
                    <a:extLst>
                      <a:ext uri="{FF2B5EF4-FFF2-40B4-BE49-F238E27FC236}">
                        <a16:creationId xmlns:a16="http://schemas.microsoft.com/office/drawing/2014/main" id="{B604CA15-CD82-89E6-4F3C-FEF205FB06BE}"/>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192" name="Group 1191">
                  <a:extLst>
                    <a:ext uri="{FF2B5EF4-FFF2-40B4-BE49-F238E27FC236}">
                      <a16:creationId xmlns:a16="http://schemas.microsoft.com/office/drawing/2014/main" id="{EADEE871-C44D-C23F-DFB1-2CAFC7994C44}"/>
                    </a:ext>
                  </a:extLst>
                </p:cNvPr>
                <p:cNvGrpSpPr/>
                <p:nvPr/>
              </p:nvGrpSpPr>
              <p:grpSpPr>
                <a:xfrm>
                  <a:off x="8444208" y="1070482"/>
                  <a:ext cx="68895" cy="90004"/>
                  <a:chOff x="1773255" y="1810053"/>
                  <a:chExt cx="84653" cy="84653"/>
                </a:xfrm>
              </p:grpSpPr>
              <p:cxnSp>
                <p:nvCxnSpPr>
                  <p:cNvPr id="1223" name="Straight Connector 1222">
                    <a:extLst>
                      <a:ext uri="{FF2B5EF4-FFF2-40B4-BE49-F238E27FC236}">
                        <a16:creationId xmlns:a16="http://schemas.microsoft.com/office/drawing/2014/main" id="{E61B73BF-95C4-E384-6A3E-528C63CB5307}"/>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24" name="Straight Connector 1223">
                    <a:extLst>
                      <a:ext uri="{FF2B5EF4-FFF2-40B4-BE49-F238E27FC236}">
                        <a16:creationId xmlns:a16="http://schemas.microsoft.com/office/drawing/2014/main" id="{65DDEF7B-B8B9-0FBB-106D-8945552BD5C2}"/>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193" name="Group 1192">
                  <a:extLst>
                    <a:ext uri="{FF2B5EF4-FFF2-40B4-BE49-F238E27FC236}">
                      <a16:creationId xmlns:a16="http://schemas.microsoft.com/office/drawing/2014/main" id="{E442B6BB-5949-9001-A155-DB2004D313DD}"/>
                    </a:ext>
                  </a:extLst>
                </p:cNvPr>
                <p:cNvGrpSpPr/>
                <p:nvPr/>
              </p:nvGrpSpPr>
              <p:grpSpPr>
                <a:xfrm>
                  <a:off x="8473277" y="1070482"/>
                  <a:ext cx="68895" cy="90004"/>
                  <a:chOff x="1773255" y="1810053"/>
                  <a:chExt cx="84653" cy="84653"/>
                </a:xfrm>
              </p:grpSpPr>
              <p:cxnSp>
                <p:nvCxnSpPr>
                  <p:cNvPr id="1221" name="Straight Connector 1220">
                    <a:extLst>
                      <a:ext uri="{FF2B5EF4-FFF2-40B4-BE49-F238E27FC236}">
                        <a16:creationId xmlns:a16="http://schemas.microsoft.com/office/drawing/2014/main" id="{EB94DC18-08F7-401D-77EF-334902CB1ADA}"/>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22" name="Straight Connector 1221">
                    <a:extLst>
                      <a:ext uri="{FF2B5EF4-FFF2-40B4-BE49-F238E27FC236}">
                        <a16:creationId xmlns:a16="http://schemas.microsoft.com/office/drawing/2014/main" id="{272D5330-5F42-6650-D560-761D2B92197E}"/>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194" name="Group 1193">
                  <a:extLst>
                    <a:ext uri="{FF2B5EF4-FFF2-40B4-BE49-F238E27FC236}">
                      <a16:creationId xmlns:a16="http://schemas.microsoft.com/office/drawing/2014/main" id="{D164DD7A-5EE3-B4A8-A9A8-F6BA94BB3BA5}"/>
                    </a:ext>
                  </a:extLst>
                </p:cNvPr>
                <p:cNvGrpSpPr/>
                <p:nvPr/>
              </p:nvGrpSpPr>
              <p:grpSpPr>
                <a:xfrm>
                  <a:off x="8512037" y="1070482"/>
                  <a:ext cx="68895" cy="90004"/>
                  <a:chOff x="1773255" y="1810053"/>
                  <a:chExt cx="84653" cy="84653"/>
                </a:xfrm>
              </p:grpSpPr>
              <p:cxnSp>
                <p:nvCxnSpPr>
                  <p:cNvPr id="1219" name="Straight Connector 1218">
                    <a:extLst>
                      <a:ext uri="{FF2B5EF4-FFF2-40B4-BE49-F238E27FC236}">
                        <a16:creationId xmlns:a16="http://schemas.microsoft.com/office/drawing/2014/main" id="{4F8D843C-50D3-D9A4-9AE2-4A456613B1B1}"/>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20" name="Straight Connector 1219">
                    <a:extLst>
                      <a:ext uri="{FF2B5EF4-FFF2-40B4-BE49-F238E27FC236}">
                        <a16:creationId xmlns:a16="http://schemas.microsoft.com/office/drawing/2014/main" id="{8CA2388A-E842-CE24-4AD4-151CB2343F09}"/>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195" name="Group 1194">
                  <a:extLst>
                    <a:ext uri="{FF2B5EF4-FFF2-40B4-BE49-F238E27FC236}">
                      <a16:creationId xmlns:a16="http://schemas.microsoft.com/office/drawing/2014/main" id="{2BBA650B-3AB7-B377-89B2-14D7559052C9}"/>
                    </a:ext>
                  </a:extLst>
                </p:cNvPr>
                <p:cNvGrpSpPr/>
                <p:nvPr/>
              </p:nvGrpSpPr>
              <p:grpSpPr>
                <a:xfrm>
                  <a:off x="8527541" y="1070482"/>
                  <a:ext cx="68895" cy="90004"/>
                  <a:chOff x="1773255" y="1810053"/>
                  <a:chExt cx="84653" cy="84653"/>
                </a:xfrm>
              </p:grpSpPr>
              <p:cxnSp>
                <p:nvCxnSpPr>
                  <p:cNvPr id="1217" name="Straight Connector 1216">
                    <a:extLst>
                      <a:ext uri="{FF2B5EF4-FFF2-40B4-BE49-F238E27FC236}">
                        <a16:creationId xmlns:a16="http://schemas.microsoft.com/office/drawing/2014/main" id="{CCC81924-2593-3907-FBF4-CDDC145E3FD8}"/>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18" name="Straight Connector 1217">
                    <a:extLst>
                      <a:ext uri="{FF2B5EF4-FFF2-40B4-BE49-F238E27FC236}">
                        <a16:creationId xmlns:a16="http://schemas.microsoft.com/office/drawing/2014/main" id="{262FD016-06E2-55F8-9D68-1CB18F4CB147}"/>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196" name="Group 1195">
                  <a:extLst>
                    <a:ext uri="{FF2B5EF4-FFF2-40B4-BE49-F238E27FC236}">
                      <a16:creationId xmlns:a16="http://schemas.microsoft.com/office/drawing/2014/main" id="{49E0CF02-624C-7EBA-7E3C-FB14D6C1BAF2}"/>
                    </a:ext>
                  </a:extLst>
                </p:cNvPr>
                <p:cNvGrpSpPr/>
                <p:nvPr/>
              </p:nvGrpSpPr>
              <p:grpSpPr>
                <a:xfrm>
                  <a:off x="8564362" y="1070482"/>
                  <a:ext cx="68895" cy="90004"/>
                  <a:chOff x="1773255" y="1810053"/>
                  <a:chExt cx="84653" cy="84653"/>
                </a:xfrm>
              </p:grpSpPr>
              <p:cxnSp>
                <p:nvCxnSpPr>
                  <p:cNvPr id="1215" name="Straight Connector 1214">
                    <a:extLst>
                      <a:ext uri="{FF2B5EF4-FFF2-40B4-BE49-F238E27FC236}">
                        <a16:creationId xmlns:a16="http://schemas.microsoft.com/office/drawing/2014/main" id="{C16BE03E-41EF-842D-DBE5-786D928FB5EA}"/>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16" name="Straight Connector 1215">
                    <a:extLst>
                      <a:ext uri="{FF2B5EF4-FFF2-40B4-BE49-F238E27FC236}">
                        <a16:creationId xmlns:a16="http://schemas.microsoft.com/office/drawing/2014/main" id="{DC41216F-BF5E-527E-A90F-E0FB93B40410}"/>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197" name="Group 1196">
                  <a:extLst>
                    <a:ext uri="{FF2B5EF4-FFF2-40B4-BE49-F238E27FC236}">
                      <a16:creationId xmlns:a16="http://schemas.microsoft.com/office/drawing/2014/main" id="{9BE5D708-1742-FB11-7C66-4C922930FF68}"/>
                    </a:ext>
                  </a:extLst>
                </p:cNvPr>
                <p:cNvGrpSpPr/>
                <p:nvPr/>
              </p:nvGrpSpPr>
              <p:grpSpPr>
                <a:xfrm>
                  <a:off x="8638005" y="1070482"/>
                  <a:ext cx="68895" cy="90004"/>
                  <a:chOff x="1773255" y="1810053"/>
                  <a:chExt cx="84653" cy="84653"/>
                </a:xfrm>
              </p:grpSpPr>
              <p:cxnSp>
                <p:nvCxnSpPr>
                  <p:cNvPr id="1213" name="Straight Connector 1212">
                    <a:extLst>
                      <a:ext uri="{FF2B5EF4-FFF2-40B4-BE49-F238E27FC236}">
                        <a16:creationId xmlns:a16="http://schemas.microsoft.com/office/drawing/2014/main" id="{36BEC99C-E16F-F6D8-F4D5-613381E480DD}"/>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14" name="Straight Connector 1213">
                    <a:extLst>
                      <a:ext uri="{FF2B5EF4-FFF2-40B4-BE49-F238E27FC236}">
                        <a16:creationId xmlns:a16="http://schemas.microsoft.com/office/drawing/2014/main" id="{B28EDE79-4078-464F-9816-446AB3558AB0}"/>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198" name="Group 1197">
                  <a:extLst>
                    <a:ext uri="{FF2B5EF4-FFF2-40B4-BE49-F238E27FC236}">
                      <a16:creationId xmlns:a16="http://schemas.microsoft.com/office/drawing/2014/main" id="{A9380834-4136-408E-4880-2C9116588F50}"/>
                    </a:ext>
                  </a:extLst>
                </p:cNvPr>
                <p:cNvGrpSpPr/>
                <p:nvPr/>
              </p:nvGrpSpPr>
              <p:grpSpPr>
                <a:xfrm>
                  <a:off x="8667075" y="1070482"/>
                  <a:ext cx="68895" cy="90004"/>
                  <a:chOff x="1773255" y="1810053"/>
                  <a:chExt cx="84653" cy="84653"/>
                </a:xfrm>
              </p:grpSpPr>
              <p:cxnSp>
                <p:nvCxnSpPr>
                  <p:cNvPr id="1211" name="Straight Connector 1210">
                    <a:extLst>
                      <a:ext uri="{FF2B5EF4-FFF2-40B4-BE49-F238E27FC236}">
                        <a16:creationId xmlns:a16="http://schemas.microsoft.com/office/drawing/2014/main" id="{7EC9A79D-FA5F-6520-6B37-9297DC20A3D6}"/>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12" name="Straight Connector 1211">
                    <a:extLst>
                      <a:ext uri="{FF2B5EF4-FFF2-40B4-BE49-F238E27FC236}">
                        <a16:creationId xmlns:a16="http://schemas.microsoft.com/office/drawing/2014/main" id="{AE36CC4C-75B4-4E8F-0E72-DF774AFF813B}"/>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199" name="Group 1198">
                  <a:extLst>
                    <a:ext uri="{FF2B5EF4-FFF2-40B4-BE49-F238E27FC236}">
                      <a16:creationId xmlns:a16="http://schemas.microsoft.com/office/drawing/2014/main" id="{D841F51A-891B-BB55-072B-0C762F2249D6}"/>
                    </a:ext>
                  </a:extLst>
                </p:cNvPr>
                <p:cNvGrpSpPr/>
                <p:nvPr/>
              </p:nvGrpSpPr>
              <p:grpSpPr>
                <a:xfrm>
                  <a:off x="8688393" y="1070482"/>
                  <a:ext cx="68895" cy="90004"/>
                  <a:chOff x="1773255" y="1810053"/>
                  <a:chExt cx="84653" cy="84653"/>
                </a:xfrm>
              </p:grpSpPr>
              <p:cxnSp>
                <p:nvCxnSpPr>
                  <p:cNvPr id="1209" name="Straight Connector 1208">
                    <a:extLst>
                      <a:ext uri="{FF2B5EF4-FFF2-40B4-BE49-F238E27FC236}">
                        <a16:creationId xmlns:a16="http://schemas.microsoft.com/office/drawing/2014/main" id="{7C8423D2-E462-1A1C-E697-880B8F4A83BC}"/>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10" name="Straight Connector 1209">
                    <a:extLst>
                      <a:ext uri="{FF2B5EF4-FFF2-40B4-BE49-F238E27FC236}">
                        <a16:creationId xmlns:a16="http://schemas.microsoft.com/office/drawing/2014/main" id="{E6304F79-CEDD-045F-C989-D2142AB580A9}"/>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200" name="Group 1199">
                  <a:extLst>
                    <a:ext uri="{FF2B5EF4-FFF2-40B4-BE49-F238E27FC236}">
                      <a16:creationId xmlns:a16="http://schemas.microsoft.com/office/drawing/2014/main" id="{3D885FA3-4A37-56FC-C9AC-C6F79A4CE91E}"/>
                    </a:ext>
                  </a:extLst>
                </p:cNvPr>
                <p:cNvGrpSpPr/>
                <p:nvPr/>
              </p:nvGrpSpPr>
              <p:grpSpPr>
                <a:xfrm>
                  <a:off x="8717463" y="1070482"/>
                  <a:ext cx="68895" cy="90004"/>
                  <a:chOff x="1773255" y="1810053"/>
                  <a:chExt cx="84653" cy="84653"/>
                </a:xfrm>
              </p:grpSpPr>
              <p:cxnSp>
                <p:nvCxnSpPr>
                  <p:cNvPr id="1207" name="Straight Connector 1206">
                    <a:extLst>
                      <a:ext uri="{FF2B5EF4-FFF2-40B4-BE49-F238E27FC236}">
                        <a16:creationId xmlns:a16="http://schemas.microsoft.com/office/drawing/2014/main" id="{E08D82C2-92F8-B692-6A66-73BCB570958C}"/>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08" name="Straight Connector 1207">
                    <a:extLst>
                      <a:ext uri="{FF2B5EF4-FFF2-40B4-BE49-F238E27FC236}">
                        <a16:creationId xmlns:a16="http://schemas.microsoft.com/office/drawing/2014/main" id="{205E11A9-B5A1-154A-29C8-3B979E0BAE87}"/>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201" name="Group 1200">
                  <a:extLst>
                    <a:ext uri="{FF2B5EF4-FFF2-40B4-BE49-F238E27FC236}">
                      <a16:creationId xmlns:a16="http://schemas.microsoft.com/office/drawing/2014/main" id="{1ECACFCC-0565-100E-085E-4A078F1269FA}"/>
                    </a:ext>
                  </a:extLst>
                </p:cNvPr>
                <p:cNvGrpSpPr/>
                <p:nvPr/>
              </p:nvGrpSpPr>
              <p:grpSpPr>
                <a:xfrm>
                  <a:off x="8748470" y="1070482"/>
                  <a:ext cx="68895" cy="90004"/>
                  <a:chOff x="1773255" y="1810053"/>
                  <a:chExt cx="84653" cy="84653"/>
                </a:xfrm>
              </p:grpSpPr>
              <p:cxnSp>
                <p:nvCxnSpPr>
                  <p:cNvPr id="1205" name="Straight Connector 1204">
                    <a:extLst>
                      <a:ext uri="{FF2B5EF4-FFF2-40B4-BE49-F238E27FC236}">
                        <a16:creationId xmlns:a16="http://schemas.microsoft.com/office/drawing/2014/main" id="{0CB14C3C-BA49-5F2C-4C0A-4A3F15C130DA}"/>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06" name="Straight Connector 1205">
                    <a:extLst>
                      <a:ext uri="{FF2B5EF4-FFF2-40B4-BE49-F238E27FC236}">
                        <a16:creationId xmlns:a16="http://schemas.microsoft.com/office/drawing/2014/main" id="{D21CF372-0722-D40A-5648-C3B0C5B3BDB0}"/>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202" name="Group 1201">
                  <a:extLst>
                    <a:ext uri="{FF2B5EF4-FFF2-40B4-BE49-F238E27FC236}">
                      <a16:creationId xmlns:a16="http://schemas.microsoft.com/office/drawing/2014/main" id="{BFDA3E8D-072C-DCC2-E2D6-0D34334E342B}"/>
                    </a:ext>
                  </a:extLst>
                </p:cNvPr>
                <p:cNvGrpSpPr/>
                <p:nvPr/>
              </p:nvGrpSpPr>
              <p:grpSpPr>
                <a:xfrm>
                  <a:off x="8798857" y="1070482"/>
                  <a:ext cx="68895" cy="90004"/>
                  <a:chOff x="1773255" y="1810053"/>
                  <a:chExt cx="84653" cy="84653"/>
                </a:xfrm>
              </p:grpSpPr>
              <p:cxnSp>
                <p:nvCxnSpPr>
                  <p:cNvPr id="1203" name="Straight Connector 1202">
                    <a:extLst>
                      <a:ext uri="{FF2B5EF4-FFF2-40B4-BE49-F238E27FC236}">
                        <a16:creationId xmlns:a16="http://schemas.microsoft.com/office/drawing/2014/main" id="{647B9B2C-B78C-3464-8AEA-29CFA44103C4}"/>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04" name="Straight Connector 1203">
                    <a:extLst>
                      <a:ext uri="{FF2B5EF4-FFF2-40B4-BE49-F238E27FC236}">
                        <a16:creationId xmlns:a16="http://schemas.microsoft.com/office/drawing/2014/main" id="{86444F76-4755-F3CF-7218-C94BF86C3A16}"/>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grpSp>
        <p:grpSp>
          <p:nvGrpSpPr>
            <p:cNvPr id="1528" name="Group 1527">
              <a:extLst>
                <a:ext uri="{FF2B5EF4-FFF2-40B4-BE49-F238E27FC236}">
                  <a16:creationId xmlns:a16="http://schemas.microsoft.com/office/drawing/2014/main" id="{9372A69F-DAEE-8860-A128-2B40032C9CE3}"/>
                </a:ext>
              </a:extLst>
            </p:cNvPr>
            <p:cNvGrpSpPr/>
            <p:nvPr/>
          </p:nvGrpSpPr>
          <p:grpSpPr>
            <a:xfrm>
              <a:off x="3529822" y="1802207"/>
              <a:ext cx="5047505" cy="1358211"/>
              <a:chOff x="3529822" y="1802985"/>
              <a:chExt cx="5047505" cy="1427147"/>
            </a:xfrm>
          </p:grpSpPr>
          <p:grpSp>
            <p:nvGrpSpPr>
              <p:cNvPr id="1162" name="Group 1161">
                <a:extLst>
                  <a:ext uri="{FF2B5EF4-FFF2-40B4-BE49-F238E27FC236}">
                    <a16:creationId xmlns:a16="http://schemas.microsoft.com/office/drawing/2014/main" id="{9B6C528C-8743-73CC-772C-6073C8ABD306}"/>
                  </a:ext>
                </a:extLst>
              </p:cNvPr>
              <p:cNvGrpSpPr/>
              <p:nvPr/>
            </p:nvGrpSpPr>
            <p:grpSpPr>
              <a:xfrm>
                <a:off x="7548686" y="3095043"/>
                <a:ext cx="1028641" cy="135089"/>
                <a:chOff x="8860224" y="2685399"/>
                <a:chExt cx="1475866" cy="125448"/>
              </a:xfrm>
            </p:grpSpPr>
            <p:grpSp>
              <p:nvGrpSpPr>
                <p:cNvPr id="1442" name="Group 1441">
                  <a:extLst>
                    <a:ext uri="{FF2B5EF4-FFF2-40B4-BE49-F238E27FC236}">
                      <a16:creationId xmlns:a16="http://schemas.microsoft.com/office/drawing/2014/main" id="{F12652BE-E48B-5407-E35B-350F15A16B76}"/>
                    </a:ext>
                  </a:extLst>
                </p:cNvPr>
                <p:cNvGrpSpPr/>
                <p:nvPr/>
              </p:nvGrpSpPr>
              <p:grpSpPr>
                <a:xfrm>
                  <a:off x="8860224" y="2685399"/>
                  <a:ext cx="1475866" cy="125448"/>
                  <a:chOff x="8860224" y="2740632"/>
                  <a:chExt cx="1475866" cy="125448"/>
                </a:xfrm>
              </p:grpSpPr>
              <p:grpSp>
                <p:nvGrpSpPr>
                  <p:cNvPr id="1444" name="Group 1443">
                    <a:extLst>
                      <a:ext uri="{FF2B5EF4-FFF2-40B4-BE49-F238E27FC236}">
                        <a16:creationId xmlns:a16="http://schemas.microsoft.com/office/drawing/2014/main" id="{E6E7F0CE-49A8-34FC-D64B-657351C88BA7}"/>
                      </a:ext>
                    </a:extLst>
                  </p:cNvPr>
                  <p:cNvGrpSpPr/>
                  <p:nvPr/>
                </p:nvGrpSpPr>
                <p:grpSpPr>
                  <a:xfrm>
                    <a:off x="8860224" y="2740632"/>
                    <a:ext cx="68895" cy="90004"/>
                    <a:chOff x="6128595" y="3199359"/>
                    <a:chExt cx="84653" cy="84653"/>
                  </a:xfrm>
                </p:grpSpPr>
                <p:cxnSp>
                  <p:nvCxnSpPr>
                    <p:cNvPr id="1511" name="Straight Connector 1510">
                      <a:extLst>
                        <a:ext uri="{FF2B5EF4-FFF2-40B4-BE49-F238E27FC236}">
                          <a16:creationId xmlns:a16="http://schemas.microsoft.com/office/drawing/2014/main" id="{862B25CC-182E-0BC1-A6B7-55E4060D8E0D}"/>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512" name="Straight Connector 1511">
                      <a:extLst>
                        <a:ext uri="{FF2B5EF4-FFF2-40B4-BE49-F238E27FC236}">
                          <a16:creationId xmlns:a16="http://schemas.microsoft.com/office/drawing/2014/main" id="{96B73F10-D0B1-CCA4-DF65-A3897AD19BD8}"/>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445" name="Group 1444">
                    <a:extLst>
                      <a:ext uri="{FF2B5EF4-FFF2-40B4-BE49-F238E27FC236}">
                        <a16:creationId xmlns:a16="http://schemas.microsoft.com/office/drawing/2014/main" id="{12D659D8-A650-D975-C81A-C451EB8BD060}"/>
                      </a:ext>
                    </a:extLst>
                  </p:cNvPr>
                  <p:cNvGrpSpPr/>
                  <p:nvPr/>
                </p:nvGrpSpPr>
                <p:grpSpPr>
                  <a:xfrm>
                    <a:off x="8910611" y="2776076"/>
                    <a:ext cx="68895" cy="90004"/>
                    <a:chOff x="6128595" y="3199359"/>
                    <a:chExt cx="84653" cy="84653"/>
                  </a:xfrm>
                </p:grpSpPr>
                <p:cxnSp>
                  <p:nvCxnSpPr>
                    <p:cNvPr id="1509" name="Straight Connector 1508">
                      <a:extLst>
                        <a:ext uri="{FF2B5EF4-FFF2-40B4-BE49-F238E27FC236}">
                          <a16:creationId xmlns:a16="http://schemas.microsoft.com/office/drawing/2014/main" id="{AE24977D-744F-ECD1-6DB3-9563C257A060}"/>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510" name="Straight Connector 1509">
                      <a:extLst>
                        <a:ext uri="{FF2B5EF4-FFF2-40B4-BE49-F238E27FC236}">
                          <a16:creationId xmlns:a16="http://schemas.microsoft.com/office/drawing/2014/main" id="{0550F2A6-CF2D-B4BA-05B5-616B032ADC3B}"/>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446" name="Group 1445">
                    <a:extLst>
                      <a:ext uri="{FF2B5EF4-FFF2-40B4-BE49-F238E27FC236}">
                        <a16:creationId xmlns:a16="http://schemas.microsoft.com/office/drawing/2014/main" id="{3EE610DF-A88B-1BA6-1213-DFCC02E58CD9}"/>
                      </a:ext>
                    </a:extLst>
                  </p:cNvPr>
                  <p:cNvGrpSpPr/>
                  <p:nvPr/>
                </p:nvGrpSpPr>
                <p:grpSpPr>
                  <a:xfrm>
                    <a:off x="8976502" y="2776076"/>
                    <a:ext cx="68895" cy="90004"/>
                    <a:chOff x="6128595" y="3199359"/>
                    <a:chExt cx="84653" cy="84653"/>
                  </a:xfrm>
                </p:grpSpPr>
                <p:cxnSp>
                  <p:nvCxnSpPr>
                    <p:cNvPr id="1507" name="Straight Connector 1506">
                      <a:extLst>
                        <a:ext uri="{FF2B5EF4-FFF2-40B4-BE49-F238E27FC236}">
                          <a16:creationId xmlns:a16="http://schemas.microsoft.com/office/drawing/2014/main" id="{34112DB8-F977-B430-5847-C755D2A6247B}"/>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508" name="Straight Connector 1507">
                      <a:extLst>
                        <a:ext uri="{FF2B5EF4-FFF2-40B4-BE49-F238E27FC236}">
                          <a16:creationId xmlns:a16="http://schemas.microsoft.com/office/drawing/2014/main" id="{C07E8356-0C1C-A928-BA35-D4077B13B597}"/>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447" name="Group 1446">
                    <a:extLst>
                      <a:ext uri="{FF2B5EF4-FFF2-40B4-BE49-F238E27FC236}">
                        <a16:creationId xmlns:a16="http://schemas.microsoft.com/office/drawing/2014/main" id="{CFC10008-DDF0-3CBD-6FA9-972F09ACEEAB}"/>
                      </a:ext>
                    </a:extLst>
                  </p:cNvPr>
                  <p:cNvGrpSpPr/>
                  <p:nvPr/>
                </p:nvGrpSpPr>
                <p:grpSpPr>
                  <a:xfrm>
                    <a:off x="9021075" y="2776076"/>
                    <a:ext cx="68895" cy="90004"/>
                    <a:chOff x="6128595" y="3199359"/>
                    <a:chExt cx="84653" cy="84653"/>
                  </a:xfrm>
                </p:grpSpPr>
                <p:cxnSp>
                  <p:nvCxnSpPr>
                    <p:cNvPr id="1505" name="Straight Connector 1504">
                      <a:extLst>
                        <a:ext uri="{FF2B5EF4-FFF2-40B4-BE49-F238E27FC236}">
                          <a16:creationId xmlns:a16="http://schemas.microsoft.com/office/drawing/2014/main" id="{466FE1E8-4928-5FEA-1FBB-918C7F307D9B}"/>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506" name="Straight Connector 1505">
                      <a:extLst>
                        <a:ext uri="{FF2B5EF4-FFF2-40B4-BE49-F238E27FC236}">
                          <a16:creationId xmlns:a16="http://schemas.microsoft.com/office/drawing/2014/main" id="{6DAD01F9-07D2-36EC-A05E-4FAF94FCCEA7}"/>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448" name="Group 1447">
                    <a:extLst>
                      <a:ext uri="{FF2B5EF4-FFF2-40B4-BE49-F238E27FC236}">
                        <a16:creationId xmlns:a16="http://schemas.microsoft.com/office/drawing/2014/main" id="{BF0EEAEC-9564-AC3F-71A4-D0C91875931A}"/>
                      </a:ext>
                    </a:extLst>
                  </p:cNvPr>
                  <p:cNvGrpSpPr/>
                  <p:nvPr/>
                </p:nvGrpSpPr>
                <p:grpSpPr>
                  <a:xfrm>
                    <a:off x="9048207" y="2776076"/>
                    <a:ext cx="68895" cy="90004"/>
                    <a:chOff x="6128595" y="3199359"/>
                    <a:chExt cx="84653" cy="84653"/>
                  </a:xfrm>
                </p:grpSpPr>
                <p:cxnSp>
                  <p:nvCxnSpPr>
                    <p:cNvPr id="1503" name="Straight Connector 1502">
                      <a:extLst>
                        <a:ext uri="{FF2B5EF4-FFF2-40B4-BE49-F238E27FC236}">
                          <a16:creationId xmlns:a16="http://schemas.microsoft.com/office/drawing/2014/main" id="{4E1A360C-A06B-4F15-348E-4DF8304342AB}"/>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504" name="Straight Connector 1503">
                      <a:extLst>
                        <a:ext uri="{FF2B5EF4-FFF2-40B4-BE49-F238E27FC236}">
                          <a16:creationId xmlns:a16="http://schemas.microsoft.com/office/drawing/2014/main" id="{395D46B5-ED90-B4D7-427C-0B9AA811122E}"/>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449" name="Group 1448">
                    <a:extLst>
                      <a:ext uri="{FF2B5EF4-FFF2-40B4-BE49-F238E27FC236}">
                        <a16:creationId xmlns:a16="http://schemas.microsoft.com/office/drawing/2014/main" id="{2CBA7882-BB5F-ED1D-7C9F-2A5C3C0E2D71}"/>
                      </a:ext>
                    </a:extLst>
                  </p:cNvPr>
                  <p:cNvGrpSpPr/>
                  <p:nvPr/>
                </p:nvGrpSpPr>
                <p:grpSpPr>
                  <a:xfrm>
                    <a:off x="9086966" y="2776076"/>
                    <a:ext cx="68895" cy="90004"/>
                    <a:chOff x="6128595" y="3199359"/>
                    <a:chExt cx="84653" cy="84653"/>
                  </a:xfrm>
                </p:grpSpPr>
                <p:cxnSp>
                  <p:nvCxnSpPr>
                    <p:cNvPr id="1501" name="Straight Connector 1500">
                      <a:extLst>
                        <a:ext uri="{FF2B5EF4-FFF2-40B4-BE49-F238E27FC236}">
                          <a16:creationId xmlns:a16="http://schemas.microsoft.com/office/drawing/2014/main" id="{E85E8B63-CBB6-F0BA-247F-ACE08601B22B}"/>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502" name="Straight Connector 1501">
                      <a:extLst>
                        <a:ext uri="{FF2B5EF4-FFF2-40B4-BE49-F238E27FC236}">
                          <a16:creationId xmlns:a16="http://schemas.microsoft.com/office/drawing/2014/main" id="{02750147-9797-0F4E-E2FD-7C85D3E7714E}"/>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450" name="Group 1449">
                    <a:extLst>
                      <a:ext uri="{FF2B5EF4-FFF2-40B4-BE49-F238E27FC236}">
                        <a16:creationId xmlns:a16="http://schemas.microsoft.com/office/drawing/2014/main" id="{0E0E51F7-3324-D1BF-7D79-917A006C1F94}"/>
                      </a:ext>
                    </a:extLst>
                  </p:cNvPr>
                  <p:cNvGrpSpPr/>
                  <p:nvPr/>
                </p:nvGrpSpPr>
                <p:grpSpPr>
                  <a:xfrm>
                    <a:off x="9133478" y="2776076"/>
                    <a:ext cx="68895" cy="90004"/>
                    <a:chOff x="6128595" y="3199359"/>
                    <a:chExt cx="84653" cy="84653"/>
                  </a:xfrm>
                </p:grpSpPr>
                <p:cxnSp>
                  <p:nvCxnSpPr>
                    <p:cNvPr id="1499" name="Straight Connector 1498">
                      <a:extLst>
                        <a:ext uri="{FF2B5EF4-FFF2-40B4-BE49-F238E27FC236}">
                          <a16:creationId xmlns:a16="http://schemas.microsoft.com/office/drawing/2014/main" id="{B4FB6504-7EE9-5801-DD7F-4E5B95BED4EE}"/>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500" name="Straight Connector 1499">
                      <a:extLst>
                        <a:ext uri="{FF2B5EF4-FFF2-40B4-BE49-F238E27FC236}">
                          <a16:creationId xmlns:a16="http://schemas.microsoft.com/office/drawing/2014/main" id="{0B3405E4-3BA7-0B0B-5B5F-BF1CC655BE3F}"/>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451" name="Group 1450">
                    <a:extLst>
                      <a:ext uri="{FF2B5EF4-FFF2-40B4-BE49-F238E27FC236}">
                        <a16:creationId xmlns:a16="http://schemas.microsoft.com/office/drawing/2014/main" id="{4DE571F4-EDC7-8B85-9E8B-748CF85761C6}"/>
                      </a:ext>
                    </a:extLst>
                  </p:cNvPr>
                  <p:cNvGrpSpPr/>
                  <p:nvPr/>
                </p:nvGrpSpPr>
                <p:grpSpPr>
                  <a:xfrm>
                    <a:off x="9255570" y="2776076"/>
                    <a:ext cx="68895" cy="90004"/>
                    <a:chOff x="6128595" y="3199359"/>
                    <a:chExt cx="84653" cy="84653"/>
                  </a:xfrm>
                </p:grpSpPr>
                <p:cxnSp>
                  <p:nvCxnSpPr>
                    <p:cNvPr id="1497" name="Straight Connector 1496">
                      <a:extLst>
                        <a:ext uri="{FF2B5EF4-FFF2-40B4-BE49-F238E27FC236}">
                          <a16:creationId xmlns:a16="http://schemas.microsoft.com/office/drawing/2014/main" id="{E30F2E4A-55AD-5F19-4EA5-FF65D47C9B05}"/>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498" name="Straight Connector 1497">
                      <a:extLst>
                        <a:ext uri="{FF2B5EF4-FFF2-40B4-BE49-F238E27FC236}">
                          <a16:creationId xmlns:a16="http://schemas.microsoft.com/office/drawing/2014/main" id="{CA11AEE2-8DB4-E288-EB77-F411BB60D878}"/>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452" name="Group 1451">
                    <a:extLst>
                      <a:ext uri="{FF2B5EF4-FFF2-40B4-BE49-F238E27FC236}">
                        <a16:creationId xmlns:a16="http://schemas.microsoft.com/office/drawing/2014/main" id="{94DA0E67-9340-05DE-9BF9-5A9E3F4C40E7}"/>
                      </a:ext>
                    </a:extLst>
                  </p:cNvPr>
                  <p:cNvGrpSpPr/>
                  <p:nvPr/>
                </p:nvGrpSpPr>
                <p:grpSpPr>
                  <a:xfrm>
                    <a:off x="9278826" y="2776076"/>
                    <a:ext cx="68895" cy="90004"/>
                    <a:chOff x="6128595" y="3199359"/>
                    <a:chExt cx="84653" cy="84653"/>
                  </a:xfrm>
                </p:grpSpPr>
                <p:cxnSp>
                  <p:nvCxnSpPr>
                    <p:cNvPr id="1495" name="Straight Connector 1494">
                      <a:extLst>
                        <a:ext uri="{FF2B5EF4-FFF2-40B4-BE49-F238E27FC236}">
                          <a16:creationId xmlns:a16="http://schemas.microsoft.com/office/drawing/2014/main" id="{9F18A30B-FD5A-80BF-C180-3FB3CBB702DB}"/>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496" name="Straight Connector 1495">
                      <a:extLst>
                        <a:ext uri="{FF2B5EF4-FFF2-40B4-BE49-F238E27FC236}">
                          <a16:creationId xmlns:a16="http://schemas.microsoft.com/office/drawing/2014/main" id="{E37E477D-6468-FCBF-333F-FB408328FCA8}"/>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453" name="Group 1452">
                    <a:extLst>
                      <a:ext uri="{FF2B5EF4-FFF2-40B4-BE49-F238E27FC236}">
                        <a16:creationId xmlns:a16="http://schemas.microsoft.com/office/drawing/2014/main" id="{699DDDEC-0A8C-3E7E-68F1-A4B659B2DD22}"/>
                      </a:ext>
                    </a:extLst>
                  </p:cNvPr>
                  <p:cNvGrpSpPr/>
                  <p:nvPr/>
                </p:nvGrpSpPr>
                <p:grpSpPr>
                  <a:xfrm>
                    <a:off x="9352470" y="2776076"/>
                    <a:ext cx="68895" cy="90004"/>
                    <a:chOff x="6128595" y="3199359"/>
                    <a:chExt cx="84653" cy="84653"/>
                  </a:xfrm>
                </p:grpSpPr>
                <p:cxnSp>
                  <p:nvCxnSpPr>
                    <p:cNvPr id="1493" name="Straight Connector 1492">
                      <a:extLst>
                        <a:ext uri="{FF2B5EF4-FFF2-40B4-BE49-F238E27FC236}">
                          <a16:creationId xmlns:a16="http://schemas.microsoft.com/office/drawing/2014/main" id="{97612EAB-B204-4210-57D6-8BCAAD0041B5}"/>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494" name="Straight Connector 1493">
                      <a:extLst>
                        <a:ext uri="{FF2B5EF4-FFF2-40B4-BE49-F238E27FC236}">
                          <a16:creationId xmlns:a16="http://schemas.microsoft.com/office/drawing/2014/main" id="{30E4A5F3-61C9-5E13-0D2A-A120AA8604C8}"/>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454" name="Group 1453">
                    <a:extLst>
                      <a:ext uri="{FF2B5EF4-FFF2-40B4-BE49-F238E27FC236}">
                        <a16:creationId xmlns:a16="http://schemas.microsoft.com/office/drawing/2014/main" id="{DE8BA39E-1FF0-9907-DC18-BC60722B8F1D}"/>
                      </a:ext>
                    </a:extLst>
                  </p:cNvPr>
                  <p:cNvGrpSpPr/>
                  <p:nvPr/>
                </p:nvGrpSpPr>
                <p:grpSpPr>
                  <a:xfrm>
                    <a:off x="9435803" y="2776076"/>
                    <a:ext cx="68895" cy="90004"/>
                    <a:chOff x="6128595" y="3199359"/>
                    <a:chExt cx="84653" cy="84653"/>
                  </a:xfrm>
                </p:grpSpPr>
                <p:cxnSp>
                  <p:nvCxnSpPr>
                    <p:cNvPr id="1491" name="Straight Connector 1490">
                      <a:extLst>
                        <a:ext uri="{FF2B5EF4-FFF2-40B4-BE49-F238E27FC236}">
                          <a16:creationId xmlns:a16="http://schemas.microsoft.com/office/drawing/2014/main" id="{05D70133-2C54-1959-776A-21999E2776B0}"/>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492" name="Straight Connector 1491">
                      <a:extLst>
                        <a:ext uri="{FF2B5EF4-FFF2-40B4-BE49-F238E27FC236}">
                          <a16:creationId xmlns:a16="http://schemas.microsoft.com/office/drawing/2014/main" id="{D631DF74-5B80-634E-DE32-A18A890FB2F8}"/>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455" name="Group 1454">
                    <a:extLst>
                      <a:ext uri="{FF2B5EF4-FFF2-40B4-BE49-F238E27FC236}">
                        <a16:creationId xmlns:a16="http://schemas.microsoft.com/office/drawing/2014/main" id="{9964439E-680C-2DC3-8240-1F422353B874}"/>
                      </a:ext>
                    </a:extLst>
                  </p:cNvPr>
                  <p:cNvGrpSpPr/>
                  <p:nvPr/>
                </p:nvGrpSpPr>
                <p:grpSpPr>
                  <a:xfrm>
                    <a:off x="9470686" y="2776076"/>
                    <a:ext cx="68895" cy="90004"/>
                    <a:chOff x="6128595" y="3199359"/>
                    <a:chExt cx="84653" cy="84653"/>
                  </a:xfrm>
                </p:grpSpPr>
                <p:cxnSp>
                  <p:nvCxnSpPr>
                    <p:cNvPr id="1489" name="Straight Connector 1488">
                      <a:extLst>
                        <a:ext uri="{FF2B5EF4-FFF2-40B4-BE49-F238E27FC236}">
                          <a16:creationId xmlns:a16="http://schemas.microsoft.com/office/drawing/2014/main" id="{0D40ECB3-41C1-B137-1C21-D3BC312217F4}"/>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490" name="Straight Connector 1489">
                      <a:extLst>
                        <a:ext uri="{FF2B5EF4-FFF2-40B4-BE49-F238E27FC236}">
                          <a16:creationId xmlns:a16="http://schemas.microsoft.com/office/drawing/2014/main" id="{BD69B06C-0D6B-7056-4824-1C7698CF0F96}"/>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456" name="Group 1455">
                    <a:extLst>
                      <a:ext uri="{FF2B5EF4-FFF2-40B4-BE49-F238E27FC236}">
                        <a16:creationId xmlns:a16="http://schemas.microsoft.com/office/drawing/2014/main" id="{61659A3D-6316-2C5E-0405-E40FD8FB1F20}"/>
                      </a:ext>
                    </a:extLst>
                  </p:cNvPr>
                  <p:cNvGrpSpPr/>
                  <p:nvPr/>
                </p:nvGrpSpPr>
                <p:grpSpPr>
                  <a:xfrm>
                    <a:off x="9519135" y="2776076"/>
                    <a:ext cx="68895" cy="90004"/>
                    <a:chOff x="6128595" y="3199359"/>
                    <a:chExt cx="84653" cy="84653"/>
                  </a:xfrm>
                </p:grpSpPr>
                <p:cxnSp>
                  <p:nvCxnSpPr>
                    <p:cNvPr id="1487" name="Straight Connector 1486">
                      <a:extLst>
                        <a:ext uri="{FF2B5EF4-FFF2-40B4-BE49-F238E27FC236}">
                          <a16:creationId xmlns:a16="http://schemas.microsoft.com/office/drawing/2014/main" id="{7A902871-55F4-BB89-C40E-90A2F6FAF8FC}"/>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488" name="Straight Connector 1487">
                      <a:extLst>
                        <a:ext uri="{FF2B5EF4-FFF2-40B4-BE49-F238E27FC236}">
                          <a16:creationId xmlns:a16="http://schemas.microsoft.com/office/drawing/2014/main" id="{FA0440BD-B2C5-BEFC-8178-DC51903A207B}"/>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457" name="Group 1456">
                    <a:extLst>
                      <a:ext uri="{FF2B5EF4-FFF2-40B4-BE49-F238E27FC236}">
                        <a16:creationId xmlns:a16="http://schemas.microsoft.com/office/drawing/2014/main" id="{9735BF6C-3C18-C2CE-F2AE-3FC1647893C1}"/>
                      </a:ext>
                    </a:extLst>
                  </p:cNvPr>
                  <p:cNvGrpSpPr/>
                  <p:nvPr/>
                </p:nvGrpSpPr>
                <p:grpSpPr>
                  <a:xfrm>
                    <a:off x="9579212" y="2776076"/>
                    <a:ext cx="68895" cy="90004"/>
                    <a:chOff x="6128595" y="3199359"/>
                    <a:chExt cx="84653" cy="84653"/>
                  </a:xfrm>
                </p:grpSpPr>
                <p:cxnSp>
                  <p:nvCxnSpPr>
                    <p:cNvPr id="1485" name="Straight Connector 1484">
                      <a:extLst>
                        <a:ext uri="{FF2B5EF4-FFF2-40B4-BE49-F238E27FC236}">
                          <a16:creationId xmlns:a16="http://schemas.microsoft.com/office/drawing/2014/main" id="{0259D78D-E4EE-1653-72BB-C25B1FDBE9C2}"/>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486" name="Straight Connector 1485">
                      <a:extLst>
                        <a:ext uri="{FF2B5EF4-FFF2-40B4-BE49-F238E27FC236}">
                          <a16:creationId xmlns:a16="http://schemas.microsoft.com/office/drawing/2014/main" id="{D4273A61-8855-3D89-E4DA-CB600BD45DFC}"/>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458" name="Group 1457">
                    <a:extLst>
                      <a:ext uri="{FF2B5EF4-FFF2-40B4-BE49-F238E27FC236}">
                        <a16:creationId xmlns:a16="http://schemas.microsoft.com/office/drawing/2014/main" id="{7F9480FD-70D3-C5EA-55C8-B30711C0B4EB}"/>
                      </a:ext>
                    </a:extLst>
                  </p:cNvPr>
                  <p:cNvGrpSpPr/>
                  <p:nvPr/>
                </p:nvGrpSpPr>
                <p:grpSpPr>
                  <a:xfrm>
                    <a:off x="9606345" y="2776076"/>
                    <a:ext cx="68895" cy="90004"/>
                    <a:chOff x="6128595" y="3199359"/>
                    <a:chExt cx="84653" cy="84653"/>
                  </a:xfrm>
                </p:grpSpPr>
                <p:cxnSp>
                  <p:nvCxnSpPr>
                    <p:cNvPr id="1483" name="Straight Connector 1482">
                      <a:extLst>
                        <a:ext uri="{FF2B5EF4-FFF2-40B4-BE49-F238E27FC236}">
                          <a16:creationId xmlns:a16="http://schemas.microsoft.com/office/drawing/2014/main" id="{DCE72817-F667-6975-7281-9A99BB495E1D}"/>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484" name="Straight Connector 1483">
                      <a:extLst>
                        <a:ext uri="{FF2B5EF4-FFF2-40B4-BE49-F238E27FC236}">
                          <a16:creationId xmlns:a16="http://schemas.microsoft.com/office/drawing/2014/main" id="{DB62DDEE-39F8-6771-F19D-AF47472F547E}"/>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459" name="Group 1458">
                    <a:extLst>
                      <a:ext uri="{FF2B5EF4-FFF2-40B4-BE49-F238E27FC236}">
                        <a16:creationId xmlns:a16="http://schemas.microsoft.com/office/drawing/2014/main" id="{30276B2A-4F18-CE76-6EA2-F1790CE38408}"/>
                      </a:ext>
                    </a:extLst>
                  </p:cNvPr>
                  <p:cNvGrpSpPr/>
                  <p:nvPr/>
                </p:nvGrpSpPr>
                <p:grpSpPr>
                  <a:xfrm>
                    <a:off x="9676112" y="2776076"/>
                    <a:ext cx="68895" cy="90004"/>
                    <a:chOff x="6128595" y="3199359"/>
                    <a:chExt cx="84653" cy="84653"/>
                  </a:xfrm>
                </p:grpSpPr>
                <p:cxnSp>
                  <p:nvCxnSpPr>
                    <p:cNvPr id="1481" name="Straight Connector 1480">
                      <a:extLst>
                        <a:ext uri="{FF2B5EF4-FFF2-40B4-BE49-F238E27FC236}">
                          <a16:creationId xmlns:a16="http://schemas.microsoft.com/office/drawing/2014/main" id="{3AF80B45-810E-C0FF-9B08-0A20289FC067}"/>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482" name="Straight Connector 1481">
                      <a:extLst>
                        <a:ext uri="{FF2B5EF4-FFF2-40B4-BE49-F238E27FC236}">
                          <a16:creationId xmlns:a16="http://schemas.microsoft.com/office/drawing/2014/main" id="{FA450453-0762-E06A-84E6-687F34CE7D32}"/>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460" name="Group 1459">
                    <a:extLst>
                      <a:ext uri="{FF2B5EF4-FFF2-40B4-BE49-F238E27FC236}">
                        <a16:creationId xmlns:a16="http://schemas.microsoft.com/office/drawing/2014/main" id="{59339B5A-337C-52F4-1965-6A3DD07D394E}"/>
                      </a:ext>
                    </a:extLst>
                  </p:cNvPr>
                  <p:cNvGrpSpPr/>
                  <p:nvPr/>
                </p:nvGrpSpPr>
                <p:grpSpPr>
                  <a:xfrm>
                    <a:off x="9681926" y="2776076"/>
                    <a:ext cx="68895" cy="90004"/>
                    <a:chOff x="6128595" y="3199359"/>
                    <a:chExt cx="84653" cy="84653"/>
                  </a:xfrm>
                </p:grpSpPr>
                <p:cxnSp>
                  <p:nvCxnSpPr>
                    <p:cNvPr id="1479" name="Straight Connector 1478">
                      <a:extLst>
                        <a:ext uri="{FF2B5EF4-FFF2-40B4-BE49-F238E27FC236}">
                          <a16:creationId xmlns:a16="http://schemas.microsoft.com/office/drawing/2014/main" id="{C5A4EA6D-0382-FE0E-A7B2-E23F6BC31ABC}"/>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480" name="Straight Connector 1479">
                      <a:extLst>
                        <a:ext uri="{FF2B5EF4-FFF2-40B4-BE49-F238E27FC236}">
                          <a16:creationId xmlns:a16="http://schemas.microsoft.com/office/drawing/2014/main" id="{770E14B1-250C-F07A-BB03-D109DB4065F5}"/>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461" name="Group 1460">
                    <a:extLst>
                      <a:ext uri="{FF2B5EF4-FFF2-40B4-BE49-F238E27FC236}">
                        <a16:creationId xmlns:a16="http://schemas.microsoft.com/office/drawing/2014/main" id="{80681003-6733-E836-1A1C-358EB6D1B212}"/>
                      </a:ext>
                    </a:extLst>
                  </p:cNvPr>
                  <p:cNvGrpSpPr/>
                  <p:nvPr/>
                </p:nvGrpSpPr>
                <p:grpSpPr>
                  <a:xfrm>
                    <a:off x="9716810" y="2776076"/>
                    <a:ext cx="68895" cy="90004"/>
                    <a:chOff x="6128595" y="3199359"/>
                    <a:chExt cx="84653" cy="84653"/>
                  </a:xfrm>
                </p:grpSpPr>
                <p:cxnSp>
                  <p:nvCxnSpPr>
                    <p:cNvPr id="1477" name="Straight Connector 1476">
                      <a:extLst>
                        <a:ext uri="{FF2B5EF4-FFF2-40B4-BE49-F238E27FC236}">
                          <a16:creationId xmlns:a16="http://schemas.microsoft.com/office/drawing/2014/main" id="{CDD1B039-E896-C9C0-956E-DBD694541C8E}"/>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478" name="Straight Connector 1477">
                      <a:extLst>
                        <a:ext uri="{FF2B5EF4-FFF2-40B4-BE49-F238E27FC236}">
                          <a16:creationId xmlns:a16="http://schemas.microsoft.com/office/drawing/2014/main" id="{A0676A7F-8F96-D2E1-DE59-6D0356255E49}"/>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462" name="Group 1461">
                    <a:extLst>
                      <a:ext uri="{FF2B5EF4-FFF2-40B4-BE49-F238E27FC236}">
                        <a16:creationId xmlns:a16="http://schemas.microsoft.com/office/drawing/2014/main" id="{4088316F-F522-5DC9-2567-98BD69695DBD}"/>
                      </a:ext>
                    </a:extLst>
                  </p:cNvPr>
                  <p:cNvGrpSpPr/>
                  <p:nvPr/>
                </p:nvGrpSpPr>
                <p:grpSpPr>
                  <a:xfrm>
                    <a:off x="9774949" y="2776076"/>
                    <a:ext cx="68895" cy="90004"/>
                    <a:chOff x="6128595" y="3199359"/>
                    <a:chExt cx="84653" cy="84653"/>
                  </a:xfrm>
                </p:grpSpPr>
                <p:cxnSp>
                  <p:nvCxnSpPr>
                    <p:cNvPr id="1475" name="Straight Connector 1474">
                      <a:extLst>
                        <a:ext uri="{FF2B5EF4-FFF2-40B4-BE49-F238E27FC236}">
                          <a16:creationId xmlns:a16="http://schemas.microsoft.com/office/drawing/2014/main" id="{7C0593BD-3CAB-29F7-17A5-573558C2830B}"/>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476" name="Straight Connector 1475">
                      <a:extLst>
                        <a:ext uri="{FF2B5EF4-FFF2-40B4-BE49-F238E27FC236}">
                          <a16:creationId xmlns:a16="http://schemas.microsoft.com/office/drawing/2014/main" id="{6CE40B08-723F-87BD-66CD-CCA45DE1355C}"/>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463" name="Group 1462">
                    <a:extLst>
                      <a:ext uri="{FF2B5EF4-FFF2-40B4-BE49-F238E27FC236}">
                        <a16:creationId xmlns:a16="http://schemas.microsoft.com/office/drawing/2014/main" id="{8AFECE3B-EB3A-FBC8-580F-4A74D1C6C98C}"/>
                      </a:ext>
                    </a:extLst>
                  </p:cNvPr>
                  <p:cNvGrpSpPr/>
                  <p:nvPr/>
                </p:nvGrpSpPr>
                <p:grpSpPr>
                  <a:xfrm>
                    <a:off x="9817585" y="2776076"/>
                    <a:ext cx="68895" cy="90004"/>
                    <a:chOff x="6128595" y="3199359"/>
                    <a:chExt cx="84653" cy="84653"/>
                  </a:xfrm>
                </p:grpSpPr>
                <p:cxnSp>
                  <p:nvCxnSpPr>
                    <p:cNvPr id="1473" name="Straight Connector 1472">
                      <a:extLst>
                        <a:ext uri="{FF2B5EF4-FFF2-40B4-BE49-F238E27FC236}">
                          <a16:creationId xmlns:a16="http://schemas.microsoft.com/office/drawing/2014/main" id="{08292409-3052-2971-CDC4-FC0F39A34E84}"/>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474" name="Straight Connector 1473">
                      <a:extLst>
                        <a:ext uri="{FF2B5EF4-FFF2-40B4-BE49-F238E27FC236}">
                          <a16:creationId xmlns:a16="http://schemas.microsoft.com/office/drawing/2014/main" id="{61429583-BADE-B9DD-107D-58C4330A46E8}"/>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464" name="Group 1463">
                    <a:extLst>
                      <a:ext uri="{FF2B5EF4-FFF2-40B4-BE49-F238E27FC236}">
                        <a16:creationId xmlns:a16="http://schemas.microsoft.com/office/drawing/2014/main" id="{1FC8BC5E-0D9B-4491-699D-F4BA61EA207E}"/>
                      </a:ext>
                    </a:extLst>
                  </p:cNvPr>
                  <p:cNvGrpSpPr/>
                  <p:nvPr/>
                </p:nvGrpSpPr>
                <p:grpSpPr>
                  <a:xfrm>
                    <a:off x="9931925" y="2776076"/>
                    <a:ext cx="68895" cy="90004"/>
                    <a:chOff x="6128595" y="3199359"/>
                    <a:chExt cx="84653" cy="84653"/>
                  </a:xfrm>
                </p:grpSpPr>
                <p:cxnSp>
                  <p:nvCxnSpPr>
                    <p:cNvPr id="1471" name="Straight Connector 1470">
                      <a:extLst>
                        <a:ext uri="{FF2B5EF4-FFF2-40B4-BE49-F238E27FC236}">
                          <a16:creationId xmlns:a16="http://schemas.microsoft.com/office/drawing/2014/main" id="{7466176E-7CDF-5AD2-F9E8-39CA7311F971}"/>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472" name="Straight Connector 1471">
                      <a:extLst>
                        <a:ext uri="{FF2B5EF4-FFF2-40B4-BE49-F238E27FC236}">
                          <a16:creationId xmlns:a16="http://schemas.microsoft.com/office/drawing/2014/main" id="{32D518D5-80FA-59BF-BE4E-142876752F78}"/>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465" name="Group 1464">
                    <a:extLst>
                      <a:ext uri="{FF2B5EF4-FFF2-40B4-BE49-F238E27FC236}">
                        <a16:creationId xmlns:a16="http://schemas.microsoft.com/office/drawing/2014/main" id="{4E3831DB-03C4-C70F-11F5-51710FA34AB5}"/>
                      </a:ext>
                    </a:extLst>
                  </p:cNvPr>
                  <p:cNvGrpSpPr/>
                  <p:nvPr/>
                </p:nvGrpSpPr>
                <p:grpSpPr>
                  <a:xfrm>
                    <a:off x="10150917" y="2776076"/>
                    <a:ext cx="68895" cy="90004"/>
                    <a:chOff x="6128595" y="3199359"/>
                    <a:chExt cx="84653" cy="84653"/>
                  </a:xfrm>
                </p:grpSpPr>
                <p:cxnSp>
                  <p:nvCxnSpPr>
                    <p:cNvPr id="1469" name="Straight Connector 1468">
                      <a:extLst>
                        <a:ext uri="{FF2B5EF4-FFF2-40B4-BE49-F238E27FC236}">
                          <a16:creationId xmlns:a16="http://schemas.microsoft.com/office/drawing/2014/main" id="{B7B9D70A-2A7B-805A-9949-849EF67F88AA}"/>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470" name="Straight Connector 1469">
                      <a:extLst>
                        <a:ext uri="{FF2B5EF4-FFF2-40B4-BE49-F238E27FC236}">
                          <a16:creationId xmlns:a16="http://schemas.microsoft.com/office/drawing/2014/main" id="{F4FEFBAF-E3A8-5500-2BFC-DAE474D3A5F7}"/>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466" name="Group 1465">
                    <a:extLst>
                      <a:ext uri="{FF2B5EF4-FFF2-40B4-BE49-F238E27FC236}">
                        <a16:creationId xmlns:a16="http://schemas.microsoft.com/office/drawing/2014/main" id="{16E85BD7-E487-2725-D1F8-C03C8EBFF946}"/>
                      </a:ext>
                    </a:extLst>
                  </p:cNvPr>
                  <p:cNvGrpSpPr/>
                  <p:nvPr/>
                </p:nvGrpSpPr>
                <p:grpSpPr>
                  <a:xfrm>
                    <a:off x="10267195" y="2776076"/>
                    <a:ext cx="68895" cy="90004"/>
                    <a:chOff x="6128595" y="3199359"/>
                    <a:chExt cx="84653" cy="84653"/>
                  </a:xfrm>
                </p:grpSpPr>
                <p:cxnSp>
                  <p:nvCxnSpPr>
                    <p:cNvPr id="1467" name="Straight Connector 1466">
                      <a:extLst>
                        <a:ext uri="{FF2B5EF4-FFF2-40B4-BE49-F238E27FC236}">
                          <a16:creationId xmlns:a16="http://schemas.microsoft.com/office/drawing/2014/main" id="{FD36A709-D937-DE07-CFB3-4BAF360BEDB2}"/>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468" name="Straight Connector 1467">
                      <a:extLst>
                        <a:ext uri="{FF2B5EF4-FFF2-40B4-BE49-F238E27FC236}">
                          <a16:creationId xmlns:a16="http://schemas.microsoft.com/office/drawing/2014/main" id="{E42ACAC2-D4EF-2F6D-85D1-6DB5DE269FA5}"/>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pic>
              <p:nvPicPr>
                <p:cNvPr id="1443" name="Graphic 1442">
                  <a:extLst>
                    <a:ext uri="{FF2B5EF4-FFF2-40B4-BE49-F238E27FC236}">
                      <a16:creationId xmlns:a16="http://schemas.microsoft.com/office/drawing/2014/main" id="{B6933038-F0A4-0075-DCA1-C3693468A0AC}"/>
                    </a:ext>
                  </a:extLst>
                </p:cNvPr>
                <p:cNvPicPr>
                  <a:picLocks/>
                </p:cNvPicPr>
                <p:nvPr/>
              </p:nvPicPr>
              <p:blipFill>
                <a:blip>
                  <a:extLst>
                    <a:ext uri="{96DAC541-7B7A-43D3-8B79-37D633B846F1}">
                      <asvg:svgBlip xmlns:asvg="http://schemas.microsoft.com/office/drawing/2016/SVG/main" r:embed="rId3"/>
                    </a:ext>
                  </a:extLst>
                </a:blip>
                <a:stretch>
                  <a:fillRect/>
                </a:stretch>
              </p:blipFill>
              <p:spPr>
                <a:xfrm>
                  <a:off x="8862440" y="2717931"/>
                  <a:ext cx="1440000" cy="64800"/>
                </a:xfrm>
                <a:prstGeom prst="rect">
                  <a:avLst/>
                </a:prstGeom>
              </p:spPr>
            </p:pic>
          </p:grpSp>
          <p:grpSp>
            <p:nvGrpSpPr>
              <p:cNvPr id="1164" name="Group 1163">
                <a:extLst>
                  <a:ext uri="{FF2B5EF4-FFF2-40B4-BE49-F238E27FC236}">
                    <a16:creationId xmlns:a16="http://schemas.microsoft.com/office/drawing/2014/main" id="{D8B1DFBA-3BFF-57EC-6A9B-38D757D18D03}"/>
                  </a:ext>
                </a:extLst>
              </p:cNvPr>
              <p:cNvGrpSpPr/>
              <p:nvPr/>
            </p:nvGrpSpPr>
            <p:grpSpPr>
              <a:xfrm>
                <a:off x="6504896" y="3053578"/>
                <a:ext cx="1083934" cy="140543"/>
                <a:chOff x="7362622" y="2644891"/>
                <a:chExt cx="1555200" cy="130512"/>
              </a:xfrm>
            </p:grpSpPr>
            <p:grpSp>
              <p:nvGrpSpPr>
                <p:cNvPr id="1290" name="Group 1289">
                  <a:extLst>
                    <a:ext uri="{FF2B5EF4-FFF2-40B4-BE49-F238E27FC236}">
                      <a16:creationId xmlns:a16="http://schemas.microsoft.com/office/drawing/2014/main" id="{00075515-5728-2BB2-4D1D-06B2D6028DC2}"/>
                    </a:ext>
                  </a:extLst>
                </p:cNvPr>
                <p:cNvGrpSpPr/>
                <p:nvPr/>
              </p:nvGrpSpPr>
              <p:grpSpPr>
                <a:xfrm>
                  <a:off x="7765270" y="2644891"/>
                  <a:ext cx="1090205" cy="130512"/>
                  <a:chOff x="7765270" y="2700124"/>
                  <a:chExt cx="1090205" cy="130512"/>
                </a:xfrm>
              </p:grpSpPr>
              <p:grpSp>
                <p:nvGrpSpPr>
                  <p:cNvPr id="1292" name="Group 1291">
                    <a:extLst>
                      <a:ext uri="{FF2B5EF4-FFF2-40B4-BE49-F238E27FC236}">
                        <a16:creationId xmlns:a16="http://schemas.microsoft.com/office/drawing/2014/main" id="{B28EA191-13F8-3D3C-BEDA-E65BA4AE4DB7}"/>
                      </a:ext>
                    </a:extLst>
                  </p:cNvPr>
                  <p:cNvGrpSpPr/>
                  <p:nvPr/>
                </p:nvGrpSpPr>
                <p:grpSpPr>
                  <a:xfrm>
                    <a:off x="7765270" y="2700124"/>
                    <a:ext cx="68895" cy="90004"/>
                    <a:chOff x="6128595" y="3199359"/>
                    <a:chExt cx="84653" cy="84653"/>
                  </a:xfrm>
                </p:grpSpPr>
                <p:cxnSp>
                  <p:nvCxnSpPr>
                    <p:cNvPr id="1372" name="Straight Connector 1371">
                      <a:extLst>
                        <a:ext uri="{FF2B5EF4-FFF2-40B4-BE49-F238E27FC236}">
                          <a16:creationId xmlns:a16="http://schemas.microsoft.com/office/drawing/2014/main" id="{50DEB38B-261F-D77C-6B49-8506578025AE}"/>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373" name="Straight Connector 1372">
                      <a:extLst>
                        <a:ext uri="{FF2B5EF4-FFF2-40B4-BE49-F238E27FC236}">
                          <a16:creationId xmlns:a16="http://schemas.microsoft.com/office/drawing/2014/main" id="{F2261D96-DA71-5E3D-3B35-F6C551213D38}"/>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293" name="Group 1292">
                    <a:extLst>
                      <a:ext uri="{FF2B5EF4-FFF2-40B4-BE49-F238E27FC236}">
                        <a16:creationId xmlns:a16="http://schemas.microsoft.com/office/drawing/2014/main" id="{4998D088-6D3A-FEA8-2219-36D555698814}"/>
                      </a:ext>
                    </a:extLst>
                  </p:cNvPr>
                  <p:cNvGrpSpPr/>
                  <p:nvPr/>
                </p:nvGrpSpPr>
                <p:grpSpPr>
                  <a:xfrm>
                    <a:off x="7846665" y="2700124"/>
                    <a:ext cx="68895" cy="90004"/>
                    <a:chOff x="6128595" y="3199359"/>
                    <a:chExt cx="84653" cy="84653"/>
                  </a:xfrm>
                </p:grpSpPr>
                <p:cxnSp>
                  <p:nvCxnSpPr>
                    <p:cNvPr id="1370" name="Straight Connector 1369">
                      <a:extLst>
                        <a:ext uri="{FF2B5EF4-FFF2-40B4-BE49-F238E27FC236}">
                          <a16:creationId xmlns:a16="http://schemas.microsoft.com/office/drawing/2014/main" id="{F421E71E-67DA-D963-EC54-0A9FB8099FBF}"/>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371" name="Straight Connector 1370">
                      <a:extLst>
                        <a:ext uri="{FF2B5EF4-FFF2-40B4-BE49-F238E27FC236}">
                          <a16:creationId xmlns:a16="http://schemas.microsoft.com/office/drawing/2014/main" id="{D82B0B65-77B1-9C81-02DB-B498D5AFB279}"/>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294" name="Group 1293">
                    <a:extLst>
                      <a:ext uri="{FF2B5EF4-FFF2-40B4-BE49-F238E27FC236}">
                        <a16:creationId xmlns:a16="http://schemas.microsoft.com/office/drawing/2014/main" id="{C868B7F5-E642-1F36-2416-E219849830B2}"/>
                      </a:ext>
                    </a:extLst>
                  </p:cNvPr>
                  <p:cNvGrpSpPr/>
                  <p:nvPr/>
                </p:nvGrpSpPr>
                <p:grpSpPr>
                  <a:xfrm>
                    <a:off x="7922245" y="2717847"/>
                    <a:ext cx="68895" cy="90004"/>
                    <a:chOff x="6128595" y="3199359"/>
                    <a:chExt cx="84653" cy="84653"/>
                  </a:xfrm>
                </p:grpSpPr>
                <p:cxnSp>
                  <p:nvCxnSpPr>
                    <p:cNvPr id="1368" name="Straight Connector 1367">
                      <a:extLst>
                        <a:ext uri="{FF2B5EF4-FFF2-40B4-BE49-F238E27FC236}">
                          <a16:creationId xmlns:a16="http://schemas.microsoft.com/office/drawing/2014/main" id="{DAFB8470-65D4-3D0F-EF75-5DC870EF1C6C}"/>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369" name="Straight Connector 1368">
                      <a:extLst>
                        <a:ext uri="{FF2B5EF4-FFF2-40B4-BE49-F238E27FC236}">
                          <a16:creationId xmlns:a16="http://schemas.microsoft.com/office/drawing/2014/main" id="{E234F672-1EDC-43BF-E197-3007FEAE7E52}"/>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295" name="Group 1294">
                    <a:extLst>
                      <a:ext uri="{FF2B5EF4-FFF2-40B4-BE49-F238E27FC236}">
                        <a16:creationId xmlns:a16="http://schemas.microsoft.com/office/drawing/2014/main" id="{24D28612-DE3B-BDC7-EE4E-5AAEA646B10C}"/>
                      </a:ext>
                    </a:extLst>
                  </p:cNvPr>
                  <p:cNvGrpSpPr/>
                  <p:nvPr/>
                </p:nvGrpSpPr>
                <p:grpSpPr>
                  <a:xfrm>
                    <a:off x="7945501" y="2717847"/>
                    <a:ext cx="68895" cy="90004"/>
                    <a:chOff x="6128595" y="3199359"/>
                    <a:chExt cx="84653" cy="84653"/>
                  </a:xfrm>
                </p:grpSpPr>
                <p:cxnSp>
                  <p:nvCxnSpPr>
                    <p:cNvPr id="1366" name="Straight Connector 1365">
                      <a:extLst>
                        <a:ext uri="{FF2B5EF4-FFF2-40B4-BE49-F238E27FC236}">
                          <a16:creationId xmlns:a16="http://schemas.microsoft.com/office/drawing/2014/main" id="{4C45DCF3-F4C6-4A8B-7135-CAF7AD8949B9}"/>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367" name="Straight Connector 1366">
                      <a:extLst>
                        <a:ext uri="{FF2B5EF4-FFF2-40B4-BE49-F238E27FC236}">
                          <a16:creationId xmlns:a16="http://schemas.microsoft.com/office/drawing/2014/main" id="{61085790-07E9-34FF-716A-F6A62DA39545}"/>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296" name="Group 1295">
                    <a:extLst>
                      <a:ext uri="{FF2B5EF4-FFF2-40B4-BE49-F238E27FC236}">
                        <a16:creationId xmlns:a16="http://schemas.microsoft.com/office/drawing/2014/main" id="{C6E5C03E-B848-2124-DC0A-55746ED70D8F}"/>
                      </a:ext>
                    </a:extLst>
                  </p:cNvPr>
                  <p:cNvGrpSpPr/>
                  <p:nvPr/>
                </p:nvGrpSpPr>
                <p:grpSpPr>
                  <a:xfrm>
                    <a:off x="7968757" y="2717847"/>
                    <a:ext cx="68895" cy="90004"/>
                    <a:chOff x="6128595" y="3199359"/>
                    <a:chExt cx="84653" cy="84653"/>
                  </a:xfrm>
                </p:grpSpPr>
                <p:cxnSp>
                  <p:nvCxnSpPr>
                    <p:cNvPr id="1364" name="Straight Connector 1363">
                      <a:extLst>
                        <a:ext uri="{FF2B5EF4-FFF2-40B4-BE49-F238E27FC236}">
                          <a16:creationId xmlns:a16="http://schemas.microsoft.com/office/drawing/2014/main" id="{29E25DD4-7B45-9BDB-8A90-8415B40C298B}"/>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365" name="Straight Connector 1364">
                      <a:extLst>
                        <a:ext uri="{FF2B5EF4-FFF2-40B4-BE49-F238E27FC236}">
                          <a16:creationId xmlns:a16="http://schemas.microsoft.com/office/drawing/2014/main" id="{C6014C74-90F7-A83D-D693-635996787D1C}"/>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297" name="Group 1296">
                    <a:extLst>
                      <a:ext uri="{FF2B5EF4-FFF2-40B4-BE49-F238E27FC236}">
                        <a16:creationId xmlns:a16="http://schemas.microsoft.com/office/drawing/2014/main" id="{46F8BA95-DD8B-03D8-894F-501099C1BA07}"/>
                      </a:ext>
                    </a:extLst>
                  </p:cNvPr>
                  <p:cNvGrpSpPr/>
                  <p:nvPr/>
                </p:nvGrpSpPr>
                <p:grpSpPr>
                  <a:xfrm>
                    <a:off x="7984261" y="2717847"/>
                    <a:ext cx="68895" cy="90004"/>
                    <a:chOff x="6128595" y="3199359"/>
                    <a:chExt cx="84653" cy="84653"/>
                  </a:xfrm>
                </p:grpSpPr>
                <p:cxnSp>
                  <p:nvCxnSpPr>
                    <p:cNvPr id="1362" name="Straight Connector 1361">
                      <a:extLst>
                        <a:ext uri="{FF2B5EF4-FFF2-40B4-BE49-F238E27FC236}">
                          <a16:creationId xmlns:a16="http://schemas.microsoft.com/office/drawing/2014/main" id="{72F7C97B-3D10-7AC2-2FD1-120F01D58B77}"/>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363" name="Straight Connector 1362">
                      <a:extLst>
                        <a:ext uri="{FF2B5EF4-FFF2-40B4-BE49-F238E27FC236}">
                          <a16:creationId xmlns:a16="http://schemas.microsoft.com/office/drawing/2014/main" id="{C65FDC27-2A6F-F62B-5AEA-D5BAE5B91CA0}"/>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298" name="Group 1297">
                    <a:extLst>
                      <a:ext uri="{FF2B5EF4-FFF2-40B4-BE49-F238E27FC236}">
                        <a16:creationId xmlns:a16="http://schemas.microsoft.com/office/drawing/2014/main" id="{67449016-CAE2-2E15-2D62-E2A8B56ABE4B}"/>
                      </a:ext>
                    </a:extLst>
                  </p:cNvPr>
                  <p:cNvGrpSpPr/>
                  <p:nvPr/>
                </p:nvGrpSpPr>
                <p:grpSpPr>
                  <a:xfrm>
                    <a:off x="7997826" y="2717847"/>
                    <a:ext cx="68895" cy="90004"/>
                    <a:chOff x="6128595" y="3199359"/>
                    <a:chExt cx="84653" cy="84653"/>
                  </a:xfrm>
                </p:grpSpPr>
                <p:cxnSp>
                  <p:nvCxnSpPr>
                    <p:cNvPr id="1360" name="Straight Connector 1359">
                      <a:extLst>
                        <a:ext uri="{FF2B5EF4-FFF2-40B4-BE49-F238E27FC236}">
                          <a16:creationId xmlns:a16="http://schemas.microsoft.com/office/drawing/2014/main" id="{CE010F9E-EEBC-F7F3-F7D9-6E79ABB61E6E}"/>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361" name="Straight Connector 1360">
                      <a:extLst>
                        <a:ext uri="{FF2B5EF4-FFF2-40B4-BE49-F238E27FC236}">
                          <a16:creationId xmlns:a16="http://schemas.microsoft.com/office/drawing/2014/main" id="{8C9557AB-EFE9-174F-860A-750ED9F4D831}"/>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299" name="Group 1298">
                    <a:extLst>
                      <a:ext uri="{FF2B5EF4-FFF2-40B4-BE49-F238E27FC236}">
                        <a16:creationId xmlns:a16="http://schemas.microsoft.com/office/drawing/2014/main" id="{329DA49B-F656-C92A-A627-3F8DABB0E7A0}"/>
                      </a:ext>
                    </a:extLst>
                  </p:cNvPr>
                  <p:cNvGrpSpPr/>
                  <p:nvPr/>
                </p:nvGrpSpPr>
                <p:grpSpPr>
                  <a:xfrm>
                    <a:off x="8021082" y="2717847"/>
                    <a:ext cx="68895" cy="90004"/>
                    <a:chOff x="6128595" y="3199359"/>
                    <a:chExt cx="84653" cy="84653"/>
                  </a:xfrm>
                </p:grpSpPr>
                <p:cxnSp>
                  <p:nvCxnSpPr>
                    <p:cNvPr id="1358" name="Straight Connector 1357">
                      <a:extLst>
                        <a:ext uri="{FF2B5EF4-FFF2-40B4-BE49-F238E27FC236}">
                          <a16:creationId xmlns:a16="http://schemas.microsoft.com/office/drawing/2014/main" id="{741F08CB-9750-DC34-5E78-7965D0076ACF}"/>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359" name="Straight Connector 1358">
                      <a:extLst>
                        <a:ext uri="{FF2B5EF4-FFF2-40B4-BE49-F238E27FC236}">
                          <a16:creationId xmlns:a16="http://schemas.microsoft.com/office/drawing/2014/main" id="{C7B75084-F500-D824-3615-783006C97B40}"/>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300" name="Group 1299">
                    <a:extLst>
                      <a:ext uri="{FF2B5EF4-FFF2-40B4-BE49-F238E27FC236}">
                        <a16:creationId xmlns:a16="http://schemas.microsoft.com/office/drawing/2014/main" id="{26FE8656-2190-BA3D-2712-8F0000C55435}"/>
                      </a:ext>
                    </a:extLst>
                  </p:cNvPr>
                  <p:cNvGrpSpPr/>
                  <p:nvPr/>
                </p:nvGrpSpPr>
                <p:grpSpPr>
                  <a:xfrm>
                    <a:off x="8038523" y="2717847"/>
                    <a:ext cx="68895" cy="90004"/>
                    <a:chOff x="6128595" y="3199359"/>
                    <a:chExt cx="84653" cy="84653"/>
                  </a:xfrm>
                </p:grpSpPr>
                <p:cxnSp>
                  <p:nvCxnSpPr>
                    <p:cNvPr id="1356" name="Straight Connector 1355">
                      <a:extLst>
                        <a:ext uri="{FF2B5EF4-FFF2-40B4-BE49-F238E27FC236}">
                          <a16:creationId xmlns:a16="http://schemas.microsoft.com/office/drawing/2014/main" id="{92061707-4661-9EBD-A104-C3821F2CDB7F}"/>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357" name="Straight Connector 1356">
                      <a:extLst>
                        <a:ext uri="{FF2B5EF4-FFF2-40B4-BE49-F238E27FC236}">
                          <a16:creationId xmlns:a16="http://schemas.microsoft.com/office/drawing/2014/main" id="{98FAD0A3-E5D8-EC35-9F45-A1C0BAEA37A3}"/>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301" name="Group 1300">
                    <a:extLst>
                      <a:ext uri="{FF2B5EF4-FFF2-40B4-BE49-F238E27FC236}">
                        <a16:creationId xmlns:a16="http://schemas.microsoft.com/office/drawing/2014/main" id="{92518EA4-7958-C1AE-2126-0947AA81EE55}"/>
                      </a:ext>
                    </a:extLst>
                  </p:cNvPr>
                  <p:cNvGrpSpPr/>
                  <p:nvPr/>
                </p:nvGrpSpPr>
                <p:grpSpPr>
                  <a:xfrm>
                    <a:off x="8059841" y="2717847"/>
                    <a:ext cx="68895" cy="90004"/>
                    <a:chOff x="6128595" y="3199359"/>
                    <a:chExt cx="84653" cy="84653"/>
                  </a:xfrm>
                </p:grpSpPr>
                <p:cxnSp>
                  <p:nvCxnSpPr>
                    <p:cNvPr id="1354" name="Straight Connector 1353">
                      <a:extLst>
                        <a:ext uri="{FF2B5EF4-FFF2-40B4-BE49-F238E27FC236}">
                          <a16:creationId xmlns:a16="http://schemas.microsoft.com/office/drawing/2014/main" id="{00FD4B2F-99C5-80D6-C40A-445B8A29F647}"/>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355" name="Straight Connector 1354">
                      <a:extLst>
                        <a:ext uri="{FF2B5EF4-FFF2-40B4-BE49-F238E27FC236}">
                          <a16:creationId xmlns:a16="http://schemas.microsoft.com/office/drawing/2014/main" id="{0C54B27A-B018-A4A6-938E-8B4DD65C4F5F}"/>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302" name="Group 1301">
                    <a:extLst>
                      <a:ext uri="{FF2B5EF4-FFF2-40B4-BE49-F238E27FC236}">
                        <a16:creationId xmlns:a16="http://schemas.microsoft.com/office/drawing/2014/main" id="{9ECD1555-F9AB-5E99-4BF1-A683B6358A66}"/>
                      </a:ext>
                    </a:extLst>
                  </p:cNvPr>
                  <p:cNvGrpSpPr/>
                  <p:nvPr/>
                </p:nvGrpSpPr>
                <p:grpSpPr>
                  <a:xfrm>
                    <a:off x="8079220" y="2717847"/>
                    <a:ext cx="68895" cy="90004"/>
                    <a:chOff x="6128595" y="3199359"/>
                    <a:chExt cx="84653" cy="84653"/>
                  </a:xfrm>
                </p:grpSpPr>
                <p:cxnSp>
                  <p:nvCxnSpPr>
                    <p:cNvPr id="1352" name="Straight Connector 1351">
                      <a:extLst>
                        <a:ext uri="{FF2B5EF4-FFF2-40B4-BE49-F238E27FC236}">
                          <a16:creationId xmlns:a16="http://schemas.microsoft.com/office/drawing/2014/main" id="{8F294F1E-C594-1EC2-BA9B-2D12B13BFFE0}"/>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353" name="Straight Connector 1352">
                      <a:extLst>
                        <a:ext uri="{FF2B5EF4-FFF2-40B4-BE49-F238E27FC236}">
                          <a16:creationId xmlns:a16="http://schemas.microsoft.com/office/drawing/2014/main" id="{AD452D67-E559-B704-A2CE-F7872DB031C7}"/>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303" name="Group 1302">
                    <a:extLst>
                      <a:ext uri="{FF2B5EF4-FFF2-40B4-BE49-F238E27FC236}">
                        <a16:creationId xmlns:a16="http://schemas.microsoft.com/office/drawing/2014/main" id="{4415E959-0110-EBA7-8880-46CEBFE1FA6F}"/>
                      </a:ext>
                    </a:extLst>
                  </p:cNvPr>
                  <p:cNvGrpSpPr/>
                  <p:nvPr/>
                </p:nvGrpSpPr>
                <p:grpSpPr>
                  <a:xfrm>
                    <a:off x="8148987" y="2717847"/>
                    <a:ext cx="68895" cy="90004"/>
                    <a:chOff x="6128595" y="3199359"/>
                    <a:chExt cx="84653" cy="84653"/>
                  </a:xfrm>
                </p:grpSpPr>
                <p:cxnSp>
                  <p:nvCxnSpPr>
                    <p:cNvPr id="1350" name="Straight Connector 1349">
                      <a:extLst>
                        <a:ext uri="{FF2B5EF4-FFF2-40B4-BE49-F238E27FC236}">
                          <a16:creationId xmlns:a16="http://schemas.microsoft.com/office/drawing/2014/main" id="{631B76DA-4288-76F8-9C76-EF49F2CAA0F6}"/>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351" name="Straight Connector 1350">
                      <a:extLst>
                        <a:ext uri="{FF2B5EF4-FFF2-40B4-BE49-F238E27FC236}">
                          <a16:creationId xmlns:a16="http://schemas.microsoft.com/office/drawing/2014/main" id="{6444B1F7-2248-C37C-87AA-A5AD16CD5BEC}"/>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304" name="Group 1303">
                    <a:extLst>
                      <a:ext uri="{FF2B5EF4-FFF2-40B4-BE49-F238E27FC236}">
                        <a16:creationId xmlns:a16="http://schemas.microsoft.com/office/drawing/2014/main" id="{2B3AEB47-F177-92AF-ED3E-D3618920D5C5}"/>
                      </a:ext>
                    </a:extLst>
                  </p:cNvPr>
                  <p:cNvGrpSpPr/>
                  <p:nvPr/>
                </p:nvGrpSpPr>
                <p:grpSpPr>
                  <a:xfrm>
                    <a:off x="8205189" y="2717847"/>
                    <a:ext cx="68895" cy="90004"/>
                    <a:chOff x="6128595" y="3199359"/>
                    <a:chExt cx="84653" cy="84653"/>
                  </a:xfrm>
                </p:grpSpPr>
                <p:cxnSp>
                  <p:nvCxnSpPr>
                    <p:cNvPr id="1348" name="Straight Connector 1347">
                      <a:extLst>
                        <a:ext uri="{FF2B5EF4-FFF2-40B4-BE49-F238E27FC236}">
                          <a16:creationId xmlns:a16="http://schemas.microsoft.com/office/drawing/2014/main" id="{EC6258D1-ED71-A7C7-AD90-142AE7B5817D}"/>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349" name="Straight Connector 1348">
                      <a:extLst>
                        <a:ext uri="{FF2B5EF4-FFF2-40B4-BE49-F238E27FC236}">
                          <a16:creationId xmlns:a16="http://schemas.microsoft.com/office/drawing/2014/main" id="{7746CBBD-39A0-13D9-918E-00BD05EDF0AD}"/>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305" name="Group 1304">
                    <a:extLst>
                      <a:ext uri="{FF2B5EF4-FFF2-40B4-BE49-F238E27FC236}">
                        <a16:creationId xmlns:a16="http://schemas.microsoft.com/office/drawing/2014/main" id="{FFF4431C-873D-528A-6611-76BDF446FC24}"/>
                      </a:ext>
                    </a:extLst>
                  </p:cNvPr>
                  <p:cNvGrpSpPr/>
                  <p:nvPr/>
                </p:nvGrpSpPr>
                <p:grpSpPr>
                  <a:xfrm>
                    <a:off x="8232320" y="2717847"/>
                    <a:ext cx="68895" cy="90004"/>
                    <a:chOff x="6128595" y="3199359"/>
                    <a:chExt cx="84653" cy="84653"/>
                  </a:xfrm>
                </p:grpSpPr>
                <p:cxnSp>
                  <p:nvCxnSpPr>
                    <p:cNvPr id="1346" name="Straight Connector 1345">
                      <a:extLst>
                        <a:ext uri="{FF2B5EF4-FFF2-40B4-BE49-F238E27FC236}">
                          <a16:creationId xmlns:a16="http://schemas.microsoft.com/office/drawing/2014/main" id="{5028801D-4D53-8A16-49AA-1D0CBF439A18}"/>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347" name="Straight Connector 1346">
                      <a:extLst>
                        <a:ext uri="{FF2B5EF4-FFF2-40B4-BE49-F238E27FC236}">
                          <a16:creationId xmlns:a16="http://schemas.microsoft.com/office/drawing/2014/main" id="{6FBF688E-0878-3265-96BB-5F6718CCE6E7}"/>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306" name="Group 1305">
                    <a:extLst>
                      <a:ext uri="{FF2B5EF4-FFF2-40B4-BE49-F238E27FC236}">
                        <a16:creationId xmlns:a16="http://schemas.microsoft.com/office/drawing/2014/main" id="{B224B0E0-3069-4415-CB08-88003ED6FE67}"/>
                      </a:ext>
                    </a:extLst>
                  </p:cNvPr>
                  <p:cNvGrpSpPr/>
                  <p:nvPr/>
                </p:nvGrpSpPr>
                <p:grpSpPr>
                  <a:xfrm>
                    <a:off x="8265265" y="2717847"/>
                    <a:ext cx="68895" cy="90004"/>
                    <a:chOff x="6128595" y="3199359"/>
                    <a:chExt cx="84653" cy="84653"/>
                  </a:xfrm>
                </p:grpSpPr>
                <p:cxnSp>
                  <p:nvCxnSpPr>
                    <p:cNvPr id="1344" name="Straight Connector 1343">
                      <a:extLst>
                        <a:ext uri="{FF2B5EF4-FFF2-40B4-BE49-F238E27FC236}">
                          <a16:creationId xmlns:a16="http://schemas.microsoft.com/office/drawing/2014/main" id="{5ED0225F-FE69-FBBD-8138-FF5CA83DA411}"/>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345" name="Straight Connector 1344">
                      <a:extLst>
                        <a:ext uri="{FF2B5EF4-FFF2-40B4-BE49-F238E27FC236}">
                          <a16:creationId xmlns:a16="http://schemas.microsoft.com/office/drawing/2014/main" id="{709377AF-C469-5747-8B55-F97B444EB9CD}"/>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307" name="Group 1306">
                    <a:extLst>
                      <a:ext uri="{FF2B5EF4-FFF2-40B4-BE49-F238E27FC236}">
                        <a16:creationId xmlns:a16="http://schemas.microsoft.com/office/drawing/2014/main" id="{FE3DC20E-4E30-B215-E312-3C83D8594A52}"/>
                      </a:ext>
                    </a:extLst>
                  </p:cNvPr>
                  <p:cNvGrpSpPr/>
                  <p:nvPr/>
                </p:nvGrpSpPr>
                <p:grpSpPr>
                  <a:xfrm>
                    <a:off x="8319528" y="2740632"/>
                    <a:ext cx="68895" cy="90004"/>
                    <a:chOff x="6128595" y="3199359"/>
                    <a:chExt cx="84653" cy="84653"/>
                  </a:xfrm>
                </p:grpSpPr>
                <p:cxnSp>
                  <p:nvCxnSpPr>
                    <p:cNvPr id="1342" name="Straight Connector 1341">
                      <a:extLst>
                        <a:ext uri="{FF2B5EF4-FFF2-40B4-BE49-F238E27FC236}">
                          <a16:creationId xmlns:a16="http://schemas.microsoft.com/office/drawing/2014/main" id="{4555DD22-FC37-4EF0-90BF-19111F27ED5F}"/>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343" name="Straight Connector 1342">
                      <a:extLst>
                        <a:ext uri="{FF2B5EF4-FFF2-40B4-BE49-F238E27FC236}">
                          <a16:creationId xmlns:a16="http://schemas.microsoft.com/office/drawing/2014/main" id="{994C3ED4-8CAD-6A30-6E8E-BBFC4ACE4B09}"/>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308" name="Group 1307">
                    <a:extLst>
                      <a:ext uri="{FF2B5EF4-FFF2-40B4-BE49-F238E27FC236}">
                        <a16:creationId xmlns:a16="http://schemas.microsoft.com/office/drawing/2014/main" id="{20004A4D-178B-3100-70F3-74D243B3DAA6}"/>
                      </a:ext>
                    </a:extLst>
                  </p:cNvPr>
                  <p:cNvGrpSpPr/>
                  <p:nvPr/>
                </p:nvGrpSpPr>
                <p:grpSpPr>
                  <a:xfrm>
                    <a:off x="8346660" y="2740632"/>
                    <a:ext cx="68895" cy="90004"/>
                    <a:chOff x="6128595" y="3199359"/>
                    <a:chExt cx="84653" cy="84653"/>
                  </a:xfrm>
                </p:grpSpPr>
                <p:cxnSp>
                  <p:nvCxnSpPr>
                    <p:cNvPr id="1340" name="Straight Connector 1339">
                      <a:extLst>
                        <a:ext uri="{FF2B5EF4-FFF2-40B4-BE49-F238E27FC236}">
                          <a16:creationId xmlns:a16="http://schemas.microsoft.com/office/drawing/2014/main" id="{7090BC87-EC5D-4E69-4FDE-159334942233}"/>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341" name="Straight Connector 1340">
                      <a:extLst>
                        <a:ext uri="{FF2B5EF4-FFF2-40B4-BE49-F238E27FC236}">
                          <a16:creationId xmlns:a16="http://schemas.microsoft.com/office/drawing/2014/main" id="{BC6281D1-B17B-1B72-CB87-33A638D62F36}"/>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309" name="Group 1308">
                    <a:extLst>
                      <a:ext uri="{FF2B5EF4-FFF2-40B4-BE49-F238E27FC236}">
                        <a16:creationId xmlns:a16="http://schemas.microsoft.com/office/drawing/2014/main" id="{D575E542-C200-B686-88F2-D93147594EE8}"/>
                      </a:ext>
                    </a:extLst>
                  </p:cNvPr>
                  <p:cNvGrpSpPr/>
                  <p:nvPr/>
                </p:nvGrpSpPr>
                <p:grpSpPr>
                  <a:xfrm>
                    <a:off x="8373792" y="2740632"/>
                    <a:ext cx="68895" cy="90004"/>
                    <a:chOff x="6128595" y="3199359"/>
                    <a:chExt cx="84653" cy="84653"/>
                  </a:xfrm>
                </p:grpSpPr>
                <p:cxnSp>
                  <p:nvCxnSpPr>
                    <p:cNvPr id="1338" name="Straight Connector 1337">
                      <a:extLst>
                        <a:ext uri="{FF2B5EF4-FFF2-40B4-BE49-F238E27FC236}">
                          <a16:creationId xmlns:a16="http://schemas.microsoft.com/office/drawing/2014/main" id="{B281E031-544F-F408-A05B-0B6EF5B5B2BF}"/>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339" name="Straight Connector 1338">
                      <a:extLst>
                        <a:ext uri="{FF2B5EF4-FFF2-40B4-BE49-F238E27FC236}">
                          <a16:creationId xmlns:a16="http://schemas.microsoft.com/office/drawing/2014/main" id="{30AD8C5D-66AD-12B6-55BE-4B0B6DE9CA75}"/>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310" name="Group 1309">
                    <a:extLst>
                      <a:ext uri="{FF2B5EF4-FFF2-40B4-BE49-F238E27FC236}">
                        <a16:creationId xmlns:a16="http://schemas.microsoft.com/office/drawing/2014/main" id="{470D4FA6-581C-98A3-2968-D573C974DFC2}"/>
                      </a:ext>
                    </a:extLst>
                  </p:cNvPr>
                  <p:cNvGrpSpPr/>
                  <p:nvPr/>
                </p:nvGrpSpPr>
                <p:grpSpPr>
                  <a:xfrm>
                    <a:off x="8422249" y="2740632"/>
                    <a:ext cx="421798" cy="90004"/>
                    <a:chOff x="6128595" y="3199359"/>
                    <a:chExt cx="518273" cy="84653"/>
                  </a:xfrm>
                </p:grpSpPr>
                <p:cxnSp>
                  <p:nvCxnSpPr>
                    <p:cNvPr id="1335" name="Straight Connector 1334">
                      <a:extLst>
                        <a:ext uri="{FF2B5EF4-FFF2-40B4-BE49-F238E27FC236}">
                          <a16:creationId xmlns:a16="http://schemas.microsoft.com/office/drawing/2014/main" id="{4DD49BF4-F6C3-3746-84D3-10722366788F}"/>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336" name="Straight Connector 1335">
                      <a:extLst>
                        <a:ext uri="{FF2B5EF4-FFF2-40B4-BE49-F238E27FC236}">
                          <a16:creationId xmlns:a16="http://schemas.microsoft.com/office/drawing/2014/main" id="{35E7F8B1-5280-18DC-3D93-C4F3F12CD844}"/>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cxnSp>
                  <p:nvCxnSpPr>
                    <p:cNvPr id="1337" name="Straight Connector 1336">
                      <a:extLst>
                        <a:ext uri="{FF2B5EF4-FFF2-40B4-BE49-F238E27FC236}">
                          <a16:creationId xmlns:a16="http://schemas.microsoft.com/office/drawing/2014/main" id="{30B7CB9E-9FF2-49A3-36D9-D102F2249615}"/>
                        </a:ext>
                      </a:extLst>
                    </p:cNvPr>
                    <p:cNvCxnSpPr>
                      <a:cxnSpLocks/>
                    </p:cNvCxnSpPr>
                    <p:nvPr/>
                  </p:nvCxnSpPr>
                  <p:spPr>
                    <a:xfrm>
                      <a:off x="6646868" y="3199359"/>
                      <a:ext cx="0" cy="84653"/>
                    </a:xfrm>
                    <a:prstGeom prst="line">
                      <a:avLst/>
                    </a:prstGeom>
                    <a:noFill/>
                    <a:ln w="12700" cap="flat" cmpd="sng" algn="ctr">
                      <a:solidFill>
                        <a:srgbClr val="458A6F"/>
                      </a:solidFill>
                      <a:prstDash val="solid"/>
                      <a:miter lim="800000"/>
                    </a:ln>
                    <a:effectLst/>
                  </p:spPr>
                </p:cxnSp>
              </p:grpSp>
              <p:grpSp>
                <p:nvGrpSpPr>
                  <p:cNvPr id="1311" name="Group 1310">
                    <a:extLst>
                      <a:ext uri="{FF2B5EF4-FFF2-40B4-BE49-F238E27FC236}">
                        <a16:creationId xmlns:a16="http://schemas.microsoft.com/office/drawing/2014/main" id="{90FB4714-DD38-F6A1-B18A-537A7F9A06D2}"/>
                      </a:ext>
                    </a:extLst>
                  </p:cNvPr>
                  <p:cNvGrpSpPr/>
                  <p:nvPr/>
                </p:nvGrpSpPr>
                <p:grpSpPr>
                  <a:xfrm>
                    <a:off x="8515264" y="2740632"/>
                    <a:ext cx="68895" cy="90004"/>
                    <a:chOff x="6128595" y="3199359"/>
                    <a:chExt cx="84653" cy="84653"/>
                  </a:xfrm>
                </p:grpSpPr>
                <p:cxnSp>
                  <p:nvCxnSpPr>
                    <p:cNvPr id="1333" name="Straight Connector 1332">
                      <a:extLst>
                        <a:ext uri="{FF2B5EF4-FFF2-40B4-BE49-F238E27FC236}">
                          <a16:creationId xmlns:a16="http://schemas.microsoft.com/office/drawing/2014/main" id="{F1A7B5E6-551B-1A58-7E60-F293629DF954}"/>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334" name="Straight Connector 1333">
                      <a:extLst>
                        <a:ext uri="{FF2B5EF4-FFF2-40B4-BE49-F238E27FC236}">
                          <a16:creationId xmlns:a16="http://schemas.microsoft.com/office/drawing/2014/main" id="{B0E63666-832A-14A2-E08C-A4B1EAF70194}"/>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312" name="Group 1311">
                    <a:extLst>
                      <a:ext uri="{FF2B5EF4-FFF2-40B4-BE49-F238E27FC236}">
                        <a16:creationId xmlns:a16="http://schemas.microsoft.com/office/drawing/2014/main" id="{A761A71D-8039-6168-0064-C02A3600C398}"/>
                      </a:ext>
                    </a:extLst>
                  </p:cNvPr>
                  <p:cNvGrpSpPr/>
                  <p:nvPr/>
                </p:nvGrpSpPr>
                <p:grpSpPr>
                  <a:xfrm>
                    <a:off x="8540458" y="2740632"/>
                    <a:ext cx="68895" cy="90004"/>
                    <a:chOff x="6128595" y="3199359"/>
                    <a:chExt cx="84653" cy="84653"/>
                  </a:xfrm>
                </p:grpSpPr>
                <p:cxnSp>
                  <p:nvCxnSpPr>
                    <p:cNvPr id="1331" name="Straight Connector 1330">
                      <a:extLst>
                        <a:ext uri="{FF2B5EF4-FFF2-40B4-BE49-F238E27FC236}">
                          <a16:creationId xmlns:a16="http://schemas.microsoft.com/office/drawing/2014/main" id="{5BB7290C-BE88-637F-6577-857CACA1188D}"/>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332" name="Straight Connector 1331">
                      <a:extLst>
                        <a:ext uri="{FF2B5EF4-FFF2-40B4-BE49-F238E27FC236}">
                          <a16:creationId xmlns:a16="http://schemas.microsoft.com/office/drawing/2014/main" id="{02AB53D1-27DC-125A-85EA-9DC6D9DC48D6}"/>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313" name="Group 1312">
                    <a:extLst>
                      <a:ext uri="{FF2B5EF4-FFF2-40B4-BE49-F238E27FC236}">
                        <a16:creationId xmlns:a16="http://schemas.microsoft.com/office/drawing/2014/main" id="{979FF430-4667-0080-09B9-E95F6CE43A5B}"/>
                      </a:ext>
                    </a:extLst>
                  </p:cNvPr>
                  <p:cNvGrpSpPr/>
                  <p:nvPr/>
                </p:nvGrpSpPr>
                <p:grpSpPr>
                  <a:xfrm>
                    <a:off x="8565651" y="2740632"/>
                    <a:ext cx="68895" cy="90004"/>
                    <a:chOff x="6128595" y="3199359"/>
                    <a:chExt cx="84653" cy="84653"/>
                  </a:xfrm>
                </p:grpSpPr>
                <p:cxnSp>
                  <p:nvCxnSpPr>
                    <p:cNvPr id="1329" name="Straight Connector 1328">
                      <a:extLst>
                        <a:ext uri="{FF2B5EF4-FFF2-40B4-BE49-F238E27FC236}">
                          <a16:creationId xmlns:a16="http://schemas.microsoft.com/office/drawing/2014/main" id="{CE03CCAD-DEC8-3107-3B67-723920A31066}"/>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330" name="Straight Connector 1329">
                      <a:extLst>
                        <a:ext uri="{FF2B5EF4-FFF2-40B4-BE49-F238E27FC236}">
                          <a16:creationId xmlns:a16="http://schemas.microsoft.com/office/drawing/2014/main" id="{C2152843-BE76-DA3E-F8FA-215FA3A59F90}"/>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314" name="Group 1313">
                    <a:extLst>
                      <a:ext uri="{FF2B5EF4-FFF2-40B4-BE49-F238E27FC236}">
                        <a16:creationId xmlns:a16="http://schemas.microsoft.com/office/drawing/2014/main" id="{ED6B45FC-AF18-ACAC-956B-4EA9B425568C}"/>
                      </a:ext>
                    </a:extLst>
                  </p:cNvPr>
                  <p:cNvGrpSpPr/>
                  <p:nvPr/>
                </p:nvGrpSpPr>
                <p:grpSpPr>
                  <a:xfrm>
                    <a:off x="8647046" y="2740632"/>
                    <a:ext cx="68895" cy="90004"/>
                    <a:chOff x="6128595" y="3199359"/>
                    <a:chExt cx="84653" cy="84653"/>
                  </a:xfrm>
                </p:grpSpPr>
                <p:cxnSp>
                  <p:nvCxnSpPr>
                    <p:cNvPr id="1327" name="Straight Connector 1326">
                      <a:extLst>
                        <a:ext uri="{FF2B5EF4-FFF2-40B4-BE49-F238E27FC236}">
                          <a16:creationId xmlns:a16="http://schemas.microsoft.com/office/drawing/2014/main" id="{63F1A9AF-33A4-557E-CBA9-2732817E775C}"/>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328" name="Straight Connector 1327">
                      <a:extLst>
                        <a:ext uri="{FF2B5EF4-FFF2-40B4-BE49-F238E27FC236}">
                          <a16:creationId xmlns:a16="http://schemas.microsoft.com/office/drawing/2014/main" id="{8AAD5422-9DE6-0A2B-FD7B-79977FE652B1}"/>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315" name="Group 1314">
                    <a:extLst>
                      <a:ext uri="{FF2B5EF4-FFF2-40B4-BE49-F238E27FC236}">
                        <a16:creationId xmlns:a16="http://schemas.microsoft.com/office/drawing/2014/main" id="{D9D037E9-9561-20EB-2EDE-E14BED02F6E7}"/>
                      </a:ext>
                    </a:extLst>
                  </p:cNvPr>
                  <p:cNvGrpSpPr/>
                  <p:nvPr/>
                </p:nvGrpSpPr>
                <p:grpSpPr>
                  <a:xfrm>
                    <a:off x="8691620" y="2740632"/>
                    <a:ext cx="68895" cy="90004"/>
                    <a:chOff x="6128595" y="3199359"/>
                    <a:chExt cx="84653" cy="84653"/>
                  </a:xfrm>
                </p:grpSpPr>
                <p:cxnSp>
                  <p:nvCxnSpPr>
                    <p:cNvPr id="1325" name="Straight Connector 1324">
                      <a:extLst>
                        <a:ext uri="{FF2B5EF4-FFF2-40B4-BE49-F238E27FC236}">
                          <a16:creationId xmlns:a16="http://schemas.microsoft.com/office/drawing/2014/main" id="{BF7BA784-58B7-5194-3A73-4754F38731C4}"/>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326" name="Straight Connector 1325">
                      <a:extLst>
                        <a:ext uri="{FF2B5EF4-FFF2-40B4-BE49-F238E27FC236}">
                          <a16:creationId xmlns:a16="http://schemas.microsoft.com/office/drawing/2014/main" id="{4636A240-D594-7C66-80BB-5F5D20ECA35B}"/>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316" name="Group 1315">
                    <a:extLst>
                      <a:ext uri="{FF2B5EF4-FFF2-40B4-BE49-F238E27FC236}">
                        <a16:creationId xmlns:a16="http://schemas.microsoft.com/office/drawing/2014/main" id="{3442C7DE-581E-EBD3-A2DC-680A82DF4E7B}"/>
                      </a:ext>
                    </a:extLst>
                  </p:cNvPr>
                  <p:cNvGrpSpPr/>
                  <p:nvPr/>
                </p:nvGrpSpPr>
                <p:grpSpPr>
                  <a:xfrm>
                    <a:off x="8730379" y="2740632"/>
                    <a:ext cx="68895" cy="90004"/>
                    <a:chOff x="6128595" y="3199359"/>
                    <a:chExt cx="84653" cy="84653"/>
                  </a:xfrm>
                </p:grpSpPr>
                <p:cxnSp>
                  <p:nvCxnSpPr>
                    <p:cNvPr id="1323" name="Straight Connector 1322">
                      <a:extLst>
                        <a:ext uri="{FF2B5EF4-FFF2-40B4-BE49-F238E27FC236}">
                          <a16:creationId xmlns:a16="http://schemas.microsoft.com/office/drawing/2014/main" id="{C473F0DA-06A0-729D-E5BC-D4CC8EB818D1}"/>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324" name="Straight Connector 1323">
                      <a:extLst>
                        <a:ext uri="{FF2B5EF4-FFF2-40B4-BE49-F238E27FC236}">
                          <a16:creationId xmlns:a16="http://schemas.microsoft.com/office/drawing/2014/main" id="{EC9EF451-C132-E3C1-A7E1-39D49193FAFC}"/>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317" name="Group 1316">
                    <a:extLst>
                      <a:ext uri="{FF2B5EF4-FFF2-40B4-BE49-F238E27FC236}">
                        <a16:creationId xmlns:a16="http://schemas.microsoft.com/office/drawing/2014/main" id="{51536290-60F7-9EB2-1754-04E0919B725C}"/>
                      </a:ext>
                    </a:extLst>
                  </p:cNvPr>
                  <p:cNvGrpSpPr/>
                  <p:nvPr/>
                </p:nvGrpSpPr>
                <p:grpSpPr>
                  <a:xfrm>
                    <a:off x="8763324" y="2740632"/>
                    <a:ext cx="68895" cy="90004"/>
                    <a:chOff x="6128595" y="3199359"/>
                    <a:chExt cx="84653" cy="84653"/>
                  </a:xfrm>
                </p:grpSpPr>
                <p:cxnSp>
                  <p:nvCxnSpPr>
                    <p:cNvPr id="1321" name="Straight Connector 1320">
                      <a:extLst>
                        <a:ext uri="{FF2B5EF4-FFF2-40B4-BE49-F238E27FC236}">
                          <a16:creationId xmlns:a16="http://schemas.microsoft.com/office/drawing/2014/main" id="{FBDED2E7-FC8F-9490-BDD6-0093F2616EA7}"/>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322" name="Straight Connector 1321">
                      <a:extLst>
                        <a:ext uri="{FF2B5EF4-FFF2-40B4-BE49-F238E27FC236}">
                          <a16:creationId xmlns:a16="http://schemas.microsoft.com/office/drawing/2014/main" id="{F2D1E015-D94C-7D83-31D3-55847D2ACD45}"/>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318" name="Group 1317">
                    <a:extLst>
                      <a:ext uri="{FF2B5EF4-FFF2-40B4-BE49-F238E27FC236}">
                        <a16:creationId xmlns:a16="http://schemas.microsoft.com/office/drawing/2014/main" id="{B5013546-452E-39B9-4CA1-094F3C32C47C}"/>
                      </a:ext>
                    </a:extLst>
                  </p:cNvPr>
                  <p:cNvGrpSpPr/>
                  <p:nvPr/>
                </p:nvGrpSpPr>
                <p:grpSpPr>
                  <a:xfrm>
                    <a:off x="8786580" y="2740632"/>
                    <a:ext cx="68895" cy="90004"/>
                    <a:chOff x="6128595" y="3199359"/>
                    <a:chExt cx="84653" cy="84653"/>
                  </a:xfrm>
                </p:grpSpPr>
                <p:cxnSp>
                  <p:nvCxnSpPr>
                    <p:cNvPr id="1319" name="Straight Connector 1318">
                      <a:extLst>
                        <a:ext uri="{FF2B5EF4-FFF2-40B4-BE49-F238E27FC236}">
                          <a16:creationId xmlns:a16="http://schemas.microsoft.com/office/drawing/2014/main" id="{DB96015A-4827-3CE3-15CD-370EED4C943B}"/>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320" name="Straight Connector 1319">
                      <a:extLst>
                        <a:ext uri="{FF2B5EF4-FFF2-40B4-BE49-F238E27FC236}">
                          <a16:creationId xmlns:a16="http://schemas.microsoft.com/office/drawing/2014/main" id="{5C54F04D-CFEC-2ED6-2EB5-398D141092AC}"/>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pic>
              <p:nvPicPr>
                <p:cNvPr id="1291" name="Graphic 1290">
                  <a:extLst>
                    <a:ext uri="{FF2B5EF4-FFF2-40B4-BE49-F238E27FC236}">
                      <a16:creationId xmlns:a16="http://schemas.microsoft.com/office/drawing/2014/main" id="{8F957540-E21F-7945-C94D-36868FA772E4}"/>
                    </a:ext>
                  </a:extLst>
                </p:cNvPr>
                <p:cNvPicPr>
                  <a:picLocks/>
                </p:cNvPicPr>
                <p:nvPr/>
              </p:nvPicPr>
              <p:blipFill>
                <a:blip>
                  <a:extLst>
                    <a:ext uri="{96DAC541-7B7A-43D3-8B79-37D633B846F1}">
                      <asvg:svgBlip xmlns:asvg="http://schemas.microsoft.com/office/drawing/2016/SVG/main" r:embed="rId4"/>
                    </a:ext>
                  </a:extLst>
                </a:blip>
                <a:stretch>
                  <a:fillRect/>
                </a:stretch>
              </p:blipFill>
              <p:spPr>
                <a:xfrm>
                  <a:off x="7362622" y="2680011"/>
                  <a:ext cx="1555200" cy="56388"/>
                </a:xfrm>
                <a:prstGeom prst="rect">
                  <a:avLst/>
                </a:prstGeom>
              </p:spPr>
            </p:pic>
          </p:grpSp>
          <p:grpSp>
            <p:nvGrpSpPr>
              <p:cNvPr id="1167" name="Group 1166">
                <a:extLst>
                  <a:ext uri="{FF2B5EF4-FFF2-40B4-BE49-F238E27FC236}">
                    <a16:creationId xmlns:a16="http://schemas.microsoft.com/office/drawing/2014/main" id="{818A96BC-5142-6E88-ECA4-DC93A6700849}"/>
                  </a:ext>
                </a:extLst>
              </p:cNvPr>
              <p:cNvGrpSpPr/>
              <p:nvPr/>
            </p:nvGrpSpPr>
            <p:grpSpPr>
              <a:xfrm>
                <a:off x="3529822" y="1802985"/>
                <a:ext cx="3014442" cy="1310317"/>
                <a:chOff x="3094064" y="1485556"/>
                <a:chExt cx="4325042" cy="1216799"/>
              </a:xfrm>
            </p:grpSpPr>
            <p:grpSp>
              <p:nvGrpSpPr>
                <p:cNvPr id="1168" name="Group 1167">
                  <a:extLst>
                    <a:ext uri="{FF2B5EF4-FFF2-40B4-BE49-F238E27FC236}">
                      <a16:creationId xmlns:a16="http://schemas.microsoft.com/office/drawing/2014/main" id="{DE17601E-DD4F-A349-1ADB-F1C84A0E4CB3}"/>
                    </a:ext>
                  </a:extLst>
                </p:cNvPr>
                <p:cNvGrpSpPr/>
                <p:nvPr/>
              </p:nvGrpSpPr>
              <p:grpSpPr>
                <a:xfrm>
                  <a:off x="3787254" y="1730924"/>
                  <a:ext cx="68895" cy="90004"/>
                  <a:chOff x="6128595" y="3199359"/>
                  <a:chExt cx="84653" cy="84653"/>
                </a:xfrm>
              </p:grpSpPr>
              <p:cxnSp>
                <p:nvCxnSpPr>
                  <p:cNvPr id="1170" name="Straight Connector 1169">
                    <a:extLst>
                      <a:ext uri="{FF2B5EF4-FFF2-40B4-BE49-F238E27FC236}">
                        <a16:creationId xmlns:a16="http://schemas.microsoft.com/office/drawing/2014/main" id="{A1987878-2B5D-A5DA-6E40-118CE8EC530E}"/>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171" name="Straight Connector 1170">
                    <a:extLst>
                      <a:ext uri="{FF2B5EF4-FFF2-40B4-BE49-F238E27FC236}">
                        <a16:creationId xmlns:a16="http://schemas.microsoft.com/office/drawing/2014/main" id="{A2CA294C-5A6B-7D8A-D8BA-5EB9EAC9DD70}"/>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pic>
              <p:nvPicPr>
                <p:cNvPr id="1169" name="Graphic 1168">
                  <a:extLst>
                    <a:ext uri="{FF2B5EF4-FFF2-40B4-BE49-F238E27FC236}">
                      <a16:creationId xmlns:a16="http://schemas.microsoft.com/office/drawing/2014/main" id="{9CD9F58B-ABCE-9539-060A-9B2972404719}"/>
                    </a:ext>
                  </a:extLst>
                </p:cNvPr>
                <p:cNvPicPr>
                  <a:picLocks/>
                </p:cNvPicPr>
                <p:nvPr/>
              </p:nvPicPr>
              <p:blipFill>
                <a:blip>
                  <a:extLst>
                    <a:ext uri="{96DAC541-7B7A-43D3-8B79-37D633B846F1}">
                      <asvg:svgBlip xmlns:asvg="http://schemas.microsoft.com/office/drawing/2016/SVG/main" r:embed="rId5"/>
                    </a:ext>
                  </a:extLst>
                </a:blip>
                <a:stretch>
                  <a:fillRect/>
                </a:stretch>
              </p:blipFill>
              <p:spPr>
                <a:xfrm>
                  <a:off x="3094064" y="1485556"/>
                  <a:ext cx="4325042" cy="1216799"/>
                </a:xfrm>
                <a:prstGeom prst="rect">
                  <a:avLst/>
                </a:prstGeom>
              </p:spPr>
            </p:pic>
          </p:grpSp>
        </p:grpSp>
        <p:grpSp>
          <p:nvGrpSpPr>
            <p:cNvPr id="1527" name="Group 1526">
              <a:extLst>
                <a:ext uri="{FF2B5EF4-FFF2-40B4-BE49-F238E27FC236}">
                  <a16:creationId xmlns:a16="http://schemas.microsoft.com/office/drawing/2014/main" id="{AF46E1F9-5D52-8A34-B39A-53901CB88C8A}"/>
                </a:ext>
              </a:extLst>
            </p:cNvPr>
            <p:cNvGrpSpPr/>
            <p:nvPr/>
          </p:nvGrpSpPr>
          <p:grpSpPr>
            <a:xfrm>
              <a:off x="7866145" y="4602518"/>
              <a:ext cx="224074" cy="295502"/>
              <a:chOff x="8052901" y="4602518"/>
              <a:chExt cx="224074" cy="295502"/>
            </a:xfrm>
          </p:grpSpPr>
          <p:sp>
            <p:nvSpPr>
              <p:cNvPr id="1515" name="TextBox 1514">
                <a:extLst>
                  <a:ext uri="{FF2B5EF4-FFF2-40B4-BE49-F238E27FC236}">
                    <a16:creationId xmlns:a16="http://schemas.microsoft.com/office/drawing/2014/main" id="{A16D51D1-61AB-1B33-A5D9-5858416436D5}"/>
                  </a:ext>
                </a:extLst>
              </p:cNvPr>
              <p:cNvSpPr txBox="1"/>
              <p:nvPr/>
            </p:nvSpPr>
            <p:spPr>
              <a:xfrm>
                <a:off x="8052901" y="4740460"/>
                <a:ext cx="224074" cy="157560"/>
              </a:xfrm>
              <a:prstGeom prst="rect">
                <a:avLst/>
              </a:prstGeom>
              <a:noFill/>
            </p:spPr>
            <p:txBody>
              <a:bodyPr wrap="none" lIns="0" tIns="0" rIns="0" bIns="0" rtlCol="0" anchor="ctr">
                <a:no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solidFill>
                      <a:srgbClr val="595454"/>
                    </a:solidFill>
                    <a:effectLst/>
                    <a:uLnTx/>
                    <a:uFillTx/>
                    <a:latin typeface="Arial" panose="020B0604020202020204" pitchFamily="34" charset="0"/>
                    <a:ea typeface="+mn-ea"/>
                    <a:cs typeface="Arial" panose="020B0604020202020204" pitchFamily="34" charset="0"/>
                    <a:sym typeface="Arial"/>
                    <a:rtl val="0"/>
                  </a:rPr>
                  <a:t>54</a:t>
                </a:r>
              </a:p>
            </p:txBody>
          </p:sp>
          <p:sp>
            <p:nvSpPr>
              <p:cNvPr id="1516" name="Freeform: Shape 38">
                <a:extLst>
                  <a:ext uri="{FF2B5EF4-FFF2-40B4-BE49-F238E27FC236}">
                    <a16:creationId xmlns:a16="http://schemas.microsoft.com/office/drawing/2014/main" id="{1425441C-1825-142A-DEE9-02386EB88B9F}"/>
                  </a:ext>
                </a:extLst>
              </p:cNvPr>
              <p:cNvSpPr/>
              <p:nvPr/>
            </p:nvSpPr>
            <p:spPr>
              <a:xfrm>
                <a:off x="8142942" y="4602518"/>
                <a:ext cx="8671" cy="61179"/>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rgbClr val="595454"/>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endParaRPr>
              </a:p>
            </p:txBody>
          </p:sp>
        </p:grpSp>
        <p:sp>
          <p:nvSpPr>
            <p:cNvPr id="1532" name="Speech Bubble: Rectangle 890">
              <a:extLst>
                <a:ext uri="{FF2B5EF4-FFF2-40B4-BE49-F238E27FC236}">
                  <a16:creationId xmlns:a16="http://schemas.microsoft.com/office/drawing/2014/main" id="{4F61B143-6E6B-D9D5-989D-8E1188FA1EE3}"/>
                </a:ext>
              </a:extLst>
            </p:cNvPr>
            <p:cNvSpPr/>
            <p:nvPr/>
          </p:nvSpPr>
          <p:spPr>
            <a:xfrm>
              <a:off x="7043676" y="1927076"/>
              <a:ext cx="1252800" cy="530127"/>
            </a:xfrm>
            <a:prstGeom prst="wedgeRectCallout">
              <a:avLst>
                <a:gd name="adj1" fmla="val 2520"/>
                <a:gd name="adj2" fmla="val 90237"/>
              </a:avLst>
            </a:prstGeom>
            <a:solidFill>
              <a:schemeClr val="accent6">
                <a:lumMod val="20000"/>
                <a:lumOff val="80000"/>
              </a:schemeClr>
            </a:solidFill>
            <a:ln w="25400" cap="flat" cmpd="sng" algn="ctr">
              <a:noFill/>
              <a:prstDash val="solid"/>
            </a:ln>
            <a:effectLst/>
          </p:spPr>
          <p:txBody>
            <a:bodyPr wrap="square" lIns="81000" tIns="54000" rIns="54000" bIns="54000" rtlCol="0" anchor="ctr">
              <a:spAutoFit/>
            </a:bodyPr>
            <a:lstStyle/>
            <a:p>
              <a:pPr marL="0" marR="0" lvl="0" indent="0" algn="l" defTabSz="685800" rtl="0" eaLnBrk="1" fontAlgn="ctr"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R</a:t>
              </a:r>
            </a:p>
            <a:p>
              <a:pPr marL="0" marR="0" lvl="0" indent="0" algn="l" defTabSz="685800" rtl="0" eaLnBrk="1" fontAlgn="ctr" latinLnBrk="0" hangingPunct="1">
                <a:lnSpc>
                  <a:spcPct val="100000"/>
                </a:lnSpc>
                <a:spcBef>
                  <a:spcPts val="0"/>
                </a:spcBef>
                <a:spcAft>
                  <a:spcPts val="0"/>
                </a:spcAft>
                <a:buClrTx/>
                <a:buSzTx/>
                <a:buFontTx/>
                <a:buNone/>
                <a:tabLst/>
                <a:defRPr/>
              </a:pPr>
              <a:r>
                <a:rPr kumimoji="0" lang="en-US" sz="825"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dian OS</a:t>
              </a:r>
              <a:endParaRPr kumimoji="0" lang="en-US" sz="675"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2" name="TextBox 41">
              <a:extLst>
                <a:ext uri="{FF2B5EF4-FFF2-40B4-BE49-F238E27FC236}">
                  <a16:creationId xmlns:a16="http://schemas.microsoft.com/office/drawing/2014/main" id="{4348971C-E405-9226-9DBE-146435B3E4AD}"/>
                </a:ext>
              </a:extLst>
            </p:cNvPr>
            <p:cNvSpPr txBox="1"/>
            <p:nvPr/>
          </p:nvSpPr>
          <p:spPr>
            <a:xfrm>
              <a:off x="5476274" y="4131477"/>
              <a:ext cx="3084409" cy="677108"/>
            </a:xfrm>
            <a:prstGeom prst="rect">
              <a:avLst/>
            </a:prstGeom>
            <a:noFill/>
          </p:spPr>
          <p:txBody>
            <a:bodyPr wrap="square">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57% of patients received 3L cellular </a:t>
              </a:r>
              <a:b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mmunotherapy crossover in the SOC arm</a:t>
              </a:r>
            </a:p>
          </p:txBody>
        </p:sp>
      </p:grpSp>
      <p:sp>
        <p:nvSpPr>
          <p:cNvPr id="43" name="TextBox 42">
            <a:extLst>
              <a:ext uri="{FF2B5EF4-FFF2-40B4-BE49-F238E27FC236}">
                <a16:creationId xmlns:a16="http://schemas.microsoft.com/office/drawing/2014/main" id="{26DC08B6-A8E1-7BA9-06D4-4D0A54CBC79A}"/>
              </a:ext>
            </a:extLst>
          </p:cNvPr>
          <p:cNvSpPr txBox="1"/>
          <p:nvPr/>
        </p:nvSpPr>
        <p:spPr>
          <a:xfrm>
            <a:off x="1624684" y="3946212"/>
            <a:ext cx="1709122" cy="253916"/>
          </a:xfrm>
          <a:prstGeom prst="rect">
            <a:avLst/>
          </a:prstGeom>
          <a:noFill/>
        </p:spPr>
        <p:txBody>
          <a:bodyPr wrap="none" rtlCol="0">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imary refractory: </a:t>
            </a:r>
            <a:r>
              <a:rPr kumimoji="0" lang="en-US" sz="1050" b="1" i="0" u="none" strike="noStrike" kern="1200" cap="none" spc="0" normalizeH="0" baseline="0" noProof="0" dirty="0">
                <a:ln>
                  <a:noFill/>
                </a:ln>
                <a:solidFill>
                  <a:srgbClr val="458A6F"/>
                </a:solidFill>
                <a:effectLst/>
                <a:uLnTx/>
                <a:uFillTx/>
                <a:latin typeface="Arial" panose="020B0604020202020204" pitchFamily="34" charset="0"/>
                <a:ea typeface="+mn-ea"/>
                <a:cs typeface="Arial" panose="020B0604020202020204" pitchFamily="34" charset="0"/>
              </a:rPr>
              <a:t>74%</a:t>
            </a:r>
          </a:p>
        </p:txBody>
      </p:sp>
      <p:sp>
        <p:nvSpPr>
          <p:cNvPr id="44" name="TextBox 43">
            <a:extLst>
              <a:ext uri="{FF2B5EF4-FFF2-40B4-BE49-F238E27FC236}">
                <a16:creationId xmlns:a16="http://schemas.microsoft.com/office/drawing/2014/main" id="{0918FB9E-C467-AB8E-12CE-AD6D0F9E0999}"/>
              </a:ext>
            </a:extLst>
          </p:cNvPr>
          <p:cNvSpPr txBox="1"/>
          <p:nvPr/>
        </p:nvSpPr>
        <p:spPr>
          <a:xfrm>
            <a:off x="1922844" y="4175011"/>
            <a:ext cx="1112805" cy="253916"/>
          </a:xfrm>
          <a:prstGeom prst="rect">
            <a:avLst/>
          </a:prstGeom>
          <a:noFill/>
        </p:spPr>
        <p:txBody>
          <a:bodyPr wrap="none" rtlCol="0">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HL/THL: </a:t>
            </a:r>
            <a:r>
              <a:rPr kumimoji="0" lang="en-US" sz="1050" b="1" i="0" u="none" strike="noStrike" kern="1200" cap="none" spc="0" normalizeH="0" baseline="0" noProof="0" dirty="0">
                <a:ln>
                  <a:noFill/>
                </a:ln>
                <a:solidFill>
                  <a:srgbClr val="458A6F"/>
                </a:solidFill>
                <a:effectLst/>
                <a:uLnTx/>
                <a:uFillTx/>
                <a:latin typeface="Arial" panose="020B0604020202020204" pitchFamily="34" charset="0"/>
                <a:ea typeface="+mn-ea"/>
                <a:cs typeface="Arial" panose="020B0604020202020204" pitchFamily="34" charset="0"/>
              </a:rPr>
              <a:t>17%</a:t>
            </a:r>
            <a:endParaRPr kumimoji="0" lang="en-US" sz="1050" b="0" i="0" u="none" strike="noStrike" kern="1200" cap="none" spc="0" normalizeH="0" baseline="0" noProof="0" dirty="0">
              <a:ln>
                <a:noFill/>
              </a:ln>
              <a:solidFill>
                <a:srgbClr val="458A6F"/>
              </a:solidFill>
              <a:effectLst/>
              <a:uLnTx/>
              <a:uFillTx/>
              <a:latin typeface="Arial" panose="020B0604020202020204" pitchFamily="34" charset="0"/>
              <a:ea typeface="+mn-ea"/>
              <a:cs typeface="Arial" panose="020B0604020202020204" pitchFamily="34" charset="0"/>
            </a:endParaRPr>
          </a:p>
        </p:txBody>
      </p:sp>
      <p:sp>
        <p:nvSpPr>
          <p:cNvPr id="45" name="TextBox 44">
            <a:extLst>
              <a:ext uri="{FF2B5EF4-FFF2-40B4-BE49-F238E27FC236}">
                <a16:creationId xmlns:a16="http://schemas.microsoft.com/office/drawing/2014/main" id="{7A099AC9-6362-71EE-6BA5-4B9A32DBF00B}"/>
              </a:ext>
            </a:extLst>
          </p:cNvPr>
          <p:cNvSpPr txBox="1"/>
          <p:nvPr/>
        </p:nvSpPr>
        <p:spPr>
          <a:xfrm>
            <a:off x="2165700" y="3717413"/>
            <a:ext cx="627096" cy="253916"/>
          </a:xfrm>
          <a:prstGeom prst="rect">
            <a:avLst/>
          </a:prstGeom>
          <a:noFill/>
        </p:spPr>
        <p:txBody>
          <a:bodyPr wrap="none" rtlCol="0">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458A6F"/>
                </a:solidFill>
                <a:effectLst/>
                <a:uLnTx/>
                <a:uFillTx/>
                <a:latin typeface="Arial" panose="020B0604020202020204" pitchFamily="34" charset="0"/>
                <a:ea typeface="+mn-ea"/>
                <a:cs typeface="Arial" panose="020B0604020202020204" pitchFamily="34" charset="0"/>
              </a:rPr>
              <a:t>Axi-cel</a:t>
            </a:r>
          </a:p>
        </p:txBody>
      </p:sp>
      <p:sp>
        <p:nvSpPr>
          <p:cNvPr id="15" name="TextBox 14">
            <a:extLst>
              <a:ext uri="{FF2B5EF4-FFF2-40B4-BE49-F238E27FC236}">
                <a16:creationId xmlns:a16="http://schemas.microsoft.com/office/drawing/2014/main" id="{8064643A-986A-CD7C-213B-3865D5CA4D36}"/>
              </a:ext>
            </a:extLst>
          </p:cNvPr>
          <p:cNvSpPr txBox="1"/>
          <p:nvPr/>
        </p:nvSpPr>
        <p:spPr>
          <a:xfrm>
            <a:off x="8932935" y="4342971"/>
            <a:ext cx="237566" cy="207749"/>
          </a:xfrm>
          <a:prstGeom prst="rect">
            <a:avLst/>
          </a:prstGeom>
          <a:noFill/>
        </p:spPr>
        <p:txBody>
          <a:bodyPr wrap="none" rtlCol="0">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p>
        </p:txBody>
      </p:sp>
      <p:grpSp>
        <p:nvGrpSpPr>
          <p:cNvPr id="24" name="Group 23">
            <a:extLst>
              <a:ext uri="{FF2B5EF4-FFF2-40B4-BE49-F238E27FC236}">
                <a16:creationId xmlns:a16="http://schemas.microsoft.com/office/drawing/2014/main" id="{0B1B53CD-3B27-2BFC-35D6-150C25FF6741}"/>
              </a:ext>
            </a:extLst>
          </p:cNvPr>
          <p:cNvGrpSpPr/>
          <p:nvPr/>
        </p:nvGrpSpPr>
        <p:grpSpPr>
          <a:xfrm>
            <a:off x="9093121" y="4332602"/>
            <a:ext cx="1309499" cy="69253"/>
            <a:chOff x="9919129" y="4665930"/>
            <a:chExt cx="1414860" cy="46936"/>
          </a:xfrm>
        </p:grpSpPr>
        <p:cxnSp>
          <p:nvCxnSpPr>
            <p:cNvPr id="29" name="Straight Connector 28">
              <a:extLst>
                <a:ext uri="{FF2B5EF4-FFF2-40B4-BE49-F238E27FC236}">
                  <a16:creationId xmlns:a16="http://schemas.microsoft.com/office/drawing/2014/main" id="{79100C63-DA76-6D2C-182B-0CD865DC38B8}"/>
                </a:ext>
              </a:extLst>
            </p:cNvPr>
            <p:cNvCxnSpPr>
              <a:cxnSpLocks/>
            </p:cNvCxnSpPr>
            <p:nvPr/>
          </p:nvCxnSpPr>
          <p:spPr>
            <a:xfrm flipV="1">
              <a:off x="9919129" y="4665930"/>
              <a:ext cx="14148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3EDC253F-3A33-A2C5-B118-67D79F508620}"/>
                </a:ext>
              </a:extLst>
            </p:cNvPr>
            <p:cNvGrpSpPr/>
            <p:nvPr/>
          </p:nvGrpSpPr>
          <p:grpSpPr>
            <a:xfrm>
              <a:off x="9919655" y="4665930"/>
              <a:ext cx="1414334" cy="46936"/>
              <a:chOff x="9919655" y="4665930"/>
              <a:chExt cx="1414334" cy="46936"/>
            </a:xfrm>
          </p:grpSpPr>
          <p:cxnSp>
            <p:nvCxnSpPr>
              <p:cNvPr id="41" name="Straight Connector 40">
                <a:extLst>
                  <a:ext uri="{FF2B5EF4-FFF2-40B4-BE49-F238E27FC236}">
                    <a16:creationId xmlns:a16="http://schemas.microsoft.com/office/drawing/2014/main" id="{726EBDD0-8EF7-1B13-090D-98F8E66EC005}"/>
                  </a:ext>
                </a:extLst>
              </p:cNvPr>
              <p:cNvCxnSpPr>
                <a:cxnSpLocks/>
              </p:cNvCxnSpPr>
              <p:nvPr/>
            </p:nvCxnSpPr>
            <p:spPr>
              <a:xfrm>
                <a:off x="9919655" y="4665930"/>
                <a:ext cx="0" cy="4693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47CBFD4-37BF-85CD-0AC5-59C231B12052}"/>
                  </a:ext>
                </a:extLst>
              </p:cNvPr>
              <p:cNvCxnSpPr>
                <a:cxnSpLocks/>
              </p:cNvCxnSpPr>
              <p:nvPr/>
            </p:nvCxnSpPr>
            <p:spPr>
              <a:xfrm>
                <a:off x="10202522" y="4665930"/>
                <a:ext cx="0" cy="4693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22BB9DBA-9E92-E638-73BE-D3115D513C4B}"/>
                  </a:ext>
                </a:extLst>
              </p:cNvPr>
              <p:cNvCxnSpPr>
                <a:cxnSpLocks/>
              </p:cNvCxnSpPr>
              <p:nvPr/>
            </p:nvCxnSpPr>
            <p:spPr>
              <a:xfrm>
                <a:off x="10485389" y="4665930"/>
                <a:ext cx="0" cy="4693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37EFF15C-CD58-945E-AB89-EABF20186F8B}"/>
                  </a:ext>
                </a:extLst>
              </p:cNvPr>
              <p:cNvCxnSpPr>
                <a:cxnSpLocks/>
              </p:cNvCxnSpPr>
              <p:nvPr/>
            </p:nvCxnSpPr>
            <p:spPr>
              <a:xfrm>
                <a:off x="10768256" y="4665930"/>
                <a:ext cx="0" cy="4693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C57F2A23-F808-3357-4DE7-FD5C7179E19A}"/>
                  </a:ext>
                </a:extLst>
              </p:cNvPr>
              <p:cNvCxnSpPr>
                <a:cxnSpLocks/>
              </p:cNvCxnSpPr>
              <p:nvPr/>
            </p:nvCxnSpPr>
            <p:spPr>
              <a:xfrm>
                <a:off x="11051123" y="4665930"/>
                <a:ext cx="0" cy="4693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A988F78-3AB5-45C9-E783-A9A6D091C928}"/>
                  </a:ext>
                </a:extLst>
              </p:cNvPr>
              <p:cNvCxnSpPr>
                <a:cxnSpLocks/>
              </p:cNvCxnSpPr>
              <p:nvPr/>
            </p:nvCxnSpPr>
            <p:spPr>
              <a:xfrm>
                <a:off x="11333989" y="4665930"/>
                <a:ext cx="0" cy="4693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51" name="TextBox 50">
            <a:extLst>
              <a:ext uri="{FF2B5EF4-FFF2-40B4-BE49-F238E27FC236}">
                <a16:creationId xmlns:a16="http://schemas.microsoft.com/office/drawing/2014/main" id="{5C3AA66A-22F4-8F99-8501-339742171168}"/>
              </a:ext>
            </a:extLst>
          </p:cNvPr>
          <p:cNvSpPr txBox="1"/>
          <p:nvPr/>
        </p:nvSpPr>
        <p:spPr>
          <a:xfrm>
            <a:off x="10274377" y="4336261"/>
            <a:ext cx="343364" cy="207749"/>
          </a:xfrm>
          <a:prstGeom prst="rect">
            <a:avLst/>
          </a:prstGeom>
          <a:noFill/>
        </p:spPr>
        <p:txBody>
          <a:bodyPr wrap="none" rtlCol="0">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00</a:t>
            </a:r>
          </a:p>
        </p:txBody>
      </p:sp>
      <p:sp>
        <p:nvSpPr>
          <p:cNvPr id="4" name="TextBox 3">
            <a:extLst>
              <a:ext uri="{FF2B5EF4-FFF2-40B4-BE49-F238E27FC236}">
                <a16:creationId xmlns:a16="http://schemas.microsoft.com/office/drawing/2014/main" id="{FC5D9489-030E-2C05-D3F9-045409EB4769}"/>
              </a:ext>
            </a:extLst>
          </p:cNvPr>
          <p:cNvSpPr txBox="1"/>
          <p:nvPr/>
        </p:nvSpPr>
        <p:spPr>
          <a:xfrm rot="16200000">
            <a:off x="3525814" y="3140607"/>
            <a:ext cx="478310" cy="180557"/>
          </a:xfrm>
          <a:prstGeom prst="rect">
            <a:avLst/>
          </a:prstGeom>
          <a:noFill/>
        </p:spPr>
        <p:txBody>
          <a:bodyPr wrap="none" lIns="0" tIns="0" rIns="0" bIns="0" rtlCol="0" anchor="ctr">
            <a:noAutofit/>
          </a:bodyPr>
          <a:lstStyle/>
          <a:p>
            <a:pPr marL="0" marR="0" lvl="0" indent="0" algn="r" defTabSz="914378"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OS, %</a:t>
            </a:r>
          </a:p>
        </p:txBody>
      </p:sp>
    </p:spTree>
    <p:extLst>
      <p:ext uri="{BB962C8B-B14F-4D97-AF65-F5344CB8AC3E}">
        <p14:creationId xmlns:p14="http://schemas.microsoft.com/office/powerpoint/2010/main" val="80190535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24670C-6CB3-1392-28FB-75E272D3DCA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7D98EDE-1BC4-CE25-6ABC-E8919073FADF}"/>
              </a:ext>
            </a:extLst>
          </p:cNvPr>
          <p:cNvSpPr>
            <a:spLocks noGrp="1"/>
          </p:cNvSpPr>
          <p:nvPr>
            <p:ph type="title"/>
          </p:nvPr>
        </p:nvSpPr>
        <p:spPr>
          <a:xfrm>
            <a:off x="725854" y="357309"/>
            <a:ext cx="10515600" cy="891107"/>
          </a:xfrm>
        </p:spPr>
        <p:txBody>
          <a:bodyPr>
            <a:noAutofit/>
          </a:bodyPr>
          <a:lstStyle/>
          <a:p>
            <a:r>
              <a:rPr lang="en-US" sz="3000" dirty="0">
                <a:latin typeface="Arial" panose="020B0604020202020204" pitchFamily="34" charset="0"/>
                <a:cs typeface="Arial" panose="020B0604020202020204" pitchFamily="34" charset="0"/>
              </a:rPr>
              <a:t>Liso-cel continued to demonstrate higher rates of survival at ≈ 3 and 4 years of follow-up</a:t>
            </a:r>
          </a:p>
        </p:txBody>
      </p:sp>
      <p:sp>
        <p:nvSpPr>
          <p:cNvPr id="13" name="Flowchart: Process 12">
            <a:extLst>
              <a:ext uri="{FF2B5EF4-FFF2-40B4-BE49-F238E27FC236}">
                <a16:creationId xmlns:a16="http://schemas.microsoft.com/office/drawing/2014/main" id="{E62240E9-4110-97EB-A24D-7AB482B3F320}"/>
              </a:ext>
            </a:extLst>
          </p:cNvPr>
          <p:cNvSpPr/>
          <p:nvPr/>
        </p:nvSpPr>
        <p:spPr>
          <a:xfrm>
            <a:off x="1542967" y="5123699"/>
            <a:ext cx="9144000" cy="746616"/>
          </a:xfrm>
          <a:prstGeom prst="flowChartProcess">
            <a:avLst/>
          </a:prstGeom>
          <a:solidFill>
            <a:schemeClr val="accent1"/>
          </a:solidFill>
          <a:ln>
            <a:noFill/>
          </a:ln>
        </p:spPr>
        <p:style>
          <a:lnRef idx="0">
            <a:schemeClr val="accent1"/>
          </a:lnRef>
          <a:fillRef idx="1">
            <a:schemeClr val="accent1"/>
          </a:fillRef>
          <a:effectRef idx="0">
            <a:srgbClr val="000000"/>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62% of patients crossed over from the SOC arm to receive liso-cel</a:t>
            </a:r>
            <a:endParaRPr kumimoji="0" lang="en-US" sz="1600" b="1"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 name="Flowchart: Process 12">
            <a:extLst>
              <a:ext uri="{FF2B5EF4-FFF2-40B4-BE49-F238E27FC236}">
                <a16:creationId xmlns:a16="http://schemas.microsoft.com/office/drawing/2014/main" id="{67BBF9AD-1DF7-CBBE-8079-54F8AB324F28}"/>
              </a:ext>
            </a:extLst>
          </p:cNvPr>
          <p:cNvSpPr/>
          <p:nvPr/>
        </p:nvSpPr>
        <p:spPr>
          <a:xfrm>
            <a:off x="1608777" y="5882301"/>
            <a:ext cx="9144000" cy="610339"/>
          </a:xfrm>
          <a:prstGeom prst="flowChartProcess">
            <a:avLst/>
          </a:prstGeom>
          <a:solidFill>
            <a:schemeClr val="accent1"/>
          </a:solidFill>
          <a:ln>
            <a:noFill/>
          </a:ln>
        </p:spPr>
        <p:style>
          <a:lnRef idx="0">
            <a:schemeClr val="accent1"/>
          </a:lnRef>
          <a:fillRef idx="1">
            <a:schemeClr val="accent1"/>
          </a:fillRef>
          <a:effectRef idx="0">
            <a:srgbClr val="000000"/>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Liso-cel provided a 43% reduction in risk of death vs. SOC in a prespecified analysis adjusted for crossover</a:t>
            </a:r>
          </a:p>
        </p:txBody>
      </p:sp>
      <p:grpSp>
        <p:nvGrpSpPr>
          <p:cNvPr id="3" name="Group 2">
            <a:extLst>
              <a:ext uri="{FF2B5EF4-FFF2-40B4-BE49-F238E27FC236}">
                <a16:creationId xmlns:a16="http://schemas.microsoft.com/office/drawing/2014/main" id="{2450CE18-21B0-2C9A-6892-CE07BCA7F249}"/>
              </a:ext>
            </a:extLst>
          </p:cNvPr>
          <p:cNvGrpSpPr/>
          <p:nvPr/>
        </p:nvGrpSpPr>
        <p:grpSpPr>
          <a:xfrm>
            <a:off x="930346" y="1337245"/>
            <a:ext cx="10956854" cy="3463873"/>
            <a:chOff x="1625256" y="1629876"/>
            <a:chExt cx="9061712" cy="3196172"/>
          </a:xfrm>
        </p:grpSpPr>
        <p:sp>
          <p:nvSpPr>
            <p:cNvPr id="60" name="Flowchart: Process 59">
              <a:extLst>
                <a:ext uri="{FF2B5EF4-FFF2-40B4-BE49-F238E27FC236}">
                  <a16:creationId xmlns:a16="http://schemas.microsoft.com/office/drawing/2014/main" id="{D8AFD701-322A-F57B-1C7C-CB55410CF1FD}"/>
                </a:ext>
              </a:extLst>
            </p:cNvPr>
            <p:cNvSpPr/>
            <p:nvPr/>
          </p:nvSpPr>
          <p:spPr>
            <a:xfrm>
              <a:off x="1626360" y="1822337"/>
              <a:ext cx="1706880" cy="2672129"/>
            </a:xfrm>
            <a:prstGeom prst="flowChartProcess">
              <a:avLst/>
            </a:prstGeom>
            <a:solidFill>
              <a:sysClr val="window" lastClr="FFFFFF"/>
            </a:solidFill>
            <a:ln>
              <a:noFill/>
            </a:ln>
            <a:effectLst>
              <a:outerShdw blurRad="50800" dist="38100" algn="l" rotWithShape="0">
                <a:prstClr val="black">
                  <a:alpha val="40000"/>
                </a:prstClr>
              </a:outerShdw>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1" name="Flowchart: Process 60">
              <a:extLst>
                <a:ext uri="{FF2B5EF4-FFF2-40B4-BE49-F238E27FC236}">
                  <a16:creationId xmlns:a16="http://schemas.microsoft.com/office/drawing/2014/main" id="{3F9F7439-AC9F-9F13-7E59-BB67BC68D8B3}"/>
                </a:ext>
              </a:extLst>
            </p:cNvPr>
            <p:cNvSpPr/>
            <p:nvPr/>
          </p:nvSpPr>
          <p:spPr>
            <a:xfrm>
              <a:off x="1708781" y="1880785"/>
              <a:ext cx="1542040" cy="306710"/>
            </a:xfrm>
            <a:prstGeom prst="flowChartProcess">
              <a:avLst/>
            </a:prstGeom>
            <a:solidFill>
              <a:schemeClr val="accent1"/>
            </a:solidFill>
            <a:ln>
              <a:noFill/>
            </a:ln>
            <a:effectLst/>
          </p:spPr>
          <p:txBody>
            <a:bodyPr lIns="27000" r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RANSFORM</a:t>
              </a:r>
            </a:p>
          </p:txBody>
        </p:sp>
        <p:sp>
          <p:nvSpPr>
            <p:cNvPr id="62" name="TextBox 61">
              <a:extLst>
                <a:ext uri="{FF2B5EF4-FFF2-40B4-BE49-F238E27FC236}">
                  <a16:creationId xmlns:a16="http://schemas.microsoft.com/office/drawing/2014/main" id="{94E4FF1D-B9E6-F26F-7FD7-450C6BD6C15A}"/>
                </a:ext>
              </a:extLst>
            </p:cNvPr>
            <p:cNvSpPr txBox="1"/>
            <p:nvPr/>
          </p:nvSpPr>
          <p:spPr>
            <a:xfrm>
              <a:off x="1708781" y="2239924"/>
              <a:ext cx="1584683" cy="1487587"/>
            </a:xfrm>
            <a:prstGeom prst="rect">
              <a:avLst/>
            </a:prstGeom>
            <a:noFill/>
          </p:spPr>
          <p:txBody>
            <a:bodyPr wrap="square">
              <a:spAutoFit/>
            </a:bodyPr>
            <a:lstStyle/>
            <a:p>
              <a:pPr marL="0" marR="0" lvl="0" indent="0" algn="ctr" defTabSz="685800" rtl="0" eaLnBrk="1" fontAlgn="auto" latinLnBrk="0" hangingPunct="1">
                <a:lnSpc>
                  <a:spcPct val="100000"/>
                </a:lnSpc>
                <a:spcBef>
                  <a:spcPts val="375"/>
                </a:spcBef>
                <a:spcAft>
                  <a:spcPts val="0"/>
                </a:spcAft>
                <a:buClr>
                  <a:srgbClr val="C30F3B"/>
                </a:buClr>
                <a:buSzPct val="120000"/>
                <a:buFontTx/>
                <a:buNone/>
                <a:tabLst/>
                <a:defRPr/>
              </a:pPr>
              <a:r>
                <a:rPr kumimoji="0" lang="en-US" sz="1050" b="1" i="0" u="none" strike="noStrike" kern="0" cap="none" spc="0" normalizeH="0" baseline="0" noProof="0" dirty="0" err="1">
                  <a:ln>
                    <a:noFill/>
                  </a:ln>
                  <a:solidFill>
                    <a:srgbClr val="4472C4"/>
                  </a:solidFill>
                  <a:effectLst/>
                  <a:uLnTx/>
                  <a:uFillTx/>
                  <a:latin typeface="Arial" panose="020B0604020202020204" pitchFamily="34" charset="0"/>
                  <a:ea typeface="+mn-ea"/>
                  <a:cs typeface="Arial" panose="020B0604020202020204" pitchFamily="34" charset="0"/>
                </a:rPr>
                <a:t>mFU</a:t>
              </a:r>
              <a:r>
                <a:rPr kumimoji="0" lang="en-US" sz="1050" b="1" i="0" u="none" strike="noStrike" kern="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 33.9 months</a:t>
              </a:r>
            </a:p>
            <a:p>
              <a:pPr marL="0" marR="0" lvl="0" indent="0" algn="ctr" defTabSz="685800" rtl="0" eaLnBrk="1" fontAlgn="auto" latinLnBrk="0" hangingPunct="1">
                <a:lnSpc>
                  <a:spcPct val="100000"/>
                </a:lnSpc>
                <a:spcBef>
                  <a:spcPts val="375"/>
                </a:spcBef>
                <a:spcAft>
                  <a:spcPts val="0"/>
                </a:spcAft>
                <a:buClr>
                  <a:srgbClr val="C30F3B"/>
                </a:buClr>
                <a:buSzPct val="120000"/>
                <a:buFontTx/>
                <a:buNone/>
                <a:tabLst/>
                <a:defRPr/>
              </a:pPr>
              <a:r>
                <a:rPr kumimoji="0" lang="en-US" sz="10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hase 3, randomized  trial of </a:t>
              </a:r>
              <a:r>
                <a:rPr kumimoji="0" lang="en-US" sz="1050" b="1" i="0" u="none" strike="noStrike" kern="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liso-cel </a:t>
              </a:r>
              <a:r>
                <a:rPr kumimoji="0" lang="en-US" sz="1050" b="0" i="0" u="none" strike="noStrike" kern="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n = 92) </a:t>
              </a:r>
              <a:r>
                <a:rPr kumimoji="0" lang="en-US" sz="10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vs. </a:t>
              </a:r>
              <a:r>
                <a:rPr kumimoji="0" lang="en-US" sz="105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OC </a:t>
              </a:r>
              <a:r>
                <a:rPr kumimoji="0" lang="en-US" sz="10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SCT, n = 92) as 2L treatment in patients with R/R LBCL </a:t>
              </a:r>
              <a:br>
                <a:rPr kumimoji="0" lang="en-US" sz="10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10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 = 184)</a:t>
              </a:r>
            </a:p>
            <a:p>
              <a:pPr marL="0" marR="0" lvl="0" indent="0" algn="l" defTabSz="685800" rtl="0" eaLnBrk="1" fontAlgn="auto" latinLnBrk="0" hangingPunct="1">
                <a:lnSpc>
                  <a:spcPct val="100000"/>
                </a:lnSpc>
                <a:spcBef>
                  <a:spcPts val="375"/>
                </a:spcBef>
                <a:spcAft>
                  <a:spcPts val="0"/>
                </a:spcAft>
                <a:buClr>
                  <a:srgbClr val="C30F3B"/>
                </a:buClr>
                <a:buSzPct val="120000"/>
                <a:buFontTx/>
                <a:buNone/>
                <a:tabLst/>
                <a:defRPr/>
              </a:pPr>
              <a:endParaRPr kumimoji="0" lang="en-US" sz="1050" b="1" i="0" u="none" strike="noStrike" kern="0" cap="none" spc="0" normalizeH="0" baseline="0" noProof="0" dirty="0">
                <a:ln>
                  <a:noFill/>
                </a:ln>
                <a:solidFill>
                  <a:srgbClr val="BE2BBB"/>
                </a:solidFill>
                <a:effectLst/>
                <a:uLnTx/>
                <a:uFillTx/>
                <a:latin typeface="Arial" panose="020B0604020202020204" pitchFamily="34" charset="0"/>
                <a:ea typeface="+mn-ea"/>
                <a:cs typeface="Arial" panose="020B0604020202020204" pitchFamily="34" charset="0"/>
              </a:endParaRPr>
            </a:p>
          </p:txBody>
        </p:sp>
        <p:cxnSp>
          <p:nvCxnSpPr>
            <p:cNvPr id="63" name="Straight Connector 62">
              <a:extLst>
                <a:ext uri="{FF2B5EF4-FFF2-40B4-BE49-F238E27FC236}">
                  <a16:creationId xmlns:a16="http://schemas.microsoft.com/office/drawing/2014/main" id="{9DEEC764-5149-268B-AB36-FBF58DF660F4}"/>
                </a:ext>
              </a:extLst>
            </p:cNvPr>
            <p:cNvCxnSpPr>
              <a:cxnSpLocks/>
            </p:cNvCxnSpPr>
            <p:nvPr/>
          </p:nvCxnSpPr>
          <p:spPr>
            <a:xfrm>
              <a:off x="1988073" y="4402057"/>
              <a:ext cx="983456" cy="0"/>
            </a:xfrm>
            <a:prstGeom prst="line">
              <a:avLst/>
            </a:prstGeom>
            <a:ln/>
          </p:spPr>
          <p:style>
            <a:lnRef idx="1">
              <a:schemeClr val="accent1"/>
            </a:lnRef>
            <a:fillRef idx="0">
              <a:schemeClr val="accent1"/>
            </a:fillRef>
            <a:effectRef idx="0">
              <a:schemeClr val="accent1"/>
            </a:effectRef>
            <a:fontRef idx="minor">
              <a:schemeClr val="tx1"/>
            </a:fontRef>
          </p:style>
        </p:cxnSp>
        <p:sp>
          <p:nvSpPr>
            <p:cNvPr id="472" name="TextBox 471">
              <a:extLst>
                <a:ext uri="{FF2B5EF4-FFF2-40B4-BE49-F238E27FC236}">
                  <a16:creationId xmlns:a16="http://schemas.microsoft.com/office/drawing/2014/main" id="{C3ACDA86-AE00-4833-3DCD-178EA52627B2}"/>
                </a:ext>
              </a:extLst>
            </p:cNvPr>
            <p:cNvSpPr txBox="1"/>
            <p:nvPr/>
          </p:nvSpPr>
          <p:spPr>
            <a:xfrm>
              <a:off x="4166727" y="1807847"/>
              <a:ext cx="3119899" cy="276999"/>
            </a:xfrm>
            <a:prstGeom prst="rect">
              <a:avLst/>
            </a:prstGeom>
            <a:noFill/>
          </p:spPr>
          <p:txBody>
            <a:bodyPr wrap="square" rtlCol="0">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S (N = 184)</a:t>
              </a:r>
              <a:r>
                <a:rPr kumimoji="0" lang="en-US" sz="1200" b="1"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2</a:t>
              </a:r>
            </a:p>
          </p:txBody>
        </p:sp>
        <p:sp>
          <p:nvSpPr>
            <p:cNvPr id="58" name="Rectangle 57">
              <a:extLst>
                <a:ext uri="{FF2B5EF4-FFF2-40B4-BE49-F238E27FC236}">
                  <a16:creationId xmlns:a16="http://schemas.microsoft.com/office/drawing/2014/main" id="{ACA7061A-4853-9C53-7AF6-684A77D0E882}"/>
                </a:ext>
              </a:extLst>
            </p:cNvPr>
            <p:cNvSpPr/>
            <p:nvPr/>
          </p:nvSpPr>
          <p:spPr>
            <a:xfrm>
              <a:off x="8133685" y="1853089"/>
              <a:ext cx="2553283" cy="2961824"/>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59" name="Straight Connector 58">
              <a:extLst>
                <a:ext uri="{FF2B5EF4-FFF2-40B4-BE49-F238E27FC236}">
                  <a16:creationId xmlns:a16="http://schemas.microsoft.com/office/drawing/2014/main" id="{F3834EF8-B46A-D20B-EB18-BB18CBCDC771}"/>
                </a:ext>
              </a:extLst>
            </p:cNvPr>
            <p:cNvCxnSpPr>
              <a:cxnSpLocks/>
            </p:cNvCxnSpPr>
            <p:nvPr/>
          </p:nvCxnSpPr>
          <p:spPr>
            <a:xfrm>
              <a:off x="8124373" y="1853089"/>
              <a:ext cx="0" cy="2961900"/>
            </a:xfrm>
            <a:prstGeom prst="line">
              <a:avLst/>
            </a:prstGeom>
            <a:ln w="28575" cap="rnd">
              <a:solidFill>
                <a:schemeClr val="accent1"/>
              </a:solidFill>
            </a:ln>
          </p:spPr>
          <p:style>
            <a:lnRef idx="1">
              <a:srgbClr val="BE2BBB"/>
            </a:lnRef>
            <a:fillRef idx="0">
              <a:schemeClr val="accent1"/>
            </a:fillRef>
            <a:effectRef idx="0">
              <a:srgbClr val="000000"/>
            </a:effectRef>
            <a:fontRef idx="minor">
              <a:schemeClr val="lt1"/>
            </a:fontRef>
          </p:style>
        </p:cxnSp>
        <p:sp>
          <p:nvSpPr>
            <p:cNvPr id="448" name="TextBox 447">
              <a:extLst>
                <a:ext uri="{FF2B5EF4-FFF2-40B4-BE49-F238E27FC236}">
                  <a16:creationId xmlns:a16="http://schemas.microsoft.com/office/drawing/2014/main" id="{5801C0F2-1343-41EC-41FC-473D0402912F}"/>
                </a:ext>
              </a:extLst>
            </p:cNvPr>
            <p:cNvSpPr txBox="1"/>
            <p:nvPr/>
          </p:nvSpPr>
          <p:spPr>
            <a:xfrm>
              <a:off x="8114719" y="1871981"/>
              <a:ext cx="2313307" cy="234292"/>
            </a:xfrm>
            <a:prstGeom prst="rect">
              <a:avLst/>
            </a:prstGeom>
            <a:noFill/>
          </p:spPr>
          <p:txBody>
            <a:bodyPr wrap="square" rtlCol="0">
              <a:spAutoFit/>
            </a:bodyPr>
            <a:lstStyle/>
            <a:p>
              <a:pPr marL="0" marR="0" lvl="0" indent="0" algn="ctr" defTabSz="914378" rtl="0" eaLnBrk="0" fontAlgn="base" latinLnBrk="0" hangingPunct="0">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lumMod val="75000"/>
                      <a:lumOff val="25000"/>
                    </a:srgbClr>
                  </a:solidFill>
                  <a:effectLst/>
                  <a:uLnTx/>
                  <a:uFillTx/>
                  <a:latin typeface="Arial" panose="020B0604020202020204" pitchFamily="34" charset="0"/>
                  <a:ea typeface="+mn-ea"/>
                  <a:cs typeface="Arial" panose="020B0604020202020204" pitchFamily="34" charset="0"/>
                </a:rPr>
                <a:t>Liso-cel efficacy (n = 92)</a:t>
              </a:r>
              <a:endParaRPr kumimoji="0" lang="en-US" sz="1050" b="1" i="0" u="none" strike="noStrike" kern="1200" cap="none" spc="0" normalizeH="0" baseline="30000" noProof="0" dirty="0">
                <a:ln>
                  <a:noFill/>
                </a:ln>
                <a:solidFill>
                  <a:srgbClr val="000000">
                    <a:lumMod val="75000"/>
                    <a:lumOff val="25000"/>
                  </a:srgbClr>
                </a:solidFill>
                <a:effectLst/>
                <a:uLnTx/>
                <a:uFillTx/>
                <a:latin typeface="Arial" panose="020B0604020202020204" pitchFamily="34" charset="0"/>
                <a:ea typeface="+mn-ea"/>
                <a:cs typeface="Arial" panose="020B0604020202020204" pitchFamily="34" charset="0"/>
              </a:endParaRPr>
            </a:p>
          </p:txBody>
        </p:sp>
        <p:grpSp>
          <p:nvGrpSpPr>
            <p:cNvPr id="449" name="Group 448">
              <a:extLst>
                <a:ext uri="{FF2B5EF4-FFF2-40B4-BE49-F238E27FC236}">
                  <a16:creationId xmlns:a16="http://schemas.microsoft.com/office/drawing/2014/main" id="{226CF585-F428-693C-CDB8-207E3C0DC0B6}"/>
                </a:ext>
              </a:extLst>
            </p:cNvPr>
            <p:cNvGrpSpPr/>
            <p:nvPr/>
          </p:nvGrpSpPr>
          <p:grpSpPr>
            <a:xfrm>
              <a:off x="8288936" y="3330911"/>
              <a:ext cx="1917587" cy="253916"/>
              <a:chOff x="9019920" y="2283022"/>
              <a:chExt cx="2556784" cy="338555"/>
            </a:xfrm>
          </p:grpSpPr>
          <p:sp>
            <p:nvSpPr>
              <p:cNvPr id="450" name="TextBox 449">
                <a:extLst>
                  <a:ext uri="{FF2B5EF4-FFF2-40B4-BE49-F238E27FC236}">
                    <a16:creationId xmlns:a16="http://schemas.microsoft.com/office/drawing/2014/main" id="{44E14CC0-7AAA-F7D4-EB5A-809744E077B4}"/>
                  </a:ext>
                </a:extLst>
              </p:cNvPr>
              <p:cNvSpPr txBox="1"/>
              <p:nvPr/>
            </p:nvSpPr>
            <p:spPr bwMode="auto">
              <a:xfrm>
                <a:off x="9019920" y="2298057"/>
                <a:ext cx="1044000" cy="289753"/>
              </a:xfrm>
              <a:prstGeom prst="rect">
                <a:avLst/>
              </a:prstGeom>
              <a:noFill/>
            </p:spPr>
            <p:txBody>
              <a:bodyPr lIns="0" tIns="0" rIns="0" bIns="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825" b="1" i="0" u="none" strike="noStrike" kern="0" cap="none" spc="0" normalizeH="0" baseline="0" noProof="0" dirty="0">
                    <a:ln>
                      <a:noFill/>
                    </a:ln>
                    <a:solidFill>
                      <a:srgbClr val="000000">
                        <a:lumMod val="75000"/>
                        <a:lumOff val="25000"/>
                      </a:srgbClr>
                    </a:solidFill>
                    <a:effectLst/>
                    <a:uLnTx/>
                    <a:uFillTx/>
                    <a:latin typeface="Arial" panose="020B0604020202020204" pitchFamily="34" charset="0"/>
                    <a:ea typeface="MS PGothic" panose="020B0600070205080204" pitchFamily="34" charset="-128"/>
                    <a:cs typeface="Arial" panose="020B0604020202020204" pitchFamily="34" charset="0"/>
                  </a:rPr>
                  <a:t>Median EFS</a:t>
                </a:r>
              </a:p>
            </p:txBody>
          </p:sp>
          <p:sp>
            <p:nvSpPr>
              <p:cNvPr id="452" name="TextBox 451">
                <a:extLst>
                  <a:ext uri="{FF2B5EF4-FFF2-40B4-BE49-F238E27FC236}">
                    <a16:creationId xmlns:a16="http://schemas.microsoft.com/office/drawing/2014/main" id="{9CAE3D6E-B59F-9D1B-0B9C-86796DE5A5DC}"/>
                  </a:ext>
                </a:extLst>
              </p:cNvPr>
              <p:cNvSpPr txBox="1"/>
              <p:nvPr/>
            </p:nvSpPr>
            <p:spPr>
              <a:xfrm>
                <a:off x="10432802" y="2283022"/>
                <a:ext cx="1143902" cy="338555"/>
              </a:xfrm>
              <a:prstGeom prst="rect">
                <a:avLst/>
              </a:prstGeom>
              <a:noFill/>
            </p:spPr>
            <p:txBody>
              <a:bodyPr wrap="none" rtlCol="0">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30 months</a:t>
                </a:r>
                <a:endParaRPr kumimoji="0" lang="en-US" sz="1050" b="1" i="0" u="none" strike="noStrike" kern="1200" cap="none" spc="0" normalizeH="0" baseline="30000" noProof="0" dirty="0">
                  <a:ln>
                    <a:noFill/>
                  </a:ln>
                  <a:solidFill>
                    <a:srgbClr val="4472C4"/>
                  </a:solidFill>
                  <a:effectLst/>
                  <a:uLnTx/>
                  <a:uFillTx/>
                  <a:latin typeface="Arial" panose="020B0604020202020204" pitchFamily="34" charset="0"/>
                  <a:ea typeface="+mn-ea"/>
                  <a:cs typeface="Arial" panose="020B0604020202020204" pitchFamily="34" charset="0"/>
                </a:endParaRPr>
              </a:p>
            </p:txBody>
          </p:sp>
        </p:grpSp>
        <p:grpSp>
          <p:nvGrpSpPr>
            <p:cNvPr id="453" name="Group 452">
              <a:extLst>
                <a:ext uri="{FF2B5EF4-FFF2-40B4-BE49-F238E27FC236}">
                  <a16:creationId xmlns:a16="http://schemas.microsoft.com/office/drawing/2014/main" id="{BD882BA1-AF40-F6EE-37B5-2C8E95FD2FFD}"/>
                </a:ext>
              </a:extLst>
            </p:cNvPr>
            <p:cNvGrpSpPr/>
            <p:nvPr/>
          </p:nvGrpSpPr>
          <p:grpSpPr>
            <a:xfrm>
              <a:off x="8288936" y="2959991"/>
              <a:ext cx="1725297" cy="263754"/>
              <a:chOff x="9019920" y="1815192"/>
              <a:chExt cx="2300398" cy="351672"/>
            </a:xfrm>
          </p:grpSpPr>
          <p:sp>
            <p:nvSpPr>
              <p:cNvPr id="454" name="TextBox 453">
                <a:extLst>
                  <a:ext uri="{FF2B5EF4-FFF2-40B4-BE49-F238E27FC236}">
                    <a16:creationId xmlns:a16="http://schemas.microsoft.com/office/drawing/2014/main" id="{41275289-7D77-036E-B93D-C379EB5FEDBE}"/>
                  </a:ext>
                </a:extLst>
              </p:cNvPr>
              <p:cNvSpPr txBox="1"/>
              <p:nvPr/>
            </p:nvSpPr>
            <p:spPr bwMode="auto">
              <a:xfrm>
                <a:off x="9019920" y="1848915"/>
                <a:ext cx="1043999" cy="289753"/>
              </a:xfrm>
              <a:prstGeom prst="rect">
                <a:avLst/>
              </a:prstGeom>
              <a:noFill/>
            </p:spPr>
            <p:txBody>
              <a:bodyPr lIns="0" tIns="0" rIns="0" bIns="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825" b="1" i="0" u="none" strike="noStrike" kern="0" cap="none" spc="0" normalizeH="0" baseline="0" noProof="0" dirty="0">
                    <a:ln>
                      <a:noFill/>
                    </a:ln>
                    <a:solidFill>
                      <a:srgbClr val="000000">
                        <a:lumMod val="75000"/>
                        <a:lumOff val="25000"/>
                      </a:srgbClr>
                    </a:solidFill>
                    <a:effectLst/>
                    <a:uLnTx/>
                    <a:uFillTx/>
                    <a:latin typeface="Arial" panose="020B0604020202020204" pitchFamily="34" charset="0"/>
                    <a:ea typeface="MS PGothic" panose="020B0600070205080204" pitchFamily="34" charset="-128"/>
                    <a:cs typeface="Arial" panose="020B0604020202020204" pitchFamily="34" charset="0"/>
                  </a:rPr>
                  <a:t>36-mo EFS, %</a:t>
                </a:r>
              </a:p>
            </p:txBody>
          </p:sp>
          <p:sp>
            <p:nvSpPr>
              <p:cNvPr id="458" name="Rectangle 457">
                <a:extLst>
                  <a:ext uri="{FF2B5EF4-FFF2-40B4-BE49-F238E27FC236}">
                    <a16:creationId xmlns:a16="http://schemas.microsoft.com/office/drawing/2014/main" id="{ACD7C921-3C60-1EED-ED60-27921A09F8CE}"/>
                  </a:ext>
                </a:extLst>
              </p:cNvPr>
              <p:cNvSpPr/>
              <p:nvPr/>
            </p:nvSpPr>
            <p:spPr>
              <a:xfrm>
                <a:off x="10092159" y="1815192"/>
                <a:ext cx="802800" cy="327600"/>
              </a:xfrm>
              <a:prstGeom prst="rect">
                <a:avLst/>
              </a:prstGeom>
              <a:solidFill>
                <a:schemeClr val="accent1"/>
              </a:solidFill>
              <a:ln w="9525" cap="flat" cmpd="sng" algn="ctr">
                <a:noFill/>
                <a:prstDash val="solid"/>
                <a:miter lim="800000"/>
              </a:ln>
              <a:effectLst/>
            </p:spPr>
            <p:txBody>
              <a:bodyPr rtlCol="0" anchor="ct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59" name="TextBox 458">
                <a:extLst>
                  <a:ext uri="{FF2B5EF4-FFF2-40B4-BE49-F238E27FC236}">
                    <a16:creationId xmlns:a16="http://schemas.microsoft.com/office/drawing/2014/main" id="{785C5D3B-6E44-8E96-41F6-B0734D350FAF}"/>
                  </a:ext>
                </a:extLst>
              </p:cNvPr>
              <p:cNvSpPr txBox="1"/>
              <p:nvPr/>
            </p:nvSpPr>
            <p:spPr>
              <a:xfrm>
                <a:off x="10873187" y="1828309"/>
                <a:ext cx="447131" cy="338555"/>
              </a:xfrm>
              <a:prstGeom prst="rect">
                <a:avLst/>
              </a:prstGeom>
              <a:noFill/>
            </p:spPr>
            <p:txBody>
              <a:bodyPr wrap="none" rtlCol="0">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rPr>
                  <a:t>46</a:t>
                </a:r>
                <a:endParaRPr kumimoji="0" lang="en-US" sz="1050" b="1" i="0" u="none" strike="noStrike" kern="1200" cap="none" spc="0" normalizeH="0" baseline="30000" noProof="0" dirty="0">
                  <a:ln>
                    <a:noFill/>
                  </a:ln>
                  <a:solidFill>
                    <a:srgbClr val="595454"/>
                  </a:solidFill>
                  <a:effectLst/>
                  <a:uLnTx/>
                  <a:uFillTx/>
                  <a:latin typeface="Arial" panose="020B0604020202020204" pitchFamily="34" charset="0"/>
                  <a:ea typeface="+mn-ea"/>
                  <a:cs typeface="Arial" panose="020B0604020202020204" pitchFamily="34" charset="0"/>
                </a:endParaRPr>
              </a:p>
            </p:txBody>
          </p:sp>
        </p:grpSp>
        <p:grpSp>
          <p:nvGrpSpPr>
            <p:cNvPr id="460" name="Group 459">
              <a:extLst>
                <a:ext uri="{FF2B5EF4-FFF2-40B4-BE49-F238E27FC236}">
                  <a16:creationId xmlns:a16="http://schemas.microsoft.com/office/drawing/2014/main" id="{BADF8D3A-6DC2-348E-7526-6B06128F9F6E}"/>
                </a:ext>
              </a:extLst>
            </p:cNvPr>
            <p:cNvGrpSpPr/>
            <p:nvPr/>
          </p:nvGrpSpPr>
          <p:grpSpPr>
            <a:xfrm>
              <a:off x="8288939" y="4041349"/>
              <a:ext cx="1977827" cy="253916"/>
              <a:chOff x="9019920" y="2260968"/>
              <a:chExt cx="2637104" cy="338554"/>
            </a:xfrm>
          </p:grpSpPr>
          <p:sp>
            <p:nvSpPr>
              <p:cNvPr id="461" name="TextBox 460">
                <a:extLst>
                  <a:ext uri="{FF2B5EF4-FFF2-40B4-BE49-F238E27FC236}">
                    <a16:creationId xmlns:a16="http://schemas.microsoft.com/office/drawing/2014/main" id="{33C454D1-E050-C18C-87A8-EFA169A466B2}"/>
                  </a:ext>
                </a:extLst>
              </p:cNvPr>
              <p:cNvSpPr txBox="1"/>
              <p:nvPr/>
            </p:nvSpPr>
            <p:spPr bwMode="auto">
              <a:xfrm>
                <a:off x="9019920" y="2298057"/>
                <a:ext cx="1044001" cy="289753"/>
              </a:xfrm>
              <a:prstGeom prst="rect">
                <a:avLst/>
              </a:prstGeom>
              <a:noFill/>
            </p:spPr>
            <p:txBody>
              <a:bodyPr lIns="0" tIns="0" rIns="0" bIns="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825" b="1" i="0" u="none" strike="noStrike" kern="0" cap="none" spc="0" normalizeH="0" baseline="0" noProof="0" dirty="0">
                    <a:ln>
                      <a:noFill/>
                    </a:ln>
                    <a:solidFill>
                      <a:srgbClr val="000000">
                        <a:lumMod val="75000"/>
                        <a:lumOff val="25000"/>
                      </a:srgbClr>
                    </a:solidFill>
                    <a:effectLst/>
                    <a:uLnTx/>
                    <a:uFillTx/>
                    <a:latin typeface="Arial" panose="020B0604020202020204" pitchFamily="34" charset="0"/>
                    <a:ea typeface="MS PGothic" panose="020B0600070205080204" pitchFamily="34" charset="-128"/>
                    <a:cs typeface="Arial" panose="020B0604020202020204" pitchFamily="34" charset="0"/>
                  </a:rPr>
                  <a:t>Median PFS</a:t>
                </a:r>
              </a:p>
            </p:txBody>
          </p:sp>
          <p:sp>
            <p:nvSpPr>
              <p:cNvPr id="463" name="TextBox 462">
                <a:extLst>
                  <a:ext uri="{FF2B5EF4-FFF2-40B4-BE49-F238E27FC236}">
                    <a16:creationId xmlns:a16="http://schemas.microsoft.com/office/drawing/2014/main" id="{5D23C0F1-A4B7-E117-5251-47DF74C0BF0A}"/>
                  </a:ext>
                </a:extLst>
              </p:cNvPr>
              <p:cNvSpPr txBox="1"/>
              <p:nvPr/>
            </p:nvSpPr>
            <p:spPr>
              <a:xfrm>
                <a:off x="10372057" y="2260968"/>
                <a:ext cx="1284967" cy="338554"/>
              </a:xfrm>
              <a:prstGeom prst="rect">
                <a:avLst/>
              </a:prstGeom>
              <a:noFill/>
            </p:spPr>
            <p:txBody>
              <a:bodyPr wrap="none" rtlCol="0">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Not reached</a:t>
                </a:r>
                <a:endParaRPr kumimoji="0" lang="en-US" sz="1050" b="1" i="0" u="none" strike="noStrike" kern="1200" cap="none" spc="0" normalizeH="0" baseline="30000" noProof="0" dirty="0">
                  <a:ln>
                    <a:noFill/>
                  </a:ln>
                  <a:solidFill>
                    <a:srgbClr val="4472C4"/>
                  </a:solidFill>
                  <a:effectLst/>
                  <a:uLnTx/>
                  <a:uFillTx/>
                  <a:latin typeface="Arial" panose="020B0604020202020204" pitchFamily="34" charset="0"/>
                  <a:ea typeface="+mn-ea"/>
                  <a:cs typeface="Arial" panose="020B0604020202020204" pitchFamily="34" charset="0"/>
                </a:endParaRPr>
              </a:p>
            </p:txBody>
          </p:sp>
        </p:grpSp>
        <p:grpSp>
          <p:nvGrpSpPr>
            <p:cNvPr id="464" name="Group 463">
              <a:extLst>
                <a:ext uri="{FF2B5EF4-FFF2-40B4-BE49-F238E27FC236}">
                  <a16:creationId xmlns:a16="http://schemas.microsoft.com/office/drawing/2014/main" id="{8C675EF6-B258-B072-BAC3-DD672DDA190B}"/>
                </a:ext>
              </a:extLst>
            </p:cNvPr>
            <p:cNvGrpSpPr/>
            <p:nvPr/>
          </p:nvGrpSpPr>
          <p:grpSpPr>
            <a:xfrm>
              <a:off x="8288935" y="3686969"/>
              <a:ext cx="1794721" cy="256220"/>
              <a:chOff x="9019920" y="2273110"/>
              <a:chExt cx="2392963" cy="341626"/>
            </a:xfrm>
          </p:grpSpPr>
          <p:sp>
            <p:nvSpPr>
              <p:cNvPr id="465" name="TextBox 464">
                <a:extLst>
                  <a:ext uri="{FF2B5EF4-FFF2-40B4-BE49-F238E27FC236}">
                    <a16:creationId xmlns:a16="http://schemas.microsoft.com/office/drawing/2014/main" id="{9A413506-1A90-F7C2-7B76-550B85F68D38}"/>
                  </a:ext>
                </a:extLst>
              </p:cNvPr>
              <p:cNvSpPr txBox="1"/>
              <p:nvPr/>
            </p:nvSpPr>
            <p:spPr bwMode="auto">
              <a:xfrm>
                <a:off x="9019920" y="2298057"/>
                <a:ext cx="1044001" cy="289753"/>
              </a:xfrm>
              <a:prstGeom prst="rect">
                <a:avLst/>
              </a:prstGeom>
              <a:noFill/>
            </p:spPr>
            <p:txBody>
              <a:bodyPr lIns="0" tIns="0" rIns="0" bIns="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825" b="1" i="0" u="none" strike="noStrike" kern="0" cap="none" spc="0" normalizeH="0" baseline="0" noProof="0" dirty="0">
                    <a:ln>
                      <a:noFill/>
                    </a:ln>
                    <a:solidFill>
                      <a:srgbClr val="000000">
                        <a:lumMod val="75000"/>
                        <a:lumOff val="25000"/>
                      </a:srgbClr>
                    </a:solidFill>
                    <a:effectLst/>
                    <a:uLnTx/>
                    <a:uFillTx/>
                    <a:latin typeface="Arial" panose="020B0604020202020204" pitchFamily="34" charset="0"/>
                    <a:ea typeface="MS PGothic" panose="020B0600070205080204" pitchFamily="34" charset="-128"/>
                    <a:cs typeface="Arial" panose="020B0604020202020204" pitchFamily="34" charset="0"/>
                  </a:rPr>
                  <a:t>36-mo PFS, %</a:t>
                </a:r>
              </a:p>
            </p:txBody>
          </p:sp>
          <p:sp>
            <p:nvSpPr>
              <p:cNvPr id="467" name="Rectangle 466">
                <a:extLst>
                  <a:ext uri="{FF2B5EF4-FFF2-40B4-BE49-F238E27FC236}">
                    <a16:creationId xmlns:a16="http://schemas.microsoft.com/office/drawing/2014/main" id="{1ED0BB02-D238-DECA-2E84-924EDF792A3B}"/>
                  </a:ext>
                </a:extLst>
              </p:cNvPr>
              <p:cNvSpPr/>
              <p:nvPr/>
            </p:nvSpPr>
            <p:spPr>
              <a:xfrm>
                <a:off x="10092159" y="2273110"/>
                <a:ext cx="889200" cy="327600"/>
              </a:xfrm>
              <a:prstGeom prst="rect">
                <a:avLst/>
              </a:prstGeom>
              <a:solidFill>
                <a:schemeClr val="accent1"/>
              </a:solidFill>
              <a:ln w="15875" cap="flat" cmpd="sng" algn="ctr">
                <a:noFill/>
                <a:prstDash val="solid"/>
                <a:miter lim="800000"/>
              </a:ln>
              <a:effectLst/>
            </p:spPr>
            <p:txBody>
              <a:bodyPr rtlCol="0" anchor="ct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68" name="TextBox 467">
                <a:extLst>
                  <a:ext uri="{FF2B5EF4-FFF2-40B4-BE49-F238E27FC236}">
                    <a16:creationId xmlns:a16="http://schemas.microsoft.com/office/drawing/2014/main" id="{B6214381-CA8B-9642-CB9C-CE38EAB1A94A}"/>
                  </a:ext>
                </a:extLst>
              </p:cNvPr>
              <p:cNvSpPr txBox="1"/>
              <p:nvPr/>
            </p:nvSpPr>
            <p:spPr>
              <a:xfrm>
                <a:off x="10965752" y="2276181"/>
                <a:ext cx="447131" cy="338555"/>
              </a:xfrm>
              <a:prstGeom prst="rect">
                <a:avLst/>
              </a:prstGeom>
              <a:noFill/>
            </p:spPr>
            <p:txBody>
              <a:bodyPr wrap="none" rtlCol="0">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rPr>
                  <a:t>51</a:t>
                </a:r>
                <a:endParaRPr kumimoji="0" lang="en-US" sz="1050" b="1" i="0" u="none" strike="noStrike" kern="1200" cap="none" spc="0" normalizeH="0" baseline="30000" noProof="0" dirty="0">
                  <a:ln>
                    <a:noFill/>
                  </a:ln>
                  <a:solidFill>
                    <a:srgbClr val="595454"/>
                  </a:solidFill>
                  <a:effectLst/>
                  <a:uLnTx/>
                  <a:uFillTx/>
                  <a:latin typeface="Arial" panose="020B0604020202020204" pitchFamily="34" charset="0"/>
                  <a:ea typeface="+mn-ea"/>
                  <a:cs typeface="Arial" panose="020B0604020202020204" pitchFamily="34" charset="0"/>
                </a:endParaRPr>
              </a:p>
            </p:txBody>
          </p:sp>
        </p:grpSp>
        <p:grpSp>
          <p:nvGrpSpPr>
            <p:cNvPr id="469" name="Group 468">
              <a:extLst>
                <a:ext uri="{FF2B5EF4-FFF2-40B4-BE49-F238E27FC236}">
                  <a16:creationId xmlns:a16="http://schemas.microsoft.com/office/drawing/2014/main" id="{6F9F6A8C-DFE4-BF0C-FFA9-8B5E5D1BEA89}"/>
                </a:ext>
              </a:extLst>
            </p:cNvPr>
            <p:cNvGrpSpPr/>
            <p:nvPr/>
          </p:nvGrpSpPr>
          <p:grpSpPr>
            <a:xfrm>
              <a:off x="8288936" y="2596507"/>
              <a:ext cx="2079255" cy="256220"/>
              <a:chOff x="9019920" y="2273110"/>
              <a:chExt cx="2772342" cy="341626"/>
            </a:xfrm>
          </p:grpSpPr>
          <p:sp>
            <p:nvSpPr>
              <p:cNvPr id="470" name="TextBox 469">
                <a:extLst>
                  <a:ext uri="{FF2B5EF4-FFF2-40B4-BE49-F238E27FC236}">
                    <a16:creationId xmlns:a16="http://schemas.microsoft.com/office/drawing/2014/main" id="{58CC2BB8-D7E0-9E29-1BC4-E9F808D35CAE}"/>
                  </a:ext>
                </a:extLst>
              </p:cNvPr>
              <p:cNvSpPr txBox="1"/>
              <p:nvPr/>
            </p:nvSpPr>
            <p:spPr bwMode="auto">
              <a:xfrm>
                <a:off x="9019920" y="2298057"/>
                <a:ext cx="1044000" cy="289753"/>
              </a:xfrm>
              <a:prstGeom prst="rect">
                <a:avLst/>
              </a:prstGeom>
              <a:noFill/>
            </p:spPr>
            <p:txBody>
              <a:bodyPr lIns="0" tIns="0" rIns="0" bIns="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825" b="1" i="0" u="none" strike="noStrike" kern="0" cap="none" spc="0" normalizeH="0" baseline="0" noProof="0" dirty="0">
                    <a:ln>
                      <a:noFill/>
                    </a:ln>
                    <a:solidFill>
                      <a:srgbClr val="000000">
                        <a:lumMod val="75000"/>
                        <a:lumOff val="25000"/>
                      </a:srgbClr>
                    </a:solidFill>
                    <a:effectLst/>
                    <a:uLnTx/>
                    <a:uFillTx/>
                    <a:latin typeface="Arial" panose="020B0604020202020204" pitchFamily="34" charset="0"/>
                    <a:ea typeface="MS PGothic" panose="020B0600070205080204" pitchFamily="34" charset="-128"/>
                    <a:cs typeface="Arial" panose="020B0604020202020204" pitchFamily="34" charset="0"/>
                  </a:rPr>
                  <a:t>CRR, %</a:t>
                </a:r>
              </a:p>
            </p:txBody>
          </p:sp>
          <p:sp>
            <p:nvSpPr>
              <p:cNvPr id="473" name="Rectangle 472">
                <a:extLst>
                  <a:ext uri="{FF2B5EF4-FFF2-40B4-BE49-F238E27FC236}">
                    <a16:creationId xmlns:a16="http://schemas.microsoft.com/office/drawing/2014/main" id="{844C5489-FFD8-BEF2-FB8E-481AD32909F6}"/>
                  </a:ext>
                </a:extLst>
              </p:cNvPr>
              <p:cNvSpPr/>
              <p:nvPr/>
            </p:nvSpPr>
            <p:spPr>
              <a:xfrm>
                <a:off x="10092159" y="2273110"/>
                <a:ext cx="1292400" cy="327600"/>
              </a:xfrm>
              <a:prstGeom prst="rect">
                <a:avLst/>
              </a:prstGeom>
              <a:solidFill>
                <a:schemeClr val="accent1"/>
              </a:solidFill>
              <a:ln w="15875" cap="flat" cmpd="sng" algn="ctr">
                <a:noFill/>
                <a:prstDash val="solid"/>
                <a:miter lim="800000"/>
              </a:ln>
              <a:effectLst/>
            </p:spPr>
            <p:txBody>
              <a:bodyPr rtlCol="0" anchor="ct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74" name="TextBox 473">
                <a:extLst>
                  <a:ext uri="{FF2B5EF4-FFF2-40B4-BE49-F238E27FC236}">
                    <a16:creationId xmlns:a16="http://schemas.microsoft.com/office/drawing/2014/main" id="{1673C227-7D39-0697-6F22-A97F706C8EE1}"/>
                  </a:ext>
                </a:extLst>
              </p:cNvPr>
              <p:cNvSpPr txBox="1"/>
              <p:nvPr/>
            </p:nvSpPr>
            <p:spPr>
              <a:xfrm>
                <a:off x="11345131" y="2276181"/>
                <a:ext cx="447131" cy="338555"/>
              </a:xfrm>
              <a:prstGeom prst="rect">
                <a:avLst/>
              </a:prstGeom>
              <a:noFill/>
            </p:spPr>
            <p:txBody>
              <a:bodyPr wrap="none" rtlCol="0">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rPr>
                  <a:t>74</a:t>
                </a:r>
                <a:endParaRPr kumimoji="0" lang="en-US" sz="1050" b="1" i="0" u="none" strike="noStrike" kern="1200" cap="none" spc="0" normalizeH="0" baseline="30000" noProof="0" dirty="0">
                  <a:ln>
                    <a:noFill/>
                  </a:ln>
                  <a:solidFill>
                    <a:srgbClr val="595454"/>
                  </a:solidFill>
                  <a:effectLst/>
                  <a:uLnTx/>
                  <a:uFillTx/>
                  <a:latin typeface="Arial" panose="020B0604020202020204" pitchFamily="34" charset="0"/>
                  <a:ea typeface="+mn-ea"/>
                  <a:cs typeface="Arial" panose="020B0604020202020204" pitchFamily="34" charset="0"/>
                </a:endParaRPr>
              </a:p>
            </p:txBody>
          </p:sp>
        </p:grpSp>
        <p:grpSp>
          <p:nvGrpSpPr>
            <p:cNvPr id="475" name="Group 474">
              <a:extLst>
                <a:ext uri="{FF2B5EF4-FFF2-40B4-BE49-F238E27FC236}">
                  <a16:creationId xmlns:a16="http://schemas.microsoft.com/office/drawing/2014/main" id="{C2C7C386-5733-D0FB-6270-8D255FD8229A}"/>
                </a:ext>
              </a:extLst>
            </p:cNvPr>
            <p:cNvGrpSpPr/>
            <p:nvPr/>
          </p:nvGrpSpPr>
          <p:grpSpPr>
            <a:xfrm>
              <a:off x="8288936" y="2233016"/>
              <a:ext cx="2243295" cy="263754"/>
              <a:chOff x="9019920" y="1815192"/>
              <a:chExt cx="2991062" cy="351672"/>
            </a:xfrm>
          </p:grpSpPr>
          <p:sp>
            <p:nvSpPr>
              <p:cNvPr id="476" name="TextBox 475">
                <a:extLst>
                  <a:ext uri="{FF2B5EF4-FFF2-40B4-BE49-F238E27FC236}">
                    <a16:creationId xmlns:a16="http://schemas.microsoft.com/office/drawing/2014/main" id="{6609B6CB-D29A-9534-B346-B1B5E9760057}"/>
                  </a:ext>
                </a:extLst>
              </p:cNvPr>
              <p:cNvSpPr txBox="1"/>
              <p:nvPr/>
            </p:nvSpPr>
            <p:spPr bwMode="auto">
              <a:xfrm>
                <a:off x="9019920" y="1848915"/>
                <a:ext cx="1043999" cy="289753"/>
              </a:xfrm>
              <a:prstGeom prst="rect">
                <a:avLst/>
              </a:prstGeom>
              <a:noFill/>
            </p:spPr>
            <p:txBody>
              <a:bodyPr lIns="0" tIns="0" rIns="0" bIns="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825" b="1" i="0" u="none" strike="noStrike" kern="0" cap="none" spc="0" normalizeH="0" baseline="0" noProof="0" dirty="0">
                    <a:ln>
                      <a:noFill/>
                    </a:ln>
                    <a:solidFill>
                      <a:srgbClr val="000000">
                        <a:lumMod val="75000"/>
                        <a:lumOff val="25000"/>
                      </a:srgbClr>
                    </a:solidFill>
                    <a:effectLst/>
                    <a:uLnTx/>
                    <a:uFillTx/>
                    <a:latin typeface="Arial" panose="020B0604020202020204" pitchFamily="34" charset="0"/>
                    <a:ea typeface="MS PGothic" panose="020B0600070205080204" pitchFamily="34" charset="-128"/>
                    <a:cs typeface="Arial" panose="020B0604020202020204" pitchFamily="34" charset="0"/>
                  </a:rPr>
                  <a:t>ORR, %</a:t>
                </a:r>
              </a:p>
            </p:txBody>
          </p:sp>
          <p:sp>
            <p:nvSpPr>
              <p:cNvPr id="478" name="Rectangle 477">
                <a:extLst>
                  <a:ext uri="{FF2B5EF4-FFF2-40B4-BE49-F238E27FC236}">
                    <a16:creationId xmlns:a16="http://schemas.microsoft.com/office/drawing/2014/main" id="{7CB523B0-2F4C-8E31-4493-27BD539FFF34}"/>
                  </a:ext>
                </a:extLst>
              </p:cNvPr>
              <p:cNvSpPr/>
              <p:nvPr/>
            </p:nvSpPr>
            <p:spPr>
              <a:xfrm>
                <a:off x="10092159" y="1815192"/>
                <a:ext cx="1519200" cy="327600"/>
              </a:xfrm>
              <a:prstGeom prst="rect">
                <a:avLst/>
              </a:prstGeom>
              <a:solidFill>
                <a:schemeClr val="accent1"/>
              </a:solidFill>
              <a:ln w="9525" cap="flat" cmpd="sng" algn="ctr">
                <a:noFill/>
                <a:prstDash val="solid"/>
                <a:miter lim="800000"/>
              </a:ln>
              <a:effectLst/>
            </p:spPr>
            <p:txBody>
              <a:bodyPr rtlCol="0" anchor="ct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79" name="TextBox 478">
                <a:extLst>
                  <a:ext uri="{FF2B5EF4-FFF2-40B4-BE49-F238E27FC236}">
                    <a16:creationId xmlns:a16="http://schemas.microsoft.com/office/drawing/2014/main" id="{77405456-9BDD-78B3-A754-004C45A8D63C}"/>
                  </a:ext>
                </a:extLst>
              </p:cNvPr>
              <p:cNvSpPr txBox="1"/>
              <p:nvPr/>
            </p:nvSpPr>
            <p:spPr>
              <a:xfrm>
                <a:off x="11563851" y="1828309"/>
                <a:ext cx="447131" cy="338555"/>
              </a:xfrm>
              <a:prstGeom prst="rect">
                <a:avLst/>
              </a:prstGeom>
              <a:noFill/>
            </p:spPr>
            <p:txBody>
              <a:bodyPr wrap="none" rtlCol="0">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rPr>
                  <a:t>87</a:t>
                </a:r>
                <a:endParaRPr kumimoji="0" lang="en-US" sz="1050" b="1" i="0" u="none" strike="noStrike" kern="1200" cap="none" spc="0" normalizeH="0" baseline="30000" noProof="0" dirty="0">
                  <a:ln>
                    <a:noFill/>
                  </a:ln>
                  <a:solidFill>
                    <a:srgbClr val="595454"/>
                  </a:solidFill>
                  <a:effectLst/>
                  <a:uLnTx/>
                  <a:uFillTx/>
                  <a:latin typeface="Arial" panose="020B0604020202020204" pitchFamily="34" charset="0"/>
                  <a:ea typeface="+mn-ea"/>
                  <a:cs typeface="Arial" panose="020B0604020202020204" pitchFamily="34" charset="0"/>
                </a:endParaRPr>
              </a:p>
            </p:txBody>
          </p:sp>
        </p:grpSp>
        <p:sp>
          <p:nvSpPr>
            <p:cNvPr id="480" name="Shape 935">
              <a:extLst>
                <a:ext uri="{FF2B5EF4-FFF2-40B4-BE49-F238E27FC236}">
                  <a16:creationId xmlns:a16="http://schemas.microsoft.com/office/drawing/2014/main" id="{4E4CA808-3188-81F1-5C7D-9F9CD6D46513}"/>
                </a:ext>
              </a:extLst>
            </p:cNvPr>
            <p:cNvSpPr>
              <a:spLocks noChangeArrowheads="1"/>
            </p:cNvSpPr>
            <p:nvPr/>
          </p:nvSpPr>
          <p:spPr bwMode="auto">
            <a:xfrm>
              <a:off x="8510896" y="4534323"/>
              <a:ext cx="135000" cy="135000"/>
            </a:xfrm>
            <a:prstGeom prst="rect">
              <a:avLst/>
            </a:prstGeom>
            <a:solidFill>
              <a:schemeClr val="accent1"/>
            </a:solidFill>
            <a:ln>
              <a:noFill/>
            </a:ln>
          </p:spPr>
          <p:txBody>
            <a:bodyPr lIns="34289" tIns="34289" rIns="34289" bIns="34289"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825"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81" name="TextBox 480">
              <a:extLst>
                <a:ext uri="{FF2B5EF4-FFF2-40B4-BE49-F238E27FC236}">
                  <a16:creationId xmlns:a16="http://schemas.microsoft.com/office/drawing/2014/main" id="{CD9930EE-8538-C3C9-E282-C5C908D4C3ED}"/>
                </a:ext>
              </a:extLst>
            </p:cNvPr>
            <p:cNvSpPr txBox="1"/>
            <p:nvPr/>
          </p:nvSpPr>
          <p:spPr bwMode="auto">
            <a:xfrm>
              <a:off x="8748825" y="4514116"/>
              <a:ext cx="1323000" cy="230833"/>
            </a:xfrm>
            <a:prstGeom prst="rect">
              <a:avLst/>
            </a:prstGeom>
            <a:noFill/>
          </p:spPr>
          <p:txBody>
            <a:bodyPr lIns="0" tIns="0" rIns="0" bIns="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Significant improvement with liso-cel vs. SOC</a:t>
              </a:r>
            </a:p>
          </p:txBody>
        </p:sp>
        <p:sp>
          <p:nvSpPr>
            <p:cNvPr id="482" name="TextBox 481">
              <a:extLst>
                <a:ext uri="{FF2B5EF4-FFF2-40B4-BE49-F238E27FC236}">
                  <a16:creationId xmlns:a16="http://schemas.microsoft.com/office/drawing/2014/main" id="{EAA116B7-7AA1-486E-8F56-C60A04A02A19}"/>
                </a:ext>
              </a:extLst>
            </p:cNvPr>
            <p:cNvSpPr txBox="1"/>
            <p:nvPr/>
          </p:nvSpPr>
          <p:spPr>
            <a:xfrm>
              <a:off x="1625256" y="3830342"/>
              <a:ext cx="1709122" cy="253916"/>
            </a:xfrm>
            <a:prstGeom prst="rect">
              <a:avLst/>
            </a:prstGeom>
            <a:noFill/>
          </p:spPr>
          <p:txBody>
            <a:bodyPr wrap="none" rtlCol="0">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imary refractory: </a:t>
              </a:r>
              <a:r>
                <a:rPr kumimoji="0" lang="en-US" sz="105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73%</a:t>
              </a:r>
            </a:p>
          </p:txBody>
        </p:sp>
        <p:sp>
          <p:nvSpPr>
            <p:cNvPr id="483" name="TextBox 482">
              <a:extLst>
                <a:ext uri="{FF2B5EF4-FFF2-40B4-BE49-F238E27FC236}">
                  <a16:creationId xmlns:a16="http://schemas.microsoft.com/office/drawing/2014/main" id="{4028494D-C8B3-E28B-0D16-13647A50B96C}"/>
                </a:ext>
              </a:extLst>
            </p:cNvPr>
            <p:cNvSpPr txBox="1"/>
            <p:nvPr/>
          </p:nvSpPr>
          <p:spPr>
            <a:xfrm>
              <a:off x="1923416" y="4059140"/>
              <a:ext cx="1112805" cy="253916"/>
            </a:xfrm>
            <a:prstGeom prst="rect">
              <a:avLst/>
            </a:prstGeom>
            <a:noFill/>
          </p:spPr>
          <p:txBody>
            <a:bodyPr wrap="none" rtlCol="0">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HL/THL: </a:t>
              </a:r>
              <a:r>
                <a:rPr kumimoji="0" lang="en-US" sz="105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24%</a:t>
              </a:r>
              <a:endParaRPr kumimoji="0" lang="en-US" sz="1050" b="0"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endParaRPr>
            </a:p>
          </p:txBody>
        </p:sp>
        <p:sp>
          <p:nvSpPr>
            <p:cNvPr id="484" name="TextBox 483">
              <a:extLst>
                <a:ext uri="{FF2B5EF4-FFF2-40B4-BE49-F238E27FC236}">
                  <a16:creationId xmlns:a16="http://schemas.microsoft.com/office/drawing/2014/main" id="{AAD29141-59DF-39D8-A805-A84964A7CAE1}"/>
                </a:ext>
              </a:extLst>
            </p:cNvPr>
            <p:cNvSpPr txBox="1"/>
            <p:nvPr/>
          </p:nvSpPr>
          <p:spPr>
            <a:xfrm>
              <a:off x="2133410" y="3601543"/>
              <a:ext cx="692818" cy="253916"/>
            </a:xfrm>
            <a:prstGeom prst="rect">
              <a:avLst/>
            </a:prstGeom>
            <a:noFill/>
          </p:spPr>
          <p:txBody>
            <a:bodyPr wrap="none" rtlCol="0">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Liso-cel</a:t>
              </a:r>
            </a:p>
          </p:txBody>
        </p:sp>
        <p:sp>
          <p:nvSpPr>
            <p:cNvPr id="4" name="Speech Bubble: Rectangle 890">
              <a:extLst>
                <a:ext uri="{FF2B5EF4-FFF2-40B4-BE49-F238E27FC236}">
                  <a16:creationId xmlns:a16="http://schemas.microsoft.com/office/drawing/2014/main" id="{7DEF8EB1-D04E-4F4E-EBAA-C9BF63D311CA}"/>
                </a:ext>
              </a:extLst>
            </p:cNvPr>
            <p:cNvSpPr/>
            <p:nvPr/>
          </p:nvSpPr>
          <p:spPr>
            <a:xfrm>
              <a:off x="4910600" y="2130288"/>
              <a:ext cx="939600" cy="432220"/>
            </a:xfrm>
            <a:prstGeom prst="wedgeRectCallout">
              <a:avLst>
                <a:gd name="adj1" fmla="val 22960"/>
                <a:gd name="adj2" fmla="val 65294"/>
              </a:avLst>
            </a:prstGeom>
            <a:solidFill>
              <a:schemeClr val="accent1">
                <a:lumMod val="20000"/>
                <a:lumOff val="80000"/>
              </a:schemeClr>
            </a:solidFill>
            <a:ln w="25400" cap="flat" cmpd="sng" algn="ctr">
              <a:noFill/>
              <a:prstDash val="solid"/>
            </a:ln>
            <a:effectLst/>
          </p:spPr>
          <p:txBody>
            <a:bodyPr wrap="square" lIns="81000" tIns="54000" rIns="54000" bIns="54000" rtlCol="0" anchor="ctr">
              <a:spAutoFit/>
            </a:bodyPr>
            <a:lstStyle/>
            <a:p>
              <a:pPr marL="0" marR="0" lvl="0" indent="0" algn="l" defTabSz="342900" rtl="0" eaLnBrk="1" fontAlgn="ctr"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NR</a:t>
              </a:r>
            </a:p>
            <a:p>
              <a:pPr marL="0" marR="0" lvl="0" indent="0" algn="l" defTabSz="342900" rtl="0" eaLnBrk="1" fontAlgn="ctr"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Median OS</a:t>
              </a:r>
            </a:p>
          </p:txBody>
        </p:sp>
        <p:sp>
          <p:nvSpPr>
            <p:cNvPr id="485" name="Speech Bubble: Rectangle 890">
              <a:extLst>
                <a:ext uri="{FF2B5EF4-FFF2-40B4-BE49-F238E27FC236}">
                  <a16:creationId xmlns:a16="http://schemas.microsoft.com/office/drawing/2014/main" id="{2A401823-48A7-208F-F325-A1BA39D00017}"/>
                </a:ext>
              </a:extLst>
            </p:cNvPr>
            <p:cNvSpPr/>
            <p:nvPr/>
          </p:nvSpPr>
          <p:spPr>
            <a:xfrm>
              <a:off x="6370500" y="2243130"/>
              <a:ext cx="970628" cy="432220"/>
            </a:xfrm>
            <a:prstGeom prst="wedgeRectCallout">
              <a:avLst>
                <a:gd name="adj1" fmla="val -45680"/>
                <a:gd name="adj2" fmla="val 92093"/>
              </a:avLst>
            </a:prstGeom>
            <a:solidFill>
              <a:schemeClr val="accent1">
                <a:lumMod val="20000"/>
                <a:lumOff val="80000"/>
              </a:schemeClr>
            </a:solidFill>
            <a:ln w="25400" cap="flat" cmpd="sng" algn="ctr">
              <a:noFill/>
              <a:prstDash val="solid"/>
            </a:ln>
            <a:effectLst/>
          </p:spPr>
          <p:txBody>
            <a:bodyPr wrap="square" lIns="81000" tIns="54000" rIns="54000" bIns="54000" rtlCol="0" anchor="ctr">
              <a:spAutoFit/>
            </a:bodyPr>
            <a:lstStyle/>
            <a:p>
              <a:pPr marL="0" marR="0" lvl="0" indent="0" algn="l" defTabSz="342900" rtl="0" eaLnBrk="1" fontAlgn="ctr"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62.8%</a:t>
              </a:r>
            </a:p>
            <a:p>
              <a:pPr marL="0" marR="0" lvl="0" indent="0" algn="l" defTabSz="342900" rtl="0" eaLnBrk="1" fontAlgn="ctr"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36-Month OS </a:t>
              </a:r>
            </a:p>
          </p:txBody>
        </p:sp>
        <p:sp>
          <p:nvSpPr>
            <p:cNvPr id="486" name="Speech Bubble: Rectangle 890">
              <a:extLst>
                <a:ext uri="{FF2B5EF4-FFF2-40B4-BE49-F238E27FC236}">
                  <a16:creationId xmlns:a16="http://schemas.microsoft.com/office/drawing/2014/main" id="{6E96BE6D-E60F-51CD-926C-372DC486BD45}"/>
                </a:ext>
              </a:extLst>
            </p:cNvPr>
            <p:cNvSpPr/>
            <p:nvPr/>
          </p:nvSpPr>
          <p:spPr>
            <a:xfrm>
              <a:off x="4751693" y="3308162"/>
              <a:ext cx="939600" cy="432220"/>
            </a:xfrm>
            <a:prstGeom prst="wedgeRectCallout">
              <a:avLst>
                <a:gd name="adj1" fmla="val 35733"/>
                <a:gd name="adj2" fmla="val -71597"/>
              </a:avLst>
            </a:prstGeom>
            <a:solidFill>
              <a:sysClr val="window" lastClr="FFFFFF">
                <a:lumMod val="95000"/>
              </a:sysClr>
            </a:solidFill>
            <a:ln w="25400" cap="flat" cmpd="sng" algn="ctr">
              <a:noFill/>
              <a:prstDash val="solid"/>
            </a:ln>
            <a:effectLst/>
          </p:spPr>
          <p:txBody>
            <a:bodyPr wrap="square" lIns="81000" tIns="54000" rIns="54000" bIns="54000" rtlCol="0" anchor="ctr">
              <a:spAutoFit/>
            </a:bodyPr>
            <a:lstStyle/>
            <a:p>
              <a:pPr marL="0" marR="0" lvl="0" indent="0" algn="l" defTabSz="685800" rtl="0" eaLnBrk="1" fontAlgn="ctr"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R</a:t>
              </a:r>
            </a:p>
            <a:p>
              <a:pPr marL="0" marR="0" lvl="0" indent="0" algn="l" defTabSz="685800" rtl="0" eaLnBrk="1" fontAlgn="ctr"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dian OS</a:t>
              </a:r>
            </a:p>
          </p:txBody>
        </p:sp>
        <p:sp>
          <p:nvSpPr>
            <p:cNvPr id="487" name="Speech Bubble: Rectangle 890">
              <a:extLst>
                <a:ext uri="{FF2B5EF4-FFF2-40B4-BE49-F238E27FC236}">
                  <a16:creationId xmlns:a16="http://schemas.microsoft.com/office/drawing/2014/main" id="{8E2A60A3-2944-69B1-8DB0-B879605C3927}"/>
                </a:ext>
              </a:extLst>
            </p:cNvPr>
            <p:cNvSpPr/>
            <p:nvPr/>
          </p:nvSpPr>
          <p:spPr>
            <a:xfrm>
              <a:off x="6298603" y="3417398"/>
              <a:ext cx="939600" cy="432220"/>
            </a:xfrm>
            <a:prstGeom prst="wedgeRectCallout">
              <a:avLst>
                <a:gd name="adj1" fmla="val -37243"/>
                <a:gd name="adj2" fmla="val -96205"/>
              </a:avLst>
            </a:prstGeom>
            <a:solidFill>
              <a:sysClr val="window" lastClr="FFFFFF">
                <a:lumMod val="95000"/>
              </a:sysClr>
            </a:solidFill>
            <a:ln w="25400" cap="flat" cmpd="sng" algn="ctr">
              <a:noFill/>
              <a:prstDash val="solid"/>
            </a:ln>
            <a:effectLst/>
          </p:spPr>
          <p:txBody>
            <a:bodyPr wrap="square" lIns="81000" tIns="54000" rIns="54000" bIns="54000" rtlCol="0" anchor="ctr">
              <a:spAutoFit/>
            </a:bodyPr>
            <a:lstStyle/>
            <a:p>
              <a:pPr marL="0" marR="0" lvl="0" indent="0" algn="l" defTabSz="685800" rtl="0" eaLnBrk="1" fontAlgn="ctr"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51.8%</a:t>
              </a:r>
            </a:p>
            <a:p>
              <a:pPr marL="0" marR="0" lvl="0" indent="0" algn="l" defTabSz="685800" rtl="0" eaLnBrk="1" fontAlgn="ctr"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6-Month OS </a:t>
              </a:r>
            </a:p>
          </p:txBody>
        </p:sp>
        <p:sp>
          <p:nvSpPr>
            <p:cNvPr id="488" name="TextBox 487">
              <a:extLst>
                <a:ext uri="{FF2B5EF4-FFF2-40B4-BE49-F238E27FC236}">
                  <a16:creationId xmlns:a16="http://schemas.microsoft.com/office/drawing/2014/main" id="{2264C187-A29F-44C8-C157-F453176128C4}"/>
                </a:ext>
              </a:extLst>
            </p:cNvPr>
            <p:cNvSpPr txBox="1"/>
            <p:nvPr/>
          </p:nvSpPr>
          <p:spPr>
            <a:xfrm>
              <a:off x="3610986" y="2045732"/>
              <a:ext cx="241379" cy="180557"/>
            </a:xfrm>
            <a:prstGeom prst="rect">
              <a:avLst/>
            </a:prstGeom>
            <a:noFill/>
          </p:spPr>
          <p:txBody>
            <a:bodyPr wrap="none" lIns="0" tIns="0" rIns="0" bIns="0" rtlCol="0" anchor="ctr">
              <a:noAutofit/>
            </a:bodyPr>
            <a:lstStyle/>
            <a:p>
              <a:pPr marL="0" marR="0" lvl="0" indent="0" algn="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100</a:t>
              </a:r>
            </a:p>
          </p:txBody>
        </p:sp>
        <p:sp>
          <p:nvSpPr>
            <p:cNvPr id="489" name="TextBox 488">
              <a:extLst>
                <a:ext uri="{FF2B5EF4-FFF2-40B4-BE49-F238E27FC236}">
                  <a16:creationId xmlns:a16="http://schemas.microsoft.com/office/drawing/2014/main" id="{156ADF64-2831-675A-D5AC-98364B117EC2}"/>
                </a:ext>
              </a:extLst>
            </p:cNvPr>
            <p:cNvSpPr txBox="1"/>
            <p:nvPr/>
          </p:nvSpPr>
          <p:spPr>
            <a:xfrm>
              <a:off x="3702002" y="4123850"/>
              <a:ext cx="150362" cy="180557"/>
            </a:xfrm>
            <a:prstGeom prst="rect">
              <a:avLst/>
            </a:prstGeom>
            <a:noFill/>
          </p:spPr>
          <p:txBody>
            <a:bodyPr wrap="none" lIns="0" tIns="0" rIns="0" bIns="0" rtlCol="0" anchor="ctr">
              <a:noAutofit/>
            </a:bodyPr>
            <a:lstStyle/>
            <a:p>
              <a:pPr marL="0" marR="0" lvl="0" indent="0" algn="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0</a:t>
              </a:r>
            </a:p>
          </p:txBody>
        </p:sp>
        <p:sp>
          <p:nvSpPr>
            <p:cNvPr id="490" name="TextBox 489">
              <a:extLst>
                <a:ext uri="{FF2B5EF4-FFF2-40B4-BE49-F238E27FC236}">
                  <a16:creationId xmlns:a16="http://schemas.microsoft.com/office/drawing/2014/main" id="{EBCA854F-539D-759B-E5AE-4B1B4B822C2D}"/>
                </a:ext>
              </a:extLst>
            </p:cNvPr>
            <p:cNvSpPr txBox="1"/>
            <p:nvPr/>
          </p:nvSpPr>
          <p:spPr>
            <a:xfrm>
              <a:off x="3656494" y="3708228"/>
              <a:ext cx="195872" cy="180557"/>
            </a:xfrm>
            <a:prstGeom prst="rect">
              <a:avLst/>
            </a:prstGeom>
            <a:noFill/>
          </p:spPr>
          <p:txBody>
            <a:bodyPr wrap="none" lIns="0" tIns="0" rIns="0" bIns="0" rtlCol="0" anchor="ctr">
              <a:noAutofit/>
            </a:bodyPr>
            <a:lstStyle/>
            <a:p>
              <a:pPr marL="0" marR="0" lvl="0" indent="0" algn="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20</a:t>
              </a:r>
            </a:p>
          </p:txBody>
        </p:sp>
        <p:sp>
          <p:nvSpPr>
            <p:cNvPr id="491" name="TextBox 490">
              <a:extLst>
                <a:ext uri="{FF2B5EF4-FFF2-40B4-BE49-F238E27FC236}">
                  <a16:creationId xmlns:a16="http://schemas.microsoft.com/office/drawing/2014/main" id="{86C20A74-258B-3CDD-E669-1C4662AD19DF}"/>
                </a:ext>
              </a:extLst>
            </p:cNvPr>
            <p:cNvSpPr txBox="1"/>
            <p:nvPr/>
          </p:nvSpPr>
          <p:spPr>
            <a:xfrm>
              <a:off x="3656494" y="3292604"/>
              <a:ext cx="195872" cy="180557"/>
            </a:xfrm>
            <a:prstGeom prst="rect">
              <a:avLst/>
            </a:prstGeom>
            <a:noFill/>
          </p:spPr>
          <p:txBody>
            <a:bodyPr wrap="none" lIns="0" tIns="0" rIns="0" bIns="0" rtlCol="0" anchor="ctr">
              <a:noAutofit/>
            </a:bodyPr>
            <a:lstStyle/>
            <a:p>
              <a:pPr marL="0" marR="0" lvl="0" indent="0" algn="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40</a:t>
              </a:r>
            </a:p>
          </p:txBody>
        </p:sp>
        <p:sp>
          <p:nvSpPr>
            <p:cNvPr id="492" name="TextBox 491">
              <a:extLst>
                <a:ext uri="{FF2B5EF4-FFF2-40B4-BE49-F238E27FC236}">
                  <a16:creationId xmlns:a16="http://schemas.microsoft.com/office/drawing/2014/main" id="{6BC68F4B-4E8B-3D40-9158-395A184604B4}"/>
                </a:ext>
              </a:extLst>
            </p:cNvPr>
            <p:cNvSpPr txBox="1"/>
            <p:nvPr/>
          </p:nvSpPr>
          <p:spPr>
            <a:xfrm>
              <a:off x="3656494" y="2461356"/>
              <a:ext cx="195872" cy="180557"/>
            </a:xfrm>
            <a:prstGeom prst="rect">
              <a:avLst/>
            </a:prstGeom>
            <a:noFill/>
          </p:spPr>
          <p:txBody>
            <a:bodyPr wrap="none" lIns="0" tIns="0" rIns="0" bIns="0" rtlCol="0" anchor="ctr">
              <a:noAutofit/>
            </a:bodyPr>
            <a:lstStyle/>
            <a:p>
              <a:pPr marL="0" marR="0" lvl="0" indent="0" algn="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80</a:t>
              </a:r>
            </a:p>
          </p:txBody>
        </p:sp>
        <p:sp>
          <p:nvSpPr>
            <p:cNvPr id="493" name="TextBox 492">
              <a:extLst>
                <a:ext uri="{FF2B5EF4-FFF2-40B4-BE49-F238E27FC236}">
                  <a16:creationId xmlns:a16="http://schemas.microsoft.com/office/drawing/2014/main" id="{910B5A37-5153-920B-16F4-8AB6601BD499}"/>
                </a:ext>
              </a:extLst>
            </p:cNvPr>
            <p:cNvSpPr txBox="1"/>
            <p:nvPr/>
          </p:nvSpPr>
          <p:spPr>
            <a:xfrm>
              <a:off x="3656494" y="2876980"/>
              <a:ext cx="195872" cy="180557"/>
            </a:xfrm>
            <a:prstGeom prst="rect">
              <a:avLst/>
            </a:prstGeom>
            <a:noFill/>
          </p:spPr>
          <p:txBody>
            <a:bodyPr wrap="none" lIns="0" tIns="0" rIns="0" bIns="0" rtlCol="0" anchor="ctr">
              <a:noAutofit/>
            </a:bodyPr>
            <a:lstStyle/>
            <a:p>
              <a:pPr marL="0" marR="0" lvl="0" indent="0" algn="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60</a:t>
              </a:r>
            </a:p>
          </p:txBody>
        </p:sp>
        <p:sp>
          <p:nvSpPr>
            <p:cNvPr id="494" name="TextBox 493">
              <a:extLst>
                <a:ext uri="{FF2B5EF4-FFF2-40B4-BE49-F238E27FC236}">
                  <a16:creationId xmlns:a16="http://schemas.microsoft.com/office/drawing/2014/main" id="{AE63CC95-AFEE-E13D-E62C-068680B254BD}"/>
                </a:ext>
              </a:extLst>
            </p:cNvPr>
            <p:cNvSpPr txBox="1"/>
            <p:nvPr/>
          </p:nvSpPr>
          <p:spPr>
            <a:xfrm>
              <a:off x="3874845" y="4461603"/>
              <a:ext cx="3807759" cy="253916"/>
            </a:xfrm>
            <a:prstGeom prst="rect">
              <a:avLst/>
            </a:prstGeom>
            <a:noFill/>
          </p:spPr>
          <p:txBody>
            <a:bodyPr wrap="square" rtlCol="0" anchor="ctr">
              <a:sp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Time, months</a:t>
              </a:r>
            </a:p>
          </p:txBody>
        </p:sp>
        <p:sp>
          <p:nvSpPr>
            <p:cNvPr id="495" name="Freeform: Shape 30">
              <a:extLst>
                <a:ext uri="{FF2B5EF4-FFF2-40B4-BE49-F238E27FC236}">
                  <a16:creationId xmlns:a16="http://schemas.microsoft.com/office/drawing/2014/main" id="{69DB5AEB-00A6-4187-E765-A5B1ABC219D9}"/>
                </a:ext>
              </a:extLst>
            </p:cNvPr>
            <p:cNvSpPr/>
            <p:nvPr/>
          </p:nvSpPr>
          <p:spPr>
            <a:xfrm>
              <a:off x="3951633" y="2137727"/>
              <a:ext cx="6903" cy="2087958"/>
            </a:xfrm>
            <a:custGeom>
              <a:avLst/>
              <a:gdLst>
                <a:gd name="connsiteX0" fmla="*/ 0 w 12157"/>
                <a:gd name="connsiteY0" fmla="*/ 0 h 3203210"/>
                <a:gd name="connsiteX1" fmla="*/ 0 w 12157"/>
                <a:gd name="connsiteY1" fmla="*/ 3203211 h 3203210"/>
              </a:gdLst>
              <a:ahLst/>
              <a:cxnLst>
                <a:cxn ang="0">
                  <a:pos x="connsiteX0" y="connsiteY0"/>
                </a:cxn>
                <a:cxn ang="0">
                  <a:pos x="connsiteX1" y="connsiteY1"/>
                </a:cxn>
              </a:cxnLst>
              <a:rect l="l" t="t" r="r" b="b"/>
              <a:pathLst>
                <a:path w="12157" h="3203210">
                  <a:moveTo>
                    <a:pt x="0" y="0"/>
                  </a:moveTo>
                  <a:lnTo>
                    <a:pt x="0" y="3203211"/>
                  </a:lnTo>
                </a:path>
              </a:pathLst>
            </a:custGeom>
            <a:ln w="19050" cap="sq">
              <a:solidFill>
                <a:srgbClr val="595454"/>
              </a:solidFill>
              <a:prstDash val="solid"/>
              <a:miter/>
            </a:ln>
          </p:spPr>
          <p:txBody>
            <a:bodyPr rtlCol="0" anchor="ct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6" name="Freeform: Shape 45">
              <a:extLst>
                <a:ext uri="{FF2B5EF4-FFF2-40B4-BE49-F238E27FC236}">
                  <a16:creationId xmlns:a16="http://schemas.microsoft.com/office/drawing/2014/main" id="{7FBB3D53-23C1-5ABA-AF2B-BB3527F94FBE}"/>
                </a:ext>
              </a:extLst>
            </p:cNvPr>
            <p:cNvSpPr/>
            <p:nvPr/>
          </p:nvSpPr>
          <p:spPr>
            <a:xfrm>
              <a:off x="3894745" y="4217762"/>
              <a:ext cx="47597" cy="7925"/>
            </a:xfrm>
            <a:custGeom>
              <a:avLst/>
              <a:gdLst>
                <a:gd name="connsiteX0" fmla="*/ 70394 w 70393"/>
                <a:gd name="connsiteY0" fmla="*/ 0 h 12157"/>
                <a:gd name="connsiteX1" fmla="*/ 0 w 70393"/>
                <a:gd name="connsiteY1" fmla="*/ 0 h 12157"/>
              </a:gdLst>
              <a:ahLst/>
              <a:cxnLst>
                <a:cxn ang="0">
                  <a:pos x="connsiteX0" y="connsiteY0"/>
                </a:cxn>
                <a:cxn ang="0">
                  <a:pos x="connsiteX1" y="connsiteY1"/>
                </a:cxn>
              </a:cxnLst>
              <a:rect l="l" t="t" r="r" b="b"/>
              <a:pathLst>
                <a:path w="70393" h="12157">
                  <a:moveTo>
                    <a:pt x="70394" y="0"/>
                  </a:moveTo>
                  <a:lnTo>
                    <a:pt x="0" y="0"/>
                  </a:lnTo>
                </a:path>
              </a:pathLst>
            </a:custGeom>
            <a:ln w="19050" cap="sq">
              <a:solidFill>
                <a:srgbClr val="595454"/>
              </a:solidFill>
              <a:prstDash val="solid"/>
              <a:miter/>
            </a:ln>
          </p:spPr>
          <p:txBody>
            <a:bodyPr rtlCol="0" anchor="ct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7" name="Freeform: Shape 47">
              <a:extLst>
                <a:ext uri="{FF2B5EF4-FFF2-40B4-BE49-F238E27FC236}">
                  <a16:creationId xmlns:a16="http://schemas.microsoft.com/office/drawing/2014/main" id="{C46BC0B7-84A7-50A2-4271-FAFA1CB11520}"/>
                </a:ext>
              </a:extLst>
            </p:cNvPr>
            <p:cNvSpPr/>
            <p:nvPr/>
          </p:nvSpPr>
          <p:spPr>
            <a:xfrm>
              <a:off x="3894745" y="3801755"/>
              <a:ext cx="47597" cy="7925"/>
            </a:xfrm>
            <a:custGeom>
              <a:avLst/>
              <a:gdLst>
                <a:gd name="connsiteX0" fmla="*/ 70394 w 70393"/>
                <a:gd name="connsiteY0" fmla="*/ 0 h 12157"/>
                <a:gd name="connsiteX1" fmla="*/ 0 w 70393"/>
                <a:gd name="connsiteY1" fmla="*/ 0 h 12157"/>
              </a:gdLst>
              <a:ahLst/>
              <a:cxnLst>
                <a:cxn ang="0">
                  <a:pos x="connsiteX0" y="connsiteY0"/>
                </a:cxn>
                <a:cxn ang="0">
                  <a:pos x="connsiteX1" y="connsiteY1"/>
                </a:cxn>
              </a:cxnLst>
              <a:rect l="l" t="t" r="r" b="b"/>
              <a:pathLst>
                <a:path w="70393" h="12157">
                  <a:moveTo>
                    <a:pt x="70394" y="0"/>
                  </a:moveTo>
                  <a:lnTo>
                    <a:pt x="0" y="0"/>
                  </a:lnTo>
                </a:path>
              </a:pathLst>
            </a:custGeom>
            <a:ln w="19050" cap="sq">
              <a:solidFill>
                <a:srgbClr val="595454"/>
              </a:solidFill>
              <a:prstDash val="solid"/>
              <a:miter/>
            </a:ln>
          </p:spPr>
          <p:txBody>
            <a:bodyPr rtlCol="0" anchor="ct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8" name="Freeform: Shape 49">
              <a:extLst>
                <a:ext uri="{FF2B5EF4-FFF2-40B4-BE49-F238E27FC236}">
                  <a16:creationId xmlns:a16="http://schemas.microsoft.com/office/drawing/2014/main" id="{26F08735-DA7D-C3C5-D35B-90A833552FD3}"/>
                </a:ext>
              </a:extLst>
            </p:cNvPr>
            <p:cNvSpPr/>
            <p:nvPr/>
          </p:nvSpPr>
          <p:spPr>
            <a:xfrm>
              <a:off x="3894745" y="3385748"/>
              <a:ext cx="47597" cy="7925"/>
            </a:xfrm>
            <a:custGeom>
              <a:avLst/>
              <a:gdLst>
                <a:gd name="connsiteX0" fmla="*/ 70394 w 70393"/>
                <a:gd name="connsiteY0" fmla="*/ 0 h 12157"/>
                <a:gd name="connsiteX1" fmla="*/ 0 w 70393"/>
                <a:gd name="connsiteY1" fmla="*/ 0 h 12157"/>
              </a:gdLst>
              <a:ahLst/>
              <a:cxnLst>
                <a:cxn ang="0">
                  <a:pos x="connsiteX0" y="connsiteY0"/>
                </a:cxn>
                <a:cxn ang="0">
                  <a:pos x="connsiteX1" y="connsiteY1"/>
                </a:cxn>
              </a:cxnLst>
              <a:rect l="l" t="t" r="r" b="b"/>
              <a:pathLst>
                <a:path w="70393" h="12157">
                  <a:moveTo>
                    <a:pt x="70394" y="0"/>
                  </a:moveTo>
                  <a:lnTo>
                    <a:pt x="0" y="0"/>
                  </a:lnTo>
                </a:path>
              </a:pathLst>
            </a:custGeom>
            <a:ln w="19050" cap="sq">
              <a:solidFill>
                <a:srgbClr val="595454"/>
              </a:solidFill>
              <a:prstDash val="solid"/>
              <a:miter/>
            </a:ln>
          </p:spPr>
          <p:txBody>
            <a:bodyPr rtlCol="0" anchor="ct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9" name="Freeform: Shape 51">
              <a:extLst>
                <a:ext uri="{FF2B5EF4-FFF2-40B4-BE49-F238E27FC236}">
                  <a16:creationId xmlns:a16="http://schemas.microsoft.com/office/drawing/2014/main" id="{8E56B4B1-CAE2-4754-A158-9C1CCA093127}"/>
                </a:ext>
              </a:extLst>
            </p:cNvPr>
            <p:cNvSpPr/>
            <p:nvPr/>
          </p:nvSpPr>
          <p:spPr>
            <a:xfrm>
              <a:off x="3894745" y="2969742"/>
              <a:ext cx="47597" cy="7925"/>
            </a:xfrm>
            <a:custGeom>
              <a:avLst/>
              <a:gdLst>
                <a:gd name="connsiteX0" fmla="*/ 70394 w 70393"/>
                <a:gd name="connsiteY0" fmla="*/ 0 h 12157"/>
                <a:gd name="connsiteX1" fmla="*/ 0 w 70393"/>
                <a:gd name="connsiteY1" fmla="*/ 0 h 12157"/>
              </a:gdLst>
              <a:ahLst/>
              <a:cxnLst>
                <a:cxn ang="0">
                  <a:pos x="connsiteX0" y="connsiteY0"/>
                </a:cxn>
                <a:cxn ang="0">
                  <a:pos x="connsiteX1" y="connsiteY1"/>
                </a:cxn>
              </a:cxnLst>
              <a:rect l="l" t="t" r="r" b="b"/>
              <a:pathLst>
                <a:path w="70393" h="12157">
                  <a:moveTo>
                    <a:pt x="70394" y="0"/>
                  </a:moveTo>
                  <a:lnTo>
                    <a:pt x="0" y="0"/>
                  </a:lnTo>
                </a:path>
              </a:pathLst>
            </a:custGeom>
            <a:ln w="19050" cap="sq">
              <a:solidFill>
                <a:srgbClr val="595454"/>
              </a:solidFill>
              <a:prstDash val="solid"/>
              <a:miter/>
            </a:ln>
          </p:spPr>
          <p:txBody>
            <a:bodyPr rtlCol="0" anchor="ct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0" name="Freeform: Shape 53">
              <a:extLst>
                <a:ext uri="{FF2B5EF4-FFF2-40B4-BE49-F238E27FC236}">
                  <a16:creationId xmlns:a16="http://schemas.microsoft.com/office/drawing/2014/main" id="{92BAB93A-0FDF-3896-74C9-C984A574D383}"/>
                </a:ext>
              </a:extLst>
            </p:cNvPr>
            <p:cNvSpPr/>
            <p:nvPr/>
          </p:nvSpPr>
          <p:spPr>
            <a:xfrm>
              <a:off x="3894745" y="2553735"/>
              <a:ext cx="47597" cy="7925"/>
            </a:xfrm>
            <a:custGeom>
              <a:avLst/>
              <a:gdLst>
                <a:gd name="connsiteX0" fmla="*/ 70394 w 70393"/>
                <a:gd name="connsiteY0" fmla="*/ 0 h 12157"/>
                <a:gd name="connsiteX1" fmla="*/ 0 w 70393"/>
                <a:gd name="connsiteY1" fmla="*/ 0 h 12157"/>
              </a:gdLst>
              <a:ahLst/>
              <a:cxnLst>
                <a:cxn ang="0">
                  <a:pos x="connsiteX0" y="connsiteY0"/>
                </a:cxn>
                <a:cxn ang="0">
                  <a:pos x="connsiteX1" y="connsiteY1"/>
                </a:cxn>
              </a:cxnLst>
              <a:rect l="l" t="t" r="r" b="b"/>
              <a:pathLst>
                <a:path w="70393" h="12157">
                  <a:moveTo>
                    <a:pt x="70394" y="0"/>
                  </a:moveTo>
                  <a:lnTo>
                    <a:pt x="0" y="0"/>
                  </a:lnTo>
                </a:path>
              </a:pathLst>
            </a:custGeom>
            <a:ln w="19050" cap="sq">
              <a:solidFill>
                <a:srgbClr val="595454"/>
              </a:solidFill>
              <a:prstDash val="solid"/>
              <a:miter/>
            </a:ln>
          </p:spPr>
          <p:txBody>
            <a:bodyPr rtlCol="0" anchor="ct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1" name="Freeform: Shape 55">
              <a:extLst>
                <a:ext uri="{FF2B5EF4-FFF2-40B4-BE49-F238E27FC236}">
                  <a16:creationId xmlns:a16="http://schemas.microsoft.com/office/drawing/2014/main" id="{D4A44251-62B6-16AC-D0F1-AF47DBE4F300}"/>
                </a:ext>
              </a:extLst>
            </p:cNvPr>
            <p:cNvSpPr/>
            <p:nvPr/>
          </p:nvSpPr>
          <p:spPr>
            <a:xfrm>
              <a:off x="3894745" y="2137728"/>
              <a:ext cx="47597" cy="7925"/>
            </a:xfrm>
            <a:custGeom>
              <a:avLst/>
              <a:gdLst>
                <a:gd name="connsiteX0" fmla="*/ 70394 w 70393"/>
                <a:gd name="connsiteY0" fmla="*/ 0 h 12157"/>
                <a:gd name="connsiteX1" fmla="*/ 0 w 70393"/>
                <a:gd name="connsiteY1" fmla="*/ 0 h 12157"/>
              </a:gdLst>
              <a:ahLst/>
              <a:cxnLst>
                <a:cxn ang="0">
                  <a:pos x="connsiteX0" y="connsiteY0"/>
                </a:cxn>
                <a:cxn ang="0">
                  <a:pos x="connsiteX1" y="connsiteY1"/>
                </a:cxn>
              </a:cxnLst>
              <a:rect l="l" t="t" r="r" b="b"/>
              <a:pathLst>
                <a:path w="70393" h="12157">
                  <a:moveTo>
                    <a:pt x="70394" y="0"/>
                  </a:moveTo>
                  <a:lnTo>
                    <a:pt x="0" y="0"/>
                  </a:lnTo>
                </a:path>
              </a:pathLst>
            </a:custGeom>
            <a:ln w="19050" cap="sq">
              <a:solidFill>
                <a:srgbClr val="595454"/>
              </a:solidFill>
              <a:prstDash val="solid"/>
              <a:miter/>
            </a:ln>
          </p:spPr>
          <p:txBody>
            <a:bodyPr rtlCol="0" anchor="ct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2" name="TextBox 501">
              <a:extLst>
                <a:ext uri="{FF2B5EF4-FFF2-40B4-BE49-F238E27FC236}">
                  <a16:creationId xmlns:a16="http://schemas.microsoft.com/office/drawing/2014/main" id="{73CF490B-67B6-779A-50E1-38DD2BC6E24B}"/>
                </a:ext>
              </a:extLst>
            </p:cNvPr>
            <p:cNvSpPr txBox="1"/>
            <p:nvPr/>
          </p:nvSpPr>
          <p:spPr>
            <a:xfrm rot="16200000">
              <a:off x="3329878" y="3057711"/>
              <a:ext cx="478310" cy="180557"/>
            </a:xfrm>
            <a:prstGeom prst="rect">
              <a:avLst/>
            </a:prstGeom>
            <a:noFill/>
          </p:spPr>
          <p:txBody>
            <a:bodyPr wrap="none" lIns="0" tIns="0" rIns="0" bIns="0" rtlCol="0" anchor="ctr">
              <a:noAutofit/>
            </a:bodyPr>
            <a:lstStyle/>
            <a:p>
              <a:pPr marL="0" marR="0" lvl="0" indent="0" algn="r" defTabSz="914378"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OS, %</a:t>
              </a:r>
            </a:p>
          </p:txBody>
        </p:sp>
        <p:cxnSp>
          <p:nvCxnSpPr>
            <p:cNvPr id="503" name="Straight Connector 502">
              <a:extLst>
                <a:ext uri="{FF2B5EF4-FFF2-40B4-BE49-F238E27FC236}">
                  <a16:creationId xmlns:a16="http://schemas.microsoft.com/office/drawing/2014/main" id="{9FB8D9F4-194A-5DBD-3C35-6882378A7DA0}"/>
                </a:ext>
              </a:extLst>
            </p:cNvPr>
            <p:cNvCxnSpPr>
              <a:cxnSpLocks/>
            </p:cNvCxnSpPr>
            <p:nvPr/>
          </p:nvCxnSpPr>
          <p:spPr>
            <a:xfrm>
              <a:off x="3966751" y="3181706"/>
              <a:ext cx="3675545" cy="0"/>
            </a:xfrm>
            <a:prstGeom prst="line">
              <a:avLst/>
            </a:prstGeom>
            <a:noFill/>
            <a:ln w="12700" cap="flat" cmpd="sng" algn="ctr">
              <a:solidFill>
                <a:srgbClr val="595454">
                  <a:lumMod val="40000"/>
                  <a:lumOff val="60000"/>
                </a:srgbClr>
              </a:solidFill>
              <a:prstDash val="dash"/>
            </a:ln>
            <a:effectLst/>
          </p:spPr>
        </p:cxnSp>
        <p:grpSp>
          <p:nvGrpSpPr>
            <p:cNvPr id="504" name="Group 503">
              <a:extLst>
                <a:ext uri="{FF2B5EF4-FFF2-40B4-BE49-F238E27FC236}">
                  <a16:creationId xmlns:a16="http://schemas.microsoft.com/office/drawing/2014/main" id="{4B29ABA8-E0DF-03F4-94DC-3D3E91ED4544}"/>
                </a:ext>
              </a:extLst>
            </p:cNvPr>
            <p:cNvGrpSpPr/>
            <p:nvPr/>
          </p:nvGrpSpPr>
          <p:grpSpPr>
            <a:xfrm>
              <a:off x="3869346" y="4225687"/>
              <a:ext cx="3807759" cy="221627"/>
              <a:chOff x="3402208" y="4602518"/>
              <a:chExt cx="5618480" cy="295502"/>
            </a:xfrm>
          </p:grpSpPr>
          <p:sp>
            <p:nvSpPr>
              <p:cNvPr id="505" name="Freeform: Shape 32">
                <a:extLst>
                  <a:ext uri="{FF2B5EF4-FFF2-40B4-BE49-F238E27FC236}">
                    <a16:creationId xmlns:a16="http://schemas.microsoft.com/office/drawing/2014/main" id="{DE736809-A085-AF05-BD2F-7503099FDB72}"/>
                  </a:ext>
                </a:extLst>
              </p:cNvPr>
              <p:cNvSpPr/>
              <p:nvPr/>
            </p:nvSpPr>
            <p:spPr>
              <a:xfrm>
                <a:off x="4120175" y="4602518"/>
                <a:ext cx="9398" cy="61179"/>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rgbClr val="595454"/>
                </a:solidFill>
                <a:prstDash val="solid"/>
                <a:miter/>
              </a:ln>
            </p:spPr>
            <p:txBody>
              <a:bodyPr rtlCol="0" anchor="ct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6" name="Freeform: Shape 34">
                <a:extLst>
                  <a:ext uri="{FF2B5EF4-FFF2-40B4-BE49-F238E27FC236}">
                    <a16:creationId xmlns:a16="http://schemas.microsoft.com/office/drawing/2014/main" id="{1A36A496-07C2-99A1-CBB8-9912760C7BB7}"/>
                  </a:ext>
                </a:extLst>
              </p:cNvPr>
              <p:cNvSpPr/>
              <p:nvPr/>
            </p:nvSpPr>
            <p:spPr>
              <a:xfrm>
                <a:off x="4714931" y="4602518"/>
                <a:ext cx="9398" cy="61179"/>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rgbClr val="595454"/>
                </a:solidFill>
                <a:prstDash val="solid"/>
                <a:miter/>
              </a:ln>
            </p:spPr>
            <p:txBody>
              <a:bodyPr rtlCol="0" anchor="ct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7" name="Freeform: Shape 36">
                <a:extLst>
                  <a:ext uri="{FF2B5EF4-FFF2-40B4-BE49-F238E27FC236}">
                    <a16:creationId xmlns:a16="http://schemas.microsoft.com/office/drawing/2014/main" id="{229265CC-FF95-791B-88F3-96BE0806A23D}"/>
                  </a:ext>
                </a:extLst>
              </p:cNvPr>
              <p:cNvSpPr/>
              <p:nvPr/>
            </p:nvSpPr>
            <p:spPr>
              <a:xfrm>
                <a:off x="5309687" y="4602518"/>
                <a:ext cx="9398" cy="61179"/>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rgbClr val="595454"/>
                </a:solidFill>
                <a:prstDash val="solid"/>
                <a:miter/>
              </a:ln>
            </p:spPr>
            <p:txBody>
              <a:bodyPr rtlCol="0" anchor="ct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8" name="Freeform: Shape 38">
                <a:extLst>
                  <a:ext uri="{FF2B5EF4-FFF2-40B4-BE49-F238E27FC236}">
                    <a16:creationId xmlns:a16="http://schemas.microsoft.com/office/drawing/2014/main" id="{C49C066E-35F2-F39D-BEBD-1C468F2877CD}"/>
                  </a:ext>
                </a:extLst>
              </p:cNvPr>
              <p:cNvSpPr/>
              <p:nvPr/>
            </p:nvSpPr>
            <p:spPr>
              <a:xfrm>
                <a:off x="5904443" y="4602518"/>
                <a:ext cx="9398" cy="61179"/>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rgbClr val="595454"/>
                </a:solidFill>
                <a:prstDash val="solid"/>
                <a:miter/>
              </a:ln>
            </p:spPr>
            <p:txBody>
              <a:bodyPr rtlCol="0" anchor="ct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9" name="Freeform: Shape 44">
                <a:extLst>
                  <a:ext uri="{FF2B5EF4-FFF2-40B4-BE49-F238E27FC236}">
                    <a16:creationId xmlns:a16="http://schemas.microsoft.com/office/drawing/2014/main" id="{77D9FAC6-C072-3FA7-3E44-29BBEE079440}"/>
                  </a:ext>
                </a:extLst>
              </p:cNvPr>
              <p:cNvSpPr/>
              <p:nvPr/>
            </p:nvSpPr>
            <p:spPr>
              <a:xfrm>
                <a:off x="3514237" y="4602518"/>
                <a:ext cx="5364000" cy="0"/>
              </a:xfrm>
              <a:custGeom>
                <a:avLst/>
                <a:gdLst>
                  <a:gd name="connsiteX0" fmla="*/ 7181115 w 7181114"/>
                  <a:gd name="connsiteY0" fmla="*/ 0 h 12157"/>
                  <a:gd name="connsiteX1" fmla="*/ 0 w 7181114"/>
                  <a:gd name="connsiteY1" fmla="*/ 0 h 12157"/>
                </a:gdLst>
                <a:ahLst/>
                <a:cxnLst>
                  <a:cxn ang="0">
                    <a:pos x="connsiteX0" y="connsiteY0"/>
                  </a:cxn>
                  <a:cxn ang="0">
                    <a:pos x="connsiteX1" y="connsiteY1"/>
                  </a:cxn>
                </a:cxnLst>
                <a:rect l="l" t="t" r="r" b="b"/>
                <a:pathLst>
                  <a:path w="7181114" h="12157">
                    <a:moveTo>
                      <a:pt x="7181115" y="0"/>
                    </a:moveTo>
                    <a:lnTo>
                      <a:pt x="0" y="0"/>
                    </a:lnTo>
                  </a:path>
                </a:pathLst>
              </a:custGeom>
              <a:ln w="19050" cap="sq">
                <a:solidFill>
                  <a:srgbClr val="595454"/>
                </a:solidFill>
                <a:prstDash val="solid"/>
                <a:miter/>
              </a:ln>
            </p:spPr>
            <p:txBody>
              <a:bodyPr rtlCol="0" anchor="ct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10" name="TextBox 509">
                <a:extLst>
                  <a:ext uri="{FF2B5EF4-FFF2-40B4-BE49-F238E27FC236}">
                    <a16:creationId xmlns:a16="http://schemas.microsoft.com/office/drawing/2014/main" id="{8E0CC8DC-FEE5-0306-8118-369F11DEFEB2}"/>
                  </a:ext>
                </a:extLst>
              </p:cNvPr>
              <p:cNvSpPr txBox="1"/>
              <p:nvPr/>
            </p:nvSpPr>
            <p:spPr>
              <a:xfrm>
                <a:off x="3402208" y="4740460"/>
                <a:ext cx="242854" cy="157560"/>
              </a:xfrm>
              <a:prstGeom prst="rect">
                <a:avLst/>
              </a:prstGeom>
              <a:noFill/>
            </p:spPr>
            <p:txBody>
              <a:bodyPr wrap="none" lIns="0" tIns="0" rIns="0" bIns="0" rtlCol="0" anchor="ctr">
                <a:no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0</a:t>
                </a:r>
              </a:p>
            </p:txBody>
          </p:sp>
          <p:sp>
            <p:nvSpPr>
              <p:cNvPr id="511" name="Freeform: Shape 32">
                <a:extLst>
                  <a:ext uri="{FF2B5EF4-FFF2-40B4-BE49-F238E27FC236}">
                    <a16:creationId xmlns:a16="http://schemas.microsoft.com/office/drawing/2014/main" id="{F6B8FA5E-6AFB-CED0-3D29-C202C50D0C82}"/>
                  </a:ext>
                </a:extLst>
              </p:cNvPr>
              <p:cNvSpPr/>
              <p:nvPr/>
            </p:nvSpPr>
            <p:spPr>
              <a:xfrm>
                <a:off x="3525419" y="4602518"/>
                <a:ext cx="9398" cy="61179"/>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rgbClr val="595454"/>
                </a:solidFill>
                <a:prstDash val="solid"/>
                <a:miter/>
              </a:ln>
            </p:spPr>
            <p:txBody>
              <a:bodyPr rtlCol="0" anchor="ct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60" name="Freeform: Shape 38">
                <a:extLst>
                  <a:ext uri="{FF2B5EF4-FFF2-40B4-BE49-F238E27FC236}">
                    <a16:creationId xmlns:a16="http://schemas.microsoft.com/office/drawing/2014/main" id="{4E344187-FB4C-19D3-F6A5-74C80F07133D}"/>
                  </a:ext>
                </a:extLst>
              </p:cNvPr>
              <p:cNvSpPr/>
              <p:nvPr/>
            </p:nvSpPr>
            <p:spPr>
              <a:xfrm>
                <a:off x="7093953" y="4602518"/>
                <a:ext cx="9398" cy="61179"/>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rgbClr val="595454"/>
                </a:solidFill>
                <a:prstDash val="solid"/>
                <a:miter/>
              </a:ln>
            </p:spPr>
            <p:txBody>
              <a:bodyPr rtlCol="0" anchor="ct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61" name="Freeform: Shape 38">
                <a:extLst>
                  <a:ext uri="{FF2B5EF4-FFF2-40B4-BE49-F238E27FC236}">
                    <a16:creationId xmlns:a16="http://schemas.microsoft.com/office/drawing/2014/main" id="{AFFEB0EB-509B-7B46-74C5-15BDB1F71BC3}"/>
                  </a:ext>
                </a:extLst>
              </p:cNvPr>
              <p:cNvSpPr/>
              <p:nvPr/>
            </p:nvSpPr>
            <p:spPr>
              <a:xfrm>
                <a:off x="6499199" y="4602518"/>
                <a:ext cx="9398" cy="61179"/>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rgbClr val="595454"/>
                </a:solidFill>
                <a:prstDash val="solid"/>
                <a:miter/>
              </a:ln>
            </p:spPr>
            <p:txBody>
              <a:bodyPr rtlCol="0" anchor="ct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62" name="TextBox 961">
                <a:extLst>
                  <a:ext uri="{FF2B5EF4-FFF2-40B4-BE49-F238E27FC236}">
                    <a16:creationId xmlns:a16="http://schemas.microsoft.com/office/drawing/2014/main" id="{1E550F41-1AA6-1DBF-5108-16BE678F63B4}"/>
                  </a:ext>
                </a:extLst>
              </p:cNvPr>
              <p:cNvSpPr txBox="1"/>
              <p:nvPr/>
            </p:nvSpPr>
            <p:spPr>
              <a:xfrm>
                <a:off x="3998241" y="4740460"/>
                <a:ext cx="242854" cy="157560"/>
              </a:xfrm>
              <a:prstGeom prst="rect">
                <a:avLst/>
              </a:prstGeom>
              <a:noFill/>
            </p:spPr>
            <p:txBody>
              <a:bodyPr wrap="none" lIns="0" tIns="0" rIns="0" bIns="0" rtlCol="0" anchor="ctr">
                <a:no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6</a:t>
                </a:r>
              </a:p>
            </p:txBody>
          </p:sp>
          <p:sp>
            <p:nvSpPr>
              <p:cNvPr id="963" name="TextBox 962">
                <a:extLst>
                  <a:ext uri="{FF2B5EF4-FFF2-40B4-BE49-F238E27FC236}">
                    <a16:creationId xmlns:a16="http://schemas.microsoft.com/office/drawing/2014/main" id="{5A4D9128-5387-4A36-88EE-8073D993177C}"/>
                  </a:ext>
                </a:extLst>
              </p:cNvPr>
              <p:cNvSpPr txBox="1"/>
              <p:nvPr/>
            </p:nvSpPr>
            <p:spPr>
              <a:xfrm>
                <a:off x="4594274" y="4740460"/>
                <a:ext cx="242854" cy="157560"/>
              </a:xfrm>
              <a:prstGeom prst="rect">
                <a:avLst/>
              </a:prstGeom>
              <a:noFill/>
            </p:spPr>
            <p:txBody>
              <a:bodyPr wrap="none" lIns="0" tIns="0" rIns="0" bIns="0" rtlCol="0" anchor="ctr">
                <a:no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12</a:t>
                </a:r>
              </a:p>
            </p:txBody>
          </p:sp>
          <p:sp>
            <p:nvSpPr>
              <p:cNvPr id="964" name="TextBox 963">
                <a:extLst>
                  <a:ext uri="{FF2B5EF4-FFF2-40B4-BE49-F238E27FC236}">
                    <a16:creationId xmlns:a16="http://schemas.microsoft.com/office/drawing/2014/main" id="{A5F3A537-AABA-A1F3-6548-D008320299F7}"/>
                  </a:ext>
                </a:extLst>
              </p:cNvPr>
              <p:cNvSpPr txBox="1"/>
              <p:nvPr/>
            </p:nvSpPr>
            <p:spPr>
              <a:xfrm>
                <a:off x="5190307" y="4740460"/>
                <a:ext cx="242854" cy="157560"/>
              </a:xfrm>
              <a:prstGeom prst="rect">
                <a:avLst/>
              </a:prstGeom>
              <a:noFill/>
            </p:spPr>
            <p:txBody>
              <a:bodyPr wrap="none" lIns="0" tIns="0" rIns="0" bIns="0" rtlCol="0" anchor="ctr">
                <a:no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18</a:t>
                </a:r>
              </a:p>
            </p:txBody>
          </p:sp>
          <p:sp>
            <p:nvSpPr>
              <p:cNvPr id="965" name="TextBox 964">
                <a:extLst>
                  <a:ext uri="{FF2B5EF4-FFF2-40B4-BE49-F238E27FC236}">
                    <a16:creationId xmlns:a16="http://schemas.microsoft.com/office/drawing/2014/main" id="{FA2A2B48-7BBB-B858-D53A-E6AA4F50D5A9}"/>
                  </a:ext>
                </a:extLst>
              </p:cNvPr>
              <p:cNvSpPr txBox="1"/>
              <p:nvPr/>
            </p:nvSpPr>
            <p:spPr>
              <a:xfrm>
                <a:off x="5786340" y="4740460"/>
                <a:ext cx="242854" cy="157560"/>
              </a:xfrm>
              <a:prstGeom prst="rect">
                <a:avLst/>
              </a:prstGeom>
              <a:noFill/>
            </p:spPr>
            <p:txBody>
              <a:bodyPr wrap="none" lIns="0" tIns="0" rIns="0" bIns="0" rtlCol="0" anchor="ctr">
                <a:no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24</a:t>
                </a:r>
              </a:p>
            </p:txBody>
          </p:sp>
          <p:sp>
            <p:nvSpPr>
              <p:cNvPr id="966" name="TextBox 965">
                <a:extLst>
                  <a:ext uri="{FF2B5EF4-FFF2-40B4-BE49-F238E27FC236}">
                    <a16:creationId xmlns:a16="http://schemas.microsoft.com/office/drawing/2014/main" id="{F3997CBA-5856-8B8B-DCA6-1C9EF6045437}"/>
                  </a:ext>
                </a:extLst>
              </p:cNvPr>
              <p:cNvSpPr txBox="1"/>
              <p:nvPr/>
            </p:nvSpPr>
            <p:spPr>
              <a:xfrm>
                <a:off x="6382373" y="4740460"/>
                <a:ext cx="242854" cy="157560"/>
              </a:xfrm>
              <a:prstGeom prst="rect">
                <a:avLst/>
              </a:prstGeom>
              <a:noFill/>
            </p:spPr>
            <p:txBody>
              <a:bodyPr wrap="none" lIns="0" tIns="0" rIns="0" bIns="0" rtlCol="0" anchor="ctr">
                <a:no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30</a:t>
                </a:r>
              </a:p>
            </p:txBody>
          </p:sp>
          <p:sp>
            <p:nvSpPr>
              <p:cNvPr id="967" name="TextBox 966">
                <a:extLst>
                  <a:ext uri="{FF2B5EF4-FFF2-40B4-BE49-F238E27FC236}">
                    <a16:creationId xmlns:a16="http://schemas.microsoft.com/office/drawing/2014/main" id="{4B1486EC-369F-2EC8-612F-B85C573CA6E9}"/>
                  </a:ext>
                </a:extLst>
              </p:cNvPr>
              <p:cNvSpPr txBox="1"/>
              <p:nvPr/>
            </p:nvSpPr>
            <p:spPr>
              <a:xfrm>
                <a:off x="6978408" y="4740460"/>
                <a:ext cx="242854" cy="157560"/>
              </a:xfrm>
              <a:prstGeom prst="rect">
                <a:avLst/>
              </a:prstGeom>
              <a:noFill/>
            </p:spPr>
            <p:txBody>
              <a:bodyPr wrap="none" lIns="0" tIns="0" rIns="0" bIns="0" rtlCol="0" anchor="ctr">
                <a:no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36</a:t>
                </a:r>
              </a:p>
            </p:txBody>
          </p:sp>
          <p:sp>
            <p:nvSpPr>
              <p:cNvPr id="968" name="TextBox 967">
                <a:extLst>
                  <a:ext uri="{FF2B5EF4-FFF2-40B4-BE49-F238E27FC236}">
                    <a16:creationId xmlns:a16="http://schemas.microsoft.com/office/drawing/2014/main" id="{E120A1D6-95A8-FDEF-3552-1E71F8A1EA8D}"/>
                  </a:ext>
                </a:extLst>
              </p:cNvPr>
              <p:cNvSpPr txBox="1"/>
              <p:nvPr/>
            </p:nvSpPr>
            <p:spPr>
              <a:xfrm>
                <a:off x="7582286" y="4740460"/>
                <a:ext cx="242854" cy="157560"/>
              </a:xfrm>
              <a:prstGeom prst="rect">
                <a:avLst/>
              </a:prstGeom>
              <a:noFill/>
            </p:spPr>
            <p:txBody>
              <a:bodyPr wrap="none" lIns="0" tIns="0" rIns="0" bIns="0" rtlCol="0" anchor="ctr">
                <a:no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42</a:t>
                </a:r>
              </a:p>
            </p:txBody>
          </p:sp>
          <p:sp>
            <p:nvSpPr>
              <p:cNvPr id="969" name="TextBox 968">
                <a:extLst>
                  <a:ext uri="{FF2B5EF4-FFF2-40B4-BE49-F238E27FC236}">
                    <a16:creationId xmlns:a16="http://schemas.microsoft.com/office/drawing/2014/main" id="{678266E1-FD05-03C8-2C9B-985A305AA9D1}"/>
                  </a:ext>
                </a:extLst>
              </p:cNvPr>
              <p:cNvSpPr txBox="1"/>
              <p:nvPr/>
            </p:nvSpPr>
            <p:spPr>
              <a:xfrm>
                <a:off x="8184029" y="4740460"/>
                <a:ext cx="242854" cy="157560"/>
              </a:xfrm>
              <a:prstGeom prst="rect">
                <a:avLst/>
              </a:prstGeom>
              <a:noFill/>
            </p:spPr>
            <p:txBody>
              <a:bodyPr wrap="none" lIns="0" tIns="0" rIns="0" bIns="0" rtlCol="0" anchor="ctr">
                <a:no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48</a:t>
                </a:r>
              </a:p>
            </p:txBody>
          </p:sp>
          <p:sp>
            <p:nvSpPr>
              <p:cNvPr id="970" name="Freeform: Shape 38">
                <a:extLst>
                  <a:ext uri="{FF2B5EF4-FFF2-40B4-BE49-F238E27FC236}">
                    <a16:creationId xmlns:a16="http://schemas.microsoft.com/office/drawing/2014/main" id="{D606EC80-69E9-A1A0-1D50-949FA8FB6623}"/>
                  </a:ext>
                </a:extLst>
              </p:cNvPr>
              <p:cNvSpPr/>
              <p:nvPr/>
            </p:nvSpPr>
            <p:spPr>
              <a:xfrm>
                <a:off x="8281616" y="4602518"/>
                <a:ext cx="9398" cy="61179"/>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rgbClr val="595454"/>
                </a:solidFill>
                <a:prstDash val="solid"/>
                <a:miter/>
              </a:ln>
            </p:spPr>
            <p:txBody>
              <a:bodyPr rtlCol="0" anchor="ct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71" name="Freeform: Shape 38">
                <a:extLst>
                  <a:ext uri="{FF2B5EF4-FFF2-40B4-BE49-F238E27FC236}">
                    <a16:creationId xmlns:a16="http://schemas.microsoft.com/office/drawing/2014/main" id="{87A76F34-D889-7B0D-C36F-B29EE6DF034C}"/>
                  </a:ext>
                </a:extLst>
              </p:cNvPr>
              <p:cNvSpPr/>
              <p:nvPr/>
            </p:nvSpPr>
            <p:spPr>
              <a:xfrm>
                <a:off x="7686862" y="4602518"/>
                <a:ext cx="9398" cy="61179"/>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rgbClr val="595454"/>
                </a:solidFill>
                <a:prstDash val="solid"/>
                <a:miter/>
              </a:ln>
            </p:spPr>
            <p:txBody>
              <a:bodyPr rtlCol="0" anchor="ct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72" name="TextBox 971">
                <a:extLst>
                  <a:ext uri="{FF2B5EF4-FFF2-40B4-BE49-F238E27FC236}">
                    <a16:creationId xmlns:a16="http://schemas.microsoft.com/office/drawing/2014/main" id="{56702591-8F4E-4A30-652E-1223DABB7221}"/>
                  </a:ext>
                </a:extLst>
              </p:cNvPr>
              <p:cNvSpPr txBox="1"/>
              <p:nvPr/>
            </p:nvSpPr>
            <p:spPr>
              <a:xfrm>
                <a:off x="8777834" y="4740460"/>
                <a:ext cx="242854" cy="157560"/>
              </a:xfrm>
              <a:prstGeom prst="rect">
                <a:avLst/>
              </a:prstGeom>
              <a:noFill/>
            </p:spPr>
            <p:txBody>
              <a:bodyPr wrap="none" lIns="0" tIns="0" rIns="0" bIns="0" rtlCol="0" anchor="ctr">
                <a:no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54</a:t>
                </a:r>
              </a:p>
            </p:txBody>
          </p:sp>
          <p:sp>
            <p:nvSpPr>
              <p:cNvPr id="973" name="Freeform: Shape 38">
                <a:extLst>
                  <a:ext uri="{FF2B5EF4-FFF2-40B4-BE49-F238E27FC236}">
                    <a16:creationId xmlns:a16="http://schemas.microsoft.com/office/drawing/2014/main" id="{CDDC55AF-FBA1-81FB-7407-6554BF3285EB}"/>
                  </a:ext>
                </a:extLst>
              </p:cNvPr>
              <p:cNvSpPr/>
              <p:nvPr/>
            </p:nvSpPr>
            <p:spPr>
              <a:xfrm>
                <a:off x="8875421" y="4602518"/>
                <a:ext cx="9398" cy="61179"/>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rgbClr val="595454"/>
                </a:solidFill>
                <a:prstDash val="solid"/>
                <a:miter/>
              </a:ln>
            </p:spPr>
            <p:txBody>
              <a:bodyPr rtlCol="0" anchor="ct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974" name="AutoShape 3">
              <a:extLst>
                <a:ext uri="{FF2B5EF4-FFF2-40B4-BE49-F238E27FC236}">
                  <a16:creationId xmlns:a16="http://schemas.microsoft.com/office/drawing/2014/main" id="{FB14AD6F-567C-7B8F-B9D7-8A2B02E18E98}"/>
                </a:ext>
              </a:extLst>
            </p:cNvPr>
            <p:cNvSpPr>
              <a:spLocks noChangeAspect="1" noTextEdit="1"/>
            </p:cNvSpPr>
            <p:nvPr/>
          </p:nvSpPr>
          <p:spPr bwMode="auto">
            <a:xfrm>
              <a:off x="4002421" y="2105741"/>
              <a:ext cx="3456470" cy="1058387"/>
            </a:xfrm>
            <a:prstGeom prst="rect">
              <a:avLst/>
            </a:prstGeom>
            <a:noFill/>
            <a:ln w="9525" cap="flat" cmpd="sng" algn="ctr">
              <a:solidFill>
                <a:srgbClr val="A69F9F">
                  <a:alpha val="0"/>
                </a:srgb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dirty="0">
                <a:ln>
                  <a:noFill/>
                </a:ln>
                <a:solidFill>
                  <a:srgbClr val="595454"/>
                </a:solidFill>
                <a:effectLst/>
                <a:uLnTx/>
                <a:uFillTx/>
                <a:latin typeface="Trebuchet MS" panose="020B0603020202020204"/>
                <a:ea typeface="+mn-ea"/>
                <a:cs typeface="+mn-cs"/>
              </a:endParaRPr>
            </a:p>
          </p:txBody>
        </p:sp>
        <p:sp>
          <p:nvSpPr>
            <p:cNvPr id="975" name="Line 15">
              <a:extLst>
                <a:ext uri="{FF2B5EF4-FFF2-40B4-BE49-F238E27FC236}">
                  <a16:creationId xmlns:a16="http://schemas.microsoft.com/office/drawing/2014/main" id="{A336C611-76CC-C280-F765-81BF5D5A2E91}"/>
                </a:ext>
              </a:extLst>
            </p:cNvPr>
            <p:cNvSpPr>
              <a:spLocks noChangeShapeType="1"/>
            </p:cNvSpPr>
            <p:nvPr/>
          </p:nvSpPr>
          <p:spPr bwMode="auto">
            <a:xfrm>
              <a:off x="5125865" y="2865564"/>
              <a:ext cx="0" cy="43271"/>
            </a:xfrm>
            <a:prstGeom prst="line">
              <a:avLst/>
            </a:prstGeom>
            <a:noFill/>
            <a:ln w="12700" cap="flat">
              <a:solidFill>
                <a:srgbClr val="A69F9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76" name="Line 16">
              <a:extLst>
                <a:ext uri="{FF2B5EF4-FFF2-40B4-BE49-F238E27FC236}">
                  <a16:creationId xmlns:a16="http://schemas.microsoft.com/office/drawing/2014/main" id="{A1F83DFA-EB33-955C-49CC-572BE3F32227}"/>
                </a:ext>
              </a:extLst>
            </p:cNvPr>
            <p:cNvSpPr>
              <a:spLocks noChangeShapeType="1"/>
            </p:cNvSpPr>
            <p:nvPr/>
          </p:nvSpPr>
          <p:spPr bwMode="auto">
            <a:xfrm>
              <a:off x="5111408" y="2886332"/>
              <a:ext cx="28915" cy="0"/>
            </a:xfrm>
            <a:prstGeom prst="line">
              <a:avLst/>
            </a:prstGeom>
            <a:noFill/>
            <a:ln w="12700" cap="flat">
              <a:solidFill>
                <a:srgbClr val="A69F9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977" name="Group 976">
              <a:extLst>
                <a:ext uri="{FF2B5EF4-FFF2-40B4-BE49-F238E27FC236}">
                  <a16:creationId xmlns:a16="http://schemas.microsoft.com/office/drawing/2014/main" id="{3D1DF752-6A8C-ACF8-CFBF-942A5469D926}"/>
                </a:ext>
              </a:extLst>
            </p:cNvPr>
            <p:cNvGrpSpPr/>
            <p:nvPr/>
          </p:nvGrpSpPr>
          <p:grpSpPr>
            <a:xfrm>
              <a:off x="4002422" y="2107472"/>
              <a:ext cx="3404897" cy="1041454"/>
              <a:chOff x="3583382" y="1778232"/>
              <a:chExt cx="4705744" cy="1411181"/>
            </a:xfrm>
          </p:grpSpPr>
          <p:sp>
            <p:nvSpPr>
              <p:cNvPr id="978" name="Line 5">
                <a:extLst>
                  <a:ext uri="{FF2B5EF4-FFF2-40B4-BE49-F238E27FC236}">
                    <a16:creationId xmlns:a16="http://schemas.microsoft.com/office/drawing/2014/main" id="{280879AD-84C7-C549-E343-139C9A587536}"/>
                  </a:ext>
                </a:extLst>
              </p:cNvPr>
              <p:cNvSpPr>
                <a:spLocks noChangeShapeType="1"/>
              </p:cNvSpPr>
              <p:nvPr/>
            </p:nvSpPr>
            <p:spPr bwMode="auto">
              <a:xfrm>
                <a:off x="3603064" y="1778232"/>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79" name="Line 6">
                <a:extLst>
                  <a:ext uri="{FF2B5EF4-FFF2-40B4-BE49-F238E27FC236}">
                    <a16:creationId xmlns:a16="http://schemas.microsoft.com/office/drawing/2014/main" id="{D3159F5E-E66B-88D0-E458-005BA94C4E7B}"/>
                  </a:ext>
                </a:extLst>
              </p:cNvPr>
              <p:cNvSpPr>
                <a:spLocks noChangeShapeType="1"/>
              </p:cNvSpPr>
              <p:nvPr/>
            </p:nvSpPr>
            <p:spPr bwMode="auto">
              <a:xfrm>
                <a:off x="3583382" y="1803617"/>
                <a:ext cx="3936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80" name="Line 7">
                <a:extLst>
                  <a:ext uri="{FF2B5EF4-FFF2-40B4-BE49-F238E27FC236}">
                    <a16:creationId xmlns:a16="http://schemas.microsoft.com/office/drawing/2014/main" id="{53A7FA92-025E-C95C-5DA1-3C7D45523054}"/>
                  </a:ext>
                </a:extLst>
              </p:cNvPr>
              <p:cNvSpPr>
                <a:spLocks noChangeShapeType="1"/>
              </p:cNvSpPr>
              <p:nvPr/>
            </p:nvSpPr>
            <p:spPr bwMode="auto">
              <a:xfrm>
                <a:off x="3665393" y="1835925"/>
                <a:ext cx="0" cy="58848"/>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81" name="Line 8">
                <a:extLst>
                  <a:ext uri="{FF2B5EF4-FFF2-40B4-BE49-F238E27FC236}">
                    <a16:creationId xmlns:a16="http://schemas.microsoft.com/office/drawing/2014/main" id="{AE4173BF-3DC0-5C82-48B6-F519F63CC8FD}"/>
                  </a:ext>
                </a:extLst>
              </p:cNvPr>
              <p:cNvSpPr>
                <a:spLocks noChangeShapeType="1"/>
              </p:cNvSpPr>
              <p:nvPr/>
            </p:nvSpPr>
            <p:spPr bwMode="auto">
              <a:xfrm>
                <a:off x="3645709" y="1863618"/>
                <a:ext cx="3936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82" name="Line 9">
                <a:extLst>
                  <a:ext uri="{FF2B5EF4-FFF2-40B4-BE49-F238E27FC236}">
                    <a16:creationId xmlns:a16="http://schemas.microsoft.com/office/drawing/2014/main" id="{4E794328-A63A-3645-3B3B-4B4126BE46B8}"/>
                  </a:ext>
                </a:extLst>
              </p:cNvPr>
              <p:cNvSpPr>
                <a:spLocks noChangeShapeType="1"/>
              </p:cNvSpPr>
              <p:nvPr/>
            </p:nvSpPr>
            <p:spPr bwMode="auto">
              <a:xfrm>
                <a:off x="3685075" y="1835925"/>
                <a:ext cx="0" cy="58848"/>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83" name="Line 10">
                <a:extLst>
                  <a:ext uri="{FF2B5EF4-FFF2-40B4-BE49-F238E27FC236}">
                    <a16:creationId xmlns:a16="http://schemas.microsoft.com/office/drawing/2014/main" id="{2E2732A4-9191-2801-7335-EA3CBB60335D}"/>
                  </a:ext>
                </a:extLst>
              </p:cNvPr>
              <p:cNvSpPr>
                <a:spLocks noChangeShapeType="1"/>
              </p:cNvSpPr>
              <p:nvPr/>
            </p:nvSpPr>
            <p:spPr bwMode="auto">
              <a:xfrm>
                <a:off x="3665393" y="1863618"/>
                <a:ext cx="4100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84" name="Line 11">
                <a:extLst>
                  <a:ext uri="{FF2B5EF4-FFF2-40B4-BE49-F238E27FC236}">
                    <a16:creationId xmlns:a16="http://schemas.microsoft.com/office/drawing/2014/main" id="{702491DA-7393-28AC-BB02-3E6FAE728005}"/>
                  </a:ext>
                </a:extLst>
              </p:cNvPr>
              <p:cNvSpPr>
                <a:spLocks noChangeShapeType="1"/>
              </p:cNvSpPr>
              <p:nvPr/>
            </p:nvSpPr>
            <p:spPr bwMode="auto">
              <a:xfrm>
                <a:off x="3860576" y="2026314"/>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85" name="Line 12">
                <a:extLst>
                  <a:ext uri="{FF2B5EF4-FFF2-40B4-BE49-F238E27FC236}">
                    <a16:creationId xmlns:a16="http://schemas.microsoft.com/office/drawing/2014/main" id="{9B1FA627-6F66-5139-8EB8-78E87079DC53}"/>
                  </a:ext>
                </a:extLst>
              </p:cNvPr>
              <p:cNvSpPr>
                <a:spLocks noChangeShapeType="1"/>
              </p:cNvSpPr>
              <p:nvPr/>
            </p:nvSpPr>
            <p:spPr bwMode="auto">
              <a:xfrm>
                <a:off x="3840894" y="2054007"/>
                <a:ext cx="4100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86" name="Line 13">
                <a:extLst>
                  <a:ext uri="{FF2B5EF4-FFF2-40B4-BE49-F238E27FC236}">
                    <a16:creationId xmlns:a16="http://schemas.microsoft.com/office/drawing/2014/main" id="{C5B86ABE-7D80-1EFD-749E-6D8CBE3B8B95}"/>
                  </a:ext>
                </a:extLst>
              </p:cNvPr>
              <p:cNvSpPr>
                <a:spLocks noChangeShapeType="1"/>
              </p:cNvSpPr>
              <p:nvPr/>
            </p:nvSpPr>
            <p:spPr bwMode="auto">
              <a:xfrm>
                <a:off x="4493695" y="2531708"/>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87" name="Line 14">
                <a:extLst>
                  <a:ext uri="{FF2B5EF4-FFF2-40B4-BE49-F238E27FC236}">
                    <a16:creationId xmlns:a16="http://schemas.microsoft.com/office/drawing/2014/main" id="{B6FC8208-C002-75A2-F2D3-09818BBFE6EA}"/>
                  </a:ext>
                </a:extLst>
              </p:cNvPr>
              <p:cNvSpPr>
                <a:spLocks noChangeShapeType="1"/>
              </p:cNvSpPr>
              <p:nvPr/>
            </p:nvSpPr>
            <p:spPr bwMode="auto">
              <a:xfrm>
                <a:off x="4474013" y="2559401"/>
                <a:ext cx="3936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988" name="Group 987">
                <a:extLst>
                  <a:ext uri="{FF2B5EF4-FFF2-40B4-BE49-F238E27FC236}">
                    <a16:creationId xmlns:a16="http://schemas.microsoft.com/office/drawing/2014/main" id="{DED43353-B498-03FA-E8B8-3808935048F7}"/>
                  </a:ext>
                </a:extLst>
              </p:cNvPr>
              <p:cNvGrpSpPr/>
              <p:nvPr/>
            </p:nvGrpSpPr>
            <p:grpSpPr>
              <a:xfrm>
                <a:off x="3599784" y="1803617"/>
                <a:ext cx="4689342" cy="1385796"/>
                <a:chOff x="3599784" y="1803617"/>
                <a:chExt cx="4689342" cy="1385796"/>
              </a:xfrm>
            </p:grpSpPr>
            <p:sp>
              <p:nvSpPr>
                <p:cNvPr id="989" name="Line 17">
                  <a:extLst>
                    <a:ext uri="{FF2B5EF4-FFF2-40B4-BE49-F238E27FC236}">
                      <a16:creationId xmlns:a16="http://schemas.microsoft.com/office/drawing/2014/main" id="{66D09453-B2E8-B91D-62DF-F45F502332D3}"/>
                    </a:ext>
                  </a:extLst>
                </p:cNvPr>
                <p:cNvSpPr>
                  <a:spLocks noChangeShapeType="1"/>
                </p:cNvSpPr>
                <p:nvPr/>
              </p:nvSpPr>
              <p:spPr bwMode="auto">
                <a:xfrm>
                  <a:off x="6551331" y="3048642"/>
                  <a:ext cx="0" cy="57694"/>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91" name="Line 18">
                  <a:extLst>
                    <a:ext uri="{FF2B5EF4-FFF2-40B4-BE49-F238E27FC236}">
                      <a16:creationId xmlns:a16="http://schemas.microsoft.com/office/drawing/2014/main" id="{3042AF22-D22E-3D5B-1611-0330DC68F4E9}"/>
                    </a:ext>
                  </a:extLst>
                </p:cNvPr>
                <p:cNvSpPr>
                  <a:spLocks noChangeShapeType="1"/>
                </p:cNvSpPr>
                <p:nvPr/>
              </p:nvSpPr>
              <p:spPr bwMode="auto">
                <a:xfrm>
                  <a:off x="6531648" y="3076334"/>
                  <a:ext cx="3936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92" name="Line 19">
                  <a:extLst>
                    <a:ext uri="{FF2B5EF4-FFF2-40B4-BE49-F238E27FC236}">
                      <a16:creationId xmlns:a16="http://schemas.microsoft.com/office/drawing/2014/main" id="{9F8889D5-5F18-F31C-5B3E-99E61B20EC81}"/>
                    </a:ext>
                  </a:extLst>
                </p:cNvPr>
                <p:cNvSpPr>
                  <a:spLocks noChangeShapeType="1"/>
                </p:cNvSpPr>
                <p:nvPr/>
              </p:nvSpPr>
              <p:spPr bwMode="auto">
                <a:xfrm>
                  <a:off x="6616939" y="3048642"/>
                  <a:ext cx="0" cy="57694"/>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93" name="Line 20">
                  <a:extLst>
                    <a:ext uri="{FF2B5EF4-FFF2-40B4-BE49-F238E27FC236}">
                      <a16:creationId xmlns:a16="http://schemas.microsoft.com/office/drawing/2014/main" id="{210B256D-BDE0-01BD-2CC2-10CB476A3997}"/>
                    </a:ext>
                  </a:extLst>
                </p:cNvPr>
                <p:cNvSpPr>
                  <a:spLocks noChangeShapeType="1"/>
                </p:cNvSpPr>
                <p:nvPr/>
              </p:nvSpPr>
              <p:spPr bwMode="auto">
                <a:xfrm>
                  <a:off x="6597256" y="3076334"/>
                  <a:ext cx="3936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94" name="Line 21">
                  <a:extLst>
                    <a:ext uri="{FF2B5EF4-FFF2-40B4-BE49-F238E27FC236}">
                      <a16:creationId xmlns:a16="http://schemas.microsoft.com/office/drawing/2014/main" id="{92D8AE60-5C70-CE47-A157-09E438FC27F2}"/>
                    </a:ext>
                  </a:extLst>
                </p:cNvPr>
                <p:cNvSpPr>
                  <a:spLocks noChangeShapeType="1"/>
                </p:cNvSpPr>
                <p:nvPr/>
              </p:nvSpPr>
              <p:spPr bwMode="auto">
                <a:xfrm>
                  <a:off x="6621859" y="3048642"/>
                  <a:ext cx="0" cy="57694"/>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97" name="Line 22">
                  <a:extLst>
                    <a:ext uri="{FF2B5EF4-FFF2-40B4-BE49-F238E27FC236}">
                      <a16:creationId xmlns:a16="http://schemas.microsoft.com/office/drawing/2014/main" id="{8A124129-13BA-4EE1-CB65-C595E14E29DB}"/>
                    </a:ext>
                  </a:extLst>
                </p:cNvPr>
                <p:cNvSpPr>
                  <a:spLocks noChangeShapeType="1"/>
                </p:cNvSpPr>
                <p:nvPr/>
              </p:nvSpPr>
              <p:spPr bwMode="auto">
                <a:xfrm>
                  <a:off x="6602177" y="3076334"/>
                  <a:ext cx="4100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98" name="Line 23">
                  <a:extLst>
                    <a:ext uri="{FF2B5EF4-FFF2-40B4-BE49-F238E27FC236}">
                      <a16:creationId xmlns:a16="http://schemas.microsoft.com/office/drawing/2014/main" id="{EDECEC5F-4469-5063-36DD-E7D47BB40639}"/>
                    </a:ext>
                  </a:extLst>
                </p:cNvPr>
                <p:cNvSpPr>
                  <a:spLocks noChangeShapeType="1"/>
                </p:cNvSpPr>
                <p:nvPr/>
              </p:nvSpPr>
              <p:spPr bwMode="auto">
                <a:xfrm>
                  <a:off x="6648102" y="3048642"/>
                  <a:ext cx="0" cy="57694"/>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99" name="Line 24">
                  <a:extLst>
                    <a:ext uri="{FF2B5EF4-FFF2-40B4-BE49-F238E27FC236}">
                      <a16:creationId xmlns:a16="http://schemas.microsoft.com/office/drawing/2014/main" id="{6E37C607-AA13-63FF-1736-A7AD930FF456}"/>
                    </a:ext>
                  </a:extLst>
                </p:cNvPr>
                <p:cNvSpPr>
                  <a:spLocks noChangeShapeType="1"/>
                </p:cNvSpPr>
                <p:nvPr/>
              </p:nvSpPr>
              <p:spPr bwMode="auto">
                <a:xfrm>
                  <a:off x="6628420" y="3076334"/>
                  <a:ext cx="3936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00" name="Line 25">
                  <a:extLst>
                    <a:ext uri="{FF2B5EF4-FFF2-40B4-BE49-F238E27FC236}">
                      <a16:creationId xmlns:a16="http://schemas.microsoft.com/office/drawing/2014/main" id="{E87E4157-1938-D4ED-1E3B-EFEC600AD0C5}"/>
                    </a:ext>
                  </a:extLst>
                </p:cNvPr>
                <p:cNvSpPr>
                  <a:spLocks noChangeShapeType="1"/>
                </p:cNvSpPr>
                <p:nvPr/>
              </p:nvSpPr>
              <p:spPr bwMode="auto">
                <a:xfrm>
                  <a:off x="6654663" y="3048642"/>
                  <a:ext cx="0" cy="57694"/>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01" name="Line 26">
                  <a:extLst>
                    <a:ext uri="{FF2B5EF4-FFF2-40B4-BE49-F238E27FC236}">
                      <a16:creationId xmlns:a16="http://schemas.microsoft.com/office/drawing/2014/main" id="{BE0D9987-2911-AA97-2426-7B019260D823}"/>
                    </a:ext>
                  </a:extLst>
                </p:cNvPr>
                <p:cNvSpPr>
                  <a:spLocks noChangeShapeType="1"/>
                </p:cNvSpPr>
                <p:nvPr/>
              </p:nvSpPr>
              <p:spPr bwMode="auto">
                <a:xfrm>
                  <a:off x="6634981" y="3076334"/>
                  <a:ext cx="4100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02" name="Line 27">
                  <a:extLst>
                    <a:ext uri="{FF2B5EF4-FFF2-40B4-BE49-F238E27FC236}">
                      <a16:creationId xmlns:a16="http://schemas.microsoft.com/office/drawing/2014/main" id="{F6A643DA-4D1F-D510-0160-1694CE2604AA}"/>
                    </a:ext>
                  </a:extLst>
                </p:cNvPr>
                <p:cNvSpPr>
                  <a:spLocks noChangeShapeType="1"/>
                </p:cNvSpPr>
                <p:nvPr/>
              </p:nvSpPr>
              <p:spPr bwMode="auto">
                <a:xfrm>
                  <a:off x="6661225" y="3085565"/>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03" name="Line 28">
                  <a:extLst>
                    <a:ext uri="{FF2B5EF4-FFF2-40B4-BE49-F238E27FC236}">
                      <a16:creationId xmlns:a16="http://schemas.microsoft.com/office/drawing/2014/main" id="{5D13393E-6672-4330-0C70-C1BE3752A71D}"/>
                    </a:ext>
                  </a:extLst>
                </p:cNvPr>
                <p:cNvSpPr>
                  <a:spLocks noChangeShapeType="1"/>
                </p:cNvSpPr>
                <p:nvPr/>
              </p:nvSpPr>
              <p:spPr bwMode="auto">
                <a:xfrm>
                  <a:off x="6641541" y="3110950"/>
                  <a:ext cx="3936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04" name="Line 29">
                  <a:extLst>
                    <a:ext uri="{FF2B5EF4-FFF2-40B4-BE49-F238E27FC236}">
                      <a16:creationId xmlns:a16="http://schemas.microsoft.com/office/drawing/2014/main" id="{1DD599E6-791D-F489-FAF7-73067B3D0157}"/>
                    </a:ext>
                  </a:extLst>
                </p:cNvPr>
                <p:cNvSpPr>
                  <a:spLocks noChangeShapeType="1"/>
                </p:cNvSpPr>
                <p:nvPr/>
              </p:nvSpPr>
              <p:spPr bwMode="auto">
                <a:xfrm>
                  <a:off x="6667785" y="3085565"/>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05" name="Line 30">
                  <a:extLst>
                    <a:ext uri="{FF2B5EF4-FFF2-40B4-BE49-F238E27FC236}">
                      <a16:creationId xmlns:a16="http://schemas.microsoft.com/office/drawing/2014/main" id="{4B85609F-6F53-67E7-F57F-306D508B4630}"/>
                    </a:ext>
                  </a:extLst>
                </p:cNvPr>
                <p:cNvSpPr>
                  <a:spLocks noChangeShapeType="1"/>
                </p:cNvSpPr>
                <p:nvPr/>
              </p:nvSpPr>
              <p:spPr bwMode="auto">
                <a:xfrm>
                  <a:off x="6648102" y="3110950"/>
                  <a:ext cx="3936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06" name="Line 31">
                  <a:extLst>
                    <a:ext uri="{FF2B5EF4-FFF2-40B4-BE49-F238E27FC236}">
                      <a16:creationId xmlns:a16="http://schemas.microsoft.com/office/drawing/2014/main" id="{A18873BE-1591-D77F-73EA-D1179981BC15}"/>
                    </a:ext>
                  </a:extLst>
                </p:cNvPr>
                <p:cNvSpPr>
                  <a:spLocks noChangeShapeType="1"/>
                </p:cNvSpPr>
                <p:nvPr/>
              </p:nvSpPr>
              <p:spPr bwMode="auto">
                <a:xfrm>
                  <a:off x="6728472" y="3085565"/>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07" name="Line 32">
                  <a:extLst>
                    <a:ext uri="{FF2B5EF4-FFF2-40B4-BE49-F238E27FC236}">
                      <a16:creationId xmlns:a16="http://schemas.microsoft.com/office/drawing/2014/main" id="{1FBA7CCA-1047-875D-F336-48730784E512}"/>
                    </a:ext>
                  </a:extLst>
                </p:cNvPr>
                <p:cNvSpPr>
                  <a:spLocks noChangeShapeType="1"/>
                </p:cNvSpPr>
                <p:nvPr/>
              </p:nvSpPr>
              <p:spPr bwMode="auto">
                <a:xfrm>
                  <a:off x="6708790" y="3110950"/>
                  <a:ext cx="3936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08" name="Line 33">
                  <a:extLst>
                    <a:ext uri="{FF2B5EF4-FFF2-40B4-BE49-F238E27FC236}">
                      <a16:creationId xmlns:a16="http://schemas.microsoft.com/office/drawing/2014/main" id="{0E393392-A6EC-0CA9-3D45-99E197B5D3F4}"/>
                    </a:ext>
                  </a:extLst>
                </p:cNvPr>
                <p:cNvSpPr>
                  <a:spLocks noChangeShapeType="1"/>
                </p:cNvSpPr>
                <p:nvPr/>
              </p:nvSpPr>
              <p:spPr bwMode="auto">
                <a:xfrm>
                  <a:off x="6735033" y="3085565"/>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09" name="Line 34">
                  <a:extLst>
                    <a:ext uri="{FF2B5EF4-FFF2-40B4-BE49-F238E27FC236}">
                      <a16:creationId xmlns:a16="http://schemas.microsoft.com/office/drawing/2014/main" id="{3287C583-654D-EBE7-C613-2A16E9EC6B78}"/>
                    </a:ext>
                  </a:extLst>
                </p:cNvPr>
                <p:cNvSpPr>
                  <a:spLocks noChangeShapeType="1"/>
                </p:cNvSpPr>
                <p:nvPr/>
              </p:nvSpPr>
              <p:spPr bwMode="auto">
                <a:xfrm>
                  <a:off x="6713710" y="3110950"/>
                  <a:ext cx="4100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10" name="Line 35">
                  <a:extLst>
                    <a:ext uri="{FF2B5EF4-FFF2-40B4-BE49-F238E27FC236}">
                      <a16:creationId xmlns:a16="http://schemas.microsoft.com/office/drawing/2014/main" id="{1DD398F4-6A3D-4DB0-2F63-8ED4FE129AF2}"/>
                    </a:ext>
                  </a:extLst>
                </p:cNvPr>
                <p:cNvSpPr>
                  <a:spLocks noChangeShapeType="1"/>
                </p:cNvSpPr>
                <p:nvPr/>
              </p:nvSpPr>
              <p:spPr bwMode="auto">
                <a:xfrm>
                  <a:off x="6741594" y="3085565"/>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11" name="Line 36">
                  <a:extLst>
                    <a:ext uri="{FF2B5EF4-FFF2-40B4-BE49-F238E27FC236}">
                      <a16:creationId xmlns:a16="http://schemas.microsoft.com/office/drawing/2014/main" id="{16C97806-3B02-D3E5-DEDE-5FD5B6C1989F}"/>
                    </a:ext>
                  </a:extLst>
                </p:cNvPr>
                <p:cNvSpPr>
                  <a:spLocks noChangeShapeType="1"/>
                </p:cNvSpPr>
                <p:nvPr/>
              </p:nvSpPr>
              <p:spPr bwMode="auto">
                <a:xfrm>
                  <a:off x="6721912" y="3110950"/>
                  <a:ext cx="3936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12" name="Line 37">
                  <a:extLst>
                    <a:ext uri="{FF2B5EF4-FFF2-40B4-BE49-F238E27FC236}">
                      <a16:creationId xmlns:a16="http://schemas.microsoft.com/office/drawing/2014/main" id="{A2790287-6371-5F89-55C4-69130CE40580}"/>
                    </a:ext>
                  </a:extLst>
                </p:cNvPr>
                <p:cNvSpPr>
                  <a:spLocks noChangeShapeType="1"/>
                </p:cNvSpPr>
                <p:nvPr/>
              </p:nvSpPr>
              <p:spPr bwMode="auto">
                <a:xfrm>
                  <a:off x="6776039" y="3085565"/>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13" name="Line 38">
                  <a:extLst>
                    <a:ext uri="{FF2B5EF4-FFF2-40B4-BE49-F238E27FC236}">
                      <a16:creationId xmlns:a16="http://schemas.microsoft.com/office/drawing/2014/main" id="{7A4B0C1B-13FB-D830-865A-DA0C1E4BC678}"/>
                    </a:ext>
                  </a:extLst>
                </p:cNvPr>
                <p:cNvSpPr>
                  <a:spLocks noChangeShapeType="1"/>
                </p:cNvSpPr>
                <p:nvPr/>
              </p:nvSpPr>
              <p:spPr bwMode="auto">
                <a:xfrm>
                  <a:off x="6754716" y="3110950"/>
                  <a:ext cx="4100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14" name="Line 39">
                  <a:extLst>
                    <a:ext uri="{FF2B5EF4-FFF2-40B4-BE49-F238E27FC236}">
                      <a16:creationId xmlns:a16="http://schemas.microsoft.com/office/drawing/2014/main" id="{A6AEDF1A-41C5-A74B-04CC-1D81D176604C}"/>
                    </a:ext>
                  </a:extLst>
                </p:cNvPr>
                <p:cNvSpPr>
                  <a:spLocks noChangeShapeType="1"/>
                </p:cNvSpPr>
                <p:nvPr/>
              </p:nvSpPr>
              <p:spPr bwMode="auto">
                <a:xfrm>
                  <a:off x="6799001" y="3085565"/>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15" name="Line 40">
                  <a:extLst>
                    <a:ext uri="{FF2B5EF4-FFF2-40B4-BE49-F238E27FC236}">
                      <a16:creationId xmlns:a16="http://schemas.microsoft.com/office/drawing/2014/main" id="{0D6C1871-FC62-DF84-8547-88A701503D7F}"/>
                    </a:ext>
                  </a:extLst>
                </p:cNvPr>
                <p:cNvSpPr>
                  <a:spLocks noChangeShapeType="1"/>
                </p:cNvSpPr>
                <p:nvPr/>
              </p:nvSpPr>
              <p:spPr bwMode="auto">
                <a:xfrm>
                  <a:off x="6779319" y="3110950"/>
                  <a:ext cx="4100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16" name="Line 41">
                  <a:extLst>
                    <a:ext uri="{FF2B5EF4-FFF2-40B4-BE49-F238E27FC236}">
                      <a16:creationId xmlns:a16="http://schemas.microsoft.com/office/drawing/2014/main" id="{26D2A0C7-42FF-9736-4054-0F3A6A2D88CB}"/>
                    </a:ext>
                  </a:extLst>
                </p:cNvPr>
                <p:cNvSpPr>
                  <a:spLocks noChangeShapeType="1"/>
                </p:cNvSpPr>
                <p:nvPr/>
              </p:nvSpPr>
              <p:spPr bwMode="auto">
                <a:xfrm>
                  <a:off x="6846567"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17" name="Line 42">
                  <a:extLst>
                    <a:ext uri="{FF2B5EF4-FFF2-40B4-BE49-F238E27FC236}">
                      <a16:creationId xmlns:a16="http://schemas.microsoft.com/office/drawing/2014/main" id="{798E87FB-750F-66F0-0FEE-6DCB55F8F2D7}"/>
                    </a:ext>
                  </a:extLst>
                </p:cNvPr>
                <p:cNvSpPr>
                  <a:spLocks noChangeShapeType="1"/>
                </p:cNvSpPr>
                <p:nvPr/>
              </p:nvSpPr>
              <p:spPr bwMode="auto">
                <a:xfrm>
                  <a:off x="6826884" y="3161720"/>
                  <a:ext cx="3936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18" name="Line 43">
                  <a:extLst>
                    <a:ext uri="{FF2B5EF4-FFF2-40B4-BE49-F238E27FC236}">
                      <a16:creationId xmlns:a16="http://schemas.microsoft.com/office/drawing/2014/main" id="{74CFBE2C-2549-81D1-D2EB-457B954101AA}"/>
                    </a:ext>
                  </a:extLst>
                </p:cNvPr>
                <p:cNvSpPr>
                  <a:spLocks noChangeShapeType="1"/>
                </p:cNvSpPr>
                <p:nvPr/>
              </p:nvSpPr>
              <p:spPr bwMode="auto">
                <a:xfrm>
                  <a:off x="6866250"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19" name="Line 44">
                  <a:extLst>
                    <a:ext uri="{FF2B5EF4-FFF2-40B4-BE49-F238E27FC236}">
                      <a16:creationId xmlns:a16="http://schemas.microsoft.com/office/drawing/2014/main" id="{95339ACC-C5EE-F6A2-CEEB-27A610FAAD07}"/>
                    </a:ext>
                  </a:extLst>
                </p:cNvPr>
                <p:cNvSpPr>
                  <a:spLocks noChangeShapeType="1"/>
                </p:cNvSpPr>
                <p:nvPr/>
              </p:nvSpPr>
              <p:spPr bwMode="auto">
                <a:xfrm>
                  <a:off x="6846567" y="3161720"/>
                  <a:ext cx="3936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20" name="Line 45">
                  <a:extLst>
                    <a:ext uri="{FF2B5EF4-FFF2-40B4-BE49-F238E27FC236}">
                      <a16:creationId xmlns:a16="http://schemas.microsoft.com/office/drawing/2014/main" id="{AB78883F-B5C7-4271-B9A8-6106BD1BC8B2}"/>
                    </a:ext>
                  </a:extLst>
                </p:cNvPr>
                <p:cNvSpPr>
                  <a:spLocks noChangeShapeType="1"/>
                </p:cNvSpPr>
                <p:nvPr/>
              </p:nvSpPr>
              <p:spPr bwMode="auto">
                <a:xfrm>
                  <a:off x="6872810"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21" name="Line 46">
                  <a:extLst>
                    <a:ext uri="{FF2B5EF4-FFF2-40B4-BE49-F238E27FC236}">
                      <a16:creationId xmlns:a16="http://schemas.microsoft.com/office/drawing/2014/main" id="{6FE9E44C-1769-75F4-7F2F-8C2776FEB05F}"/>
                    </a:ext>
                  </a:extLst>
                </p:cNvPr>
                <p:cNvSpPr>
                  <a:spLocks noChangeShapeType="1"/>
                </p:cNvSpPr>
                <p:nvPr/>
              </p:nvSpPr>
              <p:spPr bwMode="auto">
                <a:xfrm>
                  <a:off x="6853128" y="3161720"/>
                  <a:ext cx="3936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22" name="Line 47">
                  <a:extLst>
                    <a:ext uri="{FF2B5EF4-FFF2-40B4-BE49-F238E27FC236}">
                      <a16:creationId xmlns:a16="http://schemas.microsoft.com/office/drawing/2014/main" id="{9F79E3CA-ABC7-2B19-9343-CA844EEBE82A}"/>
                    </a:ext>
                  </a:extLst>
                </p:cNvPr>
                <p:cNvSpPr>
                  <a:spLocks noChangeShapeType="1"/>
                </p:cNvSpPr>
                <p:nvPr/>
              </p:nvSpPr>
              <p:spPr bwMode="auto">
                <a:xfrm>
                  <a:off x="6877731"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23" name="Line 48">
                  <a:extLst>
                    <a:ext uri="{FF2B5EF4-FFF2-40B4-BE49-F238E27FC236}">
                      <a16:creationId xmlns:a16="http://schemas.microsoft.com/office/drawing/2014/main" id="{6DC07139-1F68-DB0E-674B-6A170A2A13B4}"/>
                    </a:ext>
                  </a:extLst>
                </p:cNvPr>
                <p:cNvSpPr>
                  <a:spLocks noChangeShapeType="1"/>
                </p:cNvSpPr>
                <p:nvPr/>
              </p:nvSpPr>
              <p:spPr bwMode="auto">
                <a:xfrm>
                  <a:off x="6858048" y="3161720"/>
                  <a:ext cx="3936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0" name="Line 49">
                  <a:extLst>
                    <a:ext uri="{FF2B5EF4-FFF2-40B4-BE49-F238E27FC236}">
                      <a16:creationId xmlns:a16="http://schemas.microsoft.com/office/drawing/2014/main" id="{1DB2D171-76AB-252B-15EE-134C93026F56}"/>
                    </a:ext>
                  </a:extLst>
                </p:cNvPr>
                <p:cNvSpPr>
                  <a:spLocks noChangeShapeType="1"/>
                </p:cNvSpPr>
                <p:nvPr/>
              </p:nvSpPr>
              <p:spPr bwMode="auto">
                <a:xfrm>
                  <a:off x="6949900"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1" name="Line 50">
                  <a:extLst>
                    <a:ext uri="{FF2B5EF4-FFF2-40B4-BE49-F238E27FC236}">
                      <a16:creationId xmlns:a16="http://schemas.microsoft.com/office/drawing/2014/main" id="{2C0F6712-0C2D-F0FD-6241-FDD34955BE5C}"/>
                    </a:ext>
                  </a:extLst>
                </p:cNvPr>
                <p:cNvSpPr>
                  <a:spLocks noChangeShapeType="1"/>
                </p:cNvSpPr>
                <p:nvPr/>
              </p:nvSpPr>
              <p:spPr bwMode="auto">
                <a:xfrm>
                  <a:off x="6930217" y="3161720"/>
                  <a:ext cx="4100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2" name="Line 51">
                  <a:extLst>
                    <a:ext uri="{FF2B5EF4-FFF2-40B4-BE49-F238E27FC236}">
                      <a16:creationId xmlns:a16="http://schemas.microsoft.com/office/drawing/2014/main" id="{23BD837D-8ABA-D957-2D6A-5F91C63A179E}"/>
                    </a:ext>
                  </a:extLst>
                </p:cNvPr>
                <p:cNvSpPr>
                  <a:spLocks noChangeShapeType="1"/>
                </p:cNvSpPr>
                <p:nvPr/>
              </p:nvSpPr>
              <p:spPr bwMode="auto">
                <a:xfrm>
                  <a:off x="6974503"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3" name="Line 52">
                  <a:extLst>
                    <a:ext uri="{FF2B5EF4-FFF2-40B4-BE49-F238E27FC236}">
                      <a16:creationId xmlns:a16="http://schemas.microsoft.com/office/drawing/2014/main" id="{FF946230-F130-0CB2-938C-59E97CA4E3DF}"/>
                    </a:ext>
                  </a:extLst>
                </p:cNvPr>
                <p:cNvSpPr>
                  <a:spLocks noChangeShapeType="1"/>
                </p:cNvSpPr>
                <p:nvPr/>
              </p:nvSpPr>
              <p:spPr bwMode="auto">
                <a:xfrm>
                  <a:off x="6954821" y="3161720"/>
                  <a:ext cx="3936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4" name="Line 53">
                  <a:extLst>
                    <a:ext uri="{FF2B5EF4-FFF2-40B4-BE49-F238E27FC236}">
                      <a16:creationId xmlns:a16="http://schemas.microsoft.com/office/drawing/2014/main" id="{35D77844-2F08-EE0F-D772-6865E96454B5}"/>
                    </a:ext>
                  </a:extLst>
                </p:cNvPr>
                <p:cNvSpPr>
                  <a:spLocks noChangeShapeType="1"/>
                </p:cNvSpPr>
                <p:nvPr/>
              </p:nvSpPr>
              <p:spPr bwMode="auto">
                <a:xfrm>
                  <a:off x="7007307"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5" name="Line 54">
                  <a:extLst>
                    <a:ext uri="{FF2B5EF4-FFF2-40B4-BE49-F238E27FC236}">
                      <a16:creationId xmlns:a16="http://schemas.microsoft.com/office/drawing/2014/main" id="{32AC65A3-BF11-146A-EE56-5B2F3A2CE363}"/>
                    </a:ext>
                  </a:extLst>
                </p:cNvPr>
                <p:cNvSpPr>
                  <a:spLocks noChangeShapeType="1"/>
                </p:cNvSpPr>
                <p:nvPr/>
              </p:nvSpPr>
              <p:spPr bwMode="auto">
                <a:xfrm>
                  <a:off x="6987625" y="3161720"/>
                  <a:ext cx="4100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6" name="Line 55">
                  <a:extLst>
                    <a:ext uri="{FF2B5EF4-FFF2-40B4-BE49-F238E27FC236}">
                      <a16:creationId xmlns:a16="http://schemas.microsoft.com/office/drawing/2014/main" id="{62BDF159-AA43-4A41-E77F-A99906FFB099}"/>
                    </a:ext>
                  </a:extLst>
                </p:cNvPr>
                <p:cNvSpPr>
                  <a:spLocks noChangeShapeType="1"/>
                </p:cNvSpPr>
                <p:nvPr/>
              </p:nvSpPr>
              <p:spPr bwMode="auto">
                <a:xfrm>
                  <a:off x="7015508"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7" name="Line 56">
                  <a:extLst>
                    <a:ext uri="{FF2B5EF4-FFF2-40B4-BE49-F238E27FC236}">
                      <a16:creationId xmlns:a16="http://schemas.microsoft.com/office/drawing/2014/main" id="{D16A581C-59B1-4B85-D282-44A0303B416A}"/>
                    </a:ext>
                  </a:extLst>
                </p:cNvPr>
                <p:cNvSpPr>
                  <a:spLocks noChangeShapeType="1"/>
                </p:cNvSpPr>
                <p:nvPr/>
              </p:nvSpPr>
              <p:spPr bwMode="auto">
                <a:xfrm>
                  <a:off x="6995826" y="3161720"/>
                  <a:ext cx="3936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8" name="Line 57">
                  <a:extLst>
                    <a:ext uri="{FF2B5EF4-FFF2-40B4-BE49-F238E27FC236}">
                      <a16:creationId xmlns:a16="http://schemas.microsoft.com/office/drawing/2014/main" id="{9E3A9802-3247-A5C2-E64F-0E3A2577254D}"/>
                    </a:ext>
                  </a:extLst>
                </p:cNvPr>
                <p:cNvSpPr>
                  <a:spLocks noChangeShapeType="1"/>
                </p:cNvSpPr>
                <p:nvPr/>
              </p:nvSpPr>
              <p:spPr bwMode="auto">
                <a:xfrm>
                  <a:off x="7035190"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9" name="Line 58">
                  <a:extLst>
                    <a:ext uri="{FF2B5EF4-FFF2-40B4-BE49-F238E27FC236}">
                      <a16:creationId xmlns:a16="http://schemas.microsoft.com/office/drawing/2014/main" id="{E284308C-73EF-C710-DDCA-9911211473A6}"/>
                    </a:ext>
                  </a:extLst>
                </p:cNvPr>
                <p:cNvSpPr>
                  <a:spLocks noChangeShapeType="1"/>
                </p:cNvSpPr>
                <p:nvPr/>
              </p:nvSpPr>
              <p:spPr bwMode="auto">
                <a:xfrm>
                  <a:off x="7015508" y="3161720"/>
                  <a:ext cx="4100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0" name="Line 59">
                  <a:extLst>
                    <a:ext uri="{FF2B5EF4-FFF2-40B4-BE49-F238E27FC236}">
                      <a16:creationId xmlns:a16="http://schemas.microsoft.com/office/drawing/2014/main" id="{5636BB52-5BDB-5088-F847-A12263FA0D42}"/>
                    </a:ext>
                  </a:extLst>
                </p:cNvPr>
                <p:cNvSpPr>
                  <a:spLocks noChangeShapeType="1"/>
                </p:cNvSpPr>
                <p:nvPr/>
              </p:nvSpPr>
              <p:spPr bwMode="auto">
                <a:xfrm>
                  <a:off x="7090137"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1" name="Line 60">
                  <a:extLst>
                    <a:ext uri="{FF2B5EF4-FFF2-40B4-BE49-F238E27FC236}">
                      <a16:creationId xmlns:a16="http://schemas.microsoft.com/office/drawing/2014/main" id="{6F689523-DE91-D1F0-96D0-93AAE4680188}"/>
                    </a:ext>
                  </a:extLst>
                </p:cNvPr>
                <p:cNvSpPr>
                  <a:spLocks noChangeShapeType="1"/>
                </p:cNvSpPr>
                <p:nvPr/>
              </p:nvSpPr>
              <p:spPr bwMode="auto">
                <a:xfrm>
                  <a:off x="7067995" y="3161720"/>
                  <a:ext cx="4182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2" name="Line 61">
                  <a:extLst>
                    <a:ext uri="{FF2B5EF4-FFF2-40B4-BE49-F238E27FC236}">
                      <a16:creationId xmlns:a16="http://schemas.microsoft.com/office/drawing/2014/main" id="{58BE7DB3-6061-C8BE-F531-E0C57125B6FC}"/>
                    </a:ext>
                  </a:extLst>
                </p:cNvPr>
                <p:cNvSpPr>
                  <a:spLocks noChangeShapeType="1"/>
                </p:cNvSpPr>
                <p:nvPr/>
              </p:nvSpPr>
              <p:spPr bwMode="auto">
                <a:xfrm>
                  <a:off x="7132782"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3" name="Line 62">
                  <a:extLst>
                    <a:ext uri="{FF2B5EF4-FFF2-40B4-BE49-F238E27FC236}">
                      <a16:creationId xmlns:a16="http://schemas.microsoft.com/office/drawing/2014/main" id="{7B1F7DBF-8CA7-5554-4553-5829555C5E12}"/>
                    </a:ext>
                  </a:extLst>
                </p:cNvPr>
                <p:cNvSpPr>
                  <a:spLocks noChangeShapeType="1"/>
                </p:cNvSpPr>
                <p:nvPr/>
              </p:nvSpPr>
              <p:spPr bwMode="auto">
                <a:xfrm>
                  <a:off x="7113100" y="3161720"/>
                  <a:ext cx="3936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4" name="Line 63">
                  <a:extLst>
                    <a:ext uri="{FF2B5EF4-FFF2-40B4-BE49-F238E27FC236}">
                      <a16:creationId xmlns:a16="http://schemas.microsoft.com/office/drawing/2014/main" id="{3B5A99B1-D393-F63F-F154-52F7F67D5854}"/>
                    </a:ext>
                  </a:extLst>
                </p:cNvPr>
                <p:cNvSpPr>
                  <a:spLocks noChangeShapeType="1"/>
                </p:cNvSpPr>
                <p:nvPr/>
              </p:nvSpPr>
              <p:spPr bwMode="auto">
                <a:xfrm>
                  <a:off x="7142623"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5" name="Line 64">
                  <a:extLst>
                    <a:ext uri="{FF2B5EF4-FFF2-40B4-BE49-F238E27FC236}">
                      <a16:creationId xmlns:a16="http://schemas.microsoft.com/office/drawing/2014/main" id="{84B9B42A-E272-C66C-C846-C0F31D468975}"/>
                    </a:ext>
                  </a:extLst>
                </p:cNvPr>
                <p:cNvSpPr>
                  <a:spLocks noChangeShapeType="1"/>
                </p:cNvSpPr>
                <p:nvPr/>
              </p:nvSpPr>
              <p:spPr bwMode="auto">
                <a:xfrm>
                  <a:off x="7121301" y="3161720"/>
                  <a:ext cx="4100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6" name="Line 65">
                  <a:extLst>
                    <a:ext uri="{FF2B5EF4-FFF2-40B4-BE49-F238E27FC236}">
                      <a16:creationId xmlns:a16="http://schemas.microsoft.com/office/drawing/2014/main" id="{7962E0E0-DA6B-DDA4-282D-ED887DAC54C4}"/>
                    </a:ext>
                  </a:extLst>
                </p:cNvPr>
                <p:cNvSpPr>
                  <a:spLocks noChangeShapeType="1"/>
                </p:cNvSpPr>
                <p:nvPr/>
              </p:nvSpPr>
              <p:spPr bwMode="auto">
                <a:xfrm>
                  <a:off x="7226274"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7" name="Line 66">
                  <a:extLst>
                    <a:ext uri="{FF2B5EF4-FFF2-40B4-BE49-F238E27FC236}">
                      <a16:creationId xmlns:a16="http://schemas.microsoft.com/office/drawing/2014/main" id="{C83E33A3-D0EC-06E4-463A-DB86671ADA70}"/>
                    </a:ext>
                  </a:extLst>
                </p:cNvPr>
                <p:cNvSpPr>
                  <a:spLocks noChangeShapeType="1"/>
                </p:cNvSpPr>
                <p:nvPr/>
              </p:nvSpPr>
              <p:spPr bwMode="auto">
                <a:xfrm>
                  <a:off x="7206591" y="3161720"/>
                  <a:ext cx="4100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8" name="Line 67">
                  <a:extLst>
                    <a:ext uri="{FF2B5EF4-FFF2-40B4-BE49-F238E27FC236}">
                      <a16:creationId xmlns:a16="http://schemas.microsoft.com/office/drawing/2014/main" id="{DD3335EC-B08E-9B8B-8604-556EDF27678E}"/>
                    </a:ext>
                  </a:extLst>
                </p:cNvPr>
                <p:cNvSpPr>
                  <a:spLocks noChangeShapeType="1"/>
                </p:cNvSpPr>
                <p:nvPr/>
              </p:nvSpPr>
              <p:spPr bwMode="auto">
                <a:xfrm>
                  <a:off x="7300083"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9" name="Line 68">
                  <a:extLst>
                    <a:ext uri="{FF2B5EF4-FFF2-40B4-BE49-F238E27FC236}">
                      <a16:creationId xmlns:a16="http://schemas.microsoft.com/office/drawing/2014/main" id="{7AD652D9-1201-655E-77BB-88513655A5A7}"/>
                    </a:ext>
                  </a:extLst>
                </p:cNvPr>
                <p:cNvSpPr>
                  <a:spLocks noChangeShapeType="1"/>
                </p:cNvSpPr>
                <p:nvPr/>
              </p:nvSpPr>
              <p:spPr bwMode="auto">
                <a:xfrm>
                  <a:off x="7280401" y="3161720"/>
                  <a:ext cx="4100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4" name="Line 69">
                  <a:extLst>
                    <a:ext uri="{FF2B5EF4-FFF2-40B4-BE49-F238E27FC236}">
                      <a16:creationId xmlns:a16="http://schemas.microsoft.com/office/drawing/2014/main" id="{F64D3E46-3116-979B-7361-02ED55AE1744}"/>
                    </a:ext>
                  </a:extLst>
                </p:cNvPr>
                <p:cNvSpPr>
                  <a:spLocks noChangeShapeType="1"/>
                </p:cNvSpPr>
                <p:nvPr/>
              </p:nvSpPr>
              <p:spPr bwMode="auto">
                <a:xfrm>
                  <a:off x="7408337"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8" name="Line 70">
                  <a:extLst>
                    <a:ext uri="{FF2B5EF4-FFF2-40B4-BE49-F238E27FC236}">
                      <a16:creationId xmlns:a16="http://schemas.microsoft.com/office/drawing/2014/main" id="{4EFBFBA4-3AB3-0FD8-B5AA-29E38E326E32}"/>
                    </a:ext>
                  </a:extLst>
                </p:cNvPr>
                <p:cNvSpPr>
                  <a:spLocks noChangeShapeType="1"/>
                </p:cNvSpPr>
                <p:nvPr/>
              </p:nvSpPr>
              <p:spPr bwMode="auto">
                <a:xfrm>
                  <a:off x="7388654" y="3161720"/>
                  <a:ext cx="3936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9" name="Line 71">
                  <a:extLst>
                    <a:ext uri="{FF2B5EF4-FFF2-40B4-BE49-F238E27FC236}">
                      <a16:creationId xmlns:a16="http://schemas.microsoft.com/office/drawing/2014/main" id="{FA103860-F136-6F49-F974-01C8001D1F54}"/>
                    </a:ext>
                  </a:extLst>
                </p:cNvPr>
                <p:cNvSpPr>
                  <a:spLocks noChangeShapeType="1"/>
                </p:cNvSpPr>
                <p:nvPr/>
              </p:nvSpPr>
              <p:spPr bwMode="auto">
                <a:xfrm>
                  <a:off x="7487066"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0" name="Line 72">
                  <a:extLst>
                    <a:ext uri="{FF2B5EF4-FFF2-40B4-BE49-F238E27FC236}">
                      <a16:creationId xmlns:a16="http://schemas.microsoft.com/office/drawing/2014/main" id="{5EB6E58C-7431-DE39-7994-77034F4178A9}"/>
                    </a:ext>
                  </a:extLst>
                </p:cNvPr>
                <p:cNvSpPr>
                  <a:spLocks noChangeShapeType="1"/>
                </p:cNvSpPr>
                <p:nvPr/>
              </p:nvSpPr>
              <p:spPr bwMode="auto">
                <a:xfrm>
                  <a:off x="7467384" y="3161720"/>
                  <a:ext cx="3936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1" name="Line 73">
                  <a:extLst>
                    <a:ext uri="{FF2B5EF4-FFF2-40B4-BE49-F238E27FC236}">
                      <a16:creationId xmlns:a16="http://schemas.microsoft.com/office/drawing/2014/main" id="{29C2BE5F-85A9-0760-50DB-F053FA2FFEAB}"/>
                    </a:ext>
                  </a:extLst>
                </p:cNvPr>
                <p:cNvSpPr>
                  <a:spLocks noChangeShapeType="1"/>
                </p:cNvSpPr>
                <p:nvPr/>
              </p:nvSpPr>
              <p:spPr bwMode="auto">
                <a:xfrm>
                  <a:off x="7518231"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2" name="Line 74">
                  <a:extLst>
                    <a:ext uri="{FF2B5EF4-FFF2-40B4-BE49-F238E27FC236}">
                      <a16:creationId xmlns:a16="http://schemas.microsoft.com/office/drawing/2014/main" id="{99BA2A99-8F8F-0E21-BAE2-4E1C88252267}"/>
                    </a:ext>
                  </a:extLst>
                </p:cNvPr>
                <p:cNvSpPr>
                  <a:spLocks noChangeShapeType="1"/>
                </p:cNvSpPr>
                <p:nvPr/>
              </p:nvSpPr>
              <p:spPr bwMode="auto">
                <a:xfrm>
                  <a:off x="7498547" y="3161720"/>
                  <a:ext cx="3936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3" name="Line 75">
                  <a:extLst>
                    <a:ext uri="{FF2B5EF4-FFF2-40B4-BE49-F238E27FC236}">
                      <a16:creationId xmlns:a16="http://schemas.microsoft.com/office/drawing/2014/main" id="{796745C2-BC51-B5A6-08A2-CDB7A4C1A6DC}"/>
                    </a:ext>
                  </a:extLst>
                </p:cNvPr>
                <p:cNvSpPr>
                  <a:spLocks noChangeShapeType="1"/>
                </p:cNvSpPr>
                <p:nvPr/>
              </p:nvSpPr>
              <p:spPr bwMode="auto">
                <a:xfrm>
                  <a:off x="7595320"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4" name="Line 76">
                  <a:extLst>
                    <a:ext uri="{FF2B5EF4-FFF2-40B4-BE49-F238E27FC236}">
                      <a16:creationId xmlns:a16="http://schemas.microsoft.com/office/drawing/2014/main" id="{E2123C76-B8E2-F89F-CC69-A849B61A2F5C}"/>
                    </a:ext>
                  </a:extLst>
                </p:cNvPr>
                <p:cNvSpPr>
                  <a:spLocks noChangeShapeType="1"/>
                </p:cNvSpPr>
                <p:nvPr/>
              </p:nvSpPr>
              <p:spPr bwMode="auto">
                <a:xfrm>
                  <a:off x="7575638" y="3161720"/>
                  <a:ext cx="3936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5" name="Line 77">
                  <a:extLst>
                    <a:ext uri="{FF2B5EF4-FFF2-40B4-BE49-F238E27FC236}">
                      <a16:creationId xmlns:a16="http://schemas.microsoft.com/office/drawing/2014/main" id="{7F346879-2866-99F9-62A9-A7230AA3C76D}"/>
                    </a:ext>
                  </a:extLst>
                </p:cNvPr>
                <p:cNvSpPr>
                  <a:spLocks noChangeShapeType="1"/>
                </p:cNvSpPr>
                <p:nvPr/>
              </p:nvSpPr>
              <p:spPr bwMode="auto">
                <a:xfrm>
                  <a:off x="7606801"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6" name="Line 78">
                  <a:extLst>
                    <a:ext uri="{FF2B5EF4-FFF2-40B4-BE49-F238E27FC236}">
                      <a16:creationId xmlns:a16="http://schemas.microsoft.com/office/drawing/2014/main" id="{E15E5608-5E71-3AFF-5085-55486F56DF0B}"/>
                    </a:ext>
                  </a:extLst>
                </p:cNvPr>
                <p:cNvSpPr>
                  <a:spLocks noChangeShapeType="1"/>
                </p:cNvSpPr>
                <p:nvPr/>
              </p:nvSpPr>
              <p:spPr bwMode="auto">
                <a:xfrm>
                  <a:off x="7587119" y="3161720"/>
                  <a:ext cx="4100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7" name="Line 79">
                  <a:extLst>
                    <a:ext uri="{FF2B5EF4-FFF2-40B4-BE49-F238E27FC236}">
                      <a16:creationId xmlns:a16="http://schemas.microsoft.com/office/drawing/2014/main" id="{71AC6F83-F39F-6F08-3475-3BDDC528AC1A}"/>
                    </a:ext>
                  </a:extLst>
                </p:cNvPr>
                <p:cNvSpPr>
                  <a:spLocks noChangeShapeType="1"/>
                </p:cNvSpPr>
                <p:nvPr/>
              </p:nvSpPr>
              <p:spPr bwMode="auto">
                <a:xfrm>
                  <a:off x="7854472"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8" name="Line 80">
                  <a:extLst>
                    <a:ext uri="{FF2B5EF4-FFF2-40B4-BE49-F238E27FC236}">
                      <a16:creationId xmlns:a16="http://schemas.microsoft.com/office/drawing/2014/main" id="{D6C53159-BB30-4E64-A8D8-59A039F06BB4}"/>
                    </a:ext>
                  </a:extLst>
                </p:cNvPr>
                <p:cNvSpPr>
                  <a:spLocks noChangeShapeType="1"/>
                </p:cNvSpPr>
                <p:nvPr/>
              </p:nvSpPr>
              <p:spPr bwMode="auto">
                <a:xfrm>
                  <a:off x="7834789" y="3161720"/>
                  <a:ext cx="3936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1" name="Line 81">
                  <a:extLst>
                    <a:ext uri="{FF2B5EF4-FFF2-40B4-BE49-F238E27FC236}">
                      <a16:creationId xmlns:a16="http://schemas.microsoft.com/office/drawing/2014/main" id="{67582A39-DFAE-2850-3910-D6642232E75D}"/>
                    </a:ext>
                  </a:extLst>
                </p:cNvPr>
                <p:cNvSpPr>
                  <a:spLocks noChangeShapeType="1"/>
                </p:cNvSpPr>
                <p:nvPr/>
              </p:nvSpPr>
              <p:spPr bwMode="auto">
                <a:xfrm>
                  <a:off x="7870873"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2" name="Line 82">
                  <a:extLst>
                    <a:ext uri="{FF2B5EF4-FFF2-40B4-BE49-F238E27FC236}">
                      <a16:creationId xmlns:a16="http://schemas.microsoft.com/office/drawing/2014/main" id="{6215E93C-5718-C91D-B357-59517036793B}"/>
                    </a:ext>
                  </a:extLst>
                </p:cNvPr>
                <p:cNvSpPr>
                  <a:spLocks noChangeShapeType="1"/>
                </p:cNvSpPr>
                <p:nvPr/>
              </p:nvSpPr>
              <p:spPr bwMode="auto">
                <a:xfrm>
                  <a:off x="7851191" y="3161720"/>
                  <a:ext cx="3936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3" name="Line 83">
                  <a:extLst>
                    <a:ext uri="{FF2B5EF4-FFF2-40B4-BE49-F238E27FC236}">
                      <a16:creationId xmlns:a16="http://schemas.microsoft.com/office/drawing/2014/main" id="{8F836C91-EE71-4BD8-4BAB-430432729171}"/>
                    </a:ext>
                  </a:extLst>
                </p:cNvPr>
                <p:cNvSpPr>
                  <a:spLocks noChangeShapeType="1"/>
                </p:cNvSpPr>
                <p:nvPr/>
              </p:nvSpPr>
              <p:spPr bwMode="auto">
                <a:xfrm>
                  <a:off x="7882356"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5" name="Line 84">
                  <a:extLst>
                    <a:ext uri="{FF2B5EF4-FFF2-40B4-BE49-F238E27FC236}">
                      <a16:creationId xmlns:a16="http://schemas.microsoft.com/office/drawing/2014/main" id="{51C50F36-0A74-E564-D020-C280A60FC62A}"/>
                    </a:ext>
                  </a:extLst>
                </p:cNvPr>
                <p:cNvSpPr>
                  <a:spLocks noChangeShapeType="1"/>
                </p:cNvSpPr>
                <p:nvPr/>
              </p:nvSpPr>
              <p:spPr bwMode="auto">
                <a:xfrm>
                  <a:off x="7862673" y="3161720"/>
                  <a:ext cx="4100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9" name="Line 85">
                  <a:extLst>
                    <a:ext uri="{FF2B5EF4-FFF2-40B4-BE49-F238E27FC236}">
                      <a16:creationId xmlns:a16="http://schemas.microsoft.com/office/drawing/2014/main" id="{2588C0A7-44AA-9AE4-5A09-63A2AE5010CF}"/>
                    </a:ext>
                  </a:extLst>
                </p:cNvPr>
                <p:cNvSpPr>
                  <a:spLocks noChangeShapeType="1"/>
                </p:cNvSpPr>
                <p:nvPr/>
              </p:nvSpPr>
              <p:spPr bwMode="auto">
                <a:xfrm>
                  <a:off x="7911879"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2" name="Line 86">
                  <a:extLst>
                    <a:ext uri="{FF2B5EF4-FFF2-40B4-BE49-F238E27FC236}">
                      <a16:creationId xmlns:a16="http://schemas.microsoft.com/office/drawing/2014/main" id="{8714947E-680C-3F85-C906-4B24EF33D7DC}"/>
                    </a:ext>
                  </a:extLst>
                </p:cNvPr>
                <p:cNvSpPr>
                  <a:spLocks noChangeShapeType="1"/>
                </p:cNvSpPr>
                <p:nvPr/>
              </p:nvSpPr>
              <p:spPr bwMode="auto">
                <a:xfrm>
                  <a:off x="7892196" y="3161720"/>
                  <a:ext cx="4100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4" name="Line 87">
                  <a:extLst>
                    <a:ext uri="{FF2B5EF4-FFF2-40B4-BE49-F238E27FC236}">
                      <a16:creationId xmlns:a16="http://schemas.microsoft.com/office/drawing/2014/main" id="{495E190D-F712-D7A3-7D6A-1C194C3409F5}"/>
                    </a:ext>
                  </a:extLst>
                </p:cNvPr>
                <p:cNvSpPr>
                  <a:spLocks noChangeShapeType="1"/>
                </p:cNvSpPr>
                <p:nvPr/>
              </p:nvSpPr>
              <p:spPr bwMode="auto">
                <a:xfrm>
                  <a:off x="7944683"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5" name="Line 88">
                  <a:extLst>
                    <a:ext uri="{FF2B5EF4-FFF2-40B4-BE49-F238E27FC236}">
                      <a16:creationId xmlns:a16="http://schemas.microsoft.com/office/drawing/2014/main" id="{16F4CC15-449C-EDF6-39CD-5BFBD2DFA7D1}"/>
                    </a:ext>
                  </a:extLst>
                </p:cNvPr>
                <p:cNvSpPr>
                  <a:spLocks noChangeShapeType="1"/>
                </p:cNvSpPr>
                <p:nvPr/>
              </p:nvSpPr>
              <p:spPr bwMode="auto">
                <a:xfrm>
                  <a:off x="7925001" y="3161720"/>
                  <a:ext cx="3936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6" name="Line 89">
                  <a:extLst>
                    <a:ext uri="{FF2B5EF4-FFF2-40B4-BE49-F238E27FC236}">
                      <a16:creationId xmlns:a16="http://schemas.microsoft.com/office/drawing/2014/main" id="{780A2114-6159-0B9E-4A63-851C72E4AC6B}"/>
                    </a:ext>
                  </a:extLst>
                </p:cNvPr>
                <p:cNvSpPr>
                  <a:spLocks noChangeShapeType="1"/>
                </p:cNvSpPr>
                <p:nvPr/>
              </p:nvSpPr>
              <p:spPr bwMode="auto">
                <a:xfrm>
                  <a:off x="7949603"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7" name="Line 90">
                  <a:extLst>
                    <a:ext uri="{FF2B5EF4-FFF2-40B4-BE49-F238E27FC236}">
                      <a16:creationId xmlns:a16="http://schemas.microsoft.com/office/drawing/2014/main" id="{29CEA3D2-97CD-D576-F92E-C6EF97D01AFB}"/>
                    </a:ext>
                  </a:extLst>
                </p:cNvPr>
                <p:cNvSpPr>
                  <a:spLocks noChangeShapeType="1"/>
                </p:cNvSpPr>
                <p:nvPr/>
              </p:nvSpPr>
              <p:spPr bwMode="auto">
                <a:xfrm>
                  <a:off x="7929921" y="3161720"/>
                  <a:ext cx="3936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8" name="Line 91">
                  <a:extLst>
                    <a:ext uri="{FF2B5EF4-FFF2-40B4-BE49-F238E27FC236}">
                      <a16:creationId xmlns:a16="http://schemas.microsoft.com/office/drawing/2014/main" id="{4A209888-4857-7780-303F-3E64C8793BB2}"/>
                    </a:ext>
                  </a:extLst>
                </p:cNvPr>
                <p:cNvSpPr>
                  <a:spLocks noChangeShapeType="1"/>
                </p:cNvSpPr>
                <p:nvPr/>
              </p:nvSpPr>
              <p:spPr bwMode="auto">
                <a:xfrm>
                  <a:off x="8033254"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9" name="Line 92">
                  <a:extLst>
                    <a:ext uri="{FF2B5EF4-FFF2-40B4-BE49-F238E27FC236}">
                      <a16:creationId xmlns:a16="http://schemas.microsoft.com/office/drawing/2014/main" id="{1F640A37-92AD-CEF1-0806-C15E94E6D422}"/>
                    </a:ext>
                  </a:extLst>
                </p:cNvPr>
                <p:cNvSpPr>
                  <a:spLocks noChangeShapeType="1"/>
                </p:cNvSpPr>
                <p:nvPr/>
              </p:nvSpPr>
              <p:spPr bwMode="auto">
                <a:xfrm>
                  <a:off x="8013572" y="3161720"/>
                  <a:ext cx="3936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0" name="Line 93">
                  <a:extLst>
                    <a:ext uri="{FF2B5EF4-FFF2-40B4-BE49-F238E27FC236}">
                      <a16:creationId xmlns:a16="http://schemas.microsoft.com/office/drawing/2014/main" id="{8F2AB4DF-A541-3EEE-050A-53094FA0AB03}"/>
                    </a:ext>
                  </a:extLst>
                </p:cNvPr>
                <p:cNvSpPr>
                  <a:spLocks noChangeShapeType="1"/>
                </p:cNvSpPr>
                <p:nvPr/>
              </p:nvSpPr>
              <p:spPr bwMode="auto">
                <a:xfrm>
                  <a:off x="8046376"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1" name="Line 94">
                  <a:extLst>
                    <a:ext uri="{FF2B5EF4-FFF2-40B4-BE49-F238E27FC236}">
                      <a16:creationId xmlns:a16="http://schemas.microsoft.com/office/drawing/2014/main" id="{FF12CB88-B9EC-740A-8D4C-F713E95DD956}"/>
                    </a:ext>
                  </a:extLst>
                </p:cNvPr>
                <p:cNvSpPr>
                  <a:spLocks noChangeShapeType="1"/>
                </p:cNvSpPr>
                <p:nvPr/>
              </p:nvSpPr>
              <p:spPr bwMode="auto">
                <a:xfrm>
                  <a:off x="8026694" y="3161720"/>
                  <a:ext cx="3936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2" name="Line 95">
                  <a:extLst>
                    <a:ext uri="{FF2B5EF4-FFF2-40B4-BE49-F238E27FC236}">
                      <a16:creationId xmlns:a16="http://schemas.microsoft.com/office/drawing/2014/main" id="{2F521033-DA5B-4241-7E85-347B071A028B}"/>
                    </a:ext>
                  </a:extLst>
                </p:cNvPr>
                <p:cNvSpPr>
                  <a:spLocks noChangeShapeType="1"/>
                </p:cNvSpPr>
                <p:nvPr/>
              </p:nvSpPr>
              <p:spPr bwMode="auto">
                <a:xfrm>
                  <a:off x="8166110"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3" name="Line 96">
                  <a:extLst>
                    <a:ext uri="{FF2B5EF4-FFF2-40B4-BE49-F238E27FC236}">
                      <a16:creationId xmlns:a16="http://schemas.microsoft.com/office/drawing/2014/main" id="{97B78D67-192A-A604-69A2-612E021C46F2}"/>
                    </a:ext>
                  </a:extLst>
                </p:cNvPr>
                <p:cNvSpPr>
                  <a:spLocks noChangeShapeType="1"/>
                </p:cNvSpPr>
                <p:nvPr/>
              </p:nvSpPr>
              <p:spPr bwMode="auto">
                <a:xfrm>
                  <a:off x="8146428" y="3161720"/>
                  <a:ext cx="3936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4" name="Line 97">
                  <a:extLst>
                    <a:ext uri="{FF2B5EF4-FFF2-40B4-BE49-F238E27FC236}">
                      <a16:creationId xmlns:a16="http://schemas.microsoft.com/office/drawing/2014/main" id="{3FF8EDE7-F5A0-C884-60C1-B1E86FA12D51}"/>
                    </a:ext>
                  </a:extLst>
                </p:cNvPr>
                <p:cNvSpPr>
                  <a:spLocks noChangeShapeType="1"/>
                </p:cNvSpPr>
                <p:nvPr/>
              </p:nvSpPr>
              <p:spPr bwMode="auto">
                <a:xfrm>
                  <a:off x="8269444"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5" name="Line 98">
                  <a:extLst>
                    <a:ext uri="{FF2B5EF4-FFF2-40B4-BE49-F238E27FC236}">
                      <a16:creationId xmlns:a16="http://schemas.microsoft.com/office/drawing/2014/main" id="{9743BB01-8A00-7BA4-98C7-D0D0105E1040}"/>
                    </a:ext>
                  </a:extLst>
                </p:cNvPr>
                <p:cNvSpPr>
                  <a:spLocks noChangeShapeType="1"/>
                </p:cNvSpPr>
                <p:nvPr/>
              </p:nvSpPr>
              <p:spPr bwMode="auto">
                <a:xfrm>
                  <a:off x="8248121" y="3161720"/>
                  <a:ext cx="4100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6" name="Freeform 99">
                  <a:extLst>
                    <a:ext uri="{FF2B5EF4-FFF2-40B4-BE49-F238E27FC236}">
                      <a16:creationId xmlns:a16="http://schemas.microsoft.com/office/drawing/2014/main" id="{2D71168B-F06B-5F95-E832-B20B4C88B829}"/>
                    </a:ext>
                  </a:extLst>
                </p:cNvPr>
                <p:cNvSpPr>
                  <a:spLocks/>
                </p:cNvSpPr>
                <p:nvPr/>
              </p:nvSpPr>
              <p:spPr bwMode="auto">
                <a:xfrm>
                  <a:off x="3599784" y="1803617"/>
                  <a:ext cx="4669659" cy="1358103"/>
                </a:xfrm>
                <a:custGeom>
                  <a:avLst/>
                  <a:gdLst>
                    <a:gd name="T0" fmla="*/ 78 w 5694"/>
                    <a:gd name="T1" fmla="*/ 0 h 1177"/>
                    <a:gd name="T2" fmla="*/ 88 w 5694"/>
                    <a:gd name="T3" fmla="*/ 26 h 1177"/>
                    <a:gd name="T4" fmla="*/ 132 w 5694"/>
                    <a:gd name="T5" fmla="*/ 54 h 1177"/>
                    <a:gd name="T6" fmla="*/ 182 w 5694"/>
                    <a:gd name="T7" fmla="*/ 79 h 1177"/>
                    <a:gd name="T8" fmla="*/ 244 w 5694"/>
                    <a:gd name="T9" fmla="*/ 107 h 1177"/>
                    <a:gd name="T10" fmla="*/ 256 w 5694"/>
                    <a:gd name="T11" fmla="*/ 133 h 1177"/>
                    <a:gd name="T12" fmla="*/ 292 w 5694"/>
                    <a:gd name="T13" fmla="*/ 159 h 1177"/>
                    <a:gd name="T14" fmla="*/ 308 w 5694"/>
                    <a:gd name="T15" fmla="*/ 185 h 1177"/>
                    <a:gd name="T16" fmla="*/ 446 w 5694"/>
                    <a:gd name="T17" fmla="*/ 217 h 1177"/>
                    <a:gd name="T18" fmla="*/ 498 w 5694"/>
                    <a:gd name="T19" fmla="*/ 241 h 1177"/>
                    <a:gd name="T20" fmla="*/ 578 w 5694"/>
                    <a:gd name="T21" fmla="*/ 271 h 1177"/>
                    <a:gd name="T22" fmla="*/ 600 w 5694"/>
                    <a:gd name="T23" fmla="*/ 295 h 1177"/>
                    <a:gd name="T24" fmla="*/ 652 w 5694"/>
                    <a:gd name="T25" fmla="*/ 322 h 1177"/>
                    <a:gd name="T26" fmla="*/ 708 w 5694"/>
                    <a:gd name="T27" fmla="*/ 354 h 1177"/>
                    <a:gd name="T28" fmla="*/ 762 w 5694"/>
                    <a:gd name="T29" fmla="*/ 380 h 1177"/>
                    <a:gd name="T30" fmla="*/ 822 w 5694"/>
                    <a:gd name="T31" fmla="*/ 406 h 1177"/>
                    <a:gd name="T32" fmla="*/ 836 w 5694"/>
                    <a:gd name="T33" fmla="*/ 434 h 1177"/>
                    <a:gd name="T34" fmla="*/ 910 w 5694"/>
                    <a:gd name="T35" fmla="*/ 464 h 1177"/>
                    <a:gd name="T36" fmla="*/ 946 w 5694"/>
                    <a:gd name="T37" fmla="*/ 490 h 1177"/>
                    <a:gd name="T38" fmla="*/ 984 w 5694"/>
                    <a:gd name="T39" fmla="*/ 516 h 1177"/>
                    <a:gd name="T40" fmla="*/ 998 w 5694"/>
                    <a:gd name="T41" fmla="*/ 542 h 1177"/>
                    <a:gd name="T42" fmla="*/ 1008 w 5694"/>
                    <a:gd name="T43" fmla="*/ 601 h 1177"/>
                    <a:gd name="T44" fmla="*/ 1094 w 5694"/>
                    <a:gd name="T45" fmla="*/ 629 h 1177"/>
                    <a:gd name="T46" fmla="*/ 1144 w 5694"/>
                    <a:gd name="T47" fmla="*/ 653 h 1177"/>
                    <a:gd name="T48" fmla="*/ 1439 w 5694"/>
                    <a:gd name="T49" fmla="*/ 679 h 1177"/>
                    <a:gd name="T50" fmla="*/ 1461 w 5694"/>
                    <a:gd name="T51" fmla="*/ 711 h 1177"/>
                    <a:gd name="T52" fmla="*/ 1619 w 5694"/>
                    <a:gd name="T53" fmla="*/ 737 h 1177"/>
                    <a:gd name="T54" fmla="*/ 1739 w 5694"/>
                    <a:gd name="T55" fmla="*/ 765 h 1177"/>
                    <a:gd name="T56" fmla="*/ 1757 w 5694"/>
                    <a:gd name="T57" fmla="*/ 793 h 1177"/>
                    <a:gd name="T58" fmla="*/ 1791 w 5694"/>
                    <a:gd name="T59" fmla="*/ 822 h 1177"/>
                    <a:gd name="T60" fmla="*/ 1829 w 5694"/>
                    <a:gd name="T61" fmla="*/ 846 h 1177"/>
                    <a:gd name="T62" fmla="*/ 1913 w 5694"/>
                    <a:gd name="T63" fmla="*/ 880 h 1177"/>
                    <a:gd name="T64" fmla="*/ 1925 w 5694"/>
                    <a:gd name="T65" fmla="*/ 906 h 1177"/>
                    <a:gd name="T66" fmla="*/ 1961 w 5694"/>
                    <a:gd name="T67" fmla="*/ 932 h 1177"/>
                    <a:gd name="T68" fmla="*/ 2013 w 5694"/>
                    <a:gd name="T69" fmla="*/ 962 h 1177"/>
                    <a:gd name="T70" fmla="*/ 2271 w 5694"/>
                    <a:gd name="T71" fmla="*/ 988 h 1177"/>
                    <a:gd name="T72" fmla="*/ 3021 w 5694"/>
                    <a:gd name="T73" fmla="*/ 1020 h 1177"/>
                    <a:gd name="T74" fmla="*/ 3281 w 5694"/>
                    <a:gd name="T75" fmla="*/ 1048 h 1177"/>
                    <a:gd name="T76" fmla="*/ 3377 w 5694"/>
                    <a:gd name="T77" fmla="*/ 1077 h 1177"/>
                    <a:gd name="T78" fmla="*/ 3739 w 5694"/>
                    <a:gd name="T79" fmla="*/ 1103 h 1177"/>
                    <a:gd name="T80" fmla="*/ 3917 w 5694"/>
                    <a:gd name="T81" fmla="*/ 1137 h 1177"/>
                    <a:gd name="T82" fmla="*/ 5694 w 5694"/>
                    <a:gd name="T83" fmla="*/ 1177 h 1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694" h="1177">
                      <a:moveTo>
                        <a:pt x="0" y="0"/>
                      </a:moveTo>
                      <a:lnTo>
                        <a:pt x="78" y="0"/>
                      </a:lnTo>
                      <a:lnTo>
                        <a:pt x="78" y="26"/>
                      </a:lnTo>
                      <a:lnTo>
                        <a:pt x="88" y="26"/>
                      </a:lnTo>
                      <a:lnTo>
                        <a:pt x="88" y="54"/>
                      </a:lnTo>
                      <a:lnTo>
                        <a:pt x="132" y="54"/>
                      </a:lnTo>
                      <a:lnTo>
                        <a:pt x="132" y="79"/>
                      </a:lnTo>
                      <a:lnTo>
                        <a:pt x="182" y="79"/>
                      </a:lnTo>
                      <a:lnTo>
                        <a:pt x="182" y="107"/>
                      </a:lnTo>
                      <a:lnTo>
                        <a:pt x="244" y="107"/>
                      </a:lnTo>
                      <a:lnTo>
                        <a:pt x="244" y="133"/>
                      </a:lnTo>
                      <a:lnTo>
                        <a:pt x="256" y="133"/>
                      </a:lnTo>
                      <a:lnTo>
                        <a:pt x="256" y="159"/>
                      </a:lnTo>
                      <a:lnTo>
                        <a:pt x="292" y="159"/>
                      </a:lnTo>
                      <a:lnTo>
                        <a:pt x="292" y="185"/>
                      </a:lnTo>
                      <a:lnTo>
                        <a:pt x="308" y="185"/>
                      </a:lnTo>
                      <a:lnTo>
                        <a:pt x="308" y="217"/>
                      </a:lnTo>
                      <a:lnTo>
                        <a:pt x="446" y="217"/>
                      </a:lnTo>
                      <a:lnTo>
                        <a:pt x="446" y="241"/>
                      </a:lnTo>
                      <a:lnTo>
                        <a:pt x="498" y="241"/>
                      </a:lnTo>
                      <a:lnTo>
                        <a:pt x="498" y="271"/>
                      </a:lnTo>
                      <a:lnTo>
                        <a:pt x="578" y="271"/>
                      </a:lnTo>
                      <a:lnTo>
                        <a:pt x="578" y="295"/>
                      </a:lnTo>
                      <a:lnTo>
                        <a:pt x="600" y="295"/>
                      </a:lnTo>
                      <a:lnTo>
                        <a:pt x="600" y="322"/>
                      </a:lnTo>
                      <a:lnTo>
                        <a:pt x="652" y="322"/>
                      </a:lnTo>
                      <a:lnTo>
                        <a:pt x="652" y="354"/>
                      </a:lnTo>
                      <a:lnTo>
                        <a:pt x="708" y="354"/>
                      </a:lnTo>
                      <a:lnTo>
                        <a:pt x="708" y="380"/>
                      </a:lnTo>
                      <a:lnTo>
                        <a:pt x="762" y="380"/>
                      </a:lnTo>
                      <a:lnTo>
                        <a:pt x="762" y="406"/>
                      </a:lnTo>
                      <a:lnTo>
                        <a:pt x="822" y="406"/>
                      </a:lnTo>
                      <a:lnTo>
                        <a:pt x="822" y="434"/>
                      </a:lnTo>
                      <a:lnTo>
                        <a:pt x="836" y="434"/>
                      </a:lnTo>
                      <a:lnTo>
                        <a:pt x="836" y="464"/>
                      </a:lnTo>
                      <a:lnTo>
                        <a:pt x="910" y="464"/>
                      </a:lnTo>
                      <a:lnTo>
                        <a:pt x="910" y="490"/>
                      </a:lnTo>
                      <a:lnTo>
                        <a:pt x="946" y="490"/>
                      </a:lnTo>
                      <a:lnTo>
                        <a:pt x="946" y="516"/>
                      </a:lnTo>
                      <a:lnTo>
                        <a:pt x="984" y="516"/>
                      </a:lnTo>
                      <a:lnTo>
                        <a:pt x="984" y="542"/>
                      </a:lnTo>
                      <a:lnTo>
                        <a:pt x="998" y="542"/>
                      </a:lnTo>
                      <a:lnTo>
                        <a:pt x="998" y="601"/>
                      </a:lnTo>
                      <a:lnTo>
                        <a:pt x="1008" y="601"/>
                      </a:lnTo>
                      <a:lnTo>
                        <a:pt x="1008" y="629"/>
                      </a:lnTo>
                      <a:lnTo>
                        <a:pt x="1094" y="629"/>
                      </a:lnTo>
                      <a:lnTo>
                        <a:pt x="1094" y="653"/>
                      </a:lnTo>
                      <a:lnTo>
                        <a:pt x="1144" y="653"/>
                      </a:lnTo>
                      <a:lnTo>
                        <a:pt x="1144" y="679"/>
                      </a:lnTo>
                      <a:lnTo>
                        <a:pt x="1439" y="679"/>
                      </a:lnTo>
                      <a:lnTo>
                        <a:pt x="1439" y="711"/>
                      </a:lnTo>
                      <a:lnTo>
                        <a:pt x="1461" y="711"/>
                      </a:lnTo>
                      <a:lnTo>
                        <a:pt x="1461" y="737"/>
                      </a:lnTo>
                      <a:lnTo>
                        <a:pt x="1619" y="737"/>
                      </a:lnTo>
                      <a:lnTo>
                        <a:pt x="1619" y="765"/>
                      </a:lnTo>
                      <a:lnTo>
                        <a:pt x="1739" y="765"/>
                      </a:lnTo>
                      <a:lnTo>
                        <a:pt x="1739" y="793"/>
                      </a:lnTo>
                      <a:lnTo>
                        <a:pt x="1757" y="793"/>
                      </a:lnTo>
                      <a:lnTo>
                        <a:pt x="1757" y="822"/>
                      </a:lnTo>
                      <a:lnTo>
                        <a:pt x="1791" y="822"/>
                      </a:lnTo>
                      <a:lnTo>
                        <a:pt x="1791" y="846"/>
                      </a:lnTo>
                      <a:lnTo>
                        <a:pt x="1829" y="846"/>
                      </a:lnTo>
                      <a:lnTo>
                        <a:pt x="1829" y="880"/>
                      </a:lnTo>
                      <a:lnTo>
                        <a:pt x="1913" y="880"/>
                      </a:lnTo>
                      <a:lnTo>
                        <a:pt x="1913" y="906"/>
                      </a:lnTo>
                      <a:lnTo>
                        <a:pt x="1925" y="906"/>
                      </a:lnTo>
                      <a:lnTo>
                        <a:pt x="1925" y="932"/>
                      </a:lnTo>
                      <a:lnTo>
                        <a:pt x="1961" y="932"/>
                      </a:lnTo>
                      <a:lnTo>
                        <a:pt x="1961" y="962"/>
                      </a:lnTo>
                      <a:lnTo>
                        <a:pt x="2013" y="962"/>
                      </a:lnTo>
                      <a:lnTo>
                        <a:pt x="2013" y="988"/>
                      </a:lnTo>
                      <a:lnTo>
                        <a:pt x="2271" y="988"/>
                      </a:lnTo>
                      <a:lnTo>
                        <a:pt x="2271" y="1020"/>
                      </a:lnTo>
                      <a:lnTo>
                        <a:pt x="3021" y="1020"/>
                      </a:lnTo>
                      <a:lnTo>
                        <a:pt x="3021" y="1048"/>
                      </a:lnTo>
                      <a:lnTo>
                        <a:pt x="3281" y="1048"/>
                      </a:lnTo>
                      <a:lnTo>
                        <a:pt x="3281" y="1077"/>
                      </a:lnTo>
                      <a:lnTo>
                        <a:pt x="3377" y="1077"/>
                      </a:lnTo>
                      <a:lnTo>
                        <a:pt x="3377" y="1103"/>
                      </a:lnTo>
                      <a:lnTo>
                        <a:pt x="3739" y="1103"/>
                      </a:lnTo>
                      <a:lnTo>
                        <a:pt x="3739" y="1137"/>
                      </a:lnTo>
                      <a:lnTo>
                        <a:pt x="3917" y="1137"/>
                      </a:lnTo>
                      <a:lnTo>
                        <a:pt x="3917" y="1177"/>
                      </a:lnTo>
                      <a:lnTo>
                        <a:pt x="5694" y="1177"/>
                      </a:lnTo>
                    </a:path>
                  </a:pathLst>
                </a:custGeom>
                <a:noFill/>
                <a:ln w="12700" cap="flat">
                  <a:solidFill>
                    <a:srgbClr val="59545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sp>
          <p:nvSpPr>
            <p:cNvPr id="217" name="TextBox 216">
              <a:extLst>
                <a:ext uri="{FF2B5EF4-FFF2-40B4-BE49-F238E27FC236}">
                  <a16:creationId xmlns:a16="http://schemas.microsoft.com/office/drawing/2014/main" id="{54F95FB7-EF6F-8E50-6722-86326DC504C5}"/>
                </a:ext>
              </a:extLst>
            </p:cNvPr>
            <p:cNvSpPr txBox="1"/>
            <p:nvPr/>
          </p:nvSpPr>
          <p:spPr>
            <a:xfrm>
              <a:off x="6921142" y="2664215"/>
              <a:ext cx="742109" cy="253916"/>
            </a:xfrm>
            <a:prstGeom prst="rect">
              <a:avLst/>
            </a:prstGeom>
            <a:noFill/>
          </p:spPr>
          <p:txBody>
            <a:bodyPr wrap="square" rtlCol="0">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Liso-cel</a:t>
              </a:r>
            </a:p>
          </p:txBody>
        </p:sp>
        <p:sp>
          <p:nvSpPr>
            <p:cNvPr id="218" name="TextBox 217">
              <a:extLst>
                <a:ext uri="{FF2B5EF4-FFF2-40B4-BE49-F238E27FC236}">
                  <a16:creationId xmlns:a16="http://schemas.microsoft.com/office/drawing/2014/main" id="{5B5B5FE8-87C0-919B-1CFB-CDD3781FB9C0}"/>
                </a:ext>
              </a:extLst>
            </p:cNvPr>
            <p:cNvSpPr txBox="1"/>
            <p:nvPr/>
          </p:nvSpPr>
          <p:spPr>
            <a:xfrm>
              <a:off x="6960189" y="3214490"/>
              <a:ext cx="742109" cy="276999"/>
            </a:xfrm>
            <a:prstGeom prst="rect">
              <a:avLst/>
            </a:prstGeom>
            <a:noFill/>
          </p:spPr>
          <p:txBody>
            <a:bodyPr wrap="square" rtlCol="0">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OC</a:t>
              </a:r>
            </a:p>
          </p:txBody>
        </p:sp>
        <p:sp>
          <p:nvSpPr>
            <p:cNvPr id="219" name="TextBox 218">
              <a:extLst>
                <a:ext uri="{FF2B5EF4-FFF2-40B4-BE49-F238E27FC236}">
                  <a16:creationId xmlns:a16="http://schemas.microsoft.com/office/drawing/2014/main" id="{5AB8901D-8D31-5355-EC7F-67BC2BF7D44A}"/>
                </a:ext>
              </a:extLst>
            </p:cNvPr>
            <p:cNvSpPr txBox="1"/>
            <p:nvPr/>
          </p:nvSpPr>
          <p:spPr>
            <a:xfrm>
              <a:off x="3942583" y="3932750"/>
              <a:ext cx="1923482" cy="253916"/>
            </a:xfrm>
            <a:prstGeom prst="rect">
              <a:avLst/>
            </a:prstGeom>
            <a:noFill/>
          </p:spPr>
          <p:txBody>
            <a:bodyPr wrap="square" rtlCol="0">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R= 0.757</a:t>
              </a:r>
              <a:endParaRPr kumimoji="0" lang="en-US" sz="1050" b="0" i="0" u="none" strike="noStrike" kern="1200" cap="none" spc="0" normalizeH="0" baseline="0" noProof="0" dirty="0">
                <a:ln>
                  <a:noFill/>
                </a:ln>
                <a:solidFill>
                  <a:prstClr val="black"/>
                </a:solidFill>
                <a:effectLst/>
                <a:highlight>
                  <a:srgbClr val="FFFF00"/>
                </a:highlight>
                <a:uLnTx/>
                <a:uFillTx/>
                <a:latin typeface="Arial" panose="020B0604020202020204" pitchFamily="34" charset="0"/>
                <a:ea typeface="+mn-ea"/>
                <a:cs typeface="Arial" panose="020B0604020202020204" pitchFamily="34" charset="0"/>
              </a:endParaRPr>
            </a:p>
          </p:txBody>
        </p:sp>
        <p:grpSp>
          <p:nvGrpSpPr>
            <p:cNvPr id="220" name="Group 219">
              <a:extLst>
                <a:ext uri="{FF2B5EF4-FFF2-40B4-BE49-F238E27FC236}">
                  <a16:creationId xmlns:a16="http://schemas.microsoft.com/office/drawing/2014/main" id="{51DD9BE7-093E-8393-2667-691D520417D3}"/>
                </a:ext>
              </a:extLst>
            </p:cNvPr>
            <p:cNvGrpSpPr/>
            <p:nvPr/>
          </p:nvGrpSpPr>
          <p:grpSpPr>
            <a:xfrm>
              <a:off x="3953629" y="2129972"/>
              <a:ext cx="3540257" cy="847225"/>
              <a:chOff x="3516953" y="1808232"/>
              <a:chExt cx="4936193" cy="1150408"/>
            </a:xfrm>
          </p:grpSpPr>
          <p:sp>
            <p:nvSpPr>
              <p:cNvPr id="221" name="Freeform 10">
                <a:extLst>
                  <a:ext uri="{FF2B5EF4-FFF2-40B4-BE49-F238E27FC236}">
                    <a16:creationId xmlns:a16="http://schemas.microsoft.com/office/drawing/2014/main" id="{D89391E8-491F-6A19-2015-A6CF743EE37C}"/>
                  </a:ext>
                </a:extLst>
              </p:cNvPr>
              <p:cNvSpPr>
                <a:spLocks/>
              </p:cNvSpPr>
              <p:nvPr/>
            </p:nvSpPr>
            <p:spPr bwMode="auto">
              <a:xfrm>
                <a:off x="3516953" y="1808232"/>
                <a:ext cx="1084995" cy="433855"/>
              </a:xfrm>
              <a:custGeom>
                <a:avLst/>
                <a:gdLst>
                  <a:gd name="T0" fmla="*/ 0 w 1323"/>
                  <a:gd name="T1" fmla="*/ 0 h 376"/>
                  <a:gd name="T2" fmla="*/ 252 w 1323"/>
                  <a:gd name="T3" fmla="*/ 0 h 376"/>
                  <a:gd name="T4" fmla="*/ 252 w 1323"/>
                  <a:gd name="T5" fmla="*/ 24 h 376"/>
                  <a:gd name="T6" fmla="*/ 296 w 1323"/>
                  <a:gd name="T7" fmla="*/ 24 h 376"/>
                  <a:gd name="T8" fmla="*/ 296 w 1323"/>
                  <a:gd name="T9" fmla="*/ 54 h 376"/>
                  <a:gd name="T10" fmla="*/ 364 w 1323"/>
                  <a:gd name="T11" fmla="*/ 54 h 376"/>
                  <a:gd name="T12" fmla="*/ 364 w 1323"/>
                  <a:gd name="T13" fmla="*/ 78 h 376"/>
                  <a:gd name="T14" fmla="*/ 560 w 1323"/>
                  <a:gd name="T15" fmla="*/ 78 h 376"/>
                  <a:gd name="T16" fmla="*/ 560 w 1323"/>
                  <a:gd name="T17" fmla="*/ 105 h 376"/>
                  <a:gd name="T18" fmla="*/ 658 w 1323"/>
                  <a:gd name="T19" fmla="*/ 105 h 376"/>
                  <a:gd name="T20" fmla="*/ 658 w 1323"/>
                  <a:gd name="T21" fmla="*/ 133 h 376"/>
                  <a:gd name="T22" fmla="*/ 674 w 1323"/>
                  <a:gd name="T23" fmla="*/ 133 h 376"/>
                  <a:gd name="T24" fmla="*/ 674 w 1323"/>
                  <a:gd name="T25" fmla="*/ 159 h 376"/>
                  <a:gd name="T26" fmla="*/ 776 w 1323"/>
                  <a:gd name="T27" fmla="*/ 159 h 376"/>
                  <a:gd name="T28" fmla="*/ 776 w 1323"/>
                  <a:gd name="T29" fmla="*/ 185 h 376"/>
                  <a:gd name="T30" fmla="*/ 798 w 1323"/>
                  <a:gd name="T31" fmla="*/ 185 h 376"/>
                  <a:gd name="T32" fmla="*/ 798 w 1323"/>
                  <a:gd name="T33" fmla="*/ 211 h 376"/>
                  <a:gd name="T34" fmla="*/ 892 w 1323"/>
                  <a:gd name="T35" fmla="*/ 211 h 376"/>
                  <a:gd name="T36" fmla="*/ 892 w 1323"/>
                  <a:gd name="T37" fmla="*/ 237 h 376"/>
                  <a:gd name="T38" fmla="*/ 952 w 1323"/>
                  <a:gd name="T39" fmla="*/ 237 h 376"/>
                  <a:gd name="T40" fmla="*/ 952 w 1323"/>
                  <a:gd name="T41" fmla="*/ 265 h 376"/>
                  <a:gd name="T42" fmla="*/ 1059 w 1323"/>
                  <a:gd name="T43" fmla="*/ 265 h 376"/>
                  <a:gd name="T44" fmla="*/ 1059 w 1323"/>
                  <a:gd name="T45" fmla="*/ 291 h 376"/>
                  <a:gd name="T46" fmla="*/ 1097 w 1323"/>
                  <a:gd name="T47" fmla="*/ 291 h 376"/>
                  <a:gd name="T48" fmla="*/ 1097 w 1323"/>
                  <a:gd name="T49" fmla="*/ 318 h 376"/>
                  <a:gd name="T50" fmla="*/ 1163 w 1323"/>
                  <a:gd name="T51" fmla="*/ 318 h 376"/>
                  <a:gd name="T52" fmla="*/ 1163 w 1323"/>
                  <a:gd name="T53" fmla="*/ 354 h 376"/>
                  <a:gd name="T54" fmla="*/ 1253 w 1323"/>
                  <a:gd name="T55" fmla="*/ 354 h 376"/>
                  <a:gd name="T56" fmla="*/ 1253 w 1323"/>
                  <a:gd name="T57" fmla="*/ 376 h 376"/>
                  <a:gd name="T58" fmla="*/ 1323 w 1323"/>
                  <a:gd name="T59" fmla="*/ 376 h 376"/>
                  <a:gd name="T60" fmla="*/ 1275 w 1323"/>
                  <a:gd name="T61" fmla="*/ 376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23" h="376">
                    <a:moveTo>
                      <a:pt x="0" y="0"/>
                    </a:moveTo>
                    <a:lnTo>
                      <a:pt x="252" y="0"/>
                    </a:lnTo>
                    <a:lnTo>
                      <a:pt x="252" y="24"/>
                    </a:lnTo>
                    <a:lnTo>
                      <a:pt x="296" y="24"/>
                    </a:lnTo>
                    <a:lnTo>
                      <a:pt x="296" y="54"/>
                    </a:lnTo>
                    <a:lnTo>
                      <a:pt x="364" y="54"/>
                    </a:lnTo>
                    <a:lnTo>
                      <a:pt x="364" y="78"/>
                    </a:lnTo>
                    <a:lnTo>
                      <a:pt x="560" y="78"/>
                    </a:lnTo>
                    <a:lnTo>
                      <a:pt x="560" y="105"/>
                    </a:lnTo>
                    <a:lnTo>
                      <a:pt x="658" y="105"/>
                    </a:lnTo>
                    <a:lnTo>
                      <a:pt x="658" y="133"/>
                    </a:lnTo>
                    <a:lnTo>
                      <a:pt x="674" y="133"/>
                    </a:lnTo>
                    <a:lnTo>
                      <a:pt x="674" y="159"/>
                    </a:lnTo>
                    <a:lnTo>
                      <a:pt x="776" y="159"/>
                    </a:lnTo>
                    <a:lnTo>
                      <a:pt x="776" y="185"/>
                    </a:lnTo>
                    <a:lnTo>
                      <a:pt x="798" y="185"/>
                    </a:lnTo>
                    <a:lnTo>
                      <a:pt x="798" y="211"/>
                    </a:lnTo>
                    <a:lnTo>
                      <a:pt x="892" y="211"/>
                    </a:lnTo>
                    <a:lnTo>
                      <a:pt x="892" y="237"/>
                    </a:lnTo>
                    <a:lnTo>
                      <a:pt x="952" y="237"/>
                    </a:lnTo>
                    <a:lnTo>
                      <a:pt x="952" y="265"/>
                    </a:lnTo>
                    <a:lnTo>
                      <a:pt x="1059" y="265"/>
                    </a:lnTo>
                    <a:lnTo>
                      <a:pt x="1059" y="291"/>
                    </a:lnTo>
                    <a:lnTo>
                      <a:pt x="1097" y="291"/>
                    </a:lnTo>
                    <a:lnTo>
                      <a:pt x="1097" y="318"/>
                    </a:lnTo>
                    <a:lnTo>
                      <a:pt x="1163" y="318"/>
                    </a:lnTo>
                    <a:lnTo>
                      <a:pt x="1163" y="354"/>
                    </a:lnTo>
                    <a:lnTo>
                      <a:pt x="1253" y="354"/>
                    </a:lnTo>
                    <a:lnTo>
                      <a:pt x="1253" y="376"/>
                    </a:lnTo>
                    <a:lnTo>
                      <a:pt x="1323" y="376"/>
                    </a:lnTo>
                    <a:lnTo>
                      <a:pt x="1275" y="376"/>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2" name="Freeform 106">
                <a:extLst>
                  <a:ext uri="{FF2B5EF4-FFF2-40B4-BE49-F238E27FC236}">
                    <a16:creationId xmlns:a16="http://schemas.microsoft.com/office/drawing/2014/main" id="{2C8DD554-FA8C-120E-9259-B4A93AA04A49}"/>
                  </a:ext>
                </a:extLst>
              </p:cNvPr>
              <p:cNvSpPr>
                <a:spLocks/>
              </p:cNvSpPr>
              <p:nvPr/>
            </p:nvSpPr>
            <p:spPr bwMode="auto">
              <a:xfrm>
                <a:off x="4601949" y="2272087"/>
                <a:ext cx="3831515" cy="658860"/>
              </a:xfrm>
              <a:custGeom>
                <a:avLst/>
                <a:gdLst>
                  <a:gd name="T0" fmla="*/ 0 w 4672"/>
                  <a:gd name="T1" fmla="*/ 0 h 571"/>
                  <a:gd name="T2" fmla="*/ 42 w 4672"/>
                  <a:gd name="T3" fmla="*/ 0 h 571"/>
                  <a:gd name="T4" fmla="*/ 42 w 4672"/>
                  <a:gd name="T5" fmla="*/ 28 h 571"/>
                  <a:gd name="T6" fmla="*/ 94 w 4672"/>
                  <a:gd name="T7" fmla="*/ 28 h 571"/>
                  <a:gd name="T8" fmla="*/ 94 w 4672"/>
                  <a:gd name="T9" fmla="*/ 84 h 571"/>
                  <a:gd name="T10" fmla="*/ 182 w 4672"/>
                  <a:gd name="T11" fmla="*/ 84 h 571"/>
                  <a:gd name="T12" fmla="*/ 182 w 4672"/>
                  <a:gd name="T13" fmla="*/ 115 h 571"/>
                  <a:gd name="T14" fmla="*/ 194 w 4672"/>
                  <a:gd name="T15" fmla="*/ 115 h 571"/>
                  <a:gd name="T16" fmla="*/ 194 w 4672"/>
                  <a:gd name="T17" fmla="*/ 137 h 571"/>
                  <a:gd name="T18" fmla="*/ 290 w 4672"/>
                  <a:gd name="T19" fmla="*/ 137 h 571"/>
                  <a:gd name="T20" fmla="*/ 290 w 4672"/>
                  <a:gd name="T21" fmla="*/ 191 h 571"/>
                  <a:gd name="T22" fmla="*/ 380 w 4672"/>
                  <a:gd name="T23" fmla="*/ 191 h 571"/>
                  <a:gd name="T24" fmla="*/ 380 w 4672"/>
                  <a:gd name="T25" fmla="*/ 221 h 571"/>
                  <a:gd name="T26" fmla="*/ 472 w 4672"/>
                  <a:gd name="T27" fmla="*/ 221 h 571"/>
                  <a:gd name="T28" fmla="*/ 472 w 4672"/>
                  <a:gd name="T29" fmla="*/ 247 h 571"/>
                  <a:gd name="T30" fmla="*/ 1058 w 4672"/>
                  <a:gd name="T31" fmla="*/ 247 h 571"/>
                  <a:gd name="T32" fmla="*/ 1058 w 4672"/>
                  <a:gd name="T33" fmla="*/ 271 h 571"/>
                  <a:gd name="T34" fmla="*/ 1192 w 4672"/>
                  <a:gd name="T35" fmla="*/ 271 h 571"/>
                  <a:gd name="T36" fmla="*/ 1192 w 4672"/>
                  <a:gd name="T37" fmla="*/ 306 h 571"/>
                  <a:gd name="T38" fmla="*/ 1230 w 4672"/>
                  <a:gd name="T39" fmla="*/ 306 h 571"/>
                  <a:gd name="T40" fmla="*/ 1230 w 4672"/>
                  <a:gd name="T41" fmla="*/ 332 h 571"/>
                  <a:gd name="T42" fmla="*/ 1262 w 4672"/>
                  <a:gd name="T43" fmla="*/ 332 h 571"/>
                  <a:gd name="T44" fmla="*/ 1262 w 4672"/>
                  <a:gd name="T45" fmla="*/ 364 h 571"/>
                  <a:gd name="T46" fmla="*/ 1282 w 4672"/>
                  <a:gd name="T47" fmla="*/ 364 h 571"/>
                  <a:gd name="T48" fmla="*/ 1282 w 4672"/>
                  <a:gd name="T49" fmla="*/ 390 h 571"/>
                  <a:gd name="T50" fmla="*/ 2017 w 4672"/>
                  <a:gd name="T51" fmla="*/ 390 h 571"/>
                  <a:gd name="T52" fmla="*/ 2017 w 4672"/>
                  <a:gd name="T53" fmla="*/ 424 h 571"/>
                  <a:gd name="T54" fmla="*/ 2031 w 4672"/>
                  <a:gd name="T55" fmla="*/ 424 h 571"/>
                  <a:gd name="T56" fmla="*/ 2031 w 4672"/>
                  <a:gd name="T57" fmla="*/ 450 h 571"/>
                  <a:gd name="T58" fmla="*/ 2351 w 4672"/>
                  <a:gd name="T59" fmla="*/ 450 h 571"/>
                  <a:gd name="T60" fmla="*/ 2351 w 4672"/>
                  <a:gd name="T61" fmla="*/ 474 h 571"/>
                  <a:gd name="T62" fmla="*/ 2435 w 4672"/>
                  <a:gd name="T63" fmla="*/ 474 h 571"/>
                  <a:gd name="T64" fmla="*/ 2435 w 4672"/>
                  <a:gd name="T65" fmla="*/ 507 h 571"/>
                  <a:gd name="T66" fmla="*/ 3531 w 4672"/>
                  <a:gd name="T67" fmla="*/ 507 h 571"/>
                  <a:gd name="T68" fmla="*/ 3531 w 4672"/>
                  <a:gd name="T69" fmla="*/ 571 h 571"/>
                  <a:gd name="T70" fmla="*/ 4672 w 4672"/>
                  <a:gd name="T71" fmla="*/ 571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72" h="571">
                    <a:moveTo>
                      <a:pt x="0" y="0"/>
                    </a:moveTo>
                    <a:lnTo>
                      <a:pt x="42" y="0"/>
                    </a:lnTo>
                    <a:lnTo>
                      <a:pt x="42" y="28"/>
                    </a:lnTo>
                    <a:lnTo>
                      <a:pt x="94" y="28"/>
                    </a:lnTo>
                    <a:lnTo>
                      <a:pt x="94" y="84"/>
                    </a:lnTo>
                    <a:lnTo>
                      <a:pt x="182" y="84"/>
                    </a:lnTo>
                    <a:lnTo>
                      <a:pt x="182" y="115"/>
                    </a:lnTo>
                    <a:lnTo>
                      <a:pt x="194" y="115"/>
                    </a:lnTo>
                    <a:lnTo>
                      <a:pt x="194" y="137"/>
                    </a:lnTo>
                    <a:lnTo>
                      <a:pt x="290" y="137"/>
                    </a:lnTo>
                    <a:lnTo>
                      <a:pt x="290" y="191"/>
                    </a:lnTo>
                    <a:lnTo>
                      <a:pt x="380" y="191"/>
                    </a:lnTo>
                    <a:lnTo>
                      <a:pt x="380" y="221"/>
                    </a:lnTo>
                    <a:lnTo>
                      <a:pt x="472" y="221"/>
                    </a:lnTo>
                    <a:lnTo>
                      <a:pt x="472" y="247"/>
                    </a:lnTo>
                    <a:lnTo>
                      <a:pt x="1058" y="247"/>
                    </a:lnTo>
                    <a:lnTo>
                      <a:pt x="1058" y="271"/>
                    </a:lnTo>
                    <a:lnTo>
                      <a:pt x="1192" y="271"/>
                    </a:lnTo>
                    <a:lnTo>
                      <a:pt x="1192" y="306"/>
                    </a:lnTo>
                    <a:lnTo>
                      <a:pt x="1230" y="306"/>
                    </a:lnTo>
                    <a:lnTo>
                      <a:pt x="1230" y="332"/>
                    </a:lnTo>
                    <a:lnTo>
                      <a:pt x="1262" y="332"/>
                    </a:lnTo>
                    <a:lnTo>
                      <a:pt x="1262" y="364"/>
                    </a:lnTo>
                    <a:lnTo>
                      <a:pt x="1282" y="364"/>
                    </a:lnTo>
                    <a:lnTo>
                      <a:pt x="1282" y="390"/>
                    </a:lnTo>
                    <a:lnTo>
                      <a:pt x="2017" y="390"/>
                    </a:lnTo>
                    <a:lnTo>
                      <a:pt x="2017" y="424"/>
                    </a:lnTo>
                    <a:lnTo>
                      <a:pt x="2031" y="424"/>
                    </a:lnTo>
                    <a:lnTo>
                      <a:pt x="2031" y="450"/>
                    </a:lnTo>
                    <a:lnTo>
                      <a:pt x="2351" y="450"/>
                    </a:lnTo>
                    <a:lnTo>
                      <a:pt x="2351" y="474"/>
                    </a:lnTo>
                    <a:lnTo>
                      <a:pt x="2435" y="474"/>
                    </a:lnTo>
                    <a:lnTo>
                      <a:pt x="2435" y="507"/>
                    </a:lnTo>
                    <a:lnTo>
                      <a:pt x="3531" y="507"/>
                    </a:lnTo>
                    <a:lnTo>
                      <a:pt x="3531" y="571"/>
                    </a:lnTo>
                    <a:lnTo>
                      <a:pt x="4672" y="571"/>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3" name="Line 5">
                <a:extLst>
                  <a:ext uri="{FF2B5EF4-FFF2-40B4-BE49-F238E27FC236}">
                    <a16:creationId xmlns:a16="http://schemas.microsoft.com/office/drawing/2014/main" id="{DE7DDF82-B2BF-1C56-A92A-C15A3D04FF03}"/>
                  </a:ext>
                </a:extLst>
              </p:cNvPr>
              <p:cNvSpPr>
                <a:spLocks noChangeShapeType="1"/>
              </p:cNvSpPr>
              <p:nvPr/>
            </p:nvSpPr>
            <p:spPr bwMode="auto">
              <a:xfrm>
                <a:off x="3863037" y="1870542"/>
                <a:ext cx="0" cy="58848"/>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4" name="Line 6">
                <a:extLst>
                  <a:ext uri="{FF2B5EF4-FFF2-40B4-BE49-F238E27FC236}">
                    <a16:creationId xmlns:a16="http://schemas.microsoft.com/office/drawing/2014/main" id="{0B67BF1D-A24E-2CF5-F29C-EFBF9FA7E8D9}"/>
                  </a:ext>
                </a:extLst>
              </p:cNvPr>
              <p:cNvSpPr>
                <a:spLocks noChangeShapeType="1"/>
              </p:cNvSpPr>
              <p:nvPr/>
            </p:nvSpPr>
            <p:spPr bwMode="auto">
              <a:xfrm>
                <a:off x="3841714" y="1898234"/>
                <a:ext cx="4100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5" name="Line 7">
                <a:extLst>
                  <a:ext uri="{FF2B5EF4-FFF2-40B4-BE49-F238E27FC236}">
                    <a16:creationId xmlns:a16="http://schemas.microsoft.com/office/drawing/2014/main" id="{9F81D27C-34B3-4649-79CD-ADB29AEAE381}"/>
                  </a:ext>
                </a:extLst>
              </p:cNvPr>
              <p:cNvSpPr>
                <a:spLocks noChangeShapeType="1"/>
              </p:cNvSpPr>
              <p:nvPr/>
            </p:nvSpPr>
            <p:spPr bwMode="auto">
              <a:xfrm>
                <a:off x="4374780" y="2086315"/>
                <a:ext cx="0" cy="57694"/>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6" name="Line 8">
                <a:extLst>
                  <a:ext uri="{FF2B5EF4-FFF2-40B4-BE49-F238E27FC236}">
                    <a16:creationId xmlns:a16="http://schemas.microsoft.com/office/drawing/2014/main" id="{F4432332-3AD8-86AE-EB59-3847475DBC38}"/>
                  </a:ext>
                </a:extLst>
              </p:cNvPr>
              <p:cNvSpPr>
                <a:spLocks noChangeShapeType="1"/>
              </p:cNvSpPr>
              <p:nvPr/>
            </p:nvSpPr>
            <p:spPr bwMode="auto">
              <a:xfrm>
                <a:off x="4355097" y="2114008"/>
                <a:ext cx="40186"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7" name="Line 9">
                <a:extLst>
                  <a:ext uri="{FF2B5EF4-FFF2-40B4-BE49-F238E27FC236}">
                    <a16:creationId xmlns:a16="http://schemas.microsoft.com/office/drawing/2014/main" id="{CB8BE963-40BF-B9A8-2887-FD59BE099274}"/>
                  </a:ext>
                </a:extLst>
              </p:cNvPr>
              <p:cNvSpPr>
                <a:spLocks noChangeShapeType="1"/>
              </p:cNvSpPr>
              <p:nvPr/>
            </p:nvSpPr>
            <p:spPr bwMode="auto">
              <a:xfrm>
                <a:off x="4582266" y="2216702"/>
                <a:ext cx="0" cy="5538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8" name="Line 11">
                <a:extLst>
                  <a:ext uri="{FF2B5EF4-FFF2-40B4-BE49-F238E27FC236}">
                    <a16:creationId xmlns:a16="http://schemas.microsoft.com/office/drawing/2014/main" id="{802DAE81-6A49-E3E3-5B1A-5C8E04668CE5}"/>
                  </a:ext>
                </a:extLst>
              </p:cNvPr>
              <p:cNvSpPr>
                <a:spLocks noChangeShapeType="1"/>
              </p:cNvSpPr>
              <p:nvPr/>
            </p:nvSpPr>
            <p:spPr bwMode="auto">
              <a:xfrm>
                <a:off x="5243268" y="2527093"/>
                <a:ext cx="0" cy="57694"/>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9" name="Line 12">
                <a:extLst>
                  <a:ext uri="{FF2B5EF4-FFF2-40B4-BE49-F238E27FC236}">
                    <a16:creationId xmlns:a16="http://schemas.microsoft.com/office/drawing/2014/main" id="{6C004A6A-F172-4D56-0B6A-553E38AD2820}"/>
                  </a:ext>
                </a:extLst>
              </p:cNvPr>
              <p:cNvSpPr>
                <a:spLocks noChangeShapeType="1"/>
              </p:cNvSpPr>
              <p:nvPr/>
            </p:nvSpPr>
            <p:spPr bwMode="auto">
              <a:xfrm>
                <a:off x="5223585" y="2554786"/>
                <a:ext cx="3936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0" name="Line 13">
                <a:extLst>
                  <a:ext uri="{FF2B5EF4-FFF2-40B4-BE49-F238E27FC236}">
                    <a16:creationId xmlns:a16="http://schemas.microsoft.com/office/drawing/2014/main" id="{1588A8C2-5B41-743A-83EA-F392E1832203}"/>
                  </a:ext>
                </a:extLst>
              </p:cNvPr>
              <p:cNvSpPr>
                <a:spLocks noChangeShapeType="1"/>
              </p:cNvSpPr>
              <p:nvPr/>
            </p:nvSpPr>
            <p:spPr bwMode="auto">
              <a:xfrm>
                <a:off x="5358082" y="2527093"/>
                <a:ext cx="0" cy="57694"/>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1" name="Line 14">
                <a:extLst>
                  <a:ext uri="{FF2B5EF4-FFF2-40B4-BE49-F238E27FC236}">
                    <a16:creationId xmlns:a16="http://schemas.microsoft.com/office/drawing/2014/main" id="{10D35878-6B5F-0A93-0DC9-23A9958D38B0}"/>
                  </a:ext>
                </a:extLst>
              </p:cNvPr>
              <p:cNvSpPr>
                <a:spLocks noChangeShapeType="1"/>
              </p:cNvSpPr>
              <p:nvPr/>
            </p:nvSpPr>
            <p:spPr bwMode="auto">
              <a:xfrm>
                <a:off x="5338400" y="2554786"/>
                <a:ext cx="3936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2" name="Line 15">
                <a:extLst>
                  <a:ext uri="{FF2B5EF4-FFF2-40B4-BE49-F238E27FC236}">
                    <a16:creationId xmlns:a16="http://schemas.microsoft.com/office/drawing/2014/main" id="{DC0BA25C-3D1E-F571-678F-2A22C6A93BF0}"/>
                  </a:ext>
                </a:extLst>
              </p:cNvPr>
              <p:cNvSpPr>
                <a:spLocks noChangeShapeType="1"/>
              </p:cNvSpPr>
              <p:nvPr/>
            </p:nvSpPr>
            <p:spPr bwMode="auto">
              <a:xfrm>
                <a:off x="6564452" y="2791329"/>
                <a:ext cx="0" cy="5538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3" name="Line 16">
                <a:extLst>
                  <a:ext uri="{FF2B5EF4-FFF2-40B4-BE49-F238E27FC236}">
                    <a16:creationId xmlns:a16="http://schemas.microsoft.com/office/drawing/2014/main" id="{69A291EE-5CDB-2E56-FE1A-6EBF2DBDAA43}"/>
                  </a:ext>
                </a:extLst>
              </p:cNvPr>
              <p:cNvSpPr>
                <a:spLocks noChangeShapeType="1"/>
              </p:cNvSpPr>
              <p:nvPr/>
            </p:nvSpPr>
            <p:spPr bwMode="auto">
              <a:xfrm>
                <a:off x="6544769" y="2819021"/>
                <a:ext cx="3936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4" name="Line 17">
                <a:extLst>
                  <a:ext uri="{FF2B5EF4-FFF2-40B4-BE49-F238E27FC236}">
                    <a16:creationId xmlns:a16="http://schemas.microsoft.com/office/drawing/2014/main" id="{8BE07030-B312-3725-83EF-C5B7B45E4B02}"/>
                  </a:ext>
                </a:extLst>
              </p:cNvPr>
              <p:cNvSpPr>
                <a:spLocks noChangeShapeType="1"/>
              </p:cNvSpPr>
              <p:nvPr/>
            </p:nvSpPr>
            <p:spPr bwMode="auto">
              <a:xfrm>
                <a:off x="6593975" y="2791329"/>
                <a:ext cx="0" cy="5538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5" name="Line 18">
                <a:extLst>
                  <a:ext uri="{FF2B5EF4-FFF2-40B4-BE49-F238E27FC236}">
                    <a16:creationId xmlns:a16="http://schemas.microsoft.com/office/drawing/2014/main" id="{3C9A7B36-C145-7FA3-73CD-2652E7401F45}"/>
                  </a:ext>
                </a:extLst>
              </p:cNvPr>
              <p:cNvSpPr>
                <a:spLocks noChangeShapeType="1"/>
              </p:cNvSpPr>
              <p:nvPr/>
            </p:nvSpPr>
            <p:spPr bwMode="auto">
              <a:xfrm>
                <a:off x="6572652" y="2819021"/>
                <a:ext cx="4100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6" name="Line 19">
                <a:extLst>
                  <a:ext uri="{FF2B5EF4-FFF2-40B4-BE49-F238E27FC236}">
                    <a16:creationId xmlns:a16="http://schemas.microsoft.com/office/drawing/2014/main" id="{4304E761-1567-86A9-3263-D8DAB7C91070}"/>
                  </a:ext>
                </a:extLst>
              </p:cNvPr>
              <p:cNvSpPr>
                <a:spLocks noChangeShapeType="1"/>
              </p:cNvSpPr>
              <p:nvPr/>
            </p:nvSpPr>
            <p:spPr bwMode="auto">
              <a:xfrm>
                <a:off x="6625139" y="2828252"/>
                <a:ext cx="0" cy="58848"/>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7" name="Line 20">
                <a:extLst>
                  <a:ext uri="{FF2B5EF4-FFF2-40B4-BE49-F238E27FC236}">
                    <a16:creationId xmlns:a16="http://schemas.microsoft.com/office/drawing/2014/main" id="{E8F51D13-71DD-E08B-D261-7EFB670FACB8}"/>
                  </a:ext>
                </a:extLst>
              </p:cNvPr>
              <p:cNvSpPr>
                <a:spLocks noChangeShapeType="1"/>
              </p:cNvSpPr>
              <p:nvPr/>
            </p:nvSpPr>
            <p:spPr bwMode="auto">
              <a:xfrm>
                <a:off x="6603816" y="2857099"/>
                <a:ext cx="4100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8" name="Line 21">
                <a:extLst>
                  <a:ext uri="{FF2B5EF4-FFF2-40B4-BE49-F238E27FC236}">
                    <a16:creationId xmlns:a16="http://schemas.microsoft.com/office/drawing/2014/main" id="{08C1B70F-DE40-3BFF-5628-7C7A697B0974}"/>
                  </a:ext>
                </a:extLst>
              </p:cNvPr>
              <p:cNvSpPr>
                <a:spLocks noChangeShapeType="1"/>
              </p:cNvSpPr>
              <p:nvPr/>
            </p:nvSpPr>
            <p:spPr bwMode="auto">
              <a:xfrm>
                <a:off x="6726832" y="2828252"/>
                <a:ext cx="0" cy="58848"/>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9" name="Line 22">
                <a:extLst>
                  <a:ext uri="{FF2B5EF4-FFF2-40B4-BE49-F238E27FC236}">
                    <a16:creationId xmlns:a16="http://schemas.microsoft.com/office/drawing/2014/main" id="{3EBAA4A0-159F-FB06-951F-7C9319CFD11C}"/>
                  </a:ext>
                </a:extLst>
              </p:cNvPr>
              <p:cNvSpPr>
                <a:spLocks noChangeShapeType="1"/>
              </p:cNvSpPr>
              <p:nvPr/>
            </p:nvSpPr>
            <p:spPr bwMode="auto">
              <a:xfrm>
                <a:off x="6705509" y="2857099"/>
                <a:ext cx="4100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0" name="Line 23">
                <a:extLst>
                  <a:ext uri="{FF2B5EF4-FFF2-40B4-BE49-F238E27FC236}">
                    <a16:creationId xmlns:a16="http://schemas.microsoft.com/office/drawing/2014/main" id="{D354CF2A-61A5-66C9-1437-F1E4D61E7CCA}"/>
                  </a:ext>
                </a:extLst>
              </p:cNvPr>
              <p:cNvSpPr>
                <a:spLocks noChangeShapeType="1"/>
              </p:cNvSpPr>
              <p:nvPr/>
            </p:nvSpPr>
            <p:spPr bwMode="auto">
              <a:xfrm>
                <a:off x="6738313" y="2828252"/>
                <a:ext cx="0" cy="58848"/>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1" name="Line 24">
                <a:extLst>
                  <a:ext uri="{FF2B5EF4-FFF2-40B4-BE49-F238E27FC236}">
                    <a16:creationId xmlns:a16="http://schemas.microsoft.com/office/drawing/2014/main" id="{5A281326-1423-80DF-9C80-0A34129F6AF1}"/>
                  </a:ext>
                </a:extLst>
              </p:cNvPr>
              <p:cNvSpPr>
                <a:spLocks noChangeShapeType="1"/>
              </p:cNvSpPr>
              <p:nvPr/>
            </p:nvSpPr>
            <p:spPr bwMode="auto">
              <a:xfrm>
                <a:off x="6716990" y="2857099"/>
                <a:ext cx="4100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2" name="Line 25">
                <a:extLst>
                  <a:ext uri="{FF2B5EF4-FFF2-40B4-BE49-F238E27FC236}">
                    <a16:creationId xmlns:a16="http://schemas.microsoft.com/office/drawing/2014/main" id="{1EACC581-27ED-4BD3-2471-C38C37F3A0F3}"/>
                  </a:ext>
                </a:extLst>
              </p:cNvPr>
              <p:cNvSpPr>
                <a:spLocks noChangeShapeType="1"/>
              </p:cNvSpPr>
              <p:nvPr/>
            </p:nvSpPr>
            <p:spPr bwMode="auto">
              <a:xfrm>
                <a:off x="6757996" y="2828252"/>
                <a:ext cx="0" cy="58848"/>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3" name="Line 26">
                <a:extLst>
                  <a:ext uri="{FF2B5EF4-FFF2-40B4-BE49-F238E27FC236}">
                    <a16:creationId xmlns:a16="http://schemas.microsoft.com/office/drawing/2014/main" id="{082D61B4-E4D4-9078-4856-D9EA8CB83482}"/>
                  </a:ext>
                </a:extLst>
              </p:cNvPr>
              <p:cNvSpPr>
                <a:spLocks noChangeShapeType="1"/>
              </p:cNvSpPr>
              <p:nvPr/>
            </p:nvSpPr>
            <p:spPr bwMode="auto">
              <a:xfrm>
                <a:off x="6738313" y="2857099"/>
                <a:ext cx="3936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4" name="Line 27">
                <a:extLst>
                  <a:ext uri="{FF2B5EF4-FFF2-40B4-BE49-F238E27FC236}">
                    <a16:creationId xmlns:a16="http://schemas.microsoft.com/office/drawing/2014/main" id="{A18A9A5F-885D-3BB6-2E3A-E20D1BE6BCB7}"/>
                  </a:ext>
                </a:extLst>
              </p:cNvPr>
              <p:cNvSpPr>
                <a:spLocks noChangeShapeType="1"/>
              </p:cNvSpPr>
              <p:nvPr/>
            </p:nvSpPr>
            <p:spPr bwMode="auto">
              <a:xfrm>
                <a:off x="6777678" y="2828252"/>
                <a:ext cx="0" cy="58848"/>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5" name="Line 28">
                <a:extLst>
                  <a:ext uri="{FF2B5EF4-FFF2-40B4-BE49-F238E27FC236}">
                    <a16:creationId xmlns:a16="http://schemas.microsoft.com/office/drawing/2014/main" id="{D603369B-1DF8-F9E8-8E7A-AEADFAEAFFDB}"/>
                  </a:ext>
                </a:extLst>
              </p:cNvPr>
              <p:cNvSpPr>
                <a:spLocks noChangeShapeType="1"/>
              </p:cNvSpPr>
              <p:nvPr/>
            </p:nvSpPr>
            <p:spPr bwMode="auto">
              <a:xfrm>
                <a:off x="6757996" y="2857099"/>
                <a:ext cx="3936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6" name="Line 29">
                <a:extLst>
                  <a:ext uri="{FF2B5EF4-FFF2-40B4-BE49-F238E27FC236}">
                    <a16:creationId xmlns:a16="http://schemas.microsoft.com/office/drawing/2014/main" id="{4EBFC16A-72B1-5ABB-90AE-D20E186A61A5}"/>
                  </a:ext>
                </a:extLst>
              </p:cNvPr>
              <p:cNvSpPr>
                <a:spLocks noChangeShapeType="1"/>
              </p:cNvSpPr>
              <p:nvPr/>
            </p:nvSpPr>
            <p:spPr bwMode="auto">
              <a:xfrm>
                <a:off x="6784239" y="2828252"/>
                <a:ext cx="0" cy="58848"/>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7" name="Line 30">
                <a:extLst>
                  <a:ext uri="{FF2B5EF4-FFF2-40B4-BE49-F238E27FC236}">
                    <a16:creationId xmlns:a16="http://schemas.microsoft.com/office/drawing/2014/main" id="{D8C8D439-7590-4970-6C04-DB4E97FA51D6}"/>
                  </a:ext>
                </a:extLst>
              </p:cNvPr>
              <p:cNvSpPr>
                <a:spLocks noChangeShapeType="1"/>
              </p:cNvSpPr>
              <p:nvPr/>
            </p:nvSpPr>
            <p:spPr bwMode="auto">
              <a:xfrm>
                <a:off x="6764557" y="2857099"/>
                <a:ext cx="4100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8" name="Line 31">
                <a:extLst>
                  <a:ext uri="{FF2B5EF4-FFF2-40B4-BE49-F238E27FC236}">
                    <a16:creationId xmlns:a16="http://schemas.microsoft.com/office/drawing/2014/main" id="{CF4C2681-73FA-7255-6CCC-50895BC1C96F}"/>
                  </a:ext>
                </a:extLst>
              </p:cNvPr>
              <p:cNvSpPr>
                <a:spLocks noChangeShapeType="1"/>
              </p:cNvSpPr>
              <p:nvPr/>
            </p:nvSpPr>
            <p:spPr bwMode="auto">
              <a:xfrm>
                <a:off x="6797360" y="2828252"/>
                <a:ext cx="0" cy="58848"/>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9" name="Line 32">
                <a:extLst>
                  <a:ext uri="{FF2B5EF4-FFF2-40B4-BE49-F238E27FC236}">
                    <a16:creationId xmlns:a16="http://schemas.microsoft.com/office/drawing/2014/main" id="{FA01E92B-D488-6561-1E51-EBEA4CEC355D}"/>
                  </a:ext>
                </a:extLst>
              </p:cNvPr>
              <p:cNvSpPr>
                <a:spLocks noChangeShapeType="1"/>
              </p:cNvSpPr>
              <p:nvPr/>
            </p:nvSpPr>
            <p:spPr bwMode="auto">
              <a:xfrm>
                <a:off x="6777678" y="2857099"/>
                <a:ext cx="4100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0" name="Line 33">
                <a:extLst>
                  <a:ext uri="{FF2B5EF4-FFF2-40B4-BE49-F238E27FC236}">
                    <a16:creationId xmlns:a16="http://schemas.microsoft.com/office/drawing/2014/main" id="{5DA3F830-C91F-5E49-8FF8-70484AD6725C}"/>
                  </a:ext>
                </a:extLst>
              </p:cNvPr>
              <p:cNvSpPr>
                <a:spLocks noChangeShapeType="1"/>
              </p:cNvSpPr>
              <p:nvPr/>
            </p:nvSpPr>
            <p:spPr bwMode="auto">
              <a:xfrm>
                <a:off x="6805562" y="2828252"/>
                <a:ext cx="0" cy="58848"/>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1" name="Line 34">
                <a:extLst>
                  <a:ext uri="{FF2B5EF4-FFF2-40B4-BE49-F238E27FC236}">
                    <a16:creationId xmlns:a16="http://schemas.microsoft.com/office/drawing/2014/main" id="{CBFE3B28-6D1B-0353-29E7-84A6BD1FF099}"/>
                  </a:ext>
                </a:extLst>
              </p:cNvPr>
              <p:cNvSpPr>
                <a:spLocks noChangeShapeType="1"/>
              </p:cNvSpPr>
              <p:nvPr/>
            </p:nvSpPr>
            <p:spPr bwMode="auto">
              <a:xfrm>
                <a:off x="6784239" y="2857099"/>
                <a:ext cx="4100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2" name="Line 35">
                <a:extLst>
                  <a:ext uri="{FF2B5EF4-FFF2-40B4-BE49-F238E27FC236}">
                    <a16:creationId xmlns:a16="http://schemas.microsoft.com/office/drawing/2014/main" id="{EEA708F1-2954-E445-C7DA-15E647166CB7}"/>
                  </a:ext>
                </a:extLst>
              </p:cNvPr>
              <p:cNvSpPr>
                <a:spLocks noChangeShapeType="1"/>
              </p:cNvSpPr>
              <p:nvPr/>
            </p:nvSpPr>
            <p:spPr bwMode="auto">
              <a:xfrm>
                <a:off x="6812122" y="2828252"/>
                <a:ext cx="0" cy="58848"/>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3" name="Line 36">
                <a:extLst>
                  <a:ext uri="{FF2B5EF4-FFF2-40B4-BE49-F238E27FC236}">
                    <a16:creationId xmlns:a16="http://schemas.microsoft.com/office/drawing/2014/main" id="{6F91BEDB-917F-71CB-BE9E-5B7623AA3A9F}"/>
                  </a:ext>
                </a:extLst>
              </p:cNvPr>
              <p:cNvSpPr>
                <a:spLocks noChangeShapeType="1"/>
              </p:cNvSpPr>
              <p:nvPr/>
            </p:nvSpPr>
            <p:spPr bwMode="auto">
              <a:xfrm>
                <a:off x="6792440" y="2857099"/>
                <a:ext cx="3936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4" name="Line 37">
                <a:extLst>
                  <a:ext uri="{FF2B5EF4-FFF2-40B4-BE49-F238E27FC236}">
                    <a16:creationId xmlns:a16="http://schemas.microsoft.com/office/drawing/2014/main" id="{603BA433-F46D-AF63-5C9E-D09778FB59AE}"/>
                  </a:ext>
                </a:extLst>
              </p:cNvPr>
              <p:cNvSpPr>
                <a:spLocks noChangeShapeType="1"/>
              </p:cNvSpPr>
              <p:nvPr/>
            </p:nvSpPr>
            <p:spPr bwMode="auto">
              <a:xfrm>
                <a:off x="6831804" y="2828252"/>
                <a:ext cx="0" cy="58848"/>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5" name="Line 38">
                <a:extLst>
                  <a:ext uri="{FF2B5EF4-FFF2-40B4-BE49-F238E27FC236}">
                    <a16:creationId xmlns:a16="http://schemas.microsoft.com/office/drawing/2014/main" id="{73EDA521-9D3B-150A-B268-7060B409B6C6}"/>
                  </a:ext>
                </a:extLst>
              </p:cNvPr>
              <p:cNvSpPr>
                <a:spLocks noChangeShapeType="1"/>
              </p:cNvSpPr>
              <p:nvPr/>
            </p:nvSpPr>
            <p:spPr bwMode="auto">
              <a:xfrm>
                <a:off x="6812122" y="2857099"/>
                <a:ext cx="4100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68" name="Line 39">
                <a:extLst>
                  <a:ext uri="{FF2B5EF4-FFF2-40B4-BE49-F238E27FC236}">
                    <a16:creationId xmlns:a16="http://schemas.microsoft.com/office/drawing/2014/main" id="{C46A4DC5-62ED-8EE4-A66C-182DAC449EB0}"/>
                  </a:ext>
                </a:extLst>
              </p:cNvPr>
              <p:cNvSpPr>
                <a:spLocks noChangeShapeType="1"/>
              </p:cNvSpPr>
              <p:nvPr/>
            </p:nvSpPr>
            <p:spPr bwMode="auto">
              <a:xfrm>
                <a:off x="6853127" y="2828252"/>
                <a:ext cx="0" cy="58848"/>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69" name="Line 40">
                <a:extLst>
                  <a:ext uri="{FF2B5EF4-FFF2-40B4-BE49-F238E27FC236}">
                    <a16:creationId xmlns:a16="http://schemas.microsoft.com/office/drawing/2014/main" id="{07149186-8F9D-A56E-4352-C87045BE1132}"/>
                  </a:ext>
                </a:extLst>
              </p:cNvPr>
              <p:cNvSpPr>
                <a:spLocks noChangeShapeType="1"/>
              </p:cNvSpPr>
              <p:nvPr/>
            </p:nvSpPr>
            <p:spPr bwMode="auto">
              <a:xfrm>
                <a:off x="6831804" y="2857099"/>
                <a:ext cx="4100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70" name="Line 41">
                <a:extLst>
                  <a:ext uri="{FF2B5EF4-FFF2-40B4-BE49-F238E27FC236}">
                    <a16:creationId xmlns:a16="http://schemas.microsoft.com/office/drawing/2014/main" id="{38CE909E-F7AF-3C8B-2D08-0840449F6E2E}"/>
                  </a:ext>
                </a:extLst>
              </p:cNvPr>
              <p:cNvSpPr>
                <a:spLocks noChangeShapeType="1"/>
              </p:cNvSpPr>
              <p:nvPr/>
            </p:nvSpPr>
            <p:spPr bwMode="auto">
              <a:xfrm>
                <a:off x="6908894" y="2828252"/>
                <a:ext cx="0" cy="58848"/>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71" name="Line 42">
                <a:extLst>
                  <a:ext uri="{FF2B5EF4-FFF2-40B4-BE49-F238E27FC236}">
                    <a16:creationId xmlns:a16="http://schemas.microsoft.com/office/drawing/2014/main" id="{6D20D7BB-42C0-FAD6-5343-F489243F07E3}"/>
                  </a:ext>
                </a:extLst>
              </p:cNvPr>
              <p:cNvSpPr>
                <a:spLocks noChangeShapeType="1"/>
              </p:cNvSpPr>
              <p:nvPr/>
            </p:nvSpPr>
            <p:spPr bwMode="auto">
              <a:xfrm>
                <a:off x="6889212" y="2857099"/>
                <a:ext cx="3936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72" name="Line 43">
                <a:extLst>
                  <a:ext uri="{FF2B5EF4-FFF2-40B4-BE49-F238E27FC236}">
                    <a16:creationId xmlns:a16="http://schemas.microsoft.com/office/drawing/2014/main" id="{BD631CDE-4801-1D92-B42A-47663F4DAADF}"/>
                  </a:ext>
                </a:extLst>
              </p:cNvPr>
              <p:cNvSpPr>
                <a:spLocks noChangeShapeType="1"/>
              </p:cNvSpPr>
              <p:nvPr/>
            </p:nvSpPr>
            <p:spPr bwMode="auto">
              <a:xfrm>
                <a:off x="6948259" y="2828252"/>
                <a:ext cx="0" cy="58848"/>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73" name="Line 44">
                <a:extLst>
                  <a:ext uri="{FF2B5EF4-FFF2-40B4-BE49-F238E27FC236}">
                    <a16:creationId xmlns:a16="http://schemas.microsoft.com/office/drawing/2014/main" id="{6129A1B0-5B20-4483-F3D5-F263F46773E7}"/>
                  </a:ext>
                </a:extLst>
              </p:cNvPr>
              <p:cNvSpPr>
                <a:spLocks noChangeShapeType="1"/>
              </p:cNvSpPr>
              <p:nvPr/>
            </p:nvSpPr>
            <p:spPr bwMode="auto">
              <a:xfrm>
                <a:off x="6928577" y="2857099"/>
                <a:ext cx="4100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74" name="Line 45">
                <a:extLst>
                  <a:ext uri="{FF2B5EF4-FFF2-40B4-BE49-F238E27FC236}">
                    <a16:creationId xmlns:a16="http://schemas.microsoft.com/office/drawing/2014/main" id="{6E3F3ADF-02A5-6005-4226-DA12533D42CA}"/>
                  </a:ext>
                </a:extLst>
              </p:cNvPr>
              <p:cNvSpPr>
                <a:spLocks noChangeShapeType="1"/>
              </p:cNvSpPr>
              <p:nvPr/>
            </p:nvSpPr>
            <p:spPr bwMode="auto">
              <a:xfrm>
                <a:off x="6974502" y="2828252"/>
                <a:ext cx="0" cy="58848"/>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75" name="Line 46">
                <a:extLst>
                  <a:ext uri="{FF2B5EF4-FFF2-40B4-BE49-F238E27FC236}">
                    <a16:creationId xmlns:a16="http://schemas.microsoft.com/office/drawing/2014/main" id="{08AF9BEF-31B2-5F54-702B-A26B561D0AD7}"/>
                  </a:ext>
                </a:extLst>
              </p:cNvPr>
              <p:cNvSpPr>
                <a:spLocks noChangeShapeType="1"/>
              </p:cNvSpPr>
              <p:nvPr/>
            </p:nvSpPr>
            <p:spPr bwMode="auto">
              <a:xfrm>
                <a:off x="6953179" y="2857099"/>
                <a:ext cx="4100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76" name="Line 47">
                <a:extLst>
                  <a:ext uri="{FF2B5EF4-FFF2-40B4-BE49-F238E27FC236}">
                    <a16:creationId xmlns:a16="http://schemas.microsoft.com/office/drawing/2014/main" id="{30786B63-2467-A7B2-CDF9-EE1D0E92DFCC}"/>
                  </a:ext>
                </a:extLst>
              </p:cNvPr>
              <p:cNvSpPr>
                <a:spLocks noChangeShapeType="1"/>
              </p:cNvSpPr>
              <p:nvPr/>
            </p:nvSpPr>
            <p:spPr bwMode="auto">
              <a:xfrm>
                <a:off x="6994185" y="2828252"/>
                <a:ext cx="0" cy="58848"/>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77" name="Line 48">
                <a:extLst>
                  <a:ext uri="{FF2B5EF4-FFF2-40B4-BE49-F238E27FC236}">
                    <a16:creationId xmlns:a16="http://schemas.microsoft.com/office/drawing/2014/main" id="{FD3B5A8D-314F-3C2B-81BF-5BAD7B5DC7C3}"/>
                  </a:ext>
                </a:extLst>
              </p:cNvPr>
              <p:cNvSpPr>
                <a:spLocks noChangeShapeType="1"/>
              </p:cNvSpPr>
              <p:nvPr/>
            </p:nvSpPr>
            <p:spPr bwMode="auto">
              <a:xfrm>
                <a:off x="6974502" y="2857099"/>
                <a:ext cx="3936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78" name="Line 49">
                <a:extLst>
                  <a:ext uri="{FF2B5EF4-FFF2-40B4-BE49-F238E27FC236}">
                    <a16:creationId xmlns:a16="http://schemas.microsoft.com/office/drawing/2014/main" id="{0D774E20-B647-C265-BA87-326D74516C96}"/>
                  </a:ext>
                </a:extLst>
              </p:cNvPr>
              <p:cNvSpPr>
                <a:spLocks noChangeShapeType="1"/>
              </p:cNvSpPr>
              <p:nvPr/>
            </p:nvSpPr>
            <p:spPr bwMode="auto">
              <a:xfrm>
                <a:off x="7008947" y="2828252"/>
                <a:ext cx="0" cy="58848"/>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79" name="Line 50">
                <a:extLst>
                  <a:ext uri="{FF2B5EF4-FFF2-40B4-BE49-F238E27FC236}">
                    <a16:creationId xmlns:a16="http://schemas.microsoft.com/office/drawing/2014/main" id="{7EF848EA-923E-B4CC-6681-4B1FF40CD970}"/>
                  </a:ext>
                </a:extLst>
              </p:cNvPr>
              <p:cNvSpPr>
                <a:spLocks noChangeShapeType="1"/>
              </p:cNvSpPr>
              <p:nvPr/>
            </p:nvSpPr>
            <p:spPr bwMode="auto">
              <a:xfrm>
                <a:off x="6989264" y="2857099"/>
                <a:ext cx="4100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80" name="Line 51">
                <a:extLst>
                  <a:ext uri="{FF2B5EF4-FFF2-40B4-BE49-F238E27FC236}">
                    <a16:creationId xmlns:a16="http://schemas.microsoft.com/office/drawing/2014/main" id="{05CC6D93-48F3-037F-74FB-CD22EEA8C59A}"/>
                  </a:ext>
                </a:extLst>
              </p:cNvPr>
              <p:cNvSpPr>
                <a:spLocks noChangeShapeType="1"/>
              </p:cNvSpPr>
              <p:nvPr/>
            </p:nvSpPr>
            <p:spPr bwMode="auto">
              <a:xfrm>
                <a:off x="7035190" y="2828252"/>
                <a:ext cx="0" cy="58848"/>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81" name="Line 52">
                <a:extLst>
                  <a:ext uri="{FF2B5EF4-FFF2-40B4-BE49-F238E27FC236}">
                    <a16:creationId xmlns:a16="http://schemas.microsoft.com/office/drawing/2014/main" id="{ABE3E903-EEAE-1A98-C1C2-C5D7FB2BE854}"/>
                  </a:ext>
                </a:extLst>
              </p:cNvPr>
              <p:cNvSpPr>
                <a:spLocks noChangeShapeType="1"/>
              </p:cNvSpPr>
              <p:nvPr/>
            </p:nvSpPr>
            <p:spPr bwMode="auto">
              <a:xfrm>
                <a:off x="7013868" y="2857099"/>
                <a:ext cx="4100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82" name="Line 53">
                <a:extLst>
                  <a:ext uri="{FF2B5EF4-FFF2-40B4-BE49-F238E27FC236}">
                    <a16:creationId xmlns:a16="http://schemas.microsoft.com/office/drawing/2014/main" id="{C3714411-1746-01D1-0471-4D1A81C75AD8}"/>
                  </a:ext>
                </a:extLst>
              </p:cNvPr>
              <p:cNvSpPr>
                <a:spLocks noChangeShapeType="1"/>
              </p:cNvSpPr>
              <p:nvPr/>
            </p:nvSpPr>
            <p:spPr bwMode="auto">
              <a:xfrm>
                <a:off x="7046671" y="2828252"/>
                <a:ext cx="0" cy="58848"/>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83" name="Line 54">
                <a:extLst>
                  <a:ext uri="{FF2B5EF4-FFF2-40B4-BE49-F238E27FC236}">
                    <a16:creationId xmlns:a16="http://schemas.microsoft.com/office/drawing/2014/main" id="{1342DDF7-7724-CCDC-FC08-15897940AA28}"/>
                  </a:ext>
                </a:extLst>
              </p:cNvPr>
              <p:cNvSpPr>
                <a:spLocks noChangeShapeType="1"/>
              </p:cNvSpPr>
              <p:nvPr/>
            </p:nvSpPr>
            <p:spPr bwMode="auto">
              <a:xfrm>
                <a:off x="7026989" y="2857099"/>
                <a:ext cx="4100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84" name="Line 55">
                <a:extLst>
                  <a:ext uri="{FF2B5EF4-FFF2-40B4-BE49-F238E27FC236}">
                    <a16:creationId xmlns:a16="http://schemas.microsoft.com/office/drawing/2014/main" id="{48133ADC-A11B-F0DC-E31B-D3FADFE66E88}"/>
                  </a:ext>
                </a:extLst>
              </p:cNvPr>
              <p:cNvSpPr>
                <a:spLocks noChangeShapeType="1"/>
              </p:cNvSpPr>
              <p:nvPr/>
            </p:nvSpPr>
            <p:spPr bwMode="auto">
              <a:xfrm>
                <a:off x="7082756" y="2828252"/>
                <a:ext cx="0" cy="58848"/>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85" name="Line 56">
                <a:extLst>
                  <a:ext uri="{FF2B5EF4-FFF2-40B4-BE49-F238E27FC236}">
                    <a16:creationId xmlns:a16="http://schemas.microsoft.com/office/drawing/2014/main" id="{052D07BB-862B-ADA6-C976-B645EADBDB81}"/>
                  </a:ext>
                </a:extLst>
              </p:cNvPr>
              <p:cNvSpPr>
                <a:spLocks noChangeShapeType="1"/>
              </p:cNvSpPr>
              <p:nvPr/>
            </p:nvSpPr>
            <p:spPr bwMode="auto">
              <a:xfrm>
                <a:off x="7063073" y="2857099"/>
                <a:ext cx="3936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86" name="Line 57">
                <a:extLst>
                  <a:ext uri="{FF2B5EF4-FFF2-40B4-BE49-F238E27FC236}">
                    <a16:creationId xmlns:a16="http://schemas.microsoft.com/office/drawing/2014/main" id="{240CDD02-65EA-D997-889A-5DB4629C3535}"/>
                  </a:ext>
                </a:extLst>
              </p:cNvPr>
              <p:cNvSpPr>
                <a:spLocks noChangeShapeType="1"/>
              </p:cNvSpPr>
              <p:nvPr/>
            </p:nvSpPr>
            <p:spPr bwMode="auto">
              <a:xfrm>
                <a:off x="7107359" y="2828252"/>
                <a:ext cx="0" cy="58848"/>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87" name="Line 58">
                <a:extLst>
                  <a:ext uri="{FF2B5EF4-FFF2-40B4-BE49-F238E27FC236}">
                    <a16:creationId xmlns:a16="http://schemas.microsoft.com/office/drawing/2014/main" id="{5FDC9550-B113-CC83-E040-8705B7124007}"/>
                  </a:ext>
                </a:extLst>
              </p:cNvPr>
              <p:cNvSpPr>
                <a:spLocks noChangeShapeType="1"/>
              </p:cNvSpPr>
              <p:nvPr/>
            </p:nvSpPr>
            <p:spPr bwMode="auto">
              <a:xfrm>
                <a:off x="7087677" y="2857099"/>
                <a:ext cx="4100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88" name="Line 59">
                <a:extLst>
                  <a:ext uri="{FF2B5EF4-FFF2-40B4-BE49-F238E27FC236}">
                    <a16:creationId xmlns:a16="http://schemas.microsoft.com/office/drawing/2014/main" id="{6A3506B2-5711-252E-7DC8-6ED15789309D}"/>
                  </a:ext>
                </a:extLst>
              </p:cNvPr>
              <p:cNvSpPr>
                <a:spLocks noChangeShapeType="1"/>
              </p:cNvSpPr>
              <p:nvPr/>
            </p:nvSpPr>
            <p:spPr bwMode="auto">
              <a:xfrm>
                <a:off x="7172967" y="2828252"/>
                <a:ext cx="0" cy="58848"/>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89" name="Line 60">
                <a:extLst>
                  <a:ext uri="{FF2B5EF4-FFF2-40B4-BE49-F238E27FC236}">
                    <a16:creationId xmlns:a16="http://schemas.microsoft.com/office/drawing/2014/main" id="{E4539464-7BAD-5FCC-995B-624C25C57A3E}"/>
                  </a:ext>
                </a:extLst>
              </p:cNvPr>
              <p:cNvSpPr>
                <a:spLocks noChangeShapeType="1"/>
              </p:cNvSpPr>
              <p:nvPr/>
            </p:nvSpPr>
            <p:spPr bwMode="auto">
              <a:xfrm>
                <a:off x="7153284" y="2857099"/>
                <a:ext cx="3936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90" name="Line 61">
                <a:extLst>
                  <a:ext uri="{FF2B5EF4-FFF2-40B4-BE49-F238E27FC236}">
                    <a16:creationId xmlns:a16="http://schemas.microsoft.com/office/drawing/2014/main" id="{305BB6D3-D38A-549D-CC0A-059C742DA24F}"/>
                  </a:ext>
                </a:extLst>
              </p:cNvPr>
              <p:cNvSpPr>
                <a:spLocks noChangeShapeType="1"/>
              </p:cNvSpPr>
              <p:nvPr/>
            </p:nvSpPr>
            <p:spPr bwMode="auto">
              <a:xfrm>
                <a:off x="7187729" y="2828252"/>
                <a:ext cx="0" cy="58848"/>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94" name="Line 62">
                <a:extLst>
                  <a:ext uri="{FF2B5EF4-FFF2-40B4-BE49-F238E27FC236}">
                    <a16:creationId xmlns:a16="http://schemas.microsoft.com/office/drawing/2014/main" id="{560AE00E-3C08-EB2D-DB34-0D476967BCF7}"/>
                  </a:ext>
                </a:extLst>
              </p:cNvPr>
              <p:cNvSpPr>
                <a:spLocks noChangeShapeType="1"/>
              </p:cNvSpPr>
              <p:nvPr/>
            </p:nvSpPr>
            <p:spPr bwMode="auto">
              <a:xfrm>
                <a:off x="7168046" y="2857099"/>
                <a:ext cx="4100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95" name="Line 63">
                <a:extLst>
                  <a:ext uri="{FF2B5EF4-FFF2-40B4-BE49-F238E27FC236}">
                    <a16:creationId xmlns:a16="http://schemas.microsoft.com/office/drawing/2014/main" id="{34498450-5F76-E8A1-71BB-1BC2071E6080}"/>
                  </a:ext>
                </a:extLst>
              </p:cNvPr>
              <p:cNvSpPr>
                <a:spLocks noChangeShapeType="1"/>
              </p:cNvSpPr>
              <p:nvPr/>
            </p:nvSpPr>
            <p:spPr bwMode="auto">
              <a:xfrm>
                <a:off x="7484606" y="2828252"/>
                <a:ext cx="0" cy="58848"/>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24" name="Line 64">
                <a:extLst>
                  <a:ext uri="{FF2B5EF4-FFF2-40B4-BE49-F238E27FC236}">
                    <a16:creationId xmlns:a16="http://schemas.microsoft.com/office/drawing/2014/main" id="{D0061386-7724-F936-3476-218E453D0C7A}"/>
                  </a:ext>
                </a:extLst>
              </p:cNvPr>
              <p:cNvSpPr>
                <a:spLocks noChangeShapeType="1"/>
              </p:cNvSpPr>
              <p:nvPr/>
            </p:nvSpPr>
            <p:spPr bwMode="auto">
              <a:xfrm>
                <a:off x="7464923" y="2857099"/>
                <a:ext cx="4100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25" name="Line 65">
                <a:extLst>
                  <a:ext uri="{FF2B5EF4-FFF2-40B4-BE49-F238E27FC236}">
                    <a16:creationId xmlns:a16="http://schemas.microsoft.com/office/drawing/2014/main" id="{908434DE-B0A7-B51A-A0EB-51B75E634737}"/>
                  </a:ext>
                </a:extLst>
              </p:cNvPr>
              <p:cNvSpPr>
                <a:spLocks noChangeShapeType="1"/>
              </p:cNvSpPr>
              <p:nvPr/>
            </p:nvSpPr>
            <p:spPr bwMode="auto">
              <a:xfrm>
                <a:off x="7517410" y="2903254"/>
                <a:ext cx="0" cy="5538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26" name="Line 66">
                <a:extLst>
                  <a:ext uri="{FF2B5EF4-FFF2-40B4-BE49-F238E27FC236}">
                    <a16:creationId xmlns:a16="http://schemas.microsoft.com/office/drawing/2014/main" id="{C38E9A75-F60F-7624-9708-A75ED7F5CE32}"/>
                  </a:ext>
                </a:extLst>
              </p:cNvPr>
              <p:cNvSpPr>
                <a:spLocks noChangeShapeType="1"/>
              </p:cNvSpPr>
              <p:nvPr/>
            </p:nvSpPr>
            <p:spPr bwMode="auto">
              <a:xfrm>
                <a:off x="7497727" y="2930947"/>
                <a:ext cx="3936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27" name="Line 67">
                <a:extLst>
                  <a:ext uri="{FF2B5EF4-FFF2-40B4-BE49-F238E27FC236}">
                    <a16:creationId xmlns:a16="http://schemas.microsoft.com/office/drawing/2014/main" id="{6207BB73-AAAF-1BDC-C12C-539A66FFF630}"/>
                  </a:ext>
                </a:extLst>
              </p:cNvPr>
              <p:cNvSpPr>
                <a:spLocks noChangeShapeType="1"/>
              </p:cNvSpPr>
              <p:nvPr/>
            </p:nvSpPr>
            <p:spPr bwMode="auto">
              <a:xfrm>
                <a:off x="7522331" y="2903254"/>
                <a:ext cx="0" cy="5538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28" name="Line 68">
                <a:extLst>
                  <a:ext uri="{FF2B5EF4-FFF2-40B4-BE49-F238E27FC236}">
                    <a16:creationId xmlns:a16="http://schemas.microsoft.com/office/drawing/2014/main" id="{351C58D3-CC94-C617-B3FC-2744FDEA1DDE}"/>
                  </a:ext>
                </a:extLst>
              </p:cNvPr>
              <p:cNvSpPr>
                <a:spLocks noChangeShapeType="1"/>
              </p:cNvSpPr>
              <p:nvPr/>
            </p:nvSpPr>
            <p:spPr bwMode="auto">
              <a:xfrm>
                <a:off x="7502648" y="2930947"/>
                <a:ext cx="4100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29" name="Line 69">
                <a:extLst>
                  <a:ext uri="{FF2B5EF4-FFF2-40B4-BE49-F238E27FC236}">
                    <a16:creationId xmlns:a16="http://schemas.microsoft.com/office/drawing/2014/main" id="{24123D5B-8117-7AC4-A319-B0B85EAE3ACF}"/>
                  </a:ext>
                </a:extLst>
              </p:cNvPr>
              <p:cNvSpPr>
                <a:spLocks noChangeShapeType="1"/>
              </p:cNvSpPr>
              <p:nvPr/>
            </p:nvSpPr>
            <p:spPr bwMode="auto">
              <a:xfrm>
                <a:off x="7565796" y="2903254"/>
                <a:ext cx="0" cy="5538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30" name="Line 70">
                <a:extLst>
                  <a:ext uri="{FF2B5EF4-FFF2-40B4-BE49-F238E27FC236}">
                    <a16:creationId xmlns:a16="http://schemas.microsoft.com/office/drawing/2014/main" id="{AE9AB621-DD5B-8A7C-BA72-966CABF7EE93}"/>
                  </a:ext>
                </a:extLst>
              </p:cNvPr>
              <p:cNvSpPr>
                <a:spLocks noChangeShapeType="1"/>
              </p:cNvSpPr>
              <p:nvPr/>
            </p:nvSpPr>
            <p:spPr bwMode="auto">
              <a:xfrm>
                <a:off x="7543653" y="2930947"/>
                <a:ext cx="4182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31" name="Line 71">
                <a:extLst>
                  <a:ext uri="{FF2B5EF4-FFF2-40B4-BE49-F238E27FC236}">
                    <a16:creationId xmlns:a16="http://schemas.microsoft.com/office/drawing/2014/main" id="{6C289F64-3E66-A8FB-EBDC-7F6DB9CBF322}"/>
                  </a:ext>
                </a:extLst>
              </p:cNvPr>
              <p:cNvSpPr>
                <a:spLocks noChangeShapeType="1"/>
              </p:cNvSpPr>
              <p:nvPr/>
            </p:nvSpPr>
            <p:spPr bwMode="auto">
              <a:xfrm>
                <a:off x="7577277" y="2903254"/>
                <a:ext cx="0" cy="5538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32" name="Line 72">
                <a:extLst>
                  <a:ext uri="{FF2B5EF4-FFF2-40B4-BE49-F238E27FC236}">
                    <a16:creationId xmlns:a16="http://schemas.microsoft.com/office/drawing/2014/main" id="{BAE4F789-844E-656F-3FF5-89C2F3B86ADD}"/>
                  </a:ext>
                </a:extLst>
              </p:cNvPr>
              <p:cNvSpPr>
                <a:spLocks noChangeShapeType="1"/>
              </p:cNvSpPr>
              <p:nvPr/>
            </p:nvSpPr>
            <p:spPr bwMode="auto">
              <a:xfrm>
                <a:off x="7555134" y="2930947"/>
                <a:ext cx="4182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33" name="Line 73">
                <a:extLst>
                  <a:ext uri="{FF2B5EF4-FFF2-40B4-BE49-F238E27FC236}">
                    <a16:creationId xmlns:a16="http://schemas.microsoft.com/office/drawing/2014/main" id="{5B1D71C0-FAF6-DD09-AEB4-791EC23FB526}"/>
                  </a:ext>
                </a:extLst>
              </p:cNvPr>
              <p:cNvSpPr>
                <a:spLocks noChangeShapeType="1"/>
              </p:cNvSpPr>
              <p:nvPr/>
            </p:nvSpPr>
            <p:spPr bwMode="auto">
              <a:xfrm>
                <a:off x="7603521" y="2903254"/>
                <a:ext cx="0" cy="5538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34" name="Line 74">
                <a:extLst>
                  <a:ext uri="{FF2B5EF4-FFF2-40B4-BE49-F238E27FC236}">
                    <a16:creationId xmlns:a16="http://schemas.microsoft.com/office/drawing/2014/main" id="{93147639-1BCC-0626-3DA0-F78A2015ABE4}"/>
                  </a:ext>
                </a:extLst>
              </p:cNvPr>
              <p:cNvSpPr>
                <a:spLocks noChangeShapeType="1"/>
              </p:cNvSpPr>
              <p:nvPr/>
            </p:nvSpPr>
            <p:spPr bwMode="auto">
              <a:xfrm>
                <a:off x="7582198" y="2930947"/>
                <a:ext cx="4100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35" name="Line 75">
                <a:extLst>
                  <a:ext uri="{FF2B5EF4-FFF2-40B4-BE49-F238E27FC236}">
                    <a16:creationId xmlns:a16="http://schemas.microsoft.com/office/drawing/2014/main" id="{592119AF-93FF-56DA-1274-5E86C2554936}"/>
                  </a:ext>
                </a:extLst>
              </p:cNvPr>
              <p:cNvSpPr>
                <a:spLocks noChangeShapeType="1"/>
              </p:cNvSpPr>
              <p:nvPr/>
            </p:nvSpPr>
            <p:spPr bwMode="auto">
              <a:xfrm>
                <a:off x="7716695" y="2903254"/>
                <a:ext cx="0" cy="5538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36" name="Line 76">
                <a:extLst>
                  <a:ext uri="{FF2B5EF4-FFF2-40B4-BE49-F238E27FC236}">
                    <a16:creationId xmlns:a16="http://schemas.microsoft.com/office/drawing/2014/main" id="{8072EF5D-8979-BF8B-6116-6FCA86D62E1F}"/>
                  </a:ext>
                </a:extLst>
              </p:cNvPr>
              <p:cNvSpPr>
                <a:spLocks noChangeShapeType="1"/>
              </p:cNvSpPr>
              <p:nvPr/>
            </p:nvSpPr>
            <p:spPr bwMode="auto">
              <a:xfrm>
                <a:off x="7697013" y="2930947"/>
                <a:ext cx="3936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37" name="Line 77">
                <a:extLst>
                  <a:ext uri="{FF2B5EF4-FFF2-40B4-BE49-F238E27FC236}">
                    <a16:creationId xmlns:a16="http://schemas.microsoft.com/office/drawing/2014/main" id="{CFE264D1-7F7C-14CA-BB47-3B82A4BDECC1}"/>
                  </a:ext>
                </a:extLst>
              </p:cNvPr>
              <p:cNvSpPr>
                <a:spLocks noChangeShapeType="1"/>
              </p:cNvSpPr>
              <p:nvPr/>
            </p:nvSpPr>
            <p:spPr bwMode="auto">
              <a:xfrm>
                <a:off x="7941403" y="2903254"/>
                <a:ext cx="0" cy="5538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38" name="Line 78">
                <a:extLst>
                  <a:ext uri="{FF2B5EF4-FFF2-40B4-BE49-F238E27FC236}">
                    <a16:creationId xmlns:a16="http://schemas.microsoft.com/office/drawing/2014/main" id="{8031AA8E-DCFB-2DBE-8101-19E8F3AA19B9}"/>
                  </a:ext>
                </a:extLst>
              </p:cNvPr>
              <p:cNvSpPr>
                <a:spLocks noChangeShapeType="1"/>
              </p:cNvSpPr>
              <p:nvPr/>
            </p:nvSpPr>
            <p:spPr bwMode="auto">
              <a:xfrm>
                <a:off x="7921720" y="2930947"/>
                <a:ext cx="3936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39" name="Line 79">
                <a:extLst>
                  <a:ext uri="{FF2B5EF4-FFF2-40B4-BE49-F238E27FC236}">
                    <a16:creationId xmlns:a16="http://schemas.microsoft.com/office/drawing/2014/main" id="{7F7F22CF-96DF-C68C-E93E-F0D8CCFBA65D}"/>
                  </a:ext>
                </a:extLst>
              </p:cNvPr>
              <p:cNvSpPr>
                <a:spLocks noChangeShapeType="1"/>
              </p:cNvSpPr>
              <p:nvPr/>
            </p:nvSpPr>
            <p:spPr bwMode="auto">
              <a:xfrm>
                <a:off x="7946323" y="2903254"/>
                <a:ext cx="0" cy="5538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40" name="Line 80">
                <a:extLst>
                  <a:ext uri="{FF2B5EF4-FFF2-40B4-BE49-F238E27FC236}">
                    <a16:creationId xmlns:a16="http://schemas.microsoft.com/office/drawing/2014/main" id="{0971F966-299B-A2F4-BF31-19C2F67A82C6}"/>
                  </a:ext>
                </a:extLst>
              </p:cNvPr>
              <p:cNvSpPr>
                <a:spLocks noChangeShapeType="1"/>
              </p:cNvSpPr>
              <p:nvPr/>
            </p:nvSpPr>
            <p:spPr bwMode="auto">
              <a:xfrm>
                <a:off x="7926641" y="2930947"/>
                <a:ext cx="4100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41" name="Line 81">
                <a:extLst>
                  <a:ext uri="{FF2B5EF4-FFF2-40B4-BE49-F238E27FC236}">
                    <a16:creationId xmlns:a16="http://schemas.microsoft.com/office/drawing/2014/main" id="{745ECB27-4046-B91E-AC3A-042CD5776502}"/>
                  </a:ext>
                </a:extLst>
              </p:cNvPr>
              <p:cNvSpPr>
                <a:spLocks noChangeShapeType="1"/>
              </p:cNvSpPr>
              <p:nvPr/>
            </p:nvSpPr>
            <p:spPr bwMode="auto">
              <a:xfrm>
                <a:off x="7959445" y="2903254"/>
                <a:ext cx="0" cy="5538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42" name="Line 82">
                <a:extLst>
                  <a:ext uri="{FF2B5EF4-FFF2-40B4-BE49-F238E27FC236}">
                    <a16:creationId xmlns:a16="http://schemas.microsoft.com/office/drawing/2014/main" id="{26E5E8CF-E364-1CCF-DB94-5430C9227EEC}"/>
                  </a:ext>
                </a:extLst>
              </p:cNvPr>
              <p:cNvSpPr>
                <a:spLocks noChangeShapeType="1"/>
              </p:cNvSpPr>
              <p:nvPr/>
            </p:nvSpPr>
            <p:spPr bwMode="auto">
              <a:xfrm>
                <a:off x="7939763" y="2930947"/>
                <a:ext cx="4100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43" name="Line 83">
                <a:extLst>
                  <a:ext uri="{FF2B5EF4-FFF2-40B4-BE49-F238E27FC236}">
                    <a16:creationId xmlns:a16="http://schemas.microsoft.com/office/drawing/2014/main" id="{44B37B4B-CB0F-D5D0-3244-0D1FE78B11EC}"/>
                  </a:ext>
                </a:extLst>
              </p:cNvPr>
              <p:cNvSpPr>
                <a:spLocks noChangeShapeType="1"/>
              </p:cNvSpPr>
              <p:nvPr/>
            </p:nvSpPr>
            <p:spPr bwMode="auto">
              <a:xfrm>
                <a:off x="7979127" y="2903254"/>
                <a:ext cx="0" cy="5538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44" name="Line 84">
                <a:extLst>
                  <a:ext uri="{FF2B5EF4-FFF2-40B4-BE49-F238E27FC236}">
                    <a16:creationId xmlns:a16="http://schemas.microsoft.com/office/drawing/2014/main" id="{74D547A2-8BF4-F81C-D719-EA5D290A1DF7}"/>
                  </a:ext>
                </a:extLst>
              </p:cNvPr>
              <p:cNvSpPr>
                <a:spLocks noChangeShapeType="1"/>
              </p:cNvSpPr>
              <p:nvPr/>
            </p:nvSpPr>
            <p:spPr bwMode="auto">
              <a:xfrm>
                <a:off x="7959445" y="2930947"/>
                <a:ext cx="3936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45" name="Line 85">
                <a:extLst>
                  <a:ext uri="{FF2B5EF4-FFF2-40B4-BE49-F238E27FC236}">
                    <a16:creationId xmlns:a16="http://schemas.microsoft.com/office/drawing/2014/main" id="{AADDEDD4-ABF8-8E55-A44A-C0F0DD03FEDD}"/>
                  </a:ext>
                </a:extLst>
              </p:cNvPr>
              <p:cNvSpPr>
                <a:spLocks noChangeShapeType="1"/>
              </p:cNvSpPr>
              <p:nvPr/>
            </p:nvSpPr>
            <p:spPr bwMode="auto">
              <a:xfrm>
                <a:off x="8061138" y="2903254"/>
                <a:ext cx="0" cy="5538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46" name="Line 86">
                <a:extLst>
                  <a:ext uri="{FF2B5EF4-FFF2-40B4-BE49-F238E27FC236}">
                    <a16:creationId xmlns:a16="http://schemas.microsoft.com/office/drawing/2014/main" id="{DD7AA318-3C53-8AE4-F487-7A7E264DB8DD}"/>
                  </a:ext>
                </a:extLst>
              </p:cNvPr>
              <p:cNvSpPr>
                <a:spLocks noChangeShapeType="1"/>
              </p:cNvSpPr>
              <p:nvPr/>
            </p:nvSpPr>
            <p:spPr bwMode="auto">
              <a:xfrm>
                <a:off x="8041455" y="2930947"/>
                <a:ext cx="3936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47" name="Line 87">
                <a:extLst>
                  <a:ext uri="{FF2B5EF4-FFF2-40B4-BE49-F238E27FC236}">
                    <a16:creationId xmlns:a16="http://schemas.microsoft.com/office/drawing/2014/main" id="{73DE5FC5-5864-C9E5-E1DA-CDE1C8CC402A}"/>
                  </a:ext>
                </a:extLst>
              </p:cNvPr>
              <p:cNvSpPr>
                <a:spLocks noChangeShapeType="1"/>
              </p:cNvSpPr>
              <p:nvPr/>
            </p:nvSpPr>
            <p:spPr bwMode="auto">
              <a:xfrm>
                <a:off x="8075900" y="2903254"/>
                <a:ext cx="0" cy="5538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48" name="Line 88">
                <a:extLst>
                  <a:ext uri="{FF2B5EF4-FFF2-40B4-BE49-F238E27FC236}">
                    <a16:creationId xmlns:a16="http://schemas.microsoft.com/office/drawing/2014/main" id="{12A9A804-A2E9-A6D5-4365-43CF7D0E0FF8}"/>
                  </a:ext>
                </a:extLst>
              </p:cNvPr>
              <p:cNvSpPr>
                <a:spLocks noChangeShapeType="1"/>
              </p:cNvSpPr>
              <p:nvPr/>
            </p:nvSpPr>
            <p:spPr bwMode="auto">
              <a:xfrm>
                <a:off x="8054577" y="2930947"/>
                <a:ext cx="4100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49" name="Line 89">
                <a:extLst>
                  <a:ext uri="{FF2B5EF4-FFF2-40B4-BE49-F238E27FC236}">
                    <a16:creationId xmlns:a16="http://schemas.microsoft.com/office/drawing/2014/main" id="{3B9E7BD7-87D4-4D4D-9DCD-6922EF6545A6}"/>
                  </a:ext>
                </a:extLst>
              </p:cNvPr>
              <p:cNvSpPr>
                <a:spLocks noChangeShapeType="1"/>
              </p:cNvSpPr>
              <p:nvPr/>
            </p:nvSpPr>
            <p:spPr bwMode="auto">
              <a:xfrm>
                <a:off x="8162830" y="2903254"/>
                <a:ext cx="0" cy="5538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50" name="Line 90">
                <a:extLst>
                  <a:ext uri="{FF2B5EF4-FFF2-40B4-BE49-F238E27FC236}">
                    <a16:creationId xmlns:a16="http://schemas.microsoft.com/office/drawing/2014/main" id="{858DACE9-3F98-86FA-7592-C7A667A6B4A5}"/>
                  </a:ext>
                </a:extLst>
              </p:cNvPr>
              <p:cNvSpPr>
                <a:spLocks noChangeShapeType="1"/>
              </p:cNvSpPr>
              <p:nvPr/>
            </p:nvSpPr>
            <p:spPr bwMode="auto">
              <a:xfrm>
                <a:off x="8143147" y="2930947"/>
                <a:ext cx="4100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51" name="Line 91">
                <a:extLst>
                  <a:ext uri="{FF2B5EF4-FFF2-40B4-BE49-F238E27FC236}">
                    <a16:creationId xmlns:a16="http://schemas.microsoft.com/office/drawing/2014/main" id="{4100F480-8DD9-E897-A1E6-3862181ECD17}"/>
                  </a:ext>
                </a:extLst>
              </p:cNvPr>
              <p:cNvSpPr>
                <a:spLocks noChangeShapeType="1"/>
              </p:cNvSpPr>
              <p:nvPr/>
            </p:nvSpPr>
            <p:spPr bwMode="auto">
              <a:xfrm>
                <a:off x="8171032" y="2903254"/>
                <a:ext cx="0" cy="5538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52" name="Line 92">
                <a:extLst>
                  <a:ext uri="{FF2B5EF4-FFF2-40B4-BE49-F238E27FC236}">
                    <a16:creationId xmlns:a16="http://schemas.microsoft.com/office/drawing/2014/main" id="{70949F5B-0BD0-A915-D071-EA23A4477DF9}"/>
                  </a:ext>
                </a:extLst>
              </p:cNvPr>
              <p:cNvSpPr>
                <a:spLocks noChangeShapeType="1"/>
              </p:cNvSpPr>
              <p:nvPr/>
            </p:nvSpPr>
            <p:spPr bwMode="auto">
              <a:xfrm>
                <a:off x="8149709" y="2930947"/>
                <a:ext cx="4100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53" name="Line 93">
                <a:extLst>
                  <a:ext uri="{FF2B5EF4-FFF2-40B4-BE49-F238E27FC236}">
                    <a16:creationId xmlns:a16="http://schemas.microsoft.com/office/drawing/2014/main" id="{6ABE0856-63BA-D254-4590-648067E37788}"/>
                  </a:ext>
                </a:extLst>
              </p:cNvPr>
              <p:cNvSpPr>
                <a:spLocks noChangeShapeType="1"/>
              </p:cNvSpPr>
              <p:nvPr/>
            </p:nvSpPr>
            <p:spPr bwMode="auto">
              <a:xfrm>
                <a:off x="8223517" y="2903254"/>
                <a:ext cx="0" cy="5538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54" name="Line 94">
                <a:extLst>
                  <a:ext uri="{FF2B5EF4-FFF2-40B4-BE49-F238E27FC236}">
                    <a16:creationId xmlns:a16="http://schemas.microsoft.com/office/drawing/2014/main" id="{308CCCEE-4CA2-4309-3A57-DA3A6B08472C}"/>
                  </a:ext>
                </a:extLst>
              </p:cNvPr>
              <p:cNvSpPr>
                <a:spLocks noChangeShapeType="1"/>
              </p:cNvSpPr>
              <p:nvPr/>
            </p:nvSpPr>
            <p:spPr bwMode="auto">
              <a:xfrm>
                <a:off x="8202195" y="2930947"/>
                <a:ext cx="4100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55" name="Line 95">
                <a:extLst>
                  <a:ext uri="{FF2B5EF4-FFF2-40B4-BE49-F238E27FC236}">
                    <a16:creationId xmlns:a16="http://schemas.microsoft.com/office/drawing/2014/main" id="{16BB6010-887B-6D5B-3BEA-E46D9AFEF11A}"/>
                  </a:ext>
                </a:extLst>
              </p:cNvPr>
              <p:cNvSpPr>
                <a:spLocks noChangeShapeType="1"/>
              </p:cNvSpPr>
              <p:nvPr/>
            </p:nvSpPr>
            <p:spPr bwMode="auto">
              <a:xfrm>
                <a:off x="8243200" y="2903254"/>
                <a:ext cx="0" cy="5538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56" name="Line 96">
                <a:extLst>
                  <a:ext uri="{FF2B5EF4-FFF2-40B4-BE49-F238E27FC236}">
                    <a16:creationId xmlns:a16="http://schemas.microsoft.com/office/drawing/2014/main" id="{11246736-BB4F-D5A9-0B22-BFB99949B17C}"/>
                  </a:ext>
                </a:extLst>
              </p:cNvPr>
              <p:cNvSpPr>
                <a:spLocks noChangeShapeType="1"/>
              </p:cNvSpPr>
              <p:nvPr/>
            </p:nvSpPr>
            <p:spPr bwMode="auto">
              <a:xfrm>
                <a:off x="8223517" y="2930947"/>
                <a:ext cx="3936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57" name="Line 97">
                <a:extLst>
                  <a:ext uri="{FF2B5EF4-FFF2-40B4-BE49-F238E27FC236}">
                    <a16:creationId xmlns:a16="http://schemas.microsoft.com/office/drawing/2014/main" id="{D8A8E081-8880-BD0C-BC1B-846ADC55630F}"/>
                  </a:ext>
                </a:extLst>
              </p:cNvPr>
              <p:cNvSpPr>
                <a:spLocks noChangeShapeType="1"/>
              </p:cNvSpPr>
              <p:nvPr/>
            </p:nvSpPr>
            <p:spPr bwMode="auto">
              <a:xfrm>
                <a:off x="8253041" y="2903254"/>
                <a:ext cx="0" cy="5538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58" name="Line 98">
                <a:extLst>
                  <a:ext uri="{FF2B5EF4-FFF2-40B4-BE49-F238E27FC236}">
                    <a16:creationId xmlns:a16="http://schemas.microsoft.com/office/drawing/2014/main" id="{0956568B-7A04-2D99-7EF9-7C8AE817FAC9}"/>
                  </a:ext>
                </a:extLst>
              </p:cNvPr>
              <p:cNvSpPr>
                <a:spLocks noChangeShapeType="1"/>
              </p:cNvSpPr>
              <p:nvPr/>
            </p:nvSpPr>
            <p:spPr bwMode="auto">
              <a:xfrm>
                <a:off x="8233359" y="2930947"/>
                <a:ext cx="3936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59" name="Line 99">
                <a:extLst>
                  <a:ext uri="{FF2B5EF4-FFF2-40B4-BE49-F238E27FC236}">
                    <a16:creationId xmlns:a16="http://schemas.microsoft.com/office/drawing/2014/main" id="{5F26C4DC-9885-83F7-077D-32D2924129BF}"/>
                  </a:ext>
                </a:extLst>
              </p:cNvPr>
              <p:cNvSpPr>
                <a:spLocks noChangeShapeType="1"/>
              </p:cNvSpPr>
              <p:nvPr/>
            </p:nvSpPr>
            <p:spPr bwMode="auto">
              <a:xfrm>
                <a:off x="8433464" y="2903254"/>
                <a:ext cx="0" cy="5538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60" name="Line 100">
                <a:extLst>
                  <a:ext uri="{FF2B5EF4-FFF2-40B4-BE49-F238E27FC236}">
                    <a16:creationId xmlns:a16="http://schemas.microsoft.com/office/drawing/2014/main" id="{2EC21BA3-3ED4-1032-D2D1-5179AA1CBCDE}"/>
                  </a:ext>
                </a:extLst>
              </p:cNvPr>
              <p:cNvSpPr>
                <a:spLocks noChangeShapeType="1"/>
              </p:cNvSpPr>
              <p:nvPr/>
            </p:nvSpPr>
            <p:spPr bwMode="auto">
              <a:xfrm>
                <a:off x="8412141" y="2930947"/>
                <a:ext cx="4100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61" name="Line 101">
                <a:extLst>
                  <a:ext uri="{FF2B5EF4-FFF2-40B4-BE49-F238E27FC236}">
                    <a16:creationId xmlns:a16="http://schemas.microsoft.com/office/drawing/2014/main" id="{4A9E55FA-B3F8-38C0-FF35-E813AC5081B8}"/>
                  </a:ext>
                </a:extLst>
              </p:cNvPr>
              <p:cNvSpPr>
                <a:spLocks noChangeShapeType="1"/>
              </p:cNvSpPr>
              <p:nvPr/>
            </p:nvSpPr>
            <p:spPr bwMode="auto">
              <a:xfrm>
                <a:off x="8034895" y="2903254"/>
                <a:ext cx="0" cy="5538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62" name="Line 102">
                <a:extLst>
                  <a:ext uri="{FF2B5EF4-FFF2-40B4-BE49-F238E27FC236}">
                    <a16:creationId xmlns:a16="http://schemas.microsoft.com/office/drawing/2014/main" id="{9A7D9E8E-4C56-A32F-4D56-08CBC2211EEF}"/>
                  </a:ext>
                </a:extLst>
              </p:cNvPr>
              <p:cNvSpPr>
                <a:spLocks noChangeShapeType="1"/>
              </p:cNvSpPr>
              <p:nvPr/>
            </p:nvSpPr>
            <p:spPr bwMode="auto">
              <a:xfrm>
                <a:off x="8015212" y="2930947"/>
                <a:ext cx="3936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63" name="Line 103">
                <a:extLst>
                  <a:ext uri="{FF2B5EF4-FFF2-40B4-BE49-F238E27FC236}">
                    <a16:creationId xmlns:a16="http://schemas.microsoft.com/office/drawing/2014/main" id="{287EC2DF-8DE2-6A3D-41BC-04D71D1C07F7}"/>
                  </a:ext>
                </a:extLst>
              </p:cNvPr>
              <p:cNvSpPr>
                <a:spLocks noChangeShapeType="1"/>
              </p:cNvSpPr>
              <p:nvPr/>
            </p:nvSpPr>
            <p:spPr bwMode="auto">
              <a:xfrm>
                <a:off x="8041455" y="2903254"/>
                <a:ext cx="0" cy="5538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64" name="Line 104">
                <a:extLst>
                  <a:ext uri="{FF2B5EF4-FFF2-40B4-BE49-F238E27FC236}">
                    <a16:creationId xmlns:a16="http://schemas.microsoft.com/office/drawing/2014/main" id="{039F0956-0CF2-FD14-ECC8-4771BAB810CB}"/>
                  </a:ext>
                </a:extLst>
              </p:cNvPr>
              <p:cNvSpPr>
                <a:spLocks noChangeShapeType="1"/>
              </p:cNvSpPr>
              <p:nvPr/>
            </p:nvSpPr>
            <p:spPr bwMode="auto">
              <a:xfrm>
                <a:off x="8046376" y="2903254"/>
                <a:ext cx="0" cy="5538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65" name="Line 105">
                <a:extLst>
                  <a:ext uri="{FF2B5EF4-FFF2-40B4-BE49-F238E27FC236}">
                    <a16:creationId xmlns:a16="http://schemas.microsoft.com/office/drawing/2014/main" id="{A452DB71-AC1F-6950-B43B-696E5140C1F4}"/>
                  </a:ext>
                </a:extLst>
              </p:cNvPr>
              <p:cNvSpPr>
                <a:spLocks noChangeShapeType="1"/>
              </p:cNvSpPr>
              <p:nvPr/>
            </p:nvSpPr>
            <p:spPr bwMode="auto">
              <a:xfrm>
                <a:off x="8021772" y="2930947"/>
                <a:ext cx="4100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1086" name="TextBox 1085">
              <a:extLst>
                <a:ext uri="{FF2B5EF4-FFF2-40B4-BE49-F238E27FC236}">
                  <a16:creationId xmlns:a16="http://schemas.microsoft.com/office/drawing/2014/main" id="{47705A2A-F752-1928-0723-1725C1C72263}"/>
                </a:ext>
              </a:extLst>
            </p:cNvPr>
            <p:cNvSpPr txBox="1"/>
            <p:nvPr/>
          </p:nvSpPr>
          <p:spPr>
            <a:xfrm>
              <a:off x="8932935" y="4342971"/>
              <a:ext cx="237566" cy="207749"/>
            </a:xfrm>
            <a:prstGeom prst="rect">
              <a:avLst/>
            </a:prstGeom>
            <a:noFill/>
          </p:spPr>
          <p:txBody>
            <a:bodyPr wrap="none" rtlCol="0">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p>
          </p:txBody>
        </p:sp>
        <p:grpSp>
          <p:nvGrpSpPr>
            <p:cNvPr id="1087" name="Group 1086">
              <a:extLst>
                <a:ext uri="{FF2B5EF4-FFF2-40B4-BE49-F238E27FC236}">
                  <a16:creationId xmlns:a16="http://schemas.microsoft.com/office/drawing/2014/main" id="{1CEA380B-C140-8641-8DAF-9BF3EA26E285}"/>
                </a:ext>
              </a:extLst>
            </p:cNvPr>
            <p:cNvGrpSpPr/>
            <p:nvPr/>
          </p:nvGrpSpPr>
          <p:grpSpPr>
            <a:xfrm>
              <a:off x="9093121" y="4332602"/>
              <a:ext cx="1309499" cy="69253"/>
              <a:chOff x="9919129" y="4665930"/>
              <a:chExt cx="1414860" cy="46936"/>
            </a:xfrm>
          </p:grpSpPr>
          <p:cxnSp>
            <p:nvCxnSpPr>
              <p:cNvPr id="1088" name="Straight Connector 1087">
                <a:extLst>
                  <a:ext uri="{FF2B5EF4-FFF2-40B4-BE49-F238E27FC236}">
                    <a16:creationId xmlns:a16="http://schemas.microsoft.com/office/drawing/2014/main" id="{01ADB7F4-6C84-05E6-C2AC-F336F3B8EF6B}"/>
                  </a:ext>
                </a:extLst>
              </p:cNvPr>
              <p:cNvCxnSpPr>
                <a:cxnSpLocks/>
              </p:cNvCxnSpPr>
              <p:nvPr/>
            </p:nvCxnSpPr>
            <p:spPr>
              <a:xfrm flipV="1">
                <a:off x="9919129" y="4665930"/>
                <a:ext cx="14148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89" name="Group 1088">
                <a:extLst>
                  <a:ext uri="{FF2B5EF4-FFF2-40B4-BE49-F238E27FC236}">
                    <a16:creationId xmlns:a16="http://schemas.microsoft.com/office/drawing/2014/main" id="{D3814632-61B3-B646-31F6-04287E0FA42A}"/>
                  </a:ext>
                </a:extLst>
              </p:cNvPr>
              <p:cNvGrpSpPr/>
              <p:nvPr/>
            </p:nvGrpSpPr>
            <p:grpSpPr>
              <a:xfrm>
                <a:off x="9919655" y="4665930"/>
                <a:ext cx="1414334" cy="46936"/>
                <a:chOff x="9919655" y="4665930"/>
                <a:chExt cx="1414334" cy="46936"/>
              </a:xfrm>
            </p:grpSpPr>
            <p:cxnSp>
              <p:nvCxnSpPr>
                <p:cNvPr id="1090" name="Straight Connector 1089">
                  <a:extLst>
                    <a:ext uri="{FF2B5EF4-FFF2-40B4-BE49-F238E27FC236}">
                      <a16:creationId xmlns:a16="http://schemas.microsoft.com/office/drawing/2014/main" id="{1258F684-7D09-E403-61D3-7EDC2F1E6EEE}"/>
                    </a:ext>
                  </a:extLst>
                </p:cNvPr>
                <p:cNvCxnSpPr>
                  <a:cxnSpLocks/>
                </p:cNvCxnSpPr>
                <p:nvPr/>
              </p:nvCxnSpPr>
              <p:spPr>
                <a:xfrm>
                  <a:off x="9919655" y="4665930"/>
                  <a:ext cx="0" cy="4693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1" name="Straight Connector 1090">
                  <a:extLst>
                    <a:ext uri="{FF2B5EF4-FFF2-40B4-BE49-F238E27FC236}">
                      <a16:creationId xmlns:a16="http://schemas.microsoft.com/office/drawing/2014/main" id="{10CC9948-F67F-4264-7C50-CFA2AC2E3572}"/>
                    </a:ext>
                  </a:extLst>
                </p:cNvPr>
                <p:cNvCxnSpPr>
                  <a:cxnSpLocks/>
                </p:cNvCxnSpPr>
                <p:nvPr/>
              </p:nvCxnSpPr>
              <p:spPr>
                <a:xfrm>
                  <a:off x="10202522" y="4665930"/>
                  <a:ext cx="0" cy="4693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2" name="Straight Connector 1091">
                  <a:extLst>
                    <a:ext uri="{FF2B5EF4-FFF2-40B4-BE49-F238E27FC236}">
                      <a16:creationId xmlns:a16="http://schemas.microsoft.com/office/drawing/2014/main" id="{88FBAB86-4A9E-2692-2370-A2B5B0A2B3BA}"/>
                    </a:ext>
                  </a:extLst>
                </p:cNvPr>
                <p:cNvCxnSpPr>
                  <a:cxnSpLocks/>
                </p:cNvCxnSpPr>
                <p:nvPr/>
              </p:nvCxnSpPr>
              <p:spPr>
                <a:xfrm>
                  <a:off x="10485389" y="4665930"/>
                  <a:ext cx="0" cy="4693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3" name="Straight Connector 1092">
                  <a:extLst>
                    <a:ext uri="{FF2B5EF4-FFF2-40B4-BE49-F238E27FC236}">
                      <a16:creationId xmlns:a16="http://schemas.microsoft.com/office/drawing/2014/main" id="{7C386782-21F8-0583-B86B-17EF237596A7}"/>
                    </a:ext>
                  </a:extLst>
                </p:cNvPr>
                <p:cNvCxnSpPr>
                  <a:cxnSpLocks/>
                </p:cNvCxnSpPr>
                <p:nvPr/>
              </p:nvCxnSpPr>
              <p:spPr>
                <a:xfrm>
                  <a:off x="10768256" y="4665930"/>
                  <a:ext cx="0" cy="4693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4" name="Straight Connector 1093">
                  <a:extLst>
                    <a:ext uri="{FF2B5EF4-FFF2-40B4-BE49-F238E27FC236}">
                      <a16:creationId xmlns:a16="http://schemas.microsoft.com/office/drawing/2014/main" id="{5ACF310A-E3A6-D854-562F-E9C0D0E4E79B}"/>
                    </a:ext>
                  </a:extLst>
                </p:cNvPr>
                <p:cNvCxnSpPr>
                  <a:cxnSpLocks/>
                </p:cNvCxnSpPr>
                <p:nvPr/>
              </p:nvCxnSpPr>
              <p:spPr>
                <a:xfrm>
                  <a:off x="11051123" y="4665930"/>
                  <a:ext cx="0" cy="4693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5" name="Straight Connector 1094">
                  <a:extLst>
                    <a:ext uri="{FF2B5EF4-FFF2-40B4-BE49-F238E27FC236}">
                      <a16:creationId xmlns:a16="http://schemas.microsoft.com/office/drawing/2014/main" id="{3AAE2A58-2B87-AA96-1185-87C43A7A9292}"/>
                    </a:ext>
                  </a:extLst>
                </p:cNvPr>
                <p:cNvCxnSpPr>
                  <a:cxnSpLocks/>
                </p:cNvCxnSpPr>
                <p:nvPr/>
              </p:nvCxnSpPr>
              <p:spPr>
                <a:xfrm>
                  <a:off x="11333989" y="4665930"/>
                  <a:ext cx="0" cy="4693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1096" name="TextBox 1095">
              <a:extLst>
                <a:ext uri="{FF2B5EF4-FFF2-40B4-BE49-F238E27FC236}">
                  <a16:creationId xmlns:a16="http://schemas.microsoft.com/office/drawing/2014/main" id="{C3C36D91-DC77-F721-F4FC-7DB4329BA3F3}"/>
                </a:ext>
              </a:extLst>
            </p:cNvPr>
            <p:cNvSpPr txBox="1"/>
            <p:nvPr/>
          </p:nvSpPr>
          <p:spPr>
            <a:xfrm>
              <a:off x="10274377" y="4336261"/>
              <a:ext cx="343364" cy="207749"/>
            </a:xfrm>
            <a:prstGeom prst="rect">
              <a:avLst/>
            </a:prstGeom>
            <a:noFill/>
          </p:spPr>
          <p:txBody>
            <a:bodyPr wrap="none" rtlCol="0">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00</a:t>
              </a:r>
            </a:p>
          </p:txBody>
        </p:sp>
        <p:pic>
          <p:nvPicPr>
            <p:cNvPr id="8" name="Picture 7" descr="A graph of a patient's progress&#10;&#10;AI-generated content may be incorrect.">
              <a:extLst>
                <a:ext uri="{FF2B5EF4-FFF2-40B4-BE49-F238E27FC236}">
                  <a16:creationId xmlns:a16="http://schemas.microsoft.com/office/drawing/2014/main" id="{4D2123AF-12CB-9F1F-2046-8AC43708FE9E}"/>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3238773" y="1629876"/>
              <a:ext cx="5013182" cy="3196172"/>
            </a:xfrm>
            <a:prstGeom prst="rect">
              <a:avLst/>
            </a:prstGeom>
          </p:spPr>
        </p:pic>
      </p:grpSp>
      <p:sp>
        <p:nvSpPr>
          <p:cNvPr id="5" name="TextBox 4">
            <a:extLst>
              <a:ext uri="{FF2B5EF4-FFF2-40B4-BE49-F238E27FC236}">
                <a16:creationId xmlns:a16="http://schemas.microsoft.com/office/drawing/2014/main" id="{65E5311C-639C-C8DE-F933-045A8D14EA58}"/>
              </a:ext>
            </a:extLst>
          </p:cNvPr>
          <p:cNvSpPr txBox="1"/>
          <p:nvPr/>
        </p:nvSpPr>
        <p:spPr>
          <a:xfrm>
            <a:off x="1806074" y="6552250"/>
            <a:ext cx="273081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Kamdar M et al. ASH 2025;Abstract 3710</a:t>
            </a:r>
          </a:p>
        </p:txBody>
      </p:sp>
    </p:spTree>
    <p:extLst>
      <p:ext uri="{BB962C8B-B14F-4D97-AF65-F5344CB8AC3E}">
        <p14:creationId xmlns:p14="http://schemas.microsoft.com/office/powerpoint/2010/main" val="68603303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01502F-C2CA-FAD3-A158-F33436F2ED73}"/>
            </a:ext>
          </a:extLst>
        </p:cNvPr>
        <p:cNvGrpSpPr/>
        <p:nvPr/>
      </p:nvGrpSpPr>
      <p:grpSpPr>
        <a:xfrm>
          <a:off x="0" y="0"/>
          <a:ext cx="0" cy="0"/>
          <a:chOff x="0" y="0"/>
          <a:chExt cx="0" cy="0"/>
        </a:xfrm>
      </p:grpSpPr>
      <p:graphicFrame>
        <p:nvGraphicFramePr>
          <p:cNvPr id="178" name="Shape1_20260318_112737">
            <a:extLst>
              <a:ext uri="{FF2B5EF4-FFF2-40B4-BE49-F238E27FC236}">
                <a16:creationId xmlns:a16="http://schemas.microsoft.com/office/drawing/2014/main" id="{0DDDCC23-0EAA-AB5C-8891-CDCFEF7CE09D}"/>
              </a:ext>
            </a:extLst>
          </p:cNvPr>
          <p:cNvGraphicFramePr>
            <a:graphicFrameLocks/>
          </p:cNvGraphicFramePr>
          <p:nvPr/>
        </p:nvGraphicFramePr>
        <p:xfrm>
          <a:off x="1749820" y="1884818"/>
          <a:ext cx="8720060" cy="1515890"/>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81C43F56-9043-4186-A954-AFA3A94754BA}"/>
              </a:ext>
            </a:extLst>
          </p:cNvPr>
          <p:cNvSpPr>
            <a:spLocks noGrp="1"/>
          </p:cNvSpPr>
          <p:nvPr>
            <p:ph type="title"/>
          </p:nvPr>
        </p:nvSpPr>
        <p:spPr>
          <a:xfrm>
            <a:off x="0" y="708684"/>
            <a:ext cx="12192000" cy="412918"/>
          </a:xfrm>
        </p:spPr>
        <p:txBody>
          <a:bodyPr>
            <a:noAutofit/>
          </a:bodyPr>
          <a:lstStyle/>
          <a:p>
            <a:pPr algn="ctr"/>
            <a:r>
              <a:rPr lang="en-US" sz="3000" dirty="0">
                <a:effectLst>
                  <a:glow>
                    <a:srgbClr val="000000"/>
                  </a:glow>
                </a:effectLst>
                <a:latin typeface="Arial" panose="020B0604020202020204" pitchFamily="34" charset="0"/>
                <a:cs typeface="Arial" panose="020B0604020202020204" pitchFamily="34" charset="0"/>
              </a:rPr>
              <a:t>Receiving CAR-T matter in 2L versus 3L impacts outcomes</a:t>
            </a:r>
          </a:p>
        </p:txBody>
      </p:sp>
      <p:sp>
        <p:nvSpPr>
          <p:cNvPr id="7" name="TextBox 6">
            <a:extLst>
              <a:ext uri="{FF2B5EF4-FFF2-40B4-BE49-F238E27FC236}">
                <a16:creationId xmlns:a16="http://schemas.microsoft.com/office/drawing/2014/main" id="{4226CD54-48B4-3D88-32C7-4C4CA08C442F}"/>
              </a:ext>
            </a:extLst>
          </p:cNvPr>
          <p:cNvSpPr txBox="1"/>
          <p:nvPr/>
        </p:nvSpPr>
        <p:spPr>
          <a:xfrm>
            <a:off x="1756567" y="5740000"/>
            <a:ext cx="7716125" cy="123111"/>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glow>
                    <a:srgbClr val="000000"/>
                  </a:glow>
                </a:effectLst>
                <a:uLnTx/>
                <a:uFillTx/>
                <a:latin typeface="Krub"/>
                <a:ea typeface="+mn-ea"/>
                <a:cs typeface="+mn-cs"/>
              </a:rPr>
              <a:t>Kamdar et. al. ASCO 2024. Oral Presentation</a:t>
            </a:r>
          </a:p>
        </p:txBody>
      </p:sp>
      <p:sp>
        <p:nvSpPr>
          <p:cNvPr id="9" name="Flowchart: Process 8">
            <a:extLst>
              <a:ext uri="{FF2B5EF4-FFF2-40B4-BE49-F238E27FC236}">
                <a16:creationId xmlns:a16="http://schemas.microsoft.com/office/drawing/2014/main" id="{61C883A1-39AD-623C-45E2-825775181C4E}"/>
              </a:ext>
            </a:extLst>
          </p:cNvPr>
          <p:cNvSpPr>
            <a:spLocks/>
          </p:cNvSpPr>
          <p:nvPr/>
        </p:nvSpPr>
        <p:spPr>
          <a:xfrm>
            <a:off x="1809424" y="1517258"/>
            <a:ext cx="8720060" cy="245169"/>
          </a:xfrm>
          <a:prstGeom prst="flowChartProcess">
            <a:avLst/>
          </a:prstGeom>
          <a:noFill/>
          <a:ln>
            <a:noFill/>
          </a:ln>
        </p:spPr>
        <p:style>
          <a:lnRef idx="0">
            <a:schemeClr val="accent1"/>
          </a:lnRef>
          <a:fillRef idx="1">
            <a:schemeClr val="accent1"/>
          </a:fillRef>
          <a:effectRef idx="0">
            <a:srgbClr val="000000"/>
          </a:effectRef>
          <a:fontRef idx="minor">
            <a:schemeClr val="lt1"/>
          </a:fontRef>
        </p:style>
        <p:txBody>
          <a:bodyPr lIns="0" tIns="0" rIns="0" bIns="0" rtlCol="0" anchor="ctr">
            <a:noAutofit/>
          </a:bodyPr>
          <a:lstStyle/>
          <a:p>
            <a:pPr marL="0" marR="0" lvl="0" indent="0" algn="l" defTabSz="51435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prstClr val="black"/>
                </a:solidFill>
                <a:effectLst>
                  <a:glow>
                    <a:srgbClr val="000000"/>
                  </a:glow>
                </a:effectLst>
                <a:uLnTx/>
                <a:uFillTx/>
                <a:latin typeface="Calibri" panose="020F0502020204030204"/>
                <a:ea typeface="+mn-ea"/>
                <a:cs typeface="Arial" panose="020B0604020202020204" pitchFamily="34" charset="0"/>
              </a:rPr>
              <a:t>Figure 5. OS in </a:t>
            </a:r>
            <a:r>
              <a:rPr kumimoji="0" lang="en-US" sz="1050" b="1" i="0" u="none" strike="noStrike" kern="1200" cap="none" spc="0" normalizeH="0" baseline="0" noProof="0" dirty="0" err="1">
                <a:ln>
                  <a:noFill/>
                </a:ln>
                <a:solidFill>
                  <a:prstClr val="black"/>
                </a:solidFill>
                <a:effectLst>
                  <a:glow>
                    <a:srgbClr val="000000"/>
                  </a:glow>
                </a:effectLst>
                <a:uLnTx/>
                <a:uFillTx/>
                <a:latin typeface="Calibri" panose="020F0502020204030204"/>
                <a:ea typeface="+mn-ea"/>
                <a:cs typeface="Arial" panose="020B0604020202020204" pitchFamily="34" charset="0"/>
              </a:rPr>
              <a:t>liso</a:t>
            </a:r>
            <a:r>
              <a:rPr kumimoji="0" lang="en-US" sz="1050" b="1" i="0" u="none" strike="noStrike" kern="1200" cap="none" spc="0" normalizeH="0" baseline="0" noProof="0" dirty="0">
                <a:ln>
                  <a:noFill/>
                </a:ln>
                <a:solidFill>
                  <a:prstClr val="black"/>
                </a:solidFill>
                <a:effectLst>
                  <a:glow>
                    <a:srgbClr val="000000"/>
                  </a:glow>
                </a:effectLst>
                <a:uLnTx/>
                <a:uFillTx/>
                <a:latin typeface="Calibri" panose="020F0502020204030204"/>
                <a:ea typeface="+mn-ea"/>
                <a:cs typeface="Arial" panose="020B0604020202020204" pitchFamily="34" charset="0"/>
              </a:rPr>
              <a:t>-cel 2L (A) and </a:t>
            </a:r>
            <a:r>
              <a:rPr kumimoji="0" lang="en-US" sz="1050" b="1" i="0" u="none" strike="noStrike" kern="1200" cap="none" spc="0" normalizeH="0" baseline="0" noProof="0" dirty="0" err="1">
                <a:ln>
                  <a:noFill/>
                </a:ln>
                <a:solidFill>
                  <a:prstClr val="black"/>
                </a:solidFill>
                <a:effectLst>
                  <a:glow>
                    <a:srgbClr val="000000"/>
                  </a:glow>
                </a:effectLst>
                <a:uLnTx/>
                <a:uFillTx/>
                <a:latin typeface="Calibri" panose="020F0502020204030204"/>
                <a:ea typeface="+mn-ea"/>
                <a:cs typeface="Arial" panose="020B0604020202020204" pitchFamily="34" charset="0"/>
              </a:rPr>
              <a:t>liso</a:t>
            </a:r>
            <a:r>
              <a:rPr kumimoji="0" lang="en-US" sz="1050" b="1" i="0" u="none" strike="noStrike" kern="1200" cap="none" spc="0" normalizeH="0" baseline="0" noProof="0" dirty="0">
                <a:ln>
                  <a:noFill/>
                </a:ln>
                <a:solidFill>
                  <a:prstClr val="black"/>
                </a:solidFill>
                <a:effectLst>
                  <a:glow>
                    <a:srgbClr val="000000"/>
                  </a:glow>
                </a:effectLst>
                <a:uLnTx/>
                <a:uFillTx/>
                <a:latin typeface="Calibri" panose="020F0502020204030204"/>
                <a:ea typeface="+mn-ea"/>
                <a:cs typeface="Arial" panose="020B0604020202020204" pitchFamily="34" charset="0"/>
              </a:rPr>
              <a:t>-cel 3L (B) patients in the LTFU </a:t>
            </a:r>
            <a:endParaRPr kumimoji="0" lang="en-US" sz="900" b="0" i="0" u="none" strike="noStrike" kern="1200" cap="none" spc="0" normalizeH="0" baseline="0" noProof="0" dirty="0">
              <a:ln>
                <a:noFill/>
              </a:ln>
              <a:solidFill>
                <a:prstClr val="black"/>
              </a:solidFill>
              <a:effectLst>
                <a:glow>
                  <a:srgbClr val="000000"/>
                </a:glow>
              </a:effectLst>
              <a:uLnTx/>
              <a:uFillTx/>
              <a:latin typeface="Calibri" panose="020F0502020204030204"/>
              <a:ea typeface="+mn-ea"/>
              <a:cs typeface="Arial" panose="020B0604020202020204" pitchFamily="34" charset="0"/>
            </a:endParaRPr>
          </a:p>
        </p:txBody>
      </p:sp>
      <p:graphicFrame>
        <p:nvGraphicFramePr>
          <p:cNvPr id="8" name="Table 185">
            <a:extLst>
              <a:ext uri="{FF2B5EF4-FFF2-40B4-BE49-F238E27FC236}">
                <a16:creationId xmlns:a16="http://schemas.microsoft.com/office/drawing/2014/main" id="{5F097ADE-7902-8B55-26D9-7AA6394C8DFB}"/>
              </a:ext>
            </a:extLst>
          </p:cNvPr>
          <p:cNvGraphicFramePr>
            <a:graphicFrameLocks noGrp="1"/>
          </p:cNvGraphicFramePr>
          <p:nvPr/>
        </p:nvGraphicFramePr>
        <p:xfrm>
          <a:off x="7053403" y="2239969"/>
          <a:ext cx="3288030" cy="720804"/>
        </p:xfrm>
        <a:graphic>
          <a:graphicData uri="http://schemas.openxmlformats.org/drawingml/2006/table">
            <a:tbl>
              <a:tblPr firstRow="1" bandRow="1">
                <a:tableStyleId>{5C22544A-7EE6-4342-B048-85BDC9FD1C3A}</a:tableStyleId>
              </a:tblPr>
              <a:tblGrid>
                <a:gridCol w="1851660">
                  <a:extLst>
                    <a:ext uri="{9D8B030D-6E8A-4147-A177-3AD203B41FA5}">
                      <a16:colId xmlns:a16="http://schemas.microsoft.com/office/drawing/2014/main" val="498251772"/>
                    </a:ext>
                  </a:extLst>
                </a:gridCol>
                <a:gridCol w="1436370">
                  <a:extLst>
                    <a:ext uri="{9D8B030D-6E8A-4147-A177-3AD203B41FA5}">
                      <a16:colId xmlns:a16="http://schemas.microsoft.com/office/drawing/2014/main" val="575635547"/>
                    </a:ext>
                  </a:extLst>
                </a:gridCol>
              </a:tblGrid>
              <a:tr h="288884">
                <a:tc>
                  <a:txBody>
                    <a:bodyPr/>
                    <a:lstStyle/>
                    <a:p>
                      <a:pPr algn="ctr"/>
                      <a:endParaRPr lang="en-US" sz="800" b="1" dirty="0">
                        <a:solidFill>
                          <a:schemeClr val="accent5"/>
                        </a:solidFill>
                      </a:endParaRPr>
                    </a:p>
                  </a:txBody>
                  <a:tcPr marL="30142" marR="30142" marT="30142" marB="3014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1" cap="none" dirty="0">
                          <a:solidFill>
                            <a:schemeClr val="bg1"/>
                          </a:solidFill>
                          <a:effectLst>
                            <a:glow>
                              <a:srgbClr val="000000"/>
                            </a:glow>
                          </a:effectLst>
                        </a:rPr>
                        <a:t>Liso-cel 2L</a:t>
                      </a:r>
                      <a:br>
                        <a:rPr lang="en-US" sz="800" b="1" cap="none" dirty="0">
                          <a:solidFill>
                            <a:schemeClr val="bg1"/>
                          </a:solidFill>
                        </a:rPr>
                      </a:br>
                      <a:r>
                        <a:rPr lang="en-US" sz="800" b="1" cap="none" dirty="0">
                          <a:solidFill>
                            <a:schemeClr val="bg1"/>
                          </a:solidFill>
                          <a:effectLst>
                            <a:glow>
                              <a:srgbClr val="000000"/>
                            </a:glow>
                          </a:effectLst>
                        </a:rPr>
                        <a:t>(</a:t>
                      </a:r>
                      <a:r>
                        <a:rPr lang="en-US" sz="800" b="1" cap="none" dirty="0" err="1">
                          <a:solidFill>
                            <a:schemeClr val="bg1"/>
                          </a:solidFill>
                          <a:effectLst>
                            <a:glow>
                              <a:srgbClr val="000000"/>
                            </a:glow>
                          </a:effectLst>
                        </a:rPr>
                        <a:t>liso</a:t>
                      </a:r>
                      <a:r>
                        <a:rPr lang="en-US" sz="800" b="1" cap="none" dirty="0">
                          <a:solidFill>
                            <a:schemeClr val="bg1"/>
                          </a:solidFill>
                          <a:effectLst>
                            <a:glow>
                              <a:srgbClr val="000000"/>
                            </a:glow>
                          </a:effectLst>
                        </a:rPr>
                        <a:t>-cel arm; n=43)</a:t>
                      </a:r>
                    </a:p>
                  </a:txBody>
                  <a:tcPr marL="30142" marR="30142" marT="30142" marB="3014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88D29"/>
                    </a:solidFill>
                  </a:tcPr>
                </a:tc>
                <a:extLst>
                  <a:ext uri="{0D108BD9-81ED-4DB2-BD59-A6C34878D82A}">
                    <a16:rowId xmlns:a16="http://schemas.microsoft.com/office/drawing/2014/main" val="3697699394"/>
                  </a:ext>
                </a:extLst>
              </a:tr>
              <a:tr h="208340">
                <a:tc>
                  <a:txBody>
                    <a:bodyPr/>
                    <a:lstStyle/>
                    <a:p>
                      <a:pPr algn="l"/>
                      <a:r>
                        <a:rPr lang="en-US" sz="800" b="1" cap="none" dirty="0">
                          <a:solidFill>
                            <a:schemeClr val="tx1"/>
                          </a:solidFill>
                          <a:effectLst>
                            <a:glow>
                              <a:srgbClr val="000000"/>
                            </a:glow>
                          </a:effectLst>
                        </a:rPr>
                        <a:t>24-month rate (95% CI)</a:t>
                      </a:r>
                    </a:p>
                  </a:txBody>
                  <a:tcPr marL="30142" marR="30142" marT="30142" marB="3014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1" cap="none" dirty="0">
                          <a:solidFill>
                            <a:schemeClr val="accent5"/>
                          </a:solidFill>
                          <a:effectLst>
                            <a:glow>
                              <a:srgbClr val="000000"/>
                            </a:glow>
                          </a:effectLst>
                        </a:rPr>
                        <a:t>95.1% </a:t>
                      </a:r>
                      <a:r>
                        <a:rPr lang="en-US" sz="800" cap="none" dirty="0">
                          <a:solidFill>
                            <a:schemeClr val="tx1"/>
                          </a:solidFill>
                          <a:effectLst>
                            <a:glow>
                              <a:srgbClr val="000000"/>
                            </a:glow>
                          </a:effectLst>
                        </a:rPr>
                        <a:t>(88.4-100.0)</a:t>
                      </a:r>
                    </a:p>
                  </a:txBody>
                  <a:tcPr marL="30142" marR="30142" marT="30142" marB="3014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07504522"/>
                  </a:ext>
                </a:extLst>
              </a:tr>
              <a:tr h="20834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800" b="1" cap="none" dirty="0">
                          <a:solidFill>
                            <a:schemeClr val="tx1"/>
                          </a:solidFill>
                          <a:effectLst>
                            <a:glow>
                              <a:srgbClr val="000000"/>
                            </a:glow>
                          </a:effectLst>
                        </a:rPr>
                        <a:t>Median (95% CI) follow-up in the LTFU</a:t>
                      </a:r>
                    </a:p>
                  </a:txBody>
                  <a:tcPr marL="30142" marR="30142" marT="30142" marB="3014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i="0" u="none" strike="noStrike" cap="none" dirty="0">
                          <a:solidFill>
                            <a:schemeClr val="tx1"/>
                          </a:solidFill>
                          <a:effectLst>
                            <a:glow>
                              <a:srgbClr val="000000"/>
                            </a:glow>
                          </a:effectLst>
                          <a:latin typeface="+mn-lt"/>
                          <a:ea typeface="+mn-ea"/>
                          <a:cs typeface="+mn-cs"/>
                          <a:sym typeface="Arial"/>
                        </a:rPr>
                        <a:t>17.1 months </a:t>
                      </a:r>
                      <a:r>
                        <a:rPr lang="en-US" sz="800" cap="none" dirty="0">
                          <a:solidFill>
                            <a:schemeClr val="tx1"/>
                          </a:solidFill>
                          <a:effectLst>
                            <a:glow>
                              <a:srgbClr val="000000"/>
                            </a:glow>
                          </a:effectLst>
                        </a:rPr>
                        <a:t>(16.1-21.9)</a:t>
                      </a:r>
                    </a:p>
                  </a:txBody>
                  <a:tcPr marL="30142" marR="30142" marT="30142" marB="3014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54761151"/>
                  </a:ext>
                </a:extLst>
              </a:tr>
            </a:tbl>
          </a:graphicData>
        </a:graphic>
      </p:graphicFrame>
      <p:sp>
        <p:nvSpPr>
          <p:cNvPr id="11" name="Speech Bubble: Rectangle 890">
            <a:extLst>
              <a:ext uri="{FF2B5EF4-FFF2-40B4-BE49-F238E27FC236}">
                <a16:creationId xmlns:a16="http://schemas.microsoft.com/office/drawing/2014/main" id="{450E0633-84A6-1E16-68E3-6C6DD2B0823A}"/>
              </a:ext>
            </a:extLst>
          </p:cNvPr>
          <p:cNvSpPr/>
          <p:nvPr/>
        </p:nvSpPr>
        <p:spPr>
          <a:xfrm>
            <a:off x="6036402" y="2118935"/>
            <a:ext cx="806953" cy="208749"/>
          </a:xfrm>
          <a:prstGeom prst="wedgeRectCallout">
            <a:avLst>
              <a:gd name="adj1" fmla="val -23666"/>
              <a:gd name="adj2" fmla="val -79862"/>
            </a:avLst>
          </a:prstGeom>
          <a:solidFill>
            <a:schemeClr val="accent5">
              <a:lumMod val="20000"/>
              <a:lumOff val="80000"/>
            </a:schemeClr>
          </a:solidFill>
          <a:ln w="25400" cap="flat" cmpd="sng" algn="ctr">
            <a:noFill/>
            <a:prstDash val="solid"/>
          </a:ln>
          <a:effectLst/>
        </p:spPr>
        <p:txBody>
          <a:bodyPr wrap="square" lIns="60750" tIns="40500" rIns="40500" bIns="40500" rtlCol="0" anchor="ctr">
            <a:spAutoFit/>
          </a:bodyPr>
          <a:lstStyle/>
          <a:p>
            <a:pPr marL="0" marR="0" lvl="0" indent="0" algn="ctr" defTabSz="257175" rtl="0" eaLnBrk="1" fontAlgn="ctr" latinLnBrk="0" hangingPunct="1">
              <a:lnSpc>
                <a:spcPct val="100000"/>
              </a:lnSpc>
              <a:spcBef>
                <a:spcPct val="0"/>
              </a:spcBef>
              <a:spcAft>
                <a:spcPct val="0"/>
              </a:spcAft>
              <a:buClrTx/>
              <a:buSzTx/>
              <a:buFontTx/>
              <a:buNone/>
              <a:tabLst/>
              <a:defRPr/>
            </a:pPr>
            <a:r>
              <a:rPr kumimoji="0" lang="en-US" sz="825" b="1" i="0" u="none" strike="noStrike" kern="0" cap="none" spc="0" normalizeH="0" baseline="0" noProof="0" dirty="0">
                <a:ln>
                  <a:noFill/>
                </a:ln>
                <a:solidFill>
                  <a:prstClr val="black"/>
                </a:solidFill>
                <a:effectLst>
                  <a:glow>
                    <a:srgbClr val="000000"/>
                  </a:glow>
                </a:effectLst>
                <a:uLnTx/>
                <a:uFillTx/>
                <a:latin typeface="Garamond" pitchFamily="18" charset="0"/>
                <a:ea typeface="+mn-ea"/>
                <a:cs typeface="Arial" panose="020B0604020202020204" pitchFamily="34" charset="0"/>
              </a:rPr>
              <a:t>NR (NR-NR)</a:t>
            </a:r>
            <a:endParaRPr kumimoji="0" lang="en-US" sz="825" b="0" i="0" u="none" strike="noStrike" kern="0" cap="none" spc="0" normalizeH="0" baseline="0" noProof="0" dirty="0">
              <a:ln>
                <a:noFill/>
              </a:ln>
              <a:solidFill>
                <a:prstClr val="black"/>
              </a:solidFill>
              <a:effectLst>
                <a:glow>
                  <a:srgbClr val="000000"/>
                </a:glow>
              </a:effectLst>
              <a:uLnTx/>
              <a:uFillTx/>
              <a:latin typeface="Garamond" pitchFamily="18" charset="0"/>
              <a:ea typeface="+mn-ea"/>
              <a:cs typeface="Arial" panose="020B0604020202020204" pitchFamily="34" charset="0"/>
            </a:endParaRPr>
          </a:p>
        </p:txBody>
      </p:sp>
      <p:sp>
        <p:nvSpPr>
          <p:cNvPr id="13" name="TextBox 12">
            <a:extLst>
              <a:ext uri="{FF2B5EF4-FFF2-40B4-BE49-F238E27FC236}">
                <a16:creationId xmlns:a16="http://schemas.microsoft.com/office/drawing/2014/main" id="{3A86CEA5-2397-C9A9-8169-20DB86A92B01}"/>
              </a:ext>
            </a:extLst>
          </p:cNvPr>
          <p:cNvSpPr txBox="1"/>
          <p:nvPr/>
        </p:nvSpPr>
        <p:spPr>
          <a:xfrm>
            <a:off x="2784072" y="2828412"/>
            <a:ext cx="586909" cy="126958"/>
          </a:xfrm>
          <a:prstGeom prst="rect">
            <a:avLst/>
          </a:prstGeom>
          <a:noFill/>
        </p:spPr>
        <p:txBody>
          <a:bodyPr wrap="square" lIns="0" tIns="0" rIns="0" bIns="0" rtlCol="0">
            <a:spAutoFit/>
          </a:bodyPr>
          <a:lstStyle/>
          <a:p>
            <a:pPr marL="0" marR="0" lvl="0" indent="0" algn="l" defTabSz="257175" rtl="0" eaLnBrk="1" fontAlgn="base" latinLnBrk="0" hangingPunct="1">
              <a:lnSpc>
                <a:spcPct val="100000"/>
              </a:lnSpc>
              <a:spcBef>
                <a:spcPct val="0"/>
              </a:spcBef>
              <a:spcAft>
                <a:spcPct val="0"/>
              </a:spcAft>
              <a:buClrTx/>
              <a:buSzTx/>
              <a:buFontTx/>
              <a:buNone/>
              <a:tabLst/>
              <a:defRPr/>
            </a:pPr>
            <a:r>
              <a:rPr kumimoji="0" lang="en-US" sz="825" b="1" i="0" u="none" strike="noStrike" kern="1200" cap="none" spc="0" normalizeH="0" baseline="0" noProof="0" dirty="0">
                <a:ln>
                  <a:noFill/>
                </a:ln>
                <a:solidFill>
                  <a:prstClr val="black"/>
                </a:solidFill>
                <a:effectLst>
                  <a:glow>
                    <a:srgbClr val="000000"/>
                  </a:glow>
                </a:effectLst>
                <a:uLnTx/>
                <a:uFillTx/>
                <a:latin typeface="Garamond" pitchFamily="18" charset="0"/>
                <a:ea typeface="+mn-ea"/>
                <a:cs typeface="Arial" panose="020B0604020202020204" pitchFamily="34" charset="0"/>
              </a:rPr>
              <a:t>Liso-cel 2L</a:t>
            </a:r>
          </a:p>
        </p:txBody>
      </p:sp>
      <p:cxnSp>
        <p:nvCxnSpPr>
          <p:cNvPr id="15" name="Straight Connector 14">
            <a:extLst>
              <a:ext uri="{FF2B5EF4-FFF2-40B4-BE49-F238E27FC236}">
                <a16:creationId xmlns:a16="http://schemas.microsoft.com/office/drawing/2014/main" id="{9D45118F-9CF0-2267-3CD6-794D4722DAE7}"/>
              </a:ext>
            </a:extLst>
          </p:cNvPr>
          <p:cNvCxnSpPr>
            <a:cxnSpLocks/>
          </p:cNvCxnSpPr>
          <p:nvPr/>
        </p:nvCxnSpPr>
        <p:spPr>
          <a:xfrm>
            <a:off x="2631926" y="2891891"/>
            <a:ext cx="122456"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5DAA7513-A053-2110-AF13-F1A0BF37508A}"/>
              </a:ext>
            </a:extLst>
          </p:cNvPr>
          <p:cNvSpPr txBox="1"/>
          <p:nvPr/>
        </p:nvSpPr>
        <p:spPr>
          <a:xfrm>
            <a:off x="3605005" y="2828412"/>
            <a:ext cx="567923" cy="126958"/>
          </a:xfrm>
          <a:prstGeom prst="rect">
            <a:avLst/>
          </a:prstGeom>
          <a:noFill/>
        </p:spPr>
        <p:txBody>
          <a:bodyPr wrap="square" lIns="0" tIns="0" rIns="0" bIns="0" rtlCol="0">
            <a:spAutoFit/>
          </a:bodyPr>
          <a:lstStyle/>
          <a:p>
            <a:pPr marL="0" marR="0" lvl="0" indent="0" algn="l" defTabSz="257175" rtl="0" eaLnBrk="1" fontAlgn="base" latinLnBrk="0" hangingPunct="1">
              <a:lnSpc>
                <a:spcPct val="100000"/>
              </a:lnSpc>
              <a:spcBef>
                <a:spcPct val="0"/>
              </a:spcBef>
              <a:spcAft>
                <a:spcPct val="0"/>
              </a:spcAft>
              <a:buClrTx/>
              <a:buSzTx/>
              <a:buFontTx/>
              <a:buNone/>
              <a:tabLst/>
              <a:defRPr/>
            </a:pPr>
            <a:r>
              <a:rPr kumimoji="0" lang="en-US" sz="825" b="1" i="0" u="none" strike="noStrike" kern="1200" cap="none" spc="0" normalizeH="0" baseline="0" noProof="0" dirty="0">
                <a:ln>
                  <a:noFill/>
                </a:ln>
                <a:solidFill>
                  <a:prstClr val="black"/>
                </a:solidFill>
                <a:effectLst>
                  <a:glow>
                    <a:srgbClr val="000000"/>
                  </a:glow>
                </a:effectLst>
                <a:uLnTx/>
                <a:uFillTx/>
                <a:latin typeface="Garamond" pitchFamily="18" charset="0"/>
                <a:ea typeface="+mn-ea"/>
                <a:cs typeface="Arial" panose="020B0604020202020204" pitchFamily="34" charset="0"/>
              </a:rPr>
              <a:t>Censored</a:t>
            </a:r>
          </a:p>
        </p:txBody>
      </p:sp>
      <p:grpSp>
        <p:nvGrpSpPr>
          <p:cNvPr id="18" name="Group 17">
            <a:extLst>
              <a:ext uri="{FF2B5EF4-FFF2-40B4-BE49-F238E27FC236}">
                <a16:creationId xmlns:a16="http://schemas.microsoft.com/office/drawing/2014/main" id="{9F6F5FDE-7608-E98D-52DC-2027E1F993FA}"/>
              </a:ext>
            </a:extLst>
          </p:cNvPr>
          <p:cNvGrpSpPr/>
          <p:nvPr/>
        </p:nvGrpSpPr>
        <p:grpSpPr>
          <a:xfrm>
            <a:off x="3433355" y="2830663"/>
            <a:ext cx="122456" cy="122456"/>
            <a:chOff x="5044699" y="3834360"/>
            <a:chExt cx="163275" cy="163275"/>
          </a:xfrm>
        </p:grpSpPr>
        <p:cxnSp>
          <p:nvCxnSpPr>
            <p:cNvPr id="19" name="Straight Connector 18">
              <a:extLst>
                <a:ext uri="{FF2B5EF4-FFF2-40B4-BE49-F238E27FC236}">
                  <a16:creationId xmlns:a16="http://schemas.microsoft.com/office/drawing/2014/main" id="{40F9CADC-C311-4166-775D-6BC76F44D905}"/>
                </a:ext>
              </a:extLst>
            </p:cNvPr>
            <p:cNvCxnSpPr>
              <a:cxnSpLocks/>
            </p:cNvCxnSpPr>
            <p:nvPr/>
          </p:nvCxnSpPr>
          <p:spPr>
            <a:xfrm>
              <a:off x="5044699" y="3915998"/>
              <a:ext cx="163275"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712135C-2E7E-2E5F-041F-394651D35F93}"/>
                </a:ext>
              </a:extLst>
            </p:cNvPr>
            <p:cNvCxnSpPr>
              <a:cxnSpLocks/>
            </p:cNvCxnSpPr>
            <p:nvPr/>
          </p:nvCxnSpPr>
          <p:spPr>
            <a:xfrm rot="5400000">
              <a:off x="5044699" y="3915998"/>
              <a:ext cx="163275"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aphicFrame>
        <p:nvGraphicFramePr>
          <p:cNvPr id="21" name="Table 185">
            <a:extLst>
              <a:ext uri="{FF2B5EF4-FFF2-40B4-BE49-F238E27FC236}">
                <a16:creationId xmlns:a16="http://schemas.microsoft.com/office/drawing/2014/main" id="{C10A3427-1177-C9E0-4D68-019F6AB9BB66}"/>
              </a:ext>
            </a:extLst>
          </p:cNvPr>
          <p:cNvGraphicFramePr>
            <a:graphicFrameLocks noGrp="1"/>
          </p:cNvGraphicFramePr>
          <p:nvPr/>
        </p:nvGraphicFramePr>
        <p:xfrm>
          <a:off x="1722118" y="3407353"/>
          <a:ext cx="8892552" cy="321512"/>
        </p:xfrm>
        <a:graphic>
          <a:graphicData uri="http://schemas.openxmlformats.org/drawingml/2006/table">
            <a:tbl>
              <a:tblPr firstRow="1" bandRow="1">
                <a:tableStyleId>{5C22544A-7EE6-4342-B048-85BDC9FD1C3A}</a:tableStyleId>
              </a:tblPr>
              <a:tblGrid>
                <a:gridCol w="562040">
                  <a:extLst>
                    <a:ext uri="{9D8B030D-6E8A-4147-A177-3AD203B41FA5}">
                      <a16:colId xmlns:a16="http://schemas.microsoft.com/office/drawing/2014/main" val="575635547"/>
                    </a:ext>
                  </a:extLst>
                </a:gridCol>
                <a:gridCol w="438448">
                  <a:extLst>
                    <a:ext uri="{9D8B030D-6E8A-4147-A177-3AD203B41FA5}">
                      <a16:colId xmlns:a16="http://schemas.microsoft.com/office/drawing/2014/main" val="1479506557"/>
                    </a:ext>
                  </a:extLst>
                </a:gridCol>
                <a:gridCol w="438448">
                  <a:extLst>
                    <a:ext uri="{9D8B030D-6E8A-4147-A177-3AD203B41FA5}">
                      <a16:colId xmlns:a16="http://schemas.microsoft.com/office/drawing/2014/main" val="897148143"/>
                    </a:ext>
                  </a:extLst>
                </a:gridCol>
                <a:gridCol w="438448">
                  <a:extLst>
                    <a:ext uri="{9D8B030D-6E8A-4147-A177-3AD203B41FA5}">
                      <a16:colId xmlns:a16="http://schemas.microsoft.com/office/drawing/2014/main" val="71934370"/>
                    </a:ext>
                  </a:extLst>
                </a:gridCol>
                <a:gridCol w="438448">
                  <a:extLst>
                    <a:ext uri="{9D8B030D-6E8A-4147-A177-3AD203B41FA5}">
                      <a16:colId xmlns:a16="http://schemas.microsoft.com/office/drawing/2014/main" val="1211061683"/>
                    </a:ext>
                  </a:extLst>
                </a:gridCol>
                <a:gridCol w="438448">
                  <a:extLst>
                    <a:ext uri="{9D8B030D-6E8A-4147-A177-3AD203B41FA5}">
                      <a16:colId xmlns:a16="http://schemas.microsoft.com/office/drawing/2014/main" val="4217103663"/>
                    </a:ext>
                  </a:extLst>
                </a:gridCol>
                <a:gridCol w="438448">
                  <a:extLst>
                    <a:ext uri="{9D8B030D-6E8A-4147-A177-3AD203B41FA5}">
                      <a16:colId xmlns:a16="http://schemas.microsoft.com/office/drawing/2014/main" val="3375530119"/>
                    </a:ext>
                  </a:extLst>
                </a:gridCol>
                <a:gridCol w="438448">
                  <a:extLst>
                    <a:ext uri="{9D8B030D-6E8A-4147-A177-3AD203B41FA5}">
                      <a16:colId xmlns:a16="http://schemas.microsoft.com/office/drawing/2014/main" val="1177430376"/>
                    </a:ext>
                  </a:extLst>
                </a:gridCol>
                <a:gridCol w="438448">
                  <a:extLst>
                    <a:ext uri="{9D8B030D-6E8A-4147-A177-3AD203B41FA5}">
                      <a16:colId xmlns:a16="http://schemas.microsoft.com/office/drawing/2014/main" val="3398547222"/>
                    </a:ext>
                  </a:extLst>
                </a:gridCol>
                <a:gridCol w="438448">
                  <a:extLst>
                    <a:ext uri="{9D8B030D-6E8A-4147-A177-3AD203B41FA5}">
                      <a16:colId xmlns:a16="http://schemas.microsoft.com/office/drawing/2014/main" val="3652118034"/>
                    </a:ext>
                  </a:extLst>
                </a:gridCol>
                <a:gridCol w="438448">
                  <a:extLst>
                    <a:ext uri="{9D8B030D-6E8A-4147-A177-3AD203B41FA5}">
                      <a16:colId xmlns:a16="http://schemas.microsoft.com/office/drawing/2014/main" val="2199375419"/>
                    </a:ext>
                  </a:extLst>
                </a:gridCol>
                <a:gridCol w="438448">
                  <a:extLst>
                    <a:ext uri="{9D8B030D-6E8A-4147-A177-3AD203B41FA5}">
                      <a16:colId xmlns:a16="http://schemas.microsoft.com/office/drawing/2014/main" val="842717510"/>
                    </a:ext>
                  </a:extLst>
                </a:gridCol>
                <a:gridCol w="438448">
                  <a:extLst>
                    <a:ext uri="{9D8B030D-6E8A-4147-A177-3AD203B41FA5}">
                      <a16:colId xmlns:a16="http://schemas.microsoft.com/office/drawing/2014/main" val="2128636549"/>
                    </a:ext>
                  </a:extLst>
                </a:gridCol>
                <a:gridCol w="438448">
                  <a:extLst>
                    <a:ext uri="{9D8B030D-6E8A-4147-A177-3AD203B41FA5}">
                      <a16:colId xmlns:a16="http://schemas.microsoft.com/office/drawing/2014/main" val="1869469487"/>
                    </a:ext>
                  </a:extLst>
                </a:gridCol>
                <a:gridCol w="438448">
                  <a:extLst>
                    <a:ext uri="{9D8B030D-6E8A-4147-A177-3AD203B41FA5}">
                      <a16:colId xmlns:a16="http://schemas.microsoft.com/office/drawing/2014/main" val="2257663961"/>
                    </a:ext>
                  </a:extLst>
                </a:gridCol>
                <a:gridCol w="438448">
                  <a:extLst>
                    <a:ext uri="{9D8B030D-6E8A-4147-A177-3AD203B41FA5}">
                      <a16:colId xmlns:a16="http://schemas.microsoft.com/office/drawing/2014/main" val="2161244561"/>
                    </a:ext>
                  </a:extLst>
                </a:gridCol>
                <a:gridCol w="438448">
                  <a:extLst>
                    <a:ext uri="{9D8B030D-6E8A-4147-A177-3AD203B41FA5}">
                      <a16:colId xmlns:a16="http://schemas.microsoft.com/office/drawing/2014/main" val="998249543"/>
                    </a:ext>
                  </a:extLst>
                </a:gridCol>
                <a:gridCol w="438448">
                  <a:extLst>
                    <a:ext uri="{9D8B030D-6E8A-4147-A177-3AD203B41FA5}">
                      <a16:colId xmlns:a16="http://schemas.microsoft.com/office/drawing/2014/main" val="562638259"/>
                    </a:ext>
                  </a:extLst>
                </a:gridCol>
                <a:gridCol w="438448">
                  <a:extLst>
                    <a:ext uri="{9D8B030D-6E8A-4147-A177-3AD203B41FA5}">
                      <a16:colId xmlns:a16="http://schemas.microsoft.com/office/drawing/2014/main" val="3142732389"/>
                    </a:ext>
                  </a:extLst>
                </a:gridCol>
                <a:gridCol w="438448">
                  <a:extLst>
                    <a:ext uri="{9D8B030D-6E8A-4147-A177-3AD203B41FA5}">
                      <a16:colId xmlns:a16="http://schemas.microsoft.com/office/drawing/2014/main" val="121085567"/>
                    </a:ext>
                  </a:extLst>
                </a:gridCol>
              </a:tblGrid>
              <a:tr h="160756">
                <a:tc gridSpan="20">
                  <a:txBody>
                    <a:bodyPr/>
                    <a:lstStyle/>
                    <a:p>
                      <a:r>
                        <a:rPr lang="en-US" sz="800" cap="none" dirty="0">
                          <a:solidFill>
                            <a:schemeClr val="tx1"/>
                          </a:solidFill>
                          <a:effectLst>
                            <a:glow>
                              <a:srgbClr val="000000"/>
                            </a:glow>
                          </a:effectLst>
                        </a:rPr>
                        <a:t>No. at risk</a:t>
                      </a:r>
                    </a:p>
                  </a:txBody>
                  <a:tcPr marL="0" marR="0"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dirty="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dirty="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dirty="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dirty="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dirty="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6124150"/>
                  </a:ext>
                </a:extLst>
              </a:tr>
              <a:tr h="160756">
                <a:tc>
                  <a:txBody>
                    <a:bodyPr/>
                    <a:lstStyle/>
                    <a:p>
                      <a:r>
                        <a:rPr lang="en-US" sz="800" b="1" cap="none" dirty="0">
                          <a:solidFill>
                            <a:schemeClr val="accent5"/>
                          </a:solidFill>
                          <a:effectLst>
                            <a:glow>
                              <a:srgbClr val="000000"/>
                            </a:glow>
                          </a:effectLst>
                        </a:rPr>
                        <a:t>Liso-cel 2L</a:t>
                      </a:r>
                    </a:p>
                  </a:txBody>
                  <a:tcPr marL="0" marR="0"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cap="none" dirty="0">
                          <a:solidFill>
                            <a:schemeClr val="accent5"/>
                          </a:solidFill>
                          <a:effectLst>
                            <a:glow>
                              <a:srgbClr val="000000"/>
                            </a:glow>
                          </a:effectLst>
                        </a:rPr>
                        <a:t>43</a:t>
                      </a: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cap="none" dirty="0">
                          <a:solidFill>
                            <a:schemeClr val="accent5"/>
                          </a:solidFill>
                          <a:effectLst>
                            <a:glow>
                              <a:srgbClr val="000000"/>
                            </a:glow>
                          </a:effectLst>
                        </a:rPr>
                        <a:t>40</a:t>
                      </a: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cap="none" dirty="0">
                          <a:solidFill>
                            <a:schemeClr val="accent5"/>
                          </a:solidFill>
                          <a:effectLst>
                            <a:glow>
                              <a:srgbClr val="000000"/>
                            </a:glow>
                          </a:effectLst>
                        </a:rPr>
                        <a:t>40</a:t>
                      </a: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cap="none" dirty="0">
                          <a:solidFill>
                            <a:schemeClr val="accent5"/>
                          </a:solidFill>
                          <a:effectLst>
                            <a:glow>
                              <a:srgbClr val="000000"/>
                            </a:glow>
                          </a:effectLst>
                        </a:rPr>
                        <a:t>40</a:t>
                      </a: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cap="none" dirty="0">
                          <a:solidFill>
                            <a:schemeClr val="accent5"/>
                          </a:solidFill>
                          <a:effectLst>
                            <a:glow>
                              <a:srgbClr val="000000"/>
                            </a:glow>
                          </a:effectLst>
                        </a:rPr>
                        <a:t>37</a:t>
                      </a: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cap="none" dirty="0">
                          <a:solidFill>
                            <a:schemeClr val="accent5"/>
                          </a:solidFill>
                          <a:effectLst>
                            <a:glow>
                              <a:srgbClr val="000000"/>
                            </a:glow>
                          </a:effectLst>
                        </a:rPr>
                        <a:t>35</a:t>
                      </a: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cap="none" dirty="0">
                          <a:solidFill>
                            <a:schemeClr val="accent5"/>
                          </a:solidFill>
                          <a:effectLst>
                            <a:glow>
                              <a:srgbClr val="000000"/>
                            </a:glow>
                          </a:effectLst>
                        </a:rPr>
                        <a:t>19</a:t>
                      </a: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cap="none" dirty="0">
                          <a:solidFill>
                            <a:schemeClr val="accent5"/>
                          </a:solidFill>
                          <a:effectLst>
                            <a:glow>
                              <a:srgbClr val="000000"/>
                            </a:glow>
                          </a:effectLst>
                        </a:rPr>
                        <a:t>16</a:t>
                      </a: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cap="none" dirty="0">
                          <a:solidFill>
                            <a:schemeClr val="accent5"/>
                          </a:solidFill>
                          <a:effectLst>
                            <a:glow>
                              <a:srgbClr val="000000"/>
                            </a:glow>
                          </a:effectLst>
                        </a:rPr>
                        <a:t>8</a:t>
                      </a: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cap="none" dirty="0">
                          <a:solidFill>
                            <a:schemeClr val="accent5"/>
                          </a:solidFill>
                          <a:effectLst>
                            <a:glow>
                              <a:srgbClr val="000000"/>
                            </a:glow>
                          </a:effectLst>
                        </a:rPr>
                        <a:t>6</a:t>
                      </a: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cap="none" dirty="0">
                          <a:solidFill>
                            <a:schemeClr val="accent5"/>
                          </a:solidFill>
                          <a:effectLst>
                            <a:glow>
                              <a:srgbClr val="000000"/>
                            </a:glow>
                          </a:effectLst>
                        </a:rPr>
                        <a:t>0</a:t>
                      </a: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solidFill>
                          <a:schemeClr val="accent5"/>
                        </a:solidFill>
                      </a:endParaRP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solidFill>
                          <a:schemeClr val="accent5"/>
                        </a:solidFill>
                      </a:endParaRP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solidFill>
                          <a:schemeClr val="accent5"/>
                        </a:solidFill>
                      </a:endParaRP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solidFill>
                          <a:schemeClr val="accent5"/>
                        </a:solidFill>
                      </a:endParaRP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solidFill>
                          <a:schemeClr val="accent5"/>
                        </a:solidFill>
                      </a:endParaRP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solidFill>
                          <a:schemeClr val="accent5"/>
                        </a:solidFill>
                      </a:endParaRP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solidFill>
                          <a:schemeClr val="accent5"/>
                        </a:solidFill>
                      </a:endParaRP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solidFill>
                          <a:schemeClr val="accent5"/>
                        </a:solidFill>
                      </a:endParaRP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7699394"/>
                  </a:ext>
                </a:extLst>
              </a:tr>
            </a:tbl>
          </a:graphicData>
        </a:graphic>
      </p:graphicFrame>
      <p:graphicFrame>
        <p:nvGraphicFramePr>
          <p:cNvPr id="192" name="Shape1_20260318_112737">
            <a:extLst>
              <a:ext uri="{FF2B5EF4-FFF2-40B4-BE49-F238E27FC236}">
                <a16:creationId xmlns:a16="http://schemas.microsoft.com/office/drawing/2014/main" id="{89C914F2-8D14-C114-A4DF-4D4477AB9023}"/>
              </a:ext>
            </a:extLst>
          </p:cNvPr>
          <p:cNvGraphicFramePr>
            <a:graphicFrameLocks/>
          </p:cNvGraphicFramePr>
          <p:nvPr/>
        </p:nvGraphicFramePr>
        <p:xfrm>
          <a:off x="1749820" y="3782845"/>
          <a:ext cx="8720060" cy="1515890"/>
        </p:xfrm>
        <a:graphic>
          <a:graphicData uri="http://schemas.openxmlformats.org/drawingml/2006/chart">
            <c:chart xmlns:c="http://schemas.openxmlformats.org/drawingml/2006/chart" xmlns:r="http://schemas.openxmlformats.org/officeDocument/2006/relationships" r:id="rId4"/>
          </a:graphicData>
        </a:graphic>
      </p:graphicFrame>
      <p:sp>
        <p:nvSpPr>
          <p:cNvPr id="195" name="TextBox 194">
            <a:extLst>
              <a:ext uri="{FF2B5EF4-FFF2-40B4-BE49-F238E27FC236}">
                <a16:creationId xmlns:a16="http://schemas.microsoft.com/office/drawing/2014/main" id="{31808086-57F2-8024-F8E5-AE0A3C290680}"/>
              </a:ext>
            </a:extLst>
          </p:cNvPr>
          <p:cNvSpPr txBox="1"/>
          <p:nvPr/>
        </p:nvSpPr>
        <p:spPr>
          <a:xfrm>
            <a:off x="2784072" y="4726439"/>
            <a:ext cx="586909" cy="126958"/>
          </a:xfrm>
          <a:prstGeom prst="rect">
            <a:avLst/>
          </a:prstGeom>
          <a:noFill/>
        </p:spPr>
        <p:txBody>
          <a:bodyPr wrap="square" lIns="0" tIns="0" rIns="0" bIns="0" rtlCol="0">
            <a:spAutoFit/>
          </a:bodyPr>
          <a:lstStyle/>
          <a:p>
            <a:pPr marL="0" marR="0" lvl="0" indent="0" algn="l" defTabSz="257175" rtl="0" eaLnBrk="1" fontAlgn="base" latinLnBrk="0" hangingPunct="1">
              <a:lnSpc>
                <a:spcPct val="100000"/>
              </a:lnSpc>
              <a:spcBef>
                <a:spcPct val="0"/>
              </a:spcBef>
              <a:spcAft>
                <a:spcPct val="0"/>
              </a:spcAft>
              <a:buClrTx/>
              <a:buSzTx/>
              <a:buFontTx/>
              <a:buNone/>
              <a:tabLst/>
              <a:defRPr/>
            </a:pPr>
            <a:r>
              <a:rPr kumimoji="0" lang="en-US" sz="825" b="1" i="0" u="none" strike="noStrike" kern="1200" cap="none" spc="0" normalizeH="0" baseline="0" noProof="0" dirty="0">
                <a:ln>
                  <a:noFill/>
                </a:ln>
                <a:solidFill>
                  <a:prstClr val="black"/>
                </a:solidFill>
                <a:effectLst>
                  <a:glow>
                    <a:srgbClr val="000000"/>
                  </a:glow>
                </a:effectLst>
                <a:uLnTx/>
                <a:uFillTx/>
                <a:latin typeface="Garamond" pitchFamily="18" charset="0"/>
                <a:ea typeface="+mn-ea"/>
                <a:cs typeface="Arial" panose="020B0604020202020204" pitchFamily="34" charset="0"/>
              </a:rPr>
              <a:t>Liso-cel 3L</a:t>
            </a:r>
          </a:p>
        </p:txBody>
      </p:sp>
      <p:cxnSp>
        <p:nvCxnSpPr>
          <p:cNvPr id="196" name="Straight Connector 195">
            <a:extLst>
              <a:ext uri="{FF2B5EF4-FFF2-40B4-BE49-F238E27FC236}">
                <a16:creationId xmlns:a16="http://schemas.microsoft.com/office/drawing/2014/main" id="{55A3EE1C-30EA-B280-A12D-FF0B35775FD9}"/>
              </a:ext>
            </a:extLst>
          </p:cNvPr>
          <p:cNvCxnSpPr>
            <a:cxnSpLocks/>
          </p:cNvCxnSpPr>
          <p:nvPr/>
        </p:nvCxnSpPr>
        <p:spPr>
          <a:xfrm>
            <a:off x="2631926" y="4789918"/>
            <a:ext cx="122456" cy="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sp>
        <p:nvSpPr>
          <p:cNvPr id="197" name="TextBox 196">
            <a:extLst>
              <a:ext uri="{FF2B5EF4-FFF2-40B4-BE49-F238E27FC236}">
                <a16:creationId xmlns:a16="http://schemas.microsoft.com/office/drawing/2014/main" id="{D570792F-98E9-F1F7-6CE8-862C73BBA314}"/>
              </a:ext>
            </a:extLst>
          </p:cNvPr>
          <p:cNvSpPr txBox="1"/>
          <p:nvPr/>
        </p:nvSpPr>
        <p:spPr>
          <a:xfrm>
            <a:off x="3605005" y="4726439"/>
            <a:ext cx="567923" cy="126958"/>
          </a:xfrm>
          <a:prstGeom prst="rect">
            <a:avLst/>
          </a:prstGeom>
          <a:noFill/>
        </p:spPr>
        <p:txBody>
          <a:bodyPr wrap="square" lIns="0" tIns="0" rIns="0" bIns="0" rtlCol="0">
            <a:spAutoFit/>
          </a:bodyPr>
          <a:lstStyle/>
          <a:p>
            <a:pPr marL="0" marR="0" lvl="0" indent="0" algn="l" defTabSz="257175" rtl="0" eaLnBrk="1" fontAlgn="base" latinLnBrk="0" hangingPunct="1">
              <a:lnSpc>
                <a:spcPct val="100000"/>
              </a:lnSpc>
              <a:spcBef>
                <a:spcPct val="0"/>
              </a:spcBef>
              <a:spcAft>
                <a:spcPct val="0"/>
              </a:spcAft>
              <a:buClrTx/>
              <a:buSzTx/>
              <a:buFontTx/>
              <a:buNone/>
              <a:tabLst/>
              <a:defRPr/>
            </a:pPr>
            <a:r>
              <a:rPr kumimoji="0" lang="en-US" sz="825" b="1" i="0" u="none" strike="noStrike" kern="1200" cap="none" spc="0" normalizeH="0" baseline="0" noProof="0" dirty="0">
                <a:ln>
                  <a:noFill/>
                </a:ln>
                <a:solidFill>
                  <a:prstClr val="black"/>
                </a:solidFill>
                <a:effectLst>
                  <a:glow>
                    <a:srgbClr val="000000"/>
                  </a:glow>
                </a:effectLst>
                <a:uLnTx/>
                <a:uFillTx/>
                <a:latin typeface="Garamond" pitchFamily="18" charset="0"/>
                <a:ea typeface="+mn-ea"/>
                <a:cs typeface="Arial" panose="020B0604020202020204" pitchFamily="34" charset="0"/>
              </a:rPr>
              <a:t>Censored</a:t>
            </a:r>
          </a:p>
        </p:txBody>
      </p:sp>
      <p:grpSp>
        <p:nvGrpSpPr>
          <p:cNvPr id="198" name="Group 197">
            <a:extLst>
              <a:ext uri="{FF2B5EF4-FFF2-40B4-BE49-F238E27FC236}">
                <a16:creationId xmlns:a16="http://schemas.microsoft.com/office/drawing/2014/main" id="{E97B831F-C3C9-4F7E-1343-A7DB6326CFE1}"/>
              </a:ext>
            </a:extLst>
          </p:cNvPr>
          <p:cNvGrpSpPr/>
          <p:nvPr/>
        </p:nvGrpSpPr>
        <p:grpSpPr>
          <a:xfrm>
            <a:off x="3433355" y="4728691"/>
            <a:ext cx="122456" cy="122456"/>
            <a:chOff x="5044699" y="3834360"/>
            <a:chExt cx="163275" cy="163275"/>
          </a:xfrm>
        </p:grpSpPr>
        <p:cxnSp>
          <p:nvCxnSpPr>
            <p:cNvPr id="199" name="Straight Connector 198">
              <a:extLst>
                <a:ext uri="{FF2B5EF4-FFF2-40B4-BE49-F238E27FC236}">
                  <a16:creationId xmlns:a16="http://schemas.microsoft.com/office/drawing/2014/main" id="{ECA8BB1C-F521-2E6F-4517-22EB55A5238E}"/>
                </a:ext>
              </a:extLst>
            </p:cNvPr>
            <p:cNvCxnSpPr>
              <a:cxnSpLocks/>
            </p:cNvCxnSpPr>
            <p:nvPr/>
          </p:nvCxnSpPr>
          <p:spPr>
            <a:xfrm>
              <a:off x="5044699" y="3915998"/>
              <a:ext cx="163275"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85AD5FD9-E96A-32B3-8E59-1CF62BE73760}"/>
                </a:ext>
              </a:extLst>
            </p:cNvPr>
            <p:cNvCxnSpPr>
              <a:cxnSpLocks/>
            </p:cNvCxnSpPr>
            <p:nvPr/>
          </p:nvCxnSpPr>
          <p:spPr>
            <a:xfrm rot="5400000">
              <a:off x="5044699" y="3915998"/>
              <a:ext cx="163275"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aphicFrame>
        <p:nvGraphicFramePr>
          <p:cNvPr id="201" name="Table 185">
            <a:extLst>
              <a:ext uri="{FF2B5EF4-FFF2-40B4-BE49-F238E27FC236}">
                <a16:creationId xmlns:a16="http://schemas.microsoft.com/office/drawing/2014/main" id="{11045C5A-0E48-D845-ACC5-97E6A4C6ED02}"/>
              </a:ext>
            </a:extLst>
          </p:cNvPr>
          <p:cNvGraphicFramePr>
            <a:graphicFrameLocks noGrp="1"/>
          </p:cNvGraphicFramePr>
          <p:nvPr/>
        </p:nvGraphicFramePr>
        <p:xfrm>
          <a:off x="1722118" y="5305380"/>
          <a:ext cx="8892552" cy="321512"/>
        </p:xfrm>
        <a:graphic>
          <a:graphicData uri="http://schemas.openxmlformats.org/drawingml/2006/table">
            <a:tbl>
              <a:tblPr firstRow="1" bandRow="1">
                <a:tableStyleId>{5C22544A-7EE6-4342-B048-85BDC9FD1C3A}</a:tableStyleId>
              </a:tblPr>
              <a:tblGrid>
                <a:gridCol w="562040">
                  <a:extLst>
                    <a:ext uri="{9D8B030D-6E8A-4147-A177-3AD203B41FA5}">
                      <a16:colId xmlns:a16="http://schemas.microsoft.com/office/drawing/2014/main" val="575635547"/>
                    </a:ext>
                  </a:extLst>
                </a:gridCol>
                <a:gridCol w="438448">
                  <a:extLst>
                    <a:ext uri="{9D8B030D-6E8A-4147-A177-3AD203B41FA5}">
                      <a16:colId xmlns:a16="http://schemas.microsoft.com/office/drawing/2014/main" val="1479506557"/>
                    </a:ext>
                  </a:extLst>
                </a:gridCol>
                <a:gridCol w="438448">
                  <a:extLst>
                    <a:ext uri="{9D8B030D-6E8A-4147-A177-3AD203B41FA5}">
                      <a16:colId xmlns:a16="http://schemas.microsoft.com/office/drawing/2014/main" val="897148143"/>
                    </a:ext>
                  </a:extLst>
                </a:gridCol>
                <a:gridCol w="438448">
                  <a:extLst>
                    <a:ext uri="{9D8B030D-6E8A-4147-A177-3AD203B41FA5}">
                      <a16:colId xmlns:a16="http://schemas.microsoft.com/office/drawing/2014/main" val="71934370"/>
                    </a:ext>
                  </a:extLst>
                </a:gridCol>
                <a:gridCol w="438448">
                  <a:extLst>
                    <a:ext uri="{9D8B030D-6E8A-4147-A177-3AD203B41FA5}">
                      <a16:colId xmlns:a16="http://schemas.microsoft.com/office/drawing/2014/main" val="1211061683"/>
                    </a:ext>
                  </a:extLst>
                </a:gridCol>
                <a:gridCol w="438448">
                  <a:extLst>
                    <a:ext uri="{9D8B030D-6E8A-4147-A177-3AD203B41FA5}">
                      <a16:colId xmlns:a16="http://schemas.microsoft.com/office/drawing/2014/main" val="4217103663"/>
                    </a:ext>
                  </a:extLst>
                </a:gridCol>
                <a:gridCol w="438448">
                  <a:extLst>
                    <a:ext uri="{9D8B030D-6E8A-4147-A177-3AD203B41FA5}">
                      <a16:colId xmlns:a16="http://schemas.microsoft.com/office/drawing/2014/main" val="3375530119"/>
                    </a:ext>
                  </a:extLst>
                </a:gridCol>
                <a:gridCol w="438448">
                  <a:extLst>
                    <a:ext uri="{9D8B030D-6E8A-4147-A177-3AD203B41FA5}">
                      <a16:colId xmlns:a16="http://schemas.microsoft.com/office/drawing/2014/main" val="1177430376"/>
                    </a:ext>
                  </a:extLst>
                </a:gridCol>
                <a:gridCol w="438448">
                  <a:extLst>
                    <a:ext uri="{9D8B030D-6E8A-4147-A177-3AD203B41FA5}">
                      <a16:colId xmlns:a16="http://schemas.microsoft.com/office/drawing/2014/main" val="3398547222"/>
                    </a:ext>
                  </a:extLst>
                </a:gridCol>
                <a:gridCol w="438448">
                  <a:extLst>
                    <a:ext uri="{9D8B030D-6E8A-4147-A177-3AD203B41FA5}">
                      <a16:colId xmlns:a16="http://schemas.microsoft.com/office/drawing/2014/main" val="3652118034"/>
                    </a:ext>
                  </a:extLst>
                </a:gridCol>
                <a:gridCol w="438448">
                  <a:extLst>
                    <a:ext uri="{9D8B030D-6E8A-4147-A177-3AD203B41FA5}">
                      <a16:colId xmlns:a16="http://schemas.microsoft.com/office/drawing/2014/main" val="2199375419"/>
                    </a:ext>
                  </a:extLst>
                </a:gridCol>
                <a:gridCol w="438448">
                  <a:extLst>
                    <a:ext uri="{9D8B030D-6E8A-4147-A177-3AD203B41FA5}">
                      <a16:colId xmlns:a16="http://schemas.microsoft.com/office/drawing/2014/main" val="842717510"/>
                    </a:ext>
                  </a:extLst>
                </a:gridCol>
                <a:gridCol w="438448">
                  <a:extLst>
                    <a:ext uri="{9D8B030D-6E8A-4147-A177-3AD203B41FA5}">
                      <a16:colId xmlns:a16="http://schemas.microsoft.com/office/drawing/2014/main" val="2128636549"/>
                    </a:ext>
                  </a:extLst>
                </a:gridCol>
                <a:gridCol w="438448">
                  <a:extLst>
                    <a:ext uri="{9D8B030D-6E8A-4147-A177-3AD203B41FA5}">
                      <a16:colId xmlns:a16="http://schemas.microsoft.com/office/drawing/2014/main" val="1869469487"/>
                    </a:ext>
                  </a:extLst>
                </a:gridCol>
                <a:gridCol w="438448">
                  <a:extLst>
                    <a:ext uri="{9D8B030D-6E8A-4147-A177-3AD203B41FA5}">
                      <a16:colId xmlns:a16="http://schemas.microsoft.com/office/drawing/2014/main" val="2257663961"/>
                    </a:ext>
                  </a:extLst>
                </a:gridCol>
                <a:gridCol w="438448">
                  <a:extLst>
                    <a:ext uri="{9D8B030D-6E8A-4147-A177-3AD203B41FA5}">
                      <a16:colId xmlns:a16="http://schemas.microsoft.com/office/drawing/2014/main" val="2161244561"/>
                    </a:ext>
                  </a:extLst>
                </a:gridCol>
                <a:gridCol w="438448">
                  <a:extLst>
                    <a:ext uri="{9D8B030D-6E8A-4147-A177-3AD203B41FA5}">
                      <a16:colId xmlns:a16="http://schemas.microsoft.com/office/drawing/2014/main" val="998249543"/>
                    </a:ext>
                  </a:extLst>
                </a:gridCol>
                <a:gridCol w="438448">
                  <a:extLst>
                    <a:ext uri="{9D8B030D-6E8A-4147-A177-3AD203B41FA5}">
                      <a16:colId xmlns:a16="http://schemas.microsoft.com/office/drawing/2014/main" val="562638259"/>
                    </a:ext>
                  </a:extLst>
                </a:gridCol>
                <a:gridCol w="438448">
                  <a:extLst>
                    <a:ext uri="{9D8B030D-6E8A-4147-A177-3AD203B41FA5}">
                      <a16:colId xmlns:a16="http://schemas.microsoft.com/office/drawing/2014/main" val="3142732389"/>
                    </a:ext>
                  </a:extLst>
                </a:gridCol>
                <a:gridCol w="438448">
                  <a:extLst>
                    <a:ext uri="{9D8B030D-6E8A-4147-A177-3AD203B41FA5}">
                      <a16:colId xmlns:a16="http://schemas.microsoft.com/office/drawing/2014/main" val="121085567"/>
                    </a:ext>
                  </a:extLst>
                </a:gridCol>
              </a:tblGrid>
              <a:tr h="160756">
                <a:tc gridSpan="20">
                  <a:txBody>
                    <a:bodyPr/>
                    <a:lstStyle/>
                    <a:p>
                      <a:r>
                        <a:rPr lang="en-US" sz="800" cap="none" dirty="0">
                          <a:solidFill>
                            <a:schemeClr val="tx1"/>
                          </a:solidFill>
                          <a:effectLst>
                            <a:glow>
                              <a:srgbClr val="000000"/>
                            </a:glow>
                          </a:effectLst>
                        </a:rPr>
                        <a:t>No. at risk</a:t>
                      </a:r>
                    </a:p>
                  </a:txBody>
                  <a:tcPr marL="0" marR="0"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dirty="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dirty="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dirty="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dirty="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dirty="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6124150"/>
                  </a:ext>
                </a:extLst>
              </a:tr>
              <a:tr h="160756">
                <a:tc>
                  <a:txBody>
                    <a:bodyPr/>
                    <a:lstStyle/>
                    <a:p>
                      <a:r>
                        <a:rPr lang="en-US" sz="800" b="1" cap="none" dirty="0">
                          <a:solidFill>
                            <a:srgbClr val="F88D29"/>
                          </a:solidFill>
                          <a:effectLst>
                            <a:glow>
                              <a:srgbClr val="000000"/>
                            </a:glow>
                          </a:effectLst>
                        </a:rPr>
                        <a:t>Liso-cel 3L</a:t>
                      </a:r>
                    </a:p>
                  </a:txBody>
                  <a:tcPr marL="0" marR="0"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cap="none" dirty="0">
                          <a:solidFill>
                            <a:srgbClr val="F88D29"/>
                          </a:solidFill>
                          <a:effectLst>
                            <a:glow>
                              <a:srgbClr val="000000"/>
                            </a:glow>
                          </a:effectLst>
                        </a:rPr>
                        <a:t>24</a:t>
                      </a: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cap="none" dirty="0">
                          <a:solidFill>
                            <a:srgbClr val="F88D29"/>
                          </a:solidFill>
                          <a:effectLst>
                            <a:glow>
                              <a:srgbClr val="000000"/>
                            </a:glow>
                          </a:effectLst>
                        </a:rPr>
                        <a:t>23</a:t>
                      </a: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cap="none" dirty="0">
                          <a:solidFill>
                            <a:srgbClr val="F88D29"/>
                          </a:solidFill>
                          <a:effectLst>
                            <a:glow>
                              <a:srgbClr val="000000"/>
                            </a:glow>
                          </a:effectLst>
                        </a:rPr>
                        <a:t>21</a:t>
                      </a: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cap="none" dirty="0">
                          <a:solidFill>
                            <a:srgbClr val="F88D29"/>
                          </a:solidFill>
                          <a:effectLst>
                            <a:glow>
                              <a:srgbClr val="000000"/>
                            </a:glow>
                          </a:effectLst>
                        </a:rPr>
                        <a:t>21</a:t>
                      </a: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cap="none" dirty="0">
                          <a:solidFill>
                            <a:srgbClr val="F88D29"/>
                          </a:solidFill>
                          <a:effectLst>
                            <a:glow>
                              <a:srgbClr val="000000"/>
                            </a:glow>
                          </a:effectLst>
                        </a:rPr>
                        <a:t>20</a:t>
                      </a: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cap="none" dirty="0">
                          <a:solidFill>
                            <a:srgbClr val="F88D29"/>
                          </a:solidFill>
                          <a:effectLst>
                            <a:glow>
                              <a:srgbClr val="000000"/>
                            </a:glow>
                          </a:effectLst>
                        </a:rPr>
                        <a:t>18</a:t>
                      </a: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F88D29"/>
                          </a:solidFill>
                          <a:effectLst>
                            <a:glow>
                              <a:srgbClr val="000000"/>
                            </a:glow>
                          </a:effectLst>
                          <a:uLnTx/>
                          <a:uFillTx/>
                          <a:latin typeface="Krub"/>
                          <a:ea typeface="+mn-ea"/>
                          <a:cs typeface="+mn-cs"/>
                          <a:sym typeface="Arial"/>
                        </a:rPr>
                        <a:t>18</a:t>
                      </a: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F88D29"/>
                          </a:solidFill>
                          <a:effectLst>
                            <a:glow>
                              <a:srgbClr val="000000"/>
                            </a:glow>
                          </a:effectLst>
                          <a:uLnTx/>
                          <a:uFillTx/>
                          <a:latin typeface="Krub"/>
                          <a:ea typeface="+mn-ea"/>
                          <a:cs typeface="+mn-cs"/>
                          <a:sym typeface="Arial"/>
                        </a:rPr>
                        <a:t>18</a:t>
                      </a: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cap="none" dirty="0">
                          <a:solidFill>
                            <a:srgbClr val="F88D29"/>
                          </a:solidFill>
                          <a:effectLst>
                            <a:glow>
                              <a:srgbClr val="000000"/>
                            </a:glow>
                          </a:effectLst>
                        </a:rPr>
                        <a:t>17</a:t>
                      </a: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cap="none" dirty="0">
                          <a:solidFill>
                            <a:srgbClr val="F88D29"/>
                          </a:solidFill>
                          <a:effectLst>
                            <a:glow>
                              <a:srgbClr val="000000"/>
                            </a:glow>
                          </a:effectLst>
                        </a:rPr>
                        <a:t>15</a:t>
                      </a: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cap="none" dirty="0">
                          <a:solidFill>
                            <a:srgbClr val="F88D29"/>
                          </a:solidFill>
                          <a:effectLst>
                            <a:glow>
                              <a:srgbClr val="000000"/>
                            </a:glow>
                          </a:effectLst>
                        </a:rPr>
                        <a:t>12</a:t>
                      </a: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cap="none" dirty="0">
                          <a:solidFill>
                            <a:srgbClr val="F88D29"/>
                          </a:solidFill>
                          <a:effectLst>
                            <a:glow>
                              <a:srgbClr val="000000"/>
                            </a:glow>
                          </a:effectLst>
                        </a:rPr>
                        <a:t>10</a:t>
                      </a: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cap="none" dirty="0">
                          <a:solidFill>
                            <a:srgbClr val="F88D29"/>
                          </a:solidFill>
                          <a:effectLst>
                            <a:glow>
                              <a:srgbClr val="000000"/>
                            </a:glow>
                          </a:effectLst>
                        </a:rPr>
                        <a:t>7</a:t>
                      </a: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cap="none" dirty="0">
                          <a:solidFill>
                            <a:srgbClr val="F88D29"/>
                          </a:solidFill>
                          <a:effectLst>
                            <a:glow>
                              <a:srgbClr val="000000"/>
                            </a:glow>
                          </a:effectLst>
                        </a:rPr>
                        <a:t>5</a:t>
                      </a: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cap="none" dirty="0">
                          <a:solidFill>
                            <a:srgbClr val="F88D29"/>
                          </a:solidFill>
                          <a:effectLst>
                            <a:glow>
                              <a:srgbClr val="000000"/>
                            </a:glow>
                          </a:effectLst>
                        </a:rPr>
                        <a:t>3</a:t>
                      </a: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cap="none" dirty="0">
                          <a:solidFill>
                            <a:srgbClr val="F88D29"/>
                          </a:solidFill>
                          <a:effectLst>
                            <a:glow>
                              <a:srgbClr val="000000"/>
                            </a:glow>
                          </a:effectLst>
                        </a:rPr>
                        <a:t>2</a:t>
                      </a: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cap="none" dirty="0">
                          <a:solidFill>
                            <a:srgbClr val="F88D29"/>
                          </a:solidFill>
                          <a:effectLst>
                            <a:glow>
                              <a:srgbClr val="000000"/>
                            </a:glow>
                          </a:effectLst>
                        </a:rPr>
                        <a:t>0</a:t>
                      </a: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solidFill>
                          <a:schemeClr val="accent5"/>
                        </a:solidFill>
                      </a:endParaRP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solidFill>
                          <a:schemeClr val="accent5"/>
                        </a:solidFill>
                      </a:endParaRP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7699394"/>
                  </a:ext>
                </a:extLst>
              </a:tr>
            </a:tbl>
          </a:graphicData>
        </a:graphic>
      </p:graphicFrame>
      <p:sp>
        <p:nvSpPr>
          <p:cNvPr id="321" name="Graphic 18">
            <a:extLst>
              <a:ext uri="{FF2B5EF4-FFF2-40B4-BE49-F238E27FC236}">
                <a16:creationId xmlns:a16="http://schemas.microsoft.com/office/drawing/2014/main" id="{C25BFEC2-60CF-65D5-0D38-EA598E7A319D}"/>
              </a:ext>
            </a:extLst>
          </p:cNvPr>
          <p:cNvSpPr/>
          <p:nvPr/>
        </p:nvSpPr>
        <p:spPr>
          <a:xfrm>
            <a:off x="2493234" y="1953880"/>
            <a:ext cx="4335182" cy="46083"/>
          </a:xfrm>
          <a:custGeom>
            <a:avLst/>
            <a:gdLst>
              <a:gd name="csX0" fmla="*/ 0 w 2388467"/>
              <a:gd name="csY0" fmla="*/ 0 h 60388"/>
              <a:gd name="csX1" fmla="*/ 232451 w 2388467"/>
              <a:gd name="csY1" fmla="*/ 0 h 60388"/>
              <a:gd name="csX2" fmla="*/ 232451 w 2388467"/>
              <a:gd name="csY2" fmla="*/ 31242 h 60388"/>
              <a:gd name="csX3" fmla="*/ 755532 w 2388467"/>
              <a:gd name="csY3" fmla="*/ 31242 h 60388"/>
              <a:gd name="csX4" fmla="*/ 755532 w 2388467"/>
              <a:gd name="csY4" fmla="*/ 60389 h 60388"/>
              <a:gd name="csX5" fmla="*/ 2388468 w 2388467"/>
              <a:gd name="csY5" fmla="*/ 60389 h 60388"/>
            </a:gdLst>
            <a:ahLst/>
            <a:cxnLst>
              <a:cxn ang="0">
                <a:pos x="csX0" y="csY0"/>
              </a:cxn>
              <a:cxn ang="0">
                <a:pos x="csX1" y="csY1"/>
              </a:cxn>
              <a:cxn ang="0">
                <a:pos x="csX2" y="csY2"/>
              </a:cxn>
              <a:cxn ang="0">
                <a:pos x="csX3" y="csY3"/>
              </a:cxn>
              <a:cxn ang="0">
                <a:pos x="csX4" y="csY4"/>
              </a:cxn>
              <a:cxn ang="0">
                <a:pos x="csX5" y="csY5"/>
              </a:cxn>
            </a:cxnLst>
            <a:rect l="l" t="t" r="r" b="b"/>
            <a:pathLst>
              <a:path w="2388467" h="60388">
                <a:moveTo>
                  <a:pt x="0" y="0"/>
                </a:moveTo>
                <a:lnTo>
                  <a:pt x="232451" y="0"/>
                </a:lnTo>
                <a:lnTo>
                  <a:pt x="232451" y="31242"/>
                </a:lnTo>
                <a:lnTo>
                  <a:pt x="755532" y="31242"/>
                </a:lnTo>
                <a:lnTo>
                  <a:pt x="755532" y="60389"/>
                </a:lnTo>
                <a:lnTo>
                  <a:pt x="2388468" y="60389"/>
                </a:lnTo>
              </a:path>
            </a:pathLst>
          </a:custGeom>
          <a:noFill/>
          <a:ln w="19050" cap="flat">
            <a:solidFill>
              <a:srgbClr val="F88D29"/>
            </a:solidFill>
            <a:prstDash val="solid"/>
            <a:miter lim="800000"/>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aramond" pitchFamily="18" charset="0"/>
              <a:ea typeface="+mn-ea"/>
              <a:cs typeface="+mn-cs"/>
            </a:endParaRPr>
          </a:p>
        </p:txBody>
      </p:sp>
      <p:grpSp>
        <p:nvGrpSpPr>
          <p:cNvPr id="322" name="Group 321">
            <a:extLst>
              <a:ext uri="{FF2B5EF4-FFF2-40B4-BE49-F238E27FC236}">
                <a16:creationId xmlns:a16="http://schemas.microsoft.com/office/drawing/2014/main" id="{04CE35B1-CA85-E067-77D5-3028E108511A}"/>
              </a:ext>
            </a:extLst>
          </p:cNvPr>
          <p:cNvGrpSpPr/>
          <p:nvPr/>
        </p:nvGrpSpPr>
        <p:grpSpPr>
          <a:xfrm>
            <a:off x="2598352" y="1931991"/>
            <a:ext cx="135835" cy="45179"/>
            <a:chOff x="22867620" y="6131560"/>
            <a:chExt cx="137160" cy="137160"/>
          </a:xfrm>
        </p:grpSpPr>
        <p:cxnSp>
          <p:nvCxnSpPr>
            <p:cNvPr id="392" name="Straight Connector 391">
              <a:extLst>
                <a:ext uri="{FF2B5EF4-FFF2-40B4-BE49-F238E27FC236}">
                  <a16:creationId xmlns:a16="http://schemas.microsoft.com/office/drawing/2014/main" id="{831996B5-A369-4199-1593-F1F739F8BA6A}"/>
                </a:ext>
              </a:extLst>
            </p:cNvPr>
            <p:cNvCxnSpPr/>
            <p:nvPr/>
          </p:nvCxnSpPr>
          <p:spPr>
            <a:xfrm>
              <a:off x="22936200" y="613156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93" name="Straight Connector 392">
              <a:extLst>
                <a:ext uri="{FF2B5EF4-FFF2-40B4-BE49-F238E27FC236}">
                  <a16:creationId xmlns:a16="http://schemas.microsoft.com/office/drawing/2014/main" id="{993CD77B-2B81-FC35-8A1C-654EE5919621}"/>
                </a:ext>
              </a:extLst>
            </p:cNvPr>
            <p:cNvCxnSpPr>
              <a:cxnSpLocks/>
            </p:cNvCxnSpPr>
            <p:nvPr/>
          </p:nvCxnSpPr>
          <p:spPr>
            <a:xfrm rot="5400000">
              <a:off x="22936200" y="612902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23" name="Group 322">
            <a:extLst>
              <a:ext uri="{FF2B5EF4-FFF2-40B4-BE49-F238E27FC236}">
                <a16:creationId xmlns:a16="http://schemas.microsoft.com/office/drawing/2014/main" id="{5FA900B9-9A36-D584-99FF-E9ED33422FD8}"/>
              </a:ext>
            </a:extLst>
          </p:cNvPr>
          <p:cNvGrpSpPr/>
          <p:nvPr/>
        </p:nvGrpSpPr>
        <p:grpSpPr>
          <a:xfrm>
            <a:off x="2673486" y="1931991"/>
            <a:ext cx="135835" cy="45179"/>
            <a:chOff x="22867620" y="6131560"/>
            <a:chExt cx="137160" cy="137160"/>
          </a:xfrm>
        </p:grpSpPr>
        <p:cxnSp>
          <p:nvCxnSpPr>
            <p:cNvPr id="390" name="Straight Connector 389">
              <a:extLst>
                <a:ext uri="{FF2B5EF4-FFF2-40B4-BE49-F238E27FC236}">
                  <a16:creationId xmlns:a16="http://schemas.microsoft.com/office/drawing/2014/main" id="{EE69BCE3-F1A4-F5DE-404F-315862360268}"/>
                </a:ext>
              </a:extLst>
            </p:cNvPr>
            <p:cNvCxnSpPr/>
            <p:nvPr/>
          </p:nvCxnSpPr>
          <p:spPr>
            <a:xfrm>
              <a:off x="22936200" y="613156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91" name="Straight Connector 390">
              <a:extLst>
                <a:ext uri="{FF2B5EF4-FFF2-40B4-BE49-F238E27FC236}">
                  <a16:creationId xmlns:a16="http://schemas.microsoft.com/office/drawing/2014/main" id="{C492D7C1-A376-367C-3ABA-54215F1C208F}"/>
                </a:ext>
              </a:extLst>
            </p:cNvPr>
            <p:cNvCxnSpPr>
              <a:cxnSpLocks/>
            </p:cNvCxnSpPr>
            <p:nvPr/>
          </p:nvCxnSpPr>
          <p:spPr>
            <a:xfrm rot="5400000">
              <a:off x="22936200" y="612902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24" name="Group 323">
            <a:extLst>
              <a:ext uri="{FF2B5EF4-FFF2-40B4-BE49-F238E27FC236}">
                <a16:creationId xmlns:a16="http://schemas.microsoft.com/office/drawing/2014/main" id="{79F78156-E67D-9046-06AB-14988B0CD527}"/>
              </a:ext>
            </a:extLst>
          </p:cNvPr>
          <p:cNvGrpSpPr/>
          <p:nvPr/>
        </p:nvGrpSpPr>
        <p:grpSpPr>
          <a:xfrm>
            <a:off x="3771742" y="1954784"/>
            <a:ext cx="135835" cy="45179"/>
            <a:chOff x="22867620" y="6131560"/>
            <a:chExt cx="137160" cy="137160"/>
          </a:xfrm>
        </p:grpSpPr>
        <p:cxnSp>
          <p:nvCxnSpPr>
            <p:cNvPr id="388" name="Straight Connector 387">
              <a:extLst>
                <a:ext uri="{FF2B5EF4-FFF2-40B4-BE49-F238E27FC236}">
                  <a16:creationId xmlns:a16="http://schemas.microsoft.com/office/drawing/2014/main" id="{B8503DCF-F940-9CFE-7EAF-E02EEFCC2B6E}"/>
                </a:ext>
              </a:extLst>
            </p:cNvPr>
            <p:cNvCxnSpPr/>
            <p:nvPr/>
          </p:nvCxnSpPr>
          <p:spPr>
            <a:xfrm>
              <a:off x="22936200" y="613156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89" name="Straight Connector 388">
              <a:extLst>
                <a:ext uri="{FF2B5EF4-FFF2-40B4-BE49-F238E27FC236}">
                  <a16:creationId xmlns:a16="http://schemas.microsoft.com/office/drawing/2014/main" id="{2C628021-EC74-A806-EF74-ABFC4F4A53E6}"/>
                </a:ext>
              </a:extLst>
            </p:cNvPr>
            <p:cNvCxnSpPr>
              <a:cxnSpLocks/>
            </p:cNvCxnSpPr>
            <p:nvPr/>
          </p:nvCxnSpPr>
          <p:spPr>
            <a:xfrm rot="5400000">
              <a:off x="22936200" y="612902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25" name="Group 324">
            <a:extLst>
              <a:ext uri="{FF2B5EF4-FFF2-40B4-BE49-F238E27FC236}">
                <a16:creationId xmlns:a16="http://schemas.microsoft.com/office/drawing/2014/main" id="{FDCA2F3B-0D68-AFA6-49C5-498C222BB20D}"/>
              </a:ext>
            </a:extLst>
          </p:cNvPr>
          <p:cNvGrpSpPr/>
          <p:nvPr/>
        </p:nvGrpSpPr>
        <p:grpSpPr>
          <a:xfrm>
            <a:off x="3857550" y="1981685"/>
            <a:ext cx="135835" cy="45179"/>
            <a:chOff x="22867620" y="6131560"/>
            <a:chExt cx="137160" cy="137160"/>
          </a:xfrm>
        </p:grpSpPr>
        <p:cxnSp>
          <p:nvCxnSpPr>
            <p:cNvPr id="386" name="Straight Connector 385">
              <a:extLst>
                <a:ext uri="{FF2B5EF4-FFF2-40B4-BE49-F238E27FC236}">
                  <a16:creationId xmlns:a16="http://schemas.microsoft.com/office/drawing/2014/main" id="{0B4F3C7A-1E01-B0B6-1D2F-6E222122244A}"/>
                </a:ext>
              </a:extLst>
            </p:cNvPr>
            <p:cNvCxnSpPr/>
            <p:nvPr/>
          </p:nvCxnSpPr>
          <p:spPr>
            <a:xfrm>
              <a:off x="22936200" y="613156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87" name="Straight Connector 386">
              <a:extLst>
                <a:ext uri="{FF2B5EF4-FFF2-40B4-BE49-F238E27FC236}">
                  <a16:creationId xmlns:a16="http://schemas.microsoft.com/office/drawing/2014/main" id="{0D9A4E55-2856-68DA-4EFA-0E02DC141719}"/>
                </a:ext>
              </a:extLst>
            </p:cNvPr>
            <p:cNvCxnSpPr>
              <a:cxnSpLocks/>
            </p:cNvCxnSpPr>
            <p:nvPr/>
          </p:nvCxnSpPr>
          <p:spPr>
            <a:xfrm rot="5400000">
              <a:off x="22936200" y="612902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26" name="Group 325">
            <a:extLst>
              <a:ext uri="{FF2B5EF4-FFF2-40B4-BE49-F238E27FC236}">
                <a16:creationId xmlns:a16="http://schemas.microsoft.com/office/drawing/2014/main" id="{0A998DBE-F912-CF94-FA0F-4A0D2B7FF5CC}"/>
              </a:ext>
            </a:extLst>
          </p:cNvPr>
          <p:cNvGrpSpPr/>
          <p:nvPr/>
        </p:nvGrpSpPr>
        <p:grpSpPr>
          <a:xfrm>
            <a:off x="4205664" y="1981685"/>
            <a:ext cx="135835" cy="45179"/>
            <a:chOff x="22867620" y="6131560"/>
            <a:chExt cx="137160" cy="137160"/>
          </a:xfrm>
        </p:grpSpPr>
        <p:cxnSp>
          <p:nvCxnSpPr>
            <p:cNvPr id="384" name="Straight Connector 383">
              <a:extLst>
                <a:ext uri="{FF2B5EF4-FFF2-40B4-BE49-F238E27FC236}">
                  <a16:creationId xmlns:a16="http://schemas.microsoft.com/office/drawing/2014/main" id="{43C5DA9D-1153-DE7F-701E-835F345CEA72}"/>
                </a:ext>
              </a:extLst>
            </p:cNvPr>
            <p:cNvCxnSpPr/>
            <p:nvPr/>
          </p:nvCxnSpPr>
          <p:spPr>
            <a:xfrm>
              <a:off x="22936200" y="613156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85" name="Straight Connector 384">
              <a:extLst>
                <a:ext uri="{FF2B5EF4-FFF2-40B4-BE49-F238E27FC236}">
                  <a16:creationId xmlns:a16="http://schemas.microsoft.com/office/drawing/2014/main" id="{ECD58B8B-E998-C1FA-CF58-A5608E5A4919}"/>
                </a:ext>
              </a:extLst>
            </p:cNvPr>
            <p:cNvCxnSpPr>
              <a:cxnSpLocks/>
            </p:cNvCxnSpPr>
            <p:nvPr/>
          </p:nvCxnSpPr>
          <p:spPr>
            <a:xfrm rot="5400000">
              <a:off x="22936200" y="612902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27" name="Group 326">
            <a:extLst>
              <a:ext uri="{FF2B5EF4-FFF2-40B4-BE49-F238E27FC236}">
                <a16:creationId xmlns:a16="http://schemas.microsoft.com/office/drawing/2014/main" id="{B9F77743-1509-ED81-CA63-84C02E78DD4A}"/>
              </a:ext>
            </a:extLst>
          </p:cNvPr>
          <p:cNvGrpSpPr/>
          <p:nvPr/>
        </p:nvGrpSpPr>
        <p:grpSpPr>
          <a:xfrm>
            <a:off x="4660825" y="1981685"/>
            <a:ext cx="135835" cy="45179"/>
            <a:chOff x="22867620" y="6131560"/>
            <a:chExt cx="137160" cy="137160"/>
          </a:xfrm>
        </p:grpSpPr>
        <p:cxnSp>
          <p:nvCxnSpPr>
            <p:cNvPr id="382" name="Straight Connector 381">
              <a:extLst>
                <a:ext uri="{FF2B5EF4-FFF2-40B4-BE49-F238E27FC236}">
                  <a16:creationId xmlns:a16="http://schemas.microsoft.com/office/drawing/2014/main" id="{6E9B0C75-A0F5-DFCB-8B72-66A47123D708}"/>
                </a:ext>
              </a:extLst>
            </p:cNvPr>
            <p:cNvCxnSpPr/>
            <p:nvPr/>
          </p:nvCxnSpPr>
          <p:spPr>
            <a:xfrm>
              <a:off x="22936200" y="613156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83" name="Straight Connector 382">
              <a:extLst>
                <a:ext uri="{FF2B5EF4-FFF2-40B4-BE49-F238E27FC236}">
                  <a16:creationId xmlns:a16="http://schemas.microsoft.com/office/drawing/2014/main" id="{970C0136-60B9-1AD9-22E4-B76BE41A45F2}"/>
                </a:ext>
              </a:extLst>
            </p:cNvPr>
            <p:cNvCxnSpPr>
              <a:cxnSpLocks/>
            </p:cNvCxnSpPr>
            <p:nvPr/>
          </p:nvCxnSpPr>
          <p:spPr>
            <a:xfrm rot="5400000">
              <a:off x="22936200" y="612902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28" name="Group 327">
            <a:extLst>
              <a:ext uri="{FF2B5EF4-FFF2-40B4-BE49-F238E27FC236}">
                <a16:creationId xmlns:a16="http://schemas.microsoft.com/office/drawing/2014/main" id="{0D031014-BB29-0B8B-717C-CC4CC9780989}"/>
              </a:ext>
            </a:extLst>
          </p:cNvPr>
          <p:cNvGrpSpPr/>
          <p:nvPr/>
        </p:nvGrpSpPr>
        <p:grpSpPr>
          <a:xfrm>
            <a:off x="4734166" y="1981685"/>
            <a:ext cx="135835" cy="45179"/>
            <a:chOff x="22867620" y="6131560"/>
            <a:chExt cx="137160" cy="137160"/>
          </a:xfrm>
        </p:grpSpPr>
        <p:cxnSp>
          <p:nvCxnSpPr>
            <p:cNvPr id="380" name="Straight Connector 379">
              <a:extLst>
                <a:ext uri="{FF2B5EF4-FFF2-40B4-BE49-F238E27FC236}">
                  <a16:creationId xmlns:a16="http://schemas.microsoft.com/office/drawing/2014/main" id="{D1E06A94-3F59-D849-D0A0-8F4AEFC6AD88}"/>
                </a:ext>
              </a:extLst>
            </p:cNvPr>
            <p:cNvCxnSpPr/>
            <p:nvPr/>
          </p:nvCxnSpPr>
          <p:spPr>
            <a:xfrm>
              <a:off x="22936200" y="613156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81" name="Straight Connector 380">
              <a:extLst>
                <a:ext uri="{FF2B5EF4-FFF2-40B4-BE49-F238E27FC236}">
                  <a16:creationId xmlns:a16="http://schemas.microsoft.com/office/drawing/2014/main" id="{21BDAEAF-16EE-0999-48F7-003F01E9C441}"/>
                </a:ext>
              </a:extLst>
            </p:cNvPr>
            <p:cNvCxnSpPr>
              <a:cxnSpLocks/>
            </p:cNvCxnSpPr>
            <p:nvPr/>
          </p:nvCxnSpPr>
          <p:spPr>
            <a:xfrm rot="5400000">
              <a:off x="22936200" y="612902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29" name="Group 328">
            <a:extLst>
              <a:ext uri="{FF2B5EF4-FFF2-40B4-BE49-F238E27FC236}">
                <a16:creationId xmlns:a16="http://schemas.microsoft.com/office/drawing/2014/main" id="{A0716FA8-6C50-C735-98C2-965354D00B81}"/>
              </a:ext>
            </a:extLst>
          </p:cNvPr>
          <p:cNvGrpSpPr/>
          <p:nvPr/>
        </p:nvGrpSpPr>
        <p:grpSpPr>
          <a:xfrm>
            <a:off x="4771553" y="1981685"/>
            <a:ext cx="135835" cy="45179"/>
            <a:chOff x="22867620" y="6131560"/>
            <a:chExt cx="137160" cy="137160"/>
          </a:xfrm>
        </p:grpSpPr>
        <p:cxnSp>
          <p:nvCxnSpPr>
            <p:cNvPr id="378" name="Straight Connector 377">
              <a:extLst>
                <a:ext uri="{FF2B5EF4-FFF2-40B4-BE49-F238E27FC236}">
                  <a16:creationId xmlns:a16="http://schemas.microsoft.com/office/drawing/2014/main" id="{65366A3D-A75E-5F2F-BCEC-79AE7CE79D97}"/>
                </a:ext>
              </a:extLst>
            </p:cNvPr>
            <p:cNvCxnSpPr/>
            <p:nvPr/>
          </p:nvCxnSpPr>
          <p:spPr>
            <a:xfrm>
              <a:off x="22936200" y="613156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79" name="Straight Connector 378">
              <a:extLst>
                <a:ext uri="{FF2B5EF4-FFF2-40B4-BE49-F238E27FC236}">
                  <a16:creationId xmlns:a16="http://schemas.microsoft.com/office/drawing/2014/main" id="{CBEA6C90-1063-6DAF-8194-666EAD9E45A6}"/>
                </a:ext>
              </a:extLst>
            </p:cNvPr>
            <p:cNvCxnSpPr>
              <a:cxnSpLocks/>
            </p:cNvCxnSpPr>
            <p:nvPr/>
          </p:nvCxnSpPr>
          <p:spPr>
            <a:xfrm rot="5400000">
              <a:off x="22936200" y="612902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30" name="Group 329">
            <a:extLst>
              <a:ext uri="{FF2B5EF4-FFF2-40B4-BE49-F238E27FC236}">
                <a16:creationId xmlns:a16="http://schemas.microsoft.com/office/drawing/2014/main" id="{E8849D4C-D693-34A3-21D2-2357E4ACA8F3}"/>
              </a:ext>
            </a:extLst>
          </p:cNvPr>
          <p:cNvGrpSpPr/>
          <p:nvPr/>
        </p:nvGrpSpPr>
        <p:grpSpPr>
          <a:xfrm>
            <a:off x="4802082" y="1981685"/>
            <a:ext cx="135835" cy="45179"/>
            <a:chOff x="22867620" y="6131560"/>
            <a:chExt cx="137160" cy="137160"/>
          </a:xfrm>
        </p:grpSpPr>
        <p:cxnSp>
          <p:nvCxnSpPr>
            <p:cNvPr id="376" name="Straight Connector 375">
              <a:extLst>
                <a:ext uri="{FF2B5EF4-FFF2-40B4-BE49-F238E27FC236}">
                  <a16:creationId xmlns:a16="http://schemas.microsoft.com/office/drawing/2014/main" id="{82D3185D-E10B-8C06-A5EA-417D922EDF33}"/>
                </a:ext>
              </a:extLst>
            </p:cNvPr>
            <p:cNvCxnSpPr/>
            <p:nvPr/>
          </p:nvCxnSpPr>
          <p:spPr>
            <a:xfrm>
              <a:off x="22936200" y="613156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77" name="Straight Connector 376">
              <a:extLst>
                <a:ext uri="{FF2B5EF4-FFF2-40B4-BE49-F238E27FC236}">
                  <a16:creationId xmlns:a16="http://schemas.microsoft.com/office/drawing/2014/main" id="{947D2275-4D5D-E845-974C-0D9A2E9998BB}"/>
                </a:ext>
              </a:extLst>
            </p:cNvPr>
            <p:cNvCxnSpPr>
              <a:cxnSpLocks/>
            </p:cNvCxnSpPr>
            <p:nvPr/>
          </p:nvCxnSpPr>
          <p:spPr>
            <a:xfrm rot="5400000">
              <a:off x="22936200" y="612902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31" name="Group 330">
            <a:extLst>
              <a:ext uri="{FF2B5EF4-FFF2-40B4-BE49-F238E27FC236}">
                <a16:creationId xmlns:a16="http://schemas.microsoft.com/office/drawing/2014/main" id="{09A29541-5B47-0D9B-57A1-930D4F10A6A7}"/>
              </a:ext>
            </a:extLst>
          </p:cNvPr>
          <p:cNvGrpSpPr/>
          <p:nvPr/>
        </p:nvGrpSpPr>
        <p:grpSpPr>
          <a:xfrm>
            <a:off x="4864580" y="1981685"/>
            <a:ext cx="135835" cy="45179"/>
            <a:chOff x="22867620" y="6131560"/>
            <a:chExt cx="137160" cy="137160"/>
          </a:xfrm>
        </p:grpSpPr>
        <p:cxnSp>
          <p:nvCxnSpPr>
            <p:cNvPr id="374" name="Straight Connector 373">
              <a:extLst>
                <a:ext uri="{FF2B5EF4-FFF2-40B4-BE49-F238E27FC236}">
                  <a16:creationId xmlns:a16="http://schemas.microsoft.com/office/drawing/2014/main" id="{63F9FAB7-E627-2B84-113A-A7FB9D31023D}"/>
                </a:ext>
              </a:extLst>
            </p:cNvPr>
            <p:cNvCxnSpPr/>
            <p:nvPr/>
          </p:nvCxnSpPr>
          <p:spPr>
            <a:xfrm>
              <a:off x="22936200" y="613156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75" name="Straight Connector 374">
              <a:extLst>
                <a:ext uri="{FF2B5EF4-FFF2-40B4-BE49-F238E27FC236}">
                  <a16:creationId xmlns:a16="http://schemas.microsoft.com/office/drawing/2014/main" id="{5D1979B5-28F1-ACA5-7D3A-752BC4741CDB}"/>
                </a:ext>
              </a:extLst>
            </p:cNvPr>
            <p:cNvCxnSpPr>
              <a:cxnSpLocks/>
            </p:cNvCxnSpPr>
            <p:nvPr/>
          </p:nvCxnSpPr>
          <p:spPr>
            <a:xfrm rot="5400000">
              <a:off x="22936200" y="612902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32" name="Group 331">
            <a:extLst>
              <a:ext uri="{FF2B5EF4-FFF2-40B4-BE49-F238E27FC236}">
                <a16:creationId xmlns:a16="http://schemas.microsoft.com/office/drawing/2014/main" id="{8607C8A0-E2DB-1E93-D560-3BB608AC71B8}"/>
              </a:ext>
            </a:extLst>
          </p:cNvPr>
          <p:cNvGrpSpPr/>
          <p:nvPr/>
        </p:nvGrpSpPr>
        <p:grpSpPr>
          <a:xfrm>
            <a:off x="4900528" y="1981685"/>
            <a:ext cx="135835" cy="45179"/>
            <a:chOff x="22867620" y="6131560"/>
            <a:chExt cx="137160" cy="137160"/>
          </a:xfrm>
        </p:grpSpPr>
        <p:cxnSp>
          <p:nvCxnSpPr>
            <p:cNvPr id="372" name="Straight Connector 371">
              <a:extLst>
                <a:ext uri="{FF2B5EF4-FFF2-40B4-BE49-F238E27FC236}">
                  <a16:creationId xmlns:a16="http://schemas.microsoft.com/office/drawing/2014/main" id="{218A2290-342A-AE33-F5E6-476A4F5DC49D}"/>
                </a:ext>
              </a:extLst>
            </p:cNvPr>
            <p:cNvCxnSpPr/>
            <p:nvPr/>
          </p:nvCxnSpPr>
          <p:spPr>
            <a:xfrm>
              <a:off x="22936200" y="613156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73" name="Straight Connector 372">
              <a:extLst>
                <a:ext uri="{FF2B5EF4-FFF2-40B4-BE49-F238E27FC236}">
                  <a16:creationId xmlns:a16="http://schemas.microsoft.com/office/drawing/2014/main" id="{A28FD6CD-8B03-4E15-DE8D-7FCEEE4BA863}"/>
                </a:ext>
              </a:extLst>
            </p:cNvPr>
            <p:cNvCxnSpPr>
              <a:cxnSpLocks/>
            </p:cNvCxnSpPr>
            <p:nvPr/>
          </p:nvCxnSpPr>
          <p:spPr>
            <a:xfrm rot="5400000">
              <a:off x="22936200" y="612902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33" name="Group 332">
            <a:extLst>
              <a:ext uri="{FF2B5EF4-FFF2-40B4-BE49-F238E27FC236}">
                <a16:creationId xmlns:a16="http://schemas.microsoft.com/office/drawing/2014/main" id="{F1250443-3DCB-D888-3961-753065B59BE0}"/>
              </a:ext>
            </a:extLst>
          </p:cNvPr>
          <p:cNvGrpSpPr/>
          <p:nvPr/>
        </p:nvGrpSpPr>
        <p:grpSpPr>
          <a:xfrm>
            <a:off x="5251822" y="1981685"/>
            <a:ext cx="135835" cy="45179"/>
            <a:chOff x="22867620" y="6131560"/>
            <a:chExt cx="137160" cy="137160"/>
          </a:xfrm>
        </p:grpSpPr>
        <p:cxnSp>
          <p:nvCxnSpPr>
            <p:cNvPr id="370" name="Straight Connector 369">
              <a:extLst>
                <a:ext uri="{FF2B5EF4-FFF2-40B4-BE49-F238E27FC236}">
                  <a16:creationId xmlns:a16="http://schemas.microsoft.com/office/drawing/2014/main" id="{95BCDC04-2CE1-94C7-1BF4-C058B5576229}"/>
                </a:ext>
              </a:extLst>
            </p:cNvPr>
            <p:cNvCxnSpPr/>
            <p:nvPr/>
          </p:nvCxnSpPr>
          <p:spPr>
            <a:xfrm>
              <a:off x="22936200" y="613156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71" name="Straight Connector 370">
              <a:extLst>
                <a:ext uri="{FF2B5EF4-FFF2-40B4-BE49-F238E27FC236}">
                  <a16:creationId xmlns:a16="http://schemas.microsoft.com/office/drawing/2014/main" id="{842A333A-E813-9592-B60A-F0061D9B7B4E}"/>
                </a:ext>
              </a:extLst>
            </p:cNvPr>
            <p:cNvCxnSpPr>
              <a:cxnSpLocks/>
            </p:cNvCxnSpPr>
            <p:nvPr/>
          </p:nvCxnSpPr>
          <p:spPr>
            <a:xfrm rot="5400000">
              <a:off x="22936200" y="612902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34" name="Group 333">
            <a:extLst>
              <a:ext uri="{FF2B5EF4-FFF2-40B4-BE49-F238E27FC236}">
                <a16:creationId xmlns:a16="http://schemas.microsoft.com/office/drawing/2014/main" id="{8C03B4C2-D125-49DC-06AE-E3AF25D657DF}"/>
              </a:ext>
            </a:extLst>
          </p:cNvPr>
          <p:cNvGrpSpPr/>
          <p:nvPr/>
        </p:nvGrpSpPr>
        <p:grpSpPr>
          <a:xfrm>
            <a:off x="5415163" y="1981685"/>
            <a:ext cx="135835" cy="45179"/>
            <a:chOff x="22867620" y="6131560"/>
            <a:chExt cx="137160" cy="137160"/>
          </a:xfrm>
        </p:grpSpPr>
        <p:cxnSp>
          <p:nvCxnSpPr>
            <p:cNvPr id="368" name="Straight Connector 367">
              <a:extLst>
                <a:ext uri="{FF2B5EF4-FFF2-40B4-BE49-F238E27FC236}">
                  <a16:creationId xmlns:a16="http://schemas.microsoft.com/office/drawing/2014/main" id="{928ECF6E-4CE9-5F73-FA2F-1E5985CF7C69}"/>
                </a:ext>
              </a:extLst>
            </p:cNvPr>
            <p:cNvCxnSpPr/>
            <p:nvPr/>
          </p:nvCxnSpPr>
          <p:spPr>
            <a:xfrm>
              <a:off x="22936200" y="613156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69" name="Straight Connector 368">
              <a:extLst>
                <a:ext uri="{FF2B5EF4-FFF2-40B4-BE49-F238E27FC236}">
                  <a16:creationId xmlns:a16="http://schemas.microsoft.com/office/drawing/2014/main" id="{9E31ABA8-258C-98F9-6D25-FF1551AFA86A}"/>
                </a:ext>
              </a:extLst>
            </p:cNvPr>
            <p:cNvCxnSpPr>
              <a:cxnSpLocks/>
            </p:cNvCxnSpPr>
            <p:nvPr/>
          </p:nvCxnSpPr>
          <p:spPr>
            <a:xfrm rot="5400000">
              <a:off x="22936200" y="612902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35" name="Group 334">
            <a:extLst>
              <a:ext uri="{FF2B5EF4-FFF2-40B4-BE49-F238E27FC236}">
                <a16:creationId xmlns:a16="http://schemas.microsoft.com/office/drawing/2014/main" id="{D85B0F61-2838-81EC-4088-B9C1F1B57C59}"/>
              </a:ext>
            </a:extLst>
          </p:cNvPr>
          <p:cNvGrpSpPr/>
          <p:nvPr/>
        </p:nvGrpSpPr>
        <p:grpSpPr>
          <a:xfrm>
            <a:off x="5467281" y="1981685"/>
            <a:ext cx="135835" cy="45179"/>
            <a:chOff x="22867620" y="6131560"/>
            <a:chExt cx="137160" cy="137160"/>
          </a:xfrm>
        </p:grpSpPr>
        <p:cxnSp>
          <p:nvCxnSpPr>
            <p:cNvPr id="366" name="Straight Connector 365">
              <a:extLst>
                <a:ext uri="{FF2B5EF4-FFF2-40B4-BE49-F238E27FC236}">
                  <a16:creationId xmlns:a16="http://schemas.microsoft.com/office/drawing/2014/main" id="{4324FA85-8FC5-F076-498D-E435A4DB8E13}"/>
                </a:ext>
              </a:extLst>
            </p:cNvPr>
            <p:cNvCxnSpPr/>
            <p:nvPr/>
          </p:nvCxnSpPr>
          <p:spPr>
            <a:xfrm>
              <a:off x="22936200" y="613156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67" name="Straight Connector 366">
              <a:extLst>
                <a:ext uri="{FF2B5EF4-FFF2-40B4-BE49-F238E27FC236}">
                  <a16:creationId xmlns:a16="http://schemas.microsoft.com/office/drawing/2014/main" id="{10D122DF-3B72-08EA-AFCF-BD9151C88F39}"/>
                </a:ext>
              </a:extLst>
            </p:cNvPr>
            <p:cNvCxnSpPr>
              <a:cxnSpLocks/>
            </p:cNvCxnSpPr>
            <p:nvPr/>
          </p:nvCxnSpPr>
          <p:spPr>
            <a:xfrm rot="5400000">
              <a:off x="22936200" y="612902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36" name="Group 335">
            <a:extLst>
              <a:ext uri="{FF2B5EF4-FFF2-40B4-BE49-F238E27FC236}">
                <a16:creationId xmlns:a16="http://schemas.microsoft.com/office/drawing/2014/main" id="{55E95B45-E17C-5F90-6919-DB45B5D92DAE}"/>
              </a:ext>
            </a:extLst>
          </p:cNvPr>
          <p:cNvGrpSpPr/>
          <p:nvPr/>
        </p:nvGrpSpPr>
        <p:grpSpPr>
          <a:xfrm>
            <a:off x="5603116" y="1981685"/>
            <a:ext cx="135835" cy="45179"/>
            <a:chOff x="22867620" y="6131560"/>
            <a:chExt cx="137160" cy="137160"/>
          </a:xfrm>
        </p:grpSpPr>
        <p:cxnSp>
          <p:nvCxnSpPr>
            <p:cNvPr id="364" name="Straight Connector 363">
              <a:extLst>
                <a:ext uri="{FF2B5EF4-FFF2-40B4-BE49-F238E27FC236}">
                  <a16:creationId xmlns:a16="http://schemas.microsoft.com/office/drawing/2014/main" id="{D447AEBF-D1DD-6CDB-84D8-ED5EA8769B0E}"/>
                </a:ext>
              </a:extLst>
            </p:cNvPr>
            <p:cNvCxnSpPr/>
            <p:nvPr/>
          </p:nvCxnSpPr>
          <p:spPr>
            <a:xfrm>
              <a:off x="22936200" y="613156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65" name="Straight Connector 364">
              <a:extLst>
                <a:ext uri="{FF2B5EF4-FFF2-40B4-BE49-F238E27FC236}">
                  <a16:creationId xmlns:a16="http://schemas.microsoft.com/office/drawing/2014/main" id="{DE9A40B7-BBFB-7103-3930-510A0B66356D}"/>
                </a:ext>
              </a:extLst>
            </p:cNvPr>
            <p:cNvCxnSpPr>
              <a:cxnSpLocks/>
            </p:cNvCxnSpPr>
            <p:nvPr/>
          </p:nvCxnSpPr>
          <p:spPr>
            <a:xfrm rot="5400000">
              <a:off x="22936200" y="612902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37" name="Group 336">
            <a:extLst>
              <a:ext uri="{FF2B5EF4-FFF2-40B4-BE49-F238E27FC236}">
                <a16:creationId xmlns:a16="http://schemas.microsoft.com/office/drawing/2014/main" id="{DD1CA3E1-5A01-BA4E-7B93-354D8894F96C}"/>
              </a:ext>
            </a:extLst>
          </p:cNvPr>
          <p:cNvGrpSpPr/>
          <p:nvPr/>
        </p:nvGrpSpPr>
        <p:grpSpPr>
          <a:xfrm>
            <a:off x="5698539" y="1981685"/>
            <a:ext cx="135835" cy="45179"/>
            <a:chOff x="22867620" y="6131560"/>
            <a:chExt cx="137160" cy="137160"/>
          </a:xfrm>
        </p:grpSpPr>
        <p:cxnSp>
          <p:nvCxnSpPr>
            <p:cNvPr id="362" name="Straight Connector 361">
              <a:extLst>
                <a:ext uri="{FF2B5EF4-FFF2-40B4-BE49-F238E27FC236}">
                  <a16:creationId xmlns:a16="http://schemas.microsoft.com/office/drawing/2014/main" id="{248FF9FA-34B9-B137-4295-F0F24AE35B8D}"/>
                </a:ext>
              </a:extLst>
            </p:cNvPr>
            <p:cNvCxnSpPr/>
            <p:nvPr/>
          </p:nvCxnSpPr>
          <p:spPr>
            <a:xfrm>
              <a:off x="22936200" y="613156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63" name="Straight Connector 362">
              <a:extLst>
                <a:ext uri="{FF2B5EF4-FFF2-40B4-BE49-F238E27FC236}">
                  <a16:creationId xmlns:a16="http://schemas.microsoft.com/office/drawing/2014/main" id="{A1CB3C3D-65AE-1C84-DB29-34DEC4A71B8C}"/>
                </a:ext>
              </a:extLst>
            </p:cNvPr>
            <p:cNvCxnSpPr>
              <a:cxnSpLocks/>
            </p:cNvCxnSpPr>
            <p:nvPr/>
          </p:nvCxnSpPr>
          <p:spPr>
            <a:xfrm rot="5400000">
              <a:off x="22936200" y="612902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38" name="Group 337">
            <a:extLst>
              <a:ext uri="{FF2B5EF4-FFF2-40B4-BE49-F238E27FC236}">
                <a16:creationId xmlns:a16="http://schemas.microsoft.com/office/drawing/2014/main" id="{30726F96-FC21-50C4-BA71-534F32B9D3D3}"/>
              </a:ext>
            </a:extLst>
          </p:cNvPr>
          <p:cNvGrpSpPr/>
          <p:nvPr/>
        </p:nvGrpSpPr>
        <p:grpSpPr>
          <a:xfrm>
            <a:off x="5655235" y="1981685"/>
            <a:ext cx="135835" cy="45179"/>
            <a:chOff x="22867620" y="6131560"/>
            <a:chExt cx="137160" cy="137160"/>
          </a:xfrm>
        </p:grpSpPr>
        <p:cxnSp>
          <p:nvCxnSpPr>
            <p:cNvPr id="360" name="Straight Connector 359">
              <a:extLst>
                <a:ext uri="{FF2B5EF4-FFF2-40B4-BE49-F238E27FC236}">
                  <a16:creationId xmlns:a16="http://schemas.microsoft.com/office/drawing/2014/main" id="{DE8D2151-89E2-7975-6065-07D7EFF2D9F9}"/>
                </a:ext>
              </a:extLst>
            </p:cNvPr>
            <p:cNvCxnSpPr/>
            <p:nvPr/>
          </p:nvCxnSpPr>
          <p:spPr>
            <a:xfrm>
              <a:off x="22936200" y="613156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61" name="Straight Connector 360">
              <a:extLst>
                <a:ext uri="{FF2B5EF4-FFF2-40B4-BE49-F238E27FC236}">
                  <a16:creationId xmlns:a16="http://schemas.microsoft.com/office/drawing/2014/main" id="{A2FF2EBA-4A6B-8C37-B39A-3C80D3ADD2D1}"/>
                </a:ext>
              </a:extLst>
            </p:cNvPr>
            <p:cNvCxnSpPr>
              <a:cxnSpLocks/>
            </p:cNvCxnSpPr>
            <p:nvPr/>
          </p:nvCxnSpPr>
          <p:spPr>
            <a:xfrm rot="5400000">
              <a:off x="22936200" y="612902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39" name="Group 338">
            <a:extLst>
              <a:ext uri="{FF2B5EF4-FFF2-40B4-BE49-F238E27FC236}">
                <a16:creationId xmlns:a16="http://schemas.microsoft.com/office/drawing/2014/main" id="{85BA614E-F5C0-1E95-3A7B-8037AD89B977}"/>
              </a:ext>
            </a:extLst>
          </p:cNvPr>
          <p:cNvGrpSpPr/>
          <p:nvPr/>
        </p:nvGrpSpPr>
        <p:grpSpPr>
          <a:xfrm>
            <a:off x="5856769" y="1981685"/>
            <a:ext cx="135835" cy="45179"/>
            <a:chOff x="22867620" y="6131560"/>
            <a:chExt cx="137160" cy="137160"/>
          </a:xfrm>
        </p:grpSpPr>
        <p:cxnSp>
          <p:nvCxnSpPr>
            <p:cNvPr id="358" name="Straight Connector 357">
              <a:extLst>
                <a:ext uri="{FF2B5EF4-FFF2-40B4-BE49-F238E27FC236}">
                  <a16:creationId xmlns:a16="http://schemas.microsoft.com/office/drawing/2014/main" id="{22A8E812-43F4-7B04-1385-38593D95A5CE}"/>
                </a:ext>
              </a:extLst>
            </p:cNvPr>
            <p:cNvCxnSpPr/>
            <p:nvPr/>
          </p:nvCxnSpPr>
          <p:spPr>
            <a:xfrm>
              <a:off x="22936200" y="613156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59" name="Straight Connector 358">
              <a:extLst>
                <a:ext uri="{FF2B5EF4-FFF2-40B4-BE49-F238E27FC236}">
                  <a16:creationId xmlns:a16="http://schemas.microsoft.com/office/drawing/2014/main" id="{F7781D3B-3BFC-36F2-E984-7250F0C99C82}"/>
                </a:ext>
              </a:extLst>
            </p:cNvPr>
            <p:cNvCxnSpPr>
              <a:cxnSpLocks/>
            </p:cNvCxnSpPr>
            <p:nvPr/>
          </p:nvCxnSpPr>
          <p:spPr>
            <a:xfrm rot="5400000">
              <a:off x="22936200" y="612902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40" name="Group 339">
            <a:extLst>
              <a:ext uri="{FF2B5EF4-FFF2-40B4-BE49-F238E27FC236}">
                <a16:creationId xmlns:a16="http://schemas.microsoft.com/office/drawing/2014/main" id="{058BE171-C3F7-9A28-EC71-ABF3DD5A7FB2}"/>
              </a:ext>
            </a:extLst>
          </p:cNvPr>
          <p:cNvGrpSpPr/>
          <p:nvPr/>
        </p:nvGrpSpPr>
        <p:grpSpPr>
          <a:xfrm>
            <a:off x="5930344" y="1981685"/>
            <a:ext cx="135835" cy="45179"/>
            <a:chOff x="22867620" y="6131560"/>
            <a:chExt cx="137160" cy="137160"/>
          </a:xfrm>
        </p:grpSpPr>
        <p:cxnSp>
          <p:nvCxnSpPr>
            <p:cNvPr id="356" name="Straight Connector 355">
              <a:extLst>
                <a:ext uri="{FF2B5EF4-FFF2-40B4-BE49-F238E27FC236}">
                  <a16:creationId xmlns:a16="http://schemas.microsoft.com/office/drawing/2014/main" id="{1CEE987B-AAA3-87B8-E186-E2C946448F91}"/>
                </a:ext>
              </a:extLst>
            </p:cNvPr>
            <p:cNvCxnSpPr/>
            <p:nvPr/>
          </p:nvCxnSpPr>
          <p:spPr>
            <a:xfrm>
              <a:off x="22936200" y="613156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57" name="Straight Connector 356">
              <a:extLst>
                <a:ext uri="{FF2B5EF4-FFF2-40B4-BE49-F238E27FC236}">
                  <a16:creationId xmlns:a16="http://schemas.microsoft.com/office/drawing/2014/main" id="{A08DEA2F-373A-D383-5351-E24FE6FF9B1B}"/>
                </a:ext>
              </a:extLst>
            </p:cNvPr>
            <p:cNvCxnSpPr>
              <a:cxnSpLocks/>
            </p:cNvCxnSpPr>
            <p:nvPr/>
          </p:nvCxnSpPr>
          <p:spPr>
            <a:xfrm rot="5400000">
              <a:off x="22936200" y="612902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41" name="Group 340">
            <a:extLst>
              <a:ext uri="{FF2B5EF4-FFF2-40B4-BE49-F238E27FC236}">
                <a16:creationId xmlns:a16="http://schemas.microsoft.com/office/drawing/2014/main" id="{C52145BD-3EA3-E7E6-AECE-AC1E5ED6CB2C}"/>
              </a:ext>
            </a:extLst>
          </p:cNvPr>
          <p:cNvGrpSpPr/>
          <p:nvPr/>
        </p:nvGrpSpPr>
        <p:grpSpPr>
          <a:xfrm>
            <a:off x="6307409" y="1981685"/>
            <a:ext cx="135835" cy="45179"/>
            <a:chOff x="22867620" y="6131560"/>
            <a:chExt cx="137160" cy="137160"/>
          </a:xfrm>
        </p:grpSpPr>
        <p:cxnSp>
          <p:nvCxnSpPr>
            <p:cNvPr id="354" name="Straight Connector 353">
              <a:extLst>
                <a:ext uri="{FF2B5EF4-FFF2-40B4-BE49-F238E27FC236}">
                  <a16:creationId xmlns:a16="http://schemas.microsoft.com/office/drawing/2014/main" id="{636E9958-5A2A-BAAD-4F02-A73ACF4E4950}"/>
                </a:ext>
              </a:extLst>
            </p:cNvPr>
            <p:cNvCxnSpPr/>
            <p:nvPr/>
          </p:nvCxnSpPr>
          <p:spPr>
            <a:xfrm>
              <a:off x="22936200" y="613156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55" name="Straight Connector 354">
              <a:extLst>
                <a:ext uri="{FF2B5EF4-FFF2-40B4-BE49-F238E27FC236}">
                  <a16:creationId xmlns:a16="http://schemas.microsoft.com/office/drawing/2014/main" id="{1A3245DB-F326-F55F-42A9-FCF982E21CAD}"/>
                </a:ext>
              </a:extLst>
            </p:cNvPr>
            <p:cNvCxnSpPr>
              <a:cxnSpLocks/>
            </p:cNvCxnSpPr>
            <p:nvPr/>
          </p:nvCxnSpPr>
          <p:spPr>
            <a:xfrm rot="5400000">
              <a:off x="22936200" y="612902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42" name="Group 341">
            <a:extLst>
              <a:ext uri="{FF2B5EF4-FFF2-40B4-BE49-F238E27FC236}">
                <a16:creationId xmlns:a16="http://schemas.microsoft.com/office/drawing/2014/main" id="{3DD4440E-7982-2190-9C41-EBB5B77EB78B}"/>
              </a:ext>
            </a:extLst>
          </p:cNvPr>
          <p:cNvGrpSpPr/>
          <p:nvPr/>
        </p:nvGrpSpPr>
        <p:grpSpPr>
          <a:xfrm>
            <a:off x="6395254" y="1981685"/>
            <a:ext cx="135835" cy="45179"/>
            <a:chOff x="22867620" y="6131560"/>
            <a:chExt cx="137160" cy="137160"/>
          </a:xfrm>
        </p:grpSpPr>
        <p:cxnSp>
          <p:nvCxnSpPr>
            <p:cNvPr id="352" name="Straight Connector 351">
              <a:extLst>
                <a:ext uri="{FF2B5EF4-FFF2-40B4-BE49-F238E27FC236}">
                  <a16:creationId xmlns:a16="http://schemas.microsoft.com/office/drawing/2014/main" id="{0CDEEC8B-A545-F7A9-6173-AAA8B3427127}"/>
                </a:ext>
              </a:extLst>
            </p:cNvPr>
            <p:cNvCxnSpPr/>
            <p:nvPr/>
          </p:nvCxnSpPr>
          <p:spPr>
            <a:xfrm>
              <a:off x="22936200" y="613156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53" name="Straight Connector 352">
              <a:extLst>
                <a:ext uri="{FF2B5EF4-FFF2-40B4-BE49-F238E27FC236}">
                  <a16:creationId xmlns:a16="http://schemas.microsoft.com/office/drawing/2014/main" id="{4728F492-0846-8276-D057-7630259FB6B4}"/>
                </a:ext>
              </a:extLst>
            </p:cNvPr>
            <p:cNvCxnSpPr>
              <a:cxnSpLocks/>
            </p:cNvCxnSpPr>
            <p:nvPr/>
          </p:nvCxnSpPr>
          <p:spPr>
            <a:xfrm rot="5400000">
              <a:off x="22936200" y="612902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43" name="Group 342">
            <a:extLst>
              <a:ext uri="{FF2B5EF4-FFF2-40B4-BE49-F238E27FC236}">
                <a16:creationId xmlns:a16="http://schemas.microsoft.com/office/drawing/2014/main" id="{5E1C50AD-86B9-4B2D-8FFC-3316B8EDC700}"/>
              </a:ext>
            </a:extLst>
          </p:cNvPr>
          <p:cNvGrpSpPr/>
          <p:nvPr/>
        </p:nvGrpSpPr>
        <p:grpSpPr>
          <a:xfrm>
            <a:off x="6520637" y="1981685"/>
            <a:ext cx="135835" cy="45179"/>
            <a:chOff x="22867620" y="6131560"/>
            <a:chExt cx="137160" cy="137160"/>
          </a:xfrm>
        </p:grpSpPr>
        <p:cxnSp>
          <p:nvCxnSpPr>
            <p:cNvPr id="350" name="Straight Connector 349">
              <a:extLst>
                <a:ext uri="{FF2B5EF4-FFF2-40B4-BE49-F238E27FC236}">
                  <a16:creationId xmlns:a16="http://schemas.microsoft.com/office/drawing/2014/main" id="{5B04F889-FAD9-1FCC-09F9-62C0140763ED}"/>
                </a:ext>
              </a:extLst>
            </p:cNvPr>
            <p:cNvCxnSpPr/>
            <p:nvPr/>
          </p:nvCxnSpPr>
          <p:spPr>
            <a:xfrm>
              <a:off x="22936200" y="613156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51" name="Straight Connector 350">
              <a:extLst>
                <a:ext uri="{FF2B5EF4-FFF2-40B4-BE49-F238E27FC236}">
                  <a16:creationId xmlns:a16="http://schemas.microsoft.com/office/drawing/2014/main" id="{BBB552C9-552C-A8CD-3E92-F485769A218B}"/>
                </a:ext>
              </a:extLst>
            </p:cNvPr>
            <p:cNvCxnSpPr>
              <a:cxnSpLocks/>
            </p:cNvCxnSpPr>
            <p:nvPr/>
          </p:nvCxnSpPr>
          <p:spPr>
            <a:xfrm rot="5400000">
              <a:off x="22936200" y="612902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44" name="Group 343">
            <a:extLst>
              <a:ext uri="{FF2B5EF4-FFF2-40B4-BE49-F238E27FC236}">
                <a16:creationId xmlns:a16="http://schemas.microsoft.com/office/drawing/2014/main" id="{18F43664-F333-BA59-86F3-1C22A5B836FC}"/>
              </a:ext>
            </a:extLst>
          </p:cNvPr>
          <p:cNvGrpSpPr/>
          <p:nvPr/>
        </p:nvGrpSpPr>
        <p:grpSpPr>
          <a:xfrm>
            <a:off x="6588553" y="1981685"/>
            <a:ext cx="135835" cy="45179"/>
            <a:chOff x="22867620" y="6131560"/>
            <a:chExt cx="137160" cy="137160"/>
          </a:xfrm>
        </p:grpSpPr>
        <p:cxnSp>
          <p:nvCxnSpPr>
            <p:cNvPr id="348" name="Straight Connector 347">
              <a:extLst>
                <a:ext uri="{FF2B5EF4-FFF2-40B4-BE49-F238E27FC236}">
                  <a16:creationId xmlns:a16="http://schemas.microsoft.com/office/drawing/2014/main" id="{730D6F7D-9A35-7DD3-5B52-D1BF1A5A6EF7}"/>
                </a:ext>
              </a:extLst>
            </p:cNvPr>
            <p:cNvCxnSpPr/>
            <p:nvPr/>
          </p:nvCxnSpPr>
          <p:spPr>
            <a:xfrm>
              <a:off x="22936200" y="613156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49" name="Straight Connector 348">
              <a:extLst>
                <a:ext uri="{FF2B5EF4-FFF2-40B4-BE49-F238E27FC236}">
                  <a16:creationId xmlns:a16="http://schemas.microsoft.com/office/drawing/2014/main" id="{D265AB7B-568E-9AA1-CCBA-1D94DC0FD2FC}"/>
                </a:ext>
              </a:extLst>
            </p:cNvPr>
            <p:cNvCxnSpPr>
              <a:cxnSpLocks/>
            </p:cNvCxnSpPr>
            <p:nvPr/>
          </p:nvCxnSpPr>
          <p:spPr>
            <a:xfrm rot="5400000">
              <a:off x="22936200" y="612902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57ECBFCC-85B7-32DE-5D20-6C527D66CA17}"/>
              </a:ext>
            </a:extLst>
          </p:cNvPr>
          <p:cNvGrpSpPr/>
          <p:nvPr/>
        </p:nvGrpSpPr>
        <p:grpSpPr>
          <a:xfrm>
            <a:off x="6821088" y="1981685"/>
            <a:ext cx="135835" cy="45179"/>
            <a:chOff x="6972551" y="1499244"/>
            <a:chExt cx="181113" cy="60239"/>
          </a:xfrm>
        </p:grpSpPr>
        <p:cxnSp>
          <p:nvCxnSpPr>
            <p:cNvPr id="346" name="Straight Connector 345">
              <a:extLst>
                <a:ext uri="{FF2B5EF4-FFF2-40B4-BE49-F238E27FC236}">
                  <a16:creationId xmlns:a16="http://schemas.microsoft.com/office/drawing/2014/main" id="{6D39DAF8-B8D2-329E-C234-6973A2DADCA0}"/>
                </a:ext>
              </a:extLst>
            </p:cNvPr>
            <p:cNvCxnSpPr/>
            <p:nvPr/>
          </p:nvCxnSpPr>
          <p:spPr>
            <a:xfrm>
              <a:off x="7063108" y="1499244"/>
              <a:ext cx="0" cy="60239"/>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47" name="Straight Connector 346">
              <a:extLst>
                <a:ext uri="{FF2B5EF4-FFF2-40B4-BE49-F238E27FC236}">
                  <a16:creationId xmlns:a16="http://schemas.microsoft.com/office/drawing/2014/main" id="{D975DA15-DC9A-FF75-AF82-EDF941B21F17}"/>
                </a:ext>
              </a:extLst>
            </p:cNvPr>
            <p:cNvCxnSpPr>
              <a:cxnSpLocks/>
            </p:cNvCxnSpPr>
            <p:nvPr/>
          </p:nvCxnSpPr>
          <p:spPr>
            <a:xfrm rot="5400000">
              <a:off x="7063108" y="1437691"/>
              <a:ext cx="0" cy="181113"/>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D325E7DF-5F14-4861-8AB8-21CC0D82107A}"/>
              </a:ext>
            </a:extLst>
          </p:cNvPr>
          <p:cNvGrpSpPr/>
          <p:nvPr/>
        </p:nvGrpSpPr>
        <p:grpSpPr>
          <a:xfrm>
            <a:off x="2493234" y="3829529"/>
            <a:ext cx="6979456" cy="238865"/>
            <a:chOff x="1292312" y="3963038"/>
            <a:chExt cx="9305941" cy="318486"/>
          </a:xfrm>
        </p:grpSpPr>
        <p:sp>
          <p:nvSpPr>
            <p:cNvPr id="10" name="Graphic 396">
              <a:extLst>
                <a:ext uri="{FF2B5EF4-FFF2-40B4-BE49-F238E27FC236}">
                  <a16:creationId xmlns:a16="http://schemas.microsoft.com/office/drawing/2014/main" id="{01E917D8-6661-E3E3-59BF-E77EE3CC5BFD}"/>
                </a:ext>
              </a:extLst>
            </p:cNvPr>
            <p:cNvSpPr/>
            <p:nvPr/>
          </p:nvSpPr>
          <p:spPr>
            <a:xfrm>
              <a:off x="1316666" y="3982975"/>
              <a:ext cx="9246288" cy="266116"/>
            </a:xfrm>
            <a:custGeom>
              <a:avLst/>
              <a:gdLst>
                <a:gd name="connsiteX0" fmla="*/ 0 w 9246288"/>
                <a:gd name="connsiteY0" fmla="*/ 0 h 266116"/>
                <a:gd name="connsiteX1" fmla="*/ 724197 w 9246288"/>
                <a:gd name="connsiteY1" fmla="*/ 0 h 266116"/>
                <a:gd name="connsiteX2" fmla="*/ 724197 w 9246288"/>
                <a:gd name="connsiteY2" fmla="*/ 54070 h 266116"/>
                <a:gd name="connsiteX3" fmla="*/ 1091534 w 9246288"/>
                <a:gd name="connsiteY3" fmla="*/ 54070 h 266116"/>
                <a:gd name="connsiteX4" fmla="*/ 1091534 w 9246288"/>
                <a:gd name="connsiteY4" fmla="*/ 104025 h 266116"/>
                <a:gd name="connsiteX5" fmla="*/ 1794141 w 9246288"/>
                <a:gd name="connsiteY5" fmla="*/ 104025 h 266116"/>
                <a:gd name="connsiteX6" fmla="*/ 1794141 w 9246288"/>
                <a:gd name="connsiteY6" fmla="*/ 166088 h 266116"/>
                <a:gd name="connsiteX7" fmla="*/ 2448173 w 9246288"/>
                <a:gd name="connsiteY7" fmla="*/ 166088 h 266116"/>
                <a:gd name="connsiteX8" fmla="*/ 2448173 w 9246288"/>
                <a:gd name="connsiteY8" fmla="*/ 206052 h 266116"/>
                <a:gd name="connsiteX9" fmla="*/ 2842496 w 9246288"/>
                <a:gd name="connsiteY9" fmla="*/ 206052 h 266116"/>
                <a:gd name="connsiteX10" fmla="*/ 2842496 w 9246288"/>
                <a:gd name="connsiteY10" fmla="*/ 266116 h 266116"/>
                <a:gd name="connsiteX11" fmla="*/ 9246289 w 9246288"/>
                <a:gd name="connsiteY11" fmla="*/ 266116 h 266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246288" h="266116">
                  <a:moveTo>
                    <a:pt x="0" y="0"/>
                  </a:moveTo>
                  <a:lnTo>
                    <a:pt x="724197" y="0"/>
                  </a:lnTo>
                  <a:lnTo>
                    <a:pt x="724197" y="54070"/>
                  </a:lnTo>
                  <a:lnTo>
                    <a:pt x="1091534" y="54070"/>
                  </a:lnTo>
                  <a:lnTo>
                    <a:pt x="1091534" y="104025"/>
                  </a:lnTo>
                  <a:lnTo>
                    <a:pt x="1794141" y="104025"/>
                  </a:lnTo>
                  <a:lnTo>
                    <a:pt x="1794141" y="166088"/>
                  </a:lnTo>
                  <a:lnTo>
                    <a:pt x="2448173" y="166088"/>
                  </a:lnTo>
                  <a:lnTo>
                    <a:pt x="2448173" y="206052"/>
                  </a:lnTo>
                  <a:lnTo>
                    <a:pt x="2842496" y="206052"/>
                  </a:lnTo>
                  <a:lnTo>
                    <a:pt x="2842496" y="266116"/>
                  </a:lnTo>
                  <a:lnTo>
                    <a:pt x="9246289" y="266116"/>
                  </a:lnTo>
                </a:path>
              </a:pathLst>
            </a:custGeom>
            <a:noFill/>
            <a:ln w="12700" cap="flat">
              <a:solidFill>
                <a:srgbClr val="F88D29"/>
              </a:solid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aramond" pitchFamily="18" charset="0"/>
                <a:ea typeface="+mn-ea"/>
                <a:cs typeface="+mn-cs"/>
              </a:endParaRPr>
            </a:p>
          </p:txBody>
        </p:sp>
        <p:grpSp>
          <p:nvGrpSpPr>
            <p:cNvPr id="398" name="Group 397">
              <a:extLst>
                <a:ext uri="{FF2B5EF4-FFF2-40B4-BE49-F238E27FC236}">
                  <a16:creationId xmlns:a16="http://schemas.microsoft.com/office/drawing/2014/main" id="{1C0F9905-0B69-10D3-A9AC-6899BF76F80A}"/>
                </a:ext>
              </a:extLst>
            </p:cNvPr>
            <p:cNvGrpSpPr/>
            <p:nvPr/>
          </p:nvGrpSpPr>
          <p:grpSpPr>
            <a:xfrm>
              <a:off x="1292312" y="3963038"/>
              <a:ext cx="81107" cy="56331"/>
              <a:chOff x="22867620" y="6131560"/>
              <a:chExt cx="137160" cy="137160"/>
            </a:xfrm>
          </p:grpSpPr>
          <p:cxnSp>
            <p:nvCxnSpPr>
              <p:cNvPr id="453" name="Straight Connector 452">
                <a:extLst>
                  <a:ext uri="{FF2B5EF4-FFF2-40B4-BE49-F238E27FC236}">
                    <a16:creationId xmlns:a16="http://schemas.microsoft.com/office/drawing/2014/main" id="{285223CF-D862-7256-AFE4-2F6189CCDAF0}"/>
                  </a:ext>
                </a:extLst>
              </p:cNvPr>
              <p:cNvCxnSpPr/>
              <p:nvPr/>
            </p:nvCxnSpPr>
            <p:spPr>
              <a:xfrm>
                <a:off x="22936200" y="613156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54" name="Straight Connector 453">
                <a:extLst>
                  <a:ext uri="{FF2B5EF4-FFF2-40B4-BE49-F238E27FC236}">
                    <a16:creationId xmlns:a16="http://schemas.microsoft.com/office/drawing/2014/main" id="{5A50394F-C82E-C09A-18E6-A50B268DB978}"/>
                  </a:ext>
                </a:extLst>
              </p:cNvPr>
              <p:cNvCxnSpPr>
                <a:cxnSpLocks/>
              </p:cNvCxnSpPr>
              <p:nvPr/>
            </p:nvCxnSpPr>
            <p:spPr>
              <a:xfrm rot="5400000">
                <a:off x="22936200" y="612902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399" name="Group 398">
              <a:extLst>
                <a:ext uri="{FF2B5EF4-FFF2-40B4-BE49-F238E27FC236}">
                  <a16:creationId xmlns:a16="http://schemas.microsoft.com/office/drawing/2014/main" id="{C83FFA2D-1C50-C115-1260-B02BC8DF23FD}"/>
                </a:ext>
              </a:extLst>
            </p:cNvPr>
            <p:cNvGrpSpPr/>
            <p:nvPr/>
          </p:nvGrpSpPr>
          <p:grpSpPr>
            <a:xfrm>
              <a:off x="5771726" y="4225187"/>
              <a:ext cx="81107" cy="56331"/>
              <a:chOff x="22867620" y="6131560"/>
              <a:chExt cx="137160" cy="137160"/>
            </a:xfrm>
          </p:grpSpPr>
          <p:cxnSp>
            <p:nvCxnSpPr>
              <p:cNvPr id="451" name="Straight Connector 450">
                <a:extLst>
                  <a:ext uri="{FF2B5EF4-FFF2-40B4-BE49-F238E27FC236}">
                    <a16:creationId xmlns:a16="http://schemas.microsoft.com/office/drawing/2014/main" id="{11324108-660B-AD1D-155A-2E19CCB4F748}"/>
                  </a:ext>
                </a:extLst>
              </p:cNvPr>
              <p:cNvCxnSpPr/>
              <p:nvPr/>
            </p:nvCxnSpPr>
            <p:spPr>
              <a:xfrm>
                <a:off x="22936200" y="613156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52" name="Straight Connector 451">
                <a:extLst>
                  <a:ext uri="{FF2B5EF4-FFF2-40B4-BE49-F238E27FC236}">
                    <a16:creationId xmlns:a16="http://schemas.microsoft.com/office/drawing/2014/main" id="{E5B33362-0140-C801-77D7-F0DE713B21CE}"/>
                  </a:ext>
                </a:extLst>
              </p:cNvPr>
              <p:cNvCxnSpPr>
                <a:cxnSpLocks/>
              </p:cNvCxnSpPr>
              <p:nvPr/>
            </p:nvCxnSpPr>
            <p:spPr>
              <a:xfrm rot="5400000">
                <a:off x="22936200" y="612902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400" name="Group 399">
              <a:extLst>
                <a:ext uri="{FF2B5EF4-FFF2-40B4-BE49-F238E27FC236}">
                  <a16:creationId xmlns:a16="http://schemas.microsoft.com/office/drawing/2014/main" id="{1959C28F-9A6B-D63D-FEDF-E5D43036C3D5}"/>
                </a:ext>
              </a:extLst>
            </p:cNvPr>
            <p:cNvGrpSpPr/>
            <p:nvPr/>
          </p:nvGrpSpPr>
          <p:grpSpPr>
            <a:xfrm>
              <a:off x="6013194" y="4225187"/>
              <a:ext cx="81107" cy="56331"/>
              <a:chOff x="22867620" y="6131560"/>
              <a:chExt cx="137160" cy="137160"/>
            </a:xfrm>
          </p:grpSpPr>
          <p:cxnSp>
            <p:nvCxnSpPr>
              <p:cNvPr id="449" name="Straight Connector 448">
                <a:extLst>
                  <a:ext uri="{FF2B5EF4-FFF2-40B4-BE49-F238E27FC236}">
                    <a16:creationId xmlns:a16="http://schemas.microsoft.com/office/drawing/2014/main" id="{3D7E16C8-42DB-2123-8FE1-D543AED75CD7}"/>
                  </a:ext>
                </a:extLst>
              </p:cNvPr>
              <p:cNvCxnSpPr/>
              <p:nvPr/>
            </p:nvCxnSpPr>
            <p:spPr>
              <a:xfrm>
                <a:off x="22936200" y="613156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50" name="Straight Connector 449">
                <a:extLst>
                  <a:ext uri="{FF2B5EF4-FFF2-40B4-BE49-F238E27FC236}">
                    <a16:creationId xmlns:a16="http://schemas.microsoft.com/office/drawing/2014/main" id="{859B6DD5-1763-89CD-577B-C80459DF6CD8}"/>
                  </a:ext>
                </a:extLst>
              </p:cNvPr>
              <p:cNvCxnSpPr>
                <a:cxnSpLocks/>
              </p:cNvCxnSpPr>
              <p:nvPr/>
            </p:nvCxnSpPr>
            <p:spPr>
              <a:xfrm rot="5400000">
                <a:off x="22936200" y="612902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401" name="Group 400">
              <a:extLst>
                <a:ext uri="{FF2B5EF4-FFF2-40B4-BE49-F238E27FC236}">
                  <a16:creationId xmlns:a16="http://schemas.microsoft.com/office/drawing/2014/main" id="{F8A0B855-0C8C-524D-418D-9277914CB06C}"/>
                </a:ext>
              </a:extLst>
            </p:cNvPr>
            <p:cNvGrpSpPr/>
            <p:nvPr/>
          </p:nvGrpSpPr>
          <p:grpSpPr>
            <a:xfrm>
              <a:off x="6336749" y="4225187"/>
              <a:ext cx="81107" cy="56331"/>
              <a:chOff x="22867620" y="6131560"/>
              <a:chExt cx="137160" cy="137160"/>
            </a:xfrm>
          </p:grpSpPr>
          <p:cxnSp>
            <p:nvCxnSpPr>
              <p:cNvPr id="447" name="Straight Connector 446">
                <a:extLst>
                  <a:ext uri="{FF2B5EF4-FFF2-40B4-BE49-F238E27FC236}">
                    <a16:creationId xmlns:a16="http://schemas.microsoft.com/office/drawing/2014/main" id="{0DC31F35-F874-A36C-384E-DA6B996732BA}"/>
                  </a:ext>
                </a:extLst>
              </p:cNvPr>
              <p:cNvCxnSpPr/>
              <p:nvPr/>
            </p:nvCxnSpPr>
            <p:spPr>
              <a:xfrm>
                <a:off x="22936200" y="613156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48" name="Straight Connector 447">
                <a:extLst>
                  <a:ext uri="{FF2B5EF4-FFF2-40B4-BE49-F238E27FC236}">
                    <a16:creationId xmlns:a16="http://schemas.microsoft.com/office/drawing/2014/main" id="{A31B481D-E75D-15F2-9C21-8F1A5A7EB014}"/>
                  </a:ext>
                </a:extLst>
              </p:cNvPr>
              <p:cNvCxnSpPr>
                <a:cxnSpLocks/>
              </p:cNvCxnSpPr>
              <p:nvPr/>
            </p:nvCxnSpPr>
            <p:spPr>
              <a:xfrm rot="5400000">
                <a:off x="22936200" y="612902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402" name="Group 401">
              <a:extLst>
                <a:ext uri="{FF2B5EF4-FFF2-40B4-BE49-F238E27FC236}">
                  <a16:creationId xmlns:a16="http://schemas.microsoft.com/office/drawing/2014/main" id="{017389B7-CC10-5C8E-3D5B-530ED1896809}"/>
                </a:ext>
              </a:extLst>
            </p:cNvPr>
            <p:cNvGrpSpPr/>
            <p:nvPr/>
          </p:nvGrpSpPr>
          <p:grpSpPr>
            <a:xfrm>
              <a:off x="6875147" y="4225187"/>
              <a:ext cx="81107" cy="56331"/>
              <a:chOff x="22867620" y="6131560"/>
              <a:chExt cx="137160" cy="137160"/>
            </a:xfrm>
          </p:grpSpPr>
          <p:cxnSp>
            <p:nvCxnSpPr>
              <p:cNvPr id="445" name="Straight Connector 444">
                <a:extLst>
                  <a:ext uri="{FF2B5EF4-FFF2-40B4-BE49-F238E27FC236}">
                    <a16:creationId xmlns:a16="http://schemas.microsoft.com/office/drawing/2014/main" id="{5CABEB2A-C56E-64FA-707C-F5495CB97110}"/>
                  </a:ext>
                </a:extLst>
              </p:cNvPr>
              <p:cNvCxnSpPr/>
              <p:nvPr/>
            </p:nvCxnSpPr>
            <p:spPr>
              <a:xfrm>
                <a:off x="22936200" y="613156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46" name="Straight Connector 445">
                <a:extLst>
                  <a:ext uri="{FF2B5EF4-FFF2-40B4-BE49-F238E27FC236}">
                    <a16:creationId xmlns:a16="http://schemas.microsoft.com/office/drawing/2014/main" id="{9DCF2031-5D6A-977C-B358-D53C79CA4078}"/>
                  </a:ext>
                </a:extLst>
              </p:cNvPr>
              <p:cNvCxnSpPr>
                <a:cxnSpLocks/>
              </p:cNvCxnSpPr>
              <p:nvPr/>
            </p:nvCxnSpPr>
            <p:spPr>
              <a:xfrm rot="5400000">
                <a:off x="22936200" y="612902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403" name="Group 402">
              <a:extLst>
                <a:ext uri="{FF2B5EF4-FFF2-40B4-BE49-F238E27FC236}">
                  <a16:creationId xmlns:a16="http://schemas.microsoft.com/office/drawing/2014/main" id="{23AE70C8-330E-DFD4-A4BE-055BD267512A}"/>
                </a:ext>
              </a:extLst>
            </p:cNvPr>
            <p:cNvGrpSpPr/>
            <p:nvPr/>
          </p:nvGrpSpPr>
          <p:grpSpPr>
            <a:xfrm>
              <a:off x="6993116" y="4225187"/>
              <a:ext cx="81107" cy="56331"/>
              <a:chOff x="22867620" y="6131560"/>
              <a:chExt cx="137160" cy="137160"/>
            </a:xfrm>
          </p:grpSpPr>
          <p:cxnSp>
            <p:nvCxnSpPr>
              <p:cNvPr id="443" name="Straight Connector 442">
                <a:extLst>
                  <a:ext uri="{FF2B5EF4-FFF2-40B4-BE49-F238E27FC236}">
                    <a16:creationId xmlns:a16="http://schemas.microsoft.com/office/drawing/2014/main" id="{706DE6CA-D92A-41CD-B077-903E59536824}"/>
                  </a:ext>
                </a:extLst>
              </p:cNvPr>
              <p:cNvCxnSpPr/>
              <p:nvPr/>
            </p:nvCxnSpPr>
            <p:spPr>
              <a:xfrm>
                <a:off x="22936200" y="613156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44" name="Straight Connector 443">
                <a:extLst>
                  <a:ext uri="{FF2B5EF4-FFF2-40B4-BE49-F238E27FC236}">
                    <a16:creationId xmlns:a16="http://schemas.microsoft.com/office/drawing/2014/main" id="{8CB2F304-1232-5C5F-AA57-DFCCC195E3AD}"/>
                  </a:ext>
                </a:extLst>
              </p:cNvPr>
              <p:cNvCxnSpPr>
                <a:cxnSpLocks/>
              </p:cNvCxnSpPr>
              <p:nvPr/>
            </p:nvCxnSpPr>
            <p:spPr>
              <a:xfrm rot="5400000">
                <a:off x="22936200" y="612902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404" name="Group 403">
              <a:extLst>
                <a:ext uri="{FF2B5EF4-FFF2-40B4-BE49-F238E27FC236}">
                  <a16:creationId xmlns:a16="http://schemas.microsoft.com/office/drawing/2014/main" id="{CDE19EC5-AFBE-D8CD-DCD1-8C6877530067}"/>
                </a:ext>
              </a:extLst>
            </p:cNvPr>
            <p:cNvGrpSpPr/>
            <p:nvPr/>
          </p:nvGrpSpPr>
          <p:grpSpPr>
            <a:xfrm>
              <a:off x="7016541" y="4225187"/>
              <a:ext cx="81107" cy="56331"/>
              <a:chOff x="22867620" y="6131560"/>
              <a:chExt cx="137160" cy="137160"/>
            </a:xfrm>
          </p:grpSpPr>
          <p:cxnSp>
            <p:nvCxnSpPr>
              <p:cNvPr id="441" name="Straight Connector 440">
                <a:extLst>
                  <a:ext uri="{FF2B5EF4-FFF2-40B4-BE49-F238E27FC236}">
                    <a16:creationId xmlns:a16="http://schemas.microsoft.com/office/drawing/2014/main" id="{452EB68E-459C-D1B1-F75C-58BDE8992A1B}"/>
                  </a:ext>
                </a:extLst>
              </p:cNvPr>
              <p:cNvCxnSpPr/>
              <p:nvPr/>
            </p:nvCxnSpPr>
            <p:spPr>
              <a:xfrm>
                <a:off x="22936200" y="613156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42" name="Straight Connector 441">
                <a:extLst>
                  <a:ext uri="{FF2B5EF4-FFF2-40B4-BE49-F238E27FC236}">
                    <a16:creationId xmlns:a16="http://schemas.microsoft.com/office/drawing/2014/main" id="{4E235034-F32F-D945-54F7-5BBD6BBEF790}"/>
                  </a:ext>
                </a:extLst>
              </p:cNvPr>
              <p:cNvCxnSpPr>
                <a:cxnSpLocks/>
              </p:cNvCxnSpPr>
              <p:nvPr/>
            </p:nvCxnSpPr>
            <p:spPr>
              <a:xfrm rot="5400000">
                <a:off x="22936200" y="612902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405" name="Group 404">
              <a:extLst>
                <a:ext uri="{FF2B5EF4-FFF2-40B4-BE49-F238E27FC236}">
                  <a16:creationId xmlns:a16="http://schemas.microsoft.com/office/drawing/2014/main" id="{9A3EC92A-2D38-40E3-238F-CC86D8252531}"/>
                </a:ext>
              </a:extLst>
            </p:cNvPr>
            <p:cNvGrpSpPr/>
            <p:nvPr/>
          </p:nvGrpSpPr>
          <p:grpSpPr>
            <a:xfrm>
              <a:off x="7244352" y="4225187"/>
              <a:ext cx="81107" cy="56331"/>
              <a:chOff x="22867620" y="6131560"/>
              <a:chExt cx="137160" cy="137160"/>
            </a:xfrm>
          </p:grpSpPr>
          <p:cxnSp>
            <p:nvCxnSpPr>
              <p:cNvPr id="439" name="Straight Connector 438">
                <a:extLst>
                  <a:ext uri="{FF2B5EF4-FFF2-40B4-BE49-F238E27FC236}">
                    <a16:creationId xmlns:a16="http://schemas.microsoft.com/office/drawing/2014/main" id="{C37D60FD-E1DC-2C6D-1CAE-DBB94AEF4E20}"/>
                  </a:ext>
                </a:extLst>
              </p:cNvPr>
              <p:cNvCxnSpPr/>
              <p:nvPr/>
            </p:nvCxnSpPr>
            <p:spPr>
              <a:xfrm>
                <a:off x="22936200" y="613156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40" name="Straight Connector 439">
                <a:extLst>
                  <a:ext uri="{FF2B5EF4-FFF2-40B4-BE49-F238E27FC236}">
                    <a16:creationId xmlns:a16="http://schemas.microsoft.com/office/drawing/2014/main" id="{FC19E018-06A0-D755-4F54-ED4737BB6D33}"/>
                  </a:ext>
                </a:extLst>
              </p:cNvPr>
              <p:cNvCxnSpPr>
                <a:cxnSpLocks/>
              </p:cNvCxnSpPr>
              <p:nvPr/>
            </p:nvCxnSpPr>
            <p:spPr>
              <a:xfrm rot="5400000">
                <a:off x="22936200" y="612902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406" name="Group 405">
              <a:extLst>
                <a:ext uri="{FF2B5EF4-FFF2-40B4-BE49-F238E27FC236}">
                  <a16:creationId xmlns:a16="http://schemas.microsoft.com/office/drawing/2014/main" id="{78BFB894-B3DB-013E-C8A7-D41E6FA02627}"/>
                </a:ext>
              </a:extLst>
            </p:cNvPr>
            <p:cNvGrpSpPr/>
            <p:nvPr/>
          </p:nvGrpSpPr>
          <p:grpSpPr>
            <a:xfrm>
              <a:off x="7342212" y="4225187"/>
              <a:ext cx="81107" cy="56331"/>
              <a:chOff x="22867620" y="6131560"/>
              <a:chExt cx="137160" cy="137160"/>
            </a:xfrm>
          </p:grpSpPr>
          <p:cxnSp>
            <p:nvCxnSpPr>
              <p:cNvPr id="437" name="Straight Connector 436">
                <a:extLst>
                  <a:ext uri="{FF2B5EF4-FFF2-40B4-BE49-F238E27FC236}">
                    <a16:creationId xmlns:a16="http://schemas.microsoft.com/office/drawing/2014/main" id="{8DC8EB62-1262-2894-9FD2-7B7F3F8B0E1F}"/>
                  </a:ext>
                </a:extLst>
              </p:cNvPr>
              <p:cNvCxnSpPr/>
              <p:nvPr/>
            </p:nvCxnSpPr>
            <p:spPr>
              <a:xfrm>
                <a:off x="22936200" y="613156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38" name="Straight Connector 437">
                <a:extLst>
                  <a:ext uri="{FF2B5EF4-FFF2-40B4-BE49-F238E27FC236}">
                    <a16:creationId xmlns:a16="http://schemas.microsoft.com/office/drawing/2014/main" id="{F521CB14-930A-E7F0-E3F5-8D09004C054A}"/>
                  </a:ext>
                </a:extLst>
              </p:cNvPr>
              <p:cNvCxnSpPr>
                <a:cxnSpLocks/>
              </p:cNvCxnSpPr>
              <p:nvPr/>
            </p:nvCxnSpPr>
            <p:spPr>
              <a:xfrm rot="5400000">
                <a:off x="22936200" y="612902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407" name="Group 406">
              <a:extLst>
                <a:ext uri="{FF2B5EF4-FFF2-40B4-BE49-F238E27FC236}">
                  <a16:creationId xmlns:a16="http://schemas.microsoft.com/office/drawing/2014/main" id="{AF46808D-E723-2C08-8A0D-0FFC16B9E709}"/>
                </a:ext>
              </a:extLst>
            </p:cNvPr>
            <p:cNvGrpSpPr/>
            <p:nvPr/>
          </p:nvGrpSpPr>
          <p:grpSpPr>
            <a:xfrm>
              <a:off x="8041703" y="4225187"/>
              <a:ext cx="81107" cy="56331"/>
              <a:chOff x="22867620" y="6131560"/>
              <a:chExt cx="137160" cy="137160"/>
            </a:xfrm>
          </p:grpSpPr>
          <p:cxnSp>
            <p:nvCxnSpPr>
              <p:cNvPr id="435" name="Straight Connector 434">
                <a:extLst>
                  <a:ext uri="{FF2B5EF4-FFF2-40B4-BE49-F238E27FC236}">
                    <a16:creationId xmlns:a16="http://schemas.microsoft.com/office/drawing/2014/main" id="{2F653AF4-7A29-E1C8-036C-4811315C6094}"/>
                  </a:ext>
                </a:extLst>
              </p:cNvPr>
              <p:cNvCxnSpPr/>
              <p:nvPr/>
            </p:nvCxnSpPr>
            <p:spPr>
              <a:xfrm>
                <a:off x="22936200" y="613156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36" name="Straight Connector 435">
                <a:extLst>
                  <a:ext uri="{FF2B5EF4-FFF2-40B4-BE49-F238E27FC236}">
                    <a16:creationId xmlns:a16="http://schemas.microsoft.com/office/drawing/2014/main" id="{C09CADE8-E23E-8CA0-F528-C8A6908A22C8}"/>
                  </a:ext>
                </a:extLst>
              </p:cNvPr>
              <p:cNvCxnSpPr>
                <a:cxnSpLocks/>
              </p:cNvCxnSpPr>
              <p:nvPr/>
            </p:nvCxnSpPr>
            <p:spPr>
              <a:xfrm rot="5400000">
                <a:off x="22936200" y="612902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408" name="Group 407">
              <a:extLst>
                <a:ext uri="{FF2B5EF4-FFF2-40B4-BE49-F238E27FC236}">
                  <a16:creationId xmlns:a16="http://schemas.microsoft.com/office/drawing/2014/main" id="{E78EF552-7E99-CA5E-A5C1-041CD641DFDB}"/>
                </a:ext>
              </a:extLst>
            </p:cNvPr>
            <p:cNvGrpSpPr/>
            <p:nvPr/>
          </p:nvGrpSpPr>
          <p:grpSpPr>
            <a:xfrm>
              <a:off x="8117486" y="4225187"/>
              <a:ext cx="81107" cy="56331"/>
              <a:chOff x="22867620" y="6131560"/>
              <a:chExt cx="137160" cy="137160"/>
            </a:xfrm>
          </p:grpSpPr>
          <p:cxnSp>
            <p:nvCxnSpPr>
              <p:cNvPr id="433" name="Straight Connector 432">
                <a:extLst>
                  <a:ext uri="{FF2B5EF4-FFF2-40B4-BE49-F238E27FC236}">
                    <a16:creationId xmlns:a16="http://schemas.microsoft.com/office/drawing/2014/main" id="{C33D1C98-FC6D-B501-1248-DA6DB3D7477A}"/>
                  </a:ext>
                </a:extLst>
              </p:cNvPr>
              <p:cNvCxnSpPr/>
              <p:nvPr/>
            </p:nvCxnSpPr>
            <p:spPr>
              <a:xfrm>
                <a:off x="22936200" y="613156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34" name="Straight Connector 433">
                <a:extLst>
                  <a:ext uri="{FF2B5EF4-FFF2-40B4-BE49-F238E27FC236}">
                    <a16:creationId xmlns:a16="http://schemas.microsoft.com/office/drawing/2014/main" id="{722BBC49-941A-2650-0297-18FDCFAAA27F}"/>
                  </a:ext>
                </a:extLst>
              </p:cNvPr>
              <p:cNvCxnSpPr>
                <a:cxnSpLocks/>
              </p:cNvCxnSpPr>
              <p:nvPr/>
            </p:nvCxnSpPr>
            <p:spPr>
              <a:xfrm rot="5400000">
                <a:off x="22936200" y="612902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409" name="Group 408">
              <a:extLst>
                <a:ext uri="{FF2B5EF4-FFF2-40B4-BE49-F238E27FC236}">
                  <a16:creationId xmlns:a16="http://schemas.microsoft.com/office/drawing/2014/main" id="{BA99570E-F3DD-A788-4476-AB358D913265}"/>
                </a:ext>
              </a:extLst>
            </p:cNvPr>
            <p:cNvGrpSpPr/>
            <p:nvPr/>
          </p:nvGrpSpPr>
          <p:grpSpPr>
            <a:xfrm>
              <a:off x="8232963" y="4225187"/>
              <a:ext cx="81107" cy="56331"/>
              <a:chOff x="22867620" y="6131560"/>
              <a:chExt cx="137160" cy="137160"/>
            </a:xfrm>
          </p:grpSpPr>
          <p:cxnSp>
            <p:nvCxnSpPr>
              <p:cNvPr id="431" name="Straight Connector 430">
                <a:extLst>
                  <a:ext uri="{FF2B5EF4-FFF2-40B4-BE49-F238E27FC236}">
                    <a16:creationId xmlns:a16="http://schemas.microsoft.com/office/drawing/2014/main" id="{C77D3131-6869-9F75-9B26-F4843967ED46}"/>
                  </a:ext>
                </a:extLst>
              </p:cNvPr>
              <p:cNvCxnSpPr/>
              <p:nvPr/>
            </p:nvCxnSpPr>
            <p:spPr>
              <a:xfrm>
                <a:off x="22936200" y="613156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32" name="Straight Connector 431">
                <a:extLst>
                  <a:ext uri="{FF2B5EF4-FFF2-40B4-BE49-F238E27FC236}">
                    <a16:creationId xmlns:a16="http://schemas.microsoft.com/office/drawing/2014/main" id="{940EC4A3-59E2-2182-3201-13792977AB69}"/>
                  </a:ext>
                </a:extLst>
              </p:cNvPr>
              <p:cNvCxnSpPr>
                <a:cxnSpLocks/>
              </p:cNvCxnSpPr>
              <p:nvPr/>
            </p:nvCxnSpPr>
            <p:spPr>
              <a:xfrm rot="5400000">
                <a:off x="22936200" y="612902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410" name="Group 409">
              <a:extLst>
                <a:ext uri="{FF2B5EF4-FFF2-40B4-BE49-F238E27FC236}">
                  <a16:creationId xmlns:a16="http://schemas.microsoft.com/office/drawing/2014/main" id="{F14078E6-3BFC-83DA-26CA-32E606234C4F}"/>
                </a:ext>
              </a:extLst>
            </p:cNvPr>
            <p:cNvGrpSpPr/>
            <p:nvPr/>
          </p:nvGrpSpPr>
          <p:grpSpPr>
            <a:xfrm>
              <a:off x="8298387" y="4225187"/>
              <a:ext cx="81107" cy="56331"/>
              <a:chOff x="22867620" y="6131560"/>
              <a:chExt cx="137160" cy="137160"/>
            </a:xfrm>
          </p:grpSpPr>
          <p:cxnSp>
            <p:nvCxnSpPr>
              <p:cNvPr id="429" name="Straight Connector 428">
                <a:extLst>
                  <a:ext uri="{FF2B5EF4-FFF2-40B4-BE49-F238E27FC236}">
                    <a16:creationId xmlns:a16="http://schemas.microsoft.com/office/drawing/2014/main" id="{FA0179C7-1FCD-72EB-7092-80B111451619}"/>
                  </a:ext>
                </a:extLst>
              </p:cNvPr>
              <p:cNvCxnSpPr/>
              <p:nvPr/>
            </p:nvCxnSpPr>
            <p:spPr>
              <a:xfrm>
                <a:off x="22936200" y="613156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30" name="Straight Connector 429">
                <a:extLst>
                  <a:ext uri="{FF2B5EF4-FFF2-40B4-BE49-F238E27FC236}">
                    <a16:creationId xmlns:a16="http://schemas.microsoft.com/office/drawing/2014/main" id="{1936E624-6089-1AA7-BE5C-72D8BB910A95}"/>
                  </a:ext>
                </a:extLst>
              </p:cNvPr>
              <p:cNvCxnSpPr>
                <a:cxnSpLocks/>
              </p:cNvCxnSpPr>
              <p:nvPr/>
            </p:nvCxnSpPr>
            <p:spPr>
              <a:xfrm rot="5400000">
                <a:off x="22936200" y="612902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411" name="Group 410">
              <a:extLst>
                <a:ext uri="{FF2B5EF4-FFF2-40B4-BE49-F238E27FC236}">
                  <a16:creationId xmlns:a16="http://schemas.microsoft.com/office/drawing/2014/main" id="{6DD83C21-E0AD-AACF-D50C-EE1CDB277651}"/>
                </a:ext>
              </a:extLst>
            </p:cNvPr>
            <p:cNvGrpSpPr/>
            <p:nvPr/>
          </p:nvGrpSpPr>
          <p:grpSpPr>
            <a:xfrm>
              <a:off x="8507956" y="4225193"/>
              <a:ext cx="81107" cy="56331"/>
              <a:chOff x="22867620" y="6131560"/>
              <a:chExt cx="137160" cy="137160"/>
            </a:xfrm>
          </p:grpSpPr>
          <p:cxnSp>
            <p:nvCxnSpPr>
              <p:cNvPr id="427" name="Straight Connector 426">
                <a:extLst>
                  <a:ext uri="{FF2B5EF4-FFF2-40B4-BE49-F238E27FC236}">
                    <a16:creationId xmlns:a16="http://schemas.microsoft.com/office/drawing/2014/main" id="{197F81A5-4537-814D-CC80-39F2CCC1376B}"/>
                  </a:ext>
                </a:extLst>
              </p:cNvPr>
              <p:cNvCxnSpPr/>
              <p:nvPr/>
            </p:nvCxnSpPr>
            <p:spPr>
              <a:xfrm>
                <a:off x="22936200" y="613156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28" name="Straight Connector 427">
                <a:extLst>
                  <a:ext uri="{FF2B5EF4-FFF2-40B4-BE49-F238E27FC236}">
                    <a16:creationId xmlns:a16="http://schemas.microsoft.com/office/drawing/2014/main" id="{E99F8EB7-E88E-120E-5B54-4BA37FAAA53B}"/>
                  </a:ext>
                </a:extLst>
              </p:cNvPr>
              <p:cNvCxnSpPr>
                <a:cxnSpLocks/>
              </p:cNvCxnSpPr>
              <p:nvPr/>
            </p:nvCxnSpPr>
            <p:spPr>
              <a:xfrm rot="5400000">
                <a:off x="22936200" y="612902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412" name="Group 411">
              <a:extLst>
                <a:ext uri="{FF2B5EF4-FFF2-40B4-BE49-F238E27FC236}">
                  <a16:creationId xmlns:a16="http://schemas.microsoft.com/office/drawing/2014/main" id="{B26ACA39-BD1A-9C31-484B-346C8B369B16}"/>
                </a:ext>
              </a:extLst>
            </p:cNvPr>
            <p:cNvGrpSpPr/>
            <p:nvPr/>
          </p:nvGrpSpPr>
          <p:grpSpPr>
            <a:xfrm>
              <a:off x="9233725" y="4225185"/>
              <a:ext cx="81107" cy="56331"/>
              <a:chOff x="22867620" y="6131560"/>
              <a:chExt cx="137160" cy="137160"/>
            </a:xfrm>
          </p:grpSpPr>
          <p:cxnSp>
            <p:nvCxnSpPr>
              <p:cNvPr id="425" name="Straight Connector 424">
                <a:extLst>
                  <a:ext uri="{FF2B5EF4-FFF2-40B4-BE49-F238E27FC236}">
                    <a16:creationId xmlns:a16="http://schemas.microsoft.com/office/drawing/2014/main" id="{DEA54642-1EB0-3AC5-99AB-395313E8F97C}"/>
                  </a:ext>
                </a:extLst>
              </p:cNvPr>
              <p:cNvCxnSpPr/>
              <p:nvPr/>
            </p:nvCxnSpPr>
            <p:spPr>
              <a:xfrm>
                <a:off x="22936200" y="613156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26" name="Straight Connector 425">
                <a:extLst>
                  <a:ext uri="{FF2B5EF4-FFF2-40B4-BE49-F238E27FC236}">
                    <a16:creationId xmlns:a16="http://schemas.microsoft.com/office/drawing/2014/main" id="{9A260084-D8E2-6F9F-4F1A-CB558872562E}"/>
                  </a:ext>
                </a:extLst>
              </p:cNvPr>
              <p:cNvCxnSpPr>
                <a:cxnSpLocks/>
              </p:cNvCxnSpPr>
              <p:nvPr/>
            </p:nvCxnSpPr>
            <p:spPr>
              <a:xfrm rot="5400000">
                <a:off x="22936200" y="612902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413" name="Group 412">
              <a:extLst>
                <a:ext uri="{FF2B5EF4-FFF2-40B4-BE49-F238E27FC236}">
                  <a16:creationId xmlns:a16="http://schemas.microsoft.com/office/drawing/2014/main" id="{C3C2BDF6-8AB8-73F6-A55B-44A511FBFE34}"/>
                </a:ext>
              </a:extLst>
            </p:cNvPr>
            <p:cNvGrpSpPr/>
            <p:nvPr/>
          </p:nvGrpSpPr>
          <p:grpSpPr>
            <a:xfrm>
              <a:off x="9323638" y="4225169"/>
              <a:ext cx="81107" cy="56331"/>
              <a:chOff x="22867620" y="6131560"/>
              <a:chExt cx="137160" cy="137160"/>
            </a:xfrm>
          </p:grpSpPr>
          <p:cxnSp>
            <p:nvCxnSpPr>
              <p:cNvPr id="423" name="Straight Connector 422">
                <a:extLst>
                  <a:ext uri="{FF2B5EF4-FFF2-40B4-BE49-F238E27FC236}">
                    <a16:creationId xmlns:a16="http://schemas.microsoft.com/office/drawing/2014/main" id="{2BA832C6-3630-F101-8167-187DB93C8DCB}"/>
                  </a:ext>
                </a:extLst>
              </p:cNvPr>
              <p:cNvCxnSpPr/>
              <p:nvPr/>
            </p:nvCxnSpPr>
            <p:spPr>
              <a:xfrm>
                <a:off x="22936200" y="613156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24" name="Straight Connector 423">
                <a:extLst>
                  <a:ext uri="{FF2B5EF4-FFF2-40B4-BE49-F238E27FC236}">
                    <a16:creationId xmlns:a16="http://schemas.microsoft.com/office/drawing/2014/main" id="{F3A78A1B-D94B-3899-05C9-97D23D492219}"/>
                  </a:ext>
                </a:extLst>
              </p:cNvPr>
              <p:cNvCxnSpPr>
                <a:cxnSpLocks/>
              </p:cNvCxnSpPr>
              <p:nvPr/>
            </p:nvCxnSpPr>
            <p:spPr>
              <a:xfrm rot="5400000">
                <a:off x="22936200" y="612902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414" name="Group 413">
              <a:extLst>
                <a:ext uri="{FF2B5EF4-FFF2-40B4-BE49-F238E27FC236}">
                  <a16:creationId xmlns:a16="http://schemas.microsoft.com/office/drawing/2014/main" id="{276948A1-3121-839A-A81E-8A10BC4E2F9C}"/>
                </a:ext>
              </a:extLst>
            </p:cNvPr>
            <p:cNvGrpSpPr/>
            <p:nvPr/>
          </p:nvGrpSpPr>
          <p:grpSpPr>
            <a:xfrm>
              <a:off x="9479934" y="4225151"/>
              <a:ext cx="81107" cy="56331"/>
              <a:chOff x="22867620" y="6131560"/>
              <a:chExt cx="137160" cy="137160"/>
            </a:xfrm>
          </p:grpSpPr>
          <p:cxnSp>
            <p:nvCxnSpPr>
              <p:cNvPr id="421" name="Straight Connector 420">
                <a:extLst>
                  <a:ext uri="{FF2B5EF4-FFF2-40B4-BE49-F238E27FC236}">
                    <a16:creationId xmlns:a16="http://schemas.microsoft.com/office/drawing/2014/main" id="{E5E06B30-7340-007D-B091-6652B85B2D73}"/>
                  </a:ext>
                </a:extLst>
              </p:cNvPr>
              <p:cNvCxnSpPr/>
              <p:nvPr/>
            </p:nvCxnSpPr>
            <p:spPr>
              <a:xfrm>
                <a:off x="22936200" y="613156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22" name="Straight Connector 421">
                <a:extLst>
                  <a:ext uri="{FF2B5EF4-FFF2-40B4-BE49-F238E27FC236}">
                    <a16:creationId xmlns:a16="http://schemas.microsoft.com/office/drawing/2014/main" id="{B90A5D8B-A56D-82D6-5A79-B567EA05F972}"/>
                  </a:ext>
                </a:extLst>
              </p:cNvPr>
              <p:cNvCxnSpPr>
                <a:cxnSpLocks/>
              </p:cNvCxnSpPr>
              <p:nvPr/>
            </p:nvCxnSpPr>
            <p:spPr>
              <a:xfrm rot="5400000">
                <a:off x="22936200" y="612902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415" name="Group 414">
              <a:extLst>
                <a:ext uri="{FF2B5EF4-FFF2-40B4-BE49-F238E27FC236}">
                  <a16:creationId xmlns:a16="http://schemas.microsoft.com/office/drawing/2014/main" id="{C883D712-A407-A97F-D641-5B65DEBFC5D4}"/>
                </a:ext>
              </a:extLst>
            </p:cNvPr>
            <p:cNvGrpSpPr/>
            <p:nvPr/>
          </p:nvGrpSpPr>
          <p:grpSpPr>
            <a:xfrm>
              <a:off x="10417720" y="4225136"/>
              <a:ext cx="81107" cy="56331"/>
              <a:chOff x="22867620" y="6131560"/>
              <a:chExt cx="137160" cy="137160"/>
            </a:xfrm>
          </p:grpSpPr>
          <p:cxnSp>
            <p:nvCxnSpPr>
              <p:cNvPr id="419" name="Straight Connector 418">
                <a:extLst>
                  <a:ext uri="{FF2B5EF4-FFF2-40B4-BE49-F238E27FC236}">
                    <a16:creationId xmlns:a16="http://schemas.microsoft.com/office/drawing/2014/main" id="{41E45BA6-134C-4573-2154-C241D908C8C6}"/>
                  </a:ext>
                </a:extLst>
              </p:cNvPr>
              <p:cNvCxnSpPr/>
              <p:nvPr/>
            </p:nvCxnSpPr>
            <p:spPr>
              <a:xfrm>
                <a:off x="22936200" y="613156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20" name="Straight Connector 419">
                <a:extLst>
                  <a:ext uri="{FF2B5EF4-FFF2-40B4-BE49-F238E27FC236}">
                    <a16:creationId xmlns:a16="http://schemas.microsoft.com/office/drawing/2014/main" id="{B3304DE1-6037-F951-B331-3D7195540338}"/>
                  </a:ext>
                </a:extLst>
              </p:cNvPr>
              <p:cNvCxnSpPr>
                <a:cxnSpLocks/>
              </p:cNvCxnSpPr>
              <p:nvPr/>
            </p:nvCxnSpPr>
            <p:spPr>
              <a:xfrm rot="5400000">
                <a:off x="22936200" y="612902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416" name="Group 415">
              <a:extLst>
                <a:ext uri="{FF2B5EF4-FFF2-40B4-BE49-F238E27FC236}">
                  <a16:creationId xmlns:a16="http://schemas.microsoft.com/office/drawing/2014/main" id="{B8405DBB-EBEF-DB67-4718-F63B10E5B48E}"/>
                </a:ext>
              </a:extLst>
            </p:cNvPr>
            <p:cNvGrpSpPr/>
            <p:nvPr/>
          </p:nvGrpSpPr>
          <p:grpSpPr>
            <a:xfrm>
              <a:off x="10517146" y="4225117"/>
              <a:ext cx="81107" cy="56331"/>
              <a:chOff x="22867620" y="6131560"/>
              <a:chExt cx="137160" cy="137160"/>
            </a:xfrm>
          </p:grpSpPr>
          <p:cxnSp>
            <p:nvCxnSpPr>
              <p:cNvPr id="417" name="Straight Connector 416">
                <a:extLst>
                  <a:ext uri="{FF2B5EF4-FFF2-40B4-BE49-F238E27FC236}">
                    <a16:creationId xmlns:a16="http://schemas.microsoft.com/office/drawing/2014/main" id="{0A41A591-8928-A120-BF49-6BBE97AA67D3}"/>
                  </a:ext>
                </a:extLst>
              </p:cNvPr>
              <p:cNvCxnSpPr/>
              <p:nvPr/>
            </p:nvCxnSpPr>
            <p:spPr>
              <a:xfrm>
                <a:off x="22936200" y="613156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18" name="Straight Connector 417">
                <a:extLst>
                  <a:ext uri="{FF2B5EF4-FFF2-40B4-BE49-F238E27FC236}">
                    <a16:creationId xmlns:a16="http://schemas.microsoft.com/office/drawing/2014/main" id="{12854E68-02C1-3195-97F0-C0202901496C}"/>
                  </a:ext>
                </a:extLst>
              </p:cNvPr>
              <p:cNvCxnSpPr>
                <a:cxnSpLocks/>
              </p:cNvCxnSpPr>
              <p:nvPr/>
            </p:nvCxnSpPr>
            <p:spPr>
              <a:xfrm rot="5400000">
                <a:off x="22936200" y="612902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grpSp>
      </p:grpSp>
      <p:sp>
        <p:nvSpPr>
          <p:cNvPr id="459" name="Speech Bubble: Rectangle 890">
            <a:extLst>
              <a:ext uri="{FF2B5EF4-FFF2-40B4-BE49-F238E27FC236}">
                <a16:creationId xmlns:a16="http://schemas.microsoft.com/office/drawing/2014/main" id="{FECCC62E-6B32-DA12-317C-477FC6ADCC39}"/>
              </a:ext>
            </a:extLst>
          </p:cNvPr>
          <p:cNvSpPr/>
          <p:nvPr/>
        </p:nvSpPr>
        <p:spPr>
          <a:xfrm>
            <a:off x="5315716" y="4224425"/>
            <a:ext cx="806953" cy="208749"/>
          </a:xfrm>
          <a:prstGeom prst="wedgeRectCallout">
            <a:avLst>
              <a:gd name="adj1" fmla="val -23666"/>
              <a:gd name="adj2" fmla="val -79862"/>
            </a:avLst>
          </a:prstGeom>
          <a:solidFill>
            <a:schemeClr val="accent6">
              <a:lumMod val="20000"/>
              <a:lumOff val="80000"/>
            </a:schemeClr>
          </a:solidFill>
          <a:ln w="25400" cap="flat" cmpd="sng" algn="ctr">
            <a:noFill/>
            <a:prstDash val="solid"/>
          </a:ln>
          <a:effectLst/>
        </p:spPr>
        <p:txBody>
          <a:bodyPr wrap="square" lIns="60750" tIns="40500" rIns="40500" bIns="40500" rtlCol="0" anchor="ctr">
            <a:spAutoFit/>
          </a:bodyPr>
          <a:lstStyle/>
          <a:p>
            <a:pPr marL="0" marR="0" lvl="0" indent="0" algn="ctr" defTabSz="257175" rtl="0" eaLnBrk="1" fontAlgn="ctr" latinLnBrk="0" hangingPunct="1">
              <a:lnSpc>
                <a:spcPct val="100000"/>
              </a:lnSpc>
              <a:spcBef>
                <a:spcPct val="0"/>
              </a:spcBef>
              <a:spcAft>
                <a:spcPct val="0"/>
              </a:spcAft>
              <a:buClrTx/>
              <a:buSzTx/>
              <a:buFontTx/>
              <a:buNone/>
              <a:tabLst/>
              <a:defRPr/>
            </a:pPr>
            <a:r>
              <a:rPr kumimoji="0" lang="en-US" sz="825" b="1" i="0" u="none" strike="noStrike" kern="0" cap="none" spc="0" normalizeH="0" baseline="0" noProof="0" dirty="0">
                <a:ln>
                  <a:noFill/>
                </a:ln>
                <a:solidFill>
                  <a:prstClr val="black"/>
                </a:solidFill>
                <a:effectLst>
                  <a:glow>
                    <a:srgbClr val="000000"/>
                  </a:glow>
                </a:effectLst>
                <a:uLnTx/>
                <a:uFillTx/>
                <a:latin typeface="Garamond" pitchFamily="18" charset="0"/>
                <a:ea typeface="+mn-ea"/>
                <a:cs typeface="Arial" panose="020B0604020202020204" pitchFamily="34" charset="0"/>
              </a:rPr>
              <a:t>NR (NR-NR)</a:t>
            </a:r>
            <a:endParaRPr kumimoji="0" lang="en-US" sz="825" b="0" i="0" u="none" strike="noStrike" kern="0" cap="none" spc="0" normalizeH="0" baseline="0" noProof="0" dirty="0">
              <a:ln>
                <a:noFill/>
              </a:ln>
              <a:solidFill>
                <a:prstClr val="black"/>
              </a:solidFill>
              <a:effectLst>
                <a:glow>
                  <a:srgbClr val="000000"/>
                </a:glow>
              </a:effectLst>
              <a:uLnTx/>
              <a:uFillTx/>
              <a:latin typeface="Garamond" pitchFamily="18" charset="0"/>
              <a:ea typeface="+mn-ea"/>
              <a:cs typeface="Arial" panose="020B0604020202020204" pitchFamily="34" charset="0"/>
            </a:endParaRPr>
          </a:p>
        </p:txBody>
      </p:sp>
      <p:graphicFrame>
        <p:nvGraphicFramePr>
          <p:cNvPr id="461" name="Table 185">
            <a:extLst>
              <a:ext uri="{FF2B5EF4-FFF2-40B4-BE49-F238E27FC236}">
                <a16:creationId xmlns:a16="http://schemas.microsoft.com/office/drawing/2014/main" id="{F27A9A6E-CDC6-B26C-78A4-395F3B8784EB}"/>
              </a:ext>
            </a:extLst>
          </p:cNvPr>
          <p:cNvGraphicFramePr>
            <a:graphicFrameLocks noGrp="1"/>
          </p:cNvGraphicFramePr>
          <p:nvPr/>
        </p:nvGraphicFramePr>
        <p:xfrm>
          <a:off x="7053403" y="4169266"/>
          <a:ext cx="3288030" cy="720804"/>
        </p:xfrm>
        <a:graphic>
          <a:graphicData uri="http://schemas.openxmlformats.org/drawingml/2006/table">
            <a:tbl>
              <a:tblPr firstRow="1" bandRow="1">
                <a:tableStyleId>{5C22544A-7EE6-4342-B048-85BDC9FD1C3A}</a:tableStyleId>
              </a:tblPr>
              <a:tblGrid>
                <a:gridCol w="1851660">
                  <a:extLst>
                    <a:ext uri="{9D8B030D-6E8A-4147-A177-3AD203B41FA5}">
                      <a16:colId xmlns:a16="http://schemas.microsoft.com/office/drawing/2014/main" val="498251772"/>
                    </a:ext>
                  </a:extLst>
                </a:gridCol>
                <a:gridCol w="1436370">
                  <a:extLst>
                    <a:ext uri="{9D8B030D-6E8A-4147-A177-3AD203B41FA5}">
                      <a16:colId xmlns:a16="http://schemas.microsoft.com/office/drawing/2014/main" val="575635547"/>
                    </a:ext>
                  </a:extLst>
                </a:gridCol>
              </a:tblGrid>
              <a:tr h="288884">
                <a:tc>
                  <a:txBody>
                    <a:bodyPr/>
                    <a:lstStyle/>
                    <a:p>
                      <a:pPr algn="ctr"/>
                      <a:endParaRPr lang="en-US" sz="800" b="1" dirty="0">
                        <a:solidFill>
                          <a:schemeClr val="accent5"/>
                        </a:solidFill>
                      </a:endParaRPr>
                    </a:p>
                  </a:txBody>
                  <a:tcPr marL="30142" marR="30142" marT="30142" marB="3014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1" cap="none" dirty="0">
                          <a:solidFill>
                            <a:schemeClr val="bg1"/>
                          </a:solidFill>
                          <a:effectLst>
                            <a:glow>
                              <a:srgbClr val="000000"/>
                            </a:glow>
                          </a:effectLst>
                        </a:rPr>
                        <a:t>Liso-cel 3L</a:t>
                      </a:r>
                      <a:br>
                        <a:rPr lang="en-US" sz="800" b="1" cap="none" dirty="0">
                          <a:solidFill>
                            <a:schemeClr val="bg1"/>
                          </a:solidFill>
                        </a:rPr>
                      </a:br>
                      <a:r>
                        <a:rPr lang="en-US" sz="800" b="1" cap="none" dirty="0">
                          <a:solidFill>
                            <a:schemeClr val="bg1"/>
                          </a:solidFill>
                          <a:effectLst>
                            <a:glow>
                              <a:srgbClr val="000000"/>
                            </a:glow>
                          </a:effectLst>
                        </a:rPr>
                        <a:t>(SOC crossover;  n=24)</a:t>
                      </a:r>
                    </a:p>
                  </a:txBody>
                  <a:tcPr marL="30142" marR="30142" marT="30142" marB="3014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3697699394"/>
                  </a:ext>
                </a:extLst>
              </a:tr>
              <a:tr h="208340">
                <a:tc>
                  <a:txBody>
                    <a:bodyPr/>
                    <a:lstStyle/>
                    <a:p>
                      <a:pPr algn="l"/>
                      <a:r>
                        <a:rPr lang="en-US" sz="800" b="1" cap="none" dirty="0">
                          <a:solidFill>
                            <a:schemeClr val="tx1"/>
                          </a:solidFill>
                          <a:effectLst>
                            <a:glow>
                              <a:srgbClr val="000000"/>
                            </a:glow>
                          </a:effectLst>
                        </a:rPr>
                        <a:t>24-month rate (95% CI)</a:t>
                      </a:r>
                    </a:p>
                  </a:txBody>
                  <a:tcPr marL="30142" marR="30142" marT="30142" marB="3014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1" cap="none" dirty="0">
                          <a:solidFill>
                            <a:srgbClr val="666666"/>
                          </a:solidFill>
                          <a:effectLst>
                            <a:glow>
                              <a:srgbClr val="000000"/>
                            </a:glow>
                          </a:effectLst>
                        </a:rPr>
                        <a:t>78.3% </a:t>
                      </a:r>
                      <a:r>
                        <a:rPr lang="en-US" sz="800" cap="none" dirty="0">
                          <a:solidFill>
                            <a:schemeClr val="tx1"/>
                          </a:solidFill>
                          <a:effectLst>
                            <a:glow>
                              <a:srgbClr val="000000"/>
                            </a:glow>
                          </a:effectLst>
                        </a:rPr>
                        <a:t>(61.4-95.1)</a:t>
                      </a:r>
                    </a:p>
                  </a:txBody>
                  <a:tcPr marL="30142" marR="30142" marT="30142" marB="3014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07504522"/>
                  </a:ext>
                </a:extLst>
              </a:tr>
              <a:tr h="20834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800" b="1" cap="none" dirty="0">
                          <a:solidFill>
                            <a:schemeClr val="tx1"/>
                          </a:solidFill>
                          <a:effectLst>
                            <a:glow>
                              <a:srgbClr val="000000"/>
                            </a:glow>
                          </a:effectLst>
                        </a:rPr>
                        <a:t>Median (95% CI) follow-up in the LTFU</a:t>
                      </a:r>
                    </a:p>
                  </a:txBody>
                  <a:tcPr marL="30142" marR="30142" marT="30142" marB="3014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i="0" u="none" strike="noStrike" cap="none" dirty="0">
                          <a:solidFill>
                            <a:schemeClr val="tx1"/>
                          </a:solidFill>
                          <a:effectLst>
                            <a:glow>
                              <a:srgbClr val="000000"/>
                            </a:glow>
                          </a:effectLst>
                          <a:latin typeface="+mn-lt"/>
                          <a:ea typeface="+mn-ea"/>
                          <a:cs typeface="+mn-cs"/>
                          <a:sym typeface="Arial"/>
                        </a:rPr>
                        <a:t>35.0 months </a:t>
                      </a:r>
                      <a:r>
                        <a:rPr lang="en-US" sz="800" cap="none" dirty="0">
                          <a:solidFill>
                            <a:schemeClr val="tx1"/>
                          </a:solidFill>
                          <a:effectLst>
                            <a:glow>
                              <a:srgbClr val="000000"/>
                            </a:glow>
                          </a:effectLst>
                        </a:rPr>
                        <a:t>(28.8-37.1)</a:t>
                      </a:r>
                    </a:p>
                  </a:txBody>
                  <a:tcPr marL="30142" marR="30142" marT="30142" marB="3014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54761151"/>
                  </a:ext>
                </a:extLst>
              </a:tr>
            </a:tbl>
          </a:graphicData>
        </a:graphic>
      </p:graphicFrame>
      <p:cxnSp>
        <p:nvCxnSpPr>
          <p:cNvPr id="463" name="Straight Arrow Connector 462">
            <a:extLst>
              <a:ext uri="{FF2B5EF4-FFF2-40B4-BE49-F238E27FC236}">
                <a16:creationId xmlns:a16="http://schemas.microsoft.com/office/drawing/2014/main" id="{093CB92B-5C21-4B83-938E-8CA7B7522D93}"/>
              </a:ext>
            </a:extLst>
          </p:cNvPr>
          <p:cNvCxnSpPr>
            <a:cxnSpLocks/>
          </p:cNvCxnSpPr>
          <p:nvPr/>
        </p:nvCxnSpPr>
        <p:spPr>
          <a:xfrm flipV="1">
            <a:off x="2493234" y="3274975"/>
            <a:ext cx="0" cy="15402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65" name="TextBox 464">
            <a:extLst>
              <a:ext uri="{FF2B5EF4-FFF2-40B4-BE49-F238E27FC236}">
                <a16:creationId xmlns:a16="http://schemas.microsoft.com/office/drawing/2014/main" id="{40EA718E-36CF-D64C-55E7-2CBE82A4CD0E}"/>
              </a:ext>
            </a:extLst>
          </p:cNvPr>
          <p:cNvSpPr txBox="1"/>
          <p:nvPr/>
        </p:nvSpPr>
        <p:spPr>
          <a:xfrm>
            <a:off x="2562193" y="3325127"/>
            <a:ext cx="2070766" cy="103875"/>
          </a:xfrm>
          <a:prstGeom prst="rect">
            <a:avLst/>
          </a:prstGeom>
          <a:noFill/>
        </p:spPr>
        <p:txBody>
          <a:bodyPr wrap="square" lIns="0" tIns="0" rIns="0" bIns="0" rtlCol="0">
            <a:spAutoFit/>
          </a:bodyPr>
          <a:lstStyle/>
          <a:p>
            <a:pPr marL="0" marR="0" lvl="0" indent="0" algn="l" defTabSz="257175" rtl="0" eaLnBrk="1" fontAlgn="base" latinLnBrk="0" hangingPunct="1">
              <a:lnSpc>
                <a:spcPct val="100000"/>
              </a:lnSpc>
              <a:spcBef>
                <a:spcPct val="0"/>
              </a:spcBef>
              <a:spcAft>
                <a:spcPct val="0"/>
              </a:spcAft>
              <a:buClrTx/>
              <a:buSzTx/>
              <a:buFontTx/>
              <a:buNone/>
              <a:tabLst/>
              <a:defRPr/>
            </a:pPr>
            <a:r>
              <a:rPr kumimoji="0" lang="en-US" sz="675" b="1" i="0" u="none" strike="noStrike" kern="1200" cap="none" spc="0" normalizeH="0" baseline="0" noProof="0" dirty="0">
                <a:ln>
                  <a:noFill/>
                </a:ln>
                <a:solidFill>
                  <a:prstClr val="black"/>
                </a:solidFill>
                <a:effectLst>
                  <a:glow>
                    <a:srgbClr val="000000"/>
                  </a:glow>
                </a:effectLst>
                <a:uLnTx/>
                <a:uFillTx/>
                <a:latin typeface="Garamond" pitchFamily="18" charset="0"/>
                <a:ea typeface="+mn-ea"/>
                <a:cs typeface="Arial" panose="020B0604020202020204" pitchFamily="34" charset="0"/>
              </a:rPr>
              <a:t>LTFU consent (up to 3 years after randomization)</a:t>
            </a:r>
          </a:p>
        </p:txBody>
      </p:sp>
      <p:cxnSp>
        <p:nvCxnSpPr>
          <p:cNvPr id="466" name="Straight Arrow Connector 465">
            <a:extLst>
              <a:ext uri="{FF2B5EF4-FFF2-40B4-BE49-F238E27FC236}">
                <a16:creationId xmlns:a16="http://schemas.microsoft.com/office/drawing/2014/main" id="{5CD4AB7A-EDAF-2D55-F517-C1F9A4272562}"/>
              </a:ext>
            </a:extLst>
          </p:cNvPr>
          <p:cNvCxnSpPr>
            <a:cxnSpLocks/>
          </p:cNvCxnSpPr>
          <p:nvPr/>
        </p:nvCxnSpPr>
        <p:spPr>
          <a:xfrm flipV="1">
            <a:off x="2493234" y="5144819"/>
            <a:ext cx="0" cy="15402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67" name="TextBox 466">
            <a:extLst>
              <a:ext uri="{FF2B5EF4-FFF2-40B4-BE49-F238E27FC236}">
                <a16:creationId xmlns:a16="http://schemas.microsoft.com/office/drawing/2014/main" id="{AB489FB3-520D-D922-B940-4003676A42DA}"/>
              </a:ext>
            </a:extLst>
          </p:cNvPr>
          <p:cNvSpPr txBox="1"/>
          <p:nvPr/>
        </p:nvSpPr>
        <p:spPr>
          <a:xfrm>
            <a:off x="2562193" y="5194972"/>
            <a:ext cx="2236502" cy="103875"/>
          </a:xfrm>
          <a:prstGeom prst="rect">
            <a:avLst/>
          </a:prstGeom>
          <a:noFill/>
        </p:spPr>
        <p:txBody>
          <a:bodyPr wrap="square" lIns="0" tIns="0" rIns="0" bIns="0" rtlCol="0">
            <a:spAutoFit/>
          </a:bodyPr>
          <a:lstStyle/>
          <a:p>
            <a:pPr marL="0" marR="0" lvl="0" indent="0" algn="l" defTabSz="257175" rtl="0" eaLnBrk="1" fontAlgn="base" latinLnBrk="0" hangingPunct="1">
              <a:lnSpc>
                <a:spcPct val="100000"/>
              </a:lnSpc>
              <a:spcBef>
                <a:spcPct val="0"/>
              </a:spcBef>
              <a:spcAft>
                <a:spcPct val="0"/>
              </a:spcAft>
              <a:buClrTx/>
              <a:buSzTx/>
              <a:buFontTx/>
              <a:buNone/>
              <a:tabLst/>
              <a:defRPr/>
            </a:pPr>
            <a:r>
              <a:rPr kumimoji="0" lang="en-US" sz="675" b="1" i="0" u="none" strike="noStrike" kern="1200" cap="none" spc="0" normalizeH="0" baseline="0" noProof="0" dirty="0">
                <a:ln>
                  <a:noFill/>
                </a:ln>
                <a:solidFill>
                  <a:prstClr val="black"/>
                </a:solidFill>
                <a:effectLst>
                  <a:glow>
                    <a:srgbClr val="000000"/>
                  </a:glow>
                </a:effectLst>
                <a:uLnTx/>
                <a:uFillTx/>
                <a:latin typeface="Garamond" pitchFamily="18" charset="0"/>
                <a:ea typeface="+mn-ea"/>
                <a:cs typeface="Arial" panose="020B0604020202020204" pitchFamily="34" charset="0"/>
              </a:rPr>
              <a:t>LTFU consent (up to 12 months after liso-cel infusion)</a:t>
            </a:r>
          </a:p>
        </p:txBody>
      </p:sp>
      <p:sp>
        <p:nvSpPr>
          <p:cNvPr id="468" name="TextBox 467">
            <a:extLst>
              <a:ext uri="{FF2B5EF4-FFF2-40B4-BE49-F238E27FC236}">
                <a16:creationId xmlns:a16="http://schemas.microsoft.com/office/drawing/2014/main" id="{F9023AE1-413A-7E6F-1AE6-635CB15F3AFB}"/>
              </a:ext>
            </a:extLst>
          </p:cNvPr>
          <p:cNvSpPr txBox="1"/>
          <p:nvPr/>
        </p:nvSpPr>
        <p:spPr>
          <a:xfrm>
            <a:off x="1956436" y="1878173"/>
            <a:ext cx="227264" cy="126958"/>
          </a:xfrm>
          <a:prstGeom prst="rect">
            <a:avLst/>
          </a:prstGeom>
          <a:noFill/>
        </p:spPr>
        <p:txBody>
          <a:bodyPr wrap="square" lIns="0" tIns="0" rIns="0" bIns="0" rtlCol="0">
            <a:spAutoFit/>
          </a:bodyPr>
          <a:lstStyle/>
          <a:p>
            <a:pPr marL="0" marR="0" lvl="0" indent="0" algn="ctr" defTabSz="257175" rtl="0" eaLnBrk="1" fontAlgn="base" latinLnBrk="0" hangingPunct="1">
              <a:lnSpc>
                <a:spcPct val="100000"/>
              </a:lnSpc>
              <a:spcBef>
                <a:spcPct val="0"/>
              </a:spcBef>
              <a:spcAft>
                <a:spcPct val="0"/>
              </a:spcAft>
              <a:buClrTx/>
              <a:buSzTx/>
              <a:buFontTx/>
              <a:buNone/>
              <a:tabLst/>
              <a:defRPr/>
            </a:pPr>
            <a:r>
              <a:rPr kumimoji="0" lang="en-US" sz="825" b="1" i="0" u="none" strike="noStrike" kern="1200" cap="none" spc="0" normalizeH="0" baseline="0" noProof="0" dirty="0">
                <a:ln>
                  <a:noFill/>
                </a:ln>
                <a:solidFill>
                  <a:prstClr val="black"/>
                </a:solidFill>
                <a:effectLst>
                  <a:glow>
                    <a:srgbClr val="000000"/>
                  </a:glow>
                </a:effectLst>
                <a:uLnTx/>
                <a:uFillTx/>
                <a:latin typeface="Garamond" pitchFamily="18" charset="0"/>
                <a:ea typeface="+mn-ea"/>
                <a:cs typeface="Arial" panose="020B0604020202020204" pitchFamily="34" charset="0"/>
              </a:rPr>
              <a:t>(A)</a:t>
            </a:r>
          </a:p>
        </p:txBody>
      </p:sp>
      <p:grpSp>
        <p:nvGrpSpPr>
          <p:cNvPr id="12" name="Group 11">
            <a:extLst>
              <a:ext uri="{FF2B5EF4-FFF2-40B4-BE49-F238E27FC236}">
                <a16:creationId xmlns:a16="http://schemas.microsoft.com/office/drawing/2014/main" id="{EC0793D5-8E82-A3C5-590C-6CB4ABD6532D}"/>
              </a:ext>
            </a:extLst>
          </p:cNvPr>
          <p:cNvGrpSpPr/>
          <p:nvPr/>
        </p:nvGrpSpPr>
        <p:grpSpPr>
          <a:xfrm>
            <a:off x="1809424" y="1776391"/>
            <a:ext cx="8660456" cy="0"/>
            <a:chOff x="380565" y="1196025"/>
            <a:chExt cx="11547275" cy="0"/>
          </a:xfrm>
        </p:grpSpPr>
        <p:cxnSp>
          <p:nvCxnSpPr>
            <p:cNvPr id="5" name="Shape0_20221025_110436">
              <a:extLst>
                <a:ext uri="{FF2B5EF4-FFF2-40B4-BE49-F238E27FC236}">
                  <a16:creationId xmlns:a16="http://schemas.microsoft.com/office/drawing/2014/main" id="{0DC2F44B-DA15-9FD8-C15B-A6EA94E0F8FE}"/>
                </a:ext>
              </a:extLst>
            </p:cNvPr>
            <p:cNvCxnSpPr>
              <a:cxnSpLocks/>
            </p:cNvCxnSpPr>
            <p:nvPr/>
          </p:nvCxnSpPr>
          <p:spPr>
            <a:xfrm>
              <a:off x="380565" y="1196025"/>
              <a:ext cx="11547275"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9E8F4249-76B8-B003-FF3D-FDF6C22EBC1F}"/>
                </a:ext>
              </a:extLst>
            </p:cNvPr>
            <p:cNvCxnSpPr>
              <a:cxnSpLocks/>
            </p:cNvCxnSpPr>
            <p:nvPr/>
          </p:nvCxnSpPr>
          <p:spPr>
            <a:xfrm>
              <a:off x="11633835" y="1196025"/>
              <a:ext cx="294005" cy="0"/>
            </a:xfrm>
            <a:prstGeom prst="line">
              <a:avLst/>
            </a:prstGeom>
            <a:ln w="28575" cap="rnd">
              <a:gradFill flip="none" rotWithShape="1">
                <a:gsLst>
                  <a:gs pos="0">
                    <a:srgbClr val="F88D29"/>
                  </a:gs>
                  <a:gs pos="100000">
                    <a:srgbClr val="EF3339"/>
                  </a:gs>
                </a:gsLst>
                <a:lin ang="0" scaled="1"/>
                <a:tileRect/>
              </a:gradFill>
              <a:round/>
            </a:ln>
          </p:spPr>
          <p:style>
            <a:lnRef idx="1">
              <a:schemeClr val="accent1"/>
            </a:lnRef>
            <a:fillRef idx="0">
              <a:schemeClr val="accent1"/>
            </a:fillRef>
            <a:effectRef idx="0">
              <a:schemeClr val="accent1"/>
            </a:effectRef>
            <a:fontRef idx="minor">
              <a:schemeClr val="tx1"/>
            </a:fontRef>
          </p:style>
        </p:cxnSp>
      </p:grpSp>
      <p:sp>
        <p:nvSpPr>
          <p:cNvPr id="16" name="TextBox 15">
            <a:extLst>
              <a:ext uri="{FF2B5EF4-FFF2-40B4-BE49-F238E27FC236}">
                <a16:creationId xmlns:a16="http://schemas.microsoft.com/office/drawing/2014/main" id="{3E8DF982-AF6A-33B5-E12D-C5BD2A65EE82}"/>
              </a:ext>
            </a:extLst>
          </p:cNvPr>
          <p:cNvSpPr txBox="1"/>
          <p:nvPr/>
        </p:nvSpPr>
        <p:spPr>
          <a:xfrm>
            <a:off x="1935481" y="3788163"/>
            <a:ext cx="227264" cy="126958"/>
          </a:xfrm>
          <a:prstGeom prst="rect">
            <a:avLst/>
          </a:prstGeom>
          <a:noFill/>
        </p:spPr>
        <p:txBody>
          <a:bodyPr wrap="square" lIns="0" tIns="0" rIns="0" bIns="0" rtlCol="0">
            <a:spAutoFit/>
          </a:bodyPr>
          <a:lstStyle/>
          <a:p>
            <a:pPr marL="0" marR="0" lvl="0" indent="0" algn="ctr" defTabSz="257175" rtl="0" eaLnBrk="1" fontAlgn="base" latinLnBrk="0" hangingPunct="1">
              <a:lnSpc>
                <a:spcPct val="100000"/>
              </a:lnSpc>
              <a:spcBef>
                <a:spcPct val="0"/>
              </a:spcBef>
              <a:spcAft>
                <a:spcPct val="0"/>
              </a:spcAft>
              <a:buClrTx/>
              <a:buSzTx/>
              <a:buFontTx/>
              <a:buNone/>
              <a:tabLst/>
              <a:defRPr/>
            </a:pPr>
            <a:r>
              <a:rPr kumimoji="0" lang="en-US" sz="825" b="1" i="0" u="none" strike="noStrike" kern="1200" cap="none" spc="0" normalizeH="0" baseline="0" noProof="0" dirty="0">
                <a:ln>
                  <a:noFill/>
                </a:ln>
                <a:solidFill>
                  <a:prstClr val="black"/>
                </a:solidFill>
                <a:effectLst>
                  <a:glow>
                    <a:srgbClr val="000000"/>
                  </a:glow>
                </a:effectLst>
                <a:uLnTx/>
                <a:uFillTx/>
                <a:latin typeface="Garamond" pitchFamily="18" charset="0"/>
                <a:ea typeface="+mn-ea"/>
                <a:cs typeface="Arial" panose="020B0604020202020204" pitchFamily="34" charset="0"/>
              </a:rPr>
              <a:t>(B)</a:t>
            </a:r>
          </a:p>
        </p:txBody>
      </p:sp>
      <p:sp>
        <p:nvSpPr>
          <p:cNvPr id="33" name="Rectangle 32">
            <a:extLst>
              <a:ext uri="{FF2B5EF4-FFF2-40B4-BE49-F238E27FC236}">
                <a16:creationId xmlns:a16="http://schemas.microsoft.com/office/drawing/2014/main" id="{0A077A78-0B60-6DB5-644F-2D27C12AE753}"/>
              </a:ext>
            </a:extLst>
          </p:cNvPr>
          <p:cNvSpPr/>
          <p:nvPr/>
        </p:nvSpPr>
        <p:spPr>
          <a:xfrm>
            <a:off x="9740040" y="3045463"/>
            <a:ext cx="702141" cy="25720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4" name="Rectangle 33">
            <a:extLst>
              <a:ext uri="{FF2B5EF4-FFF2-40B4-BE49-F238E27FC236}">
                <a16:creationId xmlns:a16="http://schemas.microsoft.com/office/drawing/2014/main" id="{08E0C69B-46C4-6BBE-2972-AA5E934BE11C}"/>
              </a:ext>
            </a:extLst>
          </p:cNvPr>
          <p:cNvSpPr/>
          <p:nvPr/>
        </p:nvSpPr>
        <p:spPr>
          <a:xfrm>
            <a:off x="9740040" y="4947592"/>
            <a:ext cx="702141" cy="25720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EBDB65BC-090D-8E96-EB9B-81500D6BD099}"/>
              </a:ext>
            </a:extLst>
          </p:cNvPr>
          <p:cNvSpPr txBox="1"/>
          <p:nvPr/>
        </p:nvSpPr>
        <p:spPr>
          <a:xfrm>
            <a:off x="6623353" y="2553739"/>
            <a:ext cx="3846528" cy="369332"/>
          </a:xfrm>
          <a:prstGeom prst="rect">
            <a:avLst/>
          </a:prstGeom>
          <a:noFill/>
          <a:ln w="38100">
            <a:solidFill>
              <a:srgbClr val="C00000"/>
            </a:solidFill>
          </a:ln>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aramond" pitchFamily="18" charset="0"/>
              <a:ea typeface="+mn-ea"/>
              <a:cs typeface="+mn-cs"/>
            </a:endParaRPr>
          </a:p>
        </p:txBody>
      </p:sp>
      <p:sp>
        <p:nvSpPr>
          <p:cNvPr id="22" name="TextBox 21">
            <a:extLst>
              <a:ext uri="{FF2B5EF4-FFF2-40B4-BE49-F238E27FC236}">
                <a16:creationId xmlns:a16="http://schemas.microsoft.com/office/drawing/2014/main" id="{8AFBDD68-A9CF-0955-01E4-2A7378A1971A}"/>
              </a:ext>
            </a:extLst>
          </p:cNvPr>
          <p:cNvSpPr txBox="1"/>
          <p:nvPr/>
        </p:nvSpPr>
        <p:spPr>
          <a:xfrm>
            <a:off x="6638197" y="4484065"/>
            <a:ext cx="3846528" cy="369332"/>
          </a:xfrm>
          <a:prstGeom prst="rect">
            <a:avLst/>
          </a:prstGeom>
          <a:noFill/>
          <a:ln w="38100">
            <a:solidFill>
              <a:srgbClr val="C00000"/>
            </a:solidFill>
          </a:ln>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aramond" pitchFamily="18" charset="0"/>
              <a:ea typeface="+mn-ea"/>
              <a:cs typeface="+mn-cs"/>
            </a:endParaRPr>
          </a:p>
        </p:txBody>
      </p:sp>
    </p:spTree>
    <p:extLst>
      <p:ext uri="{BB962C8B-B14F-4D97-AF65-F5344CB8AC3E}">
        <p14:creationId xmlns:p14="http://schemas.microsoft.com/office/powerpoint/2010/main" val="387132129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2CC96E7-C118-6A0B-F520-1BCCF8DD4884}"/>
              </a:ext>
            </a:extLst>
          </p:cNvPr>
          <p:cNvSpPr>
            <a:spLocks noGrp="1"/>
          </p:cNvSpPr>
          <p:nvPr>
            <p:ph type="title"/>
          </p:nvPr>
        </p:nvSpPr>
        <p:spPr/>
        <p:txBody>
          <a:bodyPr>
            <a:normAutofit/>
          </a:bodyPr>
          <a:lstStyle/>
          <a:p>
            <a:pPr algn="ctr"/>
            <a:r>
              <a:rPr lang="en-US" sz="3000" dirty="0">
                <a:latin typeface="Arial" panose="020B0604020202020204" pitchFamily="34" charset="0"/>
                <a:cs typeface="Arial" panose="020B0604020202020204" pitchFamily="34" charset="0"/>
              </a:rPr>
              <a:t>Patient-reported outcomes</a:t>
            </a:r>
          </a:p>
        </p:txBody>
      </p:sp>
      <p:sp>
        <p:nvSpPr>
          <p:cNvPr id="4" name="Content Placeholder 3">
            <a:extLst>
              <a:ext uri="{FF2B5EF4-FFF2-40B4-BE49-F238E27FC236}">
                <a16:creationId xmlns:a16="http://schemas.microsoft.com/office/drawing/2014/main" id="{033F2C5C-1B6B-B0FB-C019-AAFD7230BFA0}"/>
              </a:ext>
            </a:extLst>
          </p:cNvPr>
          <p:cNvSpPr>
            <a:spLocks noGrp="1"/>
          </p:cNvSpPr>
          <p:nvPr>
            <p:ph sz="quarter" idx="14"/>
          </p:nvPr>
        </p:nvSpPr>
        <p:spPr/>
        <p:txBody>
          <a:bodyPr>
            <a:noAutofit/>
          </a:bodyPr>
          <a:lstStyle/>
          <a:p>
            <a:endParaRPr lang="en-US" sz="675" dirty="0">
              <a:latin typeface="Arial" panose="020B0604020202020204" pitchFamily="34" charset="0"/>
              <a:cs typeface="Arial" panose="020B0604020202020204" pitchFamily="34" charset="0"/>
            </a:endParaRPr>
          </a:p>
          <a:p>
            <a:r>
              <a:rPr lang="en-US" sz="675" dirty="0">
                <a:latin typeface="Arial" panose="020B0604020202020204" pitchFamily="34" charset="0"/>
                <a:cs typeface="Arial" panose="020B0604020202020204" pitchFamily="34" charset="0"/>
              </a:rPr>
              <a:t>ASCT, autologous stem cell transplant; axi-cel, axicabtagene ciloleucel; CAR, chimeric antigen receptor; DLBCL, diffuse large B-cell lymphoma; LBCL, large B-cell lymphoma; R/R, relapsed or refractory.</a:t>
            </a:r>
            <a:br>
              <a:rPr lang="en-US" sz="675" dirty="0">
                <a:latin typeface="Arial" panose="020B0604020202020204" pitchFamily="34" charset="0"/>
                <a:cs typeface="Arial" panose="020B0604020202020204" pitchFamily="34" charset="0"/>
              </a:rPr>
            </a:br>
            <a:r>
              <a:rPr lang="en-US" sz="675" dirty="0">
                <a:latin typeface="Arial" panose="020B0604020202020204" pitchFamily="34" charset="0"/>
                <a:cs typeface="Arial" panose="020B0604020202020204" pitchFamily="34" charset="0"/>
              </a:rPr>
              <a:t>1. Abramson J, et al. Blood Adv 2022;6:23:5969—5979. 2. Elsawy M, et al. Blood 2022;140:2248—2260. 3. </a:t>
            </a:r>
            <a:r>
              <a:rPr lang="en-US" sz="675" dirty="0" err="1">
                <a:latin typeface="Arial" panose="020B0604020202020204" pitchFamily="34" charset="0"/>
                <a:cs typeface="Arial" panose="020B0604020202020204" pitchFamily="34" charset="0"/>
              </a:rPr>
              <a:t>Breyanzi</a:t>
            </a:r>
            <a:r>
              <a:rPr lang="en-US" sz="675" dirty="0">
                <a:latin typeface="Arial" panose="020B0604020202020204" pitchFamily="34" charset="0"/>
                <a:cs typeface="Arial" panose="020B0604020202020204" pitchFamily="34" charset="0"/>
              </a:rPr>
              <a:t> (lisocabtagene maraleucel). Summary of product characteristics. Bristol Myers Squibb; 2024. </a:t>
            </a:r>
            <a:br>
              <a:rPr lang="en-US" sz="675" dirty="0">
                <a:latin typeface="Arial" panose="020B0604020202020204" pitchFamily="34" charset="0"/>
                <a:cs typeface="Arial" panose="020B0604020202020204" pitchFamily="34" charset="0"/>
              </a:rPr>
            </a:br>
            <a:r>
              <a:rPr lang="en-US" sz="675" dirty="0">
                <a:latin typeface="Arial" panose="020B0604020202020204" pitchFamily="34" charset="0"/>
                <a:cs typeface="Arial" panose="020B0604020202020204" pitchFamily="34" charset="0"/>
              </a:rPr>
              <a:t>4. </a:t>
            </a:r>
            <a:r>
              <a:rPr lang="en-US" sz="675" dirty="0" err="1">
                <a:latin typeface="Arial" panose="020B0604020202020204" pitchFamily="34" charset="0"/>
                <a:cs typeface="Arial" panose="020B0604020202020204" pitchFamily="34" charset="0"/>
              </a:rPr>
              <a:t>Yescarta</a:t>
            </a:r>
            <a:r>
              <a:rPr lang="en-US" sz="675" dirty="0">
                <a:latin typeface="Arial" panose="020B0604020202020204" pitchFamily="34" charset="0"/>
                <a:cs typeface="Arial" panose="020B0604020202020204" pitchFamily="34" charset="0"/>
              </a:rPr>
              <a:t> (axicabtagene ciloleucel). Summary of product characteristics. </a:t>
            </a:r>
            <a:r>
              <a:rPr lang="en-US" sz="675" dirty="0" err="1">
                <a:latin typeface="Arial" panose="020B0604020202020204" pitchFamily="34" charset="0"/>
                <a:cs typeface="Arial" panose="020B0604020202020204" pitchFamily="34" charset="0"/>
              </a:rPr>
              <a:t>Giliead</a:t>
            </a:r>
            <a:r>
              <a:rPr lang="en-US" sz="675" dirty="0">
                <a:latin typeface="Arial" panose="020B0604020202020204" pitchFamily="34" charset="0"/>
                <a:cs typeface="Arial" panose="020B0604020202020204" pitchFamily="34" charset="0"/>
              </a:rPr>
              <a:t> Sciences; 2024.  </a:t>
            </a:r>
          </a:p>
        </p:txBody>
      </p:sp>
      <p:sp>
        <p:nvSpPr>
          <p:cNvPr id="7" name="TextBox 6">
            <a:extLst>
              <a:ext uri="{FF2B5EF4-FFF2-40B4-BE49-F238E27FC236}">
                <a16:creationId xmlns:a16="http://schemas.microsoft.com/office/drawing/2014/main" id="{B7C75C53-498C-5BA4-D568-ED01EB8926C2}"/>
              </a:ext>
            </a:extLst>
          </p:cNvPr>
          <p:cNvSpPr txBox="1"/>
          <p:nvPr/>
        </p:nvSpPr>
        <p:spPr>
          <a:xfrm>
            <a:off x="1789098" y="4881705"/>
            <a:ext cx="8585924" cy="338554"/>
          </a:xfrm>
          <a:prstGeom prst="rect">
            <a:avLst/>
          </a:prstGeom>
          <a:solidFill>
            <a:schemeClr val="accent6">
              <a:lumMod val="20000"/>
              <a:lumOff val="80000"/>
            </a:schemeClr>
          </a:solidFill>
          <a:ln>
            <a:solidFill>
              <a:schemeClr val="tx1"/>
            </a:solidFill>
          </a:ln>
        </p:spPr>
        <p:txBody>
          <a:bodyPr wrap="square" rtlCol="0">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ext question: What about transplant ineligible YET CAR-eligible patients with R/R LBCL?</a:t>
            </a:r>
          </a:p>
        </p:txBody>
      </p:sp>
      <p:sp>
        <p:nvSpPr>
          <p:cNvPr id="2" name="TextBox 1">
            <a:extLst>
              <a:ext uri="{FF2B5EF4-FFF2-40B4-BE49-F238E27FC236}">
                <a16:creationId xmlns:a16="http://schemas.microsoft.com/office/drawing/2014/main" id="{DDAF83FB-AD14-A73F-04D9-9756B4CA3932}"/>
              </a:ext>
            </a:extLst>
          </p:cNvPr>
          <p:cNvSpPr txBox="1"/>
          <p:nvPr/>
        </p:nvSpPr>
        <p:spPr>
          <a:xfrm>
            <a:off x="3102472" y="4523807"/>
            <a:ext cx="184731" cy="300082"/>
          </a:xfrm>
          <a:prstGeom prst="rect">
            <a:avLst/>
          </a:prstGeom>
          <a:noFill/>
        </p:spPr>
        <p:txBody>
          <a:bodyPr wrap="none" rtlCol="0">
            <a:spAutoFit/>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 name="TextBox 4">
            <a:extLst>
              <a:ext uri="{FF2B5EF4-FFF2-40B4-BE49-F238E27FC236}">
                <a16:creationId xmlns:a16="http://schemas.microsoft.com/office/drawing/2014/main" id="{F7ACD03D-25CC-59D0-552C-984900149353}"/>
              </a:ext>
            </a:extLst>
          </p:cNvPr>
          <p:cNvSpPr txBox="1"/>
          <p:nvPr/>
        </p:nvSpPr>
        <p:spPr>
          <a:xfrm>
            <a:off x="2627720" y="4165909"/>
            <a:ext cx="7670754" cy="300082"/>
          </a:xfrm>
          <a:prstGeom prst="rect">
            <a:avLst/>
          </a:prstGeom>
          <a:noFill/>
        </p:spPr>
        <p:txBody>
          <a:bodyPr wrap="none" rtlCol="0">
            <a:spAutoFit/>
          </a:bodyPr>
          <a:lstStyle/>
          <a:p>
            <a:pPr marL="0" marR="0" lvl="0" indent="0" algn="l" defTabSz="342900" rtl="0" eaLnBrk="1" fontAlgn="base" latinLnBrk="0" hangingPunct="1">
              <a:lnSpc>
                <a:spcPct val="100000"/>
              </a:lnSpc>
              <a:spcBef>
                <a:spcPct val="0"/>
              </a:spcBef>
              <a:spcAft>
                <a:spcPct val="0"/>
              </a:spcAft>
              <a:buClrTx/>
              <a:buSzTx/>
              <a:buFontTx/>
              <a:buNone/>
              <a:tabLst/>
              <a:defRPr/>
            </a:pPr>
            <a:r>
              <a:rPr kumimoji="0" lang="en-US" sz="13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iso-cel and axi-cel were approved for transplant-eligible high-risk DLBCL in first relapse</a:t>
            </a:r>
            <a:r>
              <a:rPr kumimoji="0" lang="en-US" sz="1350" b="1"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3,4</a:t>
            </a:r>
            <a:endParaRPr kumimoji="0" lang="en-US" sz="13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 name="TextBox 9">
            <a:extLst>
              <a:ext uri="{FF2B5EF4-FFF2-40B4-BE49-F238E27FC236}">
                <a16:creationId xmlns:a16="http://schemas.microsoft.com/office/drawing/2014/main" id="{BD6F00ED-F702-ADB1-4E70-8AAD096C3A9C}"/>
              </a:ext>
            </a:extLst>
          </p:cNvPr>
          <p:cNvSpPr txBox="1"/>
          <p:nvPr/>
        </p:nvSpPr>
        <p:spPr>
          <a:xfrm>
            <a:off x="2408921" y="3270330"/>
            <a:ext cx="7702897" cy="715581"/>
          </a:xfrm>
          <a:prstGeom prst="rect">
            <a:avLst/>
          </a:prstGeom>
          <a:noFill/>
        </p:spPr>
        <p:txBody>
          <a:bodyPr wrap="square">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13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TRANSFORM and ZUMA-7</a:t>
            </a:r>
            <a:r>
              <a:rPr kumimoji="0" lang="en-US" sz="1350" b="1"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3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rials showed clinically meaningful improvement in quality of life for patients randomized to CAR T-cell therapy compared with ASCT</a:t>
            </a:r>
            <a:r>
              <a:rPr kumimoji="0" lang="en-US" sz="1350" b="1"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1,2</a:t>
            </a:r>
            <a:r>
              <a:rPr kumimoji="0" lang="en-US" sz="13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p:txBody>
      </p:sp>
      <p:grpSp>
        <p:nvGrpSpPr>
          <p:cNvPr id="3" name="Group 2">
            <a:extLst>
              <a:ext uri="{FF2B5EF4-FFF2-40B4-BE49-F238E27FC236}">
                <a16:creationId xmlns:a16="http://schemas.microsoft.com/office/drawing/2014/main" id="{4BD16DBB-38BB-3A77-D1F8-AA1C8E9ABA08}"/>
              </a:ext>
            </a:extLst>
          </p:cNvPr>
          <p:cNvGrpSpPr/>
          <p:nvPr/>
        </p:nvGrpSpPr>
        <p:grpSpPr>
          <a:xfrm>
            <a:off x="1228275" y="1306448"/>
            <a:ext cx="9703348" cy="1960346"/>
            <a:chOff x="2050703" y="1554881"/>
            <a:chExt cx="8068667" cy="1630095"/>
          </a:xfrm>
        </p:grpSpPr>
        <p:pic>
          <p:nvPicPr>
            <p:cNvPr id="13" name="Picture 12" descr="A close-up of a red and white card&#10;&#10;Description automatically generated">
              <a:extLst>
                <a:ext uri="{FF2B5EF4-FFF2-40B4-BE49-F238E27FC236}">
                  <a16:creationId xmlns:a16="http://schemas.microsoft.com/office/drawing/2014/main" id="{33654634-DB20-4F57-45EA-F2982AA69399}"/>
                </a:ext>
              </a:extLst>
            </p:cNvPr>
            <p:cNvPicPr>
              <a:picLocks noChangeAspect="1"/>
            </p:cNvPicPr>
            <p:nvPr/>
          </p:nvPicPr>
          <p:blipFill>
            <a:blip r:embed="rId3"/>
            <a:stretch>
              <a:fillRect/>
            </a:stretch>
          </p:blipFill>
          <p:spPr>
            <a:xfrm>
              <a:off x="6018859" y="1554881"/>
              <a:ext cx="4100511" cy="1630095"/>
            </a:xfrm>
            <a:prstGeom prst="rect">
              <a:avLst/>
            </a:prstGeom>
          </p:spPr>
        </p:pic>
        <p:pic>
          <p:nvPicPr>
            <p:cNvPr id="15" name="Picture 14" descr="A blue and white flag&#10;&#10;Description automatically generated">
              <a:extLst>
                <a:ext uri="{FF2B5EF4-FFF2-40B4-BE49-F238E27FC236}">
                  <a16:creationId xmlns:a16="http://schemas.microsoft.com/office/drawing/2014/main" id="{802C1232-A8CD-5BC0-D6C4-6FEBF4C237D5}"/>
                </a:ext>
              </a:extLst>
            </p:cNvPr>
            <p:cNvPicPr>
              <a:picLocks noChangeAspect="1"/>
            </p:cNvPicPr>
            <p:nvPr/>
          </p:nvPicPr>
          <p:blipFill>
            <a:blip r:embed="rId4"/>
            <a:stretch>
              <a:fillRect/>
            </a:stretch>
          </p:blipFill>
          <p:spPr>
            <a:xfrm>
              <a:off x="2050703" y="1554881"/>
              <a:ext cx="4045297" cy="1630095"/>
            </a:xfrm>
            <a:prstGeom prst="rect">
              <a:avLst/>
            </a:prstGeom>
          </p:spPr>
        </p:pic>
        <p:sp>
          <p:nvSpPr>
            <p:cNvPr id="11" name="Rectangle 10">
              <a:extLst>
                <a:ext uri="{FF2B5EF4-FFF2-40B4-BE49-F238E27FC236}">
                  <a16:creationId xmlns:a16="http://schemas.microsoft.com/office/drawing/2014/main" id="{9033BA03-4E6F-AB97-556B-8414767F9D97}"/>
                </a:ext>
              </a:extLst>
            </p:cNvPr>
            <p:cNvSpPr/>
            <p:nvPr/>
          </p:nvSpPr>
          <p:spPr>
            <a:xfrm>
              <a:off x="2052303" y="1554881"/>
              <a:ext cx="8059515" cy="1630095"/>
            </a:xfrm>
            <a:prstGeom prst="rect">
              <a:avLst/>
            </a:prstGeom>
            <a:no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spTree>
    <p:extLst>
      <p:ext uri="{BB962C8B-B14F-4D97-AF65-F5344CB8AC3E}">
        <p14:creationId xmlns:p14="http://schemas.microsoft.com/office/powerpoint/2010/main" val="42367688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A6FF9-DD55-CAB2-A0FF-874AA897D8E3}"/>
              </a:ext>
            </a:extLst>
          </p:cNvPr>
          <p:cNvSpPr>
            <a:spLocks noGrp="1"/>
          </p:cNvSpPr>
          <p:nvPr>
            <p:ph type="title"/>
          </p:nvPr>
        </p:nvSpPr>
        <p:spPr>
          <a:xfrm>
            <a:off x="201881" y="189558"/>
            <a:ext cx="11990119" cy="535154"/>
          </a:xfrm>
        </p:spPr>
        <p:txBody>
          <a:bodyPr>
            <a:noAutofit/>
          </a:bodyPr>
          <a:lstStyle/>
          <a:p>
            <a:pPr algn="ctr"/>
            <a:r>
              <a:rPr lang="en-US" sz="3000" dirty="0">
                <a:solidFill>
                  <a:schemeClr val="tx1"/>
                </a:solidFill>
                <a:latin typeface="Arial" panose="020B0604020202020204" pitchFamily="34" charset="0"/>
                <a:cs typeface="Arial" panose="020B0604020202020204" pitchFamily="34" charset="0"/>
              </a:rPr>
              <a:t>Determination of CAR-T eligibility </a:t>
            </a:r>
          </a:p>
        </p:txBody>
      </p:sp>
      <p:sp>
        <p:nvSpPr>
          <p:cNvPr id="3" name="Content Placeholder 2">
            <a:extLst>
              <a:ext uri="{FF2B5EF4-FFF2-40B4-BE49-F238E27FC236}">
                <a16:creationId xmlns:a16="http://schemas.microsoft.com/office/drawing/2014/main" id="{D636D78E-0E4C-FEDB-7413-4EE6568714A8}"/>
              </a:ext>
            </a:extLst>
          </p:cNvPr>
          <p:cNvSpPr>
            <a:spLocks noGrp="1"/>
          </p:cNvSpPr>
          <p:nvPr>
            <p:ph idx="1"/>
          </p:nvPr>
        </p:nvSpPr>
        <p:spPr>
          <a:xfrm>
            <a:off x="1138227" y="1078312"/>
            <a:ext cx="9915545" cy="3599726"/>
          </a:xfrm>
        </p:spPr>
        <p:txBody>
          <a:bodyPr>
            <a:normAutofit/>
          </a:bodyPr>
          <a:lstStyle/>
          <a:p>
            <a:r>
              <a:rPr lang="en-US" sz="1800" dirty="0">
                <a:latin typeface="Arial" panose="020B0604020202020204" pitchFamily="34" charset="0"/>
                <a:cs typeface="Arial" panose="020B0604020202020204" pitchFamily="34" charset="0"/>
              </a:rPr>
              <a:t>Several real-world studies</a:t>
            </a:r>
            <a:r>
              <a:rPr lang="en-US" sz="1800" baseline="30000" dirty="0">
                <a:latin typeface="Arial" panose="020B0604020202020204" pitchFamily="34" charset="0"/>
                <a:cs typeface="Arial" panose="020B0604020202020204" pitchFamily="34" charset="0"/>
              </a:rPr>
              <a:t>1</a:t>
            </a:r>
            <a:r>
              <a:rPr lang="en-US" sz="1800" dirty="0">
                <a:latin typeface="Arial" panose="020B0604020202020204" pitchFamily="34" charset="0"/>
                <a:cs typeface="Arial" panose="020B0604020202020204" pitchFamily="34" charset="0"/>
              </a:rPr>
              <a:t> have shown that chronological age,  comorbidities, or cognitive and/or functional impairments do not consistently affect post - CAR-T outcomes. </a:t>
            </a:r>
          </a:p>
          <a:p>
            <a:r>
              <a:rPr lang="en-US" sz="1800" dirty="0">
                <a:latin typeface="Arial" panose="020B0604020202020204" pitchFamily="34" charset="0"/>
                <a:cs typeface="Arial" panose="020B0604020202020204" pitchFamily="34" charset="0"/>
              </a:rPr>
              <a:t>Automatic exclusion of patients based on age/comorbidities is not advised</a:t>
            </a:r>
          </a:p>
          <a:p>
            <a:r>
              <a:rPr lang="en-US" sz="1800" dirty="0">
                <a:latin typeface="Arial" panose="020B0604020202020204" pitchFamily="34" charset="0"/>
                <a:cs typeface="Arial" panose="020B0604020202020204" pitchFamily="34" charset="0"/>
              </a:rPr>
              <a:t>Transplant eligibility </a:t>
            </a:r>
            <a:r>
              <a:rPr lang="en-US" sz="1800" dirty="0">
                <a:solidFill>
                  <a:srgbClr val="CD113B"/>
                </a:solidFill>
                <a:latin typeface="Arial" panose="020B0604020202020204" pitchFamily="34" charset="0"/>
                <a:cs typeface="Arial" panose="020B0604020202020204" pitchFamily="34" charset="0"/>
              </a:rPr>
              <a:t>= </a:t>
            </a:r>
            <a:r>
              <a:rPr lang="en-US" sz="1800" dirty="0">
                <a:latin typeface="Arial" panose="020B0604020202020204" pitchFamily="34" charset="0"/>
                <a:cs typeface="Arial" panose="020B0604020202020204" pitchFamily="34" charset="0"/>
              </a:rPr>
              <a:t>CAR-T eligibility</a:t>
            </a:r>
          </a:p>
          <a:p>
            <a:r>
              <a:rPr lang="en-US" sz="1800" dirty="0">
                <a:latin typeface="Arial" panose="020B0604020202020204" pitchFamily="34" charset="0"/>
                <a:cs typeface="Arial" panose="020B0604020202020204" pitchFamily="34" charset="0"/>
              </a:rPr>
              <a:t>Recommend referral for at-risk patients to a multidisciplinary clinic for functional optimization prior to CART</a:t>
            </a:r>
          </a:p>
          <a:p>
            <a:endParaRPr lang="en-US" sz="2000" dirty="0">
              <a:latin typeface="Arial" panose="020B0604020202020204" pitchFamily="34" charset="0"/>
              <a:cs typeface="Arial" panose="020B0604020202020204" pitchFamily="34" charset="0"/>
            </a:endParaRPr>
          </a:p>
          <a:p>
            <a:endParaRPr lang="en-US" sz="1800"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41E278C5-885A-73FD-3CC4-1A9B990BD169}"/>
              </a:ext>
            </a:extLst>
          </p:cNvPr>
          <p:cNvSpPr txBox="1"/>
          <p:nvPr/>
        </p:nvSpPr>
        <p:spPr>
          <a:xfrm>
            <a:off x="6596820" y="6650021"/>
            <a:ext cx="5591595" cy="23083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Major, Kamdar et al ASH Edu Program book 2023; Shadman M et al. Transplant Cell Ther. 2026 Mar;32(3):277-287.  </a:t>
            </a:r>
          </a:p>
        </p:txBody>
      </p:sp>
      <p:cxnSp>
        <p:nvCxnSpPr>
          <p:cNvPr id="6" name="Straight Connector 5">
            <a:extLst>
              <a:ext uri="{FF2B5EF4-FFF2-40B4-BE49-F238E27FC236}">
                <a16:creationId xmlns:a16="http://schemas.microsoft.com/office/drawing/2014/main" id="{16D680E1-780E-C21F-9A12-FE30F239EDDA}"/>
              </a:ext>
            </a:extLst>
          </p:cNvPr>
          <p:cNvCxnSpPr>
            <a:cxnSpLocks/>
          </p:cNvCxnSpPr>
          <p:nvPr/>
        </p:nvCxnSpPr>
        <p:spPr>
          <a:xfrm flipH="1">
            <a:off x="3489190" y="1987526"/>
            <a:ext cx="92737" cy="340038"/>
          </a:xfrm>
          <a:prstGeom prst="line">
            <a:avLst/>
          </a:prstGeom>
          <a:ln>
            <a:solidFill>
              <a:srgbClr val="CD113B"/>
            </a:solidFill>
          </a:ln>
        </p:spPr>
        <p:style>
          <a:lnRef idx="2">
            <a:schemeClr val="accent1"/>
          </a:lnRef>
          <a:fillRef idx="0">
            <a:schemeClr val="accent1"/>
          </a:fillRef>
          <a:effectRef idx="1">
            <a:schemeClr val="accent1"/>
          </a:effectRef>
          <a:fontRef idx="minor">
            <a:schemeClr val="tx1"/>
          </a:fontRef>
        </p:style>
      </p:cxnSp>
      <p:pic>
        <p:nvPicPr>
          <p:cNvPr id="7" name="Picture 6" descr="A screenshot of a medical chart&#10;&#10;AI-generated content may be incorrect.">
            <a:extLst>
              <a:ext uri="{FF2B5EF4-FFF2-40B4-BE49-F238E27FC236}">
                <a16:creationId xmlns:a16="http://schemas.microsoft.com/office/drawing/2014/main" id="{9390C98E-A9D0-60AE-D881-E8F3DD49FEDC}"/>
              </a:ext>
            </a:extLst>
          </p:cNvPr>
          <p:cNvPicPr>
            <a:picLocks noChangeAspect="1"/>
          </p:cNvPicPr>
          <p:nvPr/>
        </p:nvPicPr>
        <p:blipFill>
          <a:blip r:embed="rId3"/>
          <a:stretch>
            <a:fillRect/>
          </a:stretch>
        </p:blipFill>
        <p:spPr>
          <a:xfrm>
            <a:off x="1415573" y="3018938"/>
            <a:ext cx="8994530" cy="3318200"/>
          </a:xfrm>
          <a:prstGeom prst="rect">
            <a:avLst/>
          </a:prstGeom>
        </p:spPr>
      </p:pic>
      <p:sp>
        <p:nvSpPr>
          <p:cNvPr id="8" name="TextBox 7">
            <a:extLst>
              <a:ext uri="{FF2B5EF4-FFF2-40B4-BE49-F238E27FC236}">
                <a16:creationId xmlns:a16="http://schemas.microsoft.com/office/drawing/2014/main" id="{0C9CFE57-3FB0-9A97-64A2-A308D9575768}"/>
              </a:ext>
            </a:extLst>
          </p:cNvPr>
          <p:cNvSpPr txBox="1"/>
          <p:nvPr/>
        </p:nvSpPr>
        <p:spPr>
          <a:xfrm>
            <a:off x="6315920" y="6748041"/>
            <a:ext cx="184731" cy="36933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aramond" pitchFamily="18" charset="0"/>
              <a:ea typeface="+mn-ea"/>
              <a:cs typeface="+mn-cs"/>
            </a:endParaRPr>
          </a:p>
        </p:txBody>
      </p:sp>
    </p:spTree>
    <p:extLst>
      <p:ext uri="{BB962C8B-B14F-4D97-AF65-F5344CB8AC3E}">
        <p14:creationId xmlns:p14="http://schemas.microsoft.com/office/powerpoint/2010/main" val="35816709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Title 1"/>
          <p:cNvSpPr>
            <a:spLocks/>
          </p:cNvSpPr>
          <p:nvPr/>
        </p:nvSpPr>
        <p:spPr bwMode="auto">
          <a:xfrm>
            <a:off x="830060" y="1371600"/>
            <a:ext cx="10363200" cy="5029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t"/>
          <a:lstStyle/>
          <a:p>
            <a:pPr marL="390525" lvl="0" indent="-292100" defTabSz="412750" fontAlgn="base">
              <a:lnSpc>
                <a:spcPts val="3280"/>
              </a:lnSpc>
              <a:spcBef>
                <a:spcPts val="1800"/>
              </a:spcBef>
              <a:spcAft>
                <a:spcPts val="800"/>
              </a:spcAft>
              <a:buClr>
                <a:srgbClr val="000000"/>
              </a:buClr>
              <a:buSzPct val="100000"/>
              <a:buFont typeface="Arial" pitchFamily="-72" charset="0"/>
              <a:buChar char="•"/>
              <a:defRPr/>
            </a:pPr>
            <a:r>
              <a:rPr lang="en-US" sz="2600" kern="0" dirty="0">
                <a:solidFill>
                  <a:srgbClr val="000000"/>
                </a:solidFill>
                <a:latin typeface="Arial" panose="020B0604020202020204" pitchFamily="34" charset="0"/>
                <a:ea typeface="ヒラギノ角ゴ Pro W3" charset="0"/>
                <a:cs typeface="Arial" panose="020B0604020202020204" pitchFamily="34" charset="0"/>
              </a:rPr>
              <a:t>The live meeting is being video </a:t>
            </a:r>
            <a:br>
              <a:rPr lang="en-US" sz="2600" kern="0" dirty="0">
                <a:solidFill>
                  <a:srgbClr val="000000"/>
                </a:solidFill>
                <a:latin typeface="Arial" panose="020B0604020202020204" pitchFamily="34" charset="0"/>
                <a:ea typeface="ヒラギノ角ゴ Pro W3" charset="0"/>
                <a:cs typeface="Arial" panose="020B0604020202020204" pitchFamily="34" charset="0"/>
              </a:rPr>
            </a:br>
            <a:r>
              <a:rPr lang="en-US" sz="2600" kern="0" dirty="0">
                <a:solidFill>
                  <a:srgbClr val="000000"/>
                </a:solidFill>
                <a:latin typeface="Arial" panose="020B0604020202020204" pitchFamily="34" charset="0"/>
                <a:ea typeface="ヒラギノ角ゴ Pro W3" charset="0"/>
                <a:cs typeface="Arial" panose="020B0604020202020204" pitchFamily="34" charset="0"/>
              </a:rPr>
              <a:t>and audio recorded.</a:t>
            </a:r>
          </a:p>
          <a:p>
            <a:pPr marL="390525" lvl="0" indent="-292100" defTabSz="412750" fontAlgn="base">
              <a:lnSpc>
                <a:spcPts val="3280"/>
              </a:lnSpc>
              <a:spcBef>
                <a:spcPts val="1800"/>
              </a:spcBef>
              <a:spcAft>
                <a:spcPts val="800"/>
              </a:spcAft>
              <a:buClr>
                <a:srgbClr val="000000"/>
              </a:buClr>
              <a:buSzPct val="100000"/>
              <a:buFont typeface="Arial" pitchFamily="-72" charset="0"/>
              <a:buChar char="•"/>
              <a:defRPr/>
            </a:pPr>
            <a:r>
              <a:rPr lang="en-US" sz="2600" kern="0" dirty="0">
                <a:solidFill>
                  <a:srgbClr val="000000"/>
                </a:solidFill>
                <a:latin typeface="Arial" panose="020B0604020202020204" pitchFamily="34" charset="0"/>
                <a:ea typeface="ヒラギノ角ゴ Pro W3" charset="0"/>
                <a:cs typeface="Arial" panose="020B0604020202020204" pitchFamily="34" charset="0"/>
              </a:rPr>
              <a:t>The proceedings from this weekend </a:t>
            </a:r>
            <a:br>
              <a:rPr lang="en-US" sz="2600" kern="0" dirty="0">
                <a:solidFill>
                  <a:srgbClr val="000000"/>
                </a:solidFill>
                <a:latin typeface="Arial" panose="020B0604020202020204" pitchFamily="34" charset="0"/>
                <a:ea typeface="ヒラギノ角ゴ Pro W3" charset="0"/>
                <a:cs typeface="Arial" panose="020B0604020202020204" pitchFamily="34" charset="0"/>
              </a:rPr>
            </a:br>
            <a:r>
              <a:rPr lang="en-US" sz="2600" kern="0" dirty="0">
                <a:solidFill>
                  <a:srgbClr val="000000"/>
                </a:solidFill>
                <a:latin typeface="Arial" panose="020B0604020202020204" pitchFamily="34" charset="0"/>
                <a:ea typeface="ヒラギノ角ゴ Pro W3" charset="0"/>
                <a:cs typeface="Arial" panose="020B0604020202020204" pitchFamily="34" charset="0"/>
              </a:rPr>
              <a:t>will be edited and developed into an </a:t>
            </a:r>
            <a:br>
              <a:rPr lang="en-US" sz="2600" kern="0" dirty="0">
                <a:solidFill>
                  <a:srgbClr val="000000"/>
                </a:solidFill>
                <a:latin typeface="Arial" panose="020B0604020202020204" pitchFamily="34" charset="0"/>
                <a:ea typeface="ヒラギノ角ゴ Pro W3" charset="0"/>
                <a:cs typeface="Arial" panose="020B0604020202020204" pitchFamily="34" charset="0"/>
              </a:rPr>
            </a:br>
            <a:r>
              <a:rPr lang="en-US" sz="2600" kern="0" dirty="0">
                <a:solidFill>
                  <a:srgbClr val="000000"/>
                </a:solidFill>
                <a:latin typeface="Arial" panose="020B0604020202020204" pitchFamily="34" charset="0"/>
                <a:ea typeface="ヒラギノ角ゴ Pro W3" charset="0"/>
                <a:cs typeface="Arial" panose="020B0604020202020204" pitchFamily="34" charset="0"/>
              </a:rPr>
              <a:t>enduring web-based program. </a:t>
            </a:r>
            <a:r>
              <a:rPr lang="en-US" sz="2600" kern="0" dirty="0">
                <a:solidFill>
                  <a:srgbClr val="000000"/>
                </a:solidFill>
                <a:latin typeface="Arial" panose="020B0604020202020204" pitchFamily="34" charset="0"/>
                <a:ea typeface="ＭＳ Ｐゴシック" charset="0"/>
                <a:cs typeface="Arial" panose="020B0604020202020204" pitchFamily="34" charset="0"/>
              </a:rPr>
              <a:t>An email </a:t>
            </a:r>
            <a:br>
              <a:rPr lang="en-US" sz="2600" kern="0" dirty="0">
                <a:solidFill>
                  <a:srgbClr val="000000"/>
                </a:solidFill>
                <a:latin typeface="Arial" panose="020B0604020202020204" pitchFamily="34" charset="0"/>
                <a:ea typeface="ＭＳ Ｐゴシック" charset="0"/>
                <a:cs typeface="Arial" panose="020B0604020202020204" pitchFamily="34" charset="0"/>
              </a:rPr>
            </a:br>
            <a:r>
              <a:rPr lang="en-US" sz="2600" kern="0" dirty="0">
                <a:solidFill>
                  <a:srgbClr val="000000"/>
                </a:solidFill>
                <a:latin typeface="Arial" panose="020B0604020202020204" pitchFamily="34" charset="0"/>
                <a:ea typeface="ＭＳ Ｐゴシック" charset="0"/>
                <a:cs typeface="Arial" panose="020B0604020202020204" pitchFamily="34" charset="0"/>
              </a:rPr>
              <a:t>will be sent to all attendees when the </a:t>
            </a:r>
            <a:br>
              <a:rPr lang="en-US" sz="2600" kern="0" dirty="0">
                <a:solidFill>
                  <a:srgbClr val="000000"/>
                </a:solidFill>
                <a:latin typeface="Arial" panose="020B0604020202020204" pitchFamily="34" charset="0"/>
                <a:ea typeface="ＭＳ Ｐゴシック" charset="0"/>
                <a:cs typeface="Arial" panose="020B0604020202020204" pitchFamily="34" charset="0"/>
              </a:rPr>
            </a:br>
            <a:r>
              <a:rPr lang="en-US" sz="2600" kern="0" dirty="0">
                <a:solidFill>
                  <a:srgbClr val="000000"/>
                </a:solidFill>
                <a:latin typeface="Arial" panose="020B0604020202020204" pitchFamily="34" charset="0"/>
                <a:ea typeface="ＭＳ Ｐゴシック" charset="0"/>
                <a:cs typeface="Arial" panose="020B0604020202020204" pitchFamily="34" charset="0"/>
              </a:rPr>
              <a:t>activity is available. </a:t>
            </a:r>
            <a:endParaRPr lang="en-US" sz="2600" kern="0" dirty="0">
              <a:solidFill>
                <a:srgbClr val="000000"/>
              </a:solidFill>
              <a:latin typeface="Arial" panose="020B0604020202020204" pitchFamily="34" charset="0"/>
              <a:ea typeface="ヒラギノ角ゴ Pro W3" charset="0"/>
              <a:cs typeface="Arial" panose="020B0604020202020204" pitchFamily="34" charset="0"/>
            </a:endParaRPr>
          </a:p>
          <a:p>
            <a:pPr marL="390525" lvl="0" indent="-292100" defTabSz="412750" fontAlgn="base">
              <a:lnSpc>
                <a:spcPts val="3280"/>
              </a:lnSpc>
              <a:spcBef>
                <a:spcPts val="1800"/>
              </a:spcBef>
              <a:spcAft>
                <a:spcPts val="800"/>
              </a:spcAft>
              <a:buClr>
                <a:srgbClr val="000000"/>
              </a:buClr>
              <a:buSzPct val="100000"/>
              <a:buFont typeface="Arial" pitchFamily="-72" charset="0"/>
              <a:buChar char="•"/>
              <a:defRPr/>
            </a:pPr>
            <a:r>
              <a:rPr lang="en-US" sz="2600" kern="0" dirty="0">
                <a:solidFill>
                  <a:srgbClr val="000000"/>
                </a:solidFill>
                <a:latin typeface="Arial" panose="020B0604020202020204" pitchFamily="34" charset="0"/>
                <a:ea typeface="ヒラギノ角ゴ Pro W3" charset="0"/>
                <a:cs typeface="Arial" panose="020B0604020202020204" pitchFamily="34" charset="0"/>
              </a:rPr>
              <a:t>To learn more about our education programs, visit our website, </a:t>
            </a:r>
            <a:r>
              <a:rPr lang="en-US" sz="2600" b="1" u="sng" kern="0" dirty="0" err="1">
                <a:solidFill>
                  <a:srgbClr val="FF9300"/>
                </a:solidFill>
                <a:latin typeface="Arial" panose="020B0604020202020204" pitchFamily="34" charset="0"/>
                <a:ea typeface="ヒラギノ角ゴ Pro W3" charset="0"/>
                <a:cs typeface="Arial" panose="020B0604020202020204" pitchFamily="34" charset="0"/>
              </a:rPr>
              <a:t>www.ResearchToPractice.com</a:t>
            </a:r>
            <a:endParaRPr lang="en-US" sz="2600" b="1" u="sng" kern="0" dirty="0">
              <a:solidFill>
                <a:srgbClr val="FF9300"/>
              </a:solidFill>
              <a:latin typeface="Arial" panose="020B0604020202020204" pitchFamily="34" charset="0"/>
              <a:ea typeface="ヒラギノ角ゴ Pro W3" charset="0"/>
              <a:cs typeface="Arial" panose="020B0604020202020204" pitchFamily="34" charset="0"/>
            </a:endParaRPr>
          </a:p>
        </p:txBody>
      </p:sp>
      <p:sp>
        <p:nvSpPr>
          <p:cNvPr id="62468" name="Title 1"/>
          <p:cNvSpPr>
            <a:spLocks/>
          </p:cNvSpPr>
          <p:nvPr/>
        </p:nvSpPr>
        <p:spPr bwMode="auto">
          <a:xfrm>
            <a:off x="445008" y="502578"/>
            <a:ext cx="11301984" cy="685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p>
            <a:pPr marL="0" marR="0" lvl="0" indent="0" algn="ctr" defTabSz="914400" rtl="0" eaLnBrk="0" fontAlgn="auto" latinLnBrk="0" hangingPunct="0">
              <a:lnSpc>
                <a:spcPct val="90000"/>
              </a:lnSpc>
              <a:spcBef>
                <a:spcPts val="0"/>
              </a:spcBef>
              <a:spcAft>
                <a:spcPts val="800"/>
              </a:spcAft>
              <a:buClrTx/>
              <a:buSzTx/>
              <a:buFontTx/>
              <a:buNone/>
              <a:tabLst/>
              <a:defRPr/>
            </a:pPr>
            <a:r>
              <a:rPr kumimoji="0" lang="en-US" sz="3000" b="1" i="0" u="none" strike="noStrike" kern="1200" cap="none" spc="0" normalizeH="0" baseline="0" noProof="0" dirty="0">
                <a:ln>
                  <a:noFill/>
                </a:ln>
                <a:solidFill>
                  <a:srgbClr val="002656"/>
                </a:solidFill>
                <a:effectLst/>
                <a:uLnTx/>
                <a:uFillTx/>
                <a:latin typeface="Arial" charset="0"/>
                <a:ea typeface="Arial" charset="0"/>
                <a:cs typeface="Arial" charset="0"/>
              </a:rPr>
              <a:t>About the Enduring Program</a:t>
            </a:r>
          </a:p>
        </p:txBody>
      </p:sp>
      <p:pic>
        <p:nvPicPr>
          <p:cNvPr id="4" name="Picture 3">
            <a:extLst>
              <a:ext uri="{FF2B5EF4-FFF2-40B4-BE49-F238E27FC236}">
                <a16:creationId xmlns:a16="http://schemas.microsoft.com/office/drawing/2014/main" id="{25EB2638-8808-614D-89A1-FD6A421E5F09}"/>
              </a:ext>
            </a:extLst>
          </p:cNvPr>
          <p:cNvPicPr>
            <a:picLocks noChangeAspect="1"/>
          </p:cNvPicPr>
          <p:nvPr/>
        </p:nvPicPr>
        <p:blipFill>
          <a:blip r:embed="rId3"/>
          <a:stretch>
            <a:fillRect/>
          </a:stretch>
        </p:blipFill>
        <p:spPr>
          <a:xfrm>
            <a:off x="7409831" y="1371600"/>
            <a:ext cx="4114800" cy="274320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4634373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CCE44AB-D011-24F8-736C-6706435D1D1C}"/>
              </a:ext>
            </a:extLst>
          </p:cNvPr>
          <p:cNvSpPr>
            <a:spLocks noGrp="1"/>
          </p:cNvSpPr>
          <p:nvPr>
            <p:ph type="title"/>
          </p:nvPr>
        </p:nvSpPr>
        <p:spPr>
          <a:xfrm>
            <a:off x="1688124" y="153525"/>
            <a:ext cx="8280359" cy="891107"/>
          </a:xfrm>
        </p:spPr>
        <p:txBody>
          <a:bodyPr>
            <a:noAutofit/>
          </a:bodyPr>
          <a:lstStyle/>
          <a:p>
            <a:pPr algn="ctr"/>
            <a:r>
              <a:rPr lang="en-US" dirty="0">
                <a:latin typeface="Arial" panose="020B0604020202020204" pitchFamily="34" charset="0"/>
                <a:cs typeface="Arial" panose="020B0604020202020204" pitchFamily="34" charset="0"/>
              </a:rPr>
              <a:t>PILOT study: Liso-cel demonstrated outcomes comparable to those in TRANSFORM in an ASCT-ineligible population </a:t>
            </a:r>
          </a:p>
        </p:txBody>
      </p:sp>
      <p:grpSp>
        <p:nvGrpSpPr>
          <p:cNvPr id="3" name="Group 2">
            <a:extLst>
              <a:ext uri="{FF2B5EF4-FFF2-40B4-BE49-F238E27FC236}">
                <a16:creationId xmlns:a16="http://schemas.microsoft.com/office/drawing/2014/main" id="{B2E8CEE5-B293-9618-CCFE-76A08DED1315}"/>
              </a:ext>
            </a:extLst>
          </p:cNvPr>
          <p:cNvGrpSpPr/>
          <p:nvPr/>
        </p:nvGrpSpPr>
        <p:grpSpPr>
          <a:xfrm>
            <a:off x="1455912" y="1330037"/>
            <a:ext cx="9280175" cy="4847146"/>
            <a:chOff x="1835458" y="1451266"/>
            <a:chExt cx="8661560" cy="4524036"/>
          </a:xfrm>
        </p:grpSpPr>
        <p:sp>
          <p:nvSpPr>
            <p:cNvPr id="182" name="Flowchart: Process 6">
              <a:extLst>
                <a:ext uri="{FF2B5EF4-FFF2-40B4-BE49-F238E27FC236}">
                  <a16:creationId xmlns:a16="http://schemas.microsoft.com/office/drawing/2014/main" id="{20A58A99-F9EE-6BFB-DF40-98992B64008B}"/>
                </a:ext>
              </a:extLst>
            </p:cNvPr>
            <p:cNvSpPr/>
            <p:nvPr/>
          </p:nvSpPr>
          <p:spPr>
            <a:xfrm>
              <a:off x="1885642" y="1560525"/>
              <a:ext cx="3722201" cy="2570400"/>
            </a:xfrm>
            <a:prstGeom prst="flowChartProcess">
              <a:avLst/>
            </a:prstGeom>
            <a:solidFill>
              <a:schemeClr val="bg1"/>
            </a:solidFill>
            <a:ln>
              <a:noFill/>
            </a:ln>
            <a:effectLst>
              <a:outerShdw blurRad="50800" dist="38100" algn="l" rotWithShape="0">
                <a:prstClr val="black">
                  <a:alpha val="40000"/>
                </a:prstClr>
              </a:outerShdw>
            </a:effectLst>
          </p:spPr>
          <p:style>
            <a:lnRef idx="0">
              <a:schemeClr val="accent1"/>
            </a:lnRef>
            <a:fillRef idx="1">
              <a:schemeClr val="accent1"/>
            </a:fillRef>
            <a:effectRef idx="0">
              <a:srgbClr val="000000"/>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 name="Flowchart: Process 7">
              <a:extLst>
                <a:ext uri="{FF2B5EF4-FFF2-40B4-BE49-F238E27FC236}">
                  <a16:creationId xmlns:a16="http://schemas.microsoft.com/office/drawing/2014/main" id="{7906AE96-E964-FBAF-FDB7-6FACBC042B1B}"/>
                </a:ext>
              </a:extLst>
            </p:cNvPr>
            <p:cNvSpPr/>
            <p:nvPr/>
          </p:nvSpPr>
          <p:spPr>
            <a:xfrm>
              <a:off x="1968062" y="1616177"/>
              <a:ext cx="1542040" cy="306710"/>
            </a:xfrm>
            <a:prstGeom prst="flowChartProcess">
              <a:avLst/>
            </a:prstGeom>
            <a:solidFill>
              <a:schemeClr val="accent1"/>
            </a:solidFill>
            <a:ln>
              <a:noFill/>
            </a:ln>
          </p:spPr>
          <p:style>
            <a:lnRef idx="0">
              <a:schemeClr val="accent1"/>
            </a:lnRef>
            <a:fillRef idx="1">
              <a:schemeClr val="accent1"/>
            </a:fillRef>
            <a:effectRef idx="0">
              <a:srgbClr val="000000"/>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ILOT</a:t>
              </a:r>
            </a:p>
          </p:txBody>
        </p:sp>
        <p:graphicFrame>
          <p:nvGraphicFramePr>
            <p:cNvPr id="59" name="Table 14">
              <a:extLst>
                <a:ext uri="{FF2B5EF4-FFF2-40B4-BE49-F238E27FC236}">
                  <a16:creationId xmlns:a16="http://schemas.microsoft.com/office/drawing/2014/main" id="{08E82289-E844-BFBF-2AE1-26FF8F601129}"/>
                </a:ext>
              </a:extLst>
            </p:cNvPr>
            <p:cNvGraphicFramePr>
              <a:graphicFrameLocks/>
            </p:cNvGraphicFramePr>
            <p:nvPr/>
          </p:nvGraphicFramePr>
          <p:xfrm>
            <a:off x="3558194" y="1617027"/>
            <a:ext cx="1872559" cy="1851241"/>
          </p:xfrm>
          <a:graphic>
            <a:graphicData uri="http://schemas.openxmlformats.org/drawingml/2006/table">
              <a:tbl>
                <a:tblPr firstRow="1" bandRow="1">
                  <a:tableStyleId>{5C22544A-7EE6-4342-B048-85BDC9FD1C3A}</a:tableStyleId>
                </a:tblPr>
                <a:tblGrid>
                  <a:gridCol w="1183604">
                    <a:extLst>
                      <a:ext uri="{9D8B030D-6E8A-4147-A177-3AD203B41FA5}">
                        <a16:colId xmlns:a16="http://schemas.microsoft.com/office/drawing/2014/main" val="3596715461"/>
                      </a:ext>
                    </a:extLst>
                  </a:gridCol>
                  <a:gridCol w="822695">
                    <a:extLst>
                      <a:ext uri="{9D8B030D-6E8A-4147-A177-3AD203B41FA5}">
                        <a16:colId xmlns:a16="http://schemas.microsoft.com/office/drawing/2014/main" val="823807203"/>
                      </a:ext>
                    </a:extLst>
                  </a:gridCol>
                </a:tblGrid>
                <a:tr h="445878">
                  <a:tc>
                    <a:txBody>
                      <a:bodyPr/>
                      <a:lstStyle/>
                      <a:p>
                        <a:r>
                          <a:rPr lang="en-US" sz="1100" noProof="0" dirty="0">
                            <a:latin typeface="Trebuchet MS" panose="020B0603020202020204" pitchFamily="34" charset="0"/>
                            <a:cs typeface="Arial" panose="020B0604020202020204" pitchFamily="34" charset="0"/>
                          </a:rPr>
                          <a:t>ASCT ineligibility criteria</a:t>
                        </a:r>
                      </a:p>
                    </a:txBody>
                    <a:tcPr marL="34290" marR="34290" marT="34290" marB="34290" anchor="ctr">
                      <a:lnR w="38100" cap="flat" cmpd="sng" algn="ctr">
                        <a:solidFill>
                          <a:schemeClr val="bg1"/>
                        </a:solidFill>
                        <a:prstDash val="solid"/>
                        <a:round/>
                        <a:headEnd type="none" w="med" len="med"/>
                        <a:tailEnd type="none" w="med" len="med"/>
                      </a:lnR>
                      <a:solidFill>
                        <a:schemeClr val="accent1"/>
                      </a:solidFill>
                    </a:tcPr>
                  </a:tc>
                  <a:tc>
                    <a:txBody>
                      <a:bodyPr/>
                      <a:lstStyle/>
                      <a:p>
                        <a:pPr algn="ctr"/>
                        <a:r>
                          <a:rPr lang="en-US" sz="1100" noProof="0" dirty="0">
                            <a:latin typeface="Trebuchet MS" panose="020B0603020202020204" pitchFamily="34" charset="0"/>
                            <a:cs typeface="Arial" panose="020B0604020202020204" pitchFamily="34" charset="0"/>
                          </a:rPr>
                          <a:t>Liso-cel, %</a:t>
                        </a:r>
                        <a:br>
                          <a:rPr lang="en-US" sz="1100" noProof="0" dirty="0">
                            <a:latin typeface="Trebuchet MS" panose="020B0603020202020204" pitchFamily="34" charset="0"/>
                            <a:cs typeface="Arial" panose="020B0604020202020204" pitchFamily="34" charset="0"/>
                          </a:rPr>
                        </a:br>
                        <a:r>
                          <a:rPr lang="en-US" sz="1100" noProof="0" dirty="0">
                            <a:latin typeface="Trebuchet MS" panose="020B0603020202020204" pitchFamily="34" charset="0"/>
                            <a:cs typeface="Arial" panose="020B0604020202020204" pitchFamily="34" charset="0"/>
                          </a:rPr>
                          <a:t>(N = 61)</a:t>
                        </a:r>
                      </a:p>
                    </a:txBody>
                    <a:tcPr marL="34290" marR="34290" marT="34290" marB="34290" anchor="ctr">
                      <a:lnL w="381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577835102"/>
                    </a:ext>
                  </a:extLst>
                </a:tr>
                <a:tr h="30751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noProof="0" dirty="0">
                            <a:solidFill>
                              <a:schemeClr val="tx1"/>
                            </a:solidFill>
                            <a:latin typeface="Trebuchet MS" panose="020B0603020202020204" pitchFamily="34" charset="0"/>
                            <a:cs typeface="Arial" panose="020B0604020202020204" pitchFamily="34" charset="0"/>
                          </a:rPr>
                          <a:t>Age ≥ 70 years</a:t>
                        </a:r>
                      </a:p>
                    </a:txBody>
                    <a:tcPr marL="34290" marR="34290" marT="34290" marB="34290" anchor="ctr">
                      <a:lnR w="38100" cap="flat" cmpd="sng" algn="ctr">
                        <a:solidFill>
                          <a:schemeClr val="bg1"/>
                        </a:solidFill>
                        <a:prstDash val="solid"/>
                        <a:round/>
                        <a:headEnd type="none" w="med" len="med"/>
                        <a:tailEnd type="none" w="med" len="med"/>
                      </a:ln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Trebuchet MS" panose="020B0603020202020204" pitchFamily="34" charset="0"/>
                            <a:ea typeface="+mn-ea"/>
                            <a:cs typeface="Arial" panose="020B0604020202020204" pitchFamily="34" charset="0"/>
                            <a:sym typeface="Wingdings 2" panose="05020102010507070707" pitchFamily="18" charset="2"/>
                          </a:rPr>
                          <a:t>79</a:t>
                        </a:r>
                        <a:endParaRPr kumimoji="0" lang="en-US" sz="1100" b="0" i="0" u="none" strike="noStrike" kern="1200" cap="none" spc="0" normalizeH="0" baseline="0" noProof="0" dirty="0">
                          <a:ln>
                            <a:noFill/>
                          </a:ln>
                          <a:solidFill>
                            <a:schemeClr val="tx1"/>
                          </a:solidFill>
                          <a:effectLst/>
                          <a:uLnTx/>
                          <a:uFillTx/>
                          <a:latin typeface="Trebuchet MS" panose="020B0603020202020204" pitchFamily="34" charset="0"/>
                          <a:ea typeface="+mn-ea"/>
                          <a:cs typeface="Arial" panose="020B0604020202020204" pitchFamily="34" charset="0"/>
                        </a:endParaRPr>
                      </a:p>
                    </a:txBody>
                    <a:tcPr marL="34290" marR="34290" marT="34290" marB="34290" anchor="ctr">
                      <a:lnL w="381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86685359"/>
                    </a:ext>
                  </a:extLst>
                </a:tr>
                <a:tr h="30751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noProof="0" dirty="0">
                            <a:solidFill>
                              <a:schemeClr val="tx1"/>
                            </a:solidFill>
                            <a:latin typeface="Trebuchet MS" panose="020B0603020202020204" pitchFamily="34" charset="0"/>
                            <a:cs typeface="Arial" panose="020B0604020202020204" pitchFamily="34" charset="0"/>
                          </a:rPr>
                          <a:t>ECOG PS 2</a:t>
                        </a:r>
                      </a:p>
                    </a:txBody>
                    <a:tcPr marL="34290" marR="34290" marT="34290" marB="34290" anchor="ctr">
                      <a:lnR w="38100" cap="flat" cmpd="sng" algn="ctr">
                        <a:solidFill>
                          <a:schemeClr val="bg1"/>
                        </a:solidFill>
                        <a:prstDash val="solid"/>
                        <a:round/>
                        <a:headEnd type="none" w="med" len="med"/>
                        <a:tailEnd type="none" w="med" len="med"/>
                      </a:ln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Trebuchet MS" panose="020B0603020202020204" pitchFamily="34" charset="0"/>
                            <a:ea typeface="+mn-ea"/>
                            <a:cs typeface="Arial" panose="020B0604020202020204" pitchFamily="34" charset="0"/>
                            <a:sym typeface="Wingdings 2" panose="05020102010507070707" pitchFamily="18" charset="2"/>
                          </a:rPr>
                          <a:t>26</a:t>
                        </a:r>
                        <a:endParaRPr kumimoji="0" lang="en-US" sz="1100" b="0" i="0" u="none" strike="noStrike" kern="1200" cap="none" spc="0" normalizeH="0" baseline="0" noProof="0" dirty="0">
                          <a:ln>
                            <a:noFill/>
                          </a:ln>
                          <a:solidFill>
                            <a:schemeClr val="tx1"/>
                          </a:solidFill>
                          <a:effectLst/>
                          <a:uLnTx/>
                          <a:uFillTx/>
                          <a:latin typeface="Trebuchet MS" panose="020B0603020202020204" pitchFamily="34" charset="0"/>
                          <a:ea typeface="+mn-ea"/>
                          <a:cs typeface="Arial" panose="020B0604020202020204" pitchFamily="34" charset="0"/>
                        </a:endParaRPr>
                      </a:p>
                    </a:txBody>
                    <a:tcPr marL="34290" marR="34290" marT="34290" marB="34290" anchor="ctr">
                      <a:lnL w="381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01341959"/>
                    </a:ext>
                  </a:extLst>
                </a:tr>
                <a:tr h="30751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kern="1200" noProof="0" dirty="0" err="1">
                            <a:solidFill>
                              <a:schemeClr val="tx1"/>
                            </a:solidFill>
                            <a:latin typeface="Trebuchet MS" panose="020B0603020202020204" pitchFamily="34" charset="0"/>
                            <a:ea typeface="+mn-ea"/>
                            <a:cs typeface="Arial" panose="020B0604020202020204" pitchFamily="34" charset="0"/>
                          </a:rPr>
                          <a:t>CrCl</a:t>
                        </a:r>
                        <a:r>
                          <a:rPr lang="en-US" sz="1100" b="0" kern="1200" noProof="0" dirty="0">
                            <a:solidFill>
                              <a:schemeClr val="tx1"/>
                            </a:solidFill>
                            <a:latin typeface="Trebuchet MS" panose="020B0603020202020204" pitchFamily="34" charset="0"/>
                            <a:ea typeface="+mn-ea"/>
                            <a:cs typeface="Arial" panose="020B0604020202020204" pitchFamily="34" charset="0"/>
                          </a:rPr>
                          <a:t> &lt; 60 mL/min</a:t>
                        </a:r>
                      </a:p>
                    </a:txBody>
                    <a:tcPr marL="34290" marR="34290" marT="34290" marB="34290" anchor="ctr">
                      <a:lnR w="38100" cap="flat" cmpd="sng" algn="ctr">
                        <a:solidFill>
                          <a:schemeClr val="bg1"/>
                        </a:solidFill>
                        <a:prstDash val="solid"/>
                        <a:round/>
                        <a:headEnd type="none" w="med" len="med"/>
                        <a:tailEnd type="none" w="med" len="med"/>
                      </a:ln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Trebuchet MS" panose="020B0603020202020204" pitchFamily="34" charset="0"/>
                            <a:ea typeface="+mn-ea"/>
                            <a:cs typeface="Arial" panose="020B0604020202020204" pitchFamily="34" charset="0"/>
                          </a:rPr>
                          <a:t>25</a:t>
                        </a:r>
                      </a:p>
                    </a:txBody>
                    <a:tcPr marL="34290" marR="34290" marT="34290" marB="34290" anchor="ctr">
                      <a:lnL w="381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71924528"/>
                    </a:ext>
                  </a:extLst>
                </a:tr>
                <a:tr h="30751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kern="1200" noProof="0" dirty="0">
                            <a:solidFill>
                              <a:schemeClr val="tx1"/>
                            </a:solidFill>
                            <a:latin typeface="Trebuchet MS" panose="020B0603020202020204" pitchFamily="34" charset="0"/>
                            <a:ea typeface="+mn-ea"/>
                            <a:cs typeface="Arial" panose="020B0604020202020204" pitchFamily="34" charset="0"/>
                          </a:rPr>
                          <a:t>DL</a:t>
                        </a:r>
                        <a:r>
                          <a:rPr lang="en-US" sz="1100" b="0" kern="1200" baseline="-25000" noProof="0" dirty="0">
                            <a:solidFill>
                              <a:schemeClr val="tx1"/>
                            </a:solidFill>
                            <a:latin typeface="Trebuchet MS" panose="020B0603020202020204" pitchFamily="34" charset="0"/>
                            <a:ea typeface="+mn-ea"/>
                            <a:cs typeface="Arial" panose="020B0604020202020204" pitchFamily="34" charset="0"/>
                          </a:rPr>
                          <a:t>CO</a:t>
                        </a:r>
                        <a:r>
                          <a:rPr lang="en-US" sz="1100" b="0" kern="1200" noProof="0" dirty="0">
                            <a:solidFill>
                              <a:schemeClr val="tx1"/>
                            </a:solidFill>
                            <a:latin typeface="Trebuchet MS" panose="020B0603020202020204" pitchFamily="34" charset="0"/>
                            <a:ea typeface="+mn-ea"/>
                            <a:cs typeface="Arial" panose="020B0604020202020204" pitchFamily="34" charset="0"/>
                          </a:rPr>
                          <a:t> ≤ 60%</a:t>
                        </a:r>
                      </a:p>
                    </a:txBody>
                    <a:tcPr marL="34290" marR="34290" marT="34290" marB="34290" anchor="ctr">
                      <a:lnR w="38100" cap="flat" cmpd="sng" algn="ctr">
                        <a:solidFill>
                          <a:schemeClr val="bg1"/>
                        </a:solidFill>
                        <a:prstDash val="solid"/>
                        <a:round/>
                        <a:headEnd type="none" w="med" len="med"/>
                        <a:tailEnd type="none" w="med" len="med"/>
                      </a:ln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Trebuchet MS" panose="020B0603020202020204" pitchFamily="34" charset="0"/>
                            <a:ea typeface="+mn-ea"/>
                            <a:cs typeface="Arial" panose="020B0604020202020204" pitchFamily="34" charset="0"/>
                          </a:rPr>
                          <a:t>7</a:t>
                        </a:r>
                      </a:p>
                    </a:txBody>
                    <a:tcPr marL="34290" marR="34290" marT="34290" marB="34290" anchor="ctr">
                      <a:lnL w="381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16548008"/>
                    </a:ext>
                  </a:extLst>
                </a:tr>
                <a:tr h="30751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kern="1200" noProof="0" dirty="0">
                            <a:solidFill>
                              <a:schemeClr val="tx1"/>
                            </a:solidFill>
                            <a:latin typeface="Trebuchet MS" panose="020B0603020202020204" pitchFamily="34" charset="0"/>
                            <a:ea typeface="+mn-ea"/>
                            <a:cs typeface="Arial" panose="020B0604020202020204" pitchFamily="34" charset="0"/>
                          </a:rPr>
                          <a:t>LVEF &lt; 50%</a:t>
                        </a:r>
                      </a:p>
                    </a:txBody>
                    <a:tcPr marL="34290" marR="34290" marT="34290" marB="34290" anchor="ctr">
                      <a:lnR w="38100" cap="flat" cmpd="sng" algn="ctr">
                        <a:solidFill>
                          <a:schemeClr val="bg1"/>
                        </a:solidFill>
                        <a:prstDash val="solid"/>
                        <a:round/>
                        <a:headEnd type="none" w="med" len="med"/>
                        <a:tailEnd type="none" w="med" len="med"/>
                      </a:ln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Trebuchet MS" panose="020B0603020202020204" pitchFamily="34" charset="0"/>
                            <a:ea typeface="+mn-ea"/>
                            <a:cs typeface="Arial" panose="020B0604020202020204" pitchFamily="34" charset="0"/>
                          </a:rPr>
                          <a:t>2</a:t>
                        </a:r>
                      </a:p>
                    </a:txBody>
                    <a:tcPr marL="34290" marR="34290" marT="34290" marB="34290" anchor="ctr">
                      <a:lnL w="381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34186594"/>
                    </a:ext>
                  </a:extLst>
                </a:tr>
              </a:tbl>
            </a:graphicData>
          </a:graphic>
        </p:graphicFrame>
        <p:sp>
          <p:nvSpPr>
            <p:cNvPr id="61" name="TextBox 60">
              <a:extLst>
                <a:ext uri="{FF2B5EF4-FFF2-40B4-BE49-F238E27FC236}">
                  <a16:creationId xmlns:a16="http://schemas.microsoft.com/office/drawing/2014/main" id="{3A165253-A98A-BF7B-775B-9E4DD3F23D87}"/>
                </a:ext>
              </a:extLst>
            </p:cNvPr>
            <p:cNvSpPr txBox="1"/>
            <p:nvPr/>
          </p:nvSpPr>
          <p:spPr>
            <a:xfrm>
              <a:off x="5495713" y="1504304"/>
              <a:ext cx="3310038" cy="276999"/>
            </a:xfrm>
            <a:prstGeom prst="rect">
              <a:avLst/>
            </a:prstGeom>
            <a:noFill/>
          </p:spPr>
          <p:txBody>
            <a:bodyPr wrap="square" rtlCol="0">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S (N = 61)</a:t>
              </a:r>
              <a:r>
                <a:rPr kumimoji="0" lang="en-US" sz="1200" b="1"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2,c</a:t>
              </a:r>
              <a:endPar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2" name="TextBox 61">
              <a:extLst>
                <a:ext uri="{FF2B5EF4-FFF2-40B4-BE49-F238E27FC236}">
                  <a16:creationId xmlns:a16="http://schemas.microsoft.com/office/drawing/2014/main" id="{0FF317FE-7889-A264-871E-35FB85CC92E0}"/>
                </a:ext>
              </a:extLst>
            </p:cNvPr>
            <p:cNvSpPr txBox="1"/>
            <p:nvPr/>
          </p:nvSpPr>
          <p:spPr>
            <a:xfrm>
              <a:off x="2165446" y="3554629"/>
              <a:ext cx="1075937" cy="276999"/>
            </a:xfrm>
            <a:prstGeom prst="rect">
              <a:avLst/>
            </a:prstGeom>
            <a:noFill/>
          </p:spPr>
          <p:txBody>
            <a:bodyPr wrap="none" rtlCol="0">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RR: </a:t>
              </a:r>
              <a:r>
                <a:rPr kumimoji="0" lang="en-US" sz="12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80%</a:t>
              </a:r>
              <a:r>
                <a:rPr kumimoji="0" lang="en-US" sz="1200" b="1" i="0" u="none" strike="noStrike" kern="1200" cap="none" spc="0" normalizeH="0" baseline="30000" noProof="0" dirty="0">
                  <a:ln>
                    <a:noFill/>
                  </a:ln>
                  <a:solidFill>
                    <a:srgbClr val="4472C4"/>
                  </a:solidFill>
                  <a:effectLst/>
                  <a:uLnTx/>
                  <a:uFillTx/>
                  <a:latin typeface="Arial" panose="020B0604020202020204" pitchFamily="34" charset="0"/>
                  <a:ea typeface="+mn-ea"/>
                  <a:cs typeface="Arial" panose="020B0604020202020204" pitchFamily="34" charset="0"/>
                </a:rPr>
                <a:t>2,b</a:t>
              </a:r>
              <a:endParaRPr kumimoji="0" lang="en-US" sz="12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endParaRPr>
            </a:p>
          </p:txBody>
        </p:sp>
        <p:sp>
          <p:nvSpPr>
            <p:cNvPr id="12" name="Rectangle 11">
              <a:extLst>
                <a:ext uri="{FF2B5EF4-FFF2-40B4-BE49-F238E27FC236}">
                  <a16:creationId xmlns:a16="http://schemas.microsoft.com/office/drawing/2014/main" id="{2EFE951C-4334-60BA-56EF-BAC489F02A88}"/>
                </a:ext>
              </a:extLst>
            </p:cNvPr>
            <p:cNvSpPr/>
            <p:nvPr/>
          </p:nvSpPr>
          <p:spPr>
            <a:xfrm>
              <a:off x="8305788" y="1451266"/>
              <a:ext cx="2150362" cy="2679661"/>
            </a:xfrm>
            <a:prstGeom prst="rect">
              <a:avLst/>
            </a:prstGeom>
            <a:solidFill>
              <a:schemeClr val="bg1"/>
            </a:solidFill>
            <a:ln w="19050">
              <a:solidFill>
                <a:schemeClr val="accent1"/>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3" name="TextBox 32">
              <a:extLst>
                <a:ext uri="{FF2B5EF4-FFF2-40B4-BE49-F238E27FC236}">
                  <a16:creationId xmlns:a16="http://schemas.microsoft.com/office/drawing/2014/main" id="{6E87FF1B-BD1B-2847-DF9D-00D6933C1C75}"/>
                </a:ext>
              </a:extLst>
            </p:cNvPr>
            <p:cNvSpPr txBox="1"/>
            <p:nvPr/>
          </p:nvSpPr>
          <p:spPr>
            <a:xfrm>
              <a:off x="8357827" y="1452310"/>
              <a:ext cx="1908169" cy="276999"/>
            </a:xfrm>
            <a:prstGeom prst="rect">
              <a:avLst/>
            </a:prstGeom>
            <a:noFill/>
          </p:spPr>
          <p:txBody>
            <a:bodyPr wrap="square" rtlCol="0">
              <a:spAutoFit/>
            </a:bodyPr>
            <a:lstStyle/>
            <a:p>
              <a:pPr marL="0" marR="0" lvl="0" indent="0" algn="ctr" defTabSz="914378" rtl="0" eaLnBrk="0" fontAlgn="base"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ESIs (N = 61)</a:t>
              </a:r>
              <a:r>
                <a:rPr kumimoji="0" lang="en-US" sz="12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2</a:t>
              </a:r>
            </a:p>
          </p:txBody>
        </p:sp>
        <p:sp>
          <p:nvSpPr>
            <p:cNvPr id="77" name="Shape 935">
              <a:extLst>
                <a:ext uri="{FF2B5EF4-FFF2-40B4-BE49-F238E27FC236}">
                  <a16:creationId xmlns:a16="http://schemas.microsoft.com/office/drawing/2014/main" id="{F2E5E4F7-578D-28DB-A561-5238A16CF395}"/>
                </a:ext>
              </a:extLst>
            </p:cNvPr>
            <p:cNvSpPr>
              <a:spLocks noChangeArrowheads="1"/>
            </p:cNvSpPr>
            <p:nvPr/>
          </p:nvSpPr>
          <p:spPr bwMode="auto">
            <a:xfrm>
              <a:off x="8677168" y="3949157"/>
              <a:ext cx="137190" cy="115109"/>
            </a:xfrm>
            <a:prstGeom prst="rect">
              <a:avLst/>
            </a:prstGeom>
            <a:solidFill>
              <a:schemeClr val="accent1">
                <a:lumMod val="20000"/>
                <a:lumOff val="80000"/>
              </a:schemeClr>
            </a:solidFill>
            <a:ln>
              <a:noFill/>
            </a:ln>
          </p:spPr>
          <p:txBody>
            <a:bodyPr lIns="34289" tIns="34289" rIns="34289" bIns="34289"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825"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78" name="TextBox 77">
              <a:extLst>
                <a:ext uri="{FF2B5EF4-FFF2-40B4-BE49-F238E27FC236}">
                  <a16:creationId xmlns:a16="http://schemas.microsoft.com/office/drawing/2014/main" id="{B31D6230-B06D-7468-B38C-77BE9ADCEF1F}"/>
                </a:ext>
              </a:extLst>
            </p:cNvPr>
            <p:cNvSpPr txBox="1"/>
            <p:nvPr/>
          </p:nvSpPr>
          <p:spPr bwMode="auto">
            <a:xfrm>
              <a:off x="8881114" y="3906097"/>
              <a:ext cx="512065" cy="201231"/>
            </a:xfrm>
            <a:prstGeom prst="rect">
              <a:avLst/>
            </a:prstGeom>
            <a:noFill/>
          </p:spPr>
          <p:txBody>
            <a:bodyPr lIns="0" tIns="0" rIns="0" bIns="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750" b="0" i="0" u="none" strike="noStrike" kern="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All grades</a:t>
              </a:r>
            </a:p>
          </p:txBody>
        </p:sp>
        <p:sp>
          <p:nvSpPr>
            <p:cNvPr id="79" name="Shape 935">
              <a:extLst>
                <a:ext uri="{FF2B5EF4-FFF2-40B4-BE49-F238E27FC236}">
                  <a16:creationId xmlns:a16="http://schemas.microsoft.com/office/drawing/2014/main" id="{9D58B927-BEDD-CA7C-F263-DDB51A10C536}"/>
                </a:ext>
              </a:extLst>
            </p:cNvPr>
            <p:cNvSpPr>
              <a:spLocks noChangeArrowheads="1"/>
            </p:cNvSpPr>
            <p:nvPr/>
          </p:nvSpPr>
          <p:spPr bwMode="auto">
            <a:xfrm>
              <a:off x="9409612" y="3949157"/>
              <a:ext cx="137190" cy="115109"/>
            </a:xfrm>
            <a:prstGeom prst="rect">
              <a:avLst/>
            </a:prstGeom>
            <a:solidFill>
              <a:schemeClr val="accent1"/>
            </a:solidFill>
            <a:ln>
              <a:noFill/>
            </a:ln>
          </p:spPr>
          <p:txBody>
            <a:bodyPr lIns="34289" tIns="34289" rIns="34289" bIns="34289"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825"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80" name="TextBox 79">
              <a:extLst>
                <a:ext uri="{FF2B5EF4-FFF2-40B4-BE49-F238E27FC236}">
                  <a16:creationId xmlns:a16="http://schemas.microsoft.com/office/drawing/2014/main" id="{1FFD1C59-6002-3F1C-BE96-C1141D5050C5}"/>
                </a:ext>
              </a:extLst>
            </p:cNvPr>
            <p:cNvSpPr txBox="1"/>
            <p:nvPr/>
          </p:nvSpPr>
          <p:spPr bwMode="auto">
            <a:xfrm>
              <a:off x="9613557" y="3906097"/>
              <a:ext cx="589232" cy="201231"/>
            </a:xfrm>
            <a:prstGeom prst="rect">
              <a:avLst/>
            </a:prstGeom>
            <a:noFill/>
          </p:spPr>
          <p:txBody>
            <a:bodyPr lIns="0" tIns="0" rIns="0" bIns="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750" b="0" i="0" u="none" strike="noStrike" kern="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Grade ≥ 3</a:t>
              </a:r>
            </a:p>
          </p:txBody>
        </p:sp>
        <p:sp>
          <p:nvSpPr>
            <p:cNvPr id="52" name="TextBox 51">
              <a:extLst>
                <a:ext uri="{FF2B5EF4-FFF2-40B4-BE49-F238E27FC236}">
                  <a16:creationId xmlns:a16="http://schemas.microsoft.com/office/drawing/2014/main" id="{DE433F03-24C3-5312-5F9E-EB9F74BB0E8E}"/>
                </a:ext>
              </a:extLst>
            </p:cNvPr>
            <p:cNvSpPr txBox="1"/>
            <p:nvPr/>
          </p:nvSpPr>
          <p:spPr bwMode="auto">
            <a:xfrm>
              <a:off x="8409582" y="2616285"/>
              <a:ext cx="779730" cy="166446"/>
            </a:xfrm>
            <a:prstGeom prst="rect">
              <a:avLst/>
            </a:prstGeom>
            <a:noFill/>
          </p:spPr>
          <p:txBody>
            <a:bodyPr lIns="0" tIns="0" rIns="0" bIns="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Day 29 cytopenia, %</a:t>
              </a:r>
            </a:p>
          </p:txBody>
        </p:sp>
        <p:sp>
          <p:nvSpPr>
            <p:cNvPr id="56" name="Rectangle 55">
              <a:extLst>
                <a:ext uri="{FF2B5EF4-FFF2-40B4-BE49-F238E27FC236}">
                  <a16:creationId xmlns:a16="http://schemas.microsoft.com/office/drawing/2014/main" id="{8EEACF1E-8069-93DB-87C3-231E046B179A}"/>
                </a:ext>
              </a:extLst>
            </p:cNvPr>
            <p:cNvSpPr/>
            <p:nvPr/>
          </p:nvSpPr>
          <p:spPr>
            <a:xfrm>
              <a:off x="9259126" y="2603821"/>
              <a:ext cx="902954" cy="225738"/>
            </a:xfrm>
            <a:prstGeom prst="rect">
              <a:avLst/>
            </a:prstGeom>
            <a:solidFill>
              <a:schemeClr val="accent1"/>
            </a:solidFill>
            <a:ln w="15875" cap="flat" cmpd="sng" algn="ctr">
              <a:noFill/>
              <a:prstDash val="solid"/>
              <a:miter lim="800000"/>
            </a:ln>
            <a:effectLst/>
          </p:spPr>
          <p:txBody>
            <a:bodyPr rtlCol="0" anchor="ct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7" name="TextBox 56">
              <a:extLst>
                <a:ext uri="{FF2B5EF4-FFF2-40B4-BE49-F238E27FC236}">
                  <a16:creationId xmlns:a16="http://schemas.microsoft.com/office/drawing/2014/main" id="{CEF7925E-84C0-6B45-2CE0-AF3CD7695953}"/>
                </a:ext>
              </a:extLst>
            </p:cNvPr>
            <p:cNvSpPr txBox="1"/>
            <p:nvPr/>
          </p:nvSpPr>
          <p:spPr>
            <a:xfrm>
              <a:off x="10105909" y="2612859"/>
              <a:ext cx="385042" cy="253916"/>
            </a:xfrm>
            <a:prstGeom prst="rect">
              <a:avLst/>
            </a:prstGeom>
            <a:noFill/>
          </p:spPr>
          <p:txBody>
            <a:bodyPr wrap="none" rtlCol="0">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85</a:t>
              </a:r>
              <a:r>
                <a:rPr kumimoji="0" lang="en-US" sz="105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d</a:t>
              </a:r>
              <a:endPar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4" name="TextBox 33">
              <a:extLst>
                <a:ext uri="{FF2B5EF4-FFF2-40B4-BE49-F238E27FC236}">
                  <a16:creationId xmlns:a16="http://schemas.microsoft.com/office/drawing/2014/main" id="{A84F5E6E-3487-1531-4360-89C5F5E96480}"/>
                </a:ext>
              </a:extLst>
            </p:cNvPr>
            <p:cNvSpPr txBox="1"/>
            <p:nvPr/>
          </p:nvSpPr>
          <p:spPr bwMode="auto">
            <a:xfrm>
              <a:off x="8409582" y="1781434"/>
              <a:ext cx="495950" cy="199659"/>
            </a:xfrm>
            <a:prstGeom prst="rect">
              <a:avLst/>
            </a:prstGeom>
            <a:noFill/>
          </p:spPr>
          <p:txBody>
            <a:bodyPr lIns="0" tIns="0" rIns="0" bIns="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CRS, %</a:t>
              </a:r>
            </a:p>
          </p:txBody>
        </p:sp>
        <p:sp>
          <p:nvSpPr>
            <p:cNvPr id="36" name="Rectangle 35">
              <a:extLst>
                <a:ext uri="{FF2B5EF4-FFF2-40B4-BE49-F238E27FC236}">
                  <a16:creationId xmlns:a16="http://schemas.microsoft.com/office/drawing/2014/main" id="{4E3032B4-CADA-D0FF-2049-BCAB1E950757}"/>
                </a:ext>
              </a:extLst>
            </p:cNvPr>
            <p:cNvSpPr/>
            <p:nvPr/>
          </p:nvSpPr>
          <p:spPr>
            <a:xfrm>
              <a:off x="9259127" y="1768970"/>
              <a:ext cx="404345" cy="225738"/>
            </a:xfrm>
            <a:prstGeom prst="rect">
              <a:avLst/>
            </a:prstGeom>
            <a:solidFill>
              <a:schemeClr val="accent1">
                <a:lumMod val="20000"/>
                <a:lumOff val="80000"/>
              </a:schemeClr>
            </a:solidFill>
            <a:ln w="9525" cap="flat" cmpd="sng" algn="ctr">
              <a:noFill/>
              <a:prstDash val="solid"/>
              <a:miter lim="800000"/>
            </a:ln>
            <a:effectLst/>
          </p:spPr>
          <p:txBody>
            <a:bodyPr rtlCol="0" anchor="ct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7" name="TextBox 36">
              <a:extLst>
                <a:ext uri="{FF2B5EF4-FFF2-40B4-BE49-F238E27FC236}">
                  <a16:creationId xmlns:a16="http://schemas.microsoft.com/office/drawing/2014/main" id="{247C7CEF-7C77-454D-8747-CF4EF2634BF5}"/>
                </a:ext>
              </a:extLst>
            </p:cNvPr>
            <p:cNvSpPr txBox="1"/>
            <p:nvPr/>
          </p:nvSpPr>
          <p:spPr>
            <a:xfrm>
              <a:off x="9630565" y="1778008"/>
              <a:ext cx="335348" cy="253916"/>
            </a:xfrm>
            <a:prstGeom prst="rect">
              <a:avLst/>
            </a:prstGeom>
            <a:noFill/>
          </p:spPr>
          <p:txBody>
            <a:bodyPr wrap="none" rtlCol="0">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8</a:t>
              </a:r>
            </a:p>
          </p:txBody>
        </p:sp>
        <p:sp>
          <p:nvSpPr>
            <p:cNvPr id="81" name="Rectangle 80">
              <a:extLst>
                <a:ext uri="{FF2B5EF4-FFF2-40B4-BE49-F238E27FC236}">
                  <a16:creationId xmlns:a16="http://schemas.microsoft.com/office/drawing/2014/main" id="{DBEA5CC3-EB0B-7560-C671-7BE960CA9C3F}"/>
                </a:ext>
              </a:extLst>
            </p:cNvPr>
            <p:cNvSpPr/>
            <p:nvPr/>
          </p:nvSpPr>
          <p:spPr>
            <a:xfrm>
              <a:off x="9259127" y="1768970"/>
              <a:ext cx="21881" cy="225738"/>
            </a:xfrm>
            <a:prstGeom prst="rect">
              <a:avLst/>
            </a:prstGeom>
            <a:solidFill>
              <a:schemeClr val="accent1"/>
            </a:solidFill>
            <a:ln w="9525" cap="flat" cmpd="sng" algn="ctr">
              <a:noFill/>
              <a:prstDash val="solid"/>
              <a:miter lim="800000"/>
            </a:ln>
            <a:effectLst/>
          </p:spPr>
          <p:txBody>
            <a:bodyPr rtlCol="0" anchor="ct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2" name="TextBox 81">
              <a:extLst>
                <a:ext uri="{FF2B5EF4-FFF2-40B4-BE49-F238E27FC236}">
                  <a16:creationId xmlns:a16="http://schemas.microsoft.com/office/drawing/2014/main" id="{DDD8E9EC-A994-19E5-BA67-10AACBE4EFC3}"/>
                </a:ext>
              </a:extLst>
            </p:cNvPr>
            <p:cNvSpPr txBox="1"/>
            <p:nvPr/>
          </p:nvSpPr>
          <p:spPr>
            <a:xfrm>
              <a:off x="9268115" y="1778008"/>
              <a:ext cx="260008" cy="253916"/>
            </a:xfrm>
            <a:prstGeom prst="rect">
              <a:avLst/>
            </a:prstGeom>
            <a:noFill/>
          </p:spPr>
          <p:txBody>
            <a:bodyPr wrap="none" rtlCol="0">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a:t>
              </a:r>
            </a:p>
          </p:txBody>
        </p:sp>
        <p:sp>
          <p:nvSpPr>
            <p:cNvPr id="64" name="TextBox 63">
              <a:extLst>
                <a:ext uri="{FF2B5EF4-FFF2-40B4-BE49-F238E27FC236}">
                  <a16:creationId xmlns:a16="http://schemas.microsoft.com/office/drawing/2014/main" id="{B78A50A3-98C1-7DAB-618F-FE039E85FC6E}"/>
                </a:ext>
              </a:extLst>
            </p:cNvPr>
            <p:cNvSpPr txBox="1"/>
            <p:nvPr/>
          </p:nvSpPr>
          <p:spPr bwMode="auto">
            <a:xfrm>
              <a:off x="8409584" y="3040642"/>
              <a:ext cx="766619" cy="201231"/>
            </a:xfrm>
            <a:prstGeom prst="rect">
              <a:avLst/>
            </a:prstGeom>
            <a:noFill/>
          </p:spPr>
          <p:txBody>
            <a:bodyPr lIns="0" tIns="0" rIns="0" bIns="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Infection (≤ 90 days),  %</a:t>
              </a:r>
            </a:p>
          </p:txBody>
        </p:sp>
        <p:sp>
          <p:nvSpPr>
            <p:cNvPr id="66" name="TextBox 65">
              <a:extLst>
                <a:ext uri="{FF2B5EF4-FFF2-40B4-BE49-F238E27FC236}">
                  <a16:creationId xmlns:a16="http://schemas.microsoft.com/office/drawing/2014/main" id="{3A50E092-113F-6D5C-9231-2DC5C65F53A5}"/>
                </a:ext>
              </a:extLst>
            </p:cNvPr>
            <p:cNvSpPr txBox="1"/>
            <p:nvPr/>
          </p:nvSpPr>
          <p:spPr>
            <a:xfrm>
              <a:off x="9320460" y="3023362"/>
              <a:ext cx="260008" cy="253916"/>
            </a:xfrm>
            <a:prstGeom prst="rect">
              <a:avLst/>
            </a:prstGeom>
            <a:noFill/>
          </p:spPr>
          <p:txBody>
            <a:bodyPr wrap="none" rtlCol="0">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7</a:t>
              </a:r>
            </a:p>
          </p:txBody>
        </p:sp>
        <p:sp>
          <p:nvSpPr>
            <p:cNvPr id="84" name="Rectangle 83">
              <a:extLst>
                <a:ext uri="{FF2B5EF4-FFF2-40B4-BE49-F238E27FC236}">
                  <a16:creationId xmlns:a16="http://schemas.microsoft.com/office/drawing/2014/main" id="{DA02FF9F-BB52-BC6D-4864-C6E55192C8A9}"/>
                </a:ext>
              </a:extLst>
            </p:cNvPr>
            <p:cNvSpPr/>
            <p:nvPr/>
          </p:nvSpPr>
          <p:spPr>
            <a:xfrm>
              <a:off x="9259126" y="3021246"/>
              <a:ext cx="74420" cy="225738"/>
            </a:xfrm>
            <a:prstGeom prst="rect">
              <a:avLst/>
            </a:prstGeom>
            <a:solidFill>
              <a:schemeClr val="accent1"/>
            </a:solidFill>
            <a:ln w="15875" cap="flat" cmpd="sng" algn="ctr">
              <a:noFill/>
              <a:prstDash val="solid"/>
              <a:miter lim="800000"/>
            </a:ln>
            <a:effectLst/>
          </p:spPr>
          <p:txBody>
            <a:bodyPr rtlCol="0" anchor="ct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8" name="TextBox 37">
              <a:extLst>
                <a:ext uri="{FF2B5EF4-FFF2-40B4-BE49-F238E27FC236}">
                  <a16:creationId xmlns:a16="http://schemas.microsoft.com/office/drawing/2014/main" id="{C2646791-7BB6-B3EA-2527-4972F5F266F5}"/>
                </a:ext>
              </a:extLst>
            </p:cNvPr>
            <p:cNvSpPr txBox="1"/>
            <p:nvPr/>
          </p:nvSpPr>
          <p:spPr bwMode="auto">
            <a:xfrm>
              <a:off x="8409583" y="2205790"/>
              <a:ext cx="687051" cy="201231"/>
            </a:xfrm>
            <a:prstGeom prst="rect">
              <a:avLst/>
            </a:prstGeom>
            <a:noFill/>
          </p:spPr>
          <p:txBody>
            <a:bodyPr lIns="0" tIns="0" rIns="0" bIns="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NEs, %</a:t>
              </a:r>
            </a:p>
          </p:txBody>
        </p:sp>
        <p:sp>
          <p:nvSpPr>
            <p:cNvPr id="40" name="Rectangle 39">
              <a:extLst>
                <a:ext uri="{FF2B5EF4-FFF2-40B4-BE49-F238E27FC236}">
                  <a16:creationId xmlns:a16="http://schemas.microsoft.com/office/drawing/2014/main" id="{254A3F78-FBC7-C266-E6F9-12EBA0B65A9D}"/>
                </a:ext>
              </a:extLst>
            </p:cNvPr>
            <p:cNvSpPr/>
            <p:nvPr/>
          </p:nvSpPr>
          <p:spPr>
            <a:xfrm>
              <a:off x="9259127" y="2186395"/>
              <a:ext cx="329925" cy="225738"/>
            </a:xfrm>
            <a:prstGeom prst="rect">
              <a:avLst/>
            </a:prstGeom>
            <a:solidFill>
              <a:schemeClr val="accent1">
                <a:lumMod val="20000"/>
                <a:lumOff val="80000"/>
              </a:schemeClr>
            </a:solidFill>
            <a:ln w="15875" cap="flat" cmpd="sng" algn="ctr">
              <a:noFill/>
              <a:prstDash val="solid"/>
              <a:miter lim="800000"/>
            </a:ln>
            <a:effectLst/>
          </p:spPr>
          <p:txBody>
            <a:bodyPr rtlCol="0" anchor="ct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1" name="TextBox 50">
              <a:extLst>
                <a:ext uri="{FF2B5EF4-FFF2-40B4-BE49-F238E27FC236}">
                  <a16:creationId xmlns:a16="http://schemas.microsoft.com/office/drawing/2014/main" id="{E15177AC-1A37-739A-2FF0-C7C60860D3C0}"/>
                </a:ext>
              </a:extLst>
            </p:cNvPr>
            <p:cNvSpPr txBox="1"/>
            <p:nvPr/>
          </p:nvSpPr>
          <p:spPr>
            <a:xfrm>
              <a:off x="9575887" y="2188511"/>
              <a:ext cx="335348" cy="253916"/>
            </a:xfrm>
            <a:prstGeom prst="rect">
              <a:avLst/>
            </a:prstGeom>
            <a:noFill/>
          </p:spPr>
          <p:txBody>
            <a:bodyPr wrap="none" rtlCol="0">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1</a:t>
              </a:r>
            </a:p>
          </p:txBody>
        </p:sp>
        <p:sp>
          <p:nvSpPr>
            <p:cNvPr id="87" name="TextBox 86">
              <a:extLst>
                <a:ext uri="{FF2B5EF4-FFF2-40B4-BE49-F238E27FC236}">
                  <a16:creationId xmlns:a16="http://schemas.microsoft.com/office/drawing/2014/main" id="{612DDCE0-3E62-020B-8B7A-88504B7030D4}"/>
                </a:ext>
              </a:extLst>
            </p:cNvPr>
            <p:cNvSpPr txBox="1"/>
            <p:nvPr/>
          </p:nvSpPr>
          <p:spPr>
            <a:xfrm>
              <a:off x="9298079" y="2188511"/>
              <a:ext cx="162992" cy="253916"/>
            </a:xfrm>
            <a:prstGeom prst="rect">
              <a:avLst/>
            </a:prstGeom>
            <a:noFill/>
          </p:spPr>
          <p:txBody>
            <a:bodyPr wrap="square" rtlCol="0">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5</a:t>
              </a:r>
            </a:p>
          </p:txBody>
        </p:sp>
        <p:sp>
          <p:nvSpPr>
            <p:cNvPr id="88" name="Rectangle 87">
              <a:extLst>
                <a:ext uri="{FF2B5EF4-FFF2-40B4-BE49-F238E27FC236}">
                  <a16:creationId xmlns:a16="http://schemas.microsoft.com/office/drawing/2014/main" id="{62749E6E-49D5-B885-2A16-D8E97411D6AD}"/>
                </a:ext>
              </a:extLst>
            </p:cNvPr>
            <p:cNvSpPr/>
            <p:nvPr/>
          </p:nvSpPr>
          <p:spPr>
            <a:xfrm>
              <a:off x="9259126" y="2186395"/>
              <a:ext cx="52094" cy="225738"/>
            </a:xfrm>
            <a:prstGeom prst="rect">
              <a:avLst/>
            </a:prstGeom>
            <a:solidFill>
              <a:schemeClr val="accent1"/>
            </a:solidFill>
            <a:ln w="15875" cap="flat" cmpd="sng" algn="ctr">
              <a:noFill/>
              <a:prstDash val="solid"/>
              <a:miter lim="800000"/>
            </a:ln>
            <a:effectLst/>
          </p:spPr>
          <p:txBody>
            <a:bodyPr rtlCol="0" anchor="ct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9" name="Text Placeholder 83">
              <a:extLst>
                <a:ext uri="{FF2B5EF4-FFF2-40B4-BE49-F238E27FC236}">
                  <a16:creationId xmlns:a16="http://schemas.microsoft.com/office/drawing/2014/main" id="{74926F38-5C03-4B86-B531-8D773E510314}"/>
                </a:ext>
              </a:extLst>
            </p:cNvPr>
            <p:cNvSpPr txBox="1">
              <a:spLocks/>
            </p:cNvSpPr>
            <p:nvPr/>
          </p:nvSpPr>
          <p:spPr bwMode="gray">
            <a:xfrm>
              <a:off x="2178149" y="5706221"/>
              <a:ext cx="8312802" cy="269081"/>
            </a:xfrm>
            <a:prstGeom prst="rect">
              <a:avLst/>
            </a:prstGeom>
          </p:spPr>
          <p:txBody>
            <a:bodyPr vert="horz" lIns="0" tIns="0" rIns="0" bIns="0" rtlCol="0" anchor="b" anchorCtr="0">
              <a:noAutofit/>
            </a:bodyPr>
            <a:lstStyle>
              <a:lvl1pPr marL="132160" indent="-132160" algn="l" defTabSz="685800" rtl="0" eaLnBrk="1" latinLnBrk="0" hangingPunct="1">
                <a:lnSpc>
                  <a:spcPct val="110000"/>
                </a:lnSpc>
                <a:spcBef>
                  <a:spcPts val="0"/>
                </a:spcBef>
                <a:spcAft>
                  <a:spcPts val="600"/>
                </a:spcAft>
                <a:buClr>
                  <a:schemeClr val="accent1"/>
                </a:buClr>
                <a:buFont typeface="Wingdings" panose="05000000000000000000" pitchFamily="2" charset="2"/>
                <a:buChar char="§"/>
                <a:defRPr sz="1125" kern="1200">
                  <a:solidFill>
                    <a:schemeClr val="tx1"/>
                  </a:solidFill>
                  <a:latin typeface="+mn-lt"/>
                  <a:ea typeface="+mn-ea"/>
                  <a:cs typeface="+mn-cs"/>
                </a:defRPr>
              </a:lvl1pPr>
              <a:lvl2pPr marL="269081" indent="-136922" algn="l" defTabSz="685800" rtl="0" eaLnBrk="1" latinLnBrk="0" hangingPunct="1">
                <a:lnSpc>
                  <a:spcPct val="110000"/>
                </a:lnSpc>
                <a:spcBef>
                  <a:spcPts val="0"/>
                </a:spcBef>
                <a:spcAft>
                  <a:spcPts val="600"/>
                </a:spcAft>
                <a:buClr>
                  <a:schemeClr val="accent4"/>
                </a:buClr>
                <a:buFont typeface="Wingdings" panose="05000000000000000000" pitchFamily="2" charset="2"/>
                <a:buChar char="§"/>
                <a:defRPr sz="1125" kern="1200">
                  <a:solidFill>
                    <a:schemeClr val="tx1"/>
                  </a:solidFill>
                  <a:latin typeface="+mn-lt"/>
                  <a:ea typeface="+mn-ea"/>
                  <a:cs typeface="+mn-cs"/>
                </a:defRPr>
              </a:lvl2pPr>
              <a:lvl3pPr marL="401241" indent="-132160" algn="l" defTabSz="685800" rtl="0" eaLnBrk="1" latinLnBrk="0" hangingPunct="1">
                <a:lnSpc>
                  <a:spcPct val="110000"/>
                </a:lnSpc>
                <a:spcBef>
                  <a:spcPts val="0"/>
                </a:spcBef>
                <a:spcAft>
                  <a:spcPts val="600"/>
                </a:spcAft>
                <a:buClr>
                  <a:schemeClr val="accent4"/>
                </a:buClr>
                <a:buFont typeface="Wingdings" panose="05000000000000000000" pitchFamily="2" charset="2"/>
                <a:buChar char="§"/>
                <a:defRPr sz="1125" kern="1200">
                  <a:solidFill>
                    <a:schemeClr val="tx1"/>
                  </a:solidFill>
                  <a:latin typeface="+mn-lt"/>
                  <a:ea typeface="+mn-ea"/>
                  <a:cs typeface="+mn-cs"/>
                </a:defRPr>
              </a:lvl3pPr>
              <a:lvl4pPr marL="538163" indent="-136922" algn="l" defTabSz="685800" rtl="0" eaLnBrk="1" latinLnBrk="0" hangingPunct="1">
                <a:lnSpc>
                  <a:spcPct val="110000"/>
                </a:lnSpc>
                <a:spcBef>
                  <a:spcPts val="0"/>
                </a:spcBef>
                <a:spcAft>
                  <a:spcPts val="600"/>
                </a:spcAft>
                <a:buClr>
                  <a:schemeClr val="accent4"/>
                </a:buClr>
                <a:buFont typeface="Wingdings" panose="05000000000000000000" pitchFamily="2" charset="2"/>
                <a:buChar char="§"/>
                <a:defRPr sz="1125" kern="1200">
                  <a:solidFill>
                    <a:schemeClr val="tx1"/>
                  </a:solidFill>
                  <a:latin typeface="+mn-lt"/>
                  <a:ea typeface="+mn-ea"/>
                  <a:cs typeface="+mn-cs"/>
                </a:defRPr>
              </a:lvl4pPr>
              <a:lvl5pPr marL="670322" indent="-132160" algn="l" defTabSz="685800" rtl="0" eaLnBrk="1" latinLnBrk="0" hangingPunct="1">
                <a:lnSpc>
                  <a:spcPct val="110000"/>
                </a:lnSpc>
                <a:spcBef>
                  <a:spcPts val="0"/>
                </a:spcBef>
                <a:spcAft>
                  <a:spcPts val="600"/>
                </a:spcAft>
                <a:buClr>
                  <a:schemeClr val="accent4"/>
                </a:buClr>
                <a:buFont typeface="Wingdings" panose="05000000000000000000" pitchFamily="2" charset="2"/>
                <a:buChar char="§"/>
                <a:defRPr sz="11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514350" rtl="0" eaLnBrk="1" fontAlgn="base" latinLnBrk="0" hangingPunct="1">
                <a:lnSpc>
                  <a:spcPct val="100000"/>
                </a:lnSpc>
                <a:spcBef>
                  <a:spcPts val="0"/>
                </a:spcBef>
                <a:spcAft>
                  <a:spcPts val="0"/>
                </a:spcAft>
                <a:buClr>
                  <a:srgbClr val="4472C4"/>
                </a:buClr>
                <a:buSzTx/>
                <a:buFont typeface="Wingdings" panose="05000000000000000000" pitchFamily="2" charset="2"/>
                <a:buNone/>
                <a:tabLst/>
                <a:defRPr/>
              </a:pPr>
              <a:r>
                <a:rPr kumimoji="0" lang="en-US" sz="675"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iso-cel is not approved in Europe for the 2L treatment of DLBCL in patients who experienced relapse more than 12 months after completion of 1L therapy. </a:t>
              </a:r>
            </a:p>
            <a:p>
              <a:pPr marL="0" marR="0" lvl="0" indent="0" algn="l" defTabSz="514350" rtl="0" eaLnBrk="1" fontAlgn="base" latinLnBrk="0" hangingPunct="1">
                <a:lnSpc>
                  <a:spcPct val="100000"/>
                </a:lnSpc>
                <a:spcBef>
                  <a:spcPts val="0"/>
                </a:spcBef>
                <a:spcAft>
                  <a:spcPts val="0"/>
                </a:spcAft>
                <a:buClr>
                  <a:srgbClr val="4472C4"/>
                </a:buClr>
                <a:buSzTx/>
                <a:buFont typeface="Wingdings" panose="05000000000000000000" pitchFamily="2" charset="2"/>
                <a:buNone/>
                <a:tabLst/>
                <a:defRPr/>
              </a:pPr>
              <a:r>
                <a:rPr kumimoji="0" lang="en-US" sz="675"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a:t>
              </a:r>
              <a:r>
                <a:rPr kumimoji="0" lang="en-US" sz="675"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Patients must have also met </a:t>
              </a:r>
              <a:r>
                <a:rPr kumimoji="0" lang="en-US" sz="675"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t least </a:t>
              </a:r>
              <a:r>
                <a:rPr kumimoji="0" lang="en-US" sz="675"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ne transplant-not-intended criterion as determined by the investigator: age ≥ 70 years, ECOG PS of 2, DLCO ≤ 60%, LVEF &lt; 50%, CrCl &lt; 60 mL/min, ALT/AST &gt; 2 × ULN; </a:t>
              </a:r>
              <a:r>
                <a:rPr kumimoji="0" lang="en-US" sz="675"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b</a:t>
              </a:r>
              <a:r>
                <a:rPr kumimoji="0" lang="en-US" sz="675"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Median follow-up of 12.3 months; </a:t>
              </a:r>
              <a:r>
                <a:rPr kumimoji="0" lang="en-US" sz="675"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c</a:t>
              </a:r>
              <a:r>
                <a:rPr kumimoji="0" lang="en-US" sz="675"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OS data include data from the LTFU study; </a:t>
              </a:r>
              <a:r>
                <a:rPr kumimoji="0" lang="en-US" sz="675"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d </a:t>
              </a:r>
              <a:r>
                <a:rPr kumimoji="0" lang="en-US" sz="675"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Prolonged cytopenia is defined as Grade ≥ 3 decreased hemoglobin level, neutrophil count or platelet count at the Day 29 visit as confirmed by laboratory results. 1L, first line; 2L, second line; AESI, adverse event of special interest; ALT, alanine transaminase; ASCT, autologous stem cell transplant; AST, aspartate aminotransferase; CrCl, creatinine clearance; CRS, cytokine release syndrome; DL</a:t>
              </a:r>
              <a:r>
                <a:rPr kumimoji="0" lang="en-US" sz="675" b="0" i="0" u="none" strike="noStrike" kern="1200" cap="none" spc="0" normalizeH="0" baseline="-25000" noProof="0" dirty="0">
                  <a:ln>
                    <a:noFill/>
                  </a:ln>
                  <a:solidFill>
                    <a:prstClr val="black"/>
                  </a:solidFill>
                  <a:effectLst/>
                  <a:uLnTx/>
                  <a:uFillTx/>
                  <a:latin typeface="Arial" panose="020B0604020202020204" pitchFamily="34" charset="0"/>
                  <a:ea typeface="+mn-ea"/>
                  <a:cs typeface="Arial" panose="020B0604020202020204" pitchFamily="34" charset="0"/>
                </a:rPr>
                <a:t>CO</a:t>
              </a:r>
              <a:r>
                <a:rPr kumimoji="0" lang="en-US" sz="675"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675"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diffusing capacity of the lungs for carbon monoxide; ECOG PS, Eastern Cooperative Oncology Group performance status; LBCL, large B-cell lymphoma; liso-cel, lisocabtagene maraleucel; LTFU, long-term follow up; LVEF, left ventricular ejection fraction; </a:t>
              </a:r>
              <a:r>
                <a:rPr kumimoji="0" lang="en-US" sz="675"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mFU</a:t>
              </a:r>
              <a:r>
                <a:rPr kumimoji="0" lang="en-US" sz="675"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median follow-up; </a:t>
              </a:r>
              <a:r>
                <a:rPr kumimoji="0" lang="en-US" sz="675"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mo</a:t>
              </a:r>
              <a:r>
                <a:rPr kumimoji="0" lang="en-US" sz="675"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month; NE, neurologic events; NR, not reached; ORR, overall response rate; OS, overall survival; R/R, relapsed or refractory, ULN, upper limit of normal. 1. Sehgal A, et al. Lancet Oncol 2022;23:1066—1077. 2. Sehgal A, et al. ASH 2023 Oral presentation 105.</a:t>
              </a:r>
            </a:p>
          </p:txBody>
        </p:sp>
        <p:sp>
          <p:nvSpPr>
            <p:cNvPr id="5" name="Flowchart: Process 11">
              <a:extLst>
                <a:ext uri="{FF2B5EF4-FFF2-40B4-BE49-F238E27FC236}">
                  <a16:creationId xmlns:a16="http://schemas.microsoft.com/office/drawing/2014/main" id="{8ACB5A9F-F114-75EC-183D-B4EF97B410B5}"/>
                </a:ext>
              </a:extLst>
            </p:cNvPr>
            <p:cNvSpPr/>
            <p:nvPr/>
          </p:nvSpPr>
          <p:spPr>
            <a:xfrm>
              <a:off x="1835458" y="4472765"/>
              <a:ext cx="8521085" cy="647872"/>
            </a:xfrm>
            <a:prstGeom prst="flowChartProcess">
              <a:avLst/>
            </a:prstGeom>
            <a:solidFill>
              <a:schemeClr val="accent1"/>
            </a:solidFill>
            <a:ln w="34925">
              <a:solidFill>
                <a:schemeClr val="accent1"/>
              </a:solidFill>
            </a:ln>
          </p:spPr>
          <p:style>
            <a:lnRef idx="0">
              <a:schemeClr val="accent1"/>
            </a:lnRef>
            <a:fillRef idx="1">
              <a:schemeClr val="accent1"/>
            </a:fillRef>
            <a:effectRef idx="0">
              <a:srgbClr val="000000"/>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edian OS was not reached with liso-cel at ≈ 2-year median follow-up</a:t>
              </a:r>
              <a:r>
                <a:rPr kumimoji="0" lang="en-US" sz="1600" b="0" i="0" u="none" strike="noStrike" kern="120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rPr>
                <a:t>2</a:t>
              </a:r>
            </a:p>
          </p:txBody>
        </p:sp>
        <p:cxnSp>
          <p:nvCxnSpPr>
            <p:cNvPr id="11" name="Straight Connector 10">
              <a:extLst>
                <a:ext uri="{FF2B5EF4-FFF2-40B4-BE49-F238E27FC236}">
                  <a16:creationId xmlns:a16="http://schemas.microsoft.com/office/drawing/2014/main" id="{7C059E85-1F10-8D76-0CAB-944CAE3C12E6}"/>
                </a:ext>
              </a:extLst>
            </p:cNvPr>
            <p:cNvCxnSpPr>
              <a:cxnSpLocks/>
            </p:cNvCxnSpPr>
            <p:nvPr/>
          </p:nvCxnSpPr>
          <p:spPr>
            <a:xfrm flipV="1">
              <a:off x="9267461" y="3315404"/>
              <a:ext cx="10611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2E4D9D40-E040-8275-2534-9747B8197495}"/>
                </a:ext>
              </a:extLst>
            </p:cNvPr>
            <p:cNvSpPr txBox="1"/>
            <p:nvPr/>
          </p:nvSpPr>
          <p:spPr>
            <a:xfrm>
              <a:off x="9153118" y="3309813"/>
              <a:ext cx="237566" cy="207749"/>
            </a:xfrm>
            <a:prstGeom prst="rect">
              <a:avLst/>
            </a:prstGeom>
            <a:noFill/>
          </p:spPr>
          <p:txBody>
            <a:bodyPr wrap="none" rtlCol="0">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p>
          </p:txBody>
        </p:sp>
        <p:cxnSp>
          <p:nvCxnSpPr>
            <p:cNvPr id="70" name="Straight Connector 69">
              <a:extLst>
                <a:ext uri="{FF2B5EF4-FFF2-40B4-BE49-F238E27FC236}">
                  <a16:creationId xmlns:a16="http://schemas.microsoft.com/office/drawing/2014/main" id="{D4ABC9FC-85BF-F02B-3713-85A08BB4CE4C}"/>
                </a:ext>
              </a:extLst>
            </p:cNvPr>
            <p:cNvCxnSpPr>
              <a:cxnSpLocks/>
            </p:cNvCxnSpPr>
            <p:nvPr/>
          </p:nvCxnSpPr>
          <p:spPr>
            <a:xfrm>
              <a:off x="9267461" y="3315404"/>
              <a:ext cx="0" cy="35202"/>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FA840B3C-1685-0CF6-B547-EBB2FB8E682A}"/>
                </a:ext>
              </a:extLst>
            </p:cNvPr>
            <p:cNvCxnSpPr>
              <a:cxnSpLocks/>
            </p:cNvCxnSpPr>
            <p:nvPr/>
          </p:nvCxnSpPr>
          <p:spPr>
            <a:xfrm>
              <a:off x="9479612" y="3315404"/>
              <a:ext cx="0" cy="35202"/>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B94EE535-A559-DACB-AEC4-BEC18AA5DD04}"/>
                </a:ext>
              </a:extLst>
            </p:cNvPr>
            <p:cNvCxnSpPr>
              <a:cxnSpLocks/>
            </p:cNvCxnSpPr>
            <p:nvPr/>
          </p:nvCxnSpPr>
          <p:spPr>
            <a:xfrm>
              <a:off x="9691762" y="3315404"/>
              <a:ext cx="0" cy="35202"/>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96FC2DAC-2578-F505-F5C2-07C15C019503}"/>
                </a:ext>
              </a:extLst>
            </p:cNvPr>
            <p:cNvCxnSpPr>
              <a:cxnSpLocks/>
            </p:cNvCxnSpPr>
            <p:nvPr/>
          </p:nvCxnSpPr>
          <p:spPr>
            <a:xfrm>
              <a:off x="9903912" y="3315404"/>
              <a:ext cx="0" cy="35202"/>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E718A6CE-6E07-E30E-FF9A-7551F7C9F0ED}"/>
                </a:ext>
              </a:extLst>
            </p:cNvPr>
            <p:cNvCxnSpPr>
              <a:cxnSpLocks/>
            </p:cNvCxnSpPr>
            <p:nvPr/>
          </p:nvCxnSpPr>
          <p:spPr>
            <a:xfrm>
              <a:off x="10116062" y="3315404"/>
              <a:ext cx="0" cy="35202"/>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A373CCA1-381C-9EE8-1BFB-6064A115F94A}"/>
                </a:ext>
              </a:extLst>
            </p:cNvPr>
            <p:cNvCxnSpPr>
              <a:cxnSpLocks/>
            </p:cNvCxnSpPr>
            <p:nvPr/>
          </p:nvCxnSpPr>
          <p:spPr>
            <a:xfrm>
              <a:off x="10328212" y="3315404"/>
              <a:ext cx="0" cy="35202"/>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45" name="TextBox 144">
              <a:extLst>
                <a:ext uri="{FF2B5EF4-FFF2-40B4-BE49-F238E27FC236}">
                  <a16:creationId xmlns:a16="http://schemas.microsoft.com/office/drawing/2014/main" id="{78856D93-1917-7501-176D-E7654C99F52D}"/>
                </a:ext>
              </a:extLst>
            </p:cNvPr>
            <p:cNvSpPr txBox="1"/>
            <p:nvPr/>
          </p:nvSpPr>
          <p:spPr>
            <a:xfrm>
              <a:off x="10153654" y="3309813"/>
              <a:ext cx="343364" cy="207749"/>
            </a:xfrm>
            <a:prstGeom prst="rect">
              <a:avLst/>
            </a:prstGeom>
            <a:noFill/>
          </p:spPr>
          <p:txBody>
            <a:bodyPr wrap="none" rtlCol="0">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00</a:t>
              </a:r>
            </a:p>
          </p:txBody>
        </p:sp>
        <p:cxnSp>
          <p:nvCxnSpPr>
            <p:cNvPr id="146" name="Straight Connector 145">
              <a:extLst>
                <a:ext uri="{FF2B5EF4-FFF2-40B4-BE49-F238E27FC236}">
                  <a16:creationId xmlns:a16="http://schemas.microsoft.com/office/drawing/2014/main" id="{DCFE92E1-4D2D-4A54-C97E-CF3DA8F0C990}"/>
                </a:ext>
              </a:extLst>
            </p:cNvPr>
            <p:cNvCxnSpPr>
              <a:cxnSpLocks/>
            </p:cNvCxnSpPr>
            <p:nvPr/>
          </p:nvCxnSpPr>
          <p:spPr>
            <a:xfrm>
              <a:off x="2253524" y="4013756"/>
              <a:ext cx="983456" cy="0"/>
            </a:xfrm>
            <a:prstGeom prst="line">
              <a:avLst/>
            </a:prstGeom>
            <a:ln w="28575" cap="rnd">
              <a:solidFill>
                <a:schemeClr val="accent1"/>
              </a:solidFill>
            </a:ln>
          </p:spPr>
          <p:style>
            <a:lnRef idx="1">
              <a:srgbClr val="BE2BBB"/>
            </a:lnRef>
            <a:fillRef idx="0">
              <a:schemeClr val="accent1"/>
            </a:fillRef>
            <a:effectRef idx="0">
              <a:srgbClr val="000000"/>
            </a:effectRef>
            <a:fontRef idx="minor">
              <a:schemeClr val="lt1"/>
            </a:fontRef>
          </p:style>
        </p:cxnSp>
        <p:sp>
          <p:nvSpPr>
            <p:cNvPr id="147" name="Speech Bubble: Rectangle 890">
              <a:extLst>
                <a:ext uri="{FF2B5EF4-FFF2-40B4-BE49-F238E27FC236}">
                  <a16:creationId xmlns:a16="http://schemas.microsoft.com/office/drawing/2014/main" id="{181673C6-AFF6-237A-009D-FD40525482DF}"/>
                </a:ext>
              </a:extLst>
            </p:cNvPr>
            <p:cNvSpPr/>
            <p:nvPr/>
          </p:nvSpPr>
          <p:spPr>
            <a:xfrm>
              <a:off x="7207358" y="2027499"/>
              <a:ext cx="939600" cy="397595"/>
            </a:xfrm>
            <a:prstGeom prst="wedgeRectCallout">
              <a:avLst>
                <a:gd name="adj1" fmla="val -66"/>
                <a:gd name="adj2" fmla="val -6943"/>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54000" bIns="54000" rtlCol="0" anchor="ctr">
              <a:spAutoFit/>
            </a:bodyPr>
            <a:lstStyle/>
            <a:p>
              <a:pPr marL="0" marR="0" lvl="0" indent="0" algn="l" defTabSz="685800" rtl="0" eaLnBrk="1" fontAlgn="ctr"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NR</a:t>
              </a:r>
            </a:p>
            <a:p>
              <a:pPr marL="0" marR="0" lvl="0" indent="0" algn="l" defTabSz="685800" rtl="0" eaLnBrk="1" fontAlgn="ctr"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Median OS</a:t>
              </a:r>
              <a:endParaRPr kumimoji="0" lang="en-US" sz="675" b="0"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endParaRPr>
            </a:p>
          </p:txBody>
        </p:sp>
        <p:grpSp>
          <p:nvGrpSpPr>
            <p:cNvPr id="149" name="Group 148">
              <a:extLst>
                <a:ext uri="{FF2B5EF4-FFF2-40B4-BE49-F238E27FC236}">
                  <a16:creationId xmlns:a16="http://schemas.microsoft.com/office/drawing/2014/main" id="{88A02485-B88F-19ED-E051-3A64102F7624}"/>
                </a:ext>
              </a:extLst>
            </p:cNvPr>
            <p:cNvGrpSpPr/>
            <p:nvPr/>
          </p:nvGrpSpPr>
          <p:grpSpPr>
            <a:xfrm>
              <a:off x="5967461" y="1804190"/>
              <a:ext cx="2255819" cy="2373969"/>
              <a:chOff x="5565838" y="1695911"/>
              <a:chExt cx="3726410" cy="3582002"/>
            </a:xfrm>
          </p:grpSpPr>
          <p:cxnSp>
            <p:nvCxnSpPr>
              <p:cNvPr id="150" name="Straight Connector 149">
                <a:extLst>
                  <a:ext uri="{FF2B5EF4-FFF2-40B4-BE49-F238E27FC236}">
                    <a16:creationId xmlns:a16="http://schemas.microsoft.com/office/drawing/2014/main" id="{752ED09F-632E-75A7-729F-E76006955295}"/>
                  </a:ext>
                </a:extLst>
              </p:cNvPr>
              <p:cNvCxnSpPr>
                <a:cxnSpLocks/>
              </p:cNvCxnSpPr>
              <p:nvPr/>
            </p:nvCxnSpPr>
            <p:spPr>
              <a:xfrm>
                <a:off x="5977182" y="3210545"/>
                <a:ext cx="3057380" cy="0"/>
              </a:xfrm>
              <a:prstGeom prst="line">
                <a:avLst/>
              </a:prstGeom>
              <a:ln w="12700" cmpd="sng">
                <a:solidFill>
                  <a:schemeClr val="tx1">
                    <a:lumMod val="40000"/>
                    <a:lumOff val="60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151" name="TextBox 150">
                <a:extLst>
                  <a:ext uri="{FF2B5EF4-FFF2-40B4-BE49-F238E27FC236}">
                    <a16:creationId xmlns:a16="http://schemas.microsoft.com/office/drawing/2014/main" id="{ADAC0F7A-1A74-120E-87D8-A1234C395D6A}"/>
                  </a:ext>
                </a:extLst>
              </p:cNvPr>
              <p:cNvSpPr txBox="1"/>
              <p:nvPr/>
            </p:nvSpPr>
            <p:spPr>
              <a:xfrm>
                <a:off x="5565838" y="1695911"/>
                <a:ext cx="279089" cy="240743"/>
              </a:xfrm>
              <a:prstGeom prst="rect">
                <a:avLst/>
              </a:prstGeom>
              <a:noFill/>
            </p:spPr>
            <p:txBody>
              <a:bodyPr wrap="none" lIns="0" tIns="0" rIns="0" bIns="0" rtlCol="0" anchor="ctr">
                <a:noAutofit/>
              </a:bodyPr>
              <a:lstStyle/>
              <a:p>
                <a:pPr marL="0" marR="0" lvl="0" indent="0" algn="r" defTabSz="91437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100</a:t>
                </a:r>
              </a:p>
            </p:txBody>
          </p:sp>
          <p:sp>
            <p:nvSpPr>
              <p:cNvPr id="152" name="TextBox 151">
                <a:extLst>
                  <a:ext uri="{FF2B5EF4-FFF2-40B4-BE49-F238E27FC236}">
                    <a16:creationId xmlns:a16="http://schemas.microsoft.com/office/drawing/2014/main" id="{A92C4E5A-3F36-43CA-DE54-2DFBA027AE54}"/>
                  </a:ext>
                </a:extLst>
              </p:cNvPr>
              <p:cNvSpPr txBox="1"/>
              <p:nvPr/>
            </p:nvSpPr>
            <p:spPr>
              <a:xfrm>
                <a:off x="5671075" y="4466735"/>
                <a:ext cx="173852" cy="240743"/>
              </a:xfrm>
              <a:prstGeom prst="rect">
                <a:avLst/>
              </a:prstGeom>
              <a:noFill/>
            </p:spPr>
            <p:txBody>
              <a:bodyPr wrap="none" lIns="0" tIns="0" rIns="0" bIns="0" rtlCol="0" anchor="ctr">
                <a:noAutofit/>
              </a:bodyPr>
              <a:lstStyle/>
              <a:p>
                <a:pPr marL="0" marR="0" lvl="0" indent="0" algn="r" defTabSz="91437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0</a:t>
                </a:r>
              </a:p>
            </p:txBody>
          </p:sp>
          <p:sp>
            <p:nvSpPr>
              <p:cNvPr id="153" name="TextBox 152">
                <a:extLst>
                  <a:ext uri="{FF2B5EF4-FFF2-40B4-BE49-F238E27FC236}">
                    <a16:creationId xmlns:a16="http://schemas.microsoft.com/office/drawing/2014/main" id="{5B21AA42-3C3A-9636-25B3-09D7753F9D75}"/>
                  </a:ext>
                </a:extLst>
              </p:cNvPr>
              <p:cNvSpPr txBox="1"/>
              <p:nvPr/>
            </p:nvSpPr>
            <p:spPr>
              <a:xfrm>
                <a:off x="5618457" y="3912572"/>
                <a:ext cx="226471" cy="240743"/>
              </a:xfrm>
              <a:prstGeom prst="rect">
                <a:avLst/>
              </a:prstGeom>
              <a:noFill/>
            </p:spPr>
            <p:txBody>
              <a:bodyPr wrap="none" lIns="0" tIns="0" rIns="0" bIns="0" rtlCol="0" anchor="ctr">
                <a:noAutofit/>
              </a:bodyPr>
              <a:lstStyle/>
              <a:p>
                <a:pPr marL="0" marR="0" lvl="0" indent="0" algn="r" defTabSz="91437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20</a:t>
                </a:r>
              </a:p>
            </p:txBody>
          </p:sp>
          <p:sp>
            <p:nvSpPr>
              <p:cNvPr id="154" name="TextBox 153">
                <a:extLst>
                  <a:ext uri="{FF2B5EF4-FFF2-40B4-BE49-F238E27FC236}">
                    <a16:creationId xmlns:a16="http://schemas.microsoft.com/office/drawing/2014/main" id="{69A2F74D-6D99-DBE1-FBF7-D480DC1F2A1D}"/>
                  </a:ext>
                </a:extLst>
              </p:cNvPr>
              <p:cNvSpPr txBox="1"/>
              <p:nvPr/>
            </p:nvSpPr>
            <p:spPr>
              <a:xfrm>
                <a:off x="5618457" y="3358407"/>
                <a:ext cx="226471" cy="240743"/>
              </a:xfrm>
              <a:prstGeom prst="rect">
                <a:avLst/>
              </a:prstGeom>
              <a:noFill/>
            </p:spPr>
            <p:txBody>
              <a:bodyPr wrap="none" lIns="0" tIns="0" rIns="0" bIns="0" rtlCol="0" anchor="ctr">
                <a:noAutofit/>
              </a:bodyPr>
              <a:lstStyle/>
              <a:p>
                <a:pPr marL="0" marR="0" lvl="0" indent="0" algn="r" defTabSz="91437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40</a:t>
                </a:r>
              </a:p>
            </p:txBody>
          </p:sp>
          <p:sp>
            <p:nvSpPr>
              <p:cNvPr id="155" name="TextBox 154">
                <a:extLst>
                  <a:ext uri="{FF2B5EF4-FFF2-40B4-BE49-F238E27FC236}">
                    <a16:creationId xmlns:a16="http://schemas.microsoft.com/office/drawing/2014/main" id="{585E3AB5-74FC-6CBD-40F6-2484CE2F9B4D}"/>
                  </a:ext>
                </a:extLst>
              </p:cNvPr>
              <p:cNvSpPr txBox="1"/>
              <p:nvPr/>
            </p:nvSpPr>
            <p:spPr>
              <a:xfrm>
                <a:off x="5618457" y="2250076"/>
                <a:ext cx="226471" cy="240743"/>
              </a:xfrm>
              <a:prstGeom prst="rect">
                <a:avLst/>
              </a:prstGeom>
              <a:noFill/>
            </p:spPr>
            <p:txBody>
              <a:bodyPr wrap="none" lIns="0" tIns="0" rIns="0" bIns="0" rtlCol="0" anchor="ctr">
                <a:noAutofit/>
              </a:bodyPr>
              <a:lstStyle/>
              <a:p>
                <a:pPr marL="0" marR="0" lvl="0" indent="0" algn="r" defTabSz="91437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80</a:t>
                </a:r>
              </a:p>
            </p:txBody>
          </p:sp>
          <p:sp>
            <p:nvSpPr>
              <p:cNvPr id="156" name="TextBox 155">
                <a:extLst>
                  <a:ext uri="{FF2B5EF4-FFF2-40B4-BE49-F238E27FC236}">
                    <a16:creationId xmlns:a16="http://schemas.microsoft.com/office/drawing/2014/main" id="{02510E17-B8AA-808D-7D82-BCCF503E52F6}"/>
                  </a:ext>
                </a:extLst>
              </p:cNvPr>
              <p:cNvSpPr txBox="1"/>
              <p:nvPr/>
            </p:nvSpPr>
            <p:spPr>
              <a:xfrm>
                <a:off x="5618457" y="2804241"/>
                <a:ext cx="226471" cy="240743"/>
              </a:xfrm>
              <a:prstGeom prst="rect">
                <a:avLst/>
              </a:prstGeom>
              <a:noFill/>
            </p:spPr>
            <p:txBody>
              <a:bodyPr wrap="none" lIns="0" tIns="0" rIns="0" bIns="0" rtlCol="0" anchor="ctr">
                <a:noAutofit/>
              </a:bodyPr>
              <a:lstStyle/>
              <a:p>
                <a:pPr marL="0" marR="0" lvl="0" indent="0" algn="r" defTabSz="91437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60</a:t>
                </a:r>
              </a:p>
            </p:txBody>
          </p:sp>
          <p:sp>
            <p:nvSpPr>
              <p:cNvPr id="157" name="TextBox 156">
                <a:extLst>
                  <a:ext uri="{FF2B5EF4-FFF2-40B4-BE49-F238E27FC236}">
                    <a16:creationId xmlns:a16="http://schemas.microsoft.com/office/drawing/2014/main" id="{B974197A-CFED-3389-1EB3-91DC18DC133F}"/>
                  </a:ext>
                </a:extLst>
              </p:cNvPr>
              <p:cNvSpPr txBox="1"/>
              <p:nvPr/>
            </p:nvSpPr>
            <p:spPr>
              <a:xfrm>
                <a:off x="5870919" y="4894788"/>
                <a:ext cx="3232451" cy="383125"/>
              </a:xfrm>
              <a:prstGeom prst="rect">
                <a:avLst/>
              </a:prstGeom>
              <a:noFill/>
            </p:spPr>
            <p:txBody>
              <a:bodyPr wrap="square" rtlCol="0" anchor="ctr">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Time, months</a:t>
                </a:r>
              </a:p>
            </p:txBody>
          </p:sp>
          <p:sp>
            <p:nvSpPr>
              <p:cNvPr id="158" name="Freeform: Shape 30">
                <a:extLst>
                  <a:ext uri="{FF2B5EF4-FFF2-40B4-BE49-F238E27FC236}">
                    <a16:creationId xmlns:a16="http://schemas.microsoft.com/office/drawing/2014/main" id="{BC8756B9-9C80-ADF3-C0C9-BC3F7100BDF2}"/>
                  </a:ext>
                </a:extLst>
              </p:cNvPr>
              <p:cNvSpPr/>
              <p:nvPr/>
            </p:nvSpPr>
            <p:spPr>
              <a:xfrm>
                <a:off x="5959704" y="1818573"/>
                <a:ext cx="7981" cy="2783944"/>
              </a:xfrm>
              <a:custGeom>
                <a:avLst/>
                <a:gdLst>
                  <a:gd name="connsiteX0" fmla="*/ 0 w 12157"/>
                  <a:gd name="connsiteY0" fmla="*/ 0 h 3203210"/>
                  <a:gd name="connsiteX1" fmla="*/ 0 w 12157"/>
                  <a:gd name="connsiteY1" fmla="*/ 3203211 h 3203210"/>
                </a:gdLst>
                <a:ahLst/>
                <a:cxnLst>
                  <a:cxn ang="0">
                    <a:pos x="connsiteX0" y="connsiteY0"/>
                  </a:cxn>
                  <a:cxn ang="0">
                    <a:pos x="connsiteX1" y="connsiteY1"/>
                  </a:cxn>
                </a:cxnLst>
                <a:rect l="l" t="t" r="r" b="b"/>
                <a:pathLst>
                  <a:path w="12157" h="3203210">
                    <a:moveTo>
                      <a:pt x="0" y="0"/>
                    </a:moveTo>
                    <a:lnTo>
                      <a:pt x="0" y="3203211"/>
                    </a:lnTo>
                  </a:path>
                </a:pathLst>
              </a:custGeom>
              <a:ln w="19050" cap="sq">
                <a:solidFill>
                  <a:schemeClr val="tx1"/>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9" name="Freeform: Shape 32">
                <a:extLst>
                  <a:ext uri="{FF2B5EF4-FFF2-40B4-BE49-F238E27FC236}">
                    <a16:creationId xmlns:a16="http://schemas.microsoft.com/office/drawing/2014/main" id="{41FD5459-E635-F330-7728-CE48802BB41F}"/>
                  </a:ext>
                </a:extLst>
              </p:cNvPr>
              <p:cNvSpPr/>
              <p:nvPr/>
            </p:nvSpPr>
            <p:spPr>
              <a:xfrm>
                <a:off x="6474310" y="4602518"/>
                <a:ext cx="7981" cy="61179"/>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chemeClr val="tx1"/>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0" name="Freeform: Shape 34">
                <a:extLst>
                  <a:ext uri="{FF2B5EF4-FFF2-40B4-BE49-F238E27FC236}">
                    <a16:creationId xmlns:a16="http://schemas.microsoft.com/office/drawing/2014/main" id="{9FC2C93B-4858-E80C-1E22-1067EFC0E2B7}"/>
                  </a:ext>
                </a:extLst>
              </p:cNvPr>
              <p:cNvSpPr/>
              <p:nvPr/>
            </p:nvSpPr>
            <p:spPr>
              <a:xfrm>
                <a:off x="6979420" y="4602518"/>
                <a:ext cx="7981" cy="61179"/>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chemeClr val="tx1"/>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1" name="Freeform: Shape 36">
                <a:extLst>
                  <a:ext uri="{FF2B5EF4-FFF2-40B4-BE49-F238E27FC236}">
                    <a16:creationId xmlns:a16="http://schemas.microsoft.com/office/drawing/2014/main" id="{84CD9AF4-86A0-98F4-BBC0-0F30DF3C37DF}"/>
                  </a:ext>
                </a:extLst>
              </p:cNvPr>
              <p:cNvSpPr/>
              <p:nvPr/>
            </p:nvSpPr>
            <p:spPr>
              <a:xfrm>
                <a:off x="7484530" y="4602518"/>
                <a:ext cx="7981" cy="61179"/>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chemeClr val="tx1"/>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2" name="Freeform: Shape 38">
                <a:extLst>
                  <a:ext uri="{FF2B5EF4-FFF2-40B4-BE49-F238E27FC236}">
                    <a16:creationId xmlns:a16="http://schemas.microsoft.com/office/drawing/2014/main" id="{4B06FF3A-DC7A-C998-A0EB-F6EB601CEEE9}"/>
                  </a:ext>
                </a:extLst>
              </p:cNvPr>
              <p:cNvSpPr/>
              <p:nvPr/>
            </p:nvSpPr>
            <p:spPr>
              <a:xfrm>
                <a:off x="7989639" y="4602518"/>
                <a:ext cx="7981" cy="61179"/>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chemeClr val="tx1"/>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3" name="Freeform: Shape 45">
                <a:extLst>
                  <a:ext uri="{FF2B5EF4-FFF2-40B4-BE49-F238E27FC236}">
                    <a16:creationId xmlns:a16="http://schemas.microsoft.com/office/drawing/2014/main" id="{BF22285D-8991-9F66-1480-4B15AE215EC5}"/>
                  </a:ext>
                </a:extLst>
              </p:cNvPr>
              <p:cNvSpPr/>
              <p:nvPr/>
            </p:nvSpPr>
            <p:spPr>
              <a:xfrm>
                <a:off x="5893927" y="4591952"/>
                <a:ext cx="55033" cy="10566"/>
              </a:xfrm>
              <a:custGeom>
                <a:avLst/>
                <a:gdLst>
                  <a:gd name="connsiteX0" fmla="*/ 70394 w 70393"/>
                  <a:gd name="connsiteY0" fmla="*/ 0 h 12157"/>
                  <a:gd name="connsiteX1" fmla="*/ 0 w 70393"/>
                  <a:gd name="connsiteY1" fmla="*/ 0 h 12157"/>
                </a:gdLst>
                <a:ahLst/>
                <a:cxnLst>
                  <a:cxn ang="0">
                    <a:pos x="connsiteX0" y="connsiteY0"/>
                  </a:cxn>
                  <a:cxn ang="0">
                    <a:pos x="connsiteX1" y="connsiteY1"/>
                  </a:cxn>
                </a:cxnLst>
                <a:rect l="l" t="t" r="r" b="b"/>
                <a:pathLst>
                  <a:path w="70393" h="12157">
                    <a:moveTo>
                      <a:pt x="70394" y="0"/>
                    </a:moveTo>
                    <a:lnTo>
                      <a:pt x="0" y="0"/>
                    </a:lnTo>
                  </a:path>
                </a:pathLst>
              </a:custGeom>
              <a:ln w="19050" cap="sq">
                <a:solidFill>
                  <a:schemeClr val="tx1"/>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4" name="Freeform: Shape 47">
                <a:extLst>
                  <a:ext uri="{FF2B5EF4-FFF2-40B4-BE49-F238E27FC236}">
                    <a16:creationId xmlns:a16="http://schemas.microsoft.com/office/drawing/2014/main" id="{11A5334B-B66D-0CE5-B6EB-4865F360445A}"/>
                  </a:ext>
                </a:extLst>
              </p:cNvPr>
              <p:cNvSpPr/>
              <p:nvPr/>
            </p:nvSpPr>
            <p:spPr>
              <a:xfrm>
                <a:off x="5893927" y="4037276"/>
                <a:ext cx="55033" cy="10566"/>
              </a:xfrm>
              <a:custGeom>
                <a:avLst/>
                <a:gdLst>
                  <a:gd name="connsiteX0" fmla="*/ 70394 w 70393"/>
                  <a:gd name="connsiteY0" fmla="*/ 0 h 12157"/>
                  <a:gd name="connsiteX1" fmla="*/ 0 w 70393"/>
                  <a:gd name="connsiteY1" fmla="*/ 0 h 12157"/>
                </a:gdLst>
                <a:ahLst/>
                <a:cxnLst>
                  <a:cxn ang="0">
                    <a:pos x="connsiteX0" y="connsiteY0"/>
                  </a:cxn>
                  <a:cxn ang="0">
                    <a:pos x="connsiteX1" y="connsiteY1"/>
                  </a:cxn>
                </a:cxnLst>
                <a:rect l="l" t="t" r="r" b="b"/>
                <a:pathLst>
                  <a:path w="70393" h="12157">
                    <a:moveTo>
                      <a:pt x="70394" y="0"/>
                    </a:moveTo>
                    <a:lnTo>
                      <a:pt x="0" y="0"/>
                    </a:lnTo>
                  </a:path>
                </a:pathLst>
              </a:custGeom>
              <a:ln w="19050" cap="sq">
                <a:solidFill>
                  <a:schemeClr val="tx1"/>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5" name="Freeform: Shape 49">
                <a:extLst>
                  <a:ext uri="{FF2B5EF4-FFF2-40B4-BE49-F238E27FC236}">
                    <a16:creationId xmlns:a16="http://schemas.microsoft.com/office/drawing/2014/main" id="{AB17BBF5-B19D-64A9-E189-1882FDC109B3}"/>
                  </a:ext>
                </a:extLst>
              </p:cNvPr>
              <p:cNvSpPr/>
              <p:nvPr/>
            </p:nvSpPr>
            <p:spPr>
              <a:xfrm>
                <a:off x="5893927" y="3482600"/>
                <a:ext cx="55033" cy="10566"/>
              </a:xfrm>
              <a:custGeom>
                <a:avLst/>
                <a:gdLst>
                  <a:gd name="connsiteX0" fmla="*/ 70394 w 70393"/>
                  <a:gd name="connsiteY0" fmla="*/ 0 h 12157"/>
                  <a:gd name="connsiteX1" fmla="*/ 0 w 70393"/>
                  <a:gd name="connsiteY1" fmla="*/ 0 h 12157"/>
                </a:gdLst>
                <a:ahLst/>
                <a:cxnLst>
                  <a:cxn ang="0">
                    <a:pos x="connsiteX0" y="connsiteY0"/>
                  </a:cxn>
                  <a:cxn ang="0">
                    <a:pos x="connsiteX1" y="connsiteY1"/>
                  </a:cxn>
                </a:cxnLst>
                <a:rect l="l" t="t" r="r" b="b"/>
                <a:pathLst>
                  <a:path w="70393" h="12157">
                    <a:moveTo>
                      <a:pt x="70394" y="0"/>
                    </a:moveTo>
                    <a:lnTo>
                      <a:pt x="0" y="0"/>
                    </a:lnTo>
                  </a:path>
                </a:pathLst>
              </a:custGeom>
              <a:ln w="19050" cap="sq">
                <a:solidFill>
                  <a:schemeClr val="tx1"/>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6" name="Freeform: Shape 51">
                <a:extLst>
                  <a:ext uri="{FF2B5EF4-FFF2-40B4-BE49-F238E27FC236}">
                    <a16:creationId xmlns:a16="http://schemas.microsoft.com/office/drawing/2014/main" id="{BAB44815-BC2C-C693-BB81-DE09E0DA4182}"/>
                  </a:ext>
                </a:extLst>
              </p:cNvPr>
              <p:cNvSpPr/>
              <p:nvPr/>
            </p:nvSpPr>
            <p:spPr>
              <a:xfrm>
                <a:off x="5893927" y="2927925"/>
                <a:ext cx="55033" cy="10566"/>
              </a:xfrm>
              <a:custGeom>
                <a:avLst/>
                <a:gdLst>
                  <a:gd name="connsiteX0" fmla="*/ 70394 w 70393"/>
                  <a:gd name="connsiteY0" fmla="*/ 0 h 12157"/>
                  <a:gd name="connsiteX1" fmla="*/ 0 w 70393"/>
                  <a:gd name="connsiteY1" fmla="*/ 0 h 12157"/>
                </a:gdLst>
                <a:ahLst/>
                <a:cxnLst>
                  <a:cxn ang="0">
                    <a:pos x="connsiteX0" y="connsiteY0"/>
                  </a:cxn>
                  <a:cxn ang="0">
                    <a:pos x="connsiteX1" y="connsiteY1"/>
                  </a:cxn>
                </a:cxnLst>
                <a:rect l="l" t="t" r="r" b="b"/>
                <a:pathLst>
                  <a:path w="70393" h="12157">
                    <a:moveTo>
                      <a:pt x="70394" y="0"/>
                    </a:moveTo>
                    <a:lnTo>
                      <a:pt x="0" y="0"/>
                    </a:lnTo>
                  </a:path>
                </a:pathLst>
              </a:custGeom>
              <a:ln w="19050" cap="sq">
                <a:solidFill>
                  <a:schemeClr val="tx1"/>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7" name="Freeform: Shape 53">
                <a:extLst>
                  <a:ext uri="{FF2B5EF4-FFF2-40B4-BE49-F238E27FC236}">
                    <a16:creationId xmlns:a16="http://schemas.microsoft.com/office/drawing/2014/main" id="{D87CC335-20FF-D5FF-EFFE-5A52ED11C4DA}"/>
                  </a:ext>
                </a:extLst>
              </p:cNvPr>
              <p:cNvSpPr/>
              <p:nvPr/>
            </p:nvSpPr>
            <p:spPr>
              <a:xfrm>
                <a:off x="5893927" y="2373249"/>
                <a:ext cx="55033" cy="10566"/>
              </a:xfrm>
              <a:custGeom>
                <a:avLst/>
                <a:gdLst>
                  <a:gd name="connsiteX0" fmla="*/ 70394 w 70393"/>
                  <a:gd name="connsiteY0" fmla="*/ 0 h 12157"/>
                  <a:gd name="connsiteX1" fmla="*/ 0 w 70393"/>
                  <a:gd name="connsiteY1" fmla="*/ 0 h 12157"/>
                </a:gdLst>
                <a:ahLst/>
                <a:cxnLst>
                  <a:cxn ang="0">
                    <a:pos x="connsiteX0" y="connsiteY0"/>
                  </a:cxn>
                  <a:cxn ang="0">
                    <a:pos x="connsiteX1" y="connsiteY1"/>
                  </a:cxn>
                </a:cxnLst>
                <a:rect l="l" t="t" r="r" b="b"/>
                <a:pathLst>
                  <a:path w="70393" h="12157">
                    <a:moveTo>
                      <a:pt x="70394" y="0"/>
                    </a:moveTo>
                    <a:lnTo>
                      <a:pt x="0" y="0"/>
                    </a:lnTo>
                  </a:path>
                </a:pathLst>
              </a:custGeom>
              <a:ln w="19050" cap="sq">
                <a:solidFill>
                  <a:schemeClr val="tx1"/>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8" name="Freeform: Shape 55">
                <a:extLst>
                  <a:ext uri="{FF2B5EF4-FFF2-40B4-BE49-F238E27FC236}">
                    <a16:creationId xmlns:a16="http://schemas.microsoft.com/office/drawing/2014/main" id="{574C3C2F-CC06-5224-5523-391895270CD0}"/>
                  </a:ext>
                </a:extLst>
              </p:cNvPr>
              <p:cNvSpPr/>
              <p:nvPr/>
            </p:nvSpPr>
            <p:spPr>
              <a:xfrm>
                <a:off x="5893927" y="1818573"/>
                <a:ext cx="55033" cy="10566"/>
              </a:xfrm>
              <a:custGeom>
                <a:avLst/>
                <a:gdLst>
                  <a:gd name="connsiteX0" fmla="*/ 70394 w 70393"/>
                  <a:gd name="connsiteY0" fmla="*/ 0 h 12157"/>
                  <a:gd name="connsiteX1" fmla="*/ 0 w 70393"/>
                  <a:gd name="connsiteY1" fmla="*/ 0 h 12157"/>
                </a:gdLst>
                <a:ahLst/>
                <a:cxnLst>
                  <a:cxn ang="0">
                    <a:pos x="connsiteX0" y="connsiteY0"/>
                  </a:cxn>
                  <a:cxn ang="0">
                    <a:pos x="connsiteX1" y="connsiteY1"/>
                  </a:cxn>
                </a:cxnLst>
                <a:rect l="l" t="t" r="r" b="b"/>
                <a:pathLst>
                  <a:path w="70393" h="12157">
                    <a:moveTo>
                      <a:pt x="70394" y="0"/>
                    </a:moveTo>
                    <a:lnTo>
                      <a:pt x="0" y="0"/>
                    </a:lnTo>
                  </a:path>
                </a:pathLst>
              </a:custGeom>
              <a:ln w="19050" cap="sq">
                <a:solidFill>
                  <a:schemeClr val="tx1"/>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0" name="Freeform: Shape 44">
                <a:extLst>
                  <a:ext uri="{FF2B5EF4-FFF2-40B4-BE49-F238E27FC236}">
                    <a16:creationId xmlns:a16="http://schemas.microsoft.com/office/drawing/2014/main" id="{1688EF91-0067-80B0-AC09-68FF2FA4F037}"/>
                  </a:ext>
                </a:extLst>
              </p:cNvPr>
              <p:cNvSpPr/>
              <p:nvPr/>
            </p:nvSpPr>
            <p:spPr>
              <a:xfrm>
                <a:off x="5959704" y="4602518"/>
                <a:ext cx="3332544" cy="0"/>
              </a:xfrm>
              <a:custGeom>
                <a:avLst/>
                <a:gdLst>
                  <a:gd name="connsiteX0" fmla="*/ 7181115 w 7181114"/>
                  <a:gd name="connsiteY0" fmla="*/ 0 h 12157"/>
                  <a:gd name="connsiteX1" fmla="*/ 0 w 7181114"/>
                  <a:gd name="connsiteY1" fmla="*/ 0 h 12157"/>
                </a:gdLst>
                <a:ahLst/>
                <a:cxnLst>
                  <a:cxn ang="0">
                    <a:pos x="connsiteX0" y="connsiteY0"/>
                  </a:cxn>
                  <a:cxn ang="0">
                    <a:pos x="connsiteX1" y="connsiteY1"/>
                  </a:cxn>
                </a:cxnLst>
                <a:rect l="l" t="t" r="r" b="b"/>
                <a:pathLst>
                  <a:path w="7181114" h="12157">
                    <a:moveTo>
                      <a:pt x="7181115" y="0"/>
                    </a:moveTo>
                    <a:lnTo>
                      <a:pt x="0" y="0"/>
                    </a:lnTo>
                  </a:path>
                </a:pathLst>
              </a:custGeom>
              <a:ln w="19050" cap="sq">
                <a:solidFill>
                  <a:schemeClr val="tx1"/>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1" name="TextBox 170">
                <a:extLst>
                  <a:ext uri="{FF2B5EF4-FFF2-40B4-BE49-F238E27FC236}">
                    <a16:creationId xmlns:a16="http://schemas.microsoft.com/office/drawing/2014/main" id="{B4A16D73-C81B-6999-489E-4D6EAE734F8E}"/>
                  </a:ext>
                </a:extLst>
              </p:cNvPr>
              <p:cNvSpPr txBox="1"/>
              <p:nvPr/>
            </p:nvSpPr>
            <p:spPr>
              <a:xfrm>
                <a:off x="5864561" y="4740460"/>
                <a:ext cx="206249" cy="157560"/>
              </a:xfrm>
              <a:prstGeom prst="rect">
                <a:avLst/>
              </a:prstGeom>
              <a:noFill/>
            </p:spPr>
            <p:txBody>
              <a:bodyPr wrap="none" lIns="0" tIns="0" rIns="0" bIns="0" rtlCol="0" anchor="ctr">
                <a:no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0</a:t>
                </a:r>
              </a:p>
            </p:txBody>
          </p:sp>
          <p:sp>
            <p:nvSpPr>
              <p:cNvPr id="172" name="Freeform: Shape 32">
                <a:extLst>
                  <a:ext uri="{FF2B5EF4-FFF2-40B4-BE49-F238E27FC236}">
                    <a16:creationId xmlns:a16="http://schemas.microsoft.com/office/drawing/2014/main" id="{8A6C4EDD-F140-C4EF-C521-C758C714477C}"/>
                  </a:ext>
                </a:extLst>
              </p:cNvPr>
              <p:cNvSpPr/>
              <p:nvPr/>
            </p:nvSpPr>
            <p:spPr>
              <a:xfrm>
                <a:off x="5969200" y="4602518"/>
                <a:ext cx="7981" cy="61179"/>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chemeClr val="tx1"/>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3" name="Freeform: Shape 38">
                <a:extLst>
                  <a:ext uri="{FF2B5EF4-FFF2-40B4-BE49-F238E27FC236}">
                    <a16:creationId xmlns:a16="http://schemas.microsoft.com/office/drawing/2014/main" id="{74DCA1A0-601D-2215-8C38-1C74380D971E}"/>
                  </a:ext>
                </a:extLst>
              </p:cNvPr>
              <p:cNvSpPr/>
              <p:nvPr/>
            </p:nvSpPr>
            <p:spPr>
              <a:xfrm>
                <a:off x="8999857" y="4602518"/>
                <a:ext cx="7981" cy="61179"/>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chemeClr val="tx1"/>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4" name="Freeform: Shape 38">
                <a:extLst>
                  <a:ext uri="{FF2B5EF4-FFF2-40B4-BE49-F238E27FC236}">
                    <a16:creationId xmlns:a16="http://schemas.microsoft.com/office/drawing/2014/main" id="{51611329-A698-0BC6-B361-70ED7D4E7E49}"/>
                  </a:ext>
                </a:extLst>
              </p:cNvPr>
              <p:cNvSpPr/>
              <p:nvPr/>
            </p:nvSpPr>
            <p:spPr>
              <a:xfrm>
                <a:off x="8494749" y="4602518"/>
                <a:ext cx="7981" cy="61179"/>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chemeClr val="tx1"/>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5" name="TextBox 174">
                <a:extLst>
                  <a:ext uri="{FF2B5EF4-FFF2-40B4-BE49-F238E27FC236}">
                    <a16:creationId xmlns:a16="http://schemas.microsoft.com/office/drawing/2014/main" id="{344F6FCF-0483-53FA-01C2-A0E6225E6801}"/>
                  </a:ext>
                </a:extLst>
              </p:cNvPr>
              <p:cNvSpPr txBox="1"/>
              <p:nvPr/>
            </p:nvSpPr>
            <p:spPr>
              <a:xfrm>
                <a:off x="6370755" y="4740460"/>
                <a:ext cx="206249" cy="157560"/>
              </a:xfrm>
              <a:prstGeom prst="rect">
                <a:avLst/>
              </a:prstGeom>
              <a:noFill/>
            </p:spPr>
            <p:txBody>
              <a:bodyPr wrap="none" lIns="0" tIns="0" rIns="0" bIns="0" rtlCol="0" anchor="ctr">
                <a:no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6</a:t>
                </a:r>
              </a:p>
            </p:txBody>
          </p:sp>
          <p:sp>
            <p:nvSpPr>
              <p:cNvPr id="176" name="TextBox 175">
                <a:extLst>
                  <a:ext uri="{FF2B5EF4-FFF2-40B4-BE49-F238E27FC236}">
                    <a16:creationId xmlns:a16="http://schemas.microsoft.com/office/drawing/2014/main" id="{B91235AE-E08D-179A-F6C4-F30DED4B9FCF}"/>
                  </a:ext>
                </a:extLst>
              </p:cNvPr>
              <p:cNvSpPr txBox="1"/>
              <p:nvPr/>
            </p:nvSpPr>
            <p:spPr>
              <a:xfrm>
                <a:off x="6876949" y="4740460"/>
                <a:ext cx="206249" cy="157560"/>
              </a:xfrm>
              <a:prstGeom prst="rect">
                <a:avLst/>
              </a:prstGeom>
              <a:noFill/>
            </p:spPr>
            <p:txBody>
              <a:bodyPr wrap="none" lIns="0" tIns="0" rIns="0" bIns="0" rtlCol="0" anchor="ctr">
                <a:no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12</a:t>
                </a:r>
              </a:p>
            </p:txBody>
          </p:sp>
          <p:sp>
            <p:nvSpPr>
              <p:cNvPr id="177" name="TextBox 176">
                <a:extLst>
                  <a:ext uri="{FF2B5EF4-FFF2-40B4-BE49-F238E27FC236}">
                    <a16:creationId xmlns:a16="http://schemas.microsoft.com/office/drawing/2014/main" id="{2B39E524-32A1-F902-9195-665F400F277F}"/>
                  </a:ext>
                </a:extLst>
              </p:cNvPr>
              <p:cNvSpPr txBox="1"/>
              <p:nvPr/>
            </p:nvSpPr>
            <p:spPr>
              <a:xfrm>
                <a:off x="7383143" y="4740460"/>
                <a:ext cx="206249" cy="157560"/>
              </a:xfrm>
              <a:prstGeom prst="rect">
                <a:avLst/>
              </a:prstGeom>
              <a:noFill/>
            </p:spPr>
            <p:txBody>
              <a:bodyPr wrap="none" lIns="0" tIns="0" rIns="0" bIns="0" rtlCol="0" anchor="ctr">
                <a:no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18</a:t>
                </a:r>
              </a:p>
            </p:txBody>
          </p:sp>
          <p:sp>
            <p:nvSpPr>
              <p:cNvPr id="178" name="TextBox 177">
                <a:extLst>
                  <a:ext uri="{FF2B5EF4-FFF2-40B4-BE49-F238E27FC236}">
                    <a16:creationId xmlns:a16="http://schemas.microsoft.com/office/drawing/2014/main" id="{50562AFF-87F2-41DA-D550-BBFC5FF9418F}"/>
                  </a:ext>
                </a:extLst>
              </p:cNvPr>
              <p:cNvSpPr txBox="1"/>
              <p:nvPr/>
            </p:nvSpPr>
            <p:spPr>
              <a:xfrm>
                <a:off x="7889338" y="4740460"/>
                <a:ext cx="206249" cy="157560"/>
              </a:xfrm>
              <a:prstGeom prst="rect">
                <a:avLst/>
              </a:prstGeom>
              <a:noFill/>
            </p:spPr>
            <p:txBody>
              <a:bodyPr wrap="none" lIns="0" tIns="0" rIns="0" bIns="0" rtlCol="0" anchor="ctr">
                <a:no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24</a:t>
                </a:r>
              </a:p>
            </p:txBody>
          </p:sp>
          <p:sp>
            <p:nvSpPr>
              <p:cNvPr id="179" name="TextBox 178">
                <a:extLst>
                  <a:ext uri="{FF2B5EF4-FFF2-40B4-BE49-F238E27FC236}">
                    <a16:creationId xmlns:a16="http://schemas.microsoft.com/office/drawing/2014/main" id="{3BC577A3-B63A-0D6D-A0B7-1720AE285E9E}"/>
                  </a:ext>
                </a:extLst>
              </p:cNvPr>
              <p:cNvSpPr txBox="1"/>
              <p:nvPr/>
            </p:nvSpPr>
            <p:spPr>
              <a:xfrm>
                <a:off x="8395532" y="4740460"/>
                <a:ext cx="206249" cy="157560"/>
              </a:xfrm>
              <a:prstGeom prst="rect">
                <a:avLst/>
              </a:prstGeom>
              <a:noFill/>
            </p:spPr>
            <p:txBody>
              <a:bodyPr wrap="none" lIns="0" tIns="0" rIns="0" bIns="0" rtlCol="0" anchor="ctr">
                <a:no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30</a:t>
                </a:r>
              </a:p>
            </p:txBody>
          </p:sp>
          <p:sp>
            <p:nvSpPr>
              <p:cNvPr id="180" name="TextBox 179">
                <a:extLst>
                  <a:ext uri="{FF2B5EF4-FFF2-40B4-BE49-F238E27FC236}">
                    <a16:creationId xmlns:a16="http://schemas.microsoft.com/office/drawing/2014/main" id="{C3BBE984-027C-22AF-84C6-0AF1658C1A05}"/>
                  </a:ext>
                </a:extLst>
              </p:cNvPr>
              <p:cNvSpPr txBox="1"/>
              <p:nvPr/>
            </p:nvSpPr>
            <p:spPr>
              <a:xfrm>
                <a:off x="8901728" y="4740460"/>
                <a:ext cx="206249" cy="157560"/>
              </a:xfrm>
              <a:prstGeom prst="rect">
                <a:avLst/>
              </a:prstGeom>
              <a:noFill/>
            </p:spPr>
            <p:txBody>
              <a:bodyPr wrap="none" lIns="0" tIns="0" rIns="0" bIns="0" rtlCol="0" anchor="ctr">
                <a:no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36</a:t>
                </a:r>
              </a:p>
            </p:txBody>
          </p:sp>
          <p:sp>
            <p:nvSpPr>
              <p:cNvPr id="181" name="Freeform: Shape 180">
                <a:extLst>
                  <a:ext uri="{FF2B5EF4-FFF2-40B4-BE49-F238E27FC236}">
                    <a16:creationId xmlns:a16="http://schemas.microsoft.com/office/drawing/2014/main" id="{8D57D00C-89E2-9156-CAB8-0F18066ECC8A}"/>
                  </a:ext>
                </a:extLst>
              </p:cNvPr>
              <p:cNvSpPr/>
              <p:nvPr/>
            </p:nvSpPr>
            <p:spPr>
              <a:xfrm>
                <a:off x="5979468" y="1812970"/>
                <a:ext cx="3304798" cy="1125521"/>
              </a:xfrm>
              <a:custGeom>
                <a:avLst/>
                <a:gdLst>
                  <a:gd name="connsiteX0" fmla="*/ 8325293 w 8325293"/>
                  <a:gd name="connsiteY0" fmla="*/ 898451 h 898451"/>
                  <a:gd name="connsiteX1" fmla="*/ 3599121 w 8325293"/>
                  <a:gd name="connsiteY1" fmla="*/ 898451 h 898451"/>
                  <a:gd name="connsiteX2" fmla="*/ 3599121 w 8325293"/>
                  <a:gd name="connsiteY2" fmla="*/ 861237 h 898451"/>
                  <a:gd name="connsiteX3" fmla="*/ 3583172 w 8325293"/>
                  <a:gd name="connsiteY3" fmla="*/ 861237 h 898451"/>
                  <a:gd name="connsiteX4" fmla="*/ 3583172 w 8325293"/>
                  <a:gd name="connsiteY4" fmla="*/ 829339 h 898451"/>
                  <a:gd name="connsiteX5" fmla="*/ 3381153 w 8325293"/>
                  <a:gd name="connsiteY5" fmla="*/ 829339 h 898451"/>
                  <a:gd name="connsiteX6" fmla="*/ 3381153 w 8325293"/>
                  <a:gd name="connsiteY6" fmla="*/ 781493 h 898451"/>
                  <a:gd name="connsiteX7" fmla="*/ 2817628 w 8325293"/>
                  <a:gd name="connsiteY7" fmla="*/ 781493 h 898451"/>
                  <a:gd name="connsiteX8" fmla="*/ 2817628 w 8325293"/>
                  <a:gd name="connsiteY8" fmla="*/ 744279 h 898451"/>
                  <a:gd name="connsiteX9" fmla="*/ 2684721 w 8325293"/>
                  <a:gd name="connsiteY9" fmla="*/ 744279 h 898451"/>
                  <a:gd name="connsiteX10" fmla="*/ 2684721 w 8325293"/>
                  <a:gd name="connsiteY10" fmla="*/ 701749 h 898451"/>
                  <a:gd name="connsiteX11" fmla="*/ 2413591 w 8325293"/>
                  <a:gd name="connsiteY11" fmla="*/ 701749 h 898451"/>
                  <a:gd name="connsiteX12" fmla="*/ 2413591 w 8325293"/>
                  <a:gd name="connsiteY12" fmla="*/ 659219 h 898451"/>
                  <a:gd name="connsiteX13" fmla="*/ 2259419 w 8325293"/>
                  <a:gd name="connsiteY13" fmla="*/ 659219 h 898451"/>
                  <a:gd name="connsiteX14" fmla="*/ 2259419 w 8325293"/>
                  <a:gd name="connsiteY14" fmla="*/ 632637 h 898451"/>
                  <a:gd name="connsiteX15" fmla="*/ 2190307 w 8325293"/>
                  <a:gd name="connsiteY15" fmla="*/ 632637 h 898451"/>
                  <a:gd name="connsiteX16" fmla="*/ 2190307 w 8325293"/>
                  <a:gd name="connsiteY16" fmla="*/ 590107 h 898451"/>
                  <a:gd name="connsiteX17" fmla="*/ 2174358 w 8325293"/>
                  <a:gd name="connsiteY17" fmla="*/ 590107 h 898451"/>
                  <a:gd name="connsiteX18" fmla="*/ 2174358 w 8325293"/>
                  <a:gd name="connsiteY18" fmla="*/ 547577 h 898451"/>
                  <a:gd name="connsiteX19" fmla="*/ 1860698 w 8325293"/>
                  <a:gd name="connsiteY19" fmla="*/ 547577 h 898451"/>
                  <a:gd name="connsiteX20" fmla="*/ 1860698 w 8325293"/>
                  <a:gd name="connsiteY20" fmla="*/ 510363 h 898451"/>
                  <a:gd name="connsiteX21" fmla="*/ 1265274 w 8325293"/>
                  <a:gd name="connsiteY21" fmla="*/ 510363 h 898451"/>
                  <a:gd name="connsiteX22" fmla="*/ 1265274 w 8325293"/>
                  <a:gd name="connsiteY22" fmla="*/ 473149 h 898451"/>
                  <a:gd name="connsiteX23" fmla="*/ 1105786 w 8325293"/>
                  <a:gd name="connsiteY23" fmla="*/ 473149 h 898451"/>
                  <a:gd name="connsiteX24" fmla="*/ 1105786 w 8325293"/>
                  <a:gd name="connsiteY24" fmla="*/ 435935 h 898451"/>
                  <a:gd name="connsiteX25" fmla="*/ 1089837 w 8325293"/>
                  <a:gd name="connsiteY25" fmla="*/ 435935 h 898451"/>
                  <a:gd name="connsiteX26" fmla="*/ 1089837 w 8325293"/>
                  <a:gd name="connsiteY26" fmla="*/ 409353 h 898451"/>
                  <a:gd name="connsiteX27" fmla="*/ 1004777 w 8325293"/>
                  <a:gd name="connsiteY27" fmla="*/ 409353 h 898451"/>
                  <a:gd name="connsiteX28" fmla="*/ 1004777 w 8325293"/>
                  <a:gd name="connsiteY28" fmla="*/ 361507 h 898451"/>
                  <a:gd name="connsiteX29" fmla="*/ 988828 w 8325293"/>
                  <a:gd name="connsiteY29" fmla="*/ 361507 h 898451"/>
                  <a:gd name="connsiteX30" fmla="*/ 988828 w 8325293"/>
                  <a:gd name="connsiteY30" fmla="*/ 324293 h 898451"/>
                  <a:gd name="connsiteX31" fmla="*/ 898451 w 8325293"/>
                  <a:gd name="connsiteY31" fmla="*/ 324293 h 898451"/>
                  <a:gd name="connsiteX32" fmla="*/ 898451 w 8325293"/>
                  <a:gd name="connsiteY32" fmla="*/ 292395 h 898451"/>
                  <a:gd name="connsiteX33" fmla="*/ 781493 w 8325293"/>
                  <a:gd name="connsiteY33" fmla="*/ 292395 h 898451"/>
                  <a:gd name="connsiteX34" fmla="*/ 781493 w 8325293"/>
                  <a:gd name="connsiteY34" fmla="*/ 249865 h 898451"/>
                  <a:gd name="connsiteX35" fmla="*/ 696433 w 8325293"/>
                  <a:gd name="connsiteY35" fmla="*/ 249865 h 898451"/>
                  <a:gd name="connsiteX36" fmla="*/ 696433 w 8325293"/>
                  <a:gd name="connsiteY36" fmla="*/ 217967 h 898451"/>
                  <a:gd name="connsiteX37" fmla="*/ 552893 w 8325293"/>
                  <a:gd name="connsiteY37" fmla="*/ 217967 h 898451"/>
                  <a:gd name="connsiteX38" fmla="*/ 552893 w 8325293"/>
                  <a:gd name="connsiteY38" fmla="*/ 180753 h 898451"/>
                  <a:gd name="connsiteX39" fmla="*/ 425302 w 8325293"/>
                  <a:gd name="connsiteY39" fmla="*/ 180753 h 898451"/>
                  <a:gd name="connsiteX40" fmla="*/ 425302 w 8325293"/>
                  <a:gd name="connsiteY40" fmla="*/ 143539 h 898451"/>
                  <a:gd name="connsiteX41" fmla="*/ 404037 w 8325293"/>
                  <a:gd name="connsiteY41" fmla="*/ 143539 h 898451"/>
                  <a:gd name="connsiteX42" fmla="*/ 404037 w 8325293"/>
                  <a:gd name="connsiteY42" fmla="*/ 106326 h 898451"/>
                  <a:gd name="connsiteX43" fmla="*/ 340242 w 8325293"/>
                  <a:gd name="connsiteY43" fmla="*/ 106326 h 898451"/>
                  <a:gd name="connsiteX44" fmla="*/ 340242 w 8325293"/>
                  <a:gd name="connsiteY44" fmla="*/ 69112 h 898451"/>
                  <a:gd name="connsiteX45" fmla="*/ 303028 w 8325293"/>
                  <a:gd name="connsiteY45" fmla="*/ 69112 h 898451"/>
                  <a:gd name="connsiteX46" fmla="*/ 303028 w 8325293"/>
                  <a:gd name="connsiteY46" fmla="*/ 26581 h 898451"/>
                  <a:gd name="connsiteX47" fmla="*/ 244549 w 8325293"/>
                  <a:gd name="connsiteY47" fmla="*/ 26581 h 898451"/>
                  <a:gd name="connsiteX48" fmla="*/ 244549 w 8325293"/>
                  <a:gd name="connsiteY48" fmla="*/ 0 h 898451"/>
                  <a:gd name="connsiteX49" fmla="*/ 0 w 8325293"/>
                  <a:gd name="connsiteY49" fmla="*/ 0 h 898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8325293" h="898451">
                    <a:moveTo>
                      <a:pt x="8325293" y="898451"/>
                    </a:moveTo>
                    <a:lnTo>
                      <a:pt x="3599121" y="898451"/>
                    </a:lnTo>
                    <a:lnTo>
                      <a:pt x="3599121" y="861237"/>
                    </a:lnTo>
                    <a:lnTo>
                      <a:pt x="3583172" y="861237"/>
                    </a:lnTo>
                    <a:lnTo>
                      <a:pt x="3583172" y="829339"/>
                    </a:lnTo>
                    <a:lnTo>
                      <a:pt x="3381153" y="829339"/>
                    </a:lnTo>
                    <a:lnTo>
                      <a:pt x="3381153" y="781493"/>
                    </a:lnTo>
                    <a:lnTo>
                      <a:pt x="2817628" y="781493"/>
                    </a:lnTo>
                    <a:lnTo>
                      <a:pt x="2817628" y="744279"/>
                    </a:lnTo>
                    <a:lnTo>
                      <a:pt x="2684721" y="744279"/>
                    </a:lnTo>
                    <a:lnTo>
                      <a:pt x="2684721" y="701749"/>
                    </a:lnTo>
                    <a:lnTo>
                      <a:pt x="2413591" y="701749"/>
                    </a:lnTo>
                    <a:lnTo>
                      <a:pt x="2413591" y="659219"/>
                    </a:lnTo>
                    <a:lnTo>
                      <a:pt x="2259419" y="659219"/>
                    </a:lnTo>
                    <a:lnTo>
                      <a:pt x="2259419" y="632637"/>
                    </a:lnTo>
                    <a:lnTo>
                      <a:pt x="2190307" y="632637"/>
                    </a:lnTo>
                    <a:lnTo>
                      <a:pt x="2190307" y="590107"/>
                    </a:lnTo>
                    <a:lnTo>
                      <a:pt x="2174358" y="590107"/>
                    </a:lnTo>
                    <a:lnTo>
                      <a:pt x="2174358" y="547577"/>
                    </a:lnTo>
                    <a:lnTo>
                      <a:pt x="1860698" y="547577"/>
                    </a:lnTo>
                    <a:lnTo>
                      <a:pt x="1860698" y="510363"/>
                    </a:lnTo>
                    <a:lnTo>
                      <a:pt x="1265274" y="510363"/>
                    </a:lnTo>
                    <a:lnTo>
                      <a:pt x="1265274" y="473149"/>
                    </a:lnTo>
                    <a:lnTo>
                      <a:pt x="1105786" y="473149"/>
                    </a:lnTo>
                    <a:lnTo>
                      <a:pt x="1105786" y="435935"/>
                    </a:lnTo>
                    <a:lnTo>
                      <a:pt x="1089837" y="435935"/>
                    </a:lnTo>
                    <a:lnTo>
                      <a:pt x="1089837" y="409353"/>
                    </a:lnTo>
                    <a:lnTo>
                      <a:pt x="1004777" y="409353"/>
                    </a:lnTo>
                    <a:lnTo>
                      <a:pt x="1004777" y="361507"/>
                    </a:lnTo>
                    <a:lnTo>
                      <a:pt x="988828" y="361507"/>
                    </a:lnTo>
                    <a:lnTo>
                      <a:pt x="988828" y="324293"/>
                    </a:lnTo>
                    <a:lnTo>
                      <a:pt x="898451" y="324293"/>
                    </a:lnTo>
                    <a:lnTo>
                      <a:pt x="898451" y="292395"/>
                    </a:lnTo>
                    <a:lnTo>
                      <a:pt x="781493" y="292395"/>
                    </a:lnTo>
                    <a:lnTo>
                      <a:pt x="781493" y="249865"/>
                    </a:lnTo>
                    <a:lnTo>
                      <a:pt x="696433" y="249865"/>
                    </a:lnTo>
                    <a:lnTo>
                      <a:pt x="696433" y="217967"/>
                    </a:lnTo>
                    <a:lnTo>
                      <a:pt x="552893" y="217967"/>
                    </a:lnTo>
                    <a:lnTo>
                      <a:pt x="552893" y="180753"/>
                    </a:lnTo>
                    <a:lnTo>
                      <a:pt x="425302" y="180753"/>
                    </a:lnTo>
                    <a:lnTo>
                      <a:pt x="425302" y="143539"/>
                    </a:lnTo>
                    <a:lnTo>
                      <a:pt x="404037" y="143539"/>
                    </a:lnTo>
                    <a:lnTo>
                      <a:pt x="404037" y="106326"/>
                    </a:lnTo>
                    <a:lnTo>
                      <a:pt x="340242" y="106326"/>
                    </a:lnTo>
                    <a:lnTo>
                      <a:pt x="340242" y="69112"/>
                    </a:lnTo>
                    <a:lnTo>
                      <a:pt x="303028" y="69112"/>
                    </a:lnTo>
                    <a:lnTo>
                      <a:pt x="303028" y="26581"/>
                    </a:lnTo>
                    <a:lnTo>
                      <a:pt x="244549" y="26581"/>
                    </a:lnTo>
                    <a:lnTo>
                      <a:pt x="244549" y="0"/>
                    </a:lnTo>
                    <a:lnTo>
                      <a:pt x="0" y="0"/>
                    </a:lnTo>
                  </a:path>
                </a:pathLst>
              </a:custGeom>
              <a:noFill/>
              <a:ln>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148" name="Speech Bubble: Rectangle 890">
              <a:extLst>
                <a:ext uri="{FF2B5EF4-FFF2-40B4-BE49-F238E27FC236}">
                  <a16:creationId xmlns:a16="http://schemas.microsoft.com/office/drawing/2014/main" id="{09CD9C05-2134-C92C-55A9-6F3D5F1CFC51}"/>
                </a:ext>
              </a:extLst>
            </p:cNvPr>
            <p:cNvSpPr/>
            <p:nvPr/>
          </p:nvSpPr>
          <p:spPr>
            <a:xfrm>
              <a:off x="6966248" y="2807819"/>
              <a:ext cx="939600" cy="397595"/>
            </a:xfrm>
            <a:prstGeom prst="wedgeRectCallout">
              <a:avLst>
                <a:gd name="adj1" fmla="val -35157"/>
                <a:gd name="adj2" fmla="val -85422"/>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54000" bIns="54000" rtlCol="0" anchor="ctr">
              <a:spAutoFit/>
            </a:bodyPr>
            <a:lstStyle/>
            <a:p>
              <a:pPr marL="0" marR="0" lvl="0" indent="0" algn="l" defTabSz="685800" rtl="0" eaLnBrk="1" fontAlgn="ctr"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59%</a:t>
              </a:r>
            </a:p>
            <a:p>
              <a:pPr marL="0" marR="0" lvl="0" indent="0" algn="l" defTabSz="685800" rtl="0" eaLnBrk="1" fontAlgn="ctr"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18-mo OS rate</a:t>
              </a:r>
              <a:endParaRPr kumimoji="0" lang="en-US" sz="675" b="0"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endParaRPr>
            </a:p>
          </p:txBody>
        </p:sp>
        <p:sp>
          <p:nvSpPr>
            <p:cNvPr id="184" name="TextBox 183">
              <a:extLst>
                <a:ext uri="{FF2B5EF4-FFF2-40B4-BE49-F238E27FC236}">
                  <a16:creationId xmlns:a16="http://schemas.microsoft.com/office/drawing/2014/main" id="{7B262F58-3F14-86AD-0B5D-23D300356529}"/>
                </a:ext>
              </a:extLst>
            </p:cNvPr>
            <p:cNvSpPr txBox="1"/>
            <p:nvPr/>
          </p:nvSpPr>
          <p:spPr>
            <a:xfrm>
              <a:off x="1946500" y="1973782"/>
              <a:ext cx="1584683" cy="1649169"/>
            </a:xfrm>
            <a:prstGeom prst="rect">
              <a:avLst/>
            </a:prstGeom>
            <a:noFill/>
          </p:spPr>
          <p:txBody>
            <a:bodyPr wrap="square">
              <a:spAutoFit/>
            </a:bodyPr>
            <a:lstStyle/>
            <a:p>
              <a:pPr marL="0" marR="0" lvl="0" indent="0" algn="ctr" defTabSz="685800" rtl="0" eaLnBrk="1" fontAlgn="auto" latinLnBrk="0" hangingPunct="1">
                <a:lnSpc>
                  <a:spcPct val="100000"/>
                </a:lnSpc>
                <a:spcBef>
                  <a:spcPts val="375"/>
                </a:spcBef>
                <a:spcAft>
                  <a:spcPts val="0"/>
                </a:spcAft>
                <a:buClr>
                  <a:srgbClr val="C30F3B"/>
                </a:buClr>
                <a:buSzPct val="120000"/>
                <a:buFontTx/>
                <a:buNone/>
                <a:tabLst/>
                <a:defRPr/>
              </a:pPr>
              <a:r>
                <a:rPr kumimoji="0" lang="en-US" sz="1050" b="1" i="0" u="none" strike="noStrike" kern="1200" cap="none" spc="0" normalizeH="0" baseline="0" noProof="0" dirty="0" err="1">
                  <a:ln>
                    <a:noFill/>
                  </a:ln>
                  <a:solidFill>
                    <a:srgbClr val="4472C4"/>
                  </a:solidFill>
                  <a:effectLst/>
                  <a:uLnTx/>
                  <a:uFillTx/>
                  <a:latin typeface="Arial" panose="020B0604020202020204" pitchFamily="34" charset="0"/>
                  <a:ea typeface="+mn-ea"/>
                  <a:cs typeface="Arial" panose="020B0604020202020204" pitchFamily="34" charset="0"/>
                </a:rPr>
                <a:t>mFU</a:t>
              </a:r>
              <a:r>
                <a:rPr kumimoji="0" lang="en-US" sz="105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 24.3 months</a:t>
              </a:r>
            </a:p>
            <a:p>
              <a:pPr marL="0" marR="0" lvl="0" indent="0" algn="ctr" defTabSz="685800" rtl="0" eaLnBrk="1" fontAlgn="auto" latinLnBrk="0" hangingPunct="1">
                <a:lnSpc>
                  <a:spcPct val="100000"/>
                </a:lnSpc>
                <a:spcBef>
                  <a:spcPts val="375"/>
                </a:spcBef>
                <a:spcAft>
                  <a:spcPts val="0"/>
                </a:spcAft>
                <a:buClr>
                  <a:srgbClr val="C30F3B"/>
                </a:buClr>
                <a:buSzPct val="120000"/>
                <a:buFontTx/>
                <a:buNone/>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hase 2, single-arm analysis assessing </a:t>
              </a:r>
              <a:br>
                <a:rPr kumimoji="0" lang="en-US" sz="1050" b="0" i="0" u="none" strike="noStrike" kern="120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rPr>
              </a:br>
              <a:r>
                <a:rPr kumimoji="0" lang="en-US" sz="105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liso-cel</a:t>
              </a:r>
              <a:r>
                <a:rPr kumimoji="0" lang="en-US" sz="1050" b="0" i="0" u="none" strike="noStrike" kern="120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rPr>
                <a:t> </a:t>
              </a: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s 2L treatment in patients with R/R LBCL who were deemed ineligible for </a:t>
              </a:r>
              <a:r>
                <a:rPr kumimoji="0" lang="en-US" sz="105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SCT</a:t>
              </a:r>
              <a:r>
                <a:rPr kumimoji="0" lang="en-US" sz="1050" b="0" i="0" u="none" strike="noStrike" kern="1200" cap="none" spc="0" normalizeH="0" baseline="30000" noProof="0" dirty="0" err="1">
                  <a:ln>
                    <a:noFill/>
                  </a:ln>
                  <a:solidFill>
                    <a:prstClr val="black"/>
                  </a:solidFill>
                  <a:effectLst/>
                  <a:uLnTx/>
                  <a:uFillTx/>
                  <a:latin typeface="Arial" panose="020B0604020202020204" pitchFamily="34" charset="0"/>
                  <a:ea typeface="+mn-ea"/>
                  <a:cs typeface="Arial" panose="020B0604020202020204" pitchFamily="34" charset="0"/>
                </a:rPr>
                <a:t>a</a:t>
              </a: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N = 61)</a:t>
              </a:r>
              <a:r>
                <a:rPr kumimoji="0" lang="en-US" sz="105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1,2</a:t>
              </a:r>
            </a:p>
            <a:p>
              <a:pPr marL="0" marR="0" lvl="0" indent="0" algn="ctr" defTabSz="685800" rtl="0" eaLnBrk="1" fontAlgn="auto" latinLnBrk="0" hangingPunct="1">
                <a:lnSpc>
                  <a:spcPct val="100000"/>
                </a:lnSpc>
                <a:spcBef>
                  <a:spcPts val="375"/>
                </a:spcBef>
                <a:spcAft>
                  <a:spcPts val="0"/>
                </a:spcAft>
                <a:buClr>
                  <a:srgbClr val="C30F3B"/>
                </a:buClr>
                <a:buSzPct val="120000"/>
                <a:buFontTx/>
                <a:buNone/>
                <a:tabLst/>
                <a:defRPr/>
              </a:pPr>
              <a:endParaRPr kumimoji="0" lang="en-US" sz="1050" b="1" i="0" u="none" strike="noStrike" kern="1200" cap="none" spc="0" normalizeH="0" baseline="0" noProof="0" dirty="0">
                <a:ln>
                  <a:noFill/>
                </a:ln>
                <a:solidFill>
                  <a:srgbClr val="BE2BBB"/>
                </a:solidFill>
                <a:effectLst/>
                <a:uLnTx/>
                <a:uFillTx/>
                <a:latin typeface="Arial" panose="020B0604020202020204" pitchFamily="34" charset="0"/>
                <a:ea typeface="+mn-ea"/>
                <a:cs typeface="Arial" panose="020B0604020202020204" pitchFamily="34" charset="0"/>
              </a:endParaRPr>
            </a:p>
          </p:txBody>
        </p:sp>
        <p:sp>
          <p:nvSpPr>
            <p:cNvPr id="6" name="TextBox 5">
              <a:extLst>
                <a:ext uri="{FF2B5EF4-FFF2-40B4-BE49-F238E27FC236}">
                  <a16:creationId xmlns:a16="http://schemas.microsoft.com/office/drawing/2014/main" id="{F4B37EB0-7B90-3E82-10D7-0E69A60C8D70}"/>
                </a:ext>
              </a:extLst>
            </p:cNvPr>
            <p:cNvSpPr txBox="1"/>
            <p:nvPr/>
          </p:nvSpPr>
          <p:spPr>
            <a:xfrm>
              <a:off x="8489414" y="3560088"/>
              <a:ext cx="1954568" cy="253916"/>
            </a:xfrm>
            <a:prstGeom prst="rect">
              <a:avLst/>
            </a:prstGeom>
            <a:noFill/>
          </p:spPr>
          <p:txBody>
            <a:bodyPr wrap="square" rtlCol="0">
              <a:spAutoFit/>
            </a:bodyPr>
            <a:lstStyle/>
            <a:p>
              <a:pPr marL="0" marR="0" lvl="0" indent="0" algn="l" defTabSz="3429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aths due to infection: </a:t>
              </a:r>
              <a:r>
                <a:rPr kumimoji="0" lang="en-US" sz="105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2%</a:t>
              </a:r>
            </a:p>
          </p:txBody>
        </p:sp>
        <p:sp>
          <p:nvSpPr>
            <p:cNvPr id="2" name="TextBox 1">
              <a:extLst>
                <a:ext uri="{FF2B5EF4-FFF2-40B4-BE49-F238E27FC236}">
                  <a16:creationId xmlns:a16="http://schemas.microsoft.com/office/drawing/2014/main" id="{EA9CA3B1-57B7-1E53-AB4C-4DC0C4ED7867}"/>
                </a:ext>
              </a:extLst>
            </p:cNvPr>
            <p:cNvSpPr txBox="1"/>
            <p:nvPr/>
          </p:nvSpPr>
          <p:spPr>
            <a:xfrm rot="16200000">
              <a:off x="5624530" y="2706908"/>
              <a:ext cx="478310" cy="180557"/>
            </a:xfrm>
            <a:prstGeom prst="rect">
              <a:avLst/>
            </a:prstGeom>
            <a:noFill/>
          </p:spPr>
          <p:txBody>
            <a:bodyPr wrap="none" lIns="0" tIns="0" rIns="0" bIns="0" rtlCol="0" anchor="ctr">
              <a:noAutofit/>
            </a:bodyPr>
            <a:lstStyle/>
            <a:p>
              <a:pPr marL="0" marR="0" lvl="0" indent="0" algn="r" defTabSz="914378"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OS, %</a:t>
              </a:r>
            </a:p>
          </p:txBody>
        </p:sp>
      </p:grpSp>
    </p:spTree>
    <p:extLst>
      <p:ext uri="{BB962C8B-B14F-4D97-AF65-F5344CB8AC3E}">
        <p14:creationId xmlns:p14="http://schemas.microsoft.com/office/powerpoint/2010/main" val="6961085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8">
            <a:extLst>
              <a:ext uri="{FF2B5EF4-FFF2-40B4-BE49-F238E27FC236}">
                <a16:creationId xmlns:a16="http://schemas.microsoft.com/office/drawing/2014/main" id="{CBF4FD66-E8C8-CF03-177A-9681E7E1BE69}"/>
              </a:ext>
            </a:extLst>
          </p:cNvPr>
          <p:cNvSpPr>
            <a:spLocks noGrp="1"/>
          </p:cNvSpPr>
          <p:nvPr>
            <p:ph type="title"/>
          </p:nvPr>
        </p:nvSpPr>
        <p:spPr>
          <a:xfrm>
            <a:off x="743709" y="391519"/>
            <a:ext cx="10515600" cy="891107"/>
          </a:xfrm>
        </p:spPr>
        <p:txBody>
          <a:bodyPr>
            <a:noAutofit/>
          </a:bodyPr>
          <a:lstStyle/>
          <a:p>
            <a:pPr algn="ctr">
              <a:spcBef>
                <a:spcPts val="450"/>
              </a:spcBef>
              <a:spcAft>
                <a:spcPts val="450"/>
              </a:spcAft>
            </a:pPr>
            <a:r>
              <a:rPr lang="en-US" sz="3000" dirty="0">
                <a:latin typeface="Arial" panose="020B0604020202020204" pitchFamily="34" charset="0"/>
                <a:cs typeface="Arial" panose="020B0604020202020204" pitchFamily="34" charset="0"/>
              </a:rPr>
              <a:t>Logistics: CAR T cell therapy process</a:t>
            </a:r>
          </a:p>
        </p:txBody>
      </p:sp>
      <p:pic>
        <p:nvPicPr>
          <p:cNvPr id="78" name="Content Placeholder 77" descr="Bridge scene outline">
            <a:extLst>
              <a:ext uri="{FF2B5EF4-FFF2-40B4-BE49-F238E27FC236}">
                <a16:creationId xmlns:a16="http://schemas.microsoft.com/office/drawing/2014/main" id="{177A0C84-F163-C5A2-090E-036CC654DE81}"/>
              </a:ext>
            </a:extLst>
          </p:cNvPr>
          <p:cNvPicPr>
            <a:picLocks noGrp="1" noChangeAspect="1"/>
          </p:cNvPicPr>
          <p:nvPr>
            <p:ph sz="quarter" idx="14"/>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61057" y="5564982"/>
            <a:ext cx="82154" cy="82154"/>
          </a:xfrm>
        </p:spPr>
      </p:pic>
      <p:cxnSp>
        <p:nvCxnSpPr>
          <p:cNvPr id="5" name="Straight Connector 4">
            <a:extLst>
              <a:ext uri="{FF2B5EF4-FFF2-40B4-BE49-F238E27FC236}">
                <a16:creationId xmlns:a16="http://schemas.microsoft.com/office/drawing/2014/main" id="{51CC61D3-1C78-B639-D60B-97AE6316FFEE}"/>
              </a:ext>
            </a:extLst>
          </p:cNvPr>
          <p:cNvCxnSpPr>
            <a:cxnSpLocks/>
          </p:cNvCxnSpPr>
          <p:nvPr/>
        </p:nvCxnSpPr>
        <p:spPr>
          <a:xfrm flipV="1">
            <a:off x="2793051" y="3121305"/>
            <a:ext cx="6305363" cy="7146"/>
          </a:xfrm>
          <a:prstGeom prst="line">
            <a:avLst/>
          </a:prstGeom>
          <a:ln>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B5FE39D4-850C-ACFF-93F6-BA1C1959B2B5}"/>
              </a:ext>
            </a:extLst>
          </p:cNvPr>
          <p:cNvSpPr/>
          <p:nvPr/>
        </p:nvSpPr>
        <p:spPr>
          <a:xfrm>
            <a:off x="2958800" y="3128451"/>
            <a:ext cx="1843847" cy="1984611"/>
          </a:xfrm>
          <a:prstGeom prst="rect">
            <a:avLst/>
          </a:prstGeom>
          <a:solidFill>
            <a:schemeClr val="bg1">
              <a:lumMod val="95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 name="Rectangle 10">
            <a:extLst>
              <a:ext uri="{FF2B5EF4-FFF2-40B4-BE49-F238E27FC236}">
                <a16:creationId xmlns:a16="http://schemas.microsoft.com/office/drawing/2014/main" id="{B3C3D44B-FB7B-EB92-5CBA-CD52998CD4CE}"/>
              </a:ext>
            </a:extLst>
          </p:cNvPr>
          <p:cNvSpPr/>
          <p:nvPr/>
        </p:nvSpPr>
        <p:spPr>
          <a:xfrm>
            <a:off x="4989528" y="3128449"/>
            <a:ext cx="1969085" cy="1984610"/>
          </a:xfrm>
          <a:prstGeom prst="rect">
            <a:avLst/>
          </a:prstGeom>
          <a:solidFill>
            <a:schemeClr val="bg1">
              <a:lumMod val="95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2" name="Rectangle 11">
            <a:extLst>
              <a:ext uri="{FF2B5EF4-FFF2-40B4-BE49-F238E27FC236}">
                <a16:creationId xmlns:a16="http://schemas.microsoft.com/office/drawing/2014/main" id="{E6923CC3-284A-869E-94D4-8203AF633019}"/>
              </a:ext>
            </a:extLst>
          </p:cNvPr>
          <p:cNvSpPr/>
          <p:nvPr/>
        </p:nvSpPr>
        <p:spPr>
          <a:xfrm>
            <a:off x="7156447" y="3128452"/>
            <a:ext cx="1843847" cy="1984609"/>
          </a:xfrm>
          <a:prstGeom prst="rect">
            <a:avLst/>
          </a:prstGeom>
          <a:solidFill>
            <a:schemeClr val="bg1">
              <a:lumMod val="95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4" name="Flowchart: Delay 13">
            <a:extLst>
              <a:ext uri="{FF2B5EF4-FFF2-40B4-BE49-F238E27FC236}">
                <a16:creationId xmlns:a16="http://schemas.microsoft.com/office/drawing/2014/main" id="{E4932FA8-CE47-88EB-277B-1A2D0DC62428}"/>
              </a:ext>
            </a:extLst>
          </p:cNvPr>
          <p:cNvSpPr/>
          <p:nvPr/>
        </p:nvSpPr>
        <p:spPr>
          <a:xfrm rot="16200000">
            <a:off x="5504961" y="821435"/>
            <a:ext cx="891281" cy="3709121"/>
          </a:xfrm>
          <a:prstGeom prst="flowChartDelay">
            <a:avLst/>
          </a:prstGeom>
          <a:solidFill>
            <a:schemeClr val="accent1">
              <a:lumMod val="20000"/>
              <a:lumOff val="80000"/>
            </a:schemeClr>
          </a:solidFill>
          <a:ln>
            <a:noFill/>
          </a:ln>
        </p:spPr>
        <p:style>
          <a:lnRef idx="0">
            <a:schemeClr val="accent1"/>
          </a:lnRef>
          <a:fillRef idx="1">
            <a:schemeClr val="accent1"/>
          </a:fillRef>
          <a:effectRef idx="0">
            <a:srgbClr val="000000"/>
          </a:effectRef>
          <a:fontRef idx="minor">
            <a:schemeClr val="lt1"/>
          </a:fontRef>
        </p:style>
        <p:txBody>
          <a:bodyPr vert="vert" rtlCol="0" anchor="ct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0" name="TextBox 89">
            <a:extLst>
              <a:ext uri="{FF2B5EF4-FFF2-40B4-BE49-F238E27FC236}">
                <a16:creationId xmlns:a16="http://schemas.microsoft.com/office/drawing/2014/main" id="{9A5EE15F-11B4-45C1-C8E7-198B9D070137}"/>
              </a:ext>
            </a:extLst>
          </p:cNvPr>
          <p:cNvSpPr txBox="1"/>
          <p:nvPr/>
        </p:nvSpPr>
        <p:spPr>
          <a:xfrm>
            <a:off x="3050849" y="3438508"/>
            <a:ext cx="1816506" cy="250097"/>
          </a:xfrm>
          <a:prstGeom prst="rect">
            <a:avLst/>
          </a:prstGeom>
          <a:noFill/>
        </p:spPr>
        <p:txBody>
          <a:bodyPr wrap="square" lIns="0" tIns="0" rIns="0" bIns="0" rtlCol="0">
            <a:noAutofit/>
          </a:bodyPr>
          <a:lstStyle/>
          <a:p>
            <a:pPr marL="0" marR="0" lvl="0" indent="0" algn="ctr" defTabSz="342900" rtl="0" eaLnBrk="1" fontAlgn="base" latinLnBrk="0" hangingPunct="1">
              <a:lnSpc>
                <a:spcPct val="100000"/>
              </a:lnSpc>
              <a:spcBef>
                <a:spcPts val="900"/>
              </a:spcBef>
              <a:spcAft>
                <a:spcPct val="0"/>
              </a:spcAft>
              <a:buClrTx/>
              <a:buSzPct val="100000"/>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pheresis</a:t>
            </a:r>
            <a:r>
              <a:rPr kumimoji="0" lang="en-US" sz="1200" b="1"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1-3</a:t>
            </a:r>
            <a:endPar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1" name="TextBox 90">
            <a:extLst>
              <a:ext uri="{FF2B5EF4-FFF2-40B4-BE49-F238E27FC236}">
                <a16:creationId xmlns:a16="http://schemas.microsoft.com/office/drawing/2014/main" id="{FB8768CC-3089-FA76-9FC9-6B5B259712F5}"/>
              </a:ext>
            </a:extLst>
          </p:cNvPr>
          <p:cNvSpPr txBox="1"/>
          <p:nvPr/>
        </p:nvSpPr>
        <p:spPr>
          <a:xfrm>
            <a:off x="5333907" y="3438508"/>
            <a:ext cx="1195431" cy="250097"/>
          </a:xfrm>
          <a:prstGeom prst="rect">
            <a:avLst/>
          </a:prstGeom>
          <a:noFill/>
        </p:spPr>
        <p:txBody>
          <a:bodyPr wrap="square" lIns="0" tIns="0" rIns="0" bIns="0" rtlCol="0">
            <a:noAutofit/>
          </a:bodyPr>
          <a:lstStyle/>
          <a:p>
            <a:pPr marL="0" marR="0" lvl="0" indent="0" algn="ctr" defTabSz="342900" rtl="0" eaLnBrk="1" fontAlgn="base" latinLnBrk="0" hangingPunct="1">
              <a:lnSpc>
                <a:spcPct val="100000"/>
              </a:lnSpc>
              <a:spcBef>
                <a:spcPts val="900"/>
              </a:spcBef>
              <a:spcAft>
                <a:spcPct val="0"/>
              </a:spcAft>
              <a:buClrTx/>
              <a:buSzPct val="100000"/>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ridging</a:t>
            </a:r>
            <a:r>
              <a:rPr kumimoji="0" lang="en-US" sz="1200" b="1"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1-3</a:t>
            </a:r>
            <a:endPar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2" name="TextBox 91">
            <a:extLst>
              <a:ext uri="{FF2B5EF4-FFF2-40B4-BE49-F238E27FC236}">
                <a16:creationId xmlns:a16="http://schemas.microsoft.com/office/drawing/2014/main" id="{60575000-43DE-A4B0-4B00-55B5DE24D714}"/>
              </a:ext>
            </a:extLst>
          </p:cNvPr>
          <p:cNvSpPr txBox="1"/>
          <p:nvPr/>
        </p:nvSpPr>
        <p:spPr>
          <a:xfrm>
            <a:off x="7278618" y="3372829"/>
            <a:ext cx="1543426" cy="250097"/>
          </a:xfrm>
          <a:prstGeom prst="rect">
            <a:avLst/>
          </a:prstGeom>
          <a:noFill/>
        </p:spPr>
        <p:txBody>
          <a:bodyPr wrap="square" lIns="0" tIns="0" rIns="0" bIns="0" rtlCol="0">
            <a:noAutofit/>
          </a:bodyPr>
          <a:lstStyle/>
          <a:p>
            <a:pPr marL="0" marR="0" lvl="0" indent="0" algn="ctr" defTabSz="342900" rtl="0" eaLnBrk="1" fontAlgn="base" latinLnBrk="0" hangingPunct="1">
              <a:lnSpc>
                <a:spcPct val="100000"/>
              </a:lnSpc>
              <a:spcBef>
                <a:spcPts val="900"/>
              </a:spcBef>
              <a:spcAft>
                <a:spcPct val="0"/>
              </a:spcAft>
              <a:buClrTx/>
              <a:buSzPct val="100000"/>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AR T infusion and management</a:t>
            </a:r>
            <a:r>
              <a:rPr kumimoji="0" lang="en-US" sz="1200" b="1"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1,2</a:t>
            </a:r>
            <a:endPar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7" name="TextBox 96">
            <a:extLst>
              <a:ext uri="{FF2B5EF4-FFF2-40B4-BE49-F238E27FC236}">
                <a16:creationId xmlns:a16="http://schemas.microsoft.com/office/drawing/2014/main" id="{8222D5CF-CD3B-0A46-05D9-9FD075CC92C9}"/>
              </a:ext>
            </a:extLst>
          </p:cNvPr>
          <p:cNvSpPr txBox="1"/>
          <p:nvPr/>
        </p:nvSpPr>
        <p:spPr>
          <a:xfrm>
            <a:off x="3021383" y="3782782"/>
            <a:ext cx="1781263" cy="1040276"/>
          </a:xfrm>
          <a:prstGeom prst="rect">
            <a:avLst/>
          </a:prstGeom>
          <a:noFill/>
        </p:spPr>
        <p:txBody>
          <a:bodyPr wrap="square" lIns="0" tIns="0" rIns="0" bIns="0" rtlCol="0">
            <a:noAutofit/>
          </a:bodyPr>
          <a:lstStyle/>
          <a:p>
            <a:pPr marL="0" marR="0" lvl="0" indent="0" algn="ctr" defTabSz="342900" rtl="0" eaLnBrk="1" fontAlgn="base" latinLnBrk="0" hangingPunct="1">
              <a:lnSpc>
                <a:spcPct val="100000"/>
              </a:lnSpc>
              <a:spcBef>
                <a:spcPct val="0"/>
              </a:spcBef>
              <a:spcAft>
                <a:spcPts val="225"/>
              </a:spcAft>
              <a:buClrTx/>
              <a:buSzPct val="100000"/>
              <a:buFontTx/>
              <a:buNone/>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ashout of prior medications</a:t>
            </a:r>
          </a:p>
          <a:p>
            <a:pPr marL="0" marR="0" lvl="0" indent="0" algn="ctr" defTabSz="342900" rtl="0" eaLnBrk="1" fontAlgn="base" latinLnBrk="0" hangingPunct="1">
              <a:lnSpc>
                <a:spcPct val="100000"/>
              </a:lnSpc>
              <a:spcBef>
                <a:spcPct val="0"/>
              </a:spcBef>
              <a:spcAft>
                <a:spcPts val="225"/>
              </a:spcAft>
              <a:buClrTx/>
              <a:buSzPct val="100000"/>
              <a:buFontTx/>
              <a:buNone/>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atients undergo apheresis (collection of WBCs)</a:t>
            </a:r>
          </a:p>
        </p:txBody>
      </p:sp>
      <p:sp>
        <p:nvSpPr>
          <p:cNvPr id="100" name="TextBox 99">
            <a:extLst>
              <a:ext uri="{FF2B5EF4-FFF2-40B4-BE49-F238E27FC236}">
                <a16:creationId xmlns:a16="http://schemas.microsoft.com/office/drawing/2014/main" id="{04D65732-644D-919A-1A72-0D48A8EB87FB}"/>
              </a:ext>
            </a:extLst>
          </p:cNvPr>
          <p:cNvSpPr txBox="1"/>
          <p:nvPr/>
        </p:nvSpPr>
        <p:spPr>
          <a:xfrm>
            <a:off x="5190146" y="3777156"/>
            <a:ext cx="1517582" cy="897029"/>
          </a:xfrm>
          <a:prstGeom prst="rect">
            <a:avLst/>
          </a:prstGeom>
          <a:noFill/>
        </p:spPr>
        <p:txBody>
          <a:bodyPr wrap="square" lIns="0" tIns="0" rIns="0" bIns="0" rtlCol="0">
            <a:noAutofit/>
          </a:bodyPr>
          <a:lstStyle/>
          <a:p>
            <a:pPr marL="0" marR="0" lvl="0" indent="0" algn="ctr" defTabSz="342900" rtl="0" eaLnBrk="1" fontAlgn="base" latinLnBrk="0" hangingPunct="1">
              <a:lnSpc>
                <a:spcPct val="100000"/>
              </a:lnSpc>
              <a:spcBef>
                <a:spcPct val="0"/>
              </a:spcBef>
              <a:spcAft>
                <a:spcPts val="225"/>
              </a:spcAft>
              <a:buClrTx/>
              <a:buSzPct val="100000"/>
              <a:buFontTx/>
              <a:buNone/>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ptional bridging therapy to maintain disease control during CAR T-cell manufacturing</a:t>
            </a:r>
          </a:p>
        </p:txBody>
      </p:sp>
      <p:sp>
        <p:nvSpPr>
          <p:cNvPr id="102" name="TextBox 101">
            <a:extLst>
              <a:ext uri="{FF2B5EF4-FFF2-40B4-BE49-F238E27FC236}">
                <a16:creationId xmlns:a16="http://schemas.microsoft.com/office/drawing/2014/main" id="{3C04D3D8-208D-01ED-FCF3-D6081FEA4830}"/>
              </a:ext>
            </a:extLst>
          </p:cNvPr>
          <p:cNvSpPr txBox="1"/>
          <p:nvPr/>
        </p:nvSpPr>
        <p:spPr>
          <a:xfrm>
            <a:off x="7265837" y="3799406"/>
            <a:ext cx="1573865" cy="782171"/>
          </a:xfrm>
          <a:prstGeom prst="rect">
            <a:avLst/>
          </a:prstGeom>
          <a:noFill/>
        </p:spPr>
        <p:txBody>
          <a:bodyPr wrap="square" lIns="0" tIns="0" rIns="0" bIns="0" rtlCol="0">
            <a:noAutofit/>
          </a:bodyPr>
          <a:lstStyle/>
          <a:p>
            <a:pPr marL="0" marR="0" lvl="0" indent="0" algn="ctr" defTabSz="342900" rtl="0" eaLnBrk="1" fontAlgn="base" latinLnBrk="0" hangingPunct="1">
              <a:lnSpc>
                <a:spcPct val="100000"/>
              </a:lnSpc>
              <a:spcBef>
                <a:spcPct val="0"/>
              </a:spcBef>
              <a:spcAft>
                <a:spcPts val="225"/>
              </a:spcAft>
              <a:buClrTx/>
              <a:buSzPct val="100000"/>
              <a:buFontTx/>
              <a:buNone/>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DC administered prior to CAR T-cell infusion followed by infusion at the certified treatment center</a:t>
            </a:r>
          </a:p>
        </p:txBody>
      </p:sp>
      <p:cxnSp>
        <p:nvCxnSpPr>
          <p:cNvPr id="145" name="Straight Connector 144">
            <a:extLst>
              <a:ext uri="{FF2B5EF4-FFF2-40B4-BE49-F238E27FC236}">
                <a16:creationId xmlns:a16="http://schemas.microsoft.com/office/drawing/2014/main" id="{7DCCEB15-59E2-D7E4-3C79-1A6E94B38344}"/>
              </a:ext>
            </a:extLst>
          </p:cNvPr>
          <p:cNvCxnSpPr>
            <a:cxnSpLocks/>
          </p:cNvCxnSpPr>
          <p:nvPr/>
        </p:nvCxnSpPr>
        <p:spPr>
          <a:xfrm>
            <a:off x="2793051" y="5113058"/>
            <a:ext cx="6326024" cy="0"/>
          </a:xfrm>
          <a:prstGeom prst="line">
            <a:avLst/>
          </a:prstGeom>
          <a:ln>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54" name="Group 153">
            <a:extLst>
              <a:ext uri="{FF2B5EF4-FFF2-40B4-BE49-F238E27FC236}">
                <a16:creationId xmlns:a16="http://schemas.microsoft.com/office/drawing/2014/main" id="{ABFA16A5-A153-EE67-1057-D9CAE5EBB057}"/>
              </a:ext>
            </a:extLst>
          </p:cNvPr>
          <p:cNvGrpSpPr/>
          <p:nvPr/>
        </p:nvGrpSpPr>
        <p:grpSpPr>
          <a:xfrm>
            <a:off x="3625624" y="2719379"/>
            <a:ext cx="653807" cy="585718"/>
            <a:chOff x="3702895" y="2271936"/>
            <a:chExt cx="679508" cy="627739"/>
          </a:xfrm>
        </p:grpSpPr>
        <p:sp>
          <p:nvSpPr>
            <p:cNvPr id="155" name="Rectangle: Rounded Corners 154">
              <a:extLst>
                <a:ext uri="{FF2B5EF4-FFF2-40B4-BE49-F238E27FC236}">
                  <a16:creationId xmlns:a16="http://schemas.microsoft.com/office/drawing/2014/main" id="{92590675-8FBF-742B-385E-11FE41828195}"/>
                </a:ext>
              </a:extLst>
            </p:cNvPr>
            <p:cNvSpPr/>
            <p:nvPr/>
          </p:nvSpPr>
          <p:spPr>
            <a:xfrm>
              <a:off x="3702895" y="2271936"/>
              <a:ext cx="679508" cy="627739"/>
            </a:xfrm>
            <a:prstGeom prst="roundRect">
              <a:avLst/>
            </a:prstGeom>
            <a:solidFill>
              <a:srgbClr val="595454"/>
            </a:solidFill>
            <a:ln>
              <a:noFill/>
            </a:ln>
            <a:effectLst/>
          </p:spPr>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156" name="Graphic 566">
              <a:extLst>
                <a:ext uri="{FF2B5EF4-FFF2-40B4-BE49-F238E27FC236}">
                  <a16:creationId xmlns:a16="http://schemas.microsoft.com/office/drawing/2014/main" id="{3EE46AFA-5E86-8301-A494-17B71971C082}"/>
                </a:ext>
              </a:extLst>
            </p:cNvPr>
            <p:cNvGrpSpPr/>
            <p:nvPr/>
          </p:nvGrpSpPr>
          <p:grpSpPr>
            <a:xfrm>
              <a:off x="3843447" y="2361056"/>
              <a:ext cx="416243" cy="473263"/>
              <a:chOff x="-7635151" y="2943705"/>
              <a:chExt cx="695325" cy="790575"/>
            </a:xfrm>
            <a:solidFill>
              <a:srgbClr val="FFFFFF"/>
            </a:solidFill>
          </p:grpSpPr>
          <p:sp>
            <p:nvSpPr>
              <p:cNvPr id="157" name="Freeform: Shape 156">
                <a:extLst>
                  <a:ext uri="{FF2B5EF4-FFF2-40B4-BE49-F238E27FC236}">
                    <a16:creationId xmlns:a16="http://schemas.microsoft.com/office/drawing/2014/main" id="{645EAE67-2DF7-86CD-4933-8DEA350D3B42}"/>
                  </a:ext>
                </a:extLst>
              </p:cNvPr>
              <p:cNvSpPr/>
              <p:nvPr/>
            </p:nvSpPr>
            <p:spPr>
              <a:xfrm>
                <a:off x="-7500905" y="3122014"/>
                <a:ext cx="447675" cy="495300"/>
              </a:xfrm>
              <a:custGeom>
                <a:avLst/>
                <a:gdLst>
                  <a:gd name="connsiteX0" fmla="*/ 324098 w 447675"/>
                  <a:gd name="connsiteY0" fmla="*/ 496253 h 495300"/>
                  <a:gd name="connsiteX1" fmla="*/ 310763 w 447675"/>
                  <a:gd name="connsiteY1" fmla="*/ 490538 h 495300"/>
                  <a:gd name="connsiteX2" fmla="*/ 4058 w 447675"/>
                  <a:gd name="connsiteY2" fmla="*/ 126683 h 495300"/>
                  <a:gd name="connsiteX3" fmla="*/ 248 w 447675"/>
                  <a:gd name="connsiteY3" fmla="*/ 113348 h 495300"/>
                  <a:gd name="connsiteX4" fmla="*/ 15488 w 447675"/>
                  <a:gd name="connsiteY4" fmla="*/ 14288 h 495300"/>
                  <a:gd name="connsiteX5" fmla="*/ 32633 w 447675"/>
                  <a:gd name="connsiteY5" fmla="*/ 0 h 495300"/>
                  <a:gd name="connsiteX6" fmla="*/ 132645 w 447675"/>
                  <a:gd name="connsiteY6" fmla="*/ 1905 h 495300"/>
                  <a:gd name="connsiteX7" fmla="*/ 145028 w 447675"/>
                  <a:gd name="connsiteY7" fmla="*/ 7620 h 495300"/>
                  <a:gd name="connsiteX8" fmla="*/ 451733 w 447675"/>
                  <a:gd name="connsiteY8" fmla="*/ 371475 h 495300"/>
                  <a:gd name="connsiteX9" fmla="*/ 455543 w 447675"/>
                  <a:gd name="connsiteY9" fmla="*/ 383858 h 495300"/>
                  <a:gd name="connsiteX10" fmla="*/ 449828 w 447675"/>
                  <a:gd name="connsiteY10" fmla="*/ 395288 h 495300"/>
                  <a:gd name="connsiteX11" fmla="*/ 335528 w 447675"/>
                  <a:gd name="connsiteY11" fmla="*/ 492443 h 495300"/>
                  <a:gd name="connsiteX12" fmla="*/ 324098 w 447675"/>
                  <a:gd name="connsiteY12" fmla="*/ 496253 h 495300"/>
                  <a:gd name="connsiteX13" fmla="*/ 20250 w 447675"/>
                  <a:gd name="connsiteY13" fmla="*/ 114300 h 495300"/>
                  <a:gd name="connsiteX14" fmla="*/ 324098 w 447675"/>
                  <a:gd name="connsiteY14" fmla="*/ 474345 h 495300"/>
                  <a:gd name="connsiteX15" fmla="*/ 433635 w 447675"/>
                  <a:gd name="connsiteY15" fmla="*/ 381953 h 495300"/>
                  <a:gd name="connsiteX16" fmla="*/ 129788 w 447675"/>
                  <a:gd name="connsiteY16" fmla="*/ 21908 h 495300"/>
                  <a:gd name="connsiteX17" fmla="*/ 34538 w 447675"/>
                  <a:gd name="connsiteY17" fmla="*/ 20003 h 495300"/>
                  <a:gd name="connsiteX18" fmla="*/ 20250 w 447675"/>
                  <a:gd name="connsiteY18" fmla="*/ 114300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47675" h="495300">
                    <a:moveTo>
                      <a:pt x="324098" y="496253"/>
                    </a:moveTo>
                    <a:cubicBezTo>
                      <a:pt x="319335" y="496253"/>
                      <a:pt x="314573" y="494348"/>
                      <a:pt x="310763" y="490538"/>
                    </a:cubicBezTo>
                    <a:lnTo>
                      <a:pt x="4058" y="126683"/>
                    </a:lnTo>
                    <a:cubicBezTo>
                      <a:pt x="1200" y="122873"/>
                      <a:pt x="-705" y="118110"/>
                      <a:pt x="248" y="113348"/>
                    </a:cubicBezTo>
                    <a:lnTo>
                      <a:pt x="15488" y="14288"/>
                    </a:lnTo>
                    <a:cubicBezTo>
                      <a:pt x="16440" y="5715"/>
                      <a:pt x="24060" y="0"/>
                      <a:pt x="32633" y="0"/>
                    </a:cubicBezTo>
                    <a:lnTo>
                      <a:pt x="132645" y="1905"/>
                    </a:lnTo>
                    <a:cubicBezTo>
                      <a:pt x="137408" y="1905"/>
                      <a:pt x="142170" y="3810"/>
                      <a:pt x="145028" y="7620"/>
                    </a:cubicBezTo>
                    <a:lnTo>
                      <a:pt x="451733" y="371475"/>
                    </a:lnTo>
                    <a:cubicBezTo>
                      <a:pt x="454590" y="375285"/>
                      <a:pt x="456495" y="379095"/>
                      <a:pt x="455543" y="383858"/>
                    </a:cubicBezTo>
                    <a:cubicBezTo>
                      <a:pt x="455543" y="388620"/>
                      <a:pt x="452685" y="392430"/>
                      <a:pt x="449828" y="395288"/>
                    </a:cubicBezTo>
                    <a:lnTo>
                      <a:pt x="335528" y="492443"/>
                    </a:lnTo>
                    <a:cubicBezTo>
                      <a:pt x="331718" y="494348"/>
                      <a:pt x="327908" y="496253"/>
                      <a:pt x="324098" y="496253"/>
                    </a:cubicBezTo>
                    <a:close/>
                    <a:moveTo>
                      <a:pt x="20250" y="114300"/>
                    </a:moveTo>
                    <a:lnTo>
                      <a:pt x="324098" y="474345"/>
                    </a:lnTo>
                    <a:lnTo>
                      <a:pt x="433635" y="381953"/>
                    </a:lnTo>
                    <a:lnTo>
                      <a:pt x="129788" y="21908"/>
                    </a:lnTo>
                    <a:lnTo>
                      <a:pt x="34538" y="20003"/>
                    </a:lnTo>
                    <a:lnTo>
                      <a:pt x="20250" y="114300"/>
                    </a:lnTo>
                    <a:close/>
                  </a:path>
                </a:pathLst>
              </a:custGeom>
              <a:grpFill/>
              <a:ln w="9525"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58" name="Freeform: Shape 157">
                <a:extLst>
                  <a:ext uri="{FF2B5EF4-FFF2-40B4-BE49-F238E27FC236}">
                    <a16:creationId xmlns:a16="http://schemas.microsoft.com/office/drawing/2014/main" id="{062738FE-2247-0D46-2FC1-620139711A1F}"/>
                  </a:ext>
                </a:extLst>
              </p:cNvPr>
              <p:cNvSpPr/>
              <p:nvPr/>
            </p:nvSpPr>
            <p:spPr>
              <a:xfrm>
                <a:off x="-7635151" y="2943705"/>
                <a:ext cx="142875" cy="161925"/>
              </a:xfrm>
              <a:custGeom>
                <a:avLst/>
                <a:gdLst>
                  <a:gd name="connsiteX0" fmla="*/ 131637 w 142875"/>
                  <a:gd name="connsiteY0" fmla="*/ 166879 h 161925"/>
                  <a:gd name="connsiteX1" fmla="*/ 122112 w 142875"/>
                  <a:gd name="connsiteY1" fmla="*/ 162117 h 161925"/>
                  <a:gd name="connsiteX2" fmla="*/ 3049 w 142875"/>
                  <a:gd name="connsiteY2" fmla="*/ 21147 h 161925"/>
                  <a:gd name="connsiteX3" fmla="*/ 4954 w 142875"/>
                  <a:gd name="connsiteY3" fmla="*/ 3049 h 161925"/>
                  <a:gd name="connsiteX4" fmla="*/ 23052 w 142875"/>
                  <a:gd name="connsiteY4" fmla="*/ 4954 h 161925"/>
                  <a:gd name="connsiteX5" fmla="*/ 142114 w 142875"/>
                  <a:gd name="connsiteY5" fmla="*/ 145924 h 161925"/>
                  <a:gd name="connsiteX6" fmla="*/ 140209 w 142875"/>
                  <a:gd name="connsiteY6" fmla="*/ 164022 h 161925"/>
                  <a:gd name="connsiteX7" fmla="*/ 131637 w 142875"/>
                  <a:gd name="connsiteY7" fmla="*/ 166879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875" h="161925">
                    <a:moveTo>
                      <a:pt x="131637" y="166879"/>
                    </a:moveTo>
                    <a:cubicBezTo>
                      <a:pt x="127827" y="166879"/>
                      <a:pt x="124017" y="164974"/>
                      <a:pt x="122112" y="162117"/>
                    </a:cubicBezTo>
                    <a:lnTo>
                      <a:pt x="3049" y="21147"/>
                    </a:lnTo>
                    <a:cubicBezTo>
                      <a:pt x="-1713" y="15432"/>
                      <a:pt x="-761" y="7812"/>
                      <a:pt x="4954" y="3049"/>
                    </a:cubicBezTo>
                    <a:cubicBezTo>
                      <a:pt x="10669" y="-1713"/>
                      <a:pt x="18289" y="-761"/>
                      <a:pt x="23052" y="4954"/>
                    </a:cubicBezTo>
                    <a:lnTo>
                      <a:pt x="142114" y="145924"/>
                    </a:lnTo>
                    <a:cubicBezTo>
                      <a:pt x="146877" y="151639"/>
                      <a:pt x="145924" y="159259"/>
                      <a:pt x="140209" y="164022"/>
                    </a:cubicBezTo>
                    <a:cubicBezTo>
                      <a:pt x="137352" y="165927"/>
                      <a:pt x="134494" y="166879"/>
                      <a:pt x="131637" y="166879"/>
                    </a:cubicBezTo>
                    <a:close/>
                  </a:path>
                </a:pathLst>
              </a:custGeom>
              <a:grpFill/>
              <a:ln w="9525"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59" name="Freeform: Shape 158">
                <a:extLst>
                  <a:ext uri="{FF2B5EF4-FFF2-40B4-BE49-F238E27FC236}">
                    <a16:creationId xmlns:a16="http://schemas.microsoft.com/office/drawing/2014/main" id="{1E4277B3-77EE-79A1-805F-BCD9E3C16DF6}"/>
                  </a:ext>
                </a:extLst>
              </p:cNvPr>
              <p:cNvSpPr/>
              <p:nvPr/>
            </p:nvSpPr>
            <p:spPr>
              <a:xfrm>
                <a:off x="-7215282" y="3469302"/>
                <a:ext cx="200025" cy="171450"/>
              </a:xfrm>
              <a:custGeom>
                <a:avLst/>
                <a:gdLst>
                  <a:gd name="connsiteX0" fmla="*/ 198495 w 200025"/>
                  <a:gd name="connsiteY0" fmla="*/ 27998 h 171450"/>
                  <a:gd name="connsiteX1" fmla="*/ 24188 w 200025"/>
                  <a:gd name="connsiteY1" fmla="*/ 174683 h 171450"/>
                  <a:gd name="connsiteX2" fmla="*/ 16568 w 200025"/>
                  <a:gd name="connsiteY2" fmla="*/ 173730 h 171450"/>
                  <a:gd name="connsiteX3" fmla="*/ 1328 w 200025"/>
                  <a:gd name="connsiteY3" fmla="*/ 155633 h 171450"/>
                  <a:gd name="connsiteX4" fmla="*/ 2280 w 200025"/>
                  <a:gd name="connsiteY4" fmla="*/ 148012 h 171450"/>
                  <a:gd name="connsiteX5" fmla="*/ 176588 w 200025"/>
                  <a:gd name="connsiteY5" fmla="*/ 1328 h 171450"/>
                  <a:gd name="connsiteX6" fmla="*/ 184208 w 200025"/>
                  <a:gd name="connsiteY6" fmla="*/ 2280 h 171450"/>
                  <a:gd name="connsiteX7" fmla="*/ 199448 w 200025"/>
                  <a:gd name="connsiteY7" fmla="*/ 20378 h 171450"/>
                  <a:gd name="connsiteX8" fmla="*/ 198495 w 200025"/>
                  <a:gd name="connsiteY8" fmla="*/ 27998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025" h="171450">
                    <a:moveTo>
                      <a:pt x="198495" y="27998"/>
                    </a:moveTo>
                    <a:lnTo>
                      <a:pt x="24188" y="174683"/>
                    </a:lnTo>
                    <a:cubicBezTo>
                      <a:pt x="22283" y="176587"/>
                      <a:pt x="18473" y="176587"/>
                      <a:pt x="16568" y="173730"/>
                    </a:cubicBezTo>
                    <a:lnTo>
                      <a:pt x="1328" y="155633"/>
                    </a:lnTo>
                    <a:cubicBezTo>
                      <a:pt x="-577" y="153728"/>
                      <a:pt x="-577" y="149918"/>
                      <a:pt x="2280" y="148012"/>
                    </a:cubicBezTo>
                    <a:lnTo>
                      <a:pt x="176588" y="1328"/>
                    </a:lnTo>
                    <a:cubicBezTo>
                      <a:pt x="178493" y="-577"/>
                      <a:pt x="182303" y="-577"/>
                      <a:pt x="184208" y="2280"/>
                    </a:cubicBezTo>
                    <a:lnTo>
                      <a:pt x="199448" y="20378"/>
                    </a:lnTo>
                    <a:cubicBezTo>
                      <a:pt x="200400" y="23235"/>
                      <a:pt x="200400" y="26093"/>
                      <a:pt x="198495" y="27998"/>
                    </a:cubicBezTo>
                    <a:close/>
                  </a:path>
                </a:pathLst>
              </a:custGeom>
              <a:grpFill/>
              <a:ln w="9525"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60" name="Freeform: Shape 159">
                <a:extLst>
                  <a:ext uri="{FF2B5EF4-FFF2-40B4-BE49-F238E27FC236}">
                    <a16:creationId xmlns:a16="http://schemas.microsoft.com/office/drawing/2014/main" id="{C1C9A858-9E67-210D-A548-7BE6718F8622}"/>
                  </a:ext>
                </a:extLst>
              </p:cNvPr>
              <p:cNvSpPr/>
              <p:nvPr/>
            </p:nvSpPr>
            <p:spPr>
              <a:xfrm>
                <a:off x="-7124240" y="3560344"/>
                <a:ext cx="180975" cy="171450"/>
              </a:xfrm>
              <a:custGeom>
                <a:avLst/>
                <a:gdLst>
                  <a:gd name="connsiteX0" fmla="*/ 116025 w 180975"/>
                  <a:gd name="connsiteY0" fmla="*/ 43635 h 171450"/>
                  <a:gd name="connsiteX1" fmla="*/ 81735 w 180975"/>
                  <a:gd name="connsiteY1" fmla="*/ 2678 h 171450"/>
                  <a:gd name="connsiteX2" fmla="*/ 71258 w 180975"/>
                  <a:gd name="connsiteY2" fmla="*/ 1725 h 171450"/>
                  <a:gd name="connsiteX3" fmla="*/ 2678 w 180975"/>
                  <a:gd name="connsiteY3" fmla="*/ 59828 h 171450"/>
                  <a:gd name="connsiteX4" fmla="*/ 1725 w 180975"/>
                  <a:gd name="connsiteY4" fmla="*/ 70305 h 171450"/>
                  <a:gd name="connsiteX5" fmla="*/ 36015 w 180975"/>
                  <a:gd name="connsiteY5" fmla="*/ 111263 h 171450"/>
                  <a:gd name="connsiteX6" fmla="*/ 35063 w 180975"/>
                  <a:gd name="connsiteY6" fmla="*/ 121740 h 171450"/>
                  <a:gd name="connsiteX7" fmla="*/ 9345 w 180975"/>
                  <a:gd name="connsiteY7" fmla="*/ 143648 h 171450"/>
                  <a:gd name="connsiteX8" fmla="*/ 8393 w 180975"/>
                  <a:gd name="connsiteY8" fmla="*/ 154125 h 171450"/>
                  <a:gd name="connsiteX9" fmla="*/ 28395 w 180975"/>
                  <a:gd name="connsiteY9" fmla="*/ 177938 h 171450"/>
                  <a:gd name="connsiteX10" fmla="*/ 38873 w 180975"/>
                  <a:gd name="connsiteY10" fmla="*/ 178890 h 171450"/>
                  <a:gd name="connsiteX11" fmla="*/ 181748 w 180975"/>
                  <a:gd name="connsiteY11" fmla="*/ 57923 h 171450"/>
                  <a:gd name="connsiteX12" fmla="*/ 182700 w 180975"/>
                  <a:gd name="connsiteY12" fmla="*/ 47445 h 171450"/>
                  <a:gd name="connsiteX13" fmla="*/ 162698 w 180975"/>
                  <a:gd name="connsiteY13" fmla="*/ 23633 h 171450"/>
                  <a:gd name="connsiteX14" fmla="*/ 152220 w 180975"/>
                  <a:gd name="connsiteY14" fmla="*/ 22680 h 171450"/>
                  <a:gd name="connsiteX15" fmla="*/ 126503 w 180975"/>
                  <a:gd name="connsiteY15" fmla="*/ 44588 h 171450"/>
                  <a:gd name="connsiteX16" fmla="*/ 116025 w 180975"/>
                  <a:gd name="connsiteY16" fmla="*/ 43635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0975" h="171450">
                    <a:moveTo>
                      <a:pt x="116025" y="43635"/>
                    </a:moveTo>
                    <a:lnTo>
                      <a:pt x="81735" y="2678"/>
                    </a:lnTo>
                    <a:cubicBezTo>
                      <a:pt x="78878" y="-180"/>
                      <a:pt x="74115" y="-1132"/>
                      <a:pt x="71258" y="1725"/>
                    </a:cubicBezTo>
                    <a:lnTo>
                      <a:pt x="2678" y="59828"/>
                    </a:lnTo>
                    <a:cubicBezTo>
                      <a:pt x="-180" y="62685"/>
                      <a:pt x="-1132" y="67448"/>
                      <a:pt x="1725" y="70305"/>
                    </a:cubicBezTo>
                    <a:lnTo>
                      <a:pt x="36015" y="111263"/>
                    </a:lnTo>
                    <a:cubicBezTo>
                      <a:pt x="38873" y="114120"/>
                      <a:pt x="37920" y="118883"/>
                      <a:pt x="35063" y="121740"/>
                    </a:cubicBezTo>
                    <a:lnTo>
                      <a:pt x="9345" y="143648"/>
                    </a:lnTo>
                    <a:cubicBezTo>
                      <a:pt x="6488" y="146505"/>
                      <a:pt x="5535" y="151268"/>
                      <a:pt x="8393" y="154125"/>
                    </a:cubicBezTo>
                    <a:lnTo>
                      <a:pt x="28395" y="177938"/>
                    </a:lnTo>
                    <a:cubicBezTo>
                      <a:pt x="31253" y="180795"/>
                      <a:pt x="36015" y="181748"/>
                      <a:pt x="38873" y="178890"/>
                    </a:cubicBezTo>
                    <a:lnTo>
                      <a:pt x="181748" y="57923"/>
                    </a:lnTo>
                    <a:cubicBezTo>
                      <a:pt x="184605" y="55065"/>
                      <a:pt x="185558" y="50303"/>
                      <a:pt x="182700" y="47445"/>
                    </a:cubicBezTo>
                    <a:lnTo>
                      <a:pt x="162698" y="23633"/>
                    </a:lnTo>
                    <a:cubicBezTo>
                      <a:pt x="159840" y="20775"/>
                      <a:pt x="155078" y="19823"/>
                      <a:pt x="152220" y="22680"/>
                    </a:cubicBezTo>
                    <a:lnTo>
                      <a:pt x="126503" y="44588"/>
                    </a:lnTo>
                    <a:cubicBezTo>
                      <a:pt x="123645" y="46493"/>
                      <a:pt x="118883" y="46493"/>
                      <a:pt x="116025" y="43635"/>
                    </a:cubicBezTo>
                    <a:close/>
                  </a:path>
                </a:pathLst>
              </a:custGeom>
              <a:grpFill/>
              <a:ln w="9525"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61" name="Freeform: Shape 160">
                <a:extLst>
                  <a:ext uri="{FF2B5EF4-FFF2-40B4-BE49-F238E27FC236}">
                    <a16:creationId xmlns:a16="http://schemas.microsoft.com/office/drawing/2014/main" id="{CC8CC511-550B-8186-9FEF-0616B8913B17}"/>
                  </a:ext>
                </a:extLst>
              </p:cNvPr>
              <p:cNvSpPr/>
              <p:nvPr/>
            </p:nvSpPr>
            <p:spPr>
              <a:xfrm>
                <a:off x="-7451647" y="3244367"/>
                <a:ext cx="57150" cy="47625"/>
              </a:xfrm>
              <a:custGeom>
                <a:avLst/>
                <a:gdLst>
                  <a:gd name="connsiteX0" fmla="*/ 10045 w 57150"/>
                  <a:gd name="connsiteY0" fmla="*/ 55765 h 47625"/>
                  <a:gd name="connsiteX1" fmla="*/ 2425 w 57150"/>
                  <a:gd name="connsiteY1" fmla="*/ 51955 h 47625"/>
                  <a:gd name="connsiteX2" fmla="*/ 3378 w 57150"/>
                  <a:gd name="connsiteY2" fmla="*/ 37668 h 47625"/>
                  <a:gd name="connsiteX3" fmla="*/ 45288 w 57150"/>
                  <a:gd name="connsiteY3" fmla="*/ 2425 h 47625"/>
                  <a:gd name="connsiteX4" fmla="*/ 59575 w 57150"/>
                  <a:gd name="connsiteY4" fmla="*/ 3378 h 47625"/>
                  <a:gd name="connsiteX5" fmla="*/ 58623 w 57150"/>
                  <a:gd name="connsiteY5" fmla="*/ 17665 h 47625"/>
                  <a:gd name="connsiteX6" fmla="*/ 16713 w 57150"/>
                  <a:gd name="connsiteY6" fmla="*/ 52908 h 47625"/>
                  <a:gd name="connsiteX7" fmla="*/ 10045 w 57150"/>
                  <a:gd name="connsiteY7" fmla="*/ 5576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50" h="47625">
                    <a:moveTo>
                      <a:pt x="10045" y="55765"/>
                    </a:moveTo>
                    <a:cubicBezTo>
                      <a:pt x="7188" y="55765"/>
                      <a:pt x="4330" y="54813"/>
                      <a:pt x="2425" y="51955"/>
                    </a:cubicBezTo>
                    <a:cubicBezTo>
                      <a:pt x="-1385" y="47193"/>
                      <a:pt x="-432" y="41478"/>
                      <a:pt x="3378" y="37668"/>
                    </a:cubicBezTo>
                    <a:lnTo>
                      <a:pt x="45288" y="2425"/>
                    </a:lnTo>
                    <a:cubicBezTo>
                      <a:pt x="50050" y="-1385"/>
                      <a:pt x="55765" y="-432"/>
                      <a:pt x="59575" y="3378"/>
                    </a:cubicBezTo>
                    <a:cubicBezTo>
                      <a:pt x="63385" y="8140"/>
                      <a:pt x="62433" y="13855"/>
                      <a:pt x="58623" y="17665"/>
                    </a:cubicBezTo>
                    <a:lnTo>
                      <a:pt x="16713" y="52908"/>
                    </a:lnTo>
                    <a:cubicBezTo>
                      <a:pt x="13855" y="54813"/>
                      <a:pt x="11950" y="55765"/>
                      <a:pt x="10045" y="55765"/>
                    </a:cubicBezTo>
                    <a:close/>
                  </a:path>
                </a:pathLst>
              </a:custGeom>
              <a:grpFill/>
              <a:ln w="9525"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62" name="Freeform: Shape 161">
                <a:extLst>
                  <a:ext uri="{FF2B5EF4-FFF2-40B4-BE49-F238E27FC236}">
                    <a16:creationId xmlns:a16="http://schemas.microsoft.com/office/drawing/2014/main" id="{598F3859-348D-CF5A-A765-0AE5B1FDC11D}"/>
                  </a:ext>
                </a:extLst>
              </p:cNvPr>
              <p:cNvSpPr/>
              <p:nvPr/>
            </p:nvSpPr>
            <p:spPr>
              <a:xfrm>
                <a:off x="-7419262" y="3283419"/>
                <a:ext cx="57150" cy="47625"/>
              </a:xfrm>
              <a:custGeom>
                <a:avLst/>
                <a:gdLst>
                  <a:gd name="connsiteX0" fmla="*/ 10045 w 57150"/>
                  <a:gd name="connsiteY0" fmla="*/ 55765 h 47625"/>
                  <a:gd name="connsiteX1" fmla="*/ 2425 w 57150"/>
                  <a:gd name="connsiteY1" fmla="*/ 51955 h 47625"/>
                  <a:gd name="connsiteX2" fmla="*/ 3378 w 57150"/>
                  <a:gd name="connsiteY2" fmla="*/ 37668 h 47625"/>
                  <a:gd name="connsiteX3" fmla="*/ 45288 w 57150"/>
                  <a:gd name="connsiteY3" fmla="*/ 2425 h 47625"/>
                  <a:gd name="connsiteX4" fmla="*/ 59575 w 57150"/>
                  <a:gd name="connsiteY4" fmla="*/ 3378 h 47625"/>
                  <a:gd name="connsiteX5" fmla="*/ 58623 w 57150"/>
                  <a:gd name="connsiteY5" fmla="*/ 17665 h 47625"/>
                  <a:gd name="connsiteX6" fmla="*/ 16713 w 57150"/>
                  <a:gd name="connsiteY6" fmla="*/ 52908 h 47625"/>
                  <a:gd name="connsiteX7" fmla="*/ 10045 w 57150"/>
                  <a:gd name="connsiteY7" fmla="*/ 5576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50" h="47625">
                    <a:moveTo>
                      <a:pt x="10045" y="55765"/>
                    </a:moveTo>
                    <a:cubicBezTo>
                      <a:pt x="7188" y="55765"/>
                      <a:pt x="4330" y="54813"/>
                      <a:pt x="2425" y="51955"/>
                    </a:cubicBezTo>
                    <a:cubicBezTo>
                      <a:pt x="-1385" y="47193"/>
                      <a:pt x="-432" y="41478"/>
                      <a:pt x="3378" y="37668"/>
                    </a:cubicBezTo>
                    <a:lnTo>
                      <a:pt x="45288" y="2425"/>
                    </a:lnTo>
                    <a:cubicBezTo>
                      <a:pt x="50050" y="-1385"/>
                      <a:pt x="55765" y="-432"/>
                      <a:pt x="59575" y="3378"/>
                    </a:cubicBezTo>
                    <a:cubicBezTo>
                      <a:pt x="63385" y="8140"/>
                      <a:pt x="62433" y="13855"/>
                      <a:pt x="58623" y="17665"/>
                    </a:cubicBezTo>
                    <a:lnTo>
                      <a:pt x="16713" y="52908"/>
                    </a:lnTo>
                    <a:cubicBezTo>
                      <a:pt x="14808" y="54813"/>
                      <a:pt x="12903" y="55765"/>
                      <a:pt x="10045" y="55765"/>
                    </a:cubicBezTo>
                    <a:close/>
                  </a:path>
                </a:pathLst>
              </a:custGeom>
              <a:grpFill/>
              <a:ln w="9525"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63" name="Freeform: Shape 162">
                <a:extLst>
                  <a:ext uri="{FF2B5EF4-FFF2-40B4-BE49-F238E27FC236}">
                    <a16:creationId xmlns:a16="http://schemas.microsoft.com/office/drawing/2014/main" id="{62EACF58-9889-1D3D-9A9B-870E03DD3FE6}"/>
                  </a:ext>
                </a:extLst>
              </p:cNvPr>
              <p:cNvSpPr/>
              <p:nvPr/>
            </p:nvSpPr>
            <p:spPr>
              <a:xfrm>
                <a:off x="-7385925" y="3322472"/>
                <a:ext cx="57150" cy="47625"/>
              </a:xfrm>
              <a:custGeom>
                <a:avLst/>
                <a:gdLst>
                  <a:gd name="connsiteX0" fmla="*/ 10045 w 57150"/>
                  <a:gd name="connsiteY0" fmla="*/ 55766 h 47625"/>
                  <a:gd name="connsiteX1" fmla="*/ 2425 w 57150"/>
                  <a:gd name="connsiteY1" fmla="*/ 51955 h 47625"/>
                  <a:gd name="connsiteX2" fmla="*/ 3378 w 57150"/>
                  <a:gd name="connsiteY2" fmla="*/ 37668 h 47625"/>
                  <a:gd name="connsiteX3" fmla="*/ 45288 w 57150"/>
                  <a:gd name="connsiteY3" fmla="*/ 2425 h 47625"/>
                  <a:gd name="connsiteX4" fmla="*/ 59575 w 57150"/>
                  <a:gd name="connsiteY4" fmla="*/ 3378 h 47625"/>
                  <a:gd name="connsiteX5" fmla="*/ 58623 w 57150"/>
                  <a:gd name="connsiteY5" fmla="*/ 17666 h 47625"/>
                  <a:gd name="connsiteX6" fmla="*/ 16713 w 57150"/>
                  <a:gd name="connsiteY6" fmla="*/ 52908 h 47625"/>
                  <a:gd name="connsiteX7" fmla="*/ 10045 w 57150"/>
                  <a:gd name="connsiteY7" fmla="*/ 5576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50" h="47625">
                    <a:moveTo>
                      <a:pt x="10045" y="55766"/>
                    </a:moveTo>
                    <a:cubicBezTo>
                      <a:pt x="7188" y="55766"/>
                      <a:pt x="4330" y="54813"/>
                      <a:pt x="2425" y="51955"/>
                    </a:cubicBezTo>
                    <a:cubicBezTo>
                      <a:pt x="-1385" y="47193"/>
                      <a:pt x="-432" y="41478"/>
                      <a:pt x="3378" y="37668"/>
                    </a:cubicBezTo>
                    <a:lnTo>
                      <a:pt x="45288" y="2425"/>
                    </a:lnTo>
                    <a:cubicBezTo>
                      <a:pt x="50050" y="-1384"/>
                      <a:pt x="55765" y="-432"/>
                      <a:pt x="59575" y="3378"/>
                    </a:cubicBezTo>
                    <a:cubicBezTo>
                      <a:pt x="63385" y="8141"/>
                      <a:pt x="62433" y="13855"/>
                      <a:pt x="58623" y="17666"/>
                    </a:cubicBezTo>
                    <a:lnTo>
                      <a:pt x="16713" y="52908"/>
                    </a:lnTo>
                    <a:cubicBezTo>
                      <a:pt x="14808" y="54813"/>
                      <a:pt x="11950" y="55766"/>
                      <a:pt x="10045" y="55766"/>
                    </a:cubicBezTo>
                    <a:close/>
                  </a:path>
                </a:pathLst>
              </a:custGeom>
              <a:grpFill/>
              <a:ln w="9525"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64" name="Freeform: Shape 163">
                <a:extLst>
                  <a:ext uri="{FF2B5EF4-FFF2-40B4-BE49-F238E27FC236}">
                    <a16:creationId xmlns:a16="http://schemas.microsoft.com/office/drawing/2014/main" id="{D4BFF4B3-2D56-F845-3F71-AF3296288ADA}"/>
                  </a:ext>
                </a:extLst>
              </p:cNvPr>
              <p:cNvSpPr/>
              <p:nvPr/>
            </p:nvSpPr>
            <p:spPr>
              <a:xfrm>
                <a:off x="-7352587" y="3361524"/>
                <a:ext cx="57150" cy="47625"/>
              </a:xfrm>
              <a:custGeom>
                <a:avLst/>
                <a:gdLst>
                  <a:gd name="connsiteX0" fmla="*/ 10045 w 57150"/>
                  <a:gd name="connsiteY0" fmla="*/ 55765 h 47625"/>
                  <a:gd name="connsiteX1" fmla="*/ 2425 w 57150"/>
                  <a:gd name="connsiteY1" fmla="*/ 51955 h 47625"/>
                  <a:gd name="connsiteX2" fmla="*/ 3378 w 57150"/>
                  <a:gd name="connsiteY2" fmla="*/ 37668 h 47625"/>
                  <a:gd name="connsiteX3" fmla="*/ 45288 w 57150"/>
                  <a:gd name="connsiteY3" fmla="*/ 2426 h 47625"/>
                  <a:gd name="connsiteX4" fmla="*/ 59575 w 57150"/>
                  <a:gd name="connsiteY4" fmla="*/ 3378 h 47625"/>
                  <a:gd name="connsiteX5" fmla="*/ 58623 w 57150"/>
                  <a:gd name="connsiteY5" fmla="*/ 17665 h 47625"/>
                  <a:gd name="connsiteX6" fmla="*/ 16713 w 57150"/>
                  <a:gd name="connsiteY6" fmla="*/ 52908 h 47625"/>
                  <a:gd name="connsiteX7" fmla="*/ 10045 w 57150"/>
                  <a:gd name="connsiteY7" fmla="*/ 5576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50" h="47625">
                    <a:moveTo>
                      <a:pt x="10045" y="55765"/>
                    </a:moveTo>
                    <a:cubicBezTo>
                      <a:pt x="7188" y="55765"/>
                      <a:pt x="4330" y="54813"/>
                      <a:pt x="2425" y="51955"/>
                    </a:cubicBezTo>
                    <a:cubicBezTo>
                      <a:pt x="-1385" y="47193"/>
                      <a:pt x="-432" y="41478"/>
                      <a:pt x="3378" y="37668"/>
                    </a:cubicBezTo>
                    <a:lnTo>
                      <a:pt x="45288" y="2426"/>
                    </a:lnTo>
                    <a:cubicBezTo>
                      <a:pt x="50050" y="-1385"/>
                      <a:pt x="55765" y="-432"/>
                      <a:pt x="59575" y="3378"/>
                    </a:cubicBezTo>
                    <a:cubicBezTo>
                      <a:pt x="63385" y="8140"/>
                      <a:pt x="62433" y="13855"/>
                      <a:pt x="58623" y="17665"/>
                    </a:cubicBezTo>
                    <a:lnTo>
                      <a:pt x="16713" y="52908"/>
                    </a:lnTo>
                    <a:cubicBezTo>
                      <a:pt x="13855" y="54813"/>
                      <a:pt x="11950" y="55765"/>
                      <a:pt x="10045" y="55765"/>
                    </a:cubicBezTo>
                    <a:close/>
                  </a:path>
                </a:pathLst>
              </a:custGeom>
              <a:grpFill/>
              <a:ln w="9525"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65" name="Freeform: Shape 164">
                <a:extLst>
                  <a:ext uri="{FF2B5EF4-FFF2-40B4-BE49-F238E27FC236}">
                    <a16:creationId xmlns:a16="http://schemas.microsoft.com/office/drawing/2014/main" id="{1A65894E-8E10-89CA-B879-9933CDA7E4C8}"/>
                  </a:ext>
                </a:extLst>
              </p:cNvPr>
              <p:cNvSpPr/>
              <p:nvPr/>
            </p:nvSpPr>
            <p:spPr>
              <a:xfrm>
                <a:off x="-7286865" y="3439629"/>
                <a:ext cx="57150" cy="47625"/>
              </a:xfrm>
              <a:custGeom>
                <a:avLst/>
                <a:gdLst>
                  <a:gd name="connsiteX0" fmla="*/ 10045 w 57150"/>
                  <a:gd name="connsiteY0" fmla="*/ 55765 h 47625"/>
                  <a:gd name="connsiteX1" fmla="*/ 2425 w 57150"/>
                  <a:gd name="connsiteY1" fmla="*/ 51955 h 47625"/>
                  <a:gd name="connsiteX2" fmla="*/ 3378 w 57150"/>
                  <a:gd name="connsiteY2" fmla="*/ 37668 h 47625"/>
                  <a:gd name="connsiteX3" fmla="*/ 45288 w 57150"/>
                  <a:gd name="connsiteY3" fmla="*/ 2425 h 47625"/>
                  <a:gd name="connsiteX4" fmla="*/ 59575 w 57150"/>
                  <a:gd name="connsiteY4" fmla="*/ 3378 h 47625"/>
                  <a:gd name="connsiteX5" fmla="*/ 58623 w 57150"/>
                  <a:gd name="connsiteY5" fmla="*/ 17665 h 47625"/>
                  <a:gd name="connsiteX6" fmla="*/ 16713 w 57150"/>
                  <a:gd name="connsiteY6" fmla="*/ 52908 h 47625"/>
                  <a:gd name="connsiteX7" fmla="*/ 10045 w 57150"/>
                  <a:gd name="connsiteY7" fmla="*/ 5576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50" h="47625">
                    <a:moveTo>
                      <a:pt x="10045" y="55765"/>
                    </a:moveTo>
                    <a:cubicBezTo>
                      <a:pt x="7188" y="55765"/>
                      <a:pt x="4330" y="54813"/>
                      <a:pt x="2425" y="51955"/>
                    </a:cubicBezTo>
                    <a:cubicBezTo>
                      <a:pt x="-1385" y="47193"/>
                      <a:pt x="-432" y="41478"/>
                      <a:pt x="3378" y="37668"/>
                    </a:cubicBezTo>
                    <a:lnTo>
                      <a:pt x="45288" y="2425"/>
                    </a:lnTo>
                    <a:cubicBezTo>
                      <a:pt x="50050" y="-1385"/>
                      <a:pt x="55765" y="-432"/>
                      <a:pt x="59575" y="3378"/>
                    </a:cubicBezTo>
                    <a:cubicBezTo>
                      <a:pt x="63385" y="8140"/>
                      <a:pt x="62433" y="13855"/>
                      <a:pt x="58623" y="17665"/>
                    </a:cubicBezTo>
                    <a:lnTo>
                      <a:pt x="16713" y="52908"/>
                    </a:lnTo>
                    <a:cubicBezTo>
                      <a:pt x="14808" y="55765"/>
                      <a:pt x="11950" y="55765"/>
                      <a:pt x="10045" y="55765"/>
                    </a:cubicBezTo>
                    <a:close/>
                  </a:path>
                </a:pathLst>
              </a:custGeom>
              <a:grpFill/>
              <a:ln w="9525"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66" name="Freeform: Shape 165">
                <a:extLst>
                  <a:ext uri="{FF2B5EF4-FFF2-40B4-BE49-F238E27FC236}">
                    <a16:creationId xmlns:a16="http://schemas.microsoft.com/office/drawing/2014/main" id="{E4ACF46B-57F8-2F1A-8647-06DB69D0A47E}"/>
                  </a:ext>
                </a:extLst>
              </p:cNvPr>
              <p:cNvSpPr/>
              <p:nvPr/>
            </p:nvSpPr>
            <p:spPr>
              <a:xfrm>
                <a:off x="-7253527" y="3478682"/>
                <a:ext cx="57150" cy="47625"/>
              </a:xfrm>
              <a:custGeom>
                <a:avLst/>
                <a:gdLst>
                  <a:gd name="connsiteX0" fmla="*/ 10045 w 57150"/>
                  <a:gd name="connsiteY0" fmla="*/ 55765 h 47625"/>
                  <a:gd name="connsiteX1" fmla="*/ 2425 w 57150"/>
                  <a:gd name="connsiteY1" fmla="*/ 51955 h 47625"/>
                  <a:gd name="connsiteX2" fmla="*/ 3378 w 57150"/>
                  <a:gd name="connsiteY2" fmla="*/ 37668 h 47625"/>
                  <a:gd name="connsiteX3" fmla="*/ 45288 w 57150"/>
                  <a:gd name="connsiteY3" fmla="*/ 2425 h 47625"/>
                  <a:gd name="connsiteX4" fmla="*/ 59575 w 57150"/>
                  <a:gd name="connsiteY4" fmla="*/ 3378 h 47625"/>
                  <a:gd name="connsiteX5" fmla="*/ 58623 w 57150"/>
                  <a:gd name="connsiteY5" fmla="*/ 17665 h 47625"/>
                  <a:gd name="connsiteX6" fmla="*/ 16713 w 57150"/>
                  <a:gd name="connsiteY6" fmla="*/ 52908 h 47625"/>
                  <a:gd name="connsiteX7" fmla="*/ 10045 w 57150"/>
                  <a:gd name="connsiteY7" fmla="*/ 5576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50" h="47625">
                    <a:moveTo>
                      <a:pt x="10045" y="55765"/>
                    </a:moveTo>
                    <a:cubicBezTo>
                      <a:pt x="7188" y="55765"/>
                      <a:pt x="4330" y="54813"/>
                      <a:pt x="2425" y="51955"/>
                    </a:cubicBezTo>
                    <a:cubicBezTo>
                      <a:pt x="-1385" y="47193"/>
                      <a:pt x="-432" y="41478"/>
                      <a:pt x="3378" y="37668"/>
                    </a:cubicBezTo>
                    <a:lnTo>
                      <a:pt x="45288" y="2425"/>
                    </a:lnTo>
                    <a:cubicBezTo>
                      <a:pt x="50050" y="-1385"/>
                      <a:pt x="55765" y="-432"/>
                      <a:pt x="59575" y="3378"/>
                    </a:cubicBezTo>
                    <a:cubicBezTo>
                      <a:pt x="63385" y="8140"/>
                      <a:pt x="62433" y="13855"/>
                      <a:pt x="58623" y="17665"/>
                    </a:cubicBezTo>
                    <a:lnTo>
                      <a:pt x="16713" y="52908"/>
                    </a:lnTo>
                    <a:cubicBezTo>
                      <a:pt x="14808" y="55765"/>
                      <a:pt x="11950" y="55765"/>
                      <a:pt x="10045" y="55765"/>
                    </a:cubicBezTo>
                    <a:close/>
                  </a:path>
                </a:pathLst>
              </a:custGeom>
              <a:grpFill/>
              <a:ln w="9525"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67" name="Freeform: Shape 166">
                <a:extLst>
                  <a:ext uri="{FF2B5EF4-FFF2-40B4-BE49-F238E27FC236}">
                    <a16:creationId xmlns:a16="http://schemas.microsoft.com/office/drawing/2014/main" id="{175FB1CA-BBC1-9F33-0544-E4B1A4F99E45}"/>
                  </a:ext>
                </a:extLst>
              </p:cNvPr>
              <p:cNvSpPr/>
              <p:nvPr/>
            </p:nvSpPr>
            <p:spPr>
              <a:xfrm>
                <a:off x="-7349209" y="3407764"/>
                <a:ext cx="285750" cy="190500"/>
              </a:xfrm>
              <a:custGeom>
                <a:avLst/>
                <a:gdLst>
                  <a:gd name="connsiteX0" fmla="*/ 214313 w 285750"/>
                  <a:gd name="connsiteY0" fmla="*/ 0 h 190500"/>
                  <a:gd name="connsiteX1" fmla="*/ 0 w 285750"/>
                  <a:gd name="connsiteY1" fmla="*/ 0 h 190500"/>
                  <a:gd name="connsiteX2" fmla="*/ 166688 w 285750"/>
                  <a:gd name="connsiteY2" fmla="*/ 197168 h 190500"/>
                  <a:gd name="connsiteX3" fmla="*/ 176213 w 285750"/>
                  <a:gd name="connsiteY3" fmla="*/ 198120 h 190500"/>
                  <a:gd name="connsiteX4" fmla="*/ 290513 w 285750"/>
                  <a:gd name="connsiteY4" fmla="*/ 100965 h 190500"/>
                  <a:gd name="connsiteX5" fmla="*/ 291465 w 285750"/>
                  <a:gd name="connsiteY5" fmla="*/ 91440 h 190500"/>
                  <a:gd name="connsiteX6" fmla="*/ 214313 w 285750"/>
                  <a:gd name="connsiteY6" fmla="*/ 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750" h="190500">
                    <a:moveTo>
                      <a:pt x="214313" y="0"/>
                    </a:moveTo>
                    <a:lnTo>
                      <a:pt x="0" y="0"/>
                    </a:lnTo>
                    <a:lnTo>
                      <a:pt x="166688" y="197168"/>
                    </a:lnTo>
                    <a:cubicBezTo>
                      <a:pt x="169545" y="200025"/>
                      <a:pt x="173355" y="200025"/>
                      <a:pt x="176213" y="198120"/>
                    </a:cubicBezTo>
                    <a:lnTo>
                      <a:pt x="290513" y="100965"/>
                    </a:lnTo>
                    <a:cubicBezTo>
                      <a:pt x="293370" y="98108"/>
                      <a:pt x="293370" y="94298"/>
                      <a:pt x="291465" y="91440"/>
                    </a:cubicBezTo>
                    <a:lnTo>
                      <a:pt x="214313" y="0"/>
                    </a:lnTo>
                    <a:close/>
                  </a:path>
                </a:pathLst>
              </a:custGeom>
              <a:grpFill/>
              <a:ln w="9525"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endParaRPr>
              </a:p>
            </p:txBody>
          </p:sp>
        </p:grpSp>
      </p:grpSp>
      <p:sp>
        <p:nvSpPr>
          <p:cNvPr id="168" name="Rectangle: Rounded Corners 167">
            <a:extLst>
              <a:ext uri="{FF2B5EF4-FFF2-40B4-BE49-F238E27FC236}">
                <a16:creationId xmlns:a16="http://schemas.microsoft.com/office/drawing/2014/main" id="{1A7B6033-CE64-1D02-C7CF-69DCC1C12853}"/>
              </a:ext>
            </a:extLst>
          </p:cNvPr>
          <p:cNvSpPr/>
          <p:nvPr/>
        </p:nvSpPr>
        <p:spPr>
          <a:xfrm>
            <a:off x="5580601" y="2735363"/>
            <a:ext cx="653807" cy="585718"/>
          </a:xfrm>
          <a:prstGeom prst="roundRect">
            <a:avLst/>
          </a:prstGeom>
          <a:solidFill>
            <a:srgbClr val="595454"/>
          </a:solidFill>
          <a:ln>
            <a:noFill/>
          </a:ln>
          <a:effectLst/>
        </p:spPr>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69" name="Rectangle: Rounded Corners 168">
            <a:extLst>
              <a:ext uri="{FF2B5EF4-FFF2-40B4-BE49-F238E27FC236}">
                <a16:creationId xmlns:a16="http://schemas.microsoft.com/office/drawing/2014/main" id="{C116602F-CC31-8AEA-937E-DD29827A5AF1}"/>
              </a:ext>
            </a:extLst>
          </p:cNvPr>
          <p:cNvSpPr/>
          <p:nvPr/>
        </p:nvSpPr>
        <p:spPr>
          <a:xfrm>
            <a:off x="7358691" y="2715506"/>
            <a:ext cx="653807" cy="585718"/>
          </a:xfrm>
          <a:prstGeom prst="roundRect">
            <a:avLst/>
          </a:prstGeom>
          <a:solidFill>
            <a:srgbClr val="595454"/>
          </a:solidFill>
          <a:ln>
            <a:noFill/>
          </a:ln>
          <a:effectLst/>
        </p:spPr>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70" name="Graphic 2">
            <a:extLst>
              <a:ext uri="{FF2B5EF4-FFF2-40B4-BE49-F238E27FC236}">
                <a16:creationId xmlns:a16="http://schemas.microsoft.com/office/drawing/2014/main" id="{0A99E4CE-352F-232A-1F03-0D90C1A32E58}"/>
              </a:ext>
            </a:extLst>
          </p:cNvPr>
          <p:cNvSpPr/>
          <p:nvPr/>
        </p:nvSpPr>
        <p:spPr>
          <a:xfrm>
            <a:off x="7497683" y="2795012"/>
            <a:ext cx="466919" cy="452789"/>
          </a:xfrm>
          <a:custGeom>
            <a:avLst/>
            <a:gdLst>
              <a:gd name="connsiteX0" fmla="*/ 461617 w 485274"/>
              <a:gd name="connsiteY0" fmla="*/ 225855 h 485274"/>
              <a:gd name="connsiteX1" fmla="*/ 404395 w 485274"/>
              <a:gd name="connsiteY1" fmla="*/ 202198 h 485274"/>
              <a:gd name="connsiteX2" fmla="*/ 323516 w 485274"/>
              <a:gd name="connsiteY2" fmla="*/ 283077 h 485274"/>
              <a:gd name="connsiteX3" fmla="*/ 323516 w 485274"/>
              <a:gd name="connsiteY3" fmla="*/ 299252 h 485274"/>
              <a:gd name="connsiteX4" fmla="*/ 315428 w 485274"/>
              <a:gd name="connsiteY4" fmla="*/ 299252 h 485274"/>
              <a:gd name="connsiteX5" fmla="*/ 307340 w 485274"/>
              <a:gd name="connsiteY5" fmla="*/ 307340 h 485274"/>
              <a:gd name="connsiteX6" fmla="*/ 307340 w 485274"/>
              <a:gd name="connsiteY6" fmla="*/ 380131 h 485274"/>
              <a:gd name="connsiteX7" fmla="*/ 315428 w 485274"/>
              <a:gd name="connsiteY7" fmla="*/ 388219 h 485274"/>
              <a:gd name="connsiteX8" fmla="*/ 323516 w 485274"/>
              <a:gd name="connsiteY8" fmla="*/ 388219 h 485274"/>
              <a:gd name="connsiteX9" fmla="*/ 323516 w 485274"/>
              <a:gd name="connsiteY9" fmla="*/ 396307 h 485274"/>
              <a:gd name="connsiteX10" fmla="*/ 250725 w 485274"/>
              <a:gd name="connsiteY10" fmla="*/ 469098 h 485274"/>
              <a:gd name="connsiteX11" fmla="*/ 177934 w 485274"/>
              <a:gd name="connsiteY11" fmla="*/ 396307 h 485274"/>
              <a:gd name="connsiteX12" fmla="*/ 186022 w 485274"/>
              <a:gd name="connsiteY12" fmla="*/ 396307 h 485274"/>
              <a:gd name="connsiteX13" fmla="*/ 194110 w 485274"/>
              <a:gd name="connsiteY13" fmla="*/ 388219 h 485274"/>
              <a:gd name="connsiteX14" fmla="*/ 194110 w 485274"/>
              <a:gd name="connsiteY14" fmla="*/ 355868 h 485274"/>
              <a:gd name="connsiteX15" fmla="*/ 218373 w 485274"/>
              <a:gd name="connsiteY15" fmla="*/ 355868 h 485274"/>
              <a:gd name="connsiteX16" fmla="*/ 250725 w 485274"/>
              <a:gd name="connsiteY16" fmla="*/ 323516 h 485274"/>
              <a:gd name="connsiteX17" fmla="*/ 250725 w 485274"/>
              <a:gd name="connsiteY17" fmla="*/ 145582 h 485274"/>
              <a:gd name="connsiteX18" fmla="*/ 218373 w 485274"/>
              <a:gd name="connsiteY18" fmla="*/ 113231 h 485274"/>
              <a:gd name="connsiteX19" fmla="*/ 194110 w 485274"/>
              <a:gd name="connsiteY19" fmla="*/ 113231 h 485274"/>
              <a:gd name="connsiteX20" fmla="*/ 177732 w 485274"/>
              <a:gd name="connsiteY20" fmla="*/ 90382 h 485274"/>
              <a:gd name="connsiteX21" fmla="*/ 177934 w 485274"/>
              <a:gd name="connsiteY21" fmla="*/ 88967 h 485274"/>
              <a:gd name="connsiteX22" fmla="*/ 177934 w 485274"/>
              <a:gd name="connsiteY22" fmla="*/ 64703 h 485274"/>
              <a:gd name="connsiteX23" fmla="*/ 250725 w 485274"/>
              <a:gd name="connsiteY23" fmla="*/ 64703 h 485274"/>
              <a:gd name="connsiteX24" fmla="*/ 299252 w 485274"/>
              <a:gd name="connsiteY24" fmla="*/ 16176 h 485274"/>
              <a:gd name="connsiteX25" fmla="*/ 283077 w 485274"/>
              <a:gd name="connsiteY25" fmla="*/ 0 h 485274"/>
              <a:gd name="connsiteX26" fmla="*/ 266901 w 485274"/>
              <a:gd name="connsiteY26" fmla="*/ 0 h 485274"/>
              <a:gd name="connsiteX27" fmla="*/ 250725 w 485274"/>
              <a:gd name="connsiteY27" fmla="*/ 16176 h 485274"/>
              <a:gd name="connsiteX28" fmla="*/ 177934 w 485274"/>
              <a:gd name="connsiteY28" fmla="*/ 16176 h 485274"/>
              <a:gd name="connsiteX29" fmla="*/ 169846 w 485274"/>
              <a:gd name="connsiteY29" fmla="*/ 8088 h 485274"/>
              <a:gd name="connsiteX30" fmla="*/ 161758 w 485274"/>
              <a:gd name="connsiteY30" fmla="*/ 16176 h 485274"/>
              <a:gd name="connsiteX31" fmla="*/ 64703 w 485274"/>
              <a:gd name="connsiteY31" fmla="*/ 16176 h 485274"/>
              <a:gd name="connsiteX32" fmla="*/ 0 w 485274"/>
              <a:gd name="connsiteY32" fmla="*/ 80879 h 485274"/>
              <a:gd name="connsiteX33" fmla="*/ 0 w 485274"/>
              <a:gd name="connsiteY33" fmla="*/ 477186 h 485274"/>
              <a:gd name="connsiteX34" fmla="*/ 8088 w 485274"/>
              <a:gd name="connsiteY34" fmla="*/ 485274 h 485274"/>
              <a:gd name="connsiteX35" fmla="*/ 40440 w 485274"/>
              <a:gd name="connsiteY35" fmla="*/ 485274 h 485274"/>
              <a:gd name="connsiteX36" fmla="*/ 48527 w 485274"/>
              <a:gd name="connsiteY36" fmla="*/ 477186 h 485274"/>
              <a:gd name="connsiteX37" fmla="*/ 48527 w 485274"/>
              <a:gd name="connsiteY37" fmla="*/ 80879 h 485274"/>
              <a:gd name="connsiteX38" fmla="*/ 64703 w 485274"/>
              <a:gd name="connsiteY38" fmla="*/ 64703 h 485274"/>
              <a:gd name="connsiteX39" fmla="*/ 161758 w 485274"/>
              <a:gd name="connsiteY39" fmla="*/ 64703 h 485274"/>
              <a:gd name="connsiteX40" fmla="*/ 161758 w 485274"/>
              <a:gd name="connsiteY40" fmla="*/ 88967 h 485274"/>
              <a:gd name="connsiteX41" fmla="*/ 161960 w 485274"/>
              <a:gd name="connsiteY41" fmla="*/ 90382 h 485274"/>
              <a:gd name="connsiteX42" fmla="*/ 145582 w 485274"/>
              <a:gd name="connsiteY42" fmla="*/ 113231 h 485274"/>
              <a:gd name="connsiteX43" fmla="*/ 121319 w 485274"/>
              <a:gd name="connsiteY43" fmla="*/ 113231 h 485274"/>
              <a:gd name="connsiteX44" fmla="*/ 88967 w 485274"/>
              <a:gd name="connsiteY44" fmla="*/ 145582 h 485274"/>
              <a:gd name="connsiteX45" fmla="*/ 88967 w 485274"/>
              <a:gd name="connsiteY45" fmla="*/ 323516 h 485274"/>
              <a:gd name="connsiteX46" fmla="*/ 121319 w 485274"/>
              <a:gd name="connsiteY46" fmla="*/ 355868 h 485274"/>
              <a:gd name="connsiteX47" fmla="*/ 145582 w 485274"/>
              <a:gd name="connsiteY47" fmla="*/ 355868 h 485274"/>
              <a:gd name="connsiteX48" fmla="*/ 145582 w 485274"/>
              <a:gd name="connsiteY48" fmla="*/ 388219 h 485274"/>
              <a:gd name="connsiteX49" fmla="*/ 153670 w 485274"/>
              <a:gd name="connsiteY49" fmla="*/ 396307 h 485274"/>
              <a:gd name="connsiteX50" fmla="*/ 161758 w 485274"/>
              <a:gd name="connsiteY50" fmla="*/ 396307 h 485274"/>
              <a:gd name="connsiteX51" fmla="*/ 250725 w 485274"/>
              <a:gd name="connsiteY51" fmla="*/ 485274 h 485274"/>
              <a:gd name="connsiteX52" fmla="*/ 339692 w 485274"/>
              <a:gd name="connsiteY52" fmla="*/ 396307 h 485274"/>
              <a:gd name="connsiteX53" fmla="*/ 339692 w 485274"/>
              <a:gd name="connsiteY53" fmla="*/ 388219 h 485274"/>
              <a:gd name="connsiteX54" fmla="*/ 347780 w 485274"/>
              <a:gd name="connsiteY54" fmla="*/ 388219 h 485274"/>
              <a:gd name="connsiteX55" fmla="*/ 355868 w 485274"/>
              <a:gd name="connsiteY55" fmla="*/ 380131 h 485274"/>
              <a:gd name="connsiteX56" fmla="*/ 355868 w 485274"/>
              <a:gd name="connsiteY56" fmla="*/ 307340 h 485274"/>
              <a:gd name="connsiteX57" fmla="*/ 347780 w 485274"/>
              <a:gd name="connsiteY57" fmla="*/ 299252 h 485274"/>
              <a:gd name="connsiteX58" fmla="*/ 339692 w 485274"/>
              <a:gd name="connsiteY58" fmla="*/ 299252 h 485274"/>
              <a:gd name="connsiteX59" fmla="*/ 339692 w 485274"/>
              <a:gd name="connsiteY59" fmla="*/ 283077 h 485274"/>
              <a:gd name="connsiteX60" fmla="*/ 404395 w 485274"/>
              <a:gd name="connsiteY60" fmla="*/ 218373 h 485274"/>
              <a:gd name="connsiteX61" fmla="*/ 469098 w 485274"/>
              <a:gd name="connsiteY61" fmla="*/ 283077 h 485274"/>
              <a:gd name="connsiteX62" fmla="*/ 469098 w 485274"/>
              <a:gd name="connsiteY62" fmla="*/ 428659 h 485274"/>
              <a:gd name="connsiteX63" fmla="*/ 477186 w 485274"/>
              <a:gd name="connsiteY63" fmla="*/ 436747 h 485274"/>
              <a:gd name="connsiteX64" fmla="*/ 485274 w 485274"/>
              <a:gd name="connsiteY64" fmla="*/ 428659 h 485274"/>
              <a:gd name="connsiteX65" fmla="*/ 485274 w 485274"/>
              <a:gd name="connsiteY65" fmla="*/ 283077 h 485274"/>
              <a:gd name="connsiteX66" fmla="*/ 461617 w 485274"/>
              <a:gd name="connsiteY66" fmla="*/ 225855 h 485274"/>
              <a:gd name="connsiteX67" fmla="*/ 461617 w 485274"/>
              <a:gd name="connsiteY67" fmla="*/ 225855 h 485274"/>
              <a:gd name="connsiteX68" fmla="*/ 169846 w 485274"/>
              <a:gd name="connsiteY68" fmla="*/ 105143 h 485274"/>
              <a:gd name="connsiteX69" fmla="*/ 177934 w 485274"/>
              <a:gd name="connsiteY69" fmla="*/ 113231 h 485274"/>
              <a:gd name="connsiteX70" fmla="*/ 161758 w 485274"/>
              <a:gd name="connsiteY70" fmla="*/ 113231 h 485274"/>
              <a:gd name="connsiteX71" fmla="*/ 169846 w 485274"/>
              <a:gd name="connsiteY71" fmla="*/ 105143 h 485274"/>
              <a:gd name="connsiteX72" fmla="*/ 169846 w 485274"/>
              <a:gd name="connsiteY72" fmla="*/ 105143 h 485274"/>
              <a:gd name="connsiteX73" fmla="*/ 145582 w 485274"/>
              <a:gd name="connsiteY73" fmla="*/ 194110 h 485274"/>
              <a:gd name="connsiteX74" fmla="*/ 123947 w 485274"/>
              <a:gd name="connsiteY74" fmla="*/ 190470 h 485274"/>
              <a:gd name="connsiteX75" fmla="*/ 105143 w 485274"/>
              <a:gd name="connsiteY75" fmla="*/ 186325 h 485274"/>
              <a:gd name="connsiteX76" fmla="*/ 105143 w 485274"/>
              <a:gd name="connsiteY76" fmla="*/ 145582 h 485274"/>
              <a:gd name="connsiteX77" fmla="*/ 121319 w 485274"/>
              <a:gd name="connsiteY77" fmla="*/ 129406 h 485274"/>
              <a:gd name="connsiteX78" fmla="*/ 218373 w 485274"/>
              <a:gd name="connsiteY78" fmla="*/ 129406 h 485274"/>
              <a:gd name="connsiteX79" fmla="*/ 234549 w 485274"/>
              <a:gd name="connsiteY79" fmla="*/ 145582 h 485274"/>
              <a:gd name="connsiteX80" fmla="*/ 234549 w 485274"/>
              <a:gd name="connsiteY80" fmla="*/ 193705 h 485274"/>
              <a:gd name="connsiteX81" fmla="*/ 221002 w 485274"/>
              <a:gd name="connsiteY81" fmla="*/ 190470 h 485274"/>
              <a:gd name="connsiteX82" fmla="*/ 194110 w 485274"/>
              <a:gd name="connsiteY82" fmla="*/ 186022 h 485274"/>
              <a:gd name="connsiteX83" fmla="*/ 167217 w 485274"/>
              <a:gd name="connsiteY83" fmla="*/ 190470 h 485274"/>
              <a:gd name="connsiteX84" fmla="*/ 145582 w 485274"/>
              <a:gd name="connsiteY84" fmla="*/ 194110 h 485274"/>
              <a:gd name="connsiteX85" fmla="*/ 145582 w 485274"/>
              <a:gd name="connsiteY85" fmla="*/ 194110 h 485274"/>
              <a:gd name="connsiteX86" fmla="*/ 339692 w 485274"/>
              <a:gd name="connsiteY86" fmla="*/ 372043 h 485274"/>
              <a:gd name="connsiteX87" fmla="*/ 323516 w 485274"/>
              <a:gd name="connsiteY87" fmla="*/ 372043 h 485274"/>
              <a:gd name="connsiteX88" fmla="*/ 323516 w 485274"/>
              <a:gd name="connsiteY88" fmla="*/ 315428 h 485274"/>
              <a:gd name="connsiteX89" fmla="*/ 339692 w 485274"/>
              <a:gd name="connsiteY89" fmla="*/ 315428 h 485274"/>
              <a:gd name="connsiteX90" fmla="*/ 339692 w 485274"/>
              <a:gd name="connsiteY90" fmla="*/ 372043 h 485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485274" h="485274">
                <a:moveTo>
                  <a:pt x="461617" y="225855"/>
                </a:moveTo>
                <a:cubicBezTo>
                  <a:pt x="446553" y="210589"/>
                  <a:pt x="425929" y="202096"/>
                  <a:pt x="404395" y="202198"/>
                </a:cubicBezTo>
                <a:cubicBezTo>
                  <a:pt x="359709" y="202299"/>
                  <a:pt x="323617" y="238391"/>
                  <a:pt x="323516" y="283077"/>
                </a:cubicBezTo>
                <a:lnTo>
                  <a:pt x="323516" y="299252"/>
                </a:lnTo>
                <a:lnTo>
                  <a:pt x="315428" y="299252"/>
                </a:lnTo>
                <a:cubicBezTo>
                  <a:pt x="310980" y="299252"/>
                  <a:pt x="307340" y="302892"/>
                  <a:pt x="307340" y="307340"/>
                </a:cubicBezTo>
                <a:lnTo>
                  <a:pt x="307340" y="380131"/>
                </a:lnTo>
                <a:cubicBezTo>
                  <a:pt x="307340" y="384580"/>
                  <a:pt x="310980" y="388219"/>
                  <a:pt x="315428" y="388219"/>
                </a:cubicBezTo>
                <a:lnTo>
                  <a:pt x="323516" y="388219"/>
                </a:lnTo>
                <a:lnTo>
                  <a:pt x="323516" y="396307"/>
                </a:lnTo>
                <a:cubicBezTo>
                  <a:pt x="323516" y="436544"/>
                  <a:pt x="290962" y="469098"/>
                  <a:pt x="250725" y="469098"/>
                </a:cubicBezTo>
                <a:cubicBezTo>
                  <a:pt x="210488" y="469098"/>
                  <a:pt x="177934" y="436544"/>
                  <a:pt x="177934" y="396307"/>
                </a:cubicBezTo>
                <a:lnTo>
                  <a:pt x="186022" y="396307"/>
                </a:lnTo>
                <a:cubicBezTo>
                  <a:pt x="190470" y="396307"/>
                  <a:pt x="194110" y="392668"/>
                  <a:pt x="194110" y="388219"/>
                </a:cubicBezTo>
                <a:lnTo>
                  <a:pt x="194110" y="355868"/>
                </a:lnTo>
                <a:lnTo>
                  <a:pt x="218373" y="355868"/>
                </a:lnTo>
                <a:cubicBezTo>
                  <a:pt x="236268" y="355868"/>
                  <a:pt x="250725" y="341411"/>
                  <a:pt x="250725" y="323516"/>
                </a:cubicBezTo>
                <a:lnTo>
                  <a:pt x="250725" y="145582"/>
                </a:lnTo>
                <a:cubicBezTo>
                  <a:pt x="250725" y="127688"/>
                  <a:pt x="236268" y="113231"/>
                  <a:pt x="218373" y="113231"/>
                </a:cubicBezTo>
                <a:lnTo>
                  <a:pt x="194110" y="113231"/>
                </a:lnTo>
                <a:cubicBezTo>
                  <a:pt x="194009" y="102919"/>
                  <a:pt x="187437" y="93719"/>
                  <a:pt x="177732" y="90382"/>
                </a:cubicBezTo>
                <a:cubicBezTo>
                  <a:pt x="177833" y="89978"/>
                  <a:pt x="177934" y="89472"/>
                  <a:pt x="177934" y="88967"/>
                </a:cubicBezTo>
                <a:lnTo>
                  <a:pt x="177934" y="64703"/>
                </a:lnTo>
                <a:lnTo>
                  <a:pt x="250725" y="64703"/>
                </a:lnTo>
                <a:cubicBezTo>
                  <a:pt x="277516" y="64703"/>
                  <a:pt x="299252" y="42967"/>
                  <a:pt x="299252" y="16176"/>
                </a:cubicBezTo>
                <a:cubicBezTo>
                  <a:pt x="299252" y="7279"/>
                  <a:pt x="291973" y="0"/>
                  <a:pt x="283077" y="0"/>
                </a:cubicBezTo>
                <a:lnTo>
                  <a:pt x="266901" y="0"/>
                </a:lnTo>
                <a:cubicBezTo>
                  <a:pt x="258004" y="0"/>
                  <a:pt x="250725" y="7279"/>
                  <a:pt x="250725" y="16176"/>
                </a:cubicBezTo>
                <a:lnTo>
                  <a:pt x="177934" y="16176"/>
                </a:lnTo>
                <a:cubicBezTo>
                  <a:pt x="177934" y="11727"/>
                  <a:pt x="174294" y="8088"/>
                  <a:pt x="169846" y="8088"/>
                </a:cubicBezTo>
                <a:cubicBezTo>
                  <a:pt x="165398" y="8088"/>
                  <a:pt x="161758" y="11727"/>
                  <a:pt x="161758" y="16176"/>
                </a:cubicBezTo>
                <a:lnTo>
                  <a:pt x="64703" y="16176"/>
                </a:lnTo>
                <a:cubicBezTo>
                  <a:pt x="29015" y="16176"/>
                  <a:pt x="0" y="45191"/>
                  <a:pt x="0" y="80879"/>
                </a:cubicBezTo>
                <a:lnTo>
                  <a:pt x="0" y="477186"/>
                </a:lnTo>
                <a:cubicBezTo>
                  <a:pt x="0" y="481634"/>
                  <a:pt x="3640" y="485274"/>
                  <a:pt x="8088" y="485274"/>
                </a:cubicBezTo>
                <a:lnTo>
                  <a:pt x="40440" y="485274"/>
                </a:lnTo>
                <a:cubicBezTo>
                  <a:pt x="44888" y="485274"/>
                  <a:pt x="48527" y="481634"/>
                  <a:pt x="48527" y="477186"/>
                </a:cubicBezTo>
                <a:lnTo>
                  <a:pt x="48527" y="80879"/>
                </a:lnTo>
                <a:cubicBezTo>
                  <a:pt x="48527" y="71982"/>
                  <a:pt x="55807" y="64703"/>
                  <a:pt x="64703" y="64703"/>
                </a:cubicBezTo>
                <a:lnTo>
                  <a:pt x="161758" y="64703"/>
                </a:lnTo>
                <a:lnTo>
                  <a:pt x="161758" y="88967"/>
                </a:lnTo>
                <a:cubicBezTo>
                  <a:pt x="161758" y="89472"/>
                  <a:pt x="161859" y="89877"/>
                  <a:pt x="161960" y="90382"/>
                </a:cubicBezTo>
                <a:cubicBezTo>
                  <a:pt x="152154" y="93719"/>
                  <a:pt x="145582" y="102919"/>
                  <a:pt x="145582" y="113231"/>
                </a:cubicBezTo>
                <a:lnTo>
                  <a:pt x="121319" y="113231"/>
                </a:lnTo>
                <a:cubicBezTo>
                  <a:pt x="103424" y="113231"/>
                  <a:pt x="88967" y="127688"/>
                  <a:pt x="88967" y="145582"/>
                </a:cubicBezTo>
                <a:lnTo>
                  <a:pt x="88967" y="323516"/>
                </a:lnTo>
                <a:cubicBezTo>
                  <a:pt x="88967" y="341411"/>
                  <a:pt x="103424" y="355868"/>
                  <a:pt x="121319" y="355868"/>
                </a:cubicBezTo>
                <a:lnTo>
                  <a:pt x="145582" y="355868"/>
                </a:lnTo>
                <a:lnTo>
                  <a:pt x="145582" y="388219"/>
                </a:lnTo>
                <a:cubicBezTo>
                  <a:pt x="145582" y="392668"/>
                  <a:pt x="149222" y="396307"/>
                  <a:pt x="153670" y="396307"/>
                </a:cubicBezTo>
                <a:lnTo>
                  <a:pt x="161758" y="396307"/>
                </a:lnTo>
                <a:cubicBezTo>
                  <a:pt x="161758" y="445441"/>
                  <a:pt x="201591" y="485274"/>
                  <a:pt x="250725" y="485274"/>
                </a:cubicBezTo>
                <a:cubicBezTo>
                  <a:pt x="299859" y="485274"/>
                  <a:pt x="339692" y="445441"/>
                  <a:pt x="339692" y="396307"/>
                </a:cubicBezTo>
                <a:lnTo>
                  <a:pt x="339692" y="388219"/>
                </a:lnTo>
                <a:lnTo>
                  <a:pt x="347780" y="388219"/>
                </a:lnTo>
                <a:cubicBezTo>
                  <a:pt x="352228" y="388219"/>
                  <a:pt x="355868" y="384580"/>
                  <a:pt x="355868" y="380131"/>
                </a:cubicBezTo>
                <a:lnTo>
                  <a:pt x="355868" y="307340"/>
                </a:lnTo>
                <a:cubicBezTo>
                  <a:pt x="355868" y="302892"/>
                  <a:pt x="352228" y="299252"/>
                  <a:pt x="347780" y="299252"/>
                </a:cubicBezTo>
                <a:lnTo>
                  <a:pt x="339692" y="299252"/>
                </a:lnTo>
                <a:lnTo>
                  <a:pt x="339692" y="283077"/>
                </a:lnTo>
                <a:cubicBezTo>
                  <a:pt x="339692" y="247389"/>
                  <a:pt x="368707" y="218373"/>
                  <a:pt x="404395" y="218373"/>
                </a:cubicBezTo>
                <a:cubicBezTo>
                  <a:pt x="440083" y="218373"/>
                  <a:pt x="469098" y="247389"/>
                  <a:pt x="469098" y="283077"/>
                </a:cubicBezTo>
                <a:lnTo>
                  <a:pt x="469098" y="428659"/>
                </a:lnTo>
                <a:cubicBezTo>
                  <a:pt x="469098" y="433107"/>
                  <a:pt x="472738" y="436747"/>
                  <a:pt x="477186" y="436747"/>
                </a:cubicBezTo>
                <a:cubicBezTo>
                  <a:pt x="481634" y="436747"/>
                  <a:pt x="485274" y="433107"/>
                  <a:pt x="485274" y="428659"/>
                </a:cubicBezTo>
                <a:lnTo>
                  <a:pt x="485274" y="283077"/>
                </a:lnTo>
                <a:cubicBezTo>
                  <a:pt x="485375" y="261644"/>
                  <a:pt x="476782" y="241019"/>
                  <a:pt x="461617" y="225855"/>
                </a:cubicBezTo>
                <a:lnTo>
                  <a:pt x="461617" y="225855"/>
                </a:lnTo>
                <a:close/>
                <a:moveTo>
                  <a:pt x="169846" y="105143"/>
                </a:moveTo>
                <a:cubicBezTo>
                  <a:pt x="174294" y="105143"/>
                  <a:pt x="177934" y="108782"/>
                  <a:pt x="177934" y="113231"/>
                </a:cubicBezTo>
                <a:lnTo>
                  <a:pt x="161758" y="113231"/>
                </a:lnTo>
                <a:cubicBezTo>
                  <a:pt x="161758" y="108782"/>
                  <a:pt x="165398" y="105143"/>
                  <a:pt x="169846" y="105143"/>
                </a:cubicBezTo>
                <a:lnTo>
                  <a:pt x="169846" y="105143"/>
                </a:lnTo>
                <a:close/>
                <a:moveTo>
                  <a:pt x="145582" y="194110"/>
                </a:moveTo>
                <a:cubicBezTo>
                  <a:pt x="138202" y="194312"/>
                  <a:pt x="130822" y="193099"/>
                  <a:pt x="123947" y="190470"/>
                </a:cubicBezTo>
                <a:cubicBezTo>
                  <a:pt x="117881" y="188347"/>
                  <a:pt x="111613" y="186932"/>
                  <a:pt x="105143" y="186325"/>
                </a:cubicBezTo>
                <a:lnTo>
                  <a:pt x="105143" y="145582"/>
                </a:lnTo>
                <a:cubicBezTo>
                  <a:pt x="105143" y="136686"/>
                  <a:pt x="112422" y="129406"/>
                  <a:pt x="121319" y="129406"/>
                </a:cubicBezTo>
                <a:lnTo>
                  <a:pt x="218373" y="129406"/>
                </a:lnTo>
                <a:cubicBezTo>
                  <a:pt x="227270" y="129406"/>
                  <a:pt x="234549" y="136686"/>
                  <a:pt x="234549" y="145582"/>
                </a:cubicBezTo>
                <a:lnTo>
                  <a:pt x="234549" y="193705"/>
                </a:lnTo>
                <a:cubicBezTo>
                  <a:pt x="229899" y="193099"/>
                  <a:pt x="225349" y="192088"/>
                  <a:pt x="221002" y="190470"/>
                </a:cubicBezTo>
                <a:cubicBezTo>
                  <a:pt x="212408" y="187336"/>
                  <a:pt x="203310" y="185820"/>
                  <a:pt x="194110" y="186022"/>
                </a:cubicBezTo>
                <a:cubicBezTo>
                  <a:pt x="185011" y="185820"/>
                  <a:pt x="175811" y="187336"/>
                  <a:pt x="167217" y="190470"/>
                </a:cubicBezTo>
                <a:cubicBezTo>
                  <a:pt x="160343" y="193099"/>
                  <a:pt x="152962" y="194312"/>
                  <a:pt x="145582" y="194110"/>
                </a:cubicBezTo>
                <a:lnTo>
                  <a:pt x="145582" y="194110"/>
                </a:lnTo>
                <a:close/>
                <a:moveTo>
                  <a:pt x="339692" y="372043"/>
                </a:moveTo>
                <a:lnTo>
                  <a:pt x="323516" y="372043"/>
                </a:lnTo>
                <a:lnTo>
                  <a:pt x="323516" y="315428"/>
                </a:lnTo>
                <a:lnTo>
                  <a:pt x="339692" y="315428"/>
                </a:lnTo>
                <a:lnTo>
                  <a:pt x="339692" y="372043"/>
                </a:lnTo>
                <a:close/>
              </a:path>
            </a:pathLst>
          </a:custGeom>
          <a:solidFill>
            <a:srgbClr val="FFFFFF"/>
          </a:solidFill>
          <a:ln w="992"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71" name="Rectangle: Rounded Corners 170">
            <a:extLst>
              <a:ext uri="{FF2B5EF4-FFF2-40B4-BE49-F238E27FC236}">
                <a16:creationId xmlns:a16="http://schemas.microsoft.com/office/drawing/2014/main" id="{62D419AA-396B-79F0-6678-F22B8A170979}"/>
              </a:ext>
            </a:extLst>
          </p:cNvPr>
          <p:cNvSpPr/>
          <p:nvPr/>
        </p:nvSpPr>
        <p:spPr>
          <a:xfrm>
            <a:off x="8044529" y="2707650"/>
            <a:ext cx="653807" cy="585718"/>
          </a:xfrm>
          <a:prstGeom prst="roundRect">
            <a:avLst/>
          </a:prstGeom>
          <a:solidFill>
            <a:srgbClr val="595454"/>
          </a:solidFill>
          <a:ln>
            <a:noFill/>
          </a:ln>
          <a:effectLst/>
        </p:spPr>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172" name="Group 171">
            <a:extLst>
              <a:ext uri="{FF2B5EF4-FFF2-40B4-BE49-F238E27FC236}">
                <a16:creationId xmlns:a16="http://schemas.microsoft.com/office/drawing/2014/main" id="{5E60ECEC-F9E7-B77A-416D-66C56FC21C12}"/>
              </a:ext>
            </a:extLst>
          </p:cNvPr>
          <p:cNvGrpSpPr/>
          <p:nvPr/>
        </p:nvGrpSpPr>
        <p:grpSpPr>
          <a:xfrm>
            <a:off x="8134968" y="2792141"/>
            <a:ext cx="471317" cy="441671"/>
            <a:chOff x="-9353968" y="-298871"/>
            <a:chExt cx="649224" cy="555676"/>
          </a:xfrm>
          <a:solidFill>
            <a:srgbClr val="FFFFFF"/>
          </a:solidFill>
        </p:grpSpPr>
        <p:sp>
          <p:nvSpPr>
            <p:cNvPr id="173" name="Freeform: Shape 172">
              <a:extLst>
                <a:ext uri="{FF2B5EF4-FFF2-40B4-BE49-F238E27FC236}">
                  <a16:creationId xmlns:a16="http://schemas.microsoft.com/office/drawing/2014/main" id="{0C492A88-27B1-DAD6-00EF-B4E262D55B5A}"/>
                </a:ext>
              </a:extLst>
            </p:cNvPr>
            <p:cNvSpPr/>
            <p:nvPr/>
          </p:nvSpPr>
          <p:spPr>
            <a:xfrm>
              <a:off x="-9115310" y="-139765"/>
              <a:ext cx="310896" cy="182880"/>
            </a:xfrm>
            <a:custGeom>
              <a:avLst/>
              <a:gdLst>
                <a:gd name="connsiteX0" fmla="*/ 319126 w 310896"/>
                <a:gd name="connsiteY0" fmla="*/ 41148 h 182880"/>
                <a:gd name="connsiteX1" fmla="*/ 319126 w 310896"/>
                <a:gd name="connsiteY1" fmla="*/ 41148 h 182880"/>
                <a:gd name="connsiteX2" fmla="*/ 216713 w 310896"/>
                <a:gd name="connsiteY2" fmla="*/ 138989 h 182880"/>
                <a:gd name="connsiteX3" fmla="*/ 160934 w 310896"/>
                <a:gd name="connsiteY3" fmla="*/ 188366 h 182880"/>
                <a:gd name="connsiteX4" fmla="*/ 106070 w 310896"/>
                <a:gd name="connsiteY4" fmla="*/ 141732 h 182880"/>
                <a:gd name="connsiteX5" fmla="*/ 104242 w 310896"/>
                <a:gd name="connsiteY5" fmla="*/ 138989 h 182880"/>
                <a:gd name="connsiteX6" fmla="*/ 0 w 310896"/>
                <a:gd name="connsiteY6" fmla="*/ 41148 h 182880"/>
                <a:gd name="connsiteX7" fmla="*/ 98755 w 310896"/>
                <a:gd name="connsiteY7" fmla="*/ 41148 h 182880"/>
                <a:gd name="connsiteX8" fmla="*/ 105156 w 310896"/>
                <a:gd name="connsiteY8" fmla="*/ 36576 h 182880"/>
                <a:gd name="connsiteX9" fmla="*/ 113386 w 310896"/>
                <a:gd name="connsiteY9" fmla="*/ 20117 h 182880"/>
                <a:gd name="connsiteX10" fmla="*/ 125273 w 310896"/>
                <a:gd name="connsiteY10" fmla="*/ 87782 h 182880"/>
                <a:gd name="connsiteX11" fmla="*/ 132588 w 310896"/>
                <a:gd name="connsiteY11" fmla="*/ 93269 h 182880"/>
                <a:gd name="connsiteX12" fmla="*/ 139903 w 310896"/>
                <a:gd name="connsiteY12" fmla="*/ 87782 h 182880"/>
                <a:gd name="connsiteX13" fmla="*/ 149962 w 310896"/>
                <a:gd name="connsiteY13" fmla="*/ 0 h 182880"/>
                <a:gd name="connsiteX14" fmla="*/ 160020 w 310896"/>
                <a:gd name="connsiteY14" fmla="*/ 57607 h 182880"/>
                <a:gd name="connsiteX15" fmla="*/ 165506 w 310896"/>
                <a:gd name="connsiteY15" fmla="*/ 63094 h 182880"/>
                <a:gd name="connsiteX16" fmla="*/ 173736 w 310896"/>
                <a:gd name="connsiteY16" fmla="*/ 58522 h 182880"/>
                <a:gd name="connsiteX17" fmla="*/ 183794 w 310896"/>
                <a:gd name="connsiteY17" fmla="*/ 34747 h 182880"/>
                <a:gd name="connsiteX18" fmla="*/ 193853 w 310896"/>
                <a:gd name="connsiteY18" fmla="*/ 67666 h 182880"/>
                <a:gd name="connsiteX19" fmla="*/ 200254 w 310896"/>
                <a:gd name="connsiteY19" fmla="*/ 72238 h 182880"/>
                <a:gd name="connsiteX20" fmla="*/ 206654 w 310896"/>
                <a:gd name="connsiteY20" fmla="*/ 67666 h 182880"/>
                <a:gd name="connsiteX21" fmla="*/ 221285 w 310896"/>
                <a:gd name="connsiteY21" fmla="*/ 40234 h 182880"/>
                <a:gd name="connsiteX22" fmla="*/ 319126 w 310896"/>
                <a:gd name="connsiteY22" fmla="*/ 40234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0896" h="182880">
                  <a:moveTo>
                    <a:pt x="319126" y="41148"/>
                  </a:moveTo>
                  <a:lnTo>
                    <a:pt x="319126" y="41148"/>
                  </a:lnTo>
                  <a:cubicBezTo>
                    <a:pt x="286207" y="79553"/>
                    <a:pt x="241402" y="117043"/>
                    <a:pt x="216713" y="138989"/>
                  </a:cubicBezTo>
                  <a:cubicBezTo>
                    <a:pt x="201168" y="152705"/>
                    <a:pt x="169164" y="188366"/>
                    <a:pt x="160934" y="188366"/>
                  </a:cubicBezTo>
                  <a:cubicBezTo>
                    <a:pt x="151790" y="188366"/>
                    <a:pt x="123444" y="158191"/>
                    <a:pt x="106070" y="141732"/>
                  </a:cubicBezTo>
                  <a:lnTo>
                    <a:pt x="104242" y="138989"/>
                  </a:lnTo>
                  <a:cubicBezTo>
                    <a:pt x="79553" y="118872"/>
                    <a:pt x="34747" y="79553"/>
                    <a:pt x="0" y="41148"/>
                  </a:cubicBezTo>
                  <a:lnTo>
                    <a:pt x="98755" y="41148"/>
                  </a:lnTo>
                  <a:cubicBezTo>
                    <a:pt x="101498" y="41148"/>
                    <a:pt x="103327" y="39319"/>
                    <a:pt x="105156" y="36576"/>
                  </a:cubicBezTo>
                  <a:lnTo>
                    <a:pt x="113386" y="20117"/>
                  </a:lnTo>
                  <a:lnTo>
                    <a:pt x="125273" y="87782"/>
                  </a:lnTo>
                  <a:cubicBezTo>
                    <a:pt x="126187" y="91440"/>
                    <a:pt x="128930" y="93269"/>
                    <a:pt x="132588" y="93269"/>
                  </a:cubicBezTo>
                  <a:cubicBezTo>
                    <a:pt x="136246" y="93269"/>
                    <a:pt x="138989" y="90526"/>
                    <a:pt x="139903" y="87782"/>
                  </a:cubicBezTo>
                  <a:lnTo>
                    <a:pt x="149962" y="0"/>
                  </a:lnTo>
                  <a:lnTo>
                    <a:pt x="160020" y="57607"/>
                  </a:lnTo>
                  <a:cubicBezTo>
                    <a:pt x="160020" y="60350"/>
                    <a:pt x="162763" y="63094"/>
                    <a:pt x="165506" y="63094"/>
                  </a:cubicBezTo>
                  <a:cubicBezTo>
                    <a:pt x="169164" y="63094"/>
                    <a:pt x="171907" y="61265"/>
                    <a:pt x="173736" y="58522"/>
                  </a:cubicBezTo>
                  <a:lnTo>
                    <a:pt x="183794" y="34747"/>
                  </a:lnTo>
                  <a:lnTo>
                    <a:pt x="193853" y="67666"/>
                  </a:lnTo>
                  <a:cubicBezTo>
                    <a:pt x="195682" y="70409"/>
                    <a:pt x="197510" y="72238"/>
                    <a:pt x="200254" y="72238"/>
                  </a:cubicBezTo>
                  <a:cubicBezTo>
                    <a:pt x="202997" y="72238"/>
                    <a:pt x="205740" y="70409"/>
                    <a:pt x="206654" y="67666"/>
                  </a:cubicBezTo>
                  <a:lnTo>
                    <a:pt x="221285" y="40234"/>
                  </a:lnTo>
                  <a:lnTo>
                    <a:pt x="319126" y="40234"/>
                  </a:lnTo>
                  <a:close/>
                </a:path>
              </a:pathLst>
            </a:custGeom>
            <a:grpFill/>
            <a:ln w="9142"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74" name="Freeform: Shape 173">
              <a:extLst>
                <a:ext uri="{FF2B5EF4-FFF2-40B4-BE49-F238E27FC236}">
                  <a16:creationId xmlns:a16="http://schemas.microsoft.com/office/drawing/2014/main" id="{A9EA74DA-7EE8-4EDA-90C3-26BE0A606171}"/>
                </a:ext>
              </a:extLst>
            </p:cNvPr>
            <p:cNvSpPr/>
            <p:nvPr/>
          </p:nvSpPr>
          <p:spPr>
            <a:xfrm>
              <a:off x="-9159079" y="-298871"/>
              <a:ext cx="402336" cy="192024"/>
            </a:xfrm>
            <a:custGeom>
              <a:avLst/>
              <a:gdLst>
                <a:gd name="connsiteX0" fmla="*/ 404958 w 402336"/>
                <a:gd name="connsiteY0" fmla="*/ 112471 h 192024"/>
                <a:gd name="connsiteX1" fmla="*/ 404958 w 402336"/>
                <a:gd name="connsiteY1" fmla="*/ 112471 h 192024"/>
                <a:gd name="connsiteX2" fmla="*/ 373868 w 402336"/>
                <a:gd name="connsiteY2" fmla="*/ 170993 h 192024"/>
                <a:gd name="connsiteX3" fmla="*/ 259568 w 402336"/>
                <a:gd name="connsiteY3" fmla="*/ 170993 h 192024"/>
                <a:gd name="connsiteX4" fmla="*/ 253167 w 402336"/>
                <a:gd name="connsiteY4" fmla="*/ 173736 h 192024"/>
                <a:gd name="connsiteX5" fmla="*/ 243109 w 402336"/>
                <a:gd name="connsiteY5" fmla="*/ 192024 h 192024"/>
                <a:gd name="connsiteX6" fmla="*/ 232136 w 402336"/>
                <a:gd name="connsiteY6" fmla="*/ 158191 h 192024"/>
                <a:gd name="connsiteX7" fmla="*/ 225735 w 402336"/>
                <a:gd name="connsiteY7" fmla="*/ 152705 h 192024"/>
                <a:gd name="connsiteX8" fmla="*/ 218420 w 402336"/>
                <a:gd name="connsiteY8" fmla="*/ 157277 h 192024"/>
                <a:gd name="connsiteX9" fmla="*/ 210191 w 402336"/>
                <a:gd name="connsiteY9" fmla="*/ 176479 h 192024"/>
                <a:gd name="connsiteX10" fmla="*/ 199218 w 402336"/>
                <a:gd name="connsiteY10" fmla="*/ 99670 h 192024"/>
                <a:gd name="connsiteX11" fmla="*/ 192817 w 402336"/>
                <a:gd name="connsiteY11" fmla="*/ 94183 h 192024"/>
                <a:gd name="connsiteX12" fmla="*/ 191903 w 402336"/>
                <a:gd name="connsiteY12" fmla="*/ 94183 h 192024"/>
                <a:gd name="connsiteX13" fmla="*/ 185502 w 402336"/>
                <a:gd name="connsiteY13" fmla="*/ 99670 h 192024"/>
                <a:gd name="connsiteX14" fmla="*/ 174529 w 402336"/>
                <a:gd name="connsiteY14" fmla="*/ 189281 h 192024"/>
                <a:gd name="connsiteX15" fmla="*/ 164471 w 402336"/>
                <a:gd name="connsiteY15" fmla="*/ 141732 h 192024"/>
                <a:gd name="connsiteX16" fmla="*/ 158984 w 402336"/>
                <a:gd name="connsiteY16" fmla="*/ 136246 h 192024"/>
                <a:gd name="connsiteX17" fmla="*/ 151669 w 402336"/>
                <a:gd name="connsiteY17" fmla="*/ 139903 h 192024"/>
                <a:gd name="connsiteX18" fmla="*/ 137039 w 402336"/>
                <a:gd name="connsiteY18" fmla="*/ 170993 h 192024"/>
                <a:gd name="connsiteX19" fmla="*/ 33711 w 402336"/>
                <a:gd name="connsiteY19" fmla="*/ 170993 h 192024"/>
                <a:gd name="connsiteX20" fmla="*/ 2622 w 402336"/>
                <a:gd name="connsiteY20" fmla="*/ 112471 h 192024"/>
                <a:gd name="connsiteX21" fmla="*/ 17252 w 402336"/>
                <a:gd name="connsiteY21" fmla="*/ 33833 h 192024"/>
                <a:gd name="connsiteX22" fmla="*/ 94976 w 402336"/>
                <a:gd name="connsiteY22" fmla="*/ 0 h 192024"/>
                <a:gd name="connsiteX23" fmla="*/ 105035 w 402336"/>
                <a:gd name="connsiteY23" fmla="*/ 0 h 192024"/>
                <a:gd name="connsiteX24" fmla="*/ 189159 w 402336"/>
                <a:gd name="connsiteY24" fmla="*/ 35662 h 192024"/>
                <a:gd name="connsiteX25" fmla="*/ 203790 w 402336"/>
                <a:gd name="connsiteY25" fmla="*/ 42977 h 192024"/>
                <a:gd name="connsiteX26" fmla="*/ 220249 w 402336"/>
                <a:gd name="connsiteY26" fmla="*/ 35662 h 192024"/>
                <a:gd name="connsiteX27" fmla="*/ 304374 w 402336"/>
                <a:gd name="connsiteY27" fmla="*/ 0 h 192024"/>
                <a:gd name="connsiteX28" fmla="*/ 312603 w 402336"/>
                <a:gd name="connsiteY28" fmla="*/ 0 h 192024"/>
                <a:gd name="connsiteX29" fmla="*/ 392156 w 402336"/>
                <a:gd name="connsiteY29" fmla="*/ 33833 h 192024"/>
                <a:gd name="connsiteX30" fmla="*/ 404958 w 402336"/>
                <a:gd name="connsiteY30" fmla="*/ 112471 h 192024"/>
                <a:gd name="connsiteX31" fmla="*/ 404958 w 402336"/>
                <a:gd name="connsiteY31" fmla="*/ 112471 h 192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02336" h="192024">
                  <a:moveTo>
                    <a:pt x="404958" y="112471"/>
                  </a:moveTo>
                  <a:lnTo>
                    <a:pt x="404958" y="112471"/>
                  </a:lnTo>
                  <a:cubicBezTo>
                    <a:pt x="401300" y="130759"/>
                    <a:pt x="390327" y="149962"/>
                    <a:pt x="373868" y="170993"/>
                  </a:cubicBezTo>
                  <a:lnTo>
                    <a:pt x="259568" y="170993"/>
                  </a:lnTo>
                  <a:cubicBezTo>
                    <a:pt x="256825" y="170993"/>
                    <a:pt x="254996" y="171907"/>
                    <a:pt x="253167" y="173736"/>
                  </a:cubicBezTo>
                  <a:lnTo>
                    <a:pt x="243109" y="192024"/>
                  </a:lnTo>
                  <a:lnTo>
                    <a:pt x="232136" y="158191"/>
                  </a:lnTo>
                  <a:cubicBezTo>
                    <a:pt x="231222" y="155448"/>
                    <a:pt x="228479" y="152705"/>
                    <a:pt x="225735" y="152705"/>
                  </a:cubicBezTo>
                  <a:cubicBezTo>
                    <a:pt x="222078" y="152705"/>
                    <a:pt x="220249" y="154534"/>
                    <a:pt x="218420" y="157277"/>
                  </a:cubicBezTo>
                  <a:lnTo>
                    <a:pt x="210191" y="176479"/>
                  </a:lnTo>
                  <a:lnTo>
                    <a:pt x="199218" y="99670"/>
                  </a:lnTo>
                  <a:cubicBezTo>
                    <a:pt x="198303" y="96926"/>
                    <a:pt x="195560" y="94183"/>
                    <a:pt x="192817" y="94183"/>
                  </a:cubicBezTo>
                  <a:lnTo>
                    <a:pt x="191903" y="94183"/>
                  </a:lnTo>
                  <a:cubicBezTo>
                    <a:pt x="188245" y="94183"/>
                    <a:pt x="185502" y="96926"/>
                    <a:pt x="185502" y="99670"/>
                  </a:cubicBezTo>
                  <a:lnTo>
                    <a:pt x="174529" y="189281"/>
                  </a:lnTo>
                  <a:lnTo>
                    <a:pt x="164471" y="141732"/>
                  </a:lnTo>
                  <a:cubicBezTo>
                    <a:pt x="163556" y="138074"/>
                    <a:pt x="161727" y="136246"/>
                    <a:pt x="158984" y="136246"/>
                  </a:cubicBezTo>
                  <a:cubicBezTo>
                    <a:pt x="156241" y="135331"/>
                    <a:pt x="152583" y="137160"/>
                    <a:pt x="151669" y="139903"/>
                  </a:cubicBezTo>
                  <a:lnTo>
                    <a:pt x="137039" y="170993"/>
                  </a:lnTo>
                  <a:lnTo>
                    <a:pt x="33711" y="170993"/>
                  </a:lnTo>
                  <a:cubicBezTo>
                    <a:pt x="17252" y="149962"/>
                    <a:pt x="4451" y="129845"/>
                    <a:pt x="2622" y="112471"/>
                  </a:cubicBezTo>
                  <a:cubicBezTo>
                    <a:pt x="-3779" y="79553"/>
                    <a:pt x="1707" y="53035"/>
                    <a:pt x="17252" y="33833"/>
                  </a:cubicBezTo>
                  <a:cubicBezTo>
                    <a:pt x="31883" y="14630"/>
                    <a:pt x="58400" y="3658"/>
                    <a:pt x="94976" y="0"/>
                  </a:cubicBezTo>
                  <a:cubicBezTo>
                    <a:pt x="98634" y="0"/>
                    <a:pt x="102291" y="0"/>
                    <a:pt x="105035" y="0"/>
                  </a:cubicBezTo>
                  <a:cubicBezTo>
                    <a:pt x="136124" y="0"/>
                    <a:pt x="169043" y="12802"/>
                    <a:pt x="189159" y="35662"/>
                  </a:cubicBezTo>
                  <a:cubicBezTo>
                    <a:pt x="192817" y="40234"/>
                    <a:pt x="199218" y="42977"/>
                    <a:pt x="203790" y="42977"/>
                  </a:cubicBezTo>
                  <a:cubicBezTo>
                    <a:pt x="211105" y="42977"/>
                    <a:pt x="215677" y="40234"/>
                    <a:pt x="220249" y="35662"/>
                  </a:cubicBezTo>
                  <a:cubicBezTo>
                    <a:pt x="239451" y="12802"/>
                    <a:pt x="271455" y="0"/>
                    <a:pt x="304374" y="0"/>
                  </a:cubicBezTo>
                  <a:cubicBezTo>
                    <a:pt x="307117" y="0"/>
                    <a:pt x="309860" y="0"/>
                    <a:pt x="312603" y="0"/>
                  </a:cubicBezTo>
                  <a:cubicBezTo>
                    <a:pt x="350094" y="3658"/>
                    <a:pt x="375697" y="14630"/>
                    <a:pt x="392156" y="33833"/>
                  </a:cubicBezTo>
                  <a:cubicBezTo>
                    <a:pt x="406787" y="53035"/>
                    <a:pt x="411359" y="79553"/>
                    <a:pt x="404958" y="112471"/>
                  </a:cubicBezTo>
                  <a:lnTo>
                    <a:pt x="404958" y="112471"/>
                  </a:lnTo>
                  <a:close/>
                </a:path>
              </a:pathLst>
            </a:custGeom>
            <a:grpFill/>
            <a:ln w="9142"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75" name="Freeform: Shape 174">
              <a:extLst>
                <a:ext uri="{FF2B5EF4-FFF2-40B4-BE49-F238E27FC236}">
                  <a16:creationId xmlns:a16="http://schemas.microsoft.com/office/drawing/2014/main" id="{0101BA07-EE57-3591-3841-9E4FD44E14A6}"/>
                </a:ext>
              </a:extLst>
            </p:cNvPr>
            <p:cNvSpPr/>
            <p:nvPr/>
          </p:nvSpPr>
          <p:spPr>
            <a:xfrm>
              <a:off x="-9353968" y="83069"/>
              <a:ext cx="649224" cy="173736"/>
            </a:xfrm>
            <a:custGeom>
              <a:avLst/>
              <a:gdLst>
                <a:gd name="connsiteX0" fmla="*/ 655625 w 649224"/>
                <a:gd name="connsiteY0" fmla="*/ 16739 h 173736"/>
                <a:gd name="connsiteX1" fmla="*/ 611734 w 649224"/>
                <a:gd name="connsiteY1" fmla="*/ 280 h 173736"/>
                <a:gd name="connsiteX2" fmla="*/ 595274 w 649224"/>
                <a:gd name="connsiteY2" fmla="*/ 3938 h 173736"/>
                <a:gd name="connsiteX3" fmla="*/ 437998 w 649224"/>
                <a:gd name="connsiteY3" fmla="*/ 57887 h 173736"/>
                <a:gd name="connsiteX4" fmla="*/ 434340 w 649224"/>
                <a:gd name="connsiteY4" fmla="*/ 57887 h 173736"/>
                <a:gd name="connsiteX5" fmla="*/ 436169 w 649224"/>
                <a:gd name="connsiteY5" fmla="*/ 60630 h 173736"/>
                <a:gd name="connsiteX6" fmla="*/ 455371 w 649224"/>
                <a:gd name="connsiteY6" fmla="*/ 96292 h 173736"/>
                <a:gd name="connsiteX7" fmla="*/ 394106 w 649224"/>
                <a:gd name="connsiteY7" fmla="*/ 125553 h 173736"/>
                <a:gd name="connsiteX8" fmla="*/ 277978 w 649224"/>
                <a:gd name="connsiteY8" fmla="*/ 116409 h 173736"/>
                <a:gd name="connsiteX9" fmla="*/ 294437 w 649224"/>
                <a:gd name="connsiteY9" fmla="*/ 116409 h 173736"/>
                <a:gd name="connsiteX10" fmla="*/ 383134 w 649224"/>
                <a:gd name="connsiteY10" fmla="*/ 114580 h 173736"/>
                <a:gd name="connsiteX11" fmla="*/ 440741 w 649224"/>
                <a:gd name="connsiteY11" fmla="*/ 88977 h 173736"/>
                <a:gd name="connsiteX12" fmla="*/ 423367 w 649224"/>
                <a:gd name="connsiteY12" fmla="*/ 65202 h 173736"/>
                <a:gd name="connsiteX13" fmla="*/ 352044 w 649224"/>
                <a:gd name="connsiteY13" fmla="*/ 49658 h 173736"/>
                <a:gd name="connsiteX14" fmla="*/ 301752 w 649224"/>
                <a:gd name="connsiteY14" fmla="*/ 40514 h 173736"/>
                <a:gd name="connsiteX15" fmla="*/ 155448 w 649224"/>
                <a:gd name="connsiteY15" fmla="*/ 20397 h 173736"/>
                <a:gd name="connsiteX16" fmla="*/ 130759 w 649224"/>
                <a:gd name="connsiteY16" fmla="*/ 24054 h 173736"/>
                <a:gd name="connsiteX17" fmla="*/ 5486 w 649224"/>
                <a:gd name="connsiteY17" fmla="*/ 54230 h 173736"/>
                <a:gd name="connsiteX18" fmla="*/ 0 w 649224"/>
                <a:gd name="connsiteY18" fmla="*/ 54230 h 173736"/>
                <a:gd name="connsiteX19" fmla="*/ 63094 w 649224"/>
                <a:gd name="connsiteY19" fmla="*/ 144755 h 173736"/>
                <a:gd name="connsiteX20" fmla="*/ 96926 w 649224"/>
                <a:gd name="connsiteY20" fmla="*/ 139269 h 173736"/>
                <a:gd name="connsiteX21" fmla="*/ 139903 w 649224"/>
                <a:gd name="connsiteY21" fmla="*/ 139269 h 173736"/>
                <a:gd name="connsiteX22" fmla="*/ 241402 w 649224"/>
                <a:gd name="connsiteY22" fmla="*/ 159386 h 173736"/>
                <a:gd name="connsiteX23" fmla="*/ 341986 w 649224"/>
                <a:gd name="connsiteY23" fmla="*/ 179502 h 173736"/>
                <a:gd name="connsiteX24" fmla="*/ 368503 w 649224"/>
                <a:gd name="connsiteY24" fmla="*/ 180417 h 173736"/>
                <a:gd name="connsiteX25" fmla="*/ 431597 w 649224"/>
                <a:gd name="connsiteY25" fmla="*/ 155728 h 173736"/>
                <a:gd name="connsiteX26" fmla="*/ 450799 w 649224"/>
                <a:gd name="connsiteY26" fmla="*/ 145670 h 173736"/>
                <a:gd name="connsiteX27" fmla="*/ 637337 w 649224"/>
                <a:gd name="connsiteY27" fmla="*/ 45086 h 173736"/>
                <a:gd name="connsiteX28" fmla="*/ 655625 w 649224"/>
                <a:gd name="connsiteY28" fmla="*/ 16739 h 173736"/>
                <a:gd name="connsiteX29" fmla="*/ 655625 w 649224"/>
                <a:gd name="connsiteY29" fmla="*/ 16739 h 173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649224" h="173736">
                  <a:moveTo>
                    <a:pt x="655625" y="16739"/>
                  </a:moveTo>
                  <a:cubicBezTo>
                    <a:pt x="651053" y="5766"/>
                    <a:pt x="631850" y="-1549"/>
                    <a:pt x="611734" y="280"/>
                  </a:cubicBezTo>
                  <a:cubicBezTo>
                    <a:pt x="606247" y="1194"/>
                    <a:pt x="600761" y="2109"/>
                    <a:pt x="595274" y="3938"/>
                  </a:cubicBezTo>
                  <a:cubicBezTo>
                    <a:pt x="568757" y="11253"/>
                    <a:pt x="438912" y="56058"/>
                    <a:pt x="437998" y="57887"/>
                  </a:cubicBezTo>
                  <a:lnTo>
                    <a:pt x="434340" y="57887"/>
                  </a:lnTo>
                  <a:lnTo>
                    <a:pt x="436169" y="60630"/>
                  </a:lnTo>
                  <a:cubicBezTo>
                    <a:pt x="450799" y="72518"/>
                    <a:pt x="459029" y="86234"/>
                    <a:pt x="455371" y="96292"/>
                  </a:cubicBezTo>
                  <a:cubicBezTo>
                    <a:pt x="450799" y="111837"/>
                    <a:pt x="428854" y="121895"/>
                    <a:pt x="394106" y="125553"/>
                  </a:cubicBezTo>
                  <a:cubicBezTo>
                    <a:pt x="363931" y="127382"/>
                    <a:pt x="324612" y="125553"/>
                    <a:pt x="277978" y="116409"/>
                  </a:cubicBezTo>
                  <a:cubicBezTo>
                    <a:pt x="283464" y="116409"/>
                    <a:pt x="288036" y="116409"/>
                    <a:pt x="294437" y="116409"/>
                  </a:cubicBezTo>
                  <a:cubicBezTo>
                    <a:pt x="327355" y="116409"/>
                    <a:pt x="358445" y="116409"/>
                    <a:pt x="383134" y="114580"/>
                  </a:cubicBezTo>
                  <a:cubicBezTo>
                    <a:pt x="420624" y="111837"/>
                    <a:pt x="437998" y="103607"/>
                    <a:pt x="440741" y="88977"/>
                  </a:cubicBezTo>
                  <a:cubicBezTo>
                    <a:pt x="441655" y="78918"/>
                    <a:pt x="436169" y="71603"/>
                    <a:pt x="423367" y="65202"/>
                  </a:cubicBezTo>
                  <a:cubicBezTo>
                    <a:pt x="409651" y="57887"/>
                    <a:pt x="380390" y="54230"/>
                    <a:pt x="352044" y="49658"/>
                  </a:cubicBezTo>
                  <a:cubicBezTo>
                    <a:pt x="332842" y="46000"/>
                    <a:pt x="314554" y="44171"/>
                    <a:pt x="301752" y="40514"/>
                  </a:cubicBezTo>
                  <a:cubicBezTo>
                    <a:pt x="256032" y="28626"/>
                    <a:pt x="210312" y="15825"/>
                    <a:pt x="155448" y="20397"/>
                  </a:cubicBezTo>
                  <a:cubicBezTo>
                    <a:pt x="147218" y="21311"/>
                    <a:pt x="138989" y="22226"/>
                    <a:pt x="130759" y="24054"/>
                  </a:cubicBezTo>
                  <a:cubicBezTo>
                    <a:pt x="88697" y="31370"/>
                    <a:pt x="47549" y="41428"/>
                    <a:pt x="5486" y="54230"/>
                  </a:cubicBezTo>
                  <a:lnTo>
                    <a:pt x="0" y="54230"/>
                  </a:lnTo>
                  <a:lnTo>
                    <a:pt x="63094" y="144755"/>
                  </a:lnTo>
                  <a:cubicBezTo>
                    <a:pt x="74066" y="142012"/>
                    <a:pt x="85954" y="139269"/>
                    <a:pt x="96926" y="139269"/>
                  </a:cubicBezTo>
                  <a:cubicBezTo>
                    <a:pt x="111557" y="137440"/>
                    <a:pt x="126187" y="137440"/>
                    <a:pt x="139903" y="139269"/>
                  </a:cubicBezTo>
                  <a:cubicBezTo>
                    <a:pt x="156362" y="142926"/>
                    <a:pt x="200254" y="151156"/>
                    <a:pt x="241402" y="159386"/>
                  </a:cubicBezTo>
                  <a:cubicBezTo>
                    <a:pt x="285293" y="169444"/>
                    <a:pt x="326441" y="176759"/>
                    <a:pt x="341986" y="179502"/>
                  </a:cubicBezTo>
                  <a:cubicBezTo>
                    <a:pt x="351130" y="180417"/>
                    <a:pt x="359359" y="180417"/>
                    <a:pt x="368503" y="180417"/>
                  </a:cubicBezTo>
                  <a:cubicBezTo>
                    <a:pt x="389534" y="178588"/>
                    <a:pt x="411480" y="166701"/>
                    <a:pt x="431597" y="155728"/>
                  </a:cubicBezTo>
                  <a:cubicBezTo>
                    <a:pt x="438912" y="152070"/>
                    <a:pt x="444398" y="148413"/>
                    <a:pt x="450799" y="145670"/>
                  </a:cubicBezTo>
                  <a:lnTo>
                    <a:pt x="637337" y="45086"/>
                  </a:lnTo>
                  <a:cubicBezTo>
                    <a:pt x="657454" y="32284"/>
                    <a:pt x="657454" y="21311"/>
                    <a:pt x="655625" y="16739"/>
                  </a:cubicBezTo>
                  <a:lnTo>
                    <a:pt x="655625" y="16739"/>
                  </a:lnTo>
                  <a:close/>
                </a:path>
              </a:pathLst>
            </a:custGeom>
            <a:grpFill/>
            <a:ln w="9142"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endParaRPr>
            </a:p>
          </p:txBody>
        </p:sp>
      </p:grpSp>
      <p:pic>
        <p:nvPicPr>
          <p:cNvPr id="176" name="Content Placeholder 77" descr="Bridge scene outline">
            <a:extLst>
              <a:ext uri="{FF2B5EF4-FFF2-40B4-BE49-F238E27FC236}">
                <a16:creationId xmlns:a16="http://schemas.microsoft.com/office/drawing/2014/main" id="{EDDD7B28-E7EE-96F3-441E-D7B5368D803B}"/>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96895" y="2679482"/>
            <a:ext cx="603997" cy="603997"/>
          </a:xfrm>
          <a:prstGeom prst="rect">
            <a:avLst/>
          </a:prstGeom>
        </p:spPr>
      </p:pic>
      <p:sp>
        <p:nvSpPr>
          <p:cNvPr id="190" name="Rectangle: Rounded Corners 189">
            <a:extLst>
              <a:ext uri="{FF2B5EF4-FFF2-40B4-BE49-F238E27FC236}">
                <a16:creationId xmlns:a16="http://schemas.microsoft.com/office/drawing/2014/main" id="{E2AE098B-EC49-D966-9EEF-73008C925959}"/>
              </a:ext>
            </a:extLst>
          </p:cNvPr>
          <p:cNvSpPr/>
          <p:nvPr/>
        </p:nvSpPr>
        <p:spPr>
          <a:xfrm>
            <a:off x="5579309" y="1775268"/>
            <a:ext cx="653807" cy="585718"/>
          </a:xfrm>
          <a:prstGeom prst="roundRect">
            <a:avLst/>
          </a:prstGeom>
          <a:solidFill>
            <a:srgbClr val="595454"/>
          </a:solidFill>
          <a:ln>
            <a:noFill/>
          </a:ln>
          <a:effectLst/>
        </p:spPr>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191" name="Group 190">
            <a:extLst>
              <a:ext uri="{FF2B5EF4-FFF2-40B4-BE49-F238E27FC236}">
                <a16:creationId xmlns:a16="http://schemas.microsoft.com/office/drawing/2014/main" id="{69D88191-CA14-8BF5-DE93-9F9964D26F1D}"/>
              </a:ext>
            </a:extLst>
          </p:cNvPr>
          <p:cNvGrpSpPr/>
          <p:nvPr/>
        </p:nvGrpSpPr>
        <p:grpSpPr>
          <a:xfrm>
            <a:off x="5614143" y="1917025"/>
            <a:ext cx="594264" cy="320704"/>
            <a:chOff x="38100" y="2473325"/>
            <a:chExt cx="744538" cy="414338"/>
          </a:xfrm>
          <a:solidFill>
            <a:srgbClr val="FFFFFF"/>
          </a:solidFill>
        </p:grpSpPr>
        <p:sp>
          <p:nvSpPr>
            <p:cNvPr id="192" name="Freeform 176">
              <a:extLst>
                <a:ext uri="{FF2B5EF4-FFF2-40B4-BE49-F238E27FC236}">
                  <a16:creationId xmlns:a16="http://schemas.microsoft.com/office/drawing/2014/main" id="{8C67E0AB-5893-15F7-A95B-F16E36382CE1}"/>
                </a:ext>
              </a:extLst>
            </p:cNvPr>
            <p:cNvSpPr>
              <a:spLocks/>
            </p:cNvSpPr>
            <p:nvPr/>
          </p:nvSpPr>
          <p:spPr bwMode="auto">
            <a:xfrm>
              <a:off x="58738" y="2630488"/>
              <a:ext cx="106363" cy="223838"/>
            </a:xfrm>
            <a:custGeom>
              <a:avLst/>
              <a:gdLst>
                <a:gd name="T0" fmla="*/ 0 w 67"/>
                <a:gd name="T1" fmla="*/ 141 h 141"/>
                <a:gd name="T2" fmla="*/ 67 w 67"/>
                <a:gd name="T3" fmla="*/ 141 h 141"/>
                <a:gd name="T4" fmla="*/ 67 w 67"/>
                <a:gd name="T5" fmla="*/ 0 h 141"/>
                <a:gd name="T6" fmla="*/ 0 w 67"/>
                <a:gd name="T7" fmla="*/ 33 h 141"/>
                <a:gd name="T8" fmla="*/ 0 w 67"/>
                <a:gd name="T9" fmla="*/ 141 h 141"/>
              </a:gdLst>
              <a:ahLst/>
              <a:cxnLst>
                <a:cxn ang="0">
                  <a:pos x="T0" y="T1"/>
                </a:cxn>
                <a:cxn ang="0">
                  <a:pos x="T2" y="T3"/>
                </a:cxn>
                <a:cxn ang="0">
                  <a:pos x="T4" y="T5"/>
                </a:cxn>
                <a:cxn ang="0">
                  <a:pos x="T6" y="T7"/>
                </a:cxn>
                <a:cxn ang="0">
                  <a:pos x="T8" y="T9"/>
                </a:cxn>
              </a:cxnLst>
              <a:rect l="0" t="0" r="r" b="b"/>
              <a:pathLst>
                <a:path w="67" h="141">
                  <a:moveTo>
                    <a:pt x="0" y="141"/>
                  </a:moveTo>
                  <a:lnTo>
                    <a:pt x="67" y="141"/>
                  </a:lnTo>
                  <a:lnTo>
                    <a:pt x="67" y="0"/>
                  </a:lnTo>
                  <a:lnTo>
                    <a:pt x="0" y="33"/>
                  </a:lnTo>
                  <a:lnTo>
                    <a:pt x="0" y="141"/>
                  </a:ln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93" name="Freeform 177">
              <a:extLst>
                <a:ext uri="{FF2B5EF4-FFF2-40B4-BE49-F238E27FC236}">
                  <a16:creationId xmlns:a16="http://schemas.microsoft.com/office/drawing/2014/main" id="{6E6E4EE7-DA39-38E1-B529-8F813969645F}"/>
                </a:ext>
              </a:extLst>
            </p:cNvPr>
            <p:cNvSpPr>
              <a:spLocks/>
            </p:cNvSpPr>
            <p:nvPr/>
          </p:nvSpPr>
          <p:spPr bwMode="auto">
            <a:xfrm>
              <a:off x="177800" y="2630488"/>
              <a:ext cx="101600" cy="223838"/>
            </a:xfrm>
            <a:custGeom>
              <a:avLst/>
              <a:gdLst>
                <a:gd name="T0" fmla="*/ 0 w 64"/>
                <a:gd name="T1" fmla="*/ 141 h 141"/>
                <a:gd name="T2" fmla="*/ 64 w 64"/>
                <a:gd name="T3" fmla="*/ 141 h 141"/>
                <a:gd name="T4" fmla="*/ 64 w 64"/>
                <a:gd name="T5" fmla="*/ 31 h 141"/>
                <a:gd name="T6" fmla="*/ 0 w 64"/>
                <a:gd name="T7" fmla="*/ 0 h 141"/>
                <a:gd name="T8" fmla="*/ 0 w 64"/>
                <a:gd name="T9" fmla="*/ 141 h 141"/>
              </a:gdLst>
              <a:ahLst/>
              <a:cxnLst>
                <a:cxn ang="0">
                  <a:pos x="T0" y="T1"/>
                </a:cxn>
                <a:cxn ang="0">
                  <a:pos x="T2" y="T3"/>
                </a:cxn>
                <a:cxn ang="0">
                  <a:pos x="T4" y="T5"/>
                </a:cxn>
                <a:cxn ang="0">
                  <a:pos x="T6" y="T7"/>
                </a:cxn>
                <a:cxn ang="0">
                  <a:pos x="T8" y="T9"/>
                </a:cxn>
              </a:cxnLst>
              <a:rect l="0" t="0" r="r" b="b"/>
              <a:pathLst>
                <a:path w="64" h="141">
                  <a:moveTo>
                    <a:pt x="0" y="141"/>
                  </a:moveTo>
                  <a:lnTo>
                    <a:pt x="64" y="141"/>
                  </a:lnTo>
                  <a:lnTo>
                    <a:pt x="64" y="31"/>
                  </a:lnTo>
                  <a:lnTo>
                    <a:pt x="0" y="0"/>
                  </a:lnTo>
                  <a:lnTo>
                    <a:pt x="0" y="141"/>
                  </a:ln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94" name="Freeform 178">
              <a:extLst>
                <a:ext uri="{FF2B5EF4-FFF2-40B4-BE49-F238E27FC236}">
                  <a16:creationId xmlns:a16="http://schemas.microsoft.com/office/drawing/2014/main" id="{70DD7838-AEF4-6F54-C491-5164DF86EEDC}"/>
                </a:ext>
              </a:extLst>
            </p:cNvPr>
            <p:cNvSpPr>
              <a:spLocks/>
            </p:cNvSpPr>
            <p:nvPr/>
          </p:nvSpPr>
          <p:spPr bwMode="auto">
            <a:xfrm>
              <a:off x="290513" y="2686050"/>
              <a:ext cx="101600" cy="168275"/>
            </a:xfrm>
            <a:custGeom>
              <a:avLst/>
              <a:gdLst>
                <a:gd name="T0" fmla="*/ 0 w 64"/>
                <a:gd name="T1" fmla="*/ 106 h 106"/>
                <a:gd name="T2" fmla="*/ 64 w 64"/>
                <a:gd name="T3" fmla="*/ 106 h 106"/>
                <a:gd name="T4" fmla="*/ 64 w 64"/>
                <a:gd name="T5" fmla="*/ 32 h 106"/>
                <a:gd name="T6" fmla="*/ 0 w 64"/>
                <a:gd name="T7" fmla="*/ 0 h 106"/>
                <a:gd name="T8" fmla="*/ 0 w 64"/>
                <a:gd name="T9" fmla="*/ 106 h 106"/>
              </a:gdLst>
              <a:ahLst/>
              <a:cxnLst>
                <a:cxn ang="0">
                  <a:pos x="T0" y="T1"/>
                </a:cxn>
                <a:cxn ang="0">
                  <a:pos x="T2" y="T3"/>
                </a:cxn>
                <a:cxn ang="0">
                  <a:pos x="T4" y="T5"/>
                </a:cxn>
                <a:cxn ang="0">
                  <a:pos x="T6" y="T7"/>
                </a:cxn>
                <a:cxn ang="0">
                  <a:pos x="T8" y="T9"/>
                </a:cxn>
              </a:cxnLst>
              <a:rect l="0" t="0" r="r" b="b"/>
              <a:pathLst>
                <a:path w="64" h="106">
                  <a:moveTo>
                    <a:pt x="0" y="106"/>
                  </a:moveTo>
                  <a:lnTo>
                    <a:pt x="64" y="106"/>
                  </a:lnTo>
                  <a:lnTo>
                    <a:pt x="64" y="32"/>
                  </a:lnTo>
                  <a:lnTo>
                    <a:pt x="0" y="0"/>
                  </a:lnTo>
                  <a:lnTo>
                    <a:pt x="0" y="106"/>
                  </a:ln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95" name="Freeform 179">
              <a:extLst>
                <a:ext uri="{FF2B5EF4-FFF2-40B4-BE49-F238E27FC236}">
                  <a16:creationId xmlns:a16="http://schemas.microsoft.com/office/drawing/2014/main" id="{332E688E-6C27-040E-8ED8-EA016D62DFF9}"/>
                </a:ext>
              </a:extLst>
            </p:cNvPr>
            <p:cNvSpPr>
              <a:spLocks/>
            </p:cNvSpPr>
            <p:nvPr/>
          </p:nvSpPr>
          <p:spPr bwMode="auto">
            <a:xfrm>
              <a:off x="454025" y="2547938"/>
              <a:ext cx="30163" cy="25400"/>
            </a:xfrm>
            <a:custGeom>
              <a:avLst/>
              <a:gdLst>
                <a:gd name="T0" fmla="*/ 4 w 19"/>
                <a:gd name="T1" fmla="*/ 16 h 16"/>
                <a:gd name="T2" fmla="*/ 1 w 19"/>
                <a:gd name="T3" fmla="*/ 15 h 16"/>
                <a:gd name="T4" fmla="*/ 1 w 19"/>
                <a:gd name="T5" fmla="*/ 9 h 16"/>
                <a:gd name="T6" fmla="*/ 13 w 19"/>
                <a:gd name="T7" fmla="*/ 1 h 16"/>
                <a:gd name="T8" fmla="*/ 18 w 19"/>
                <a:gd name="T9" fmla="*/ 3 h 16"/>
                <a:gd name="T10" fmla="*/ 17 w 19"/>
                <a:gd name="T11" fmla="*/ 8 h 16"/>
                <a:gd name="T12" fmla="*/ 7 w 19"/>
                <a:gd name="T13" fmla="*/ 15 h 16"/>
                <a:gd name="T14" fmla="*/ 4 w 19"/>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6">
                  <a:moveTo>
                    <a:pt x="4" y="16"/>
                  </a:moveTo>
                  <a:cubicBezTo>
                    <a:pt x="3" y="16"/>
                    <a:pt x="2" y="16"/>
                    <a:pt x="1" y="15"/>
                  </a:cubicBezTo>
                  <a:cubicBezTo>
                    <a:pt x="0" y="13"/>
                    <a:pt x="0" y="11"/>
                    <a:pt x="1" y="9"/>
                  </a:cubicBezTo>
                  <a:cubicBezTo>
                    <a:pt x="5" y="6"/>
                    <a:pt x="9" y="3"/>
                    <a:pt x="13" y="1"/>
                  </a:cubicBezTo>
                  <a:cubicBezTo>
                    <a:pt x="15" y="0"/>
                    <a:pt x="17" y="1"/>
                    <a:pt x="18" y="3"/>
                  </a:cubicBezTo>
                  <a:cubicBezTo>
                    <a:pt x="19" y="4"/>
                    <a:pt x="19" y="7"/>
                    <a:pt x="17" y="8"/>
                  </a:cubicBezTo>
                  <a:cubicBezTo>
                    <a:pt x="13" y="10"/>
                    <a:pt x="10" y="12"/>
                    <a:pt x="7" y="15"/>
                  </a:cubicBezTo>
                  <a:cubicBezTo>
                    <a:pt x="6" y="16"/>
                    <a:pt x="5" y="16"/>
                    <a:pt x="4" y="16"/>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96" name="Freeform 180">
              <a:extLst>
                <a:ext uri="{FF2B5EF4-FFF2-40B4-BE49-F238E27FC236}">
                  <a16:creationId xmlns:a16="http://schemas.microsoft.com/office/drawing/2014/main" id="{94A27F90-FEE6-8883-2312-63BCAA2ED4B6}"/>
                </a:ext>
              </a:extLst>
            </p:cNvPr>
            <p:cNvSpPr>
              <a:spLocks/>
            </p:cNvSpPr>
            <p:nvPr/>
          </p:nvSpPr>
          <p:spPr bwMode="auto">
            <a:xfrm>
              <a:off x="493713" y="2538413"/>
              <a:ext cx="69850" cy="34925"/>
            </a:xfrm>
            <a:custGeom>
              <a:avLst/>
              <a:gdLst>
                <a:gd name="T0" fmla="*/ 40 w 44"/>
                <a:gd name="T1" fmla="*/ 22 h 22"/>
                <a:gd name="T2" fmla="*/ 37 w 44"/>
                <a:gd name="T3" fmla="*/ 21 h 22"/>
                <a:gd name="T4" fmla="*/ 5 w 44"/>
                <a:gd name="T5" fmla="*/ 10 h 22"/>
                <a:gd name="T6" fmla="*/ 0 w 44"/>
                <a:gd name="T7" fmla="*/ 6 h 22"/>
                <a:gd name="T8" fmla="*/ 4 w 44"/>
                <a:gd name="T9" fmla="*/ 2 h 22"/>
                <a:gd name="T10" fmla="*/ 43 w 44"/>
                <a:gd name="T11" fmla="*/ 15 h 22"/>
                <a:gd name="T12" fmla="*/ 43 w 44"/>
                <a:gd name="T13" fmla="*/ 21 h 22"/>
                <a:gd name="T14" fmla="*/ 40 w 44"/>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22">
                  <a:moveTo>
                    <a:pt x="40" y="22"/>
                  </a:moveTo>
                  <a:cubicBezTo>
                    <a:pt x="39" y="22"/>
                    <a:pt x="38" y="22"/>
                    <a:pt x="37" y="21"/>
                  </a:cubicBezTo>
                  <a:cubicBezTo>
                    <a:pt x="28" y="12"/>
                    <a:pt x="17" y="8"/>
                    <a:pt x="5" y="10"/>
                  </a:cubicBezTo>
                  <a:cubicBezTo>
                    <a:pt x="2" y="10"/>
                    <a:pt x="0" y="9"/>
                    <a:pt x="0" y="6"/>
                  </a:cubicBezTo>
                  <a:cubicBezTo>
                    <a:pt x="0" y="4"/>
                    <a:pt x="1" y="2"/>
                    <a:pt x="4" y="2"/>
                  </a:cubicBezTo>
                  <a:cubicBezTo>
                    <a:pt x="18" y="0"/>
                    <a:pt x="32" y="5"/>
                    <a:pt x="43" y="15"/>
                  </a:cubicBezTo>
                  <a:cubicBezTo>
                    <a:pt x="44" y="17"/>
                    <a:pt x="44" y="19"/>
                    <a:pt x="43" y="21"/>
                  </a:cubicBezTo>
                  <a:cubicBezTo>
                    <a:pt x="42" y="22"/>
                    <a:pt x="41" y="22"/>
                    <a:pt x="40" y="22"/>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97" name="Freeform 181">
              <a:extLst>
                <a:ext uri="{FF2B5EF4-FFF2-40B4-BE49-F238E27FC236}">
                  <a16:creationId xmlns:a16="http://schemas.microsoft.com/office/drawing/2014/main" id="{1B35883D-A17A-4F15-1E7A-7305F4569FA6}"/>
                </a:ext>
              </a:extLst>
            </p:cNvPr>
            <p:cNvSpPr>
              <a:spLocks noEditPoints="1"/>
            </p:cNvSpPr>
            <p:nvPr/>
          </p:nvSpPr>
          <p:spPr bwMode="auto">
            <a:xfrm>
              <a:off x="368300" y="2473325"/>
              <a:ext cx="280988" cy="282575"/>
            </a:xfrm>
            <a:custGeom>
              <a:avLst/>
              <a:gdLst>
                <a:gd name="T0" fmla="*/ 147 w 179"/>
                <a:gd name="T1" fmla="*/ 32 h 179"/>
                <a:gd name="T2" fmla="*/ 32 w 179"/>
                <a:gd name="T3" fmla="*/ 32 h 179"/>
                <a:gd name="T4" fmla="*/ 32 w 179"/>
                <a:gd name="T5" fmla="*/ 147 h 179"/>
                <a:gd name="T6" fmla="*/ 147 w 179"/>
                <a:gd name="T7" fmla="*/ 147 h 179"/>
                <a:gd name="T8" fmla="*/ 147 w 179"/>
                <a:gd name="T9" fmla="*/ 32 h 179"/>
                <a:gd name="T10" fmla="*/ 45 w 179"/>
                <a:gd name="T11" fmla="*/ 134 h 179"/>
                <a:gd name="T12" fmla="*/ 45 w 179"/>
                <a:gd name="T13" fmla="*/ 45 h 179"/>
                <a:gd name="T14" fmla="*/ 134 w 179"/>
                <a:gd name="T15" fmla="*/ 45 h 179"/>
                <a:gd name="T16" fmla="*/ 134 w 179"/>
                <a:gd name="T17" fmla="*/ 134 h 179"/>
                <a:gd name="T18" fmla="*/ 45 w 179"/>
                <a:gd name="T19" fmla="*/ 1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79">
                  <a:moveTo>
                    <a:pt x="147" y="32"/>
                  </a:moveTo>
                  <a:cubicBezTo>
                    <a:pt x="115" y="0"/>
                    <a:pt x="64" y="0"/>
                    <a:pt x="32" y="32"/>
                  </a:cubicBezTo>
                  <a:cubicBezTo>
                    <a:pt x="0" y="64"/>
                    <a:pt x="0" y="115"/>
                    <a:pt x="32" y="147"/>
                  </a:cubicBezTo>
                  <a:cubicBezTo>
                    <a:pt x="64" y="179"/>
                    <a:pt x="115" y="179"/>
                    <a:pt x="147" y="147"/>
                  </a:cubicBezTo>
                  <a:cubicBezTo>
                    <a:pt x="179" y="115"/>
                    <a:pt x="179" y="64"/>
                    <a:pt x="147" y="32"/>
                  </a:cubicBezTo>
                  <a:close/>
                  <a:moveTo>
                    <a:pt x="45" y="134"/>
                  </a:moveTo>
                  <a:cubicBezTo>
                    <a:pt x="20" y="110"/>
                    <a:pt x="20" y="69"/>
                    <a:pt x="45" y="45"/>
                  </a:cubicBezTo>
                  <a:cubicBezTo>
                    <a:pt x="69" y="20"/>
                    <a:pt x="110" y="20"/>
                    <a:pt x="134" y="45"/>
                  </a:cubicBezTo>
                  <a:cubicBezTo>
                    <a:pt x="159" y="69"/>
                    <a:pt x="159" y="110"/>
                    <a:pt x="134" y="134"/>
                  </a:cubicBezTo>
                  <a:cubicBezTo>
                    <a:pt x="110" y="159"/>
                    <a:pt x="69" y="159"/>
                    <a:pt x="45" y="134"/>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98" name="Freeform 182">
              <a:extLst>
                <a:ext uri="{FF2B5EF4-FFF2-40B4-BE49-F238E27FC236}">
                  <a16:creationId xmlns:a16="http://schemas.microsoft.com/office/drawing/2014/main" id="{EED1B89B-AB66-9D8D-C3D0-D4AF3D037653}"/>
                </a:ext>
              </a:extLst>
            </p:cNvPr>
            <p:cNvSpPr>
              <a:spLocks noEditPoints="1"/>
            </p:cNvSpPr>
            <p:nvPr/>
          </p:nvSpPr>
          <p:spPr bwMode="auto">
            <a:xfrm>
              <a:off x="592138" y="2697163"/>
              <a:ext cx="190500" cy="190500"/>
            </a:xfrm>
            <a:custGeom>
              <a:avLst/>
              <a:gdLst>
                <a:gd name="T0" fmla="*/ 116 w 121"/>
                <a:gd name="T1" fmla="*/ 97 h 121"/>
                <a:gd name="T2" fmla="*/ 37 w 121"/>
                <a:gd name="T3" fmla="*/ 18 h 121"/>
                <a:gd name="T4" fmla="*/ 24 w 121"/>
                <a:gd name="T5" fmla="*/ 14 h 121"/>
                <a:gd name="T6" fmla="*/ 24 w 121"/>
                <a:gd name="T7" fmla="*/ 14 h 121"/>
                <a:gd name="T8" fmla="*/ 10 w 121"/>
                <a:gd name="T9" fmla="*/ 0 h 121"/>
                <a:gd name="T10" fmla="*/ 5 w 121"/>
                <a:gd name="T11" fmla="*/ 5 h 121"/>
                <a:gd name="T12" fmla="*/ 0 w 121"/>
                <a:gd name="T13" fmla="*/ 10 h 121"/>
                <a:gd name="T14" fmla="*/ 14 w 121"/>
                <a:gd name="T15" fmla="*/ 24 h 121"/>
                <a:gd name="T16" fmla="*/ 14 w 121"/>
                <a:gd name="T17" fmla="*/ 24 h 121"/>
                <a:gd name="T18" fmla="*/ 18 w 121"/>
                <a:gd name="T19" fmla="*/ 37 h 121"/>
                <a:gd name="T20" fmla="*/ 97 w 121"/>
                <a:gd name="T21" fmla="*/ 116 h 121"/>
                <a:gd name="T22" fmla="*/ 116 w 121"/>
                <a:gd name="T23" fmla="*/ 116 h 121"/>
                <a:gd name="T24" fmla="*/ 116 w 121"/>
                <a:gd name="T25" fmla="*/ 116 h 121"/>
                <a:gd name="T26" fmla="*/ 116 w 121"/>
                <a:gd name="T27" fmla="*/ 97 h 121"/>
                <a:gd name="T28" fmla="*/ 16 w 121"/>
                <a:gd name="T29" fmla="*/ 20 h 121"/>
                <a:gd name="T30" fmla="*/ 18 w 121"/>
                <a:gd name="T31" fmla="*/ 18 h 121"/>
                <a:gd name="T32" fmla="*/ 20 w 121"/>
                <a:gd name="T33" fmla="*/ 16 h 121"/>
                <a:gd name="T34" fmla="*/ 18 w 121"/>
                <a:gd name="T35" fmla="*/ 18 h 121"/>
                <a:gd name="T36" fmla="*/ 16 w 121"/>
                <a:gd name="T37" fmla="*/ 20 h 121"/>
                <a:gd name="T38" fmla="*/ 15 w 121"/>
                <a:gd name="T39" fmla="*/ 21 h 121"/>
                <a:gd name="T40" fmla="*/ 16 w 121"/>
                <a:gd name="T41" fmla="*/ 20 h 121"/>
                <a:gd name="T42" fmla="*/ 15 w 121"/>
                <a:gd name="T43" fmla="*/ 21 h 121"/>
                <a:gd name="T44" fmla="*/ 21 w 121"/>
                <a:gd name="T45" fmla="*/ 15 h 121"/>
                <a:gd name="T46" fmla="*/ 20 w 121"/>
                <a:gd name="T47" fmla="*/ 16 h 121"/>
                <a:gd name="T48" fmla="*/ 21 w 121"/>
                <a:gd name="T49" fmla="*/ 15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1" h="121">
                  <a:moveTo>
                    <a:pt x="116" y="97"/>
                  </a:moveTo>
                  <a:cubicBezTo>
                    <a:pt x="37" y="18"/>
                    <a:pt x="37" y="18"/>
                    <a:pt x="37" y="18"/>
                  </a:cubicBezTo>
                  <a:cubicBezTo>
                    <a:pt x="34" y="14"/>
                    <a:pt x="29" y="13"/>
                    <a:pt x="24" y="14"/>
                  </a:cubicBezTo>
                  <a:cubicBezTo>
                    <a:pt x="24" y="14"/>
                    <a:pt x="24" y="14"/>
                    <a:pt x="24" y="14"/>
                  </a:cubicBezTo>
                  <a:cubicBezTo>
                    <a:pt x="10" y="0"/>
                    <a:pt x="10" y="0"/>
                    <a:pt x="10" y="0"/>
                  </a:cubicBezTo>
                  <a:cubicBezTo>
                    <a:pt x="8" y="2"/>
                    <a:pt x="7" y="3"/>
                    <a:pt x="5" y="5"/>
                  </a:cubicBezTo>
                  <a:cubicBezTo>
                    <a:pt x="3" y="7"/>
                    <a:pt x="2" y="8"/>
                    <a:pt x="0" y="10"/>
                  </a:cubicBezTo>
                  <a:cubicBezTo>
                    <a:pt x="14" y="24"/>
                    <a:pt x="14" y="24"/>
                    <a:pt x="14" y="24"/>
                  </a:cubicBezTo>
                  <a:cubicBezTo>
                    <a:pt x="14" y="24"/>
                    <a:pt x="14" y="24"/>
                    <a:pt x="14" y="24"/>
                  </a:cubicBezTo>
                  <a:cubicBezTo>
                    <a:pt x="13" y="29"/>
                    <a:pt x="14" y="34"/>
                    <a:pt x="18" y="37"/>
                  </a:cubicBezTo>
                  <a:cubicBezTo>
                    <a:pt x="97" y="116"/>
                    <a:pt x="97" y="116"/>
                    <a:pt x="97" y="116"/>
                  </a:cubicBezTo>
                  <a:cubicBezTo>
                    <a:pt x="102" y="121"/>
                    <a:pt x="111" y="121"/>
                    <a:pt x="116" y="116"/>
                  </a:cubicBezTo>
                  <a:cubicBezTo>
                    <a:pt x="116" y="116"/>
                    <a:pt x="116" y="116"/>
                    <a:pt x="116" y="116"/>
                  </a:cubicBezTo>
                  <a:cubicBezTo>
                    <a:pt x="121" y="111"/>
                    <a:pt x="121" y="102"/>
                    <a:pt x="116" y="97"/>
                  </a:cubicBezTo>
                  <a:close/>
                  <a:moveTo>
                    <a:pt x="16" y="20"/>
                  </a:moveTo>
                  <a:cubicBezTo>
                    <a:pt x="17" y="19"/>
                    <a:pt x="17" y="18"/>
                    <a:pt x="18" y="18"/>
                  </a:cubicBezTo>
                  <a:cubicBezTo>
                    <a:pt x="18" y="17"/>
                    <a:pt x="19" y="17"/>
                    <a:pt x="20" y="16"/>
                  </a:cubicBezTo>
                  <a:cubicBezTo>
                    <a:pt x="19" y="17"/>
                    <a:pt x="18" y="17"/>
                    <a:pt x="18" y="18"/>
                  </a:cubicBezTo>
                  <a:cubicBezTo>
                    <a:pt x="17" y="18"/>
                    <a:pt x="17" y="19"/>
                    <a:pt x="16" y="20"/>
                  </a:cubicBezTo>
                  <a:close/>
                  <a:moveTo>
                    <a:pt x="15" y="21"/>
                  </a:moveTo>
                  <a:cubicBezTo>
                    <a:pt x="16" y="21"/>
                    <a:pt x="16" y="21"/>
                    <a:pt x="16" y="20"/>
                  </a:cubicBezTo>
                  <a:cubicBezTo>
                    <a:pt x="16" y="21"/>
                    <a:pt x="16" y="21"/>
                    <a:pt x="15" y="21"/>
                  </a:cubicBezTo>
                  <a:close/>
                  <a:moveTo>
                    <a:pt x="21" y="15"/>
                  </a:moveTo>
                  <a:cubicBezTo>
                    <a:pt x="21" y="16"/>
                    <a:pt x="21" y="16"/>
                    <a:pt x="20" y="16"/>
                  </a:cubicBezTo>
                  <a:cubicBezTo>
                    <a:pt x="21" y="16"/>
                    <a:pt x="21" y="16"/>
                    <a:pt x="21" y="15"/>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99" name="Freeform 183">
              <a:extLst>
                <a:ext uri="{FF2B5EF4-FFF2-40B4-BE49-F238E27FC236}">
                  <a16:creationId xmlns:a16="http://schemas.microsoft.com/office/drawing/2014/main" id="{DE61E842-FDB6-516C-EFC3-5177292561B2}"/>
                </a:ext>
              </a:extLst>
            </p:cNvPr>
            <p:cNvSpPr>
              <a:spLocks/>
            </p:cNvSpPr>
            <p:nvPr/>
          </p:nvSpPr>
          <p:spPr bwMode="auto">
            <a:xfrm>
              <a:off x="488950" y="2682875"/>
              <a:ext cx="22225" cy="12700"/>
            </a:xfrm>
            <a:custGeom>
              <a:avLst/>
              <a:gdLst>
                <a:gd name="T0" fmla="*/ 14 w 14"/>
                <a:gd name="T1" fmla="*/ 8 h 8"/>
                <a:gd name="T2" fmla="*/ 14 w 14"/>
                <a:gd name="T3" fmla="*/ 0 h 8"/>
                <a:gd name="T4" fmla="*/ 0 w 14"/>
                <a:gd name="T5" fmla="*/ 6 h 8"/>
                <a:gd name="T6" fmla="*/ 12 w 14"/>
                <a:gd name="T7" fmla="*/ 8 h 8"/>
                <a:gd name="T8" fmla="*/ 14 w 14"/>
                <a:gd name="T9" fmla="*/ 8 h 8"/>
              </a:gdLst>
              <a:ahLst/>
              <a:cxnLst>
                <a:cxn ang="0">
                  <a:pos x="T0" y="T1"/>
                </a:cxn>
                <a:cxn ang="0">
                  <a:pos x="T2" y="T3"/>
                </a:cxn>
                <a:cxn ang="0">
                  <a:pos x="T4" y="T5"/>
                </a:cxn>
                <a:cxn ang="0">
                  <a:pos x="T6" y="T7"/>
                </a:cxn>
                <a:cxn ang="0">
                  <a:pos x="T8" y="T9"/>
                </a:cxn>
              </a:cxnLst>
              <a:rect l="0" t="0" r="r" b="b"/>
              <a:pathLst>
                <a:path w="14" h="8">
                  <a:moveTo>
                    <a:pt x="14" y="8"/>
                  </a:moveTo>
                  <a:cubicBezTo>
                    <a:pt x="14" y="0"/>
                    <a:pt x="14" y="0"/>
                    <a:pt x="14" y="0"/>
                  </a:cubicBezTo>
                  <a:cubicBezTo>
                    <a:pt x="0" y="6"/>
                    <a:pt x="0" y="6"/>
                    <a:pt x="0" y="6"/>
                  </a:cubicBezTo>
                  <a:cubicBezTo>
                    <a:pt x="4" y="7"/>
                    <a:pt x="8" y="8"/>
                    <a:pt x="12" y="8"/>
                  </a:cubicBezTo>
                  <a:cubicBezTo>
                    <a:pt x="13" y="8"/>
                    <a:pt x="14" y="8"/>
                    <a:pt x="14" y="8"/>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200" name="Freeform 184">
              <a:extLst>
                <a:ext uri="{FF2B5EF4-FFF2-40B4-BE49-F238E27FC236}">
                  <a16:creationId xmlns:a16="http://schemas.microsoft.com/office/drawing/2014/main" id="{70009466-4544-CCB3-CE50-2F726DA4F5AD}"/>
                </a:ext>
              </a:extLst>
            </p:cNvPr>
            <p:cNvSpPr>
              <a:spLocks/>
            </p:cNvSpPr>
            <p:nvPr/>
          </p:nvSpPr>
          <p:spPr bwMode="auto">
            <a:xfrm>
              <a:off x="404813" y="2730500"/>
              <a:ext cx="106363" cy="123825"/>
            </a:xfrm>
            <a:custGeom>
              <a:avLst/>
              <a:gdLst>
                <a:gd name="T0" fmla="*/ 66 w 68"/>
                <a:gd name="T1" fmla="*/ 20 h 78"/>
                <a:gd name="T2" fmla="*/ 8 w 68"/>
                <a:gd name="T3" fmla="*/ 0 h 78"/>
                <a:gd name="T4" fmla="*/ 0 w 68"/>
                <a:gd name="T5" fmla="*/ 4 h 78"/>
                <a:gd name="T6" fmla="*/ 0 w 68"/>
                <a:gd name="T7" fmla="*/ 78 h 78"/>
                <a:gd name="T8" fmla="*/ 68 w 68"/>
                <a:gd name="T9" fmla="*/ 78 h 78"/>
                <a:gd name="T10" fmla="*/ 68 w 68"/>
                <a:gd name="T11" fmla="*/ 20 h 78"/>
                <a:gd name="T12" fmla="*/ 66 w 68"/>
                <a:gd name="T13" fmla="*/ 20 h 78"/>
              </a:gdLst>
              <a:ahLst/>
              <a:cxnLst>
                <a:cxn ang="0">
                  <a:pos x="T0" y="T1"/>
                </a:cxn>
                <a:cxn ang="0">
                  <a:pos x="T2" y="T3"/>
                </a:cxn>
                <a:cxn ang="0">
                  <a:pos x="T4" y="T5"/>
                </a:cxn>
                <a:cxn ang="0">
                  <a:pos x="T6" y="T7"/>
                </a:cxn>
                <a:cxn ang="0">
                  <a:pos x="T8" y="T9"/>
                </a:cxn>
                <a:cxn ang="0">
                  <a:pos x="T10" y="T11"/>
                </a:cxn>
                <a:cxn ang="0">
                  <a:pos x="T12" y="T13"/>
                </a:cxn>
              </a:cxnLst>
              <a:rect l="0" t="0" r="r" b="b"/>
              <a:pathLst>
                <a:path w="68" h="78">
                  <a:moveTo>
                    <a:pt x="66" y="20"/>
                  </a:moveTo>
                  <a:cubicBezTo>
                    <a:pt x="45" y="20"/>
                    <a:pt x="25" y="13"/>
                    <a:pt x="8" y="0"/>
                  </a:cubicBezTo>
                  <a:cubicBezTo>
                    <a:pt x="0" y="4"/>
                    <a:pt x="0" y="4"/>
                    <a:pt x="0" y="4"/>
                  </a:cubicBezTo>
                  <a:cubicBezTo>
                    <a:pt x="0" y="78"/>
                    <a:pt x="0" y="78"/>
                    <a:pt x="0" y="78"/>
                  </a:cubicBezTo>
                  <a:cubicBezTo>
                    <a:pt x="68" y="78"/>
                    <a:pt x="68" y="78"/>
                    <a:pt x="68" y="78"/>
                  </a:cubicBezTo>
                  <a:cubicBezTo>
                    <a:pt x="68" y="20"/>
                    <a:pt x="68" y="20"/>
                    <a:pt x="68" y="20"/>
                  </a:cubicBezTo>
                  <a:cubicBezTo>
                    <a:pt x="68" y="20"/>
                    <a:pt x="67" y="20"/>
                    <a:pt x="66" y="20"/>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201" name="Freeform 185">
              <a:extLst>
                <a:ext uri="{FF2B5EF4-FFF2-40B4-BE49-F238E27FC236}">
                  <a16:creationId xmlns:a16="http://schemas.microsoft.com/office/drawing/2014/main" id="{433745AA-416B-3D5C-1CD5-F9C5F8E6AED7}"/>
                </a:ext>
              </a:extLst>
            </p:cNvPr>
            <p:cNvSpPr>
              <a:spLocks noEditPoints="1"/>
            </p:cNvSpPr>
            <p:nvPr/>
          </p:nvSpPr>
          <p:spPr bwMode="auto">
            <a:xfrm>
              <a:off x="441325" y="2606675"/>
              <a:ext cx="90488" cy="57150"/>
            </a:xfrm>
            <a:custGeom>
              <a:avLst/>
              <a:gdLst>
                <a:gd name="T0" fmla="*/ 45 w 58"/>
                <a:gd name="T1" fmla="*/ 25 h 36"/>
                <a:gd name="T2" fmla="*/ 58 w 58"/>
                <a:gd name="T3" fmla="*/ 13 h 36"/>
                <a:gd name="T4" fmla="*/ 45 w 58"/>
                <a:gd name="T5" fmla="*/ 0 h 36"/>
                <a:gd name="T6" fmla="*/ 32 w 58"/>
                <a:gd name="T7" fmla="*/ 13 h 36"/>
                <a:gd name="T8" fmla="*/ 33 w 58"/>
                <a:gd name="T9" fmla="*/ 16 h 36"/>
                <a:gd name="T10" fmla="*/ 0 w 58"/>
                <a:gd name="T11" fmla="*/ 33 h 36"/>
                <a:gd name="T12" fmla="*/ 2 w 58"/>
                <a:gd name="T13" fmla="*/ 36 h 36"/>
                <a:gd name="T14" fmla="*/ 35 w 58"/>
                <a:gd name="T15" fmla="*/ 20 h 36"/>
                <a:gd name="T16" fmla="*/ 45 w 58"/>
                <a:gd name="T17" fmla="*/ 25 h 36"/>
                <a:gd name="T18" fmla="*/ 45 w 58"/>
                <a:gd name="T19" fmla="*/ 4 h 36"/>
                <a:gd name="T20" fmla="*/ 54 w 58"/>
                <a:gd name="T21" fmla="*/ 13 h 36"/>
                <a:gd name="T22" fmla="*/ 45 w 58"/>
                <a:gd name="T23" fmla="*/ 21 h 36"/>
                <a:gd name="T24" fmla="*/ 36 w 58"/>
                <a:gd name="T25" fmla="*/ 13 h 36"/>
                <a:gd name="T26" fmla="*/ 45 w 58"/>
                <a:gd name="T27"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36">
                  <a:moveTo>
                    <a:pt x="45" y="25"/>
                  </a:moveTo>
                  <a:cubicBezTo>
                    <a:pt x="52" y="25"/>
                    <a:pt x="58" y="20"/>
                    <a:pt x="58" y="13"/>
                  </a:cubicBezTo>
                  <a:cubicBezTo>
                    <a:pt x="58" y="6"/>
                    <a:pt x="52" y="0"/>
                    <a:pt x="45" y="0"/>
                  </a:cubicBezTo>
                  <a:cubicBezTo>
                    <a:pt x="38" y="0"/>
                    <a:pt x="32" y="6"/>
                    <a:pt x="32" y="13"/>
                  </a:cubicBezTo>
                  <a:cubicBezTo>
                    <a:pt x="32" y="14"/>
                    <a:pt x="33" y="15"/>
                    <a:pt x="33" y="16"/>
                  </a:cubicBezTo>
                  <a:cubicBezTo>
                    <a:pt x="0" y="33"/>
                    <a:pt x="0" y="33"/>
                    <a:pt x="0" y="33"/>
                  </a:cubicBezTo>
                  <a:cubicBezTo>
                    <a:pt x="1" y="34"/>
                    <a:pt x="2" y="35"/>
                    <a:pt x="2" y="36"/>
                  </a:cubicBezTo>
                  <a:cubicBezTo>
                    <a:pt x="35" y="20"/>
                    <a:pt x="35" y="20"/>
                    <a:pt x="35" y="20"/>
                  </a:cubicBezTo>
                  <a:cubicBezTo>
                    <a:pt x="37" y="23"/>
                    <a:pt x="41" y="25"/>
                    <a:pt x="45" y="25"/>
                  </a:cubicBezTo>
                  <a:close/>
                  <a:moveTo>
                    <a:pt x="45" y="4"/>
                  </a:moveTo>
                  <a:cubicBezTo>
                    <a:pt x="50" y="4"/>
                    <a:pt x="54" y="8"/>
                    <a:pt x="54" y="13"/>
                  </a:cubicBezTo>
                  <a:cubicBezTo>
                    <a:pt x="54" y="17"/>
                    <a:pt x="50" y="21"/>
                    <a:pt x="45" y="21"/>
                  </a:cubicBezTo>
                  <a:cubicBezTo>
                    <a:pt x="40" y="21"/>
                    <a:pt x="36" y="17"/>
                    <a:pt x="36" y="13"/>
                  </a:cubicBezTo>
                  <a:cubicBezTo>
                    <a:pt x="36" y="8"/>
                    <a:pt x="40" y="4"/>
                    <a:pt x="45" y="4"/>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202" name="Freeform 186">
              <a:extLst>
                <a:ext uri="{FF2B5EF4-FFF2-40B4-BE49-F238E27FC236}">
                  <a16:creationId xmlns:a16="http://schemas.microsoft.com/office/drawing/2014/main" id="{D01742FE-C023-7834-52FE-7D793BD80B49}"/>
                </a:ext>
              </a:extLst>
            </p:cNvPr>
            <p:cNvSpPr>
              <a:spLocks noEditPoints="1"/>
            </p:cNvSpPr>
            <p:nvPr/>
          </p:nvSpPr>
          <p:spPr bwMode="auto">
            <a:xfrm>
              <a:off x="38100" y="2549525"/>
              <a:ext cx="336550" cy="123825"/>
            </a:xfrm>
            <a:custGeom>
              <a:avLst/>
              <a:gdLst>
                <a:gd name="T0" fmla="*/ 212 w 214"/>
                <a:gd name="T1" fmla="*/ 74 h 79"/>
                <a:gd name="T2" fmla="*/ 169 w 214"/>
                <a:gd name="T3" fmla="*/ 52 h 79"/>
                <a:gd name="T4" fmla="*/ 170 w 214"/>
                <a:gd name="T5" fmla="*/ 49 h 79"/>
                <a:gd name="T6" fmla="*/ 157 w 214"/>
                <a:gd name="T7" fmla="*/ 36 h 79"/>
                <a:gd name="T8" fmla="*/ 147 w 214"/>
                <a:gd name="T9" fmla="*/ 41 h 79"/>
                <a:gd name="T10" fmla="*/ 97 w 214"/>
                <a:gd name="T11" fmla="*/ 16 h 79"/>
                <a:gd name="T12" fmla="*/ 98 w 214"/>
                <a:gd name="T13" fmla="*/ 13 h 79"/>
                <a:gd name="T14" fmla="*/ 85 w 214"/>
                <a:gd name="T15" fmla="*/ 0 h 79"/>
                <a:gd name="T16" fmla="*/ 72 w 214"/>
                <a:gd name="T17" fmla="*/ 13 h 79"/>
                <a:gd name="T18" fmla="*/ 73 w 214"/>
                <a:gd name="T19" fmla="*/ 16 h 79"/>
                <a:gd name="T20" fmla="*/ 23 w 214"/>
                <a:gd name="T21" fmla="*/ 41 h 79"/>
                <a:gd name="T22" fmla="*/ 13 w 214"/>
                <a:gd name="T23" fmla="*/ 36 h 79"/>
                <a:gd name="T24" fmla="*/ 0 w 214"/>
                <a:gd name="T25" fmla="*/ 49 h 79"/>
                <a:gd name="T26" fmla="*/ 13 w 214"/>
                <a:gd name="T27" fmla="*/ 61 h 79"/>
                <a:gd name="T28" fmla="*/ 26 w 214"/>
                <a:gd name="T29" fmla="*/ 49 h 79"/>
                <a:gd name="T30" fmla="*/ 25 w 214"/>
                <a:gd name="T31" fmla="*/ 45 h 79"/>
                <a:gd name="T32" fmla="*/ 75 w 214"/>
                <a:gd name="T33" fmla="*/ 20 h 79"/>
                <a:gd name="T34" fmla="*/ 85 w 214"/>
                <a:gd name="T35" fmla="*/ 26 h 79"/>
                <a:gd name="T36" fmla="*/ 96 w 214"/>
                <a:gd name="T37" fmla="*/ 20 h 79"/>
                <a:gd name="T38" fmla="*/ 145 w 214"/>
                <a:gd name="T39" fmla="*/ 45 h 79"/>
                <a:gd name="T40" fmla="*/ 144 w 214"/>
                <a:gd name="T41" fmla="*/ 49 h 79"/>
                <a:gd name="T42" fmla="*/ 157 w 214"/>
                <a:gd name="T43" fmla="*/ 61 h 79"/>
                <a:gd name="T44" fmla="*/ 167 w 214"/>
                <a:gd name="T45" fmla="*/ 56 h 79"/>
                <a:gd name="T46" fmla="*/ 214 w 214"/>
                <a:gd name="T47" fmla="*/ 79 h 79"/>
                <a:gd name="T48" fmla="*/ 212 w 214"/>
                <a:gd name="T49" fmla="*/ 74 h 79"/>
                <a:gd name="T50" fmla="*/ 13 w 214"/>
                <a:gd name="T51" fmla="*/ 57 h 79"/>
                <a:gd name="T52" fmla="*/ 4 w 214"/>
                <a:gd name="T53" fmla="*/ 49 h 79"/>
                <a:gd name="T54" fmla="*/ 13 w 214"/>
                <a:gd name="T55" fmla="*/ 40 h 79"/>
                <a:gd name="T56" fmla="*/ 22 w 214"/>
                <a:gd name="T57" fmla="*/ 49 h 79"/>
                <a:gd name="T58" fmla="*/ 13 w 214"/>
                <a:gd name="T59" fmla="*/ 57 h 79"/>
                <a:gd name="T60" fmla="*/ 85 w 214"/>
                <a:gd name="T61" fmla="*/ 22 h 79"/>
                <a:gd name="T62" fmla="*/ 76 w 214"/>
                <a:gd name="T63" fmla="*/ 13 h 79"/>
                <a:gd name="T64" fmla="*/ 85 w 214"/>
                <a:gd name="T65" fmla="*/ 4 h 79"/>
                <a:gd name="T66" fmla="*/ 94 w 214"/>
                <a:gd name="T67" fmla="*/ 13 h 79"/>
                <a:gd name="T68" fmla="*/ 85 w 214"/>
                <a:gd name="T69" fmla="*/ 22 h 79"/>
                <a:gd name="T70" fmla="*/ 157 w 214"/>
                <a:gd name="T71" fmla="*/ 57 h 79"/>
                <a:gd name="T72" fmla="*/ 148 w 214"/>
                <a:gd name="T73" fmla="*/ 49 h 79"/>
                <a:gd name="T74" fmla="*/ 157 w 214"/>
                <a:gd name="T75" fmla="*/ 40 h 79"/>
                <a:gd name="T76" fmla="*/ 166 w 214"/>
                <a:gd name="T77" fmla="*/ 49 h 79"/>
                <a:gd name="T78" fmla="*/ 157 w 214"/>
                <a:gd name="T79" fmla="*/ 57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4" h="79">
                  <a:moveTo>
                    <a:pt x="212" y="74"/>
                  </a:moveTo>
                  <a:cubicBezTo>
                    <a:pt x="169" y="52"/>
                    <a:pt x="169" y="52"/>
                    <a:pt x="169" y="52"/>
                  </a:cubicBezTo>
                  <a:cubicBezTo>
                    <a:pt x="169" y="51"/>
                    <a:pt x="170" y="50"/>
                    <a:pt x="170" y="49"/>
                  </a:cubicBezTo>
                  <a:cubicBezTo>
                    <a:pt x="170" y="42"/>
                    <a:pt x="164" y="36"/>
                    <a:pt x="157" y="36"/>
                  </a:cubicBezTo>
                  <a:cubicBezTo>
                    <a:pt x="153" y="36"/>
                    <a:pt x="149" y="38"/>
                    <a:pt x="147" y="41"/>
                  </a:cubicBezTo>
                  <a:cubicBezTo>
                    <a:pt x="97" y="16"/>
                    <a:pt x="97" y="16"/>
                    <a:pt x="97" y="16"/>
                  </a:cubicBezTo>
                  <a:cubicBezTo>
                    <a:pt x="98" y="15"/>
                    <a:pt x="98" y="14"/>
                    <a:pt x="98" y="13"/>
                  </a:cubicBezTo>
                  <a:cubicBezTo>
                    <a:pt x="98" y="6"/>
                    <a:pt x="92" y="0"/>
                    <a:pt x="85" y="0"/>
                  </a:cubicBezTo>
                  <a:cubicBezTo>
                    <a:pt x="78" y="0"/>
                    <a:pt x="72" y="6"/>
                    <a:pt x="72" y="13"/>
                  </a:cubicBezTo>
                  <a:cubicBezTo>
                    <a:pt x="72" y="14"/>
                    <a:pt x="73" y="15"/>
                    <a:pt x="73" y="16"/>
                  </a:cubicBezTo>
                  <a:cubicBezTo>
                    <a:pt x="23" y="41"/>
                    <a:pt x="23" y="41"/>
                    <a:pt x="23" y="41"/>
                  </a:cubicBezTo>
                  <a:cubicBezTo>
                    <a:pt x="21" y="38"/>
                    <a:pt x="17" y="36"/>
                    <a:pt x="13" y="36"/>
                  </a:cubicBezTo>
                  <a:cubicBezTo>
                    <a:pt x="6" y="36"/>
                    <a:pt x="0" y="42"/>
                    <a:pt x="0" y="49"/>
                  </a:cubicBezTo>
                  <a:cubicBezTo>
                    <a:pt x="0" y="56"/>
                    <a:pt x="6" y="61"/>
                    <a:pt x="13" y="61"/>
                  </a:cubicBezTo>
                  <a:cubicBezTo>
                    <a:pt x="20" y="61"/>
                    <a:pt x="26" y="56"/>
                    <a:pt x="26" y="49"/>
                  </a:cubicBezTo>
                  <a:cubicBezTo>
                    <a:pt x="26" y="47"/>
                    <a:pt x="25" y="46"/>
                    <a:pt x="25" y="45"/>
                  </a:cubicBezTo>
                  <a:cubicBezTo>
                    <a:pt x="75" y="20"/>
                    <a:pt x="75" y="20"/>
                    <a:pt x="75" y="20"/>
                  </a:cubicBezTo>
                  <a:cubicBezTo>
                    <a:pt x="77" y="24"/>
                    <a:pt x="81" y="26"/>
                    <a:pt x="85" y="26"/>
                  </a:cubicBezTo>
                  <a:cubicBezTo>
                    <a:pt x="89" y="26"/>
                    <a:pt x="93" y="24"/>
                    <a:pt x="96" y="20"/>
                  </a:cubicBezTo>
                  <a:cubicBezTo>
                    <a:pt x="145" y="45"/>
                    <a:pt x="145" y="45"/>
                    <a:pt x="145" y="45"/>
                  </a:cubicBezTo>
                  <a:cubicBezTo>
                    <a:pt x="145" y="46"/>
                    <a:pt x="144" y="47"/>
                    <a:pt x="144" y="49"/>
                  </a:cubicBezTo>
                  <a:cubicBezTo>
                    <a:pt x="144" y="56"/>
                    <a:pt x="150" y="61"/>
                    <a:pt x="157" y="61"/>
                  </a:cubicBezTo>
                  <a:cubicBezTo>
                    <a:pt x="161" y="61"/>
                    <a:pt x="165" y="59"/>
                    <a:pt x="167" y="56"/>
                  </a:cubicBezTo>
                  <a:cubicBezTo>
                    <a:pt x="214" y="79"/>
                    <a:pt x="214" y="79"/>
                    <a:pt x="214" y="79"/>
                  </a:cubicBezTo>
                  <a:cubicBezTo>
                    <a:pt x="213" y="77"/>
                    <a:pt x="212" y="76"/>
                    <a:pt x="212" y="74"/>
                  </a:cubicBezTo>
                  <a:close/>
                  <a:moveTo>
                    <a:pt x="13" y="57"/>
                  </a:moveTo>
                  <a:cubicBezTo>
                    <a:pt x="8" y="57"/>
                    <a:pt x="4" y="53"/>
                    <a:pt x="4" y="49"/>
                  </a:cubicBezTo>
                  <a:cubicBezTo>
                    <a:pt x="4" y="44"/>
                    <a:pt x="8" y="40"/>
                    <a:pt x="13" y="40"/>
                  </a:cubicBezTo>
                  <a:cubicBezTo>
                    <a:pt x="18" y="40"/>
                    <a:pt x="22" y="44"/>
                    <a:pt x="22" y="49"/>
                  </a:cubicBezTo>
                  <a:cubicBezTo>
                    <a:pt x="22" y="53"/>
                    <a:pt x="18" y="57"/>
                    <a:pt x="13" y="57"/>
                  </a:cubicBezTo>
                  <a:close/>
                  <a:moveTo>
                    <a:pt x="85" y="22"/>
                  </a:moveTo>
                  <a:cubicBezTo>
                    <a:pt x="80" y="22"/>
                    <a:pt x="76" y="18"/>
                    <a:pt x="76" y="13"/>
                  </a:cubicBezTo>
                  <a:cubicBezTo>
                    <a:pt x="76" y="8"/>
                    <a:pt x="80" y="4"/>
                    <a:pt x="85" y="4"/>
                  </a:cubicBezTo>
                  <a:cubicBezTo>
                    <a:pt x="90" y="4"/>
                    <a:pt x="94" y="8"/>
                    <a:pt x="94" y="13"/>
                  </a:cubicBezTo>
                  <a:cubicBezTo>
                    <a:pt x="94" y="18"/>
                    <a:pt x="90" y="22"/>
                    <a:pt x="85" y="22"/>
                  </a:cubicBezTo>
                  <a:close/>
                  <a:moveTo>
                    <a:pt x="157" y="57"/>
                  </a:moveTo>
                  <a:cubicBezTo>
                    <a:pt x="152" y="57"/>
                    <a:pt x="148" y="53"/>
                    <a:pt x="148" y="49"/>
                  </a:cubicBezTo>
                  <a:cubicBezTo>
                    <a:pt x="148" y="44"/>
                    <a:pt x="152" y="40"/>
                    <a:pt x="157" y="40"/>
                  </a:cubicBezTo>
                  <a:cubicBezTo>
                    <a:pt x="162" y="40"/>
                    <a:pt x="166" y="44"/>
                    <a:pt x="166" y="49"/>
                  </a:cubicBezTo>
                  <a:cubicBezTo>
                    <a:pt x="166" y="53"/>
                    <a:pt x="162" y="57"/>
                    <a:pt x="157" y="57"/>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endParaRPr>
            </a:p>
          </p:txBody>
        </p:sp>
      </p:grpSp>
      <p:sp>
        <p:nvSpPr>
          <p:cNvPr id="203" name="Content Placeholder 2">
            <a:extLst>
              <a:ext uri="{FF2B5EF4-FFF2-40B4-BE49-F238E27FC236}">
                <a16:creationId xmlns:a16="http://schemas.microsoft.com/office/drawing/2014/main" id="{F6C69344-522D-05AD-A562-298A7D3296B1}"/>
              </a:ext>
            </a:extLst>
          </p:cNvPr>
          <p:cNvSpPr txBox="1">
            <a:spLocks/>
          </p:cNvSpPr>
          <p:nvPr/>
        </p:nvSpPr>
        <p:spPr>
          <a:xfrm>
            <a:off x="2899564" y="6525259"/>
            <a:ext cx="8154590" cy="81849"/>
          </a:xfrm>
          <a:prstGeom prst="rect">
            <a:avLst/>
          </a:prstGeom>
        </p:spPr>
        <p:txBody>
          <a:bodyPr vert="horz" wrap="square" lIns="0" tIns="0" rIns="0" bIns="0" rtlCol="0" anchor="b" anchorCtr="0">
            <a:noAutofit/>
          </a:bodyPr>
          <a:lstStyle>
            <a:lvl1pPr marL="0" indent="0" algn="l" defTabSz="914400" rtl="0" eaLnBrk="1" latinLnBrk="0" hangingPunct="1">
              <a:lnSpc>
                <a:spcPct val="90000"/>
              </a:lnSpc>
              <a:spcBef>
                <a:spcPts val="0"/>
              </a:spcBef>
              <a:spcAft>
                <a:spcPts val="0"/>
              </a:spcAft>
              <a:buFontTx/>
              <a:buNone/>
              <a:defRPr sz="788" kern="1200">
                <a:solidFill>
                  <a:schemeClr val="tx1"/>
                </a:solidFill>
                <a:latin typeface="+mn-lt"/>
                <a:ea typeface="+mn-ea"/>
                <a:cs typeface="+mn-cs"/>
              </a:defRPr>
            </a:lvl1pPr>
            <a:lvl2pPr marL="342900" indent="0" algn="l" defTabSz="914400" rtl="0" eaLnBrk="1" latinLnBrk="0" hangingPunct="1">
              <a:lnSpc>
                <a:spcPct val="90000"/>
              </a:lnSpc>
              <a:spcBef>
                <a:spcPts val="500"/>
              </a:spcBef>
              <a:buFontTx/>
              <a:buNone/>
              <a:defRPr sz="600" kern="1200">
                <a:solidFill>
                  <a:schemeClr val="tx1"/>
                </a:solidFill>
                <a:latin typeface="+mn-lt"/>
                <a:ea typeface="+mn-ea"/>
                <a:cs typeface="+mn-cs"/>
              </a:defRPr>
            </a:lvl2pPr>
            <a:lvl3pPr marL="685800" indent="0" algn="l" defTabSz="914400" rtl="0" eaLnBrk="1" latinLnBrk="0" hangingPunct="1">
              <a:lnSpc>
                <a:spcPct val="90000"/>
              </a:lnSpc>
              <a:spcBef>
                <a:spcPts val="500"/>
              </a:spcBef>
              <a:buFontTx/>
              <a:buNone/>
              <a:defRPr sz="600" kern="1200">
                <a:solidFill>
                  <a:schemeClr val="tx1"/>
                </a:solidFill>
                <a:latin typeface="+mn-lt"/>
                <a:ea typeface="+mn-ea"/>
                <a:cs typeface="+mn-cs"/>
              </a:defRPr>
            </a:lvl3pPr>
            <a:lvl4pPr marL="1028700" indent="0" algn="l" defTabSz="914400" rtl="0" eaLnBrk="1" latinLnBrk="0" hangingPunct="1">
              <a:lnSpc>
                <a:spcPct val="90000"/>
              </a:lnSpc>
              <a:spcBef>
                <a:spcPts val="500"/>
              </a:spcBef>
              <a:buFontTx/>
              <a:buNone/>
              <a:defRPr sz="600" kern="1200">
                <a:solidFill>
                  <a:schemeClr val="tx1"/>
                </a:solidFill>
                <a:latin typeface="+mn-lt"/>
                <a:ea typeface="+mn-ea"/>
                <a:cs typeface="+mn-cs"/>
              </a:defRPr>
            </a:lvl4pPr>
            <a:lvl5pPr marL="1371600" indent="0" algn="l" defTabSz="914400" rtl="0" eaLnBrk="1" latinLnBrk="0" hangingPunct="1">
              <a:lnSpc>
                <a:spcPct val="90000"/>
              </a:lnSpc>
              <a:spcBef>
                <a:spcPts val="500"/>
              </a:spcBef>
              <a:buFontTx/>
              <a:buNone/>
              <a:defRPr sz="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675"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AR, chimeric antigen receptor; LDC, lymphodepleting chemotherapy; RT, radiotherapy; WBC, white blood cell. </a:t>
            </a:r>
            <a:br>
              <a:rPr kumimoji="0" lang="en-US" sz="675"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675"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 </a:t>
            </a:r>
            <a:r>
              <a:rPr kumimoji="0" lang="en-US" sz="675"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Beaupierre</a:t>
            </a:r>
            <a:r>
              <a:rPr kumimoji="0" lang="en-US" sz="675"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 et al. J Adv </a:t>
            </a:r>
            <a:r>
              <a:rPr kumimoji="0" lang="en-US" sz="675"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Pract</a:t>
            </a:r>
            <a:r>
              <a:rPr kumimoji="0" lang="en-US" sz="675"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Oncol 2019; 10:29—40. 2. </a:t>
            </a:r>
            <a:r>
              <a:rPr kumimoji="0" lang="en-US" sz="675"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Beaupierre</a:t>
            </a:r>
            <a:r>
              <a:rPr kumimoji="0" lang="en-US" sz="675"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 et al. Clin J Oncol Nurs 2019; 23:27—34. 3. McGuirk J, et al. </a:t>
            </a:r>
            <a:r>
              <a:rPr kumimoji="0" lang="en-US" sz="675"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Cytotherapy</a:t>
            </a:r>
            <a:r>
              <a:rPr kumimoji="0" lang="en-US" sz="675"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17; 19:1015—1024.</a:t>
            </a:r>
          </a:p>
        </p:txBody>
      </p:sp>
      <p:sp>
        <p:nvSpPr>
          <p:cNvPr id="206" name="TextBox 205">
            <a:extLst>
              <a:ext uri="{FF2B5EF4-FFF2-40B4-BE49-F238E27FC236}">
                <a16:creationId xmlns:a16="http://schemas.microsoft.com/office/drawing/2014/main" id="{C59D9489-EAD9-5B86-AB12-26354D77AD8D}"/>
              </a:ext>
            </a:extLst>
          </p:cNvPr>
          <p:cNvSpPr txBox="1"/>
          <p:nvPr/>
        </p:nvSpPr>
        <p:spPr>
          <a:xfrm>
            <a:off x="5207518" y="2423143"/>
            <a:ext cx="1697678" cy="323165"/>
          </a:xfrm>
          <a:prstGeom prst="rect">
            <a:avLst/>
          </a:prstGeom>
          <a:noFill/>
        </p:spPr>
        <p:txBody>
          <a:bodyPr wrap="square" rtlCol="0">
            <a:spAutoFit/>
          </a:bodyPr>
          <a:lstStyle/>
          <a:p>
            <a:pPr marL="0" marR="0" lvl="0" indent="0" algn="l" defTabSz="342900" rtl="0" eaLnBrk="1" fontAlgn="base" latinLnBrk="0" hangingPunct="1">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anufacturing</a:t>
            </a:r>
          </a:p>
        </p:txBody>
      </p:sp>
      <p:pic>
        <p:nvPicPr>
          <p:cNvPr id="2" name="Picture 1">
            <a:extLst>
              <a:ext uri="{FF2B5EF4-FFF2-40B4-BE49-F238E27FC236}">
                <a16:creationId xmlns:a16="http://schemas.microsoft.com/office/drawing/2014/main" id="{67298632-747A-2D97-CEEB-D2CF0CF48E5A}"/>
              </a:ext>
            </a:extLst>
          </p:cNvPr>
          <p:cNvPicPr>
            <a:picLocks noChangeAspect="1"/>
          </p:cNvPicPr>
          <p:nvPr/>
        </p:nvPicPr>
        <p:blipFill>
          <a:blip r:embed="rId5"/>
          <a:stretch>
            <a:fillRect/>
          </a:stretch>
        </p:blipFill>
        <p:spPr>
          <a:xfrm>
            <a:off x="3558839" y="4359317"/>
            <a:ext cx="718575" cy="711904"/>
          </a:xfrm>
          <a:prstGeom prst="rect">
            <a:avLst/>
          </a:prstGeom>
        </p:spPr>
      </p:pic>
      <p:sp>
        <p:nvSpPr>
          <p:cNvPr id="23" name="TextBox 22">
            <a:extLst>
              <a:ext uri="{FF2B5EF4-FFF2-40B4-BE49-F238E27FC236}">
                <a16:creationId xmlns:a16="http://schemas.microsoft.com/office/drawing/2014/main" id="{AEE69325-B129-D014-715F-DB60613E6CD5}"/>
              </a:ext>
            </a:extLst>
          </p:cNvPr>
          <p:cNvSpPr txBox="1"/>
          <p:nvPr/>
        </p:nvSpPr>
        <p:spPr>
          <a:xfrm>
            <a:off x="5011790" y="4565818"/>
            <a:ext cx="1848389" cy="577081"/>
          </a:xfrm>
          <a:prstGeom prst="rect">
            <a:avLst/>
          </a:prstGeom>
          <a:noFill/>
        </p:spPr>
        <p:txBody>
          <a:bodyPr wrap="square">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pends upon extent of disease </a:t>
            </a:r>
            <a:br>
              <a:rPr kumimoji="0" lang="en-US" sz="10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10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hemotherapy vs. RT)</a:t>
            </a:r>
          </a:p>
        </p:txBody>
      </p:sp>
    </p:spTree>
    <p:extLst>
      <p:ext uri="{BB962C8B-B14F-4D97-AF65-F5344CB8AC3E}">
        <p14:creationId xmlns:p14="http://schemas.microsoft.com/office/powerpoint/2010/main" val="322251973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43">
            <a:extLst>
              <a:ext uri="{FF2B5EF4-FFF2-40B4-BE49-F238E27FC236}">
                <a16:creationId xmlns:a16="http://schemas.microsoft.com/office/drawing/2014/main" id="{8B82E747-2FD2-4FB4-9024-F02F550020F9}"/>
              </a:ext>
            </a:extLst>
          </p:cNvPr>
          <p:cNvSpPr>
            <a:spLocks noGrp="1"/>
          </p:cNvSpPr>
          <p:nvPr>
            <p:ph type="title"/>
          </p:nvPr>
        </p:nvSpPr>
        <p:spPr>
          <a:xfrm>
            <a:off x="1619109" y="202583"/>
            <a:ext cx="9144000" cy="786384"/>
          </a:xfrm>
        </p:spPr>
        <p:txBody>
          <a:bodyPr>
            <a:normAutofit/>
          </a:bodyPr>
          <a:lstStyle/>
          <a:p>
            <a:r>
              <a:rPr lang="en-US" sz="2800" dirty="0">
                <a:latin typeface="Arial" panose="020B0604020202020204" pitchFamily="34" charset="0"/>
                <a:cs typeface="Arial" panose="020B0604020202020204" pitchFamily="34" charset="0"/>
              </a:rPr>
              <a:t>CARs in the front-line setting: ZUMA-12 Study Design</a:t>
            </a:r>
          </a:p>
        </p:txBody>
      </p:sp>
      <p:sp>
        <p:nvSpPr>
          <p:cNvPr id="4" name="Footer Placeholder 3">
            <a:extLst>
              <a:ext uri="{FF2B5EF4-FFF2-40B4-BE49-F238E27FC236}">
                <a16:creationId xmlns:a16="http://schemas.microsoft.com/office/drawing/2014/main" id="{D4749E76-407E-4A4E-AFC2-E6305616449C}"/>
              </a:ext>
            </a:extLst>
          </p:cNvPr>
          <p:cNvSpPr>
            <a:spLocks noGrp="1"/>
          </p:cNvSpPr>
          <p:nvPr>
            <p:ph type="ftr" sz="quarter" idx="10"/>
          </p:nvPr>
        </p:nvSpPr>
        <p:spPr>
          <a:xfrm>
            <a:off x="2145323" y="5430704"/>
            <a:ext cx="8030308" cy="70788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2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 40, Median age 61 (23-86); DHL/THL: 25%, IPI score of &gt;/=3 78%,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2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S 4: 48%, DS 5 53%</a:t>
            </a:r>
          </a:p>
        </p:txBody>
      </p:sp>
      <p:sp>
        <p:nvSpPr>
          <p:cNvPr id="5" name="Slide Number Placeholder 4">
            <a:extLst>
              <a:ext uri="{FF2B5EF4-FFF2-40B4-BE49-F238E27FC236}">
                <a16:creationId xmlns:a16="http://schemas.microsoft.com/office/drawing/2014/main" id="{C5A9B63C-D4DA-0D4A-9628-68FFACC31DFD}"/>
              </a:ext>
            </a:extLst>
          </p:cNvPr>
          <p:cNvSpPr>
            <a:spLocks noGrp="1"/>
          </p:cNvSpPr>
          <p:nvPr>
            <p:ph type="sldNum" sz="quarter" idx="11"/>
          </p:nvPr>
        </p:nvSpPr>
        <p:spPr>
          <a:xfrm>
            <a:off x="10039353" y="5767636"/>
            <a:ext cx="575733" cy="27305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56CD90-8224-413F-A5C5-11C249D26586}" type="slidenum">
              <a:rPr kumimoji="0" lang="en-US" sz="1067" b="1" i="0" u="none" strike="noStrike" kern="1200" cap="none" spc="0" normalizeH="0" baseline="0" noProof="0">
                <a:ln>
                  <a:noFill/>
                </a:ln>
                <a:solidFill>
                  <a:srgbClr val="FFFFFF"/>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067" b="1" i="0" u="none" strike="noStrike" kern="1200" cap="none" spc="0" normalizeH="0" baseline="0" noProof="0" dirty="0">
              <a:ln>
                <a:noFill/>
              </a:ln>
              <a:solidFill>
                <a:srgbClr val="FFFFFF"/>
              </a:solidFill>
              <a:effectLst/>
              <a:uLnTx/>
              <a:uFillTx/>
              <a:latin typeface="Calibri"/>
              <a:ea typeface="+mn-ea"/>
              <a:cs typeface="+mn-cs"/>
            </a:endParaRPr>
          </a:p>
        </p:txBody>
      </p:sp>
      <p:sp>
        <p:nvSpPr>
          <p:cNvPr id="6" name="Rectangle 5">
            <a:extLst>
              <a:ext uri="{FF2B5EF4-FFF2-40B4-BE49-F238E27FC236}">
                <a16:creationId xmlns:a16="http://schemas.microsoft.com/office/drawing/2014/main" id="{B23A047F-B61C-184B-BCB7-2CAEAC45403D}"/>
              </a:ext>
            </a:extLst>
          </p:cNvPr>
          <p:cNvSpPr/>
          <p:nvPr/>
        </p:nvSpPr>
        <p:spPr>
          <a:xfrm>
            <a:off x="1823299" y="1680463"/>
            <a:ext cx="8545402" cy="212067"/>
          </a:xfrm>
          <a:prstGeom prst="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a:ea typeface="+mn-ea"/>
                <a:cs typeface="+mn-cs"/>
              </a:rPr>
              <a:t>Phase 2</a:t>
            </a:r>
          </a:p>
        </p:txBody>
      </p:sp>
      <p:sp>
        <p:nvSpPr>
          <p:cNvPr id="11" name="Rectangle 10">
            <a:extLst>
              <a:ext uri="{FF2B5EF4-FFF2-40B4-BE49-F238E27FC236}">
                <a16:creationId xmlns:a16="http://schemas.microsoft.com/office/drawing/2014/main" id="{41644B45-3910-EA43-9F4A-30D0C36DD5C3}"/>
              </a:ext>
            </a:extLst>
          </p:cNvPr>
          <p:cNvSpPr/>
          <p:nvPr/>
        </p:nvSpPr>
        <p:spPr>
          <a:xfrm>
            <a:off x="6331975" y="1932219"/>
            <a:ext cx="1659348" cy="2997094"/>
          </a:xfrm>
          <a:prstGeom prst="rect">
            <a:avLst/>
          </a:prstGeom>
          <a:solidFill>
            <a:schemeClr val="tx2"/>
          </a:solidFill>
          <a:effectLst>
            <a:outerShdw blurRad="50800" dist="38100" dir="2700000" algn="tl" rotWithShape="0">
              <a:prstClr val="black">
                <a:alpha val="40000"/>
              </a:prstClr>
            </a:outerShdw>
          </a:effectLst>
        </p:spPr>
        <p:txBody>
          <a:bodyPr wrap="square" lIns="45720" tIns="91440" rIns="45720" bIns="91440" anchor="t"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Conditioning </a:t>
            </a:r>
            <a:br>
              <a:rPr kumimoji="0" lang="en-US" sz="13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br>
            <a:r>
              <a:rPr kumimoji="0" lang="en-US" sz="13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Chemotherapy </a:t>
            </a:r>
            <a:br>
              <a:rPr kumimoji="0" lang="en-US" sz="13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br>
            <a:r>
              <a:rPr kumimoji="0" lang="en-US" sz="13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 Axi-Cel Infusion </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300" b="0" i="0" u="sng"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a:p>
            <a:pPr marL="112713" marR="0" lvl="0" indent="-112713"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200" b="0" i="0" u="sng" strike="noStrike" kern="1200" cap="none" spc="0" normalizeH="0" baseline="0" noProof="0" dirty="0">
                <a:ln>
                  <a:noFill/>
                </a:ln>
                <a:solidFill>
                  <a:srgbClr val="FFFFFF"/>
                </a:solidFill>
                <a:effectLst/>
                <a:uLnTx/>
                <a:uFillTx/>
                <a:latin typeface="Calibri" panose="020F0502020204030204" pitchFamily="34" charset="0"/>
                <a:ea typeface="+mn-ea"/>
                <a:cs typeface="+mn-cs"/>
              </a:rPr>
              <a:t>Conditioning</a:t>
            </a: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 </a:t>
            </a:r>
            <a:r>
              <a:rPr kumimoji="0" lang="en-US" sz="1200" b="0" i="0" u="none" strike="noStrike" kern="1200" cap="none" spc="-40" normalizeH="0" baseline="0" noProof="0" dirty="0">
                <a:ln>
                  <a:noFill/>
                </a:ln>
                <a:solidFill>
                  <a:srgbClr val="FFFFFF"/>
                </a:solidFill>
                <a:effectLst/>
                <a:uLnTx/>
                <a:uFillTx/>
                <a:latin typeface="Calibri" panose="020F0502020204030204" pitchFamily="34" charset="0"/>
                <a:ea typeface="+mn-ea"/>
                <a:cs typeface="+mn-cs"/>
              </a:rPr>
              <a:t>Fludarabine 30 mg/m</a:t>
            </a:r>
            <a:r>
              <a:rPr kumimoji="0" lang="en-US" sz="1200" b="0" i="0" u="none" strike="noStrike" kern="1200" cap="none" spc="-40" normalizeH="0" baseline="30000" noProof="0" dirty="0">
                <a:ln>
                  <a:noFill/>
                </a:ln>
                <a:solidFill>
                  <a:srgbClr val="FFFFFF"/>
                </a:solidFill>
                <a:effectLst/>
                <a:uLnTx/>
                <a:uFillTx/>
                <a:latin typeface="Calibri" panose="020F0502020204030204" pitchFamily="34" charset="0"/>
                <a:ea typeface="+mn-ea"/>
                <a:cs typeface="+mn-cs"/>
              </a:rPr>
              <a:t>2 </a:t>
            </a:r>
            <a:r>
              <a:rPr kumimoji="0" lang="en-US" sz="1200" b="0" i="0" u="none" strike="noStrike" kern="1200" cap="none" spc="-40" normalizeH="0" baseline="0" noProof="0" dirty="0">
                <a:ln>
                  <a:noFill/>
                </a:ln>
                <a:solidFill>
                  <a:srgbClr val="FFFFFF"/>
                </a:solidFill>
                <a:effectLst/>
                <a:uLnTx/>
                <a:uFillTx/>
                <a:latin typeface="Calibri" panose="020F0502020204030204" pitchFamily="34" charset="0"/>
                <a:ea typeface="+mn-ea"/>
                <a:cs typeface="+mn-cs"/>
              </a:rPr>
              <a:t>IV and cyclophosphamide </a:t>
            </a:r>
            <a:br>
              <a:rPr kumimoji="0" lang="en-US" sz="1200" b="0" i="0" u="none" strike="noStrike" kern="1200" cap="none" spc="-40" normalizeH="0" baseline="0" noProof="0" dirty="0">
                <a:ln>
                  <a:noFill/>
                </a:ln>
                <a:solidFill>
                  <a:srgbClr val="FFFFFF"/>
                </a:solidFill>
                <a:effectLst/>
                <a:uLnTx/>
                <a:uFillTx/>
                <a:latin typeface="Calibri" panose="020F0502020204030204" pitchFamily="34" charset="0"/>
                <a:ea typeface="+mn-ea"/>
                <a:cs typeface="+mn-cs"/>
              </a:rPr>
            </a:br>
            <a:r>
              <a:rPr kumimoji="0" lang="en-US" sz="1200" b="0" i="0" u="none" strike="noStrike" kern="1200" cap="none" spc="-40" normalizeH="0" baseline="0" noProof="0" dirty="0">
                <a:ln>
                  <a:noFill/>
                </a:ln>
                <a:solidFill>
                  <a:srgbClr val="FFFFFF"/>
                </a:solidFill>
                <a:effectLst/>
                <a:uLnTx/>
                <a:uFillTx/>
                <a:latin typeface="Calibri" panose="020F0502020204030204" pitchFamily="34" charset="0"/>
                <a:ea typeface="+mn-ea"/>
                <a:cs typeface="+mn-cs"/>
              </a:rPr>
              <a:t>500 mg/m</a:t>
            </a:r>
            <a:r>
              <a:rPr kumimoji="0" lang="en-US" sz="1200" b="0" i="0" u="none" strike="noStrike" kern="1200" cap="none" spc="-40" normalizeH="0" baseline="30000" noProof="0" dirty="0">
                <a:ln>
                  <a:noFill/>
                </a:ln>
                <a:solidFill>
                  <a:srgbClr val="FFFFFF"/>
                </a:solidFill>
                <a:effectLst/>
                <a:uLnTx/>
                <a:uFillTx/>
                <a:latin typeface="Calibri" panose="020F0502020204030204" pitchFamily="34" charset="0"/>
                <a:ea typeface="+mn-ea"/>
                <a:cs typeface="+mn-cs"/>
              </a:rPr>
              <a:t>2</a:t>
            </a:r>
            <a:r>
              <a:rPr kumimoji="0" lang="en-US" sz="1200" b="0" i="0" u="none" strike="noStrike" kern="1200" cap="none" spc="-40" normalizeH="0" baseline="0" noProof="0" dirty="0">
                <a:ln>
                  <a:noFill/>
                </a:ln>
                <a:solidFill>
                  <a:srgbClr val="FFFFFF"/>
                </a:solidFill>
                <a:effectLst/>
                <a:uLnTx/>
                <a:uFillTx/>
                <a:latin typeface="Calibri" panose="020F0502020204030204" pitchFamily="34" charset="0"/>
                <a:ea typeface="+mn-ea"/>
                <a:cs typeface="+mn-cs"/>
              </a:rPr>
              <a:t> IV on Days −5, −4, and −3</a:t>
            </a:r>
          </a:p>
          <a:p>
            <a:pPr marL="112713" marR="0" lvl="0" indent="-112713"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a:p>
            <a:pPr marL="112713" marR="0" lvl="0" indent="-112713"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200" b="0" i="0" u="sng" strike="noStrike" kern="1200" cap="none" spc="0" normalizeH="0" baseline="0" noProof="0" dirty="0">
                <a:ln>
                  <a:noFill/>
                </a:ln>
                <a:solidFill>
                  <a:srgbClr val="FFFFFF"/>
                </a:solidFill>
                <a:effectLst/>
                <a:uLnTx/>
                <a:uFillTx/>
                <a:latin typeface="Calibri" panose="020F0502020204030204" pitchFamily="34" charset="0"/>
                <a:ea typeface="+mn-ea"/>
                <a:cs typeface="+mn-cs"/>
              </a:rPr>
              <a:t>Axi-Cel</a:t>
            </a: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 Single IV infusion of 2×10</a:t>
            </a:r>
            <a:r>
              <a:rPr kumimoji="0" lang="en-US" sz="1200" b="0" i="0" u="none" strike="noStrike" kern="1200" cap="none" spc="0" normalizeH="0" baseline="30000" noProof="0" dirty="0">
                <a:ln>
                  <a:noFill/>
                </a:ln>
                <a:solidFill>
                  <a:srgbClr val="FFFFFF"/>
                </a:solidFill>
                <a:effectLst/>
                <a:uLnTx/>
                <a:uFillTx/>
                <a:latin typeface="Calibri" panose="020F0502020204030204" pitchFamily="34" charset="0"/>
                <a:ea typeface="+mn-ea"/>
                <a:cs typeface="+mn-cs"/>
              </a:rPr>
              <a:t>6</a:t>
            </a: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 </a:t>
            </a:r>
            <a:b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b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CAR T cells/kg on Day 0 </a:t>
            </a:r>
          </a:p>
          <a:p>
            <a:pPr marL="112713" marR="0" lvl="0" indent="-112713"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35" name="Rectangle 34">
            <a:extLst>
              <a:ext uri="{FF2B5EF4-FFF2-40B4-BE49-F238E27FC236}">
                <a16:creationId xmlns:a16="http://schemas.microsoft.com/office/drawing/2014/main" id="{4A1F42E5-2665-4BAE-AF0F-80EE89FEA8B6}"/>
              </a:ext>
            </a:extLst>
          </p:cNvPr>
          <p:cNvSpPr/>
          <p:nvPr/>
        </p:nvSpPr>
        <p:spPr>
          <a:xfrm rot="16200000">
            <a:off x="3625828" y="3216055"/>
            <a:ext cx="2997094" cy="429424"/>
          </a:xfrm>
          <a:prstGeom prst="rect">
            <a:avLst/>
          </a:prstGeom>
          <a:solidFill>
            <a:schemeClr val="tx2"/>
          </a:solidFill>
          <a:effectLst>
            <a:outerShdw blurRad="50800" dist="38100" dir="2700000" algn="tl" rotWithShape="0">
              <a:prstClr val="black">
                <a:alpha val="40000"/>
              </a:prstClr>
            </a:outerShdw>
          </a:effectLst>
        </p:spPr>
        <p:txBody>
          <a:bodyPr wrap="square" lIns="45720" tIns="91440" rIns="45720" bIns="9144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Enrollment/Leukapheresis</a:t>
            </a:r>
          </a:p>
        </p:txBody>
      </p:sp>
      <p:sp>
        <p:nvSpPr>
          <p:cNvPr id="32" name="Rectangle 31">
            <a:extLst>
              <a:ext uri="{FF2B5EF4-FFF2-40B4-BE49-F238E27FC236}">
                <a16:creationId xmlns:a16="http://schemas.microsoft.com/office/drawing/2014/main" id="{1E2BD381-0B2C-4098-AF36-F76B67F12DBB}"/>
              </a:ext>
            </a:extLst>
          </p:cNvPr>
          <p:cNvSpPr/>
          <p:nvPr/>
        </p:nvSpPr>
        <p:spPr>
          <a:xfrm>
            <a:off x="8273053" y="1932219"/>
            <a:ext cx="2095648" cy="2995328"/>
          </a:xfrm>
          <a:prstGeom prst="rect">
            <a:avLst/>
          </a:prstGeom>
          <a:solidFill>
            <a:schemeClr val="bg2">
              <a:lumMod val="90000"/>
            </a:schemeClr>
          </a:solidFill>
          <a:effectLst>
            <a:outerShdw blurRad="50800" dist="38100" dir="2700000" algn="tl" rotWithShape="0">
              <a:prstClr val="black">
                <a:alpha val="40000"/>
              </a:prstClr>
            </a:outerShdw>
          </a:effectLst>
        </p:spPr>
        <p:txBody>
          <a:bodyPr wrap="square" lIns="45720" tIns="91440" rIns="45720" bIns="91440" anchor="t" anchorCtr="0">
            <a:noAutofit/>
          </a:bodyPr>
          <a:lstStyle/>
          <a:p>
            <a:pPr marL="0" marR="0" lvl="0" indent="0" algn="ctr" defTabSz="685784" rtl="0" eaLnBrk="0" fontAlgn="base" latinLnBrk="0" hangingPunct="0">
              <a:lnSpc>
                <a:spcPct val="100000"/>
              </a:lnSpc>
              <a:spcBef>
                <a:spcPct val="0"/>
              </a:spcBef>
              <a:spcAft>
                <a:spcPts val="0"/>
              </a:spcAft>
              <a:buClrTx/>
              <a:buSzTx/>
              <a:buFontTx/>
              <a:buNone/>
              <a:tabLst/>
              <a:defRPr/>
            </a:pPr>
            <a:r>
              <a:rPr kumimoji="0" lang="en-US" sz="13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rimary Endpoint</a:t>
            </a:r>
          </a:p>
          <a:p>
            <a:pPr marL="112713" marR="0" lvl="0" indent="-112713" algn="l" defTabSz="685784" rtl="0" eaLnBrk="0" fontAlgn="base" latinLnBrk="0" hangingPunct="0">
              <a:lnSpc>
                <a:spcPct val="100000"/>
              </a:lnSpc>
              <a:spcBef>
                <a:spcPct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R (investigator-assessed per Lugano 2014 classification)</a:t>
            </a:r>
            <a:r>
              <a:rPr kumimoji="0" lang="en-US" sz="1200" b="0" i="0" u="none" strike="noStrike" kern="1200" cap="none" spc="0" normalizeH="0" baseline="30000" noProof="0" dirty="0">
                <a:ln>
                  <a:noFill/>
                </a:ln>
                <a:solidFill>
                  <a:srgbClr val="000000"/>
                </a:solidFill>
                <a:effectLst/>
                <a:uLnTx/>
                <a:uFillTx/>
                <a:latin typeface="Calibri" panose="020F0502020204030204" pitchFamily="34" charset="0"/>
                <a:ea typeface="+mn-ea"/>
                <a:cs typeface="+mn-cs"/>
              </a:rPr>
              <a:t>1</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112713" marR="0" lvl="0" indent="-112713" algn="l" defTabSz="685784" rtl="0" eaLnBrk="0" fontAlgn="base" latinLnBrk="0" hangingPunct="0">
              <a:lnSpc>
                <a:spcPct val="100000"/>
              </a:lnSpc>
              <a:spcBef>
                <a:spcPct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ctr" defTabSz="685784" rtl="0" eaLnBrk="0" fontAlgn="base" latinLnBrk="0" hangingPunct="0">
              <a:lnSpc>
                <a:spcPct val="100000"/>
              </a:lnSpc>
              <a:spcBef>
                <a:spcPct val="0"/>
              </a:spcBef>
              <a:spcAft>
                <a:spcPts val="0"/>
              </a:spcAft>
              <a:buClrTx/>
              <a:buSzTx/>
              <a:buFontTx/>
              <a:buNone/>
              <a:tabLst/>
              <a:defRPr/>
            </a:pPr>
            <a:r>
              <a:rPr kumimoji="0" lang="en-US" sz="13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Key Secondary Endpoints</a:t>
            </a:r>
          </a:p>
          <a:p>
            <a:pPr marL="112713" marR="0" lvl="0" indent="-112713" algn="l" defTabSz="685784" rtl="0" eaLnBrk="0" fontAlgn="base" latinLnBrk="0" hangingPunct="0">
              <a:lnSpc>
                <a:spcPct val="100000"/>
              </a:lnSpc>
              <a:spcBef>
                <a:spcPct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ORR</a:t>
            </a:r>
          </a:p>
          <a:p>
            <a:pPr marL="112713" marR="0" lvl="0" indent="-112713" algn="l" defTabSz="685784" rtl="0" eaLnBrk="0" fontAlgn="base" latinLnBrk="0" hangingPunct="0">
              <a:lnSpc>
                <a:spcPct val="100000"/>
              </a:lnSpc>
              <a:spcBef>
                <a:spcPct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DOR</a:t>
            </a:r>
          </a:p>
          <a:p>
            <a:pPr marL="112713" marR="0" lvl="0" indent="-112713" algn="l" defTabSz="685784" rtl="0" eaLnBrk="0" fontAlgn="base" latinLnBrk="0" hangingPunct="0">
              <a:lnSpc>
                <a:spcPct val="100000"/>
              </a:lnSpc>
              <a:spcBef>
                <a:spcPct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FS</a:t>
            </a:r>
          </a:p>
          <a:p>
            <a:pPr marL="112713" marR="0" lvl="0" indent="-112713" algn="l" defTabSz="685784" rtl="0" eaLnBrk="0" fontAlgn="base" latinLnBrk="0" hangingPunct="0">
              <a:lnSpc>
                <a:spcPct val="100000"/>
              </a:lnSpc>
              <a:spcBef>
                <a:spcPct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FS</a:t>
            </a:r>
          </a:p>
          <a:p>
            <a:pPr marL="112713" marR="0" lvl="0" indent="-112713" algn="l" defTabSz="685784" rtl="0" eaLnBrk="0" fontAlgn="base" latinLnBrk="0" hangingPunct="0">
              <a:lnSpc>
                <a:spcPct val="100000"/>
              </a:lnSpc>
              <a:spcBef>
                <a:spcPct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OS</a:t>
            </a:r>
          </a:p>
          <a:p>
            <a:pPr marL="112713" marR="0" lvl="0" indent="-112713" algn="l" defTabSz="685784" rtl="0" eaLnBrk="0" fontAlgn="base" latinLnBrk="0" hangingPunct="0">
              <a:lnSpc>
                <a:spcPct val="100000"/>
              </a:lnSpc>
              <a:spcBef>
                <a:spcPct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Safety</a:t>
            </a:r>
          </a:p>
          <a:p>
            <a:pPr marL="112713" marR="0" lvl="0" indent="-112713" algn="l" defTabSz="685784" rtl="0" eaLnBrk="0" fontAlgn="base" latinLnBrk="0" hangingPunct="0">
              <a:lnSpc>
                <a:spcPct val="100000"/>
              </a:lnSpc>
              <a:spcBef>
                <a:spcPct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AR T cells in blood and cytokine levels in serum</a:t>
            </a:r>
          </a:p>
          <a:p>
            <a:pPr marL="112713" marR="0" lvl="0" indent="-112713" algn="l" defTabSz="685784" rtl="0" eaLnBrk="0" fontAlgn="base" latinLnBrk="0" hangingPunct="0">
              <a:lnSpc>
                <a:spcPct val="100000"/>
              </a:lnSpc>
              <a:spcBef>
                <a:spcPct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112713" marR="0" lvl="0" indent="-112713" algn="l" defTabSz="685784" rtl="0" eaLnBrk="0" fontAlgn="base" latinLnBrk="0" hangingPunct="0">
              <a:lnSpc>
                <a:spcPct val="100000"/>
              </a:lnSpc>
              <a:spcBef>
                <a:spcPct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12" name="Rectangle 11">
            <a:extLst>
              <a:ext uri="{FF2B5EF4-FFF2-40B4-BE49-F238E27FC236}">
                <a16:creationId xmlns:a16="http://schemas.microsoft.com/office/drawing/2014/main" id="{79A3A6E9-5937-4EAE-AFCB-7B008DB7EA1D}"/>
              </a:ext>
            </a:extLst>
          </p:cNvPr>
          <p:cNvSpPr/>
          <p:nvPr/>
        </p:nvSpPr>
        <p:spPr>
          <a:xfrm>
            <a:off x="1823299" y="1932219"/>
            <a:ext cx="2804632" cy="2995328"/>
          </a:xfrm>
          <a:prstGeom prst="rect">
            <a:avLst/>
          </a:prstGeom>
          <a:solidFill>
            <a:schemeClr val="tx2"/>
          </a:solidFill>
          <a:effectLst>
            <a:outerShdw blurRad="50800" dist="38100" dir="2700000" algn="tl" rotWithShape="0">
              <a:prstClr val="black">
                <a:alpha val="40000"/>
              </a:prstClr>
            </a:outerShdw>
          </a:effectLst>
        </p:spPr>
        <p:txBody>
          <a:bodyPr wrap="square" lIns="18288" tIns="18288" rIns="18288" bIns="18288" anchor="t"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8" name="Rectangle 27">
            <a:extLst>
              <a:ext uri="{FF2B5EF4-FFF2-40B4-BE49-F238E27FC236}">
                <a16:creationId xmlns:a16="http://schemas.microsoft.com/office/drawing/2014/main" id="{556FDF5F-CDFF-45AE-9F14-B7017128F98E}"/>
              </a:ext>
            </a:extLst>
          </p:cNvPr>
          <p:cNvSpPr/>
          <p:nvPr/>
        </p:nvSpPr>
        <p:spPr>
          <a:xfrm>
            <a:off x="1876741" y="1992646"/>
            <a:ext cx="2697753" cy="962461"/>
          </a:xfrm>
          <a:prstGeom prst="rect">
            <a:avLst/>
          </a:prstGeom>
          <a:noFill/>
          <a:ln w="19050">
            <a:solidFill>
              <a:schemeClr val="bg1"/>
            </a:solidFill>
          </a:ln>
          <a:effectLst/>
        </p:spPr>
        <p:txBody>
          <a:bodyPr wrap="square" lIns="45720" tIns="18288" rIns="45720" bIns="18288" anchor="t"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High-Risk LBCL</a:t>
            </a:r>
          </a:p>
          <a:p>
            <a:pPr marL="112713" marR="0" lvl="0" indent="-112713"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err="1">
                <a:ln>
                  <a:noFill/>
                </a:ln>
                <a:solidFill>
                  <a:srgbClr val="FFFFFF"/>
                </a:solidFill>
                <a:effectLst/>
                <a:uLnTx/>
                <a:uFillTx/>
                <a:latin typeface="Calibri" panose="020F0502020204030204" pitchFamily="34" charset="0"/>
                <a:ea typeface="+mn-ea"/>
                <a:cs typeface="+mn-cs"/>
              </a:rPr>
              <a:t>HGBL</a:t>
            </a: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 with </a:t>
            </a:r>
            <a:r>
              <a:rPr kumimoji="0" lang="en-US" sz="1200" b="0" i="1"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MYC</a:t>
            </a: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 and </a:t>
            </a:r>
            <a:r>
              <a:rPr kumimoji="0" lang="en-US" sz="1200" b="0" i="1"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BCL2</a:t>
            </a: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 and/or </a:t>
            </a:r>
            <a:r>
              <a:rPr kumimoji="0" lang="en-US" sz="1200" b="0" i="1"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BCL6</a:t>
            </a: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 translocations (double- or triple-hit), or </a:t>
            </a:r>
          </a:p>
          <a:p>
            <a:pPr marL="112713" marR="0" lvl="0" indent="-112713"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LBCL with IPI score ≥3 any time before enrollment</a:t>
            </a:r>
            <a:endParaRPr kumimoji="0" lang="en-US" sz="11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7" name="Rectangle 6">
            <a:extLst>
              <a:ext uri="{FF2B5EF4-FFF2-40B4-BE49-F238E27FC236}">
                <a16:creationId xmlns:a16="http://schemas.microsoft.com/office/drawing/2014/main" id="{D730AF2F-F2C5-4EB6-B2E6-0CE349069FBA}"/>
              </a:ext>
            </a:extLst>
          </p:cNvPr>
          <p:cNvSpPr/>
          <p:nvPr/>
        </p:nvSpPr>
        <p:spPr>
          <a:xfrm>
            <a:off x="1876741" y="3194923"/>
            <a:ext cx="2697753" cy="863524"/>
          </a:xfrm>
          <a:prstGeom prst="rect">
            <a:avLst/>
          </a:prstGeom>
          <a:noFill/>
          <a:ln w="19050">
            <a:solidFill>
              <a:schemeClr val="bg1"/>
            </a:solidFill>
          </a:ln>
          <a:effectLst/>
        </p:spPr>
        <p:txBody>
          <a:bodyPr wrap="square" lIns="45720" tIns="18288" rIns="45720" bIns="18288" anchor="t"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Dynamic Risk Assessment</a:t>
            </a:r>
          </a:p>
          <a:p>
            <a:pPr marL="112713" marR="0" lvl="0" indent="-112713"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Positive interim PET (DS 4 or 5) after </a:t>
            </a:r>
            <a:b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b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2 cycles of an anti-CD20 mAb + anthracycline-containing regimen</a:t>
            </a:r>
          </a:p>
          <a:p>
            <a:pPr marL="112713" marR="0" lvl="0" indent="-112713"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9" name="Rectangle 8">
            <a:extLst>
              <a:ext uri="{FF2B5EF4-FFF2-40B4-BE49-F238E27FC236}">
                <a16:creationId xmlns:a16="http://schemas.microsoft.com/office/drawing/2014/main" id="{68CF2BED-C3C8-4530-8038-D7CFA96ED4F3}"/>
              </a:ext>
            </a:extLst>
          </p:cNvPr>
          <p:cNvSpPr/>
          <p:nvPr/>
        </p:nvSpPr>
        <p:spPr>
          <a:xfrm>
            <a:off x="1876741" y="4294006"/>
            <a:ext cx="2697753" cy="588442"/>
          </a:xfrm>
          <a:prstGeom prst="rect">
            <a:avLst/>
          </a:prstGeom>
          <a:noFill/>
          <a:ln w="19050">
            <a:solidFill>
              <a:schemeClr val="bg1"/>
            </a:solidFill>
          </a:ln>
          <a:effectLst/>
        </p:spPr>
        <p:txBody>
          <a:bodyPr wrap="square" lIns="45720" tIns="18288" rIns="45720" bIns="18288" anchor="t"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Additional Key Inclusion Criteria</a:t>
            </a:r>
          </a:p>
          <a:p>
            <a:pPr marL="112713" marR="0" lvl="0" indent="-112713"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Age ≥18 years</a:t>
            </a:r>
          </a:p>
          <a:p>
            <a:pPr marL="112713" marR="0" lvl="0" indent="-112713"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ECOG 0–1 </a:t>
            </a:r>
            <a:endPar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6" name="Rectangle 25">
            <a:extLst>
              <a:ext uri="{FF2B5EF4-FFF2-40B4-BE49-F238E27FC236}">
                <a16:creationId xmlns:a16="http://schemas.microsoft.com/office/drawing/2014/main" id="{B99F7DC2-B57A-4484-A983-AFC29E9B1671}"/>
              </a:ext>
            </a:extLst>
          </p:cNvPr>
          <p:cNvSpPr/>
          <p:nvPr/>
        </p:nvSpPr>
        <p:spPr>
          <a:xfrm rot="16200000">
            <a:off x="4336984" y="3216055"/>
            <a:ext cx="2997094" cy="429424"/>
          </a:xfrm>
          <a:prstGeom prst="rect">
            <a:avLst/>
          </a:prstGeom>
          <a:solidFill>
            <a:schemeClr val="tx2"/>
          </a:solidFill>
          <a:effectLst>
            <a:outerShdw blurRad="50800" dist="38100" dir="2700000" algn="tl" rotWithShape="0">
              <a:prstClr val="black">
                <a:alpha val="40000"/>
              </a:prstClr>
            </a:outerShdw>
          </a:effectLst>
        </p:spPr>
        <p:txBody>
          <a:bodyPr wrap="square" lIns="45720" tIns="91440" rIns="45720" bIns="9144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Optional Nonchemotherapy Bridging Therapy</a:t>
            </a:r>
            <a:r>
              <a:rPr kumimoji="0" lang="en-US" sz="1300" b="1" i="0" u="none" strike="noStrike" kern="1200" cap="none" spc="0" normalizeH="0" baseline="30000" noProof="0" dirty="0">
                <a:ln>
                  <a:noFill/>
                </a:ln>
                <a:solidFill>
                  <a:srgbClr val="FFFFFF"/>
                </a:solidFill>
                <a:effectLst/>
                <a:uLnTx/>
                <a:uFillTx/>
                <a:latin typeface="Calibri" panose="020F0502020204030204" pitchFamily="34" charset="0"/>
                <a:ea typeface="+mn-ea"/>
                <a:cs typeface="+mn-cs"/>
              </a:rPr>
              <a:t>a</a:t>
            </a:r>
            <a:endParaRPr kumimoji="0" lang="en-US" sz="1300" b="0" i="0" u="sng"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cxnSp>
        <p:nvCxnSpPr>
          <p:cNvPr id="29" name="Straight Arrow Connector 28">
            <a:extLst>
              <a:ext uri="{FF2B5EF4-FFF2-40B4-BE49-F238E27FC236}">
                <a16:creationId xmlns:a16="http://schemas.microsoft.com/office/drawing/2014/main" id="{D9FC4E4D-EBF1-4896-8210-101D7EE4A7E2}"/>
              </a:ext>
            </a:extLst>
          </p:cNvPr>
          <p:cNvCxnSpPr>
            <a:cxnSpLocks/>
            <a:stCxn id="12" idx="3"/>
            <a:endCxn id="35" idx="0"/>
          </p:cNvCxnSpPr>
          <p:nvPr/>
        </p:nvCxnSpPr>
        <p:spPr>
          <a:xfrm>
            <a:off x="4627931" y="3429883"/>
            <a:ext cx="281732" cy="88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4CF0B1C9-D5CB-45B3-98AA-2229A2F82638}"/>
              </a:ext>
            </a:extLst>
          </p:cNvPr>
          <p:cNvCxnSpPr>
            <a:cxnSpLocks/>
            <a:stCxn id="35" idx="2"/>
            <a:endCxn id="26" idx="0"/>
          </p:cNvCxnSpPr>
          <p:nvPr/>
        </p:nvCxnSpPr>
        <p:spPr>
          <a:xfrm>
            <a:off x="5339087" y="3430767"/>
            <a:ext cx="281732"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71F58AC4-FFB6-4D71-B1F0-A983CEC6D31D}"/>
              </a:ext>
            </a:extLst>
          </p:cNvPr>
          <p:cNvCxnSpPr>
            <a:cxnSpLocks/>
            <a:stCxn id="26" idx="2"/>
            <a:endCxn id="11" idx="1"/>
          </p:cNvCxnSpPr>
          <p:nvPr/>
        </p:nvCxnSpPr>
        <p:spPr>
          <a:xfrm flipV="1">
            <a:off x="6050243" y="3430768"/>
            <a:ext cx="281732" cy="1"/>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F19751A1-783F-47F7-A33E-1F89E7AFB489}"/>
              </a:ext>
            </a:extLst>
          </p:cNvPr>
          <p:cNvCxnSpPr>
            <a:cxnSpLocks/>
            <a:stCxn id="11" idx="3"/>
          </p:cNvCxnSpPr>
          <p:nvPr/>
        </p:nvCxnSpPr>
        <p:spPr>
          <a:xfrm flipV="1">
            <a:off x="7991323" y="3429000"/>
            <a:ext cx="281730" cy="176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Plus Sign 12">
            <a:extLst>
              <a:ext uri="{FF2B5EF4-FFF2-40B4-BE49-F238E27FC236}">
                <a16:creationId xmlns:a16="http://schemas.microsoft.com/office/drawing/2014/main" id="{A3DFD8C0-DD0B-4A63-B6FA-C5603F8CD4F3}"/>
              </a:ext>
            </a:extLst>
          </p:cNvPr>
          <p:cNvSpPr>
            <a:spLocks noChangeAspect="1"/>
          </p:cNvSpPr>
          <p:nvPr/>
        </p:nvSpPr>
        <p:spPr>
          <a:xfrm>
            <a:off x="3140674" y="2982032"/>
            <a:ext cx="169882" cy="169882"/>
          </a:xfrm>
          <a:prstGeom prst="mathPlu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Calibri"/>
              <a:ea typeface="+mn-ea"/>
              <a:cs typeface="+mn-cs"/>
            </a:endParaRPr>
          </a:p>
        </p:txBody>
      </p:sp>
      <p:sp>
        <p:nvSpPr>
          <p:cNvPr id="30" name="Plus Sign 29">
            <a:extLst>
              <a:ext uri="{FF2B5EF4-FFF2-40B4-BE49-F238E27FC236}">
                <a16:creationId xmlns:a16="http://schemas.microsoft.com/office/drawing/2014/main" id="{7DD0028E-7724-4097-BEC8-19FA6F684117}"/>
              </a:ext>
            </a:extLst>
          </p:cNvPr>
          <p:cNvSpPr>
            <a:spLocks noChangeAspect="1"/>
          </p:cNvSpPr>
          <p:nvPr/>
        </p:nvSpPr>
        <p:spPr>
          <a:xfrm>
            <a:off x="3140674" y="4078294"/>
            <a:ext cx="169882" cy="169882"/>
          </a:xfrm>
          <a:prstGeom prst="mathPlu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Calibri"/>
              <a:ea typeface="+mn-ea"/>
              <a:cs typeface="+mn-cs"/>
            </a:endParaRPr>
          </a:p>
        </p:txBody>
      </p:sp>
      <p:sp>
        <p:nvSpPr>
          <p:cNvPr id="2" name="TextBox 1">
            <a:extLst>
              <a:ext uri="{FF2B5EF4-FFF2-40B4-BE49-F238E27FC236}">
                <a16:creationId xmlns:a16="http://schemas.microsoft.com/office/drawing/2014/main" id="{3C045FD4-52C5-BDA8-8848-F619FDF90F0A}"/>
              </a:ext>
            </a:extLst>
          </p:cNvPr>
          <p:cNvSpPr txBox="1"/>
          <p:nvPr/>
        </p:nvSpPr>
        <p:spPr>
          <a:xfrm>
            <a:off x="8241758" y="6464019"/>
            <a:ext cx="2185214" cy="307777"/>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havez et al Blood 2025 </a:t>
            </a:r>
          </a:p>
        </p:txBody>
      </p:sp>
    </p:spTree>
    <p:extLst>
      <p:ext uri="{BB962C8B-B14F-4D97-AF65-F5344CB8AC3E}">
        <p14:creationId xmlns:p14="http://schemas.microsoft.com/office/powerpoint/2010/main" val="165568219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111188-F077-0C46-A4E9-FFB85682D973}"/>
              </a:ext>
            </a:extLst>
          </p:cNvPr>
          <p:cNvSpPr>
            <a:spLocks noGrp="1"/>
          </p:cNvSpPr>
          <p:nvPr>
            <p:ph type="title"/>
          </p:nvPr>
        </p:nvSpPr>
        <p:spPr>
          <a:xfrm>
            <a:off x="368135" y="1576911"/>
            <a:ext cx="2541405" cy="1044931"/>
          </a:xfrm>
        </p:spPr>
        <p:txBody>
          <a:bodyPr vert="horz" lIns="182880" tIns="91440" rIns="182880" bIns="0" rtlCol="0" anchor="t" anchorCtr="0">
            <a:noAutofit/>
          </a:bodyPr>
          <a:lstStyle/>
          <a:p>
            <a:r>
              <a:rPr lang="en-US" sz="2400" spc="-10" dirty="0">
                <a:latin typeface="Arial" panose="020B0604020202020204" pitchFamily="34" charset="0"/>
                <a:cs typeface="Arial" panose="020B0604020202020204" pitchFamily="34" charset="0"/>
              </a:rPr>
              <a:t>ORR 89% and CR Rate 78% </a:t>
            </a:r>
            <a:br>
              <a:rPr lang="en-US" sz="2400" spc="-10" dirty="0">
                <a:latin typeface="Arial" panose="020B0604020202020204" pitchFamily="34" charset="0"/>
                <a:cs typeface="Arial" panose="020B0604020202020204" pitchFamily="34" charset="0"/>
              </a:rPr>
            </a:br>
            <a:endParaRPr lang="en-US" sz="2400" spc="-10" dirty="0">
              <a:latin typeface="Arial" panose="020B0604020202020204" pitchFamily="34" charset="0"/>
              <a:cs typeface="Arial" panose="020B0604020202020204" pitchFamily="34" charset="0"/>
            </a:endParaRPr>
          </a:p>
        </p:txBody>
      </p:sp>
      <p:sp>
        <p:nvSpPr>
          <p:cNvPr id="5" name="Slide Number Placeholder 4">
            <a:extLst>
              <a:ext uri="{FF2B5EF4-FFF2-40B4-BE49-F238E27FC236}">
                <a16:creationId xmlns:a16="http://schemas.microsoft.com/office/drawing/2014/main" id="{2ACF459C-B9BD-134C-AF77-C96C38F4FF61}"/>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56CD90-8224-413F-A5C5-11C249D26586}" type="slidenum">
              <a:rPr kumimoji="0" lang="en-US" sz="1067" b="1" i="0" u="none" strike="noStrike" kern="1200" cap="none" spc="0" normalizeH="0" baseline="0" noProof="0">
                <a:ln>
                  <a:noFill/>
                </a:ln>
                <a:solidFill>
                  <a:srgbClr val="FFFFFF"/>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067" b="1" i="0" u="none" strike="noStrike" kern="1200" cap="none" spc="0" normalizeH="0" baseline="0" noProof="0" dirty="0">
              <a:ln>
                <a:noFill/>
              </a:ln>
              <a:solidFill>
                <a:srgbClr val="FFFFFF"/>
              </a:solidFill>
              <a:effectLst/>
              <a:uLnTx/>
              <a:uFillTx/>
              <a:latin typeface="Calibri"/>
              <a:ea typeface="+mn-ea"/>
              <a:cs typeface="+mn-cs"/>
            </a:endParaRPr>
          </a:p>
        </p:txBody>
      </p:sp>
      <p:sp>
        <p:nvSpPr>
          <p:cNvPr id="12" name="TextBox 11">
            <a:extLst>
              <a:ext uri="{FF2B5EF4-FFF2-40B4-BE49-F238E27FC236}">
                <a16:creationId xmlns:a16="http://schemas.microsoft.com/office/drawing/2014/main" id="{1E6FA327-8308-574B-AC9D-4A1338F69DD2}"/>
              </a:ext>
            </a:extLst>
          </p:cNvPr>
          <p:cNvSpPr txBox="1"/>
          <p:nvPr/>
        </p:nvSpPr>
        <p:spPr>
          <a:xfrm>
            <a:off x="2659291" y="2958836"/>
            <a:ext cx="755335" cy="461665"/>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78% CR</a:t>
            </a:r>
            <a:br>
              <a:rPr kumimoji="0" lang="en-US" sz="1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US" sz="1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n=29)</a:t>
            </a:r>
          </a:p>
        </p:txBody>
      </p:sp>
      <p:sp>
        <p:nvSpPr>
          <p:cNvPr id="13" name="TextBox 12">
            <a:extLst>
              <a:ext uri="{FF2B5EF4-FFF2-40B4-BE49-F238E27FC236}">
                <a16:creationId xmlns:a16="http://schemas.microsoft.com/office/drawing/2014/main" id="{0864DCAD-2BE7-4543-823E-16FA12D14E6A}"/>
              </a:ext>
            </a:extLst>
          </p:cNvPr>
          <p:cNvSpPr txBox="1"/>
          <p:nvPr/>
        </p:nvSpPr>
        <p:spPr>
          <a:xfrm>
            <a:off x="2669003" y="4227705"/>
            <a:ext cx="735906" cy="353623"/>
          </a:xfrm>
          <a:prstGeom prst="rect">
            <a:avLst/>
          </a:prstGeom>
          <a:noFill/>
        </p:spPr>
        <p:txBody>
          <a:bodyPr wrap="none" rtlCol="0">
            <a:spAutoFit/>
          </a:bodyPr>
          <a:lstStyle/>
          <a:p>
            <a:pPr marL="0" marR="0" lvl="0" indent="0" algn="ctr" defTabSz="914400" rtl="0" eaLnBrk="0" fontAlgn="base" latinLnBrk="0" hangingPunct="0">
              <a:lnSpc>
                <a:spcPct val="7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11% PR</a:t>
            </a:r>
            <a:br>
              <a:rPr kumimoji="0" lang="en-US" sz="1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US" sz="1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n=4)</a:t>
            </a:r>
          </a:p>
        </p:txBody>
      </p:sp>
      <p:pic>
        <p:nvPicPr>
          <p:cNvPr id="7" name="Content Placeholder 6" descr="A graph of a bar graph&#10;&#10;AI-generated content may be incorrect.">
            <a:extLst>
              <a:ext uri="{FF2B5EF4-FFF2-40B4-BE49-F238E27FC236}">
                <a16:creationId xmlns:a16="http://schemas.microsoft.com/office/drawing/2014/main" id="{20975C9F-46F2-5015-CE64-04890C18F12B}"/>
              </a:ext>
            </a:extLst>
          </p:cNvPr>
          <p:cNvPicPr>
            <a:picLocks noGrp="1" noChangeAspect="1"/>
          </p:cNvPicPr>
          <p:nvPr>
            <p:ph idx="1"/>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368135" y="2875289"/>
            <a:ext cx="3147269" cy="1927137"/>
          </a:xfrm>
          <a:prstGeom prst="rect">
            <a:avLst/>
          </a:prstGeom>
        </p:spPr>
      </p:pic>
      <p:pic>
        <p:nvPicPr>
          <p:cNvPr id="17" name="Picture 16" descr="A graph of a number of months&#10;&#10;AI-generated content may be incorrect.">
            <a:extLst>
              <a:ext uri="{FF2B5EF4-FFF2-40B4-BE49-F238E27FC236}">
                <a16:creationId xmlns:a16="http://schemas.microsoft.com/office/drawing/2014/main" id="{5E42F046-E644-86D8-5E3C-4BCA22AB2573}"/>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Lst>
          </a:blip>
          <a:srcRect r="970"/>
          <a:stretch>
            <a:fillRect/>
          </a:stretch>
        </p:blipFill>
        <p:spPr>
          <a:xfrm>
            <a:off x="3552935" y="2024972"/>
            <a:ext cx="5189321" cy="2968831"/>
          </a:xfrm>
          <a:prstGeom prst="rect">
            <a:avLst/>
          </a:prstGeom>
        </p:spPr>
      </p:pic>
      <p:sp>
        <p:nvSpPr>
          <p:cNvPr id="20" name="TextBox 19">
            <a:extLst>
              <a:ext uri="{FF2B5EF4-FFF2-40B4-BE49-F238E27FC236}">
                <a16:creationId xmlns:a16="http://schemas.microsoft.com/office/drawing/2014/main" id="{0C183B01-12FB-784F-D35D-E58BAFA793E0}"/>
              </a:ext>
            </a:extLst>
          </p:cNvPr>
          <p:cNvSpPr txBox="1"/>
          <p:nvPr/>
        </p:nvSpPr>
        <p:spPr>
          <a:xfrm>
            <a:off x="4055217" y="5173580"/>
            <a:ext cx="4081567" cy="461665"/>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 yr PFS 75%; 3 yr OS 81% </a:t>
            </a:r>
          </a:p>
        </p:txBody>
      </p:sp>
      <p:sp>
        <p:nvSpPr>
          <p:cNvPr id="22" name="TextBox 21">
            <a:extLst>
              <a:ext uri="{FF2B5EF4-FFF2-40B4-BE49-F238E27FC236}">
                <a16:creationId xmlns:a16="http://schemas.microsoft.com/office/drawing/2014/main" id="{03CF5EFB-79D1-B058-F85B-6B91CC68256A}"/>
              </a:ext>
            </a:extLst>
          </p:cNvPr>
          <p:cNvSpPr txBox="1"/>
          <p:nvPr/>
        </p:nvSpPr>
        <p:spPr>
          <a:xfrm>
            <a:off x="8941415" y="1576910"/>
            <a:ext cx="2971114" cy="4308872"/>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e most common axi-cel–related Grade ≥3 AEs were neutropenia (53%), anemia (30%), encephalopathy (15%) and thrombocytopenia (15%)</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RS : </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ny Grade: 100%, Grade 3/&gt; 8%</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o Grade 4 and 5 CRS occurred</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E: </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ny Grade 73%, Grade 3/&gt;23%, 5% Grade 4</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o Grade 5 NE occurred</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aramond" pitchFamily="18" charset="0"/>
              <a:ea typeface="+mn-ea"/>
              <a:cs typeface="+mn-cs"/>
            </a:endParaRPr>
          </a:p>
        </p:txBody>
      </p:sp>
      <p:sp>
        <p:nvSpPr>
          <p:cNvPr id="3" name="TextBox 2">
            <a:extLst>
              <a:ext uri="{FF2B5EF4-FFF2-40B4-BE49-F238E27FC236}">
                <a16:creationId xmlns:a16="http://schemas.microsoft.com/office/drawing/2014/main" id="{54345E11-E0B9-2CF9-65F8-0EC84B44AC7B}"/>
              </a:ext>
            </a:extLst>
          </p:cNvPr>
          <p:cNvSpPr txBox="1"/>
          <p:nvPr/>
        </p:nvSpPr>
        <p:spPr>
          <a:xfrm>
            <a:off x="3555593" y="367207"/>
            <a:ext cx="4581191" cy="553998"/>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3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ZUMA-12: Efficacy/Safety</a:t>
            </a:r>
          </a:p>
        </p:txBody>
      </p:sp>
      <p:sp>
        <p:nvSpPr>
          <p:cNvPr id="4" name="TextBox 3">
            <a:extLst>
              <a:ext uri="{FF2B5EF4-FFF2-40B4-BE49-F238E27FC236}">
                <a16:creationId xmlns:a16="http://schemas.microsoft.com/office/drawing/2014/main" id="{607170ED-7AE0-BFF9-0CF3-C99087757A73}"/>
              </a:ext>
            </a:extLst>
          </p:cNvPr>
          <p:cNvSpPr txBox="1"/>
          <p:nvPr/>
        </p:nvSpPr>
        <p:spPr>
          <a:xfrm>
            <a:off x="8241758" y="6464019"/>
            <a:ext cx="2185214" cy="307777"/>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havez et al Blood 2025 </a:t>
            </a:r>
          </a:p>
        </p:txBody>
      </p:sp>
    </p:spTree>
    <p:extLst>
      <p:ext uri="{BB962C8B-B14F-4D97-AF65-F5344CB8AC3E}">
        <p14:creationId xmlns:p14="http://schemas.microsoft.com/office/powerpoint/2010/main" val="246019738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9D302F-4AF3-9C78-4058-89A9C20BDCE3}"/>
              </a:ext>
            </a:extLst>
          </p:cNvPr>
          <p:cNvSpPr>
            <a:spLocks noGrp="1"/>
          </p:cNvSpPr>
          <p:nvPr>
            <p:ph type="title"/>
          </p:nvPr>
        </p:nvSpPr>
        <p:spPr>
          <a:xfrm>
            <a:off x="1484093" y="75744"/>
            <a:ext cx="8892540" cy="717335"/>
          </a:xfrm>
        </p:spPr>
        <p:txBody>
          <a:bodyPr>
            <a:noAutofit/>
          </a:bodyPr>
          <a:lstStyle/>
          <a:p>
            <a:pPr algn="ctr"/>
            <a:r>
              <a:rPr lang="en-US" sz="2800" dirty="0">
                <a:latin typeface="Arial" panose="020B0604020202020204" pitchFamily="34" charset="0"/>
                <a:cs typeface="Arial" panose="020B0604020202020204" pitchFamily="34" charset="0"/>
              </a:rPr>
              <a:t>Early results with other CAR T-cell platforms in DLBCL</a:t>
            </a:r>
          </a:p>
        </p:txBody>
      </p:sp>
      <p:sp>
        <p:nvSpPr>
          <p:cNvPr id="3" name="Slide Number Placeholder 2">
            <a:extLst>
              <a:ext uri="{FF2B5EF4-FFF2-40B4-BE49-F238E27FC236}">
                <a16:creationId xmlns:a16="http://schemas.microsoft.com/office/drawing/2014/main" id="{65F9FBA1-2EB0-563A-02E0-7F0E6448751F}"/>
              </a:ext>
            </a:extLst>
          </p:cNvPr>
          <p:cNvSpPr>
            <a:spLocks noGrp="1"/>
          </p:cNvSpPr>
          <p:nvPr>
            <p:ph type="sldNum" sz="quarter" idx="12"/>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BE33F7A0-71F0-446B-9DE8-6D75BE64EE0F}" type="slidenum">
              <a:rPr kumimoji="0" lang="en-US" sz="900" b="0" i="0" u="none" strike="noStrike" kern="1200" cap="none" spc="0" normalizeH="0" baseline="0" noProof="0">
                <a:ln>
                  <a:noFill/>
                </a:ln>
                <a:solidFill>
                  <a:prstClr val="white"/>
                </a:solidFill>
                <a:effectLst/>
                <a:uLnTx/>
                <a:uFillTx/>
                <a:latin typeface="Garamond" pitchFamily="18" charset="0"/>
                <a:ea typeface="+mn-ea"/>
                <a:cs typeface="+mn-cs"/>
              </a:rPr>
              <a:pPr marL="0" marR="0" lvl="0" indent="0" algn="r" defTabSz="457200" rtl="0" eaLnBrk="1" fontAlgn="base" latinLnBrk="0" hangingPunct="1">
                <a:lnSpc>
                  <a:spcPct val="100000"/>
                </a:lnSpc>
                <a:spcBef>
                  <a:spcPct val="0"/>
                </a:spcBef>
                <a:spcAft>
                  <a:spcPct val="0"/>
                </a:spcAft>
                <a:buClrTx/>
                <a:buSzTx/>
                <a:buFontTx/>
                <a:buNone/>
                <a:tabLst/>
                <a:defRPr/>
              </a:pPr>
              <a:t>84</a:t>
            </a:fld>
            <a:endParaRPr kumimoji="0" lang="en-US" sz="900" b="0" i="0" u="none" strike="noStrike" kern="1200" cap="none" spc="0" normalizeH="0" baseline="0" noProof="0" dirty="0">
              <a:ln>
                <a:noFill/>
              </a:ln>
              <a:solidFill>
                <a:prstClr val="white"/>
              </a:solidFill>
              <a:effectLst/>
              <a:uLnTx/>
              <a:uFillTx/>
              <a:latin typeface="Garamond" pitchFamily="18" charset="0"/>
              <a:ea typeface="+mn-ea"/>
              <a:cs typeface="+mn-cs"/>
            </a:endParaRPr>
          </a:p>
        </p:txBody>
      </p:sp>
      <p:sp>
        <p:nvSpPr>
          <p:cNvPr id="4" name="Content Placeholder 3">
            <a:extLst>
              <a:ext uri="{FF2B5EF4-FFF2-40B4-BE49-F238E27FC236}">
                <a16:creationId xmlns:a16="http://schemas.microsoft.com/office/drawing/2014/main" id="{375CDAFB-98C0-7FCB-EB3B-D34073815F76}"/>
              </a:ext>
            </a:extLst>
          </p:cNvPr>
          <p:cNvSpPr>
            <a:spLocks noGrp="1"/>
          </p:cNvSpPr>
          <p:nvPr>
            <p:ph sz="quarter" idx="13"/>
          </p:nvPr>
        </p:nvSpPr>
        <p:spPr>
          <a:xfrm>
            <a:off x="1591953" y="1639579"/>
            <a:ext cx="8892540" cy="1291590"/>
          </a:xfrm>
        </p:spPr>
        <p:txBody>
          <a:bodyPr>
            <a:normAutofit fontScale="85000" lnSpcReduction="20000"/>
          </a:bodyPr>
          <a:lstStyle/>
          <a:p>
            <a:pPr marL="0" indent="0">
              <a:buNone/>
            </a:pPr>
            <a:r>
              <a:rPr lang="en-US" sz="1800" dirty="0">
                <a:latin typeface="Arial" panose="020B0604020202020204" pitchFamily="34" charset="0"/>
                <a:cs typeface="Arial" panose="020B0604020202020204" pitchFamily="34" charset="0"/>
              </a:rPr>
              <a:t>CD19-directed CAR-T cell therapy utilizes the T-Charge™ platform-preserve T-cell stemness + 2 day manufacturing time followed by release testing. </a:t>
            </a:r>
          </a:p>
          <a:p>
            <a:pPr marL="0" indent="0">
              <a:buNone/>
            </a:pPr>
            <a:r>
              <a:rPr lang="en-US" dirty="0">
                <a:latin typeface="Arial" panose="020B0604020202020204" pitchFamily="34" charset="0"/>
                <a:cs typeface="Arial" panose="020B0604020202020204" pitchFamily="34" charset="0"/>
              </a:rPr>
              <a:t>Phase Il study; 12.5×10</a:t>
            </a:r>
            <a:r>
              <a:rPr lang="en-US" baseline="30000" dirty="0">
                <a:latin typeface="Arial" panose="020B0604020202020204" pitchFamily="34" charset="0"/>
                <a:cs typeface="Arial" panose="020B0604020202020204" pitchFamily="34" charset="0"/>
              </a:rPr>
              <a:t>6</a:t>
            </a:r>
            <a:r>
              <a:rPr lang="en-US" dirty="0">
                <a:latin typeface="Arial" panose="020B0604020202020204" pitchFamily="34" charset="0"/>
                <a:cs typeface="Arial" panose="020B0604020202020204" pitchFamily="34" charset="0"/>
              </a:rPr>
              <a:t> CAR+ viable T-cell dose</a:t>
            </a:r>
            <a:r>
              <a:rPr lang="en-US" sz="1900" dirty="0">
                <a:latin typeface="Arial" panose="020B0604020202020204" pitchFamily="34" charset="0"/>
                <a:cs typeface="Arial" panose="020B0604020202020204" pitchFamily="34" charset="0"/>
              </a:rPr>
              <a:t>; </a:t>
            </a:r>
          </a:p>
          <a:p>
            <a:pPr marL="0" indent="0">
              <a:buNone/>
            </a:pPr>
            <a:r>
              <a:rPr lang="en-US" sz="1900" dirty="0">
                <a:latin typeface="Arial" panose="020B0604020202020204" pitchFamily="34" charset="0"/>
                <a:cs typeface="Arial" panose="020B0604020202020204" pitchFamily="34" charset="0"/>
              </a:rPr>
              <a:t>Primary Endpoint: Complete response rate (CR)</a:t>
            </a:r>
          </a:p>
          <a:p>
            <a:pPr marL="0" indent="0">
              <a:buNone/>
            </a:pPr>
            <a:r>
              <a:rPr lang="en-US" sz="1900" dirty="0">
                <a:latin typeface="Arial" panose="020B0604020202020204" pitchFamily="34" charset="0"/>
                <a:cs typeface="Arial" panose="020B0604020202020204" pitchFamily="34" charset="0"/>
              </a:rPr>
              <a:t>N=63, Median age 64, HGBCL -2 5% Refractory – 58%; </a:t>
            </a:r>
            <a:r>
              <a:rPr lang="en-US" sz="1900" dirty="0" err="1">
                <a:latin typeface="Arial" panose="020B0604020202020204" pitchFamily="34" charset="0"/>
                <a:cs typeface="Arial" panose="020B0604020202020204" pitchFamily="34" charset="0"/>
              </a:rPr>
              <a:t>mLOT</a:t>
            </a:r>
            <a:r>
              <a:rPr lang="en-US" sz="1900" dirty="0">
                <a:latin typeface="Arial" panose="020B0604020202020204" pitchFamily="34" charset="0"/>
                <a:cs typeface="Arial" panose="020B0604020202020204" pitchFamily="34" charset="0"/>
              </a:rPr>
              <a:t>- 2, BT- 60% </a:t>
            </a:r>
          </a:p>
          <a:p>
            <a:pPr marL="0" indent="0">
              <a:buNone/>
            </a:pPr>
            <a:endParaRPr lang="en-US" sz="1900" dirty="0">
              <a:latin typeface="Arial" panose="020B0604020202020204" pitchFamily="34" charset="0"/>
              <a:cs typeface="Arial" panose="020B0604020202020204" pitchFamily="34" charset="0"/>
            </a:endParaRPr>
          </a:p>
          <a:p>
            <a:pPr marL="0" indent="0">
              <a:buNone/>
            </a:pPr>
            <a:endParaRPr lang="en-US" dirty="0"/>
          </a:p>
        </p:txBody>
      </p:sp>
      <p:sp>
        <p:nvSpPr>
          <p:cNvPr id="6" name="TextBox 5">
            <a:extLst>
              <a:ext uri="{FF2B5EF4-FFF2-40B4-BE49-F238E27FC236}">
                <a16:creationId xmlns:a16="http://schemas.microsoft.com/office/drawing/2014/main" id="{2C78CC5C-760B-2DD8-1743-242D1095A14E}"/>
              </a:ext>
            </a:extLst>
          </p:cNvPr>
          <p:cNvSpPr txBox="1"/>
          <p:nvPr/>
        </p:nvSpPr>
        <p:spPr>
          <a:xfrm>
            <a:off x="1928959" y="2935029"/>
            <a:ext cx="5143500" cy="1200329"/>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Garamond" pitchFamily="18" charset="0"/>
                <a:ea typeface="+mn-ea"/>
                <a:cs typeface="+mn-cs"/>
              </a:rPr>
              <a:t>                           </a:t>
            </a: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SULTS</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Median follow up 16 months</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Primary Endpoint met- ORR 88% CR 62%</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CD113B"/>
                </a:solidFill>
                <a:effectLst/>
                <a:uLnTx/>
                <a:uFillTx/>
                <a:latin typeface="Garamond" pitchFamily="18" charset="0"/>
                <a:ea typeface="+mn-ea"/>
                <a:cs typeface="+mn-cs"/>
              </a:rPr>
              <a:t>  </a:t>
            </a:r>
          </a:p>
        </p:txBody>
      </p:sp>
      <p:sp>
        <p:nvSpPr>
          <p:cNvPr id="7" name="TextBox 6">
            <a:extLst>
              <a:ext uri="{FF2B5EF4-FFF2-40B4-BE49-F238E27FC236}">
                <a16:creationId xmlns:a16="http://schemas.microsoft.com/office/drawing/2014/main" id="{400ECB63-8D41-C803-53EE-0337F88CC64A}"/>
              </a:ext>
            </a:extLst>
          </p:cNvPr>
          <p:cNvSpPr txBox="1"/>
          <p:nvPr/>
        </p:nvSpPr>
        <p:spPr>
          <a:xfrm>
            <a:off x="7950552" y="2931169"/>
            <a:ext cx="3758518" cy="2123658"/>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A10E2F"/>
                </a:solidFill>
                <a:effectLst/>
                <a:uLnTx/>
                <a:uFillTx/>
                <a:latin typeface="Garamond" pitchFamily="18" charset="0"/>
                <a:ea typeface="+mn-ea"/>
                <a:cs typeface="+mn-cs"/>
              </a:rPr>
              <a:t>               </a:t>
            </a: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AFETY</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ost common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ytopenias</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RS (44%) </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rade ≥3 CRS (6%) and ICANS (5%) </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 Grade 3 HLH, </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rade ≥3 infection 27%</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rade 5 – 6 patients ( 2 with PD) </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aramond" pitchFamily="18" charset="0"/>
              <a:ea typeface="+mn-ea"/>
              <a:cs typeface="+mn-cs"/>
            </a:endParaRPr>
          </a:p>
        </p:txBody>
      </p:sp>
      <p:sp>
        <p:nvSpPr>
          <p:cNvPr id="12" name="TextBox 11">
            <a:extLst>
              <a:ext uri="{FF2B5EF4-FFF2-40B4-BE49-F238E27FC236}">
                <a16:creationId xmlns:a16="http://schemas.microsoft.com/office/drawing/2014/main" id="{2FA3FDC7-3A89-414B-2A1F-87F00F969F0C}"/>
              </a:ext>
            </a:extLst>
          </p:cNvPr>
          <p:cNvSpPr txBox="1"/>
          <p:nvPr/>
        </p:nvSpPr>
        <p:spPr>
          <a:xfrm>
            <a:off x="10484493" y="6615626"/>
            <a:ext cx="1550424" cy="207749"/>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black"/>
                </a:solidFill>
                <a:effectLst/>
                <a:uLnTx/>
                <a:uFillTx/>
                <a:latin typeface="Garamond" pitchFamily="18" charset="0"/>
                <a:ea typeface="+mn-ea"/>
                <a:cs typeface="+mn-cs"/>
              </a:rPr>
              <a:t>Reidel et al ASH 2024 Abstract # 67</a:t>
            </a:r>
          </a:p>
        </p:txBody>
      </p:sp>
      <p:sp>
        <p:nvSpPr>
          <p:cNvPr id="8" name="TextBox 7">
            <a:extLst>
              <a:ext uri="{FF2B5EF4-FFF2-40B4-BE49-F238E27FC236}">
                <a16:creationId xmlns:a16="http://schemas.microsoft.com/office/drawing/2014/main" id="{570E4CA7-F95E-8911-5F0F-3A8EC76389E8}"/>
              </a:ext>
            </a:extLst>
          </p:cNvPr>
          <p:cNvSpPr txBox="1"/>
          <p:nvPr/>
        </p:nvSpPr>
        <p:spPr>
          <a:xfrm>
            <a:off x="4073238" y="5798705"/>
            <a:ext cx="184731" cy="36933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aramond" pitchFamily="18" charset="0"/>
              <a:ea typeface="+mn-ea"/>
              <a:cs typeface="+mn-cs"/>
            </a:endParaRPr>
          </a:p>
        </p:txBody>
      </p:sp>
      <p:pic>
        <p:nvPicPr>
          <p:cNvPr id="13" name="Picture 12" descr="A blue sign with white text&#10;&#10;Description automatically generated">
            <a:extLst>
              <a:ext uri="{FF2B5EF4-FFF2-40B4-BE49-F238E27FC236}">
                <a16:creationId xmlns:a16="http://schemas.microsoft.com/office/drawing/2014/main" id="{9F6E56CD-8C8F-8E45-4361-ABA4B514C0B0}"/>
              </a:ext>
            </a:extLst>
          </p:cNvPr>
          <p:cNvPicPr>
            <a:picLocks noChangeAspect="1"/>
          </p:cNvPicPr>
          <p:nvPr/>
        </p:nvPicPr>
        <p:blipFill>
          <a:blip r:embed="rId3"/>
          <a:stretch>
            <a:fillRect/>
          </a:stretch>
        </p:blipFill>
        <p:spPr>
          <a:xfrm>
            <a:off x="2933204" y="659615"/>
            <a:ext cx="5994318" cy="892718"/>
          </a:xfrm>
          <a:prstGeom prst="rect">
            <a:avLst/>
          </a:prstGeom>
        </p:spPr>
      </p:pic>
      <p:pic>
        <p:nvPicPr>
          <p:cNvPr id="15" name="Picture 14" descr="A graph and a diagram&#10;&#10;Description automatically generated with medium confidence">
            <a:extLst>
              <a:ext uri="{FF2B5EF4-FFF2-40B4-BE49-F238E27FC236}">
                <a16:creationId xmlns:a16="http://schemas.microsoft.com/office/drawing/2014/main" id="{E6978CB2-DAA3-83AC-09B7-18AED0121978}"/>
              </a:ext>
            </a:extLst>
          </p:cNvPr>
          <p:cNvPicPr>
            <a:picLocks noChangeAspect="1"/>
          </p:cNvPicPr>
          <p:nvPr/>
        </p:nvPicPr>
        <p:blipFill>
          <a:blip r:embed="rId4"/>
          <a:srcRect t="4272" b="1385"/>
          <a:stretch>
            <a:fillRect/>
          </a:stretch>
        </p:blipFill>
        <p:spPr>
          <a:xfrm>
            <a:off x="1371348" y="4213127"/>
            <a:ext cx="6093089" cy="2123658"/>
          </a:xfrm>
          <a:prstGeom prst="rect">
            <a:avLst/>
          </a:prstGeom>
        </p:spPr>
      </p:pic>
      <p:sp>
        <p:nvSpPr>
          <p:cNvPr id="16" name="TextBox 15">
            <a:extLst>
              <a:ext uri="{FF2B5EF4-FFF2-40B4-BE49-F238E27FC236}">
                <a16:creationId xmlns:a16="http://schemas.microsoft.com/office/drawing/2014/main" id="{2C680337-A27D-06AD-CABD-4AE8D81AACAC}"/>
              </a:ext>
            </a:extLst>
          </p:cNvPr>
          <p:cNvSpPr txBox="1"/>
          <p:nvPr/>
        </p:nvSpPr>
        <p:spPr>
          <a:xfrm>
            <a:off x="7774108" y="5229319"/>
            <a:ext cx="3388609" cy="1600438"/>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sng"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 doses of LD chemo tested</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ower dose n=28 Fly/Cy 25/250</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igher dose n=33 Flu/Cy 30/500</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isk-benefit analyses support lower-dose</a:t>
            </a:r>
          </a:p>
        </p:txBody>
      </p:sp>
      <p:sp>
        <p:nvSpPr>
          <p:cNvPr id="5" name="TextBox 4">
            <a:extLst>
              <a:ext uri="{FF2B5EF4-FFF2-40B4-BE49-F238E27FC236}">
                <a16:creationId xmlns:a16="http://schemas.microsoft.com/office/drawing/2014/main" id="{55C58B7E-38F1-F1F9-645D-412FACE1878C}"/>
              </a:ext>
            </a:extLst>
          </p:cNvPr>
          <p:cNvSpPr txBox="1"/>
          <p:nvPr/>
        </p:nvSpPr>
        <p:spPr>
          <a:xfrm rot="16200000">
            <a:off x="934381" y="5169882"/>
            <a:ext cx="1251308" cy="118872"/>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black"/>
                </a:solidFill>
                <a:effectLst/>
                <a:uLnTx/>
                <a:uFillTx/>
                <a:latin typeface="Calibri" panose="020F0502020204030204"/>
                <a:ea typeface="+mn-ea"/>
                <a:cs typeface="+mn-cs"/>
              </a:rPr>
              <a:t>Probability (%) of event free survival</a:t>
            </a:r>
          </a:p>
        </p:txBody>
      </p:sp>
      <p:sp>
        <p:nvSpPr>
          <p:cNvPr id="9" name="TextBox 8">
            <a:extLst>
              <a:ext uri="{FF2B5EF4-FFF2-40B4-BE49-F238E27FC236}">
                <a16:creationId xmlns:a16="http://schemas.microsoft.com/office/drawing/2014/main" id="{110F264C-A22F-7284-D02E-5627A673CE3F}"/>
              </a:ext>
            </a:extLst>
          </p:cNvPr>
          <p:cNvSpPr txBox="1"/>
          <p:nvPr/>
        </p:nvSpPr>
        <p:spPr>
          <a:xfrm rot="16200000">
            <a:off x="4222943" y="5097041"/>
            <a:ext cx="1251308" cy="92333"/>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black"/>
                </a:solidFill>
                <a:effectLst/>
                <a:uLnTx/>
                <a:uFillTx/>
                <a:latin typeface="Calibri" panose="020F0502020204030204"/>
                <a:ea typeface="+mn-ea"/>
                <a:cs typeface="+mn-cs"/>
              </a:rPr>
              <a:t>Probability (%) of overall survival</a:t>
            </a:r>
          </a:p>
        </p:txBody>
      </p:sp>
    </p:spTree>
    <p:extLst>
      <p:ext uri="{BB962C8B-B14F-4D97-AF65-F5344CB8AC3E}">
        <p14:creationId xmlns:p14="http://schemas.microsoft.com/office/powerpoint/2010/main" val="32485464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16" grpId="0"/>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7E527F-1C1F-990F-BED0-9FCE0462A536}"/>
              </a:ext>
            </a:extLst>
          </p:cNvPr>
          <p:cNvSpPr>
            <a:spLocks noGrp="1"/>
          </p:cNvSpPr>
          <p:nvPr>
            <p:ph type="title"/>
          </p:nvPr>
        </p:nvSpPr>
        <p:spPr>
          <a:xfrm>
            <a:off x="1634256" y="109960"/>
            <a:ext cx="8923488" cy="1044931"/>
          </a:xfrm>
        </p:spPr>
        <p:txBody>
          <a:bodyPr>
            <a:noAutofit/>
          </a:bodyPr>
          <a:lstStyle/>
          <a:p>
            <a:r>
              <a:rPr lang="en-US" sz="2400" dirty="0">
                <a:latin typeface="Arial" panose="020B0604020202020204" pitchFamily="34" charset="0"/>
                <a:cs typeface="Arial" panose="020B0604020202020204" pitchFamily="34" charset="0"/>
              </a:rPr>
              <a:t>Rapcabtagene Autoleucel (YTB323) for Patients With First Line High-Risk Large B-Cell Lymphoma: Phase 2 Interim Results</a:t>
            </a:r>
            <a:endParaRPr lang="en-US" sz="2400" dirty="0"/>
          </a:p>
        </p:txBody>
      </p:sp>
      <p:pic>
        <p:nvPicPr>
          <p:cNvPr id="5" name="Content Placeholder 4" descr="A blue and white diagram with text&#10;&#10;AI-generated content may be incorrect.">
            <a:extLst>
              <a:ext uri="{FF2B5EF4-FFF2-40B4-BE49-F238E27FC236}">
                <a16:creationId xmlns:a16="http://schemas.microsoft.com/office/drawing/2014/main" id="{B494BFDE-2BAF-BEC8-3DCA-3AACDC37AB01}"/>
              </a:ext>
            </a:extLst>
          </p:cNvPr>
          <p:cNvPicPr>
            <a:picLocks noGrp="1" noChangeAspect="1"/>
          </p:cNvPicPr>
          <p:nvPr>
            <p:ph idx="1"/>
          </p:nvPr>
        </p:nvPicPr>
        <p:blipFill>
          <a:blip r:embed="rId3"/>
          <a:stretch>
            <a:fillRect/>
          </a:stretch>
        </p:blipFill>
        <p:spPr>
          <a:xfrm>
            <a:off x="1094389" y="1134319"/>
            <a:ext cx="6185644" cy="2919944"/>
          </a:xfrm>
          <a:prstGeom prst="rect">
            <a:avLst/>
          </a:prstGeom>
        </p:spPr>
      </p:pic>
      <p:sp>
        <p:nvSpPr>
          <p:cNvPr id="6" name="TextBox 5">
            <a:extLst>
              <a:ext uri="{FF2B5EF4-FFF2-40B4-BE49-F238E27FC236}">
                <a16:creationId xmlns:a16="http://schemas.microsoft.com/office/drawing/2014/main" id="{9E353B18-1FBC-2114-82EF-0E8062604842}"/>
              </a:ext>
            </a:extLst>
          </p:cNvPr>
          <p:cNvSpPr txBox="1"/>
          <p:nvPr/>
        </p:nvSpPr>
        <p:spPr>
          <a:xfrm>
            <a:off x="3757915" y="1134319"/>
            <a:ext cx="742511" cy="36933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53</a:t>
            </a:r>
          </a:p>
        </p:txBody>
      </p:sp>
      <p:pic>
        <p:nvPicPr>
          <p:cNvPr id="8" name="Picture 7" descr="A close-up of a graph&#10;&#10;AI-generated content may be incorrect.">
            <a:extLst>
              <a:ext uri="{FF2B5EF4-FFF2-40B4-BE49-F238E27FC236}">
                <a16:creationId xmlns:a16="http://schemas.microsoft.com/office/drawing/2014/main" id="{3D618D7F-1A6C-F863-E467-E16535511B06}"/>
              </a:ext>
            </a:extLst>
          </p:cNvPr>
          <p:cNvPicPr>
            <a:picLocks noChangeAspect="1"/>
          </p:cNvPicPr>
          <p:nvPr/>
        </p:nvPicPr>
        <p:blipFill>
          <a:blip r:embed="rId4"/>
          <a:stretch>
            <a:fillRect/>
          </a:stretch>
        </p:blipFill>
        <p:spPr>
          <a:xfrm>
            <a:off x="1454314" y="4032737"/>
            <a:ext cx="4641686" cy="2440286"/>
          </a:xfrm>
          <a:prstGeom prst="rect">
            <a:avLst/>
          </a:prstGeom>
        </p:spPr>
      </p:pic>
      <p:pic>
        <p:nvPicPr>
          <p:cNvPr id="10" name="Picture 9" descr="A blue and white table with numbers and text&#10;&#10;AI-generated content may be incorrect.">
            <a:extLst>
              <a:ext uri="{FF2B5EF4-FFF2-40B4-BE49-F238E27FC236}">
                <a16:creationId xmlns:a16="http://schemas.microsoft.com/office/drawing/2014/main" id="{9D6074F2-E6DB-9C78-B5CF-0A16FC086C24}"/>
              </a:ext>
            </a:extLst>
          </p:cNvPr>
          <p:cNvPicPr>
            <a:picLocks noChangeAspect="1"/>
          </p:cNvPicPr>
          <p:nvPr/>
        </p:nvPicPr>
        <p:blipFill>
          <a:blip r:embed="rId5"/>
          <a:stretch>
            <a:fillRect/>
          </a:stretch>
        </p:blipFill>
        <p:spPr>
          <a:xfrm>
            <a:off x="6362784" y="4054263"/>
            <a:ext cx="4947138" cy="2693779"/>
          </a:xfrm>
          <a:prstGeom prst="rect">
            <a:avLst/>
          </a:prstGeom>
        </p:spPr>
      </p:pic>
      <p:sp>
        <p:nvSpPr>
          <p:cNvPr id="11" name="TextBox 10">
            <a:extLst>
              <a:ext uri="{FF2B5EF4-FFF2-40B4-BE49-F238E27FC236}">
                <a16:creationId xmlns:a16="http://schemas.microsoft.com/office/drawing/2014/main" id="{730A7FB1-CFF3-8CB8-4C88-6BAD3AA19E32}"/>
              </a:ext>
            </a:extLst>
          </p:cNvPr>
          <p:cNvSpPr txBox="1"/>
          <p:nvPr/>
        </p:nvSpPr>
        <p:spPr>
          <a:xfrm>
            <a:off x="7397262" y="1162652"/>
            <a:ext cx="3654751" cy="2862322"/>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A10E2F"/>
                </a:solidFill>
                <a:effectLst/>
                <a:uLnTx/>
                <a:uFillTx/>
                <a:latin typeface="Garamond" pitchFamily="18" charset="0"/>
                <a:ea typeface="+mn-ea"/>
                <a:cs typeface="+mn-cs"/>
              </a:rPr>
              <a:t>               </a:t>
            </a: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AFETY</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ost common cytopenias </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9% low grade CRS</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 grade ≥3 CRS events</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dian time to onset of CRS</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1 days</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8% ICANS, 2% Grade 3 </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dian time to onset 15 days </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aramond" pitchFamily="18" charset="0"/>
              <a:ea typeface="+mn-ea"/>
              <a:cs typeface="+mn-cs"/>
            </a:endParaRPr>
          </a:p>
        </p:txBody>
      </p:sp>
      <p:sp>
        <p:nvSpPr>
          <p:cNvPr id="3" name="TextBox 2">
            <a:extLst>
              <a:ext uri="{FF2B5EF4-FFF2-40B4-BE49-F238E27FC236}">
                <a16:creationId xmlns:a16="http://schemas.microsoft.com/office/drawing/2014/main" id="{282D3EAE-52C1-E1B4-42F0-83A049875B12}"/>
              </a:ext>
            </a:extLst>
          </p:cNvPr>
          <p:cNvSpPr txBox="1"/>
          <p:nvPr/>
        </p:nvSpPr>
        <p:spPr>
          <a:xfrm>
            <a:off x="8440616" y="6550224"/>
            <a:ext cx="2024593" cy="307777"/>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estin et al ASH 2025 </a:t>
            </a:r>
          </a:p>
        </p:txBody>
      </p:sp>
    </p:spTree>
    <p:extLst>
      <p:ext uri="{BB962C8B-B14F-4D97-AF65-F5344CB8AC3E}">
        <p14:creationId xmlns:p14="http://schemas.microsoft.com/office/powerpoint/2010/main" val="39365006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1"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F59C86-1A09-2DB3-C4FB-C9A98230AF73}"/>
              </a:ext>
            </a:extLst>
          </p:cNvPr>
          <p:cNvSpPr>
            <a:spLocks noGrp="1"/>
          </p:cNvSpPr>
          <p:nvPr>
            <p:ph type="title"/>
          </p:nvPr>
        </p:nvSpPr>
        <p:spPr>
          <a:xfrm>
            <a:off x="828305" y="475471"/>
            <a:ext cx="8877781" cy="942822"/>
          </a:xfrm>
        </p:spPr>
        <p:txBody>
          <a:bodyPr>
            <a:normAutofit fontScale="90000"/>
          </a:bodyPr>
          <a:lstStyle/>
          <a:p>
            <a:r>
              <a:rPr lang="en-US" dirty="0">
                <a:latin typeface="Arial" panose="020B0604020202020204" pitchFamily="34" charset="0"/>
                <a:cs typeface="Arial" panose="020B0604020202020204" pitchFamily="34" charset="0"/>
              </a:rPr>
              <a:t>CD19×CD20 Dual-Target CAR-T: Early Signals Across Constructs</a:t>
            </a:r>
          </a:p>
        </p:txBody>
      </p:sp>
      <p:pic>
        <p:nvPicPr>
          <p:cNvPr id="13" name="Picture 12" descr="A screenshot of a chart&#10;&#10;AI-generated content may be incorrect.">
            <a:extLst>
              <a:ext uri="{FF2B5EF4-FFF2-40B4-BE49-F238E27FC236}">
                <a16:creationId xmlns:a16="http://schemas.microsoft.com/office/drawing/2014/main" id="{7895E4BD-F0B6-74DC-F006-4F4C8B86ECD2}"/>
              </a:ext>
            </a:extLst>
          </p:cNvPr>
          <p:cNvPicPr>
            <a:picLocks noChangeAspect="1"/>
          </p:cNvPicPr>
          <p:nvPr/>
        </p:nvPicPr>
        <p:blipFill>
          <a:blip r:embed="rId3"/>
          <a:srcRect t="2449" b="2858"/>
          <a:stretch>
            <a:fillRect/>
          </a:stretch>
        </p:blipFill>
        <p:spPr>
          <a:xfrm>
            <a:off x="828305" y="2365686"/>
            <a:ext cx="10580913" cy="2410692"/>
          </a:xfrm>
          <a:prstGeom prst="rect">
            <a:avLst/>
          </a:prstGeom>
        </p:spPr>
      </p:pic>
      <p:pic>
        <p:nvPicPr>
          <p:cNvPr id="17" name="Picture 16">
            <a:extLst>
              <a:ext uri="{FF2B5EF4-FFF2-40B4-BE49-F238E27FC236}">
                <a16:creationId xmlns:a16="http://schemas.microsoft.com/office/drawing/2014/main" id="{96028FC5-D953-DE44-62F5-CA74B63E2571}"/>
              </a:ext>
            </a:extLst>
          </p:cNvPr>
          <p:cNvPicPr>
            <a:picLocks noChangeAspect="1"/>
          </p:cNvPicPr>
          <p:nvPr/>
        </p:nvPicPr>
        <p:blipFill>
          <a:blip r:embed="rId4"/>
          <a:srcRect b="9800"/>
          <a:stretch>
            <a:fillRect/>
          </a:stretch>
        </p:blipFill>
        <p:spPr>
          <a:xfrm>
            <a:off x="759032" y="1715735"/>
            <a:ext cx="10673936" cy="602447"/>
          </a:xfrm>
          <a:prstGeom prst="rect">
            <a:avLst/>
          </a:prstGeom>
        </p:spPr>
      </p:pic>
      <p:sp>
        <p:nvSpPr>
          <p:cNvPr id="3" name="TextBox 2">
            <a:extLst>
              <a:ext uri="{FF2B5EF4-FFF2-40B4-BE49-F238E27FC236}">
                <a16:creationId xmlns:a16="http://schemas.microsoft.com/office/drawing/2014/main" id="{FCF01C1F-5623-60CB-E8A0-0BA91823BA25}"/>
              </a:ext>
            </a:extLst>
          </p:cNvPr>
          <p:cNvSpPr txBox="1"/>
          <p:nvPr/>
        </p:nvSpPr>
        <p:spPr>
          <a:xfrm>
            <a:off x="8766062" y="6519446"/>
            <a:ext cx="3425938" cy="338554"/>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Kamdar M, Bartlett NL. Blood 2026 </a:t>
            </a:r>
          </a:p>
        </p:txBody>
      </p:sp>
      <p:sp>
        <p:nvSpPr>
          <p:cNvPr id="4" name="TextBox 3">
            <a:extLst>
              <a:ext uri="{FF2B5EF4-FFF2-40B4-BE49-F238E27FC236}">
                <a16:creationId xmlns:a16="http://schemas.microsoft.com/office/drawing/2014/main" id="{A9A23555-F699-2616-C30E-F8F7C94403EE}"/>
              </a:ext>
            </a:extLst>
          </p:cNvPr>
          <p:cNvSpPr txBox="1"/>
          <p:nvPr/>
        </p:nvSpPr>
        <p:spPr>
          <a:xfrm>
            <a:off x="1631706" y="5371263"/>
            <a:ext cx="9036295" cy="707886"/>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Next Wave of Trials  </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hase III RCTs comparing CD19 CARs VERSUS CD19/20 CARs 2L DBCL</a:t>
            </a:r>
          </a:p>
        </p:txBody>
      </p:sp>
    </p:spTree>
    <p:extLst>
      <p:ext uri="{BB962C8B-B14F-4D97-AF65-F5344CB8AC3E}">
        <p14:creationId xmlns:p14="http://schemas.microsoft.com/office/powerpoint/2010/main" val="21513752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0D0E67-B31D-2F41-A537-72D60C756E75}"/>
              </a:ext>
            </a:extLst>
          </p:cNvPr>
          <p:cNvSpPr>
            <a:spLocks noGrp="1"/>
          </p:cNvSpPr>
          <p:nvPr>
            <p:ph type="title"/>
          </p:nvPr>
        </p:nvSpPr>
        <p:spPr>
          <a:xfrm>
            <a:off x="1892506" y="285007"/>
            <a:ext cx="8229600" cy="868320"/>
          </a:xfrm>
        </p:spPr>
        <p:txBody>
          <a:bodyPr>
            <a:normAutofit/>
          </a:bodyPr>
          <a:lstStyle/>
          <a:p>
            <a:pPr algn="ctr" eaLnBrk="1">
              <a:buFont typeface="Wingdings" charset="0"/>
              <a:buNone/>
              <a:defRPr/>
            </a:pPr>
            <a:r>
              <a:rPr lang="en-US" sz="3000" dirty="0">
                <a:latin typeface="Arial" panose="020B0604020202020204" pitchFamily="34" charset="0"/>
                <a:cs typeface="Arial" panose="020B0604020202020204" pitchFamily="34" charset="0"/>
              </a:rPr>
              <a:t>CAR T-cell Therapy Toxicities</a:t>
            </a:r>
          </a:p>
        </p:txBody>
      </p:sp>
      <p:sp>
        <p:nvSpPr>
          <p:cNvPr id="18434" name="TextBox 2">
            <a:extLst>
              <a:ext uri="{FF2B5EF4-FFF2-40B4-BE49-F238E27FC236}">
                <a16:creationId xmlns:a16="http://schemas.microsoft.com/office/drawing/2014/main" id="{BD004FD1-75A3-FA4D-88FB-AF96D8989C89}"/>
              </a:ext>
            </a:extLst>
          </p:cNvPr>
          <p:cNvSpPr txBox="1">
            <a:spLocks noChangeArrowheads="1"/>
          </p:cNvSpPr>
          <p:nvPr/>
        </p:nvSpPr>
        <p:spPr bwMode="auto">
          <a:xfrm>
            <a:off x="1600198" y="1385010"/>
            <a:ext cx="8814217" cy="5078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9" tIns="45714" rIns="91429" bIns="45714">
            <a:spAutoFit/>
          </a:bodyPr>
          <a:lstStyle>
            <a:lvl1pPr marL="377825" indent="-377825" eaLnBrk="0">
              <a:defRPr sz="2400">
                <a:solidFill>
                  <a:schemeClr val="tx1"/>
                </a:solidFill>
                <a:latin typeface="Times New Roman" panose="02020603050405020304" pitchFamily="18" charset="0"/>
                <a:ea typeface="ＭＳ Ｐゴシック" panose="020B0600070205080204" pitchFamily="34" charset="-128"/>
              </a:defRPr>
            </a:lvl1pPr>
            <a:lvl2pPr marL="881063" indent="-377825" eaLnBrk="0">
              <a:defRPr sz="2400">
                <a:solidFill>
                  <a:schemeClr val="tx1"/>
                </a:solidFill>
                <a:latin typeface="Times New Roman" panose="02020603050405020304" pitchFamily="18" charset="0"/>
                <a:ea typeface="ＭＳ Ｐゴシック" panose="020B0600070205080204" pitchFamily="34" charset="-128"/>
              </a:defRPr>
            </a:lvl2pPr>
            <a:lvl3pPr marL="1143000" indent="-228600" eaLnBrk="0">
              <a:defRPr sz="2400">
                <a:solidFill>
                  <a:schemeClr val="tx1"/>
                </a:solidFill>
                <a:latin typeface="Times New Roman" panose="02020603050405020304" pitchFamily="18" charset="0"/>
                <a:ea typeface="ＭＳ Ｐゴシック" panose="020B0600070205080204" pitchFamily="34" charset="-128"/>
              </a:defRPr>
            </a:lvl3pPr>
            <a:lvl4pPr marL="1600200" indent="-228600" eaLnBrk="0">
              <a:defRPr sz="2400">
                <a:solidFill>
                  <a:schemeClr val="tx1"/>
                </a:solidFill>
                <a:latin typeface="Times New Roman" panose="02020603050405020304" pitchFamily="18" charset="0"/>
                <a:ea typeface="ＭＳ Ｐゴシック" panose="020B0600070205080204" pitchFamily="34" charset="-128"/>
              </a:defRPr>
            </a:lvl4pPr>
            <a:lvl5pPr marL="2057400" indent="-228600" eaLnBrk="0">
              <a:defRPr sz="2400">
                <a:solidFill>
                  <a:schemeClr val="tx1"/>
                </a:solidFill>
                <a:latin typeface="Times New Roman" panose="02020603050405020304" pitchFamily="18" charset="0"/>
                <a:ea typeface="ＭＳ Ｐゴシック" panose="020B0600070205080204" pitchFamily="34" charset="-128"/>
              </a:defRPr>
            </a:lvl5pPr>
            <a:lvl6pPr marL="2514600" indent="-228600" defTabSz="457200" eaLnBrk="0" fontAlgn="base" hangingPunct="0">
              <a:lnSpc>
                <a:spcPct val="93000"/>
              </a:lnSpc>
              <a:spcBef>
                <a:spcPct val="0"/>
              </a:spcBef>
              <a:spcAft>
                <a:spcPct val="0"/>
              </a:spcAft>
              <a:buClr>
                <a:srgbClr val="000000"/>
              </a:buClr>
              <a:buSzPct val="45000"/>
              <a:buFont typeface="Wingdings" pitchFamily="2" charset="2"/>
              <a:defRPr sz="2400">
                <a:solidFill>
                  <a:schemeClr val="tx1"/>
                </a:solidFill>
                <a:latin typeface="Times New Roman" panose="02020603050405020304" pitchFamily="18" charset="0"/>
                <a:ea typeface="ＭＳ Ｐゴシック" panose="020B0600070205080204" pitchFamily="34" charset="-128"/>
              </a:defRPr>
            </a:lvl6pPr>
            <a:lvl7pPr marL="2971800" indent="-228600" defTabSz="457200" eaLnBrk="0" fontAlgn="base" hangingPunct="0">
              <a:lnSpc>
                <a:spcPct val="93000"/>
              </a:lnSpc>
              <a:spcBef>
                <a:spcPct val="0"/>
              </a:spcBef>
              <a:spcAft>
                <a:spcPct val="0"/>
              </a:spcAft>
              <a:buClr>
                <a:srgbClr val="000000"/>
              </a:buClr>
              <a:buSzPct val="45000"/>
              <a:buFont typeface="Wingdings" pitchFamily="2" charset="2"/>
              <a:defRPr sz="2400">
                <a:solidFill>
                  <a:schemeClr val="tx1"/>
                </a:solidFill>
                <a:latin typeface="Times New Roman" panose="02020603050405020304" pitchFamily="18" charset="0"/>
                <a:ea typeface="ＭＳ Ｐゴシック" panose="020B0600070205080204" pitchFamily="34" charset="-128"/>
              </a:defRPr>
            </a:lvl7pPr>
            <a:lvl8pPr marL="3429000" indent="-228600" defTabSz="457200" eaLnBrk="0" fontAlgn="base" hangingPunct="0">
              <a:lnSpc>
                <a:spcPct val="93000"/>
              </a:lnSpc>
              <a:spcBef>
                <a:spcPct val="0"/>
              </a:spcBef>
              <a:spcAft>
                <a:spcPct val="0"/>
              </a:spcAft>
              <a:buClr>
                <a:srgbClr val="000000"/>
              </a:buClr>
              <a:buSzPct val="45000"/>
              <a:buFont typeface="Wingdings" pitchFamily="2" charset="2"/>
              <a:defRPr sz="2400">
                <a:solidFill>
                  <a:schemeClr val="tx1"/>
                </a:solidFill>
                <a:latin typeface="Times New Roman" panose="02020603050405020304" pitchFamily="18" charset="0"/>
                <a:ea typeface="ＭＳ Ｐゴシック" panose="020B0600070205080204" pitchFamily="34" charset="-128"/>
              </a:defRPr>
            </a:lvl8pPr>
            <a:lvl9pPr marL="3886200" indent="-228600" defTabSz="457200" eaLnBrk="0" fontAlgn="base" hangingPunct="0">
              <a:lnSpc>
                <a:spcPct val="93000"/>
              </a:lnSpc>
              <a:spcBef>
                <a:spcPct val="0"/>
              </a:spcBef>
              <a:spcAft>
                <a:spcPct val="0"/>
              </a:spcAft>
              <a:buClr>
                <a:srgbClr val="000000"/>
              </a:buClr>
              <a:buSzPct val="45000"/>
              <a:buFont typeface="Wingdings" pitchFamily="2" charset="2"/>
              <a:defRPr sz="2400">
                <a:solidFill>
                  <a:schemeClr val="tx1"/>
                </a:solidFill>
                <a:latin typeface="Times New Roman" panose="02020603050405020304" pitchFamily="18" charset="0"/>
                <a:ea typeface="ＭＳ Ｐゴシック" panose="020B0600070205080204" pitchFamily="34" charset="-128"/>
              </a:defRPr>
            </a:lvl9pPr>
          </a:lstStyle>
          <a:p>
            <a:pPr marL="377825" marR="0" lvl="0" indent="-377825"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Arial" panose="020B0604020202020204" pitchFamily="34" charset="0"/>
            </a:endParaRPr>
          </a:p>
          <a:p>
            <a:pPr marL="377825" marR="0" lvl="0" indent="-377825"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Arial" panose="020B0604020202020204" pitchFamily="34" charset="0"/>
              </a:rPr>
              <a:t>CAR-T-cell therapy related unique adverse events</a:t>
            </a:r>
          </a:p>
          <a:p>
            <a:pPr marL="881063" marR="0" lvl="1" indent="-377825"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Arial" panose="020B0604020202020204" pitchFamily="34" charset="0"/>
              </a:rPr>
              <a:t>Cytokine release syndrome (CRS)</a:t>
            </a:r>
          </a:p>
          <a:p>
            <a:pPr marL="881063" marR="0" lvl="1" indent="-377825"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Arial" panose="020B0604020202020204" pitchFamily="34" charset="0"/>
              </a:rPr>
              <a:t>Neurotoxicity (ICANS)</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Arial" panose="020B0604020202020204" pitchFamily="34" charset="0"/>
            </a:endParaRPr>
          </a:p>
          <a:p>
            <a:pPr marL="377825" marR="0" lvl="0" indent="-377825"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Arial" panose="020B0604020202020204" pitchFamily="34" charset="0"/>
              </a:rPr>
              <a:t>On-target/Off tumor toxicity - B cell depletion and Hypogammaglobulinemia</a:t>
            </a:r>
          </a:p>
          <a:p>
            <a:pPr marL="377825" marR="0" lvl="0" indent="-377825"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Arial" panose="020B0604020202020204" pitchFamily="34" charset="0"/>
            </a:endParaRPr>
          </a:p>
          <a:p>
            <a:pPr marL="377825" marR="0" lvl="0" indent="-377825"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Arial" panose="020B0604020202020204" pitchFamily="34" charset="0"/>
              </a:rPr>
              <a:t>Delayed hematopoietic recovery</a:t>
            </a:r>
          </a:p>
          <a:p>
            <a:pPr marL="377825" marR="0" lvl="0" indent="-377825"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Arial" panose="020B0604020202020204" pitchFamily="34" charset="0"/>
            </a:endParaRPr>
          </a:p>
          <a:p>
            <a:pPr marL="377825" marR="0" lvl="0" indent="-377825"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Arial" panose="020B0604020202020204" pitchFamily="34" charset="0"/>
              </a:rPr>
              <a:t>Risk of infection </a:t>
            </a:r>
          </a:p>
          <a:p>
            <a:pPr marL="377825" marR="0" lvl="0" indent="-377825"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Arial" panose="020B0604020202020204" pitchFamily="34" charset="0"/>
            </a:endParaRPr>
          </a:p>
          <a:p>
            <a:pPr marL="377825" marR="0" lvl="0" indent="-377825"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Arial" panose="020B0604020202020204" pitchFamily="34" charset="0"/>
              </a:rPr>
              <a:t>Rarely seen toxicities</a:t>
            </a:r>
          </a:p>
          <a:p>
            <a:pPr marL="881063" marR="0" lvl="1" indent="-377825"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Arial" panose="020B0604020202020204" pitchFamily="34" charset="0"/>
              </a:rPr>
              <a:t>Insertion mutagenesis, Second Primary malignancies </a:t>
            </a:r>
          </a:p>
          <a:p>
            <a:pPr marL="377825" marR="0" lvl="0" indent="-377825"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Arial" panose="020B0604020202020204" pitchFamily="34" charset="0"/>
            </a:endParaRPr>
          </a:p>
          <a:p>
            <a:pPr marL="377825" marR="0" lvl="0" indent="-377825"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ＭＳ Ｐゴシック" panose="020B0600070205080204" pitchFamily="34" charset="-128"/>
              <a:cs typeface="Arial" panose="020B0604020202020204" pitchFamily="34" charset="0"/>
            </a:endParaRPr>
          </a:p>
        </p:txBody>
      </p:sp>
    </p:spTree>
    <p:extLst>
      <p:ext uri="{BB962C8B-B14F-4D97-AF65-F5344CB8AC3E}">
        <p14:creationId xmlns:p14="http://schemas.microsoft.com/office/powerpoint/2010/main" val="3644561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DAAC6-8410-A0E8-74AA-FBB7E49E9D93}"/>
              </a:ext>
            </a:extLst>
          </p:cNvPr>
          <p:cNvSpPr>
            <a:spLocks noGrp="1"/>
          </p:cNvSpPr>
          <p:nvPr>
            <p:ph type="title"/>
          </p:nvPr>
        </p:nvSpPr>
        <p:spPr>
          <a:xfrm>
            <a:off x="0" y="160317"/>
            <a:ext cx="12192000" cy="558090"/>
          </a:xfrm>
        </p:spPr>
        <p:txBody>
          <a:bodyPr>
            <a:noAutofit/>
          </a:bodyPr>
          <a:lstStyle/>
          <a:p>
            <a:pPr algn="ctr"/>
            <a:r>
              <a:rPr lang="en-US" sz="3000" dirty="0">
                <a:latin typeface="Arial" panose="020B0604020202020204" pitchFamily="34" charset="0"/>
                <a:cs typeface="Arial" panose="020B0604020202020204" pitchFamily="34" charset="0"/>
              </a:rPr>
              <a:t>Management of CRS and ICANS</a:t>
            </a:r>
          </a:p>
        </p:txBody>
      </p:sp>
      <p:grpSp>
        <p:nvGrpSpPr>
          <p:cNvPr id="4" name="Group 3">
            <a:extLst>
              <a:ext uri="{FF2B5EF4-FFF2-40B4-BE49-F238E27FC236}">
                <a16:creationId xmlns:a16="http://schemas.microsoft.com/office/drawing/2014/main" id="{0E930BD3-3E55-9D55-E9A2-D12E9F797454}"/>
              </a:ext>
            </a:extLst>
          </p:cNvPr>
          <p:cNvGrpSpPr/>
          <p:nvPr/>
        </p:nvGrpSpPr>
        <p:grpSpPr>
          <a:xfrm>
            <a:off x="785266" y="956572"/>
            <a:ext cx="5619750" cy="5187598"/>
            <a:chOff x="7258607" y="1168834"/>
            <a:chExt cx="4204864" cy="4166387"/>
          </a:xfrm>
        </p:grpSpPr>
        <p:sp>
          <p:nvSpPr>
            <p:cNvPr id="5" name="TextBox 4">
              <a:extLst>
                <a:ext uri="{FF2B5EF4-FFF2-40B4-BE49-F238E27FC236}">
                  <a16:creationId xmlns:a16="http://schemas.microsoft.com/office/drawing/2014/main" id="{84E80041-3296-B2C9-144F-E6D21A92DAE5}"/>
                </a:ext>
              </a:extLst>
            </p:cNvPr>
            <p:cNvSpPr txBox="1"/>
            <p:nvPr/>
          </p:nvSpPr>
          <p:spPr>
            <a:xfrm>
              <a:off x="9816866" y="5137470"/>
              <a:ext cx="1398758" cy="197751"/>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Garamond" pitchFamily="18" charset="0"/>
                  <a:ea typeface="+mn-ea"/>
                  <a:cs typeface="+mn-cs"/>
                </a:rPr>
                <a:t>Morris EC, Nat. Rev Immunol, 2022</a:t>
              </a:r>
            </a:p>
          </p:txBody>
        </p:sp>
        <p:pic>
          <p:nvPicPr>
            <p:cNvPr id="6" name="Picture 5" descr="Diagram&#10;&#10;Description automatically generated">
              <a:extLst>
                <a:ext uri="{FF2B5EF4-FFF2-40B4-BE49-F238E27FC236}">
                  <a16:creationId xmlns:a16="http://schemas.microsoft.com/office/drawing/2014/main" id="{B363B8D7-70F9-8211-A8A6-02ED68144419}"/>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7258607" y="1168834"/>
              <a:ext cx="4204864" cy="3968636"/>
            </a:xfrm>
            <a:prstGeom prst="rect">
              <a:avLst/>
            </a:prstGeom>
          </p:spPr>
        </p:pic>
      </p:grpSp>
      <p:pic>
        <p:nvPicPr>
          <p:cNvPr id="9" name="Picture 8" descr="A black and white list of medical information&#10;&#10;Description automatically generated">
            <a:extLst>
              <a:ext uri="{FF2B5EF4-FFF2-40B4-BE49-F238E27FC236}">
                <a16:creationId xmlns:a16="http://schemas.microsoft.com/office/drawing/2014/main" id="{7B441109-E947-7451-FA52-DED0D50FB096}"/>
              </a:ext>
            </a:extLst>
          </p:cNvPr>
          <p:cNvPicPr>
            <a:picLocks noChangeAspect="1"/>
          </p:cNvPicPr>
          <p:nvPr/>
        </p:nvPicPr>
        <p:blipFill>
          <a:blip r:embed="rId5"/>
          <a:stretch>
            <a:fillRect/>
          </a:stretch>
        </p:blipFill>
        <p:spPr>
          <a:xfrm>
            <a:off x="6809536" y="718407"/>
            <a:ext cx="4634811" cy="3400990"/>
          </a:xfrm>
          <a:prstGeom prst="rect">
            <a:avLst/>
          </a:prstGeom>
        </p:spPr>
      </p:pic>
      <p:pic>
        <p:nvPicPr>
          <p:cNvPr id="13" name="Picture 12" descr="A screenshot of a medical report&#10;&#10;Description automatically generated">
            <a:extLst>
              <a:ext uri="{FF2B5EF4-FFF2-40B4-BE49-F238E27FC236}">
                <a16:creationId xmlns:a16="http://schemas.microsoft.com/office/drawing/2014/main" id="{159C0431-CCFD-9B19-447B-1F5A2B4207E3}"/>
              </a:ext>
            </a:extLst>
          </p:cNvPr>
          <p:cNvPicPr>
            <a:picLocks noChangeAspect="1"/>
          </p:cNvPicPr>
          <p:nvPr/>
        </p:nvPicPr>
        <p:blipFill>
          <a:blip r:embed="rId6"/>
          <a:srcRect/>
          <a:stretch>
            <a:fillRect/>
          </a:stretch>
        </p:blipFill>
        <p:spPr>
          <a:xfrm>
            <a:off x="7137069" y="4119398"/>
            <a:ext cx="4312759" cy="2578285"/>
          </a:xfrm>
          <a:prstGeom prst="rect">
            <a:avLst/>
          </a:prstGeom>
        </p:spPr>
      </p:pic>
    </p:spTree>
    <p:extLst>
      <p:ext uri="{BB962C8B-B14F-4D97-AF65-F5344CB8AC3E}">
        <p14:creationId xmlns:p14="http://schemas.microsoft.com/office/powerpoint/2010/main" val="97353436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8D1B43-0EA8-999D-F365-D732C7442EAC}"/>
              </a:ext>
            </a:extLst>
          </p:cNvPr>
          <p:cNvSpPr>
            <a:spLocks noGrp="1"/>
          </p:cNvSpPr>
          <p:nvPr>
            <p:ph type="title"/>
          </p:nvPr>
        </p:nvSpPr>
        <p:spPr>
          <a:xfrm>
            <a:off x="1727200" y="-25399"/>
            <a:ext cx="8940800" cy="750061"/>
          </a:xfrm>
        </p:spPr>
        <p:txBody>
          <a:bodyPr>
            <a:normAutofit/>
          </a:bodyPr>
          <a:lstStyle/>
          <a:p>
            <a:r>
              <a:rPr lang="en-US" sz="2400" dirty="0">
                <a:latin typeface="Arial" panose="020B0604020202020204" pitchFamily="34" charset="0"/>
                <a:cs typeface="Arial" panose="020B0604020202020204" pitchFamily="34" charset="0"/>
              </a:rPr>
              <a:t>CAR-T cell therapy-related toxicities (other) and management </a:t>
            </a:r>
          </a:p>
        </p:txBody>
      </p:sp>
      <p:grpSp>
        <p:nvGrpSpPr>
          <p:cNvPr id="4" name="Group 3">
            <a:extLst>
              <a:ext uri="{FF2B5EF4-FFF2-40B4-BE49-F238E27FC236}">
                <a16:creationId xmlns:a16="http://schemas.microsoft.com/office/drawing/2014/main" id="{DC6D8D92-7911-A5FF-101E-2B2FD8B2EB5B}"/>
              </a:ext>
            </a:extLst>
          </p:cNvPr>
          <p:cNvGrpSpPr/>
          <p:nvPr/>
        </p:nvGrpSpPr>
        <p:grpSpPr>
          <a:xfrm>
            <a:off x="1942034" y="1346200"/>
            <a:ext cx="3880936" cy="2552700"/>
            <a:chOff x="5394184" y="2726557"/>
            <a:chExt cx="3967110" cy="2570675"/>
          </a:xfrm>
        </p:grpSpPr>
        <p:pic>
          <p:nvPicPr>
            <p:cNvPr id="5" name="Picture 4" descr="Diagram&#10;&#10;Description automatically generated">
              <a:extLst>
                <a:ext uri="{FF2B5EF4-FFF2-40B4-BE49-F238E27FC236}">
                  <a16:creationId xmlns:a16="http://schemas.microsoft.com/office/drawing/2014/main" id="{C0221EDA-9535-3836-822A-931591888298}"/>
                </a:ext>
              </a:extLst>
            </p:cNvPr>
            <p:cNvPicPr>
              <a:picLocks noChangeAspect="1"/>
            </p:cNvPicPr>
            <p:nvPr/>
          </p:nvPicPr>
          <p:blipFill>
            <a:blip r:embed="rId3"/>
            <a:stretch>
              <a:fillRect/>
            </a:stretch>
          </p:blipFill>
          <p:spPr>
            <a:xfrm>
              <a:off x="5394184" y="2726557"/>
              <a:ext cx="3898654" cy="2570675"/>
            </a:xfrm>
            <a:prstGeom prst="rect">
              <a:avLst/>
            </a:prstGeom>
          </p:spPr>
        </p:pic>
        <p:sp>
          <p:nvSpPr>
            <p:cNvPr id="6" name="TextBox 5">
              <a:extLst>
                <a:ext uri="{FF2B5EF4-FFF2-40B4-BE49-F238E27FC236}">
                  <a16:creationId xmlns:a16="http://schemas.microsoft.com/office/drawing/2014/main" id="{FF3A2420-C778-B0C6-5173-2573C06DBB90}"/>
                </a:ext>
              </a:extLst>
            </p:cNvPr>
            <p:cNvSpPr txBox="1"/>
            <p:nvPr/>
          </p:nvSpPr>
          <p:spPr>
            <a:xfrm>
              <a:off x="8010762" y="4899044"/>
              <a:ext cx="1350532" cy="26345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100" b="0" i="1" u="none" strike="noStrike" kern="1200" cap="none" spc="0" normalizeH="0" baseline="0" noProof="0" dirty="0">
                  <a:ln>
                    <a:noFill/>
                  </a:ln>
                  <a:solidFill>
                    <a:prstClr val="black"/>
                  </a:solidFill>
                  <a:effectLst/>
                  <a:uLnTx/>
                  <a:uFillTx/>
                  <a:latin typeface="Garamond" pitchFamily="18" charset="0"/>
                  <a:ea typeface="+mn-ea"/>
                  <a:cs typeface="+mn-cs"/>
                </a:rPr>
                <a:t>Taneja, </a:t>
              </a:r>
              <a:r>
                <a:rPr kumimoji="0" lang="en-US" sz="1100" b="0" i="1" u="none" strike="noStrike" kern="1200" cap="none" spc="0" normalizeH="0" baseline="0" noProof="0" dirty="0" err="1">
                  <a:ln>
                    <a:noFill/>
                  </a:ln>
                  <a:solidFill>
                    <a:prstClr val="black"/>
                  </a:solidFill>
                  <a:effectLst/>
                  <a:uLnTx/>
                  <a:uFillTx/>
                  <a:latin typeface="Garamond" pitchFamily="18" charset="0"/>
                  <a:ea typeface="+mn-ea"/>
                  <a:cs typeface="+mn-cs"/>
                </a:rPr>
                <a:t>eJHaem</a:t>
              </a:r>
              <a:r>
                <a:rPr kumimoji="0" lang="en-US" sz="1100" b="0" i="1" u="none" strike="noStrike" kern="1200" cap="none" spc="0" normalizeH="0" baseline="0" noProof="0" dirty="0">
                  <a:ln>
                    <a:noFill/>
                  </a:ln>
                  <a:solidFill>
                    <a:prstClr val="black"/>
                  </a:solidFill>
                  <a:effectLst/>
                  <a:uLnTx/>
                  <a:uFillTx/>
                  <a:latin typeface="Garamond" pitchFamily="18" charset="0"/>
                  <a:ea typeface="+mn-ea"/>
                  <a:cs typeface="+mn-cs"/>
                </a:rPr>
                <a:t>, 2021.</a:t>
              </a:r>
            </a:p>
          </p:txBody>
        </p:sp>
      </p:grpSp>
      <p:sp>
        <p:nvSpPr>
          <p:cNvPr id="7" name="TextBox 6">
            <a:extLst>
              <a:ext uri="{FF2B5EF4-FFF2-40B4-BE49-F238E27FC236}">
                <a16:creationId xmlns:a16="http://schemas.microsoft.com/office/drawing/2014/main" id="{9B6E8B70-2E4C-DE24-F0A1-FFEE34B311FF}"/>
              </a:ext>
            </a:extLst>
          </p:cNvPr>
          <p:cNvSpPr txBox="1"/>
          <p:nvPr/>
        </p:nvSpPr>
        <p:spPr>
          <a:xfrm>
            <a:off x="1617786" y="782210"/>
            <a:ext cx="4818216" cy="646331"/>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mmune Effector Cell-Associated Hematotoxicity (ICAHT)</a:t>
            </a:r>
          </a:p>
        </p:txBody>
      </p:sp>
      <p:pic>
        <p:nvPicPr>
          <p:cNvPr id="9" name="Picture 8" descr="A graph showing a recovery&#10;&#10;Description automatically generated with medium confidence">
            <a:extLst>
              <a:ext uri="{FF2B5EF4-FFF2-40B4-BE49-F238E27FC236}">
                <a16:creationId xmlns:a16="http://schemas.microsoft.com/office/drawing/2014/main" id="{7E8DC4C5-478E-4EDC-0955-6F524A01E75B}"/>
              </a:ext>
            </a:extLst>
          </p:cNvPr>
          <p:cNvPicPr>
            <a:picLocks noChangeAspect="1"/>
          </p:cNvPicPr>
          <p:nvPr/>
        </p:nvPicPr>
        <p:blipFill>
          <a:blip r:embed="rId4"/>
          <a:stretch>
            <a:fillRect/>
          </a:stretch>
        </p:blipFill>
        <p:spPr>
          <a:xfrm>
            <a:off x="950510" y="4275867"/>
            <a:ext cx="4818216" cy="2116304"/>
          </a:xfrm>
          <a:prstGeom prst="rect">
            <a:avLst/>
          </a:prstGeom>
        </p:spPr>
      </p:pic>
      <p:sp>
        <p:nvSpPr>
          <p:cNvPr id="10" name="TextBox 9">
            <a:extLst>
              <a:ext uri="{FF2B5EF4-FFF2-40B4-BE49-F238E27FC236}">
                <a16:creationId xmlns:a16="http://schemas.microsoft.com/office/drawing/2014/main" id="{F28B83C8-2686-C3A9-A892-3FEEB17F228C}"/>
              </a:ext>
            </a:extLst>
          </p:cNvPr>
          <p:cNvSpPr txBox="1"/>
          <p:nvPr/>
        </p:nvSpPr>
        <p:spPr>
          <a:xfrm>
            <a:off x="1809375" y="6561561"/>
            <a:ext cx="1707519" cy="261610"/>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ejeski</a:t>
            </a: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et al Blood 2021</a:t>
            </a:r>
          </a:p>
        </p:txBody>
      </p:sp>
      <p:pic>
        <p:nvPicPr>
          <p:cNvPr id="12" name="Picture 11" descr="A black text with red lines&#10;&#10;Description automatically generated">
            <a:extLst>
              <a:ext uri="{FF2B5EF4-FFF2-40B4-BE49-F238E27FC236}">
                <a16:creationId xmlns:a16="http://schemas.microsoft.com/office/drawing/2014/main" id="{670F4778-FDDF-7ED0-2BAD-85CA997E89E3}"/>
              </a:ext>
            </a:extLst>
          </p:cNvPr>
          <p:cNvPicPr>
            <a:picLocks noChangeAspect="1"/>
          </p:cNvPicPr>
          <p:nvPr/>
        </p:nvPicPr>
        <p:blipFill>
          <a:blip r:embed="rId5"/>
          <a:stretch>
            <a:fillRect/>
          </a:stretch>
        </p:blipFill>
        <p:spPr>
          <a:xfrm>
            <a:off x="1724301" y="1456211"/>
            <a:ext cx="4711700" cy="2273300"/>
          </a:xfrm>
          <a:prstGeom prst="rect">
            <a:avLst/>
          </a:prstGeom>
        </p:spPr>
      </p:pic>
      <p:sp>
        <p:nvSpPr>
          <p:cNvPr id="13" name="TextBox 12">
            <a:extLst>
              <a:ext uri="{FF2B5EF4-FFF2-40B4-BE49-F238E27FC236}">
                <a16:creationId xmlns:a16="http://schemas.microsoft.com/office/drawing/2014/main" id="{191944E9-42F6-2499-7627-B9DE515DC629}"/>
              </a:ext>
            </a:extLst>
          </p:cNvPr>
          <p:cNvSpPr txBox="1"/>
          <p:nvPr/>
        </p:nvSpPr>
        <p:spPr>
          <a:xfrm>
            <a:off x="7085535" y="762081"/>
            <a:ext cx="3813967" cy="646331"/>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 cell Aplasia and Hypogammaglobulinemia</a:t>
            </a:r>
          </a:p>
        </p:txBody>
      </p:sp>
      <p:pic>
        <p:nvPicPr>
          <p:cNvPr id="15" name="Picture 14" descr="A screenshot of a medical information&#10;&#10;Description automatically generated">
            <a:extLst>
              <a:ext uri="{FF2B5EF4-FFF2-40B4-BE49-F238E27FC236}">
                <a16:creationId xmlns:a16="http://schemas.microsoft.com/office/drawing/2014/main" id="{1A43C7CF-FC39-CBDC-ED5D-587269338B69}"/>
              </a:ext>
            </a:extLst>
          </p:cNvPr>
          <p:cNvPicPr>
            <a:picLocks noChangeAspect="1"/>
          </p:cNvPicPr>
          <p:nvPr/>
        </p:nvPicPr>
        <p:blipFill>
          <a:blip r:embed="rId6"/>
          <a:stretch>
            <a:fillRect/>
          </a:stretch>
        </p:blipFill>
        <p:spPr>
          <a:xfrm>
            <a:off x="6803209" y="1548086"/>
            <a:ext cx="3826690" cy="2071414"/>
          </a:xfrm>
          <a:prstGeom prst="rect">
            <a:avLst/>
          </a:prstGeom>
        </p:spPr>
      </p:pic>
      <p:sp>
        <p:nvSpPr>
          <p:cNvPr id="16" name="TextBox 15">
            <a:extLst>
              <a:ext uri="{FF2B5EF4-FFF2-40B4-BE49-F238E27FC236}">
                <a16:creationId xmlns:a16="http://schemas.microsoft.com/office/drawing/2014/main" id="{1785862D-FB0A-59A4-0BA1-AB77A342736E}"/>
              </a:ext>
            </a:extLst>
          </p:cNvPr>
          <p:cNvSpPr txBox="1"/>
          <p:nvPr/>
        </p:nvSpPr>
        <p:spPr>
          <a:xfrm>
            <a:off x="7187134" y="3503496"/>
            <a:ext cx="2518638" cy="36933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fection Prophylaxis</a:t>
            </a:r>
          </a:p>
        </p:txBody>
      </p:sp>
      <p:pic>
        <p:nvPicPr>
          <p:cNvPr id="18" name="Picture 17" descr="A graph with text and numbers&#10;&#10;Description automatically generated with medium confidence">
            <a:extLst>
              <a:ext uri="{FF2B5EF4-FFF2-40B4-BE49-F238E27FC236}">
                <a16:creationId xmlns:a16="http://schemas.microsoft.com/office/drawing/2014/main" id="{E91B2A7A-5FEA-EBDB-1A2B-2E2862620165}"/>
              </a:ext>
            </a:extLst>
          </p:cNvPr>
          <p:cNvPicPr>
            <a:picLocks noChangeAspect="1"/>
          </p:cNvPicPr>
          <p:nvPr/>
        </p:nvPicPr>
        <p:blipFill>
          <a:blip r:embed="rId7"/>
          <a:stretch>
            <a:fillRect/>
          </a:stretch>
        </p:blipFill>
        <p:spPr>
          <a:xfrm>
            <a:off x="6345243" y="3869186"/>
            <a:ext cx="4322757" cy="3077714"/>
          </a:xfrm>
          <a:prstGeom prst="rect">
            <a:avLst/>
          </a:prstGeom>
        </p:spPr>
      </p:pic>
      <p:sp>
        <p:nvSpPr>
          <p:cNvPr id="3" name="TextBox 2">
            <a:extLst>
              <a:ext uri="{FF2B5EF4-FFF2-40B4-BE49-F238E27FC236}">
                <a16:creationId xmlns:a16="http://schemas.microsoft.com/office/drawing/2014/main" id="{8420FBA0-2FEA-5CA0-CDB4-8A70C2965DD7}"/>
              </a:ext>
            </a:extLst>
          </p:cNvPr>
          <p:cNvSpPr txBox="1"/>
          <p:nvPr/>
        </p:nvSpPr>
        <p:spPr>
          <a:xfrm>
            <a:off x="1617786" y="3835821"/>
            <a:ext cx="2852256" cy="36933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AR-HEMATOTOX Score</a:t>
            </a:r>
          </a:p>
        </p:txBody>
      </p:sp>
    </p:spTree>
    <p:extLst>
      <p:ext uri="{BB962C8B-B14F-4D97-AF65-F5344CB8AC3E}">
        <p14:creationId xmlns:p14="http://schemas.microsoft.com/office/powerpoint/2010/main" val="1658525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0" grpId="0"/>
      <p:bldP spid="13" grpId="0"/>
      <p:bldP spid="16" grpId="0"/>
      <p:bldP spid="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Title 1"/>
          <p:cNvSpPr>
            <a:spLocks/>
          </p:cNvSpPr>
          <p:nvPr/>
        </p:nvSpPr>
        <p:spPr bwMode="auto">
          <a:xfrm>
            <a:off x="1066800" y="1143001"/>
            <a:ext cx="10058400" cy="5181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t"/>
          <a:lstStyle/>
          <a:p>
            <a:pPr marL="0" marR="0" lvl="0" indent="0" algn="l" defTabSz="914400" rtl="0" eaLnBrk="0" fontAlgn="auto" latinLnBrk="0" hangingPunct="0">
              <a:lnSpc>
                <a:spcPct val="100000"/>
              </a:lnSpc>
              <a:spcBef>
                <a:spcPts val="0"/>
              </a:spcBef>
              <a:spcAft>
                <a:spcPts val="600"/>
              </a:spcAft>
              <a:buClrTx/>
              <a:buSzTx/>
              <a:buFontTx/>
              <a:buNone/>
              <a:tabLst/>
              <a:defRPr/>
            </a:pPr>
            <a:r>
              <a:rPr kumimoji="0" lang="en-US" sz="2600" b="0" i="0" u="none" strike="noStrike" kern="1200" cap="none" spc="0" normalizeH="0" baseline="0" noProof="0" dirty="0">
                <a:ln>
                  <a:noFill/>
                </a:ln>
                <a:solidFill>
                  <a:srgbClr val="002656"/>
                </a:solidFill>
                <a:effectLst/>
                <a:uLnTx/>
                <a:uFillTx/>
                <a:latin typeface="Arial" charset="0"/>
                <a:ea typeface="Arial" charset="0"/>
                <a:cs typeface="Arial" charset="0"/>
              </a:rPr>
              <a:t>Download the RTP Live app on your smartphone or tablet to access program information, including slides being presented during the program:</a:t>
            </a:r>
          </a:p>
          <a:p>
            <a:pPr marL="0" marR="0" lvl="0" indent="0" algn="l" defTabSz="914400" rtl="0" eaLnBrk="0" fontAlgn="auto" latinLnBrk="0" hangingPunct="0">
              <a:lnSpc>
                <a:spcPct val="100000"/>
              </a:lnSpc>
              <a:spcBef>
                <a:spcPts val="0"/>
              </a:spcBef>
              <a:spcAft>
                <a:spcPts val="600"/>
              </a:spcAft>
              <a:buClrTx/>
              <a:buSzTx/>
              <a:buFontTx/>
              <a:buNone/>
              <a:tabLst/>
              <a:defRPr/>
            </a:pPr>
            <a:r>
              <a:rPr kumimoji="0" lang="en-US" sz="2600" b="1" i="0" u="none" strike="noStrike" kern="1200" cap="none" spc="0" normalizeH="0" baseline="0" noProof="0" dirty="0" err="1">
                <a:ln>
                  <a:noFill/>
                </a:ln>
                <a:solidFill>
                  <a:srgbClr val="FF9300"/>
                </a:solidFill>
                <a:effectLst/>
                <a:uLnTx/>
                <a:uFillTx/>
                <a:latin typeface="Arial" charset="0"/>
                <a:ea typeface="Arial" charset="0"/>
                <a:cs typeface="Arial" charset="0"/>
              </a:rPr>
              <a:t>www.ResearchToPractice.com</a:t>
            </a:r>
            <a:r>
              <a:rPr kumimoji="0" lang="en-US" sz="2600" b="1" i="0" u="none" strike="noStrike" kern="1200" cap="none" spc="0" normalizeH="0" baseline="0" noProof="0" dirty="0">
                <a:ln>
                  <a:noFill/>
                </a:ln>
                <a:solidFill>
                  <a:srgbClr val="FF9300"/>
                </a:solidFill>
                <a:effectLst/>
                <a:uLnTx/>
                <a:uFillTx/>
                <a:latin typeface="Arial" charset="0"/>
                <a:ea typeface="Arial" charset="0"/>
                <a:cs typeface="Arial" charset="0"/>
              </a:rPr>
              <a:t>/</a:t>
            </a:r>
            <a:r>
              <a:rPr kumimoji="0" lang="en-US" sz="2600" b="1" i="0" u="none" strike="noStrike" kern="1200" cap="none" spc="0" normalizeH="0" baseline="0" noProof="0" dirty="0" err="1">
                <a:ln>
                  <a:noFill/>
                </a:ln>
                <a:solidFill>
                  <a:srgbClr val="FF9300"/>
                </a:solidFill>
                <a:effectLst/>
                <a:uLnTx/>
                <a:uFillTx/>
                <a:latin typeface="Arial" charset="0"/>
                <a:ea typeface="Arial" charset="0"/>
                <a:cs typeface="Arial" charset="0"/>
              </a:rPr>
              <a:t>RTPLiveApp</a:t>
            </a:r>
            <a:endParaRPr kumimoji="0" lang="en-US" sz="2600" b="1" i="0" u="none" strike="noStrike" kern="1200" cap="none" spc="0" normalizeH="0" baseline="0" noProof="0" dirty="0">
              <a:ln>
                <a:noFill/>
              </a:ln>
              <a:solidFill>
                <a:srgbClr val="FF9300"/>
              </a:solidFill>
              <a:effectLst/>
              <a:uLnTx/>
              <a:uFillTx/>
              <a:latin typeface="Arial" charset="0"/>
              <a:ea typeface="Arial" charset="0"/>
              <a:cs typeface="Arial" charset="0"/>
            </a:endParaRPr>
          </a:p>
        </p:txBody>
      </p:sp>
      <p:sp>
        <p:nvSpPr>
          <p:cNvPr id="86020" name="Title 1"/>
          <p:cNvSpPr>
            <a:spLocks/>
          </p:cNvSpPr>
          <p:nvPr/>
        </p:nvSpPr>
        <p:spPr bwMode="auto">
          <a:xfrm>
            <a:off x="1066800" y="533400"/>
            <a:ext cx="10058400" cy="685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p>
            <a:pPr marL="0" marR="0" lvl="0" indent="0" algn="l" defTabSz="914400" rtl="0" eaLnBrk="0" fontAlgn="auto" latinLnBrk="0" hangingPunct="0">
              <a:lnSpc>
                <a:spcPct val="90000"/>
              </a:lnSpc>
              <a:spcBef>
                <a:spcPts val="0"/>
              </a:spcBef>
              <a:spcAft>
                <a:spcPts val="800"/>
              </a:spcAft>
              <a:buClrTx/>
              <a:buSzTx/>
              <a:buFontTx/>
              <a:buNone/>
              <a:tabLst/>
              <a:defRPr/>
            </a:pPr>
            <a:r>
              <a:rPr kumimoji="0" lang="en-US" sz="2600" b="1" i="0" u="none" strike="noStrike" kern="1200" cap="none" spc="0" normalizeH="0" baseline="0" noProof="0" dirty="0">
                <a:ln>
                  <a:noFill/>
                </a:ln>
                <a:solidFill>
                  <a:srgbClr val="002656"/>
                </a:solidFill>
                <a:effectLst/>
                <a:uLnTx/>
                <a:uFillTx/>
                <a:latin typeface="Arial" charset="0"/>
                <a:ea typeface="Arial" charset="0"/>
                <a:cs typeface="Arial" charset="0"/>
              </a:rPr>
              <a:t>Make the Meeting Even More Relevant to You</a:t>
            </a:r>
          </a:p>
        </p:txBody>
      </p:sp>
      <p:pic>
        <p:nvPicPr>
          <p:cNvPr id="4" name="Picture 3">
            <a:extLst>
              <a:ext uri="{FF2B5EF4-FFF2-40B4-BE49-F238E27FC236}">
                <a16:creationId xmlns:a16="http://schemas.microsoft.com/office/drawing/2014/main" id="{C26D575F-D622-3B4F-9AEF-C35DB926EA5F}"/>
              </a:ext>
            </a:extLst>
          </p:cNvPr>
          <p:cNvPicPr>
            <a:picLocks noChangeAspect="1"/>
          </p:cNvPicPr>
          <p:nvPr/>
        </p:nvPicPr>
        <p:blipFill>
          <a:blip r:embed="rId3"/>
          <a:srcRect/>
          <a:stretch/>
        </p:blipFill>
        <p:spPr>
          <a:xfrm>
            <a:off x="2895601" y="3046132"/>
            <a:ext cx="6400797" cy="3158736"/>
          </a:xfrm>
          <a:prstGeom prst="rect">
            <a:avLst/>
          </a:prstGeom>
        </p:spPr>
      </p:pic>
    </p:spTree>
    <p:extLst>
      <p:ext uri="{BB962C8B-B14F-4D97-AF65-F5344CB8AC3E}">
        <p14:creationId xmlns:p14="http://schemas.microsoft.com/office/powerpoint/2010/main" val="8833094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7C514B-656A-B50B-C495-9FB06B941101}"/>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98BB2B72-4364-ED96-53FE-4BF23AFF697C}"/>
              </a:ext>
            </a:extLst>
          </p:cNvPr>
          <p:cNvSpPr>
            <a:spLocks noGrp="1"/>
          </p:cNvSpPr>
          <p:nvPr>
            <p:ph type="title"/>
          </p:nvPr>
        </p:nvSpPr>
        <p:spPr>
          <a:xfrm>
            <a:off x="1704770" y="153525"/>
            <a:ext cx="8698358" cy="891107"/>
          </a:xfrm>
        </p:spPr>
        <p:txBody>
          <a:bodyPr>
            <a:noAutofit/>
          </a:bodyPr>
          <a:lstStyle/>
          <a:p>
            <a:r>
              <a:rPr lang="en-US" sz="2250" dirty="0">
                <a:latin typeface="Arial" panose="020B0604020202020204" pitchFamily="34" charset="0"/>
                <a:cs typeface="Arial" panose="020B0604020202020204" pitchFamily="34" charset="0"/>
              </a:rPr>
              <a:t>Infections are the main driver of non-relapse mortality after CAR T</a:t>
            </a:r>
          </a:p>
        </p:txBody>
      </p:sp>
      <p:sp>
        <p:nvSpPr>
          <p:cNvPr id="5" name="Text Placeholder 4">
            <a:extLst>
              <a:ext uri="{FF2B5EF4-FFF2-40B4-BE49-F238E27FC236}">
                <a16:creationId xmlns:a16="http://schemas.microsoft.com/office/drawing/2014/main" id="{F31FDCDA-1C80-31B7-8749-8E467D2B1A05}"/>
              </a:ext>
            </a:extLst>
          </p:cNvPr>
          <p:cNvSpPr>
            <a:spLocks noGrp="1"/>
          </p:cNvSpPr>
          <p:nvPr>
            <p:ph sz="quarter" idx="14"/>
          </p:nvPr>
        </p:nvSpPr>
        <p:spPr>
          <a:xfrm>
            <a:off x="774610" y="6323571"/>
            <a:ext cx="9984433" cy="373949"/>
          </a:xfrm>
        </p:spPr>
        <p:txBody>
          <a:bodyPr/>
          <a:lstStyle/>
          <a:p>
            <a:r>
              <a:rPr lang="en-US" sz="675" baseline="30000" dirty="0">
                <a:solidFill>
                  <a:srgbClr val="000000"/>
                </a:solidFill>
                <a:latin typeface="Arial" panose="020B0604020202020204" pitchFamily="34" charset="0"/>
                <a:cs typeface="Arial" panose="020B0604020202020204" pitchFamily="34" charset="0"/>
              </a:rPr>
              <a:t>a</a:t>
            </a:r>
            <a:r>
              <a:rPr lang="en-US" sz="675" dirty="0">
                <a:solidFill>
                  <a:srgbClr val="000000"/>
                </a:solidFill>
                <a:latin typeface="Arial" panose="020B0604020202020204" pitchFamily="34" charset="0"/>
                <a:cs typeface="Arial" panose="020B0604020202020204" pitchFamily="34" charset="0"/>
              </a:rPr>
              <a:t> Follow-up times were similar across CAR T-cell products. axi-cel, axicabtagene ciloleucel; CAR, chimeric antigen receptor; CRS, cytokine release syndrome; CVR, cardiovascular or respiratory; </a:t>
            </a:r>
            <a:br>
              <a:rPr lang="en-US" sz="675" dirty="0">
                <a:solidFill>
                  <a:srgbClr val="000000"/>
                </a:solidFill>
                <a:latin typeface="Arial" panose="020B0604020202020204" pitchFamily="34" charset="0"/>
                <a:cs typeface="Arial" panose="020B0604020202020204" pitchFamily="34" charset="0"/>
              </a:rPr>
            </a:br>
            <a:r>
              <a:rPr lang="en-US" sz="675" dirty="0">
                <a:solidFill>
                  <a:srgbClr val="000000"/>
                </a:solidFill>
                <a:latin typeface="Arial" panose="020B0604020202020204" pitchFamily="34" charset="0"/>
                <a:cs typeface="Arial" panose="020B0604020202020204" pitchFamily="34" charset="0"/>
              </a:rPr>
              <a:t>HLH, hemophagocytic </a:t>
            </a:r>
            <a:r>
              <a:rPr lang="en-US" sz="675" dirty="0" err="1">
                <a:solidFill>
                  <a:srgbClr val="000000"/>
                </a:solidFill>
                <a:latin typeface="Arial" panose="020B0604020202020204" pitchFamily="34" charset="0"/>
                <a:cs typeface="Arial" panose="020B0604020202020204" pitchFamily="34" charset="0"/>
              </a:rPr>
              <a:t>lymphohistiocytosis</a:t>
            </a:r>
            <a:r>
              <a:rPr lang="en-US" sz="675" dirty="0">
                <a:solidFill>
                  <a:srgbClr val="000000"/>
                </a:solidFill>
                <a:latin typeface="Arial" panose="020B0604020202020204" pitchFamily="34" charset="0"/>
                <a:cs typeface="Arial" panose="020B0604020202020204" pitchFamily="34" charset="0"/>
              </a:rPr>
              <a:t>; ICANS, immune effector cell-associated neurotoxicity syndrome; LBCL, large B-cell lymphoma; liso-cel, lisocabtagene maraleucel; NRM, non-relapse mortality; </a:t>
            </a:r>
            <a:br>
              <a:rPr lang="en-US" sz="675" dirty="0">
                <a:solidFill>
                  <a:srgbClr val="000000"/>
                </a:solidFill>
                <a:latin typeface="Arial" panose="020B0604020202020204" pitchFamily="34" charset="0"/>
                <a:cs typeface="Arial" panose="020B0604020202020204" pitchFamily="34" charset="0"/>
              </a:rPr>
            </a:br>
            <a:r>
              <a:rPr lang="en-US" sz="675" dirty="0">
                <a:solidFill>
                  <a:srgbClr val="000000"/>
                </a:solidFill>
                <a:latin typeface="Arial" panose="020B0604020202020204" pitchFamily="34" charset="0"/>
                <a:cs typeface="Arial" panose="020B0604020202020204" pitchFamily="34" charset="0"/>
              </a:rPr>
              <a:t>NT, neurotoxicity; R/R, relapsed or refractory; </a:t>
            </a:r>
            <a:r>
              <a:rPr lang="en-US" sz="675" dirty="0" err="1">
                <a:solidFill>
                  <a:srgbClr val="000000"/>
                </a:solidFill>
                <a:latin typeface="Arial" panose="020B0604020202020204" pitchFamily="34" charset="0"/>
                <a:cs typeface="Arial" panose="020B0604020202020204" pitchFamily="34" charset="0"/>
              </a:rPr>
              <a:t>tisa</a:t>
            </a:r>
            <a:r>
              <a:rPr lang="en-US" sz="675" dirty="0">
                <a:solidFill>
                  <a:srgbClr val="000000"/>
                </a:solidFill>
                <a:latin typeface="Arial" panose="020B0604020202020204" pitchFamily="34" charset="0"/>
                <a:cs typeface="Arial" panose="020B0604020202020204" pitchFamily="34" charset="0"/>
              </a:rPr>
              <a:t>-cel, tisagenlecleucel.</a:t>
            </a:r>
            <a:br>
              <a:rPr lang="en-US" sz="675" dirty="0">
                <a:solidFill>
                  <a:srgbClr val="000000"/>
                </a:solidFill>
                <a:latin typeface="Arial" panose="020B0604020202020204" pitchFamily="34" charset="0"/>
                <a:cs typeface="Arial" panose="020B0604020202020204" pitchFamily="34" charset="0"/>
              </a:rPr>
            </a:br>
            <a:r>
              <a:rPr lang="en-US" sz="675" dirty="0">
                <a:solidFill>
                  <a:srgbClr val="000000"/>
                </a:solidFill>
                <a:latin typeface="Arial" panose="020B0604020202020204" pitchFamily="34" charset="0"/>
                <a:cs typeface="Arial" panose="020B0604020202020204" pitchFamily="34" charset="0"/>
              </a:rPr>
              <a:t>Cordas dos Santos DM, et al. Nat Med 2024; 30:2667—2678. </a:t>
            </a:r>
          </a:p>
        </p:txBody>
      </p:sp>
      <p:grpSp>
        <p:nvGrpSpPr>
          <p:cNvPr id="2" name="Group 1">
            <a:extLst>
              <a:ext uri="{FF2B5EF4-FFF2-40B4-BE49-F238E27FC236}">
                <a16:creationId xmlns:a16="http://schemas.microsoft.com/office/drawing/2014/main" id="{061AE6B4-E6F4-C6CA-0FA0-A9766C77C382}"/>
              </a:ext>
            </a:extLst>
          </p:cNvPr>
          <p:cNvGrpSpPr/>
          <p:nvPr/>
        </p:nvGrpSpPr>
        <p:grpSpPr>
          <a:xfrm>
            <a:off x="525503" y="1606137"/>
            <a:ext cx="11140993" cy="3645725"/>
            <a:chOff x="1622349" y="1997869"/>
            <a:chExt cx="8852312" cy="2896788"/>
          </a:xfrm>
        </p:grpSpPr>
        <p:sp>
          <p:nvSpPr>
            <p:cNvPr id="7" name="Rectangle 6">
              <a:extLst>
                <a:ext uri="{FF2B5EF4-FFF2-40B4-BE49-F238E27FC236}">
                  <a16:creationId xmlns:a16="http://schemas.microsoft.com/office/drawing/2014/main" id="{2EF42E7D-F9AA-4DD4-DE82-E041B9B066DD}"/>
                </a:ext>
              </a:extLst>
            </p:cNvPr>
            <p:cNvSpPr/>
            <p:nvPr/>
          </p:nvSpPr>
          <p:spPr>
            <a:xfrm>
              <a:off x="6791051" y="1997869"/>
              <a:ext cx="3683610" cy="2796086"/>
            </a:xfrm>
            <a:prstGeom prst="rect">
              <a:avLst/>
            </a:prstGeom>
            <a:solidFill>
              <a:schemeClr val="bg1"/>
            </a:solidFill>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 name="Flowchart: Process 9">
              <a:extLst>
                <a:ext uri="{FF2B5EF4-FFF2-40B4-BE49-F238E27FC236}">
                  <a16:creationId xmlns:a16="http://schemas.microsoft.com/office/drawing/2014/main" id="{B6183442-5AD4-6DB7-8BA7-39E62AADA3C7}"/>
                </a:ext>
              </a:extLst>
            </p:cNvPr>
            <p:cNvSpPr/>
            <p:nvPr/>
          </p:nvSpPr>
          <p:spPr>
            <a:xfrm>
              <a:off x="1622349" y="2121830"/>
              <a:ext cx="1706880" cy="2672129"/>
            </a:xfrm>
            <a:prstGeom prst="flowChartProcess">
              <a:avLst/>
            </a:prstGeom>
            <a:solidFill>
              <a:schemeClr val="bg1"/>
            </a:solidFill>
            <a:ln>
              <a:noFill/>
            </a:ln>
            <a:effectLst>
              <a:outerShdw blurRad="50800" dist="38100" algn="l" rotWithShape="0">
                <a:prstClr val="black">
                  <a:alpha val="40000"/>
                </a:prstClr>
              </a:outerShdw>
            </a:effectLst>
          </p:spPr>
          <p:style>
            <a:lnRef idx="0">
              <a:schemeClr val="accent1"/>
            </a:lnRef>
            <a:fillRef idx="1">
              <a:schemeClr val="accent1"/>
            </a:fillRef>
            <a:effectRef idx="0">
              <a:srgbClr val="000000"/>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 name="Flowchart: Process 10">
              <a:extLst>
                <a:ext uri="{FF2B5EF4-FFF2-40B4-BE49-F238E27FC236}">
                  <a16:creationId xmlns:a16="http://schemas.microsoft.com/office/drawing/2014/main" id="{45C0DE73-E28D-624E-2BC3-BD5C765B34AD}"/>
                </a:ext>
              </a:extLst>
            </p:cNvPr>
            <p:cNvSpPr/>
            <p:nvPr/>
          </p:nvSpPr>
          <p:spPr>
            <a:xfrm>
              <a:off x="1704770" y="2180278"/>
              <a:ext cx="1542040" cy="306710"/>
            </a:xfrm>
            <a:prstGeom prst="flowChartProcess">
              <a:avLst/>
            </a:prstGeom>
            <a:solidFill>
              <a:schemeClr val="accent1"/>
            </a:solidFill>
            <a:ln>
              <a:noFill/>
            </a:ln>
          </p:spPr>
          <p:style>
            <a:lnRef idx="0">
              <a:schemeClr val="accent1"/>
            </a:lnRef>
            <a:fillRef idx="1">
              <a:schemeClr val="accent1"/>
            </a:fillRef>
            <a:effectRef idx="0">
              <a:srgbClr val="000000"/>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RM review</a:t>
              </a:r>
            </a:p>
          </p:txBody>
        </p:sp>
        <p:sp>
          <p:nvSpPr>
            <p:cNvPr id="12" name="TextBox 11">
              <a:extLst>
                <a:ext uri="{FF2B5EF4-FFF2-40B4-BE49-F238E27FC236}">
                  <a16:creationId xmlns:a16="http://schemas.microsoft.com/office/drawing/2014/main" id="{FA46A3F7-82A1-BE37-5BBE-E5C66C540E5E}"/>
                </a:ext>
              </a:extLst>
            </p:cNvPr>
            <p:cNvSpPr txBox="1"/>
            <p:nvPr/>
          </p:nvSpPr>
          <p:spPr>
            <a:xfrm>
              <a:off x="1671836" y="2658473"/>
              <a:ext cx="1584683" cy="1990288"/>
            </a:xfrm>
            <a:prstGeom prst="rect">
              <a:avLst/>
            </a:prstGeom>
            <a:noFill/>
          </p:spPr>
          <p:txBody>
            <a:bodyPr wrap="square">
              <a:spAutoFit/>
            </a:bodyPr>
            <a:lstStyle/>
            <a:p>
              <a:pPr marL="0" marR="0" lvl="0" indent="0" algn="ctr" defTabSz="685800" rtl="0" eaLnBrk="1" fontAlgn="auto" latinLnBrk="0" hangingPunct="1">
                <a:lnSpc>
                  <a:spcPct val="100000"/>
                </a:lnSpc>
                <a:spcBef>
                  <a:spcPts val="375"/>
                </a:spcBef>
                <a:spcAft>
                  <a:spcPts val="0"/>
                </a:spcAft>
                <a:buClr>
                  <a:srgbClr val="C30F3B"/>
                </a:buClr>
                <a:buSzPct val="120000"/>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ystematic review and meta-analysis assessing non-relapse mortality following CAR T in R/R LBCL for patients treated prior to March 2024 </a:t>
              </a:r>
              <a:b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 = 5,806)</a:t>
              </a:r>
              <a:endParaRPr kumimoji="0" lang="en-US" sz="15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685800" rtl="0" eaLnBrk="1" fontAlgn="auto" latinLnBrk="0" hangingPunct="1">
                <a:lnSpc>
                  <a:spcPct val="100000"/>
                </a:lnSpc>
                <a:spcBef>
                  <a:spcPts val="375"/>
                </a:spcBef>
                <a:spcAft>
                  <a:spcPts val="0"/>
                </a:spcAft>
                <a:buClr>
                  <a:srgbClr val="C30F3B"/>
                </a:buClr>
                <a:buSzPct val="120000"/>
                <a:buFontTx/>
                <a:buNone/>
                <a:tabLst/>
                <a:defRPr/>
              </a:pPr>
              <a:endPar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13" name="Straight Connector 12">
              <a:extLst>
                <a:ext uri="{FF2B5EF4-FFF2-40B4-BE49-F238E27FC236}">
                  <a16:creationId xmlns:a16="http://schemas.microsoft.com/office/drawing/2014/main" id="{064531EE-ED26-8D42-A719-5BDE86F6A8D5}"/>
                </a:ext>
              </a:extLst>
            </p:cNvPr>
            <p:cNvCxnSpPr>
              <a:cxnSpLocks/>
            </p:cNvCxnSpPr>
            <p:nvPr/>
          </p:nvCxnSpPr>
          <p:spPr>
            <a:xfrm>
              <a:off x="1972448" y="4528173"/>
              <a:ext cx="983456" cy="0"/>
            </a:xfrm>
            <a:prstGeom prst="line">
              <a:avLst/>
            </a:prstGeom>
            <a:ln w="28575" cap="rnd">
              <a:solidFill>
                <a:schemeClr val="accent1"/>
              </a:solidFill>
            </a:ln>
          </p:spPr>
          <p:style>
            <a:lnRef idx="1">
              <a:srgbClr val="BE2BBB"/>
            </a:lnRef>
            <a:fillRef idx="0">
              <a:schemeClr val="accent1"/>
            </a:fillRef>
            <a:effectRef idx="0">
              <a:srgbClr val="000000"/>
            </a:effectRef>
            <a:fontRef idx="minor">
              <a:schemeClr val="lt1"/>
            </a:fontRef>
          </p:style>
        </p:cxnSp>
        <p:sp>
          <p:nvSpPr>
            <p:cNvPr id="17" name="TextBox 16">
              <a:extLst>
                <a:ext uri="{FF2B5EF4-FFF2-40B4-BE49-F238E27FC236}">
                  <a16:creationId xmlns:a16="http://schemas.microsoft.com/office/drawing/2014/main" id="{308BBFE1-B3B4-5412-CB77-1592EA7EFABF}"/>
                </a:ext>
              </a:extLst>
            </p:cNvPr>
            <p:cNvSpPr txBox="1"/>
            <p:nvPr/>
          </p:nvSpPr>
          <p:spPr>
            <a:xfrm>
              <a:off x="3350592" y="2000799"/>
              <a:ext cx="3418784" cy="461665"/>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RM point estimates for CAR T</a:t>
              </a:r>
              <a:r>
                <a:rPr kumimoji="0" lang="en-US" sz="1200" b="1"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a:t>
              </a: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in R/R LBCL</a:t>
              </a:r>
            </a:p>
          </p:txBody>
        </p:sp>
        <p:sp>
          <p:nvSpPr>
            <p:cNvPr id="122" name="TextBox 121">
              <a:extLst>
                <a:ext uri="{FF2B5EF4-FFF2-40B4-BE49-F238E27FC236}">
                  <a16:creationId xmlns:a16="http://schemas.microsoft.com/office/drawing/2014/main" id="{D4436589-C825-4890-47A9-41E28EE2DC25}"/>
                </a:ext>
              </a:extLst>
            </p:cNvPr>
            <p:cNvSpPr txBox="1"/>
            <p:nvPr/>
          </p:nvSpPr>
          <p:spPr>
            <a:xfrm>
              <a:off x="6839812" y="2000799"/>
              <a:ext cx="3586091" cy="461665"/>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RM cause of death in CAR T-treated R/R LBCL</a:t>
              </a:r>
            </a:p>
          </p:txBody>
        </p:sp>
        <p:grpSp>
          <p:nvGrpSpPr>
            <p:cNvPr id="3" name="Group 2">
              <a:extLst>
                <a:ext uri="{FF2B5EF4-FFF2-40B4-BE49-F238E27FC236}">
                  <a16:creationId xmlns:a16="http://schemas.microsoft.com/office/drawing/2014/main" id="{38C69DA7-3310-F149-C849-3550B94B43D7}"/>
                </a:ext>
              </a:extLst>
            </p:cNvPr>
            <p:cNvGrpSpPr/>
            <p:nvPr/>
          </p:nvGrpSpPr>
          <p:grpSpPr>
            <a:xfrm>
              <a:off x="6865982" y="2213484"/>
              <a:ext cx="3550325" cy="2681173"/>
              <a:chOff x="7287982" y="1667248"/>
              <a:chExt cx="4568425" cy="3240000"/>
            </a:xfrm>
          </p:grpSpPr>
          <p:grpSp>
            <p:nvGrpSpPr>
              <p:cNvPr id="113" name="Group 112">
                <a:extLst>
                  <a:ext uri="{FF2B5EF4-FFF2-40B4-BE49-F238E27FC236}">
                    <a16:creationId xmlns:a16="http://schemas.microsoft.com/office/drawing/2014/main" id="{753339B9-F4D8-4BC5-500D-5B3DB9526CA1}"/>
                  </a:ext>
                </a:extLst>
              </p:cNvPr>
              <p:cNvGrpSpPr/>
              <p:nvPr/>
            </p:nvGrpSpPr>
            <p:grpSpPr>
              <a:xfrm>
                <a:off x="7712723" y="1667248"/>
                <a:ext cx="3259247" cy="3240000"/>
                <a:chOff x="6266416" y="1575267"/>
                <a:chExt cx="2125618" cy="1872857"/>
              </a:xfrm>
            </p:grpSpPr>
            <p:graphicFrame>
              <p:nvGraphicFramePr>
                <p:cNvPr id="114" name="Chart 113">
                  <a:extLst>
                    <a:ext uri="{FF2B5EF4-FFF2-40B4-BE49-F238E27FC236}">
                      <a16:creationId xmlns:a16="http://schemas.microsoft.com/office/drawing/2014/main" id="{EAF0DDFE-0251-E318-E9A5-007F13CA38EE}"/>
                    </a:ext>
                  </a:extLst>
                </p:cNvPr>
                <p:cNvGraphicFramePr/>
                <p:nvPr/>
              </p:nvGraphicFramePr>
              <p:xfrm>
                <a:off x="6266416" y="1575267"/>
                <a:ext cx="2113065" cy="1872857"/>
              </p:xfrm>
              <a:graphic>
                <a:graphicData uri="http://schemas.openxmlformats.org/drawingml/2006/chart">
                  <c:chart xmlns:c="http://schemas.openxmlformats.org/drawingml/2006/chart" xmlns:r="http://schemas.openxmlformats.org/officeDocument/2006/relationships" r:id="rId3"/>
                </a:graphicData>
              </a:graphic>
            </p:graphicFrame>
            <p:sp>
              <p:nvSpPr>
                <p:cNvPr id="115" name="TextBox 114">
                  <a:extLst>
                    <a:ext uri="{FF2B5EF4-FFF2-40B4-BE49-F238E27FC236}">
                      <a16:creationId xmlns:a16="http://schemas.microsoft.com/office/drawing/2014/main" id="{585261E3-78E9-2607-FF72-FF8DE61FBCA5}"/>
                    </a:ext>
                  </a:extLst>
                </p:cNvPr>
                <p:cNvSpPr txBox="1"/>
                <p:nvPr/>
              </p:nvSpPr>
              <p:spPr>
                <a:xfrm>
                  <a:off x="7465882" y="1844712"/>
                  <a:ext cx="617435" cy="115663"/>
                </a:xfrm>
                <a:prstGeom prst="rect">
                  <a:avLst/>
                </a:prstGeom>
                <a:noFill/>
              </p:spPr>
              <p:txBody>
                <a:bodyPr wrap="square" lIns="0" tIns="0" rIns="0" bIns="0" rtlCol="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9%</a:t>
                  </a:r>
                </a:p>
              </p:txBody>
            </p:sp>
            <p:sp>
              <p:nvSpPr>
                <p:cNvPr id="116" name="TextBox 115">
                  <a:extLst>
                    <a:ext uri="{FF2B5EF4-FFF2-40B4-BE49-F238E27FC236}">
                      <a16:creationId xmlns:a16="http://schemas.microsoft.com/office/drawing/2014/main" id="{DE1D7355-7D6A-54A2-7461-EF2E5EEC4A54}"/>
                    </a:ext>
                  </a:extLst>
                </p:cNvPr>
                <p:cNvSpPr txBox="1"/>
                <p:nvPr/>
              </p:nvSpPr>
              <p:spPr>
                <a:xfrm>
                  <a:off x="7742482" y="2162974"/>
                  <a:ext cx="617435" cy="158216"/>
                </a:xfrm>
                <a:prstGeom prst="rect">
                  <a:avLst/>
                </a:prstGeom>
                <a:noFill/>
              </p:spPr>
              <p:txBody>
                <a:bodyPr wrap="square" lIns="0" tIns="0" rIns="0" bIns="0" rtlCol="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8%</a:t>
                  </a:r>
                </a:p>
              </p:txBody>
            </p:sp>
            <p:sp>
              <p:nvSpPr>
                <p:cNvPr id="117" name="TextBox 116">
                  <a:extLst>
                    <a:ext uri="{FF2B5EF4-FFF2-40B4-BE49-F238E27FC236}">
                      <a16:creationId xmlns:a16="http://schemas.microsoft.com/office/drawing/2014/main" id="{6E300096-437E-9C59-CFFF-538B5AC44823}"/>
                    </a:ext>
                  </a:extLst>
                </p:cNvPr>
                <p:cNvSpPr txBox="1"/>
                <p:nvPr/>
              </p:nvSpPr>
              <p:spPr>
                <a:xfrm>
                  <a:off x="7774599" y="2468291"/>
                  <a:ext cx="617435" cy="115663"/>
                </a:xfrm>
                <a:prstGeom prst="rect">
                  <a:avLst/>
                </a:prstGeom>
                <a:noFill/>
              </p:spPr>
              <p:txBody>
                <a:bodyPr wrap="square" lIns="0" tIns="0" rIns="0" bIns="0" rtlCol="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7%</a:t>
                  </a:r>
                </a:p>
              </p:txBody>
            </p:sp>
            <p:sp>
              <p:nvSpPr>
                <p:cNvPr id="118" name="TextBox 117">
                  <a:extLst>
                    <a:ext uri="{FF2B5EF4-FFF2-40B4-BE49-F238E27FC236}">
                      <a16:creationId xmlns:a16="http://schemas.microsoft.com/office/drawing/2014/main" id="{48913149-6160-0CF7-87AF-A4E37E2D5F18}"/>
                    </a:ext>
                  </a:extLst>
                </p:cNvPr>
                <p:cNvSpPr txBox="1"/>
                <p:nvPr/>
              </p:nvSpPr>
              <p:spPr>
                <a:xfrm>
                  <a:off x="6345358" y="2418080"/>
                  <a:ext cx="617435" cy="187230"/>
                </a:xfrm>
                <a:prstGeom prst="rect">
                  <a:avLst/>
                </a:prstGeom>
                <a:noFill/>
              </p:spPr>
              <p:txBody>
                <a:bodyPr wrap="square" lIns="0" tIns="0" rIns="0" bIns="0" rtlCol="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64%</a:t>
                  </a:r>
                </a:p>
              </p:txBody>
            </p:sp>
          </p:grpSp>
          <p:sp>
            <p:nvSpPr>
              <p:cNvPr id="123" name="TextBox 122">
                <a:extLst>
                  <a:ext uri="{FF2B5EF4-FFF2-40B4-BE49-F238E27FC236}">
                    <a16:creationId xmlns:a16="http://schemas.microsoft.com/office/drawing/2014/main" id="{9BC6D4AA-5457-A0A5-33C6-8C6EA3EE68C8}"/>
                  </a:ext>
                </a:extLst>
              </p:cNvPr>
              <p:cNvSpPr txBox="1"/>
              <p:nvPr/>
            </p:nvSpPr>
            <p:spPr>
              <a:xfrm>
                <a:off x="7287982" y="1891955"/>
                <a:ext cx="946724" cy="323904"/>
              </a:xfrm>
              <a:prstGeom prst="rect">
                <a:avLst/>
              </a:prstGeom>
              <a:noFill/>
            </p:spPr>
            <p:txBody>
              <a:bodyPr wrap="square" lIns="0" tIns="0" rIns="0" bIns="0" rtlCol="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fection</a:t>
                </a:r>
              </a:p>
            </p:txBody>
          </p:sp>
          <p:cxnSp>
            <p:nvCxnSpPr>
              <p:cNvPr id="131" name="Straight Connector 130">
                <a:extLst>
                  <a:ext uri="{FF2B5EF4-FFF2-40B4-BE49-F238E27FC236}">
                    <a16:creationId xmlns:a16="http://schemas.microsoft.com/office/drawing/2014/main" id="{37BA5596-4B7E-98C8-4676-0B59DA3EFDAC}"/>
                  </a:ext>
                </a:extLst>
              </p:cNvPr>
              <p:cNvCxnSpPr>
                <a:cxnSpLocks/>
              </p:cNvCxnSpPr>
              <p:nvPr/>
            </p:nvCxnSpPr>
            <p:spPr>
              <a:xfrm>
                <a:off x="8067783" y="2148134"/>
                <a:ext cx="333594" cy="421907"/>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38" name="TextBox 137">
                <a:extLst>
                  <a:ext uri="{FF2B5EF4-FFF2-40B4-BE49-F238E27FC236}">
                    <a16:creationId xmlns:a16="http://schemas.microsoft.com/office/drawing/2014/main" id="{C6F23D5E-D47F-B1C2-3DF1-2DDC969AFBEC}"/>
                  </a:ext>
                </a:extLst>
              </p:cNvPr>
              <p:cNvSpPr txBox="1"/>
              <p:nvPr/>
            </p:nvSpPr>
            <p:spPr>
              <a:xfrm>
                <a:off x="10892726" y="2047554"/>
                <a:ext cx="946724" cy="323904"/>
              </a:xfrm>
              <a:prstGeom prst="rect">
                <a:avLst/>
              </a:prstGeom>
              <a:noFill/>
            </p:spPr>
            <p:txBody>
              <a:bodyPr wrap="square" lIns="0" tIns="0" rIns="0" bIns="0" rtlCol="0">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alignancy</a:t>
                </a:r>
              </a:p>
            </p:txBody>
          </p:sp>
          <p:sp>
            <p:nvSpPr>
              <p:cNvPr id="139" name="TextBox 138">
                <a:extLst>
                  <a:ext uri="{FF2B5EF4-FFF2-40B4-BE49-F238E27FC236}">
                    <a16:creationId xmlns:a16="http://schemas.microsoft.com/office/drawing/2014/main" id="{930BB6EC-42FE-33DE-E315-EEE1F77FB53A}"/>
                  </a:ext>
                </a:extLst>
              </p:cNvPr>
              <p:cNvSpPr txBox="1"/>
              <p:nvPr/>
            </p:nvSpPr>
            <p:spPr>
              <a:xfrm>
                <a:off x="10892726" y="2636906"/>
                <a:ext cx="946724" cy="323904"/>
              </a:xfrm>
              <a:prstGeom prst="rect">
                <a:avLst/>
              </a:prstGeom>
              <a:noFill/>
            </p:spPr>
            <p:txBody>
              <a:bodyPr wrap="square" lIns="0" tIns="0" rIns="0" bIns="0" rtlCol="0">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VR</a:t>
                </a:r>
              </a:p>
            </p:txBody>
          </p:sp>
          <p:sp>
            <p:nvSpPr>
              <p:cNvPr id="140" name="TextBox 139">
                <a:extLst>
                  <a:ext uri="{FF2B5EF4-FFF2-40B4-BE49-F238E27FC236}">
                    <a16:creationId xmlns:a16="http://schemas.microsoft.com/office/drawing/2014/main" id="{7089A517-2B5C-7A5A-42EA-40C4A7B3C311}"/>
                  </a:ext>
                </a:extLst>
              </p:cNvPr>
              <p:cNvSpPr txBox="1"/>
              <p:nvPr/>
            </p:nvSpPr>
            <p:spPr>
              <a:xfrm>
                <a:off x="10892726" y="3243461"/>
                <a:ext cx="946724" cy="323904"/>
              </a:xfrm>
              <a:prstGeom prst="rect">
                <a:avLst/>
              </a:prstGeom>
              <a:noFill/>
            </p:spPr>
            <p:txBody>
              <a:bodyPr wrap="square" lIns="0" tIns="0" rIns="0" bIns="0" rtlCol="0">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T/ICANS</a:t>
                </a:r>
              </a:p>
            </p:txBody>
          </p:sp>
          <p:sp>
            <p:nvSpPr>
              <p:cNvPr id="141" name="TextBox 140">
                <a:extLst>
                  <a:ext uri="{FF2B5EF4-FFF2-40B4-BE49-F238E27FC236}">
                    <a16:creationId xmlns:a16="http://schemas.microsoft.com/office/drawing/2014/main" id="{060F96B5-6F0C-2984-C7CA-3D6D0FEABA07}"/>
                  </a:ext>
                </a:extLst>
              </p:cNvPr>
              <p:cNvSpPr txBox="1"/>
              <p:nvPr/>
            </p:nvSpPr>
            <p:spPr>
              <a:xfrm>
                <a:off x="10892726" y="3720444"/>
                <a:ext cx="946724" cy="323904"/>
              </a:xfrm>
              <a:prstGeom prst="rect">
                <a:avLst/>
              </a:prstGeom>
              <a:noFill/>
            </p:spPr>
            <p:txBody>
              <a:bodyPr wrap="square" lIns="0" tIns="0" rIns="0" bIns="0" rtlCol="0">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RS</a:t>
                </a:r>
              </a:p>
            </p:txBody>
          </p:sp>
          <p:sp>
            <p:nvSpPr>
              <p:cNvPr id="142" name="TextBox 141">
                <a:extLst>
                  <a:ext uri="{FF2B5EF4-FFF2-40B4-BE49-F238E27FC236}">
                    <a16:creationId xmlns:a16="http://schemas.microsoft.com/office/drawing/2014/main" id="{337546AF-55DD-C30B-0EC8-B330DEB88378}"/>
                  </a:ext>
                </a:extLst>
              </p:cNvPr>
              <p:cNvSpPr txBox="1"/>
              <p:nvPr/>
            </p:nvSpPr>
            <p:spPr>
              <a:xfrm>
                <a:off x="10812912" y="4068361"/>
                <a:ext cx="1026538" cy="323904"/>
              </a:xfrm>
              <a:prstGeom prst="rect">
                <a:avLst/>
              </a:prstGeom>
              <a:noFill/>
            </p:spPr>
            <p:txBody>
              <a:bodyPr wrap="square" lIns="0" tIns="0" rIns="0" bIns="0" rtlCol="0">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emorrhage</a:t>
                </a:r>
              </a:p>
            </p:txBody>
          </p:sp>
          <p:sp>
            <p:nvSpPr>
              <p:cNvPr id="143" name="TextBox 142">
                <a:extLst>
                  <a:ext uri="{FF2B5EF4-FFF2-40B4-BE49-F238E27FC236}">
                    <a16:creationId xmlns:a16="http://schemas.microsoft.com/office/drawing/2014/main" id="{648EE2DE-1B78-D3F9-AAF9-44E4097C1E2A}"/>
                  </a:ext>
                </a:extLst>
              </p:cNvPr>
              <p:cNvSpPr txBox="1"/>
              <p:nvPr/>
            </p:nvSpPr>
            <p:spPr>
              <a:xfrm>
                <a:off x="10892726" y="4448593"/>
                <a:ext cx="946724" cy="323904"/>
              </a:xfrm>
              <a:prstGeom prst="rect">
                <a:avLst/>
              </a:prstGeom>
              <a:noFill/>
            </p:spPr>
            <p:txBody>
              <a:bodyPr wrap="square" lIns="0" tIns="0" rIns="0" bIns="0" rtlCol="0">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LH (1%)</a:t>
                </a:r>
              </a:p>
            </p:txBody>
          </p:sp>
          <p:cxnSp>
            <p:nvCxnSpPr>
              <p:cNvPr id="145" name="Straight Connector 144">
                <a:extLst>
                  <a:ext uri="{FF2B5EF4-FFF2-40B4-BE49-F238E27FC236}">
                    <a16:creationId xmlns:a16="http://schemas.microsoft.com/office/drawing/2014/main" id="{5CCBA608-194D-BD38-6BDB-BE58B12E6B96}"/>
                  </a:ext>
                </a:extLst>
              </p:cNvPr>
              <p:cNvCxnSpPr>
                <a:cxnSpLocks/>
              </p:cNvCxnSpPr>
              <p:nvPr/>
            </p:nvCxnSpPr>
            <p:spPr>
              <a:xfrm flipH="1">
                <a:off x="7412341" y="2162541"/>
                <a:ext cx="665170"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BE73AA69-A2F8-3D7B-3514-3145AF7D2C3E}"/>
                  </a:ext>
                </a:extLst>
              </p:cNvPr>
              <p:cNvCxnSpPr>
                <a:cxnSpLocks/>
              </p:cNvCxnSpPr>
              <p:nvPr/>
            </p:nvCxnSpPr>
            <p:spPr>
              <a:xfrm flipH="1" flipV="1">
                <a:off x="10272407" y="2310543"/>
                <a:ext cx="1584000"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B517388B-BA02-3B3F-AF75-0FE6D807E6D2}"/>
                  </a:ext>
                </a:extLst>
              </p:cNvPr>
              <p:cNvCxnSpPr>
                <a:cxnSpLocks/>
              </p:cNvCxnSpPr>
              <p:nvPr/>
            </p:nvCxnSpPr>
            <p:spPr>
              <a:xfrm flipH="1" flipV="1">
                <a:off x="10668407" y="2884477"/>
                <a:ext cx="1188000"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F8E58DEF-6DA0-D70E-56DC-4C178C7A8621}"/>
                  </a:ext>
                </a:extLst>
              </p:cNvPr>
              <p:cNvCxnSpPr>
                <a:cxnSpLocks/>
              </p:cNvCxnSpPr>
              <p:nvPr/>
            </p:nvCxnSpPr>
            <p:spPr>
              <a:xfrm flipH="1" flipV="1">
                <a:off x="10668407" y="3508122"/>
                <a:ext cx="1188000"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DEE695FF-6625-024D-3127-73B71503EAD6}"/>
                  </a:ext>
                </a:extLst>
              </p:cNvPr>
              <p:cNvCxnSpPr>
                <a:cxnSpLocks/>
              </p:cNvCxnSpPr>
              <p:nvPr/>
            </p:nvCxnSpPr>
            <p:spPr>
              <a:xfrm flipH="1" flipV="1">
                <a:off x="10560407" y="3956406"/>
                <a:ext cx="1296000"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60" name="TextBox 159">
                <a:extLst>
                  <a:ext uri="{FF2B5EF4-FFF2-40B4-BE49-F238E27FC236}">
                    <a16:creationId xmlns:a16="http://schemas.microsoft.com/office/drawing/2014/main" id="{1200DB42-18C0-4F85-EF1F-9D64FAFD00B6}"/>
                  </a:ext>
                </a:extLst>
              </p:cNvPr>
              <p:cNvSpPr txBox="1"/>
              <p:nvPr/>
            </p:nvSpPr>
            <p:spPr>
              <a:xfrm>
                <a:off x="9965075" y="3684764"/>
                <a:ext cx="946724" cy="200094"/>
              </a:xfrm>
              <a:prstGeom prst="rect">
                <a:avLst/>
              </a:prstGeom>
              <a:noFill/>
            </p:spPr>
            <p:txBody>
              <a:bodyPr wrap="square" lIns="0" tIns="0" rIns="0" bIns="0" rtlCol="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5%</a:t>
                </a:r>
              </a:p>
            </p:txBody>
          </p:sp>
          <p:sp>
            <p:nvSpPr>
              <p:cNvPr id="161" name="TextBox 160">
                <a:extLst>
                  <a:ext uri="{FF2B5EF4-FFF2-40B4-BE49-F238E27FC236}">
                    <a16:creationId xmlns:a16="http://schemas.microsoft.com/office/drawing/2014/main" id="{749E6496-17CE-E6D4-0F86-C2E22C0255A5}"/>
                  </a:ext>
                </a:extLst>
              </p:cNvPr>
              <p:cNvSpPr txBox="1"/>
              <p:nvPr/>
            </p:nvSpPr>
            <p:spPr>
              <a:xfrm>
                <a:off x="9775764" y="4012526"/>
                <a:ext cx="946724" cy="200094"/>
              </a:xfrm>
              <a:prstGeom prst="rect">
                <a:avLst/>
              </a:prstGeom>
              <a:noFill/>
            </p:spPr>
            <p:txBody>
              <a:bodyPr wrap="square" lIns="0" tIns="0" rIns="0" bIns="0" rtlCol="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5%</a:t>
                </a:r>
              </a:p>
            </p:txBody>
          </p:sp>
          <p:cxnSp>
            <p:nvCxnSpPr>
              <p:cNvPr id="162" name="Straight Connector 161">
                <a:extLst>
                  <a:ext uri="{FF2B5EF4-FFF2-40B4-BE49-F238E27FC236}">
                    <a16:creationId xmlns:a16="http://schemas.microsoft.com/office/drawing/2014/main" id="{1E65D2E4-375C-21FD-7164-71ED6E7C3A0C}"/>
                  </a:ext>
                </a:extLst>
              </p:cNvPr>
              <p:cNvCxnSpPr>
                <a:cxnSpLocks/>
              </p:cNvCxnSpPr>
              <p:nvPr/>
            </p:nvCxnSpPr>
            <p:spPr>
              <a:xfrm flipH="1" flipV="1">
                <a:off x="10308407" y="4349999"/>
                <a:ext cx="1548000"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3406FA8F-1095-D69C-D8BD-D83C2953B53D}"/>
                  </a:ext>
                </a:extLst>
              </p:cNvPr>
              <p:cNvCxnSpPr>
                <a:cxnSpLocks/>
              </p:cNvCxnSpPr>
              <p:nvPr/>
            </p:nvCxnSpPr>
            <p:spPr>
              <a:xfrm flipH="1" flipV="1">
                <a:off x="10308407" y="4689758"/>
                <a:ext cx="1548000"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8990DFB1-D2C9-01B1-6979-83C14D41EE4D}"/>
                  </a:ext>
                </a:extLst>
              </p:cNvPr>
              <p:cNvCxnSpPr>
                <a:cxnSpLocks/>
              </p:cNvCxnSpPr>
              <p:nvPr/>
            </p:nvCxnSpPr>
            <p:spPr>
              <a:xfrm flipH="1" flipV="1">
                <a:off x="10153209" y="4503435"/>
                <a:ext cx="155198" cy="19253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10" name="Group 109">
              <a:extLst>
                <a:ext uri="{FF2B5EF4-FFF2-40B4-BE49-F238E27FC236}">
                  <a16:creationId xmlns:a16="http://schemas.microsoft.com/office/drawing/2014/main" id="{0520A57E-C867-9098-A968-EA01924C3132}"/>
                </a:ext>
              </a:extLst>
            </p:cNvPr>
            <p:cNvGrpSpPr/>
            <p:nvPr/>
          </p:nvGrpSpPr>
          <p:grpSpPr>
            <a:xfrm>
              <a:off x="3584573" y="2358509"/>
              <a:ext cx="2950823" cy="2435447"/>
              <a:chOff x="2906729" y="2004634"/>
              <a:chExt cx="3934431" cy="3667499"/>
            </a:xfrm>
          </p:grpSpPr>
          <p:sp>
            <p:nvSpPr>
              <p:cNvPr id="8" name="TextBox 7">
                <a:extLst>
                  <a:ext uri="{FF2B5EF4-FFF2-40B4-BE49-F238E27FC236}">
                    <a16:creationId xmlns:a16="http://schemas.microsoft.com/office/drawing/2014/main" id="{964B062D-4107-7CA5-120B-450B87C2528B}"/>
                  </a:ext>
                </a:extLst>
              </p:cNvPr>
              <p:cNvSpPr txBox="1"/>
              <p:nvPr/>
            </p:nvSpPr>
            <p:spPr>
              <a:xfrm>
                <a:off x="3992518" y="5491673"/>
                <a:ext cx="301898" cy="180460"/>
              </a:xfrm>
              <a:prstGeom prst="rect">
                <a:avLst/>
              </a:prstGeom>
              <a:noFill/>
            </p:spPr>
            <p:txBody>
              <a:bodyPr wrap="none" lIns="0" tIns="0" rIns="0" bIns="0" rtlCol="0" anchor="ctr">
                <a:no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Tisa-cel</a:t>
                </a:r>
              </a:p>
            </p:txBody>
          </p:sp>
          <p:sp>
            <p:nvSpPr>
              <p:cNvPr id="9" name="TextBox 8">
                <a:extLst>
                  <a:ext uri="{FF2B5EF4-FFF2-40B4-BE49-F238E27FC236}">
                    <a16:creationId xmlns:a16="http://schemas.microsoft.com/office/drawing/2014/main" id="{2AC2E16E-D25D-9086-FF6B-C122CCA40E03}"/>
                  </a:ext>
                </a:extLst>
              </p:cNvPr>
              <p:cNvSpPr txBox="1"/>
              <p:nvPr/>
            </p:nvSpPr>
            <p:spPr>
              <a:xfrm>
                <a:off x="5051592" y="5491673"/>
                <a:ext cx="301898" cy="180460"/>
              </a:xfrm>
              <a:prstGeom prst="rect">
                <a:avLst/>
              </a:prstGeom>
              <a:noFill/>
            </p:spPr>
            <p:txBody>
              <a:bodyPr wrap="none" lIns="0" tIns="0" rIns="0" bIns="0" rtlCol="0" anchor="ctr">
                <a:no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Liso-cel</a:t>
                </a:r>
              </a:p>
            </p:txBody>
          </p:sp>
          <p:sp>
            <p:nvSpPr>
              <p:cNvPr id="14" name="TextBox 13">
                <a:extLst>
                  <a:ext uri="{FF2B5EF4-FFF2-40B4-BE49-F238E27FC236}">
                    <a16:creationId xmlns:a16="http://schemas.microsoft.com/office/drawing/2014/main" id="{12CFB5DE-25D3-03FE-3B00-56D22D3A2708}"/>
                  </a:ext>
                </a:extLst>
              </p:cNvPr>
              <p:cNvSpPr txBox="1"/>
              <p:nvPr/>
            </p:nvSpPr>
            <p:spPr>
              <a:xfrm>
                <a:off x="6110665" y="5491673"/>
                <a:ext cx="301898" cy="180460"/>
              </a:xfrm>
              <a:prstGeom prst="rect">
                <a:avLst/>
              </a:prstGeom>
              <a:noFill/>
            </p:spPr>
            <p:txBody>
              <a:bodyPr wrap="none" lIns="0" tIns="0" rIns="0" bIns="0" rtlCol="0" anchor="ctr">
                <a:no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Axi-cel</a:t>
                </a:r>
              </a:p>
            </p:txBody>
          </p:sp>
          <p:sp>
            <p:nvSpPr>
              <p:cNvPr id="15" name="Freeform: Shape 30">
                <a:extLst>
                  <a:ext uri="{FF2B5EF4-FFF2-40B4-BE49-F238E27FC236}">
                    <a16:creationId xmlns:a16="http://schemas.microsoft.com/office/drawing/2014/main" id="{5A357C75-27DB-6451-E726-1FB619C34A9C}"/>
                  </a:ext>
                </a:extLst>
              </p:cNvPr>
              <p:cNvSpPr/>
              <p:nvPr/>
            </p:nvSpPr>
            <p:spPr>
              <a:xfrm>
                <a:off x="3483252" y="2145124"/>
                <a:ext cx="11683" cy="3188558"/>
              </a:xfrm>
              <a:custGeom>
                <a:avLst/>
                <a:gdLst>
                  <a:gd name="connsiteX0" fmla="*/ 0 w 12157"/>
                  <a:gd name="connsiteY0" fmla="*/ 0 h 3203210"/>
                  <a:gd name="connsiteX1" fmla="*/ 0 w 12157"/>
                  <a:gd name="connsiteY1" fmla="*/ 3203211 h 3203210"/>
                </a:gdLst>
                <a:ahLst/>
                <a:cxnLst>
                  <a:cxn ang="0">
                    <a:pos x="connsiteX0" y="connsiteY0"/>
                  </a:cxn>
                  <a:cxn ang="0">
                    <a:pos x="connsiteX1" y="connsiteY1"/>
                  </a:cxn>
                </a:cxnLst>
                <a:rect l="l" t="t" r="r" b="b"/>
                <a:pathLst>
                  <a:path w="12157" h="3203210">
                    <a:moveTo>
                      <a:pt x="0" y="0"/>
                    </a:moveTo>
                    <a:lnTo>
                      <a:pt x="0" y="3203211"/>
                    </a:lnTo>
                  </a:path>
                </a:pathLst>
              </a:custGeom>
              <a:ln w="19050" cap="sq">
                <a:solidFill>
                  <a:schemeClr val="tx1"/>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 name="Freeform: Shape 32">
                <a:extLst>
                  <a:ext uri="{FF2B5EF4-FFF2-40B4-BE49-F238E27FC236}">
                    <a16:creationId xmlns:a16="http://schemas.microsoft.com/office/drawing/2014/main" id="{5F498B53-D0AC-FA96-CEDA-B8BBBBE29CB8}"/>
                  </a:ext>
                </a:extLst>
              </p:cNvPr>
              <p:cNvSpPr/>
              <p:nvPr/>
            </p:nvSpPr>
            <p:spPr>
              <a:xfrm>
                <a:off x="4145685" y="5333683"/>
                <a:ext cx="11683" cy="70071"/>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chemeClr val="tx1"/>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 name="Freeform: Shape 34">
                <a:extLst>
                  <a:ext uri="{FF2B5EF4-FFF2-40B4-BE49-F238E27FC236}">
                    <a16:creationId xmlns:a16="http://schemas.microsoft.com/office/drawing/2014/main" id="{60D7B930-043B-663C-F2E9-7EC970010891}"/>
                  </a:ext>
                </a:extLst>
              </p:cNvPr>
              <p:cNvSpPr/>
              <p:nvPr/>
            </p:nvSpPr>
            <p:spPr>
              <a:xfrm>
                <a:off x="5203705" y="5333683"/>
                <a:ext cx="11683" cy="70071"/>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chemeClr val="tx1"/>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 name="Freeform: Shape 36">
                <a:extLst>
                  <a:ext uri="{FF2B5EF4-FFF2-40B4-BE49-F238E27FC236}">
                    <a16:creationId xmlns:a16="http://schemas.microsoft.com/office/drawing/2014/main" id="{C4714D7B-E6E0-5D12-0220-A3A1D5C48F9C}"/>
                  </a:ext>
                </a:extLst>
              </p:cNvPr>
              <p:cNvSpPr/>
              <p:nvPr/>
            </p:nvSpPr>
            <p:spPr>
              <a:xfrm>
                <a:off x="6261611" y="5333683"/>
                <a:ext cx="11683" cy="70071"/>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chemeClr val="tx1"/>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20" name="Group 19">
                <a:extLst>
                  <a:ext uri="{FF2B5EF4-FFF2-40B4-BE49-F238E27FC236}">
                    <a16:creationId xmlns:a16="http://schemas.microsoft.com/office/drawing/2014/main" id="{7A35CFC7-8A43-A140-8186-5BB15746AEC8}"/>
                  </a:ext>
                </a:extLst>
              </p:cNvPr>
              <p:cNvGrpSpPr/>
              <p:nvPr/>
            </p:nvGrpSpPr>
            <p:grpSpPr>
              <a:xfrm>
                <a:off x="3060771" y="5082630"/>
                <a:ext cx="406755" cy="275732"/>
                <a:chOff x="3174383" y="4466735"/>
                <a:chExt cx="327203" cy="240743"/>
              </a:xfrm>
            </p:grpSpPr>
            <p:sp>
              <p:nvSpPr>
                <p:cNvPr id="21" name="TextBox 20">
                  <a:extLst>
                    <a:ext uri="{FF2B5EF4-FFF2-40B4-BE49-F238E27FC236}">
                      <a16:creationId xmlns:a16="http://schemas.microsoft.com/office/drawing/2014/main" id="{F3CE0889-06E4-7B96-9F9E-BFC2CFC4719B}"/>
                    </a:ext>
                  </a:extLst>
                </p:cNvPr>
                <p:cNvSpPr txBox="1"/>
                <p:nvPr/>
              </p:nvSpPr>
              <p:spPr>
                <a:xfrm>
                  <a:off x="3174383" y="4466735"/>
                  <a:ext cx="204707" cy="240743"/>
                </a:xfrm>
                <a:prstGeom prst="rect">
                  <a:avLst/>
                </a:prstGeom>
                <a:noFill/>
              </p:spPr>
              <p:txBody>
                <a:bodyPr wrap="none" lIns="0" tIns="0" rIns="0" bIns="0" rtlCol="0" anchor="ctr">
                  <a:noAutofit/>
                </a:bodyPr>
                <a:lstStyle/>
                <a:p>
                  <a:pPr marL="0" marR="0" lvl="0" indent="0" algn="r" defTabSz="91437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0</a:t>
                  </a:r>
                </a:p>
              </p:txBody>
            </p:sp>
            <p:sp>
              <p:nvSpPr>
                <p:cNvPr id="22" name="Freeform: Shape 45">
                  <a:extLst>
                    <a:ext uri="{FF2B5EF4-FFF2-40B4-BE49-F238E27FC236}">
                      <a16:creationId xmlns:a16="http://schemas.microsoft.com/office/drawing/2014/main" id="{1B1F60FB-BFAB-BBF8-9FFD-8674E3F5A241}"/>
                    </a:ext>
                  </a:extLst>
                </p:cNvPr>
                <p:cNvSpPr/>
                <p:nvPr/>
              </p:nvSpPr>
              <p:spPr>
                <a:xfrm>
                  <a:off x="3436786" y="4591952"/>
                  <a:ext cx="64800" cy="10566"/>
                </a:xfrm>
                <a:custGeom>
                  <a:avLst/>
                  <a:gdLst>
                    <a:gd name="connsiteX0" fmla="*/ 70394 w 70393"/>
                    <a:gd name="connsiteY0" fmla="*/ 0 h 12157"/>
                    <a:gd name="connsiteX1" fmla="*/ 0 w 70393"/>
                    <a:gd name="connsiteY1" fmla="*/ 0 h 12157"/>
                  </a:gdLst>
                  <a:ahLst/>
                  <a:cxnLst>
                    <a:cxn ang="0">
                      <a:pos x="connsiteX0" y="connsiteY0"/>
                    </a:cxn>
                    <a:cxn ang="0">
                      <a:pos x="connsiteX1" y="connsiteY1"/>
                    </a:cxn>
                  </a:cxnLst>
                  <a:rect l="l" t="t" r="r" b="b"/>
                  <a:pathLst>
                    <a:path w="70393" h="12157">
                      <a:moveTo>
                        <a:pt x="70394" y="0"/>
                      </a:moveTo>
                      <a:lnTo>
                        <a:pt x="0" y="0"/>
                      </a:lnTo>
                    </a:path>
                  </a:pathLst>
                </a:custGeom>
                <a:ln w="19050" cap="sq">
                  <a:solidFill>
                    <a:schemeClr val="tx1"/>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23" name="Group 22">
                <a:extLst>
                  <a:ext uri="{FF2B5EF4-FFF2-40B4-BE49-F238E27FC236}">
                    <a16:creationId xmlns:a16="http://schemas.microsoft.com/office/drawing/2014/main" id="{5B67B9C4-0C81-A9FD-C945-AE16C9D34422}"/>
                  </a:ext>
                </a:extLst>
              </p:cNvPr>
              <p:cNvGrpSpPr/>
              <p:nvPr/>
            </p:nvGrpSpPr>
            <p:grpSpPr>
              <a:xfrm>
                <a:off x="2983751" y="4289247"/>
                <a:ext cx="483775" cy="275732"/>
                <a:chOff x="3112426" y="3912572"/>
                <a:chExt cx="389160" cy="240743"/>
              </a:xfrm>
            </p:grpSpPr>
            <p:sp>
              <p:nvSpPr>
                <p:cNvPr id="24" name="TextBox 23">
                  <a:extLst>
                    <a:ext uri="{FF2B5EF4-FFF2-40B4-BE49-F238E27FC236}">
                      <a16:creationId xmlns:a16="http://schemas.microsoft.com/office/drawing/2014/main" id="{9F25CEA1-143A-13E1-687E-62AE12E6D3E6}"/>
                    </a:ext>
                  </a:extLst>
                </p:cNvPr>
                <p:cNvSpPr txBox="1"/>
                <p:nvPr/>
              </p:nvSpPr>
              <p:spPr>
                <a:xfrm>
                  <a:off x="3112426" y="3912572"/>
                  <a:ext cx="266665" cy="240743"/>
                </a:xfrm>
                <a:prstGeom prst="rect">
                  <a:avLst/>
                </a:prstGeom>
                <a:noFill/>
              </p:spPr>
              <p:txBody>
                <a:bodyPr wrap="none" lIns="0" tIns="0" rIns="0" bIns="0" rtlCol="0" anchor="ctr">
                  <a:noAutofit/>
                </a:bodyPr>
                <a:lstStyle/>
                <a:p>
                  <a:pPr marL="0" marR="0" lvl="0" indent="0" algn="r" defTabSz="91437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5</a:t>
                  </a:r>
                </a:p>
              </p:txBody>
            </p:sp>
            <p:sp>
              <p:nvSpPr>
                <p:cNvPr id="25" name="Freeform: Shape 47">
                  <a:extLst>
                    <a:ext uri="{FF2B5EF4-FFF2-40B4-BE49-F238E27FC236}">
                      <a16:creationId xmlns:a16="http://schemas.microsoft.com/office/drawing/2014/main" id="{5B42DC98-C359-F2F4-D3A6-5E8C1F55B6BA}"/>
                    </a:ext>
                  </a:extLst>
                </p:cNvPr>
                <p:cNvSpPr/>
                <p:nvPr/>
              </p:nvSpPr>
              <p:spPr>
                <a:xfrm>
                  <a:off x="3436786" y="4037276"/>
                  <a:ext cx="64800" cy="10566"/>
                </a:xfrm>
                <a:custGeom>
                  <a:avLst/>
                  <a:gdLst>
                    <a:gd name="connsiteX0" fmla="*/ 70394 w 70393"/>
                    <a:gd name="connsiteY0" fmla="*/ 0 h 12157"/>
                    <a:gd name="connsiteX1" fmla="*/ 0 w 70393"/>
                    <a:gd name="connsiteY1" fmla="*/ 0 h 12157"/>
                  </a:gdLst>
                  <a:ahLst/>
                  <a:cxnLst>
                    <a:cxn ang="0">
                      <a:pos x="connsiteX0" y="connsiteY0"/>
                    </a:cxn>
                    <a:cxn ang="0">
                      <a:pos x="connsiteX1" y="connsiteY1"/>
                    </a:cxn>
                  </a:cxnLst>
                  <a:rect l="l" t="t" r="r" b="b"/>
                  <a:pathLst>
                    <a:path w="70393" h="12157">
                      <a:moveTo>
                        <a:pt x="70394" y="0"/>
                      </a:moveTo>
                      <a:lnTo>
                        <a:pt x="0" y="0"/>
                      </a:lnTo>
                    </a:path>
                  </a:pathLst>
                </a:custGeom>
                <a:ln w="19050" cap="sq">
                  <a:solidFill>
                    <a:schemeClr val="tx1"/>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26" name="Group 25">
                <a:extLst>
                  <a:ext uri="{FF2B5EF4-FFF2-40B4-BE49-F238E27FC236}">
                    <a16:creationId xmlns:a16="http://schemas.microsoft.com/office/drawing/2014/main" id="{3CF6E85C-00F2-A64E-37DF-121D96924E8B}"/>
                  </a:ext>
                </a:extLst>
              </p:cNvPr>
              <p:cNvGrpSpPr/>
              <p:nvPr/>
            </p:nvGrpSpPr>
            <p:grpSpPr>
              <a:xfrm>
                <a:off x="2983751" y="3495864"/>
                <a:ext cx="483775" cy="275732"/>
                <a:chOff x="3112426" y="3358407"/>
                <a:chExt cx="389160" cy="240743"/>
              </a:xfrm>
            </p:grpSpPr>
            <p:sp>
              <p:nvSpPr>
                <p:cNvPr id="27" name="TextBox 26">
                  <a:extLst>
                    <a:ext uri="{FF2B5EF4-FFF2-40B4-BE49-F238E27FC236}">
                      <a16:creationId xmlns:a16="http://schemas.microsoft.com/office/drawing/2014/main" id="{AFAE0433-6C69-8C36-20A3-F4032551CD02}"/>
                    </a:ext>
                  </a:extLst>
                </p:cNvPr>
                <p:cNvSpPr txBox="1"/>
                <p:nvPr/>
              </p:nvSpPr>
              <p:spPr>
                <a:xfrm>
                  <a:off x="3112426" y="3358407"/>
                  <a:ext cx="266665" cy="240743"/>
                </a:xfrm>
                <a:prstGeom prst="rect">
                  <a:avLst/>
                </a:prstGeom>
                <a:noFill/>
              </p:spPr>
              <p:txBody>
                <a:bodyPr wrap="none" lIns="0" tIns="0" rIns="0" bIns="0" rtlCol="0" anchor="ctr">
                  <a:noAutofit/>
                </a:bodyPr>
                <a:lstStyle/>
                <a:p>
                  <a:pPr marL="0" marR="0" lvl="0" indent="0" algn="r" defTabSz="91437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10</a:t>
                  </a:r>
                </a:p>
              </p:txBody>
            </p:sp>
            <p:sp>
              <p:nvSpPr>
                <p:cNvPr id="28" name="Freeform: Shape 49">
                  <a:extLst>
                    <a:ext uri="{FF2B5EF4-FFF2-40B4-BE49-F238E27FC236}">
                      <a16:creationId xmlns:a16="http://schemas.microsoft.com/office/drawing/2014/main" id="{97CEB65D-2087-EF1E-F7EE-EFE8B0A72EB9}"/>
                    </a:ext>
                  </a:extLst>
                </p:cNvPr>
                <p:cNvSpPr/>
                <p:nvPr/>
              </p:nvSpPr>
              <p:spPr>
                <a:xfrm>
                  <a:off x="3436786" y="3482600"/>
                  <a:ext cx="64800" cy="10566"/>
                </a:xfrm>
                <a:custGeom>
                  <a:avLst/>
                  <a:gdLst>
                    <a:gd name="connsiteX0" fmla="*/ 70394 w 70393"/>
                    <a:gd name="connsiteY0" fmla="*/ 0 h 12157"/>
                    <a:gd name="connsiteX1" fmla="*/ 0 w 70393"/>
                    <a:gd name="connsiteY1" fmla="*/ 0 h 12157"/>
                  </a:gdLst>
                  <a:ahLst/>
                  <a:cxnLst>
                    <a:cxn ang="0">
                      <a:pos x="connsiteX0" y="connsiteY0"/>
                    </a:cxn>
                    <a:cxn ang="0">
                      <a:pos x="connsiteX1" y="connsiteY1"/>
                    </a:cxn>
                  </a:cxnLst>
                  <a:rect l="l" t="t" r="r" b="b"/>
                  <a:pathLst>
                    <a:path w="70393" h="12157">
                      <a:moveTo>
                        <a:pt x="70394" y="0"/>
                      </a:moveTo>
                      <a:lnTo>
                        <a:pt x="0" y="0"/>
                      </a:lnTo>
                    </a:path>
                  </a:pathLst>
                </a:custGeom>
                <a:ln w="19050" cap="sq">
                  <a:solidFill>
                    <a:schemeClr val="tx1"/>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29" name="Group 28">
                <a:extLst>
                  <a:ext uri="{FF2B5EF4-FFF2-40B4-BE49-F238E27FC236}">
                    <a16:creationId xmlns:a16="http://schemas.microsoft.com/office/drawing/2014/main" id="{92DEF7E5-7BEC-1063-916A-465EB0045B12}"/>
                  </a:ext>
                </a:extLst>
              </p:cNvPr>
              <p:cNvGrpSpPr/>
              <p:nvPr/>
            </p:nvGrpSpPr>
            <p:grpSpPr>
              <a:xfrm>
                <a:off x="2983751" y="2798017"/>
                <a:ext cx="483775" cy="275732"/>
                <a:chOff x="3112426" y="2804241"/>
                <a:chExt cx="389160" cy="240743"/>
              </a:xfrm>
            </p:grpSpPr>
            <p:sp>
              <p:nvSpPr>
                <p:cNvPr id="30" name="TextBox 29">
                  <a:extLst>
                    <a:ext uri="{FF2B5EF4-FFF2-40B4-BE49-F238E27FC236}">
                      <a16:creationId xmlns:a16="http://schemas.microsoft.com/office/drawing/2014/main" id="{580CC1FF-4B62-9D91-4A78-C4371DA6EF04}"/>
                    </a:ext>
                  </a:extLst>
                </p:cNvPr>
                <p:cNvSpPr txBox="1"/>
                <p:nvPr/>
              </p:nvSpPr>
              <p:spPr>
                <a:xfrm>
                  <a:off x="3112426" y="2804241"/>
                  <a:ext cx="266665" cy="240743"/>
                </a:xfrm>
                <a:prstGeom prst="rect">
                  <a:avLst/>
                </a:prstGeom>
                <a:noFill/>
              </p:spPr>
              <p:txBody>
                <a:bodyPr wrap="none" lIns="0" tIns="0" rIns="0" bIns="0" rtlCol="0" anchor="ctr">
                  <a:noAutofit/>
                </a:bodyPr>
                <a:lstStyle/>
                <a:p>
                  <a:pPr marL="0" marR="0" lvl="0" indent="0" algn="r" defTabSz="91437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15</a:t>
                  </a:r>
                </a:p>
              </p:txBody>
            </p:sp>
            <p:sp>
              <p:nvSpPr>
                <p:cNvPr id="31" name="Freeform: Shape 51">
                  <a:extLst>
                    <a:ext uri="{FF2B5EF4-FFF2-40B4-BE49-F238E27FC236}">
                      <a16:creationId xmlns:a16="http://schemas.microsoft.com/office/drawing/2014/main" id="{F8618FB8-187D-05D4-6228-320EAF4FE568}"/>
                    </a:ext>
                  </a:extLst>
                </p:cNvPr>
                <p:cNvSpPr/>
                <p:nvPr/>
              </p:nvSpPr>
              <p:spPr>
                <a:xfrm>
                  <a:off x="3436786" y="2927925"/>
                  <a:ext cx="64800" cy="10566"/>
                </a:xfrm>
                <a:custGeom>
                  <a:avLst/>
                  <a:gdLst>
                    <a:gd name="connsiteX0" fmla="*/ 70394 w 70393"/>
                    <a:gd name="connsiteY0" fmla="*/ 0 h 12157"/>
                    <a:gd name="connsiteX1" fmla="*/ 0 w 70393"/>
                    <a:gd name="connsiteY1" fmla="*/ 0 h 12157"/>
                  </a:gdLst>
                  <a:ahLst/>
                  <a:cxnLst>
                    <a:cxn ang="0">
                      <a:pos x="connsiteX0" y="connsiteY0"/>
                    </a:cxn>
                    <a:cxn ang="0">
                      <a:pos x="connsiteX1" y="connsiteY1"/>
                    </a:cxn>
                  </a:cxnLst>
                  <a:rect l="l" t="t" r="r" b="b"/>
                  <a:pathLst>
                    <a:path w="70393" h="12157">
                      <a:moveTo>
                        <a:pt x="70394" y="0"/>
                      </a:moveTo>
                      <a:lnTo>
                        <a:pt x="0" y="0"/>
                      </a:lnTo>
                    </a:path>
                  </a:pathLst>
                </a:custGeom>
                <a:ln w="19050" cap="sq">
                  <a:solidFill>
                    <a:schemeClr val="tx1"/>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32" name="Group 31">
                <a:extLst>
                  <a:ext uri="{FF2B5EF4-FFF2-40B4-BE49-F238E27FC236}">
                    <a16:creationId xmlns:a16="http://schemas.microsoft.com/office/drawing/2014/main" id="{FAC6F064-D497-4D6B-17F0-5C23B4E7602D}"/>
                  </a:ext>
                </a:extLst>
              </p:cNvPr>
              <p:cNvGrpSpPr/>
              <p:nvPr/>
            </p:nvGrpSpPr>
            <p:grpSpPr>
              <a:xfrm>
                <a:off x="2906729" y="2004634"/>
                <a:ext cx="560797" cy="275732"/>
                <a:chOff x="3050468" y="1695911"/>
                <a:chExt cx="451118" cy="240743"/>
              </a:xfrm>
            </p:grpSpPr>
            <p:sp>
              <p:nvSpPr>
                <p:cNvPr id="33" name="TextBox 32">
                  <a:extLst>
                    <a:ext uri="{FF2B5EF4-FFF2-40B4-BE49-F238E27FC236}">
                      <a16:creationId xmlns:a16="http://schemas.microsoft.com/office/drawing/2014/main" id="{20836697-8D44-94AF-EB8F-019EFAE8F1F0}"/>
                    </a:ext>
                  </a:extLst>
                </p:cNvPr>
                <p:cNvSpPr txBox="1"/>
                <p:nvPr/>
              </p:nvSpPr>
              <p:spPr>
                <a:xfrm>
                  <a:off x="3050468" y="1695911"/>
                  <a:ext cx="328621" cy="240743"/>
                </a:xfrm>
                <a:prstGeom prst="rect">
                  <a:avLst/>
                </a:prstGeom>
                <a:noFill/>
              </p:spPr>
              <p:txBody>
                <a:bodyPr wrap="none" lIns="0" tIns="0" rIns="0" bIns="0" rtlCol="0" anchor="ctr">
                  <a:noAutofit/>
                </a:bodyPr>
                <a:lstStyle/>
                <a:p>
                  <a:pPr marL="0" marR="0" lvl="0" indent="0" algn="r" defTabSz="91437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20</a:t>
                  </a:r>
                </a:p>
              </p:txBody>
            </p:sp>
            <p:sp>
              <p:nvSpPr>
                <p:cNvPr id="34" name="Freeform: Shape 55">
                  <a:extLst>
                    <a:ext uri="{FF2B5EF4-FFF2-40B4-BE49-F238E27FC236}">
                      <a16:creationId xmlns:a16="http://schemas.microsoft.com/office/drawing/2014/main" id="{1BB28623-B2E5-265D-9AAC-54AD160D58F3}"/>
                    </a:ext>
                  </a:extLst>
                </p:cNvPr>
                <p:cNvSpPr/>
                <p:nvPr/>
              </p:nvSpPr>
              <p:spPr>
                <a:xfrm>
                  <a:off x="3436786" y="1818573"/>
                  <a:ext cx="64800" cy="10566"/>
                </a:xfrm>
                <a:custGeom>
                  <a:avLst/>
                  <a:gdLst>
                    <a:gd name="connsiteX0" fmla="*/ 70394 w 70393"/>
                    <a:gd name="connsiteY0" fmla="*/ 0 h 12157"/>
                    <a:gd name="connsiteX1" fmla="*/ 0 w 70393"/>
                    <a:gd name="connsiteY1" fmla="*/ 0 h 12157"/>
                  </a:gdLst>
                  <a:ahLst/>
                  <a:cxnLst>
                    <a:cxn ang="0">
                      <a:pos x="connsiteX0" y="connsiteY0"/>
                    </a:cxn>
                    <a:cxn ang="0">
                      <a:pos x="connsiteX1" y="connsiteY1"/>
                    </a:cxn>
                  </a:cxnLst>
                  <a:rect l="l" t="t" r="r" b="b"/>
                  <a:pathLst>
                    <a:path w="70393" h="12157">
                      <a:moveTo>
                        <a:pt x="70394" y="0"/>
                      </a:moveTo>
                      <a:lnTo>
                        <a:pt x="0" y="0"/>
                      </a:lnTo>
                    </a:path>
                  </a:pathLst>
                </a:custGeom>
                <a:ln w="19050" cap="sq">
                  <a:solidFill>
                    <a:schemeClr val="tx1"/>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36" name="Freeform: Shape 44">
                <a:extLst>
                  <a:ext uri="{FF2B5EF4-FFF2-40B4-BE49-F238E27FC236}">
                    <a16:creationId xmlns:a16="http://schemas.microsoft.com/office/drawing/2014/main" id="{4D31B122-E6FC-A5A7-5CC5-B3534A5ECD79}"/>
                  </a:ext>
                </a:extLst>
              </p:cNvPr>
              <p:cNvSpPr/>
              <p:nvPr/>
            </p:nvSpPr>
            <p:spPr>
              <a:xfrm>
                <a:off x="3483252" y="5333683"/>
                <a:ext cx="3357908" cy="0"/>
              </a:xfrm>
              <a:custGeom>
                <a:avLst/>
                <a:gdLst>
                  <a:gd name="connsiteX0" fmla="*/ 7181115 w 7181114"/>
                  <a:gd name="connsiteY0" fmla="*/ 0 h 12157"/>
                  <a:gd name="connsiteX1" fmla="*/ 0 w 7181114"/>
                  <a:gd name="connsiteY1" fmla="*/ 0 h 12157"/>
                </a:gdLst>
                <a:ahLst/>
                <a:cxnLst>
                  <a:cxn ang="0">
                    <a:pos x="connsiteX0" y="connsiteY0"/>
                  </a:cxn>
                  <a:cxn ang="0">
                    <a:pos x="connsiteX1" y="connsiteY1"/>
                  </a:cxn>
                </a:cxnLst>
                <a:rect l="l" t="t" r="r" b="b"/>
                <a:pathLst>
                  <a:path w="7181114" h="12157">
                    <a:moveTo>
                      <a:pt x="7181115" y="0"/>
                    </a:moveTo>
                    <a:lnTo>
                      <a:pt x="0" y="0"/>
                    </a:lnTo>
                  </a:path>
                </a:pathLst>
              </a:custGeom>
              <a:ln w="19050" cap="sq">
                <a:solidFill>
                  <a:schemeClr val="tx1"/>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7" name="TextBox 36">
                <a:extLst>
                  <a:ext uri="{FF2B5EF4-FFF2-40B4-BE49-F238E27FC236}">
                    <a16:creationId xmlns:a16="http://schemas.microsoft.com/office/drawing/2014/main" id="{5142613B-8052-D922-F6F3-353B5B6907C0}"/>
                  </a:ext>
                </a:extLst>
              </p:cNvPr>
              <p:cNvSpPr txBox="1"/>
              <p:nvPr/>
            </p:nvSpPr>
            <p:spPr>
              <a:xfrm>
                <a:off x="4078755" y="2162624"/>
                <a:ext cx="331498" cy="275732"/>
              </a:xfrm>
              <a:prstGeom prst="rect">
                <a:avLst/>
              </a:prstGeom>
              <a:noFill/>
            </p:spPr>
            <p:txBody>
              <a:bodyPr wrap="none" lIns="0" tIns="0" rIns="0" bIns="0" rtlCol="0" anchor="ctr">
                <a:noAutofit/>
              </a:bodyPr>
              <a:lstStyle/>
              <a:p>
                <a:pPr marL="0" marR="0" lvl="0" indent="0" algn="r" defTabSz="91437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p = 0.004</a:t>
                </a:r>
              </a:p>
            </p:txBody>
          </p:sp>
          <p:grpSp>
            <p:nvGrpSpPr>
              <p:cNvPr id="38" name="Group 37">
                <a:extLst>
                  <a:ext uri="{FF2B5EF4-FFF2-40B4-BE49-F238E27FC236}">
                    <a16:creationId xmlns:a16="http://schemas.microsoft.com/office/drawing/2014/main" id="{DC25551B-EAB3-4810-7F83-E9DCEA00502D}"/>
                  </a:ext>
                </a:extLst>
              </p:cNvPr>
              <p:cNvGrpSpPr/>
              <p:nvPr/>
            </p:nvGrpSpPr>
            <p:grpSpPr>
              <a:xfrm>
                <a:off x="3776673" y="2703093"/>
                <a:ext cx="2797101" cy="2513315"/>
                <a:chOff x="3776673" y="2703093"/>
                <a:chExt cx="2797101" cy="2513315"/>
              </a:xfrm>
            </p:grpSpPr>
            <p:sp>
              <p:nvSpPr>
                <p:cNvPr id="39" name="Rectangle 38">
                  <a:extLst>
                    <a:ext uri="{FF2B5EF4-FFF2-40B4-BE49-F238E27FC236}">
                      <a16:creationId xmlns:a16="http://schemas.microsoft.com/office/drawing/2014/main" id="{BC6DE40D-C61E-76C5-044F-4DF1B0D976E0}"/>
                    </a:ext>
                  </a:extLst>
                </p:cNvPr>
                <p:cNvSpPr/>
                <p:nvPr/>
              </p:nvSpPr>
              <p:spPr>
                <a:xfrm rot="2700000">
                  <a:off x="4041577" y="4481005"/>
                  <a:ext cx="144000" cy="144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125"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0" name="Rectangle 39">
                  <a:extLst>
                    <a:ext uri="{FF2B5EF4-FFF2-40B4-BE49-F238E27FC236}">
                      <a16:creationId xmlns:a16="http://schemas.microsoft.com/office/drawing/2014/main" id="{E14A14AE-64EE-2C2C-F94A-FCA069B6B527}"/>
                    </a:ext>
                  </a:extLst>
                </p:cNvPr>
                <p:cNvSpPr/>
                <p:nvPr/>
              </p:nvSpPr>
              <p:spPr>
                <a:xfrm rot="2700000">
                  <a:off x="5096537" y="4539604"/>
                  <a:ext cx="144000" cy="144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125"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1" name="Rectangle 40">
                  <a:extLst>
                    <a:ext uri="{FF2B5EF4-FFF2-40B4-BE49-F238E27FC236}">
                      <a16:creationId xmlns:a16="http://schemas.microsoft.com/office/drawing/2014/main" id="{3E1F49FA-BEE4-5608-E8DB-7440B91A8EF3}"/>
                    </a:ext>
                  </a:extLst>
                </p:cNvPr>
                <p:cNvSpPr/>
                <p:nvPr/>
              </p:nvSpPr>
              <p:spPr>
                <a:xfrm rot="2700000">
                  <a:off x="6164156" y="3990437"/>
                  <a:ext cx="144000" cy="144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125"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42" name="Group 41">
                  <a:extLst>
                    <a:ext uri="{FF2B5EF4-FFF2-40B4-BE49-F238E27FC236}">
                      <a16:creationId xmlns:a16="http://schemas.microsoft.com/office/drawing/2014/main" id="{F28D1024-7A72-A74C-D79F-AB4A7246790F}"/>
                    </a:ext>
                  </a:extLst>
                </p:cNvPr>
                <p:cNvGrpSpPr/>
                <p:nvPr/>
              </p:nvGrpSpPr>
              <p:grpSpPr>
                <a:xfrm>
                  <a:off x="4077577" y="4331238"/>
                  <a:ext cx="72000" cy="382190"/>
                  <a:chOff x="2885297" y="3736374"/>
                  <a:chExt cx="65747" cy="298953"/>
                </a:xfrm>
              </p:grpSpPr>
              <p:cxnSp>
                <p:nvCxnSpPr>
                  <p:cNvPr id="107" name="Straight Connector 106">
                    <a:extLst>
                      <a:ext uri="{FF2B5EF4-FFF2-40B4-BE49-F238E27FC236}">
                        <a16:creationId xmlns:a16="http://schemas.microsoft.com/office/drawing/2014/main" id="{8AE70E24-0CBD-905B-D32F-04C1C698D14D}"/>
                      </a:ext>
                    </a:extLst>
                  </p:cNvPr>
                  <p:cNvCxnSpPr>
                    <a:cxnSpLocks/>
                  </p:cNvCxnSpPr>
                  <p:nvPr/>
                </p:nvCxnSpPr>
                <p:spPr>
                  <a:xfrm>
                    <a:off x="2918170" y="3738602"/>
                    <a:ext cx="0" cy="296725"/>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CAA14B16-ED05-4AF1-7FA3-63E17E6100EE}"/>
                      </a:ext>
                    </a:extLst>
                  </p:cNvPr>
                  <p:cNvCxnSpPr>
                    <a:cxnSpLocks/>
                  </p:cNvCxnSpPr>
                  <p:nvPr/>
                </p:nvCxnSpPr>
                <p:spPr>
                  <a:xfrm flipH="1">
                    <a:off x="2885297" y="3736374"/>
                    <a:ext cx="65747"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C86805E3-FA78-1208-5DA7-1D9693754F07}"/>
                      </a:ext>
                    </a:extLst>
                  </p:cNvPr>
                  <p:cNvCxnSpPr>
                    <a:cxnSpLocks/>
                  </p:cNvCxnSpPr>
                  <p:nvPr/>
                </p:nvCxnSpPr>
                <p:spPr>
                  <a:xfrm flipH="1">
                    <a:off x="2885297" y="4033138"/>
                    <a:ext cx="65747" cy="0"/>
                  </a:xfrm>
                  <a:prstGeom prst="line">
                    <a:avLst/>
                  </a:prstGeom>
                  <a:ln w="12700"/>
                </p:spPr>
                <p:style>
                  <a:lnRef idx="1">
                    <a:schemeClr val="accent1"/>
                  </a:lnRef>
                  <a:fillRef idx="0">
                    <a:schemeClr val="accent1"/>
                  </a:fillRef>
                  <a:effectRef idx="0">
                    <a:schemeClr val="accent1"/>
                  </a:effectRef>
                  <a:fontRef idx="minor">
                    <a:schemeClr val="tx1"/>
                  </a:fontRef>
                </p:style>
              </p:cxnSp>
            </p:grpSp>
            <p:grpSp>
              <p:nvGrpSpPr>
                <p:cNvPr id="43" name="Group 42">
                  <a:extLst>
                    <a:ext uri="{FF2B5EF4-FFF2-40B4-BE49-F238E27FC236}">
                      <a16:creationId xmlns:a16="http://schemas.microsoft.com/office/drawing/2014/main" id="{0F812037-5DAB-548D-7F11-B5994AD4FA09}"/>
                    </a:ext>
                  </a:extLst>
                </p:cNvPr>
                <p:cNvGrpSpPr/>
                <p:nvPr/>
              </p:nvGrpSpPr>
              <p:grpSpPr>
                <a:xfrm>
                  <a:off x="5132784" y="4258647"/>
                  <a:ext cx="72000" cy="568143"/>
                  <a:chOff x="2885297" y="3736374"/>
                  <a:chExt cx="65747" cy="298953"/>
                </a:xfrm>
              </p:grpSpPr>
              <p:cxnSp>
                <p:nvCxnSpPr>
                  <p:cNvPr id="97" name="Straight Connector 96">
                    <a:extLst>
                      <a:ext uri="{FF2B5EF4-FFF2-40B4-BE49-F238E27FC236}">
                        <a16:creationId xmlns:a16="http://schemas.microsoft.com/office/drawing/2014/main" id="{5A22E079-F7E6-E2C3-7353-FD7DE773EC46}"/>
                      </a:ext>
                    </a:extLst>
                  </p:cNvPr>
                  <p:cNvCxnSpPr>
                    <a:cxnSpLocks/>
                  </p:cNvCxnSpPr>
                  <p:nvPr/>
                </p:nvCxnSpPr>
                <p:spPr>
                  <a:xfrm>
                    <a:off x="2918170" y="3738602"/>
                    <a:ext cx="0" cy="296725"/>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F16FC504-6C65-08CD-75B8-C7F8E768E1D6}"/>
                      </a:ext>
                    </a:extLst>
                  </p:cNvPr>
                  <p:cNvCxnSpPr>
                    <a:cxnSpLocks/>
                  </p:cNvCxnSpPr>
                  <p:nvPr/>
                </p:nvCxnSpPr>
                <p:spPr>
                  <a:xfrm flipH="1">
                    <a:off x="2885297" y="3736374"/>
                    <a:ext cx="65747"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31B8AE6B-DAEF-7B30-D97D-13682D7E8E89}"/>
                      </a:ext>
                    </a:extLst>
                  </p:cNvPr>
                  <p:cNvCxnSpPr>
                    <a:cxnSpLocks/>
                  </p:cNvCxnSpPr>
                  <p:nvPr/>
                </p:nvCxnSpPr>
                <p:spPr>
                  <a:xfrm flipH="1">
                    <a:off x="2885297" y="4033138"/>
                    <a:ext cx="65747" cy="0"/>
                  </a:xfrm>
                  <a:prstGeom prst="line">
                    <a:avLst/>
                  </a:prstGeom>
                  <a:ln w="12700"/>
                </p:spPr>
                <p:style>
                  <a:lnRef idx="1">
                    <a:schemeClr val="accent1"/>
                  </a:lnRef>
                  <a:fillRef idx="0">
                    <a:schemeClr val="accent1"/>
                  </a:fillRef>
                  <a:effectRef idx="0">
                    <a:schemeClr val="accent1"/>
                  </a:effectRef>
                  <a:fontRef idx="minor">
                    <a:schemeClr val="tx1"/>
                  </a:fontRef>
                </p:style>
              </p:cxnSp>
            </p:grpSp>
            <p:grpSp>
              <p:nvGrpSpPr>
                <p:cNvPr id="44" name="Group 43">
                  <a:extLst>
                    <a:ext uri="{FF2B5EF4-FFF2-40B4-BE49-F238E27FC236}">
                      <a16:creationId xmlns:a16="http://schemas.microsoft.com/office/drawing/2014/main" id="{199E8347-60D6-92F3-663A-4824DAC96AF5}"/>
                    </a:ext>
                  </a:extLst>
                </p:cNvPr>
                <p:cNvGrpSpPr/>
                <p:nvPr/>
              </p:nvGrpSpPr>
              <p:grpSpPr>
                <a:xfrm>
                  <a:off x="6200156" y="3763095"/>
                  <a:ext cx="72000" cy="568143"/>
                  <a:chOff x="2885297" y="3736374"/>
                  <a:chExt cx="65747" cy="298953"/>
                </a:xfrm>
              </p:grpSpPr>
              <p:cxnSp>
                <p:nvCxnSpPr>
                  <p:cNvPr id="94" name="Straight Connector 93">
                    <a:extLst>
                      <a:ext uri="{FF2B5EF4-FFF2-40B4-BE49-F238E27FC236}">
                        <a16:creationId xmlns:a16="http://schemas.microsoft.com/office/drawing/2014/main" id="{10A0EF26-C962-ECFB-CF1D-F3CC0BD15082}"/>
                      </a:ext>
                    </a:extLst>
                  </p:cNvPr>
                  <p:cNvCxnSpPr>
                    <a:cxnSpLocks/>
                  </p:cNvCxnSpPr>
                  <p:nvPr/>
                </p:nvCxnSpPr>
                <p:spPr>
                  <a:xfrm>
                    <a:off x="2918170" y="3738602"/>
                    <a:ext cx="0" cy="296725"/>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6F398E9D-1E19-D093-5040-EB4CDE1C45CE}"/>
                      </a:ext>
                    </a:extLst>
                  </p:cNvPr>
                  <p:cNvCxnSpPr>
                    <a:cxnSpLocks/>
                  </p:cNvCxnSpPr>
                  <p:nvPr/>
                </p:nvCxnSpPr>
                <p:spPr>
                  <a:xfrm flipH="1">
                    <a:off x="2885297" y="3736374"/>
                    <a:ext cx="65747"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52F8A59F-F578-DE96-9147-06EC7DFB21DA}"/>
                      </a:ext>
                    </a:extLst>
                  </p:cNvPr>
                  <p:cNvCxnSpPr>
                    <a:cxnSpLocks/>
                  </p:cNvCxnSpPr>
                  <p:nvPr/>
                </p:nvCxnSpPr>
                <p:spPr>
                  <a:xfrm flipH="1">
                    <a:off x="2885297" y="4033138"/>
                    <a:ext cx="65747" cy="0"/>
                  </a:xfrm>
                  <a:prstGeom prst="line">
                    <a:avLst/>
                  </a:prstGeom>
                  <a:ln w="12700"/>
                </p:spPr>
                <p:style>
                  <a:lnRef idx="1">
                    <a:schemeClr val="accent1"/>
                  </a:lnRef>
                  <a:fillRef idx="0">
                    <a:schemeClr val="accent1"/>
                  </a:fillRef>
                  <a:effectRef idx="0">
                    <a:schemeClr val="accent1"/>
                  </a:effectRef>
                  <a:fontRef idx="minor">
                    <a:schemeClr val="tx1"/>
                  </a:fontRef>
                </p:style>
              </p:cxnSp>
            </p:grpSp>
            <p:sp>
              <p:nvSpPr>
                <p:cNvPr id="45" name="Oval 44">
                  <a:extLst>
                    <a:ext uri="{FF2B5EF4-FFF2-40B4-BE49-F238E27FC236}">
                      <a16:creationId xmlns:a16="http://schemas.microsoft.com/office/drawing/2014/main" id="{AFCCCD4F-A1C8-289D-77D8-50D6F35951C5}"/>
                    </a:ext>
                  </a:extLst>
                </p:cNvPr>
                <p:cNvSpPr/>
                <p:nvPr/>
              </p:nvSpPr>
              <p:spPr>
                <a:xfrm>
                  <a:off x="4224205" y="3979072"/>
                  <a:ext cx="140422" cy="140422"/>
                </a:xfrm>
                <a:prstGeom prst="ellipse">
                  <a:avLst/>
                </a:prstGeom>
                <a:solidFill>
                  <a:schemeClr val="accent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125"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6" name="Oval 45">
                  <a:extLst>
                    <a:ext uri="{FF2B5EF4-FFF2-40B4-BE49-F238E27FC236}">
                      <a16:creationId xmlns:a16="http://schemas.microsoft.com/office/drawing/2014/main" id="{DA9AC5CA-A058-6A36-BD27-51F95BFAF2AD}"/>
                    </a:ext>
                  </a:extLst>
                </p:cNvPr>
                <p:cNvSpPr/>
                <p:nvPr/>
              </p:nvSpPr>
              <p:spPr>
                <a:xfrm>
                  <a:off x="4315222" y="4248777"/>
                  <a:ext cx="140422" cy="140422"/>
                </a:xfrm>
                <a:prstGeom prst="ellipse">
                  <a:avLst/>
                </a:prstGeom>
                <a:solidFill>
                  <a:schemeClr val="accent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125"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7" name="Oval 46">
                  <a:extLst>
                    <a:ext uri="{FF2B5EF4-FFF2-40B4-BE49-F238E27FC236}">
                      <a16:creationId xmlns:a16="http://schemas.microsoft.com/office/drawing/2014/main" id="{B615719C-5182-FF64-332E-A683F3D9370E}"/>
                    </a:ext>
                  </a:extLst>
                </p:cNvPr>
                <p:cNvSpPr/>
                <p:nvPr/>
              </p:nvSpPr>
              <p:spPr>
                <a:xfrm>
                  <a:off x="4294416" y="4456574"/>
                  <a:ext cx="140422" cy="140422"/>
                </a:xfrm>
                <a:prstGeom prst="ellipse">
                  <a:avLst/>
                </a:prstGeom>
                <a:solidFill>
                  <a:schemeClr val="accent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125"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8" name="Oval 47">
                  <a:extLst>
                    <a:ext uri="{FF2B5EF4-FFF2-40B4-BE49-F238E27FC236}">
                      <a16:creationId xmlns:a16="http://schemas.microsoft.com/office/drawing/2014/main" id="{96AD4322-703E-AD66-FD66-17DBBDC6CEBD}"/>
                    </a:ext>
                  </a:extLst>
                </p:cNvPr>
                <p:cNvSpPr/>
                <p:nvPr/>
              </p:nvSpPr>
              <p:spPr>
                <a:xfrm>
                  <a:off x="4346247" y="4667068"/>
                  <a:ext cx="140422" cy="140422"/>
                </a:xfrm>
                <a:prstGeom prst="ellipse">
                  <a:avLst/>
                </a:prstGeom>
                <a:solidFill>
                  <a:schemeClr val="accent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125"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9" name="Oval 48">
                  <a:extLst>
                    <a:ext uri="{FF2B5EF4-FFF2-40B4-BE49-F238E27FC236}">
                      <a16:creationId xmlns:a16="http://schemas.microsoft.com/office/drawing/2014/main" id="{AF438E35-A15C-B7C1-842B-C59D041745EE}"/>
                    </a:ext>
                  </a:extLst>
                </p:cNvPr>
                <p:cNvSpPr/>
                <p:nvPr/>
              </p:nvSpPr>
              <p:spPr>
                <a:xfrm>
                  <a:off x="4219866" y="4691984"/>
                  <a:ext cx="140422" cy="140422"/>
                </a:xfrm>
                <a:prstGeom prst="ellipse">
                  <a:avLst/>
                </a:prstGeom>
                <a:solidFill>
                  <a:schemeClr val="accent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125"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0" name="Oval 49">
                  <a:extLst>
                    <a:ext uri="{FF2B5EF4-FFF2-40B4-BE49-F238E27FC236}">
                      <a16:creationId xmlns:a16="http://schemas.microsoft.com/office/drawing/2014/main" id="{E4BA82D9-5120-2285-821B-F99110DE04F0}"/>
                    </a:ext>
                  </a:extLst>
                </p:cNvPr>
                <p:cNvSpPr/>
                <p:nvPr/>
              </p:nvSpPr>
              <p:spPr>
                <a:xfrm>
                  <a:off x="4108828" y="4627169"/>
                  <a:ext cx="140422" cy="140422"/>
                </a:xfrm>
                <a:prstGeom prst="ellipse">
                  <a:avLst/>
                </a:prstGeom>
                <a:solidFill>
                  <a:schemeClr val="accent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125"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1" name="Oval 50">
                  <a:extLst>
                    <a:ext uri="{FF2B5EF4-FFF2-40B4-BE49-F238E27FC236}">
                      <a16:creationId xmlns:a16="http://schemas.microsoft.com/office/drawing/2014/main" id="{63FD1DC0-7CDB-C86C-EFAC-73BC10DD2B1D}"/>
                    </a:ext>
                  </a:extLst>
                </p:cNvPr>
                <p:cNvSpPr/>
                <p:nvPr/>
              </p:nvSpPr>
              <p:spPr>
                <a:xfrm>
                  <a:off x="3776673" y="4544835"/>
                  <a:ext cx="140422" cy="140422"/>
                </a:xfrm>
                <a:prstGeom prst="ellipse">
                  <a:avLst/>
                </a:prstGeom>
                <a:solidFill>
                  <a:schemeClr val="accent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125"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2" name="Oval 51">
                  <a:extLst>
                    <a:ext uri="{FF2B5EF4-FFF2-40B4-BE49-F238E27FC236}">
                      <a16:creationId xmlns:a16="http://schemas.microsoft.com/office/drawing/2014/main" id="{27A09A5E-B80E-D93B-FEB5-829CD0394494}"/>
                    </a:ext>
                  </a:extLst>
                </p:cNvPr>
                <p:cNvSpPr/>
                <p:nvPr/>
              </p:nvSpPr>
              <p:spPr>
                <a:xfrm>
                  <a:off x="4007366" y="5075986"/>
                  <a:ext cx="140422" cy="140422"/>
                </a:xfrm>
                <a:prstGeom prst="ellipse">
                  <a:avLst/>
                </a:prstGeom>
                <a:solidFill>
                  <a:schemeClr val="accent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125"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7" name="Oval 56">
                  <a:extLst>
                    <a:ext uri="{FF2B5EF4-FFF2-40B4-BE49-F238E27FC236}">
                      <a16:creationId xmlns:a16="http://schemas.microsoft.com/office/drawing/2014/main" id="{0ED6E13C-2E2A-1295-8EF3-46849FBE6BF0}"/>
                    </a:ext>
                  </a:extLst>
                </p:cNvPr>
                <p:cNvSpPr/>
                <p:nvPr/>
              </p:nvSpPr>
              <p:spPr>
                <a:xfrm>
                  <a:off x="4966925" y="4695319"/>
                  <a:ext cx="140422" cy="140422"/>
                </a:xfrm>
                <a:prstGeom prst="ellipse">
                  <a:avLst/>
                </a:prstGeom>
                <a:solidFill>
                  <a:schemeClr val="accent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125"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2" name="Oval 61">
                  <a:extLst>
                    <a:ext uri="{FF2B5EF4-FFF2-40B4-BE49-F238E27FC236}">
                      <a16:creationId xmlns:a16="http://schemas.microsoft.com/office/drawing/2014/main" id="{219D5D76-FD26-594C-E2CD-7A0D58AB3A72}"/>
                    </a:ext>
                  </a:extLst>
                </p:cNvPr>
                <p:cNvSpPr/>
                <p:nvPr/>
              </p:nvSpPr>
              <p:spPr>
                <a:xfrm>
                  <a:off x="5069124" y="4122458"/>
                  <a:ext cx="140422" cy="140422"/>
                </a:xfrm>
                <a:prstGeom prst="ellipse">
                  <a:avLst/>
                </a:prstGeom>
                <a:solidFill>
                  <a:schemeClr val="accent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125"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3" name="Oval 62">
                  <a:extLst>
                    <a:ext uri="{FF2B5EF4-FFF2-40B4-BE49-F238E27FC236}">
                      <a16:creationId xmlns:a16="http://schemas.microsoft.com/office/drawing/2014/main" id="{D981F547-E4E7-61E9-8FD5-9100E91164C5}"/>
                    </a:ext>
                  </a:extLst>
                </p:cNvPr>
                <p:cNvSpPr/>
                <p:nvPr/>
              </p:nvSpPr>
              <p:spPr>
                <a:xfrm>
                  <a:off x="5327533" y="4294907"/>
                  <a:ext cx="140422" cy="140422"/>
                </a:xfrm>
                <a:prstGeom prst="ellipse">
                  <a:avLst/>
                </a:prstGeom>
                <a:solidFill>
                  <a:schemeClr val="accent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125"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8" name="Oval 67">
                  <a:extLst>
                    <a:ext uri="{FF2B5EF4-FFF2-40B4-BE49-F238E27FC236}">
                      <a16:creationId xmlns:a16="http://schemas.microsoft.com/office/drawing/2014/main" id="{553D31CA-6B5F-9AD2-DFFD-5B5904C8CB89}"/>
                    </a:ext>
                  </a:extLst>
                </p:cNvPr>
                <p:cNvSpPr/>
                <p:nvPr/>
              </p:nvSpPr>
              <p:spPr>
                <a:xfrm>
                  <a:off x="5919066" y="5071434"/>
                  <a:ext cx="140422" cy="140422"/>
                </a:xfrm>
                <a:prstGeom prst="ellipse">
                  <a:avLst/>
                </a:prstGeom>
                <a:solidFill>
                  <a:schemeClr val="accent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125"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73" name="Oval 72">
                  <a:extLst>
                    <a:ext uri="{FF2B5EF4-FFF2-40B4-BE49-F238E27FC236}">
                      <a16:creationId xmlns:a16="http://schemas.microsoft.com/office/drawing/2014/main" id="{69F03310-7E7B-CD9C-4010-82EC9E0DE2B5}"/>
                    </a:ext>
                  </a:extLst>
                </p:cNvPr>
                <p:cNvSpPr/>
                <p:nvPr/>
              </p:nvSpPr>
              <p:spPr>
                <a:xfrm>
                  <a:off x="6040454" y="4752419"/>
                  <a:ext cx="140422" cy="140422"/>
                </a:xfrm>
                <a:prstGeom prst="ellipse">
                  <a:avLst/>
                </a:prstGeom>
                <a:solidFill>
                  <a:schemeClr val="accent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125"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76" name="Oval 75">
                  <a:extLst>
                    <a:ext uri="{FF2B5EF4-FFF2-40B4-BE49-F238E27FC236}">
                      <a16:creationId xmlns:a16="http://schemas.microsoft.com/office/drawing/2014/main" id="{AB67876D-9817-72B6-25EC-FF6CC910A049}"/>
                    </a:ext>
                  </a:extLst>
                </p:cNvPr>
                <p:cNvSpPr/>
                <p:nvPr/>
              </p:nvSpPr>
              <p:spPr>
                <a:xfrm>
                  <a:off x="6191400" y="4429441"/>
                  <a:ext cx="140422" cy="140422"/>
                </a:xfrm>
                <a:prstGeom prst="ellipse">
                  <a:avLst/>
                </a:prstGeom>
                <a:solidFill>
                  <a:schemeClr val="accent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125"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77" name="Oval 76">
                  <a:extLst>
                    <a:ext uri="{FF2B5EF4-FFF2-40B4-BE49-F238E27FC236}">
                      <a16:creationId xmlns:a16="http://schemas.microsoft.com/office/drawing/2014/main" id="{44D0CD53-BE2D-3FCA-8C39-726D2A063F14}"/>
                    </a:ext>
                  </a:extLst>
                </p:cNvPr>
                <p:cNvSpPr/>
                <p:nvPr/>
              </p:nvSpPr>
              <p:spPr>
                <a:xfrm>
                  <a:off x="6420360" y="4369050"/>
                  <a:ext cx="140422" cy="140422"/>
                </a:xfrm>
                <a:prstGeom prst="ellipse">
                  <a:avLst/>
                </a:prstGeom>
                <a:solidFill>
                  <a:schemeClr val="accent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125"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78" name="Oval 77">
                  <a:extLst>
                    <a:ext uri="{FF2B5EF4-FFF2-40B4-BE49-F238E27FC236}">
                      <a16:creationId xmlns:a16="http://schemas.microsoft.com/office/drawing/2014/main" id="{456BBB09-2CA9-BE6E-C9E7-9C65D23197CF}"/>
                    </a:ext>
                  </a:extLst>
                </p:cNvPr>
                <p:cNvSpPr/>
                <p:nvPr/>
              </p:nvSpPr>
              <p:spPr>
                <a:xfrm>
                  <a:off x="5978950" y="4335005"/>
                  <a:ext cx="140422" cy="140422"/>
                </a:xfrm>
                <a:prstGeom prst="ellipse">
                  <a:avLst/>
                </a:prstGeom>
                <a:solidFill>
                  <a:schemeClr val="accent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125"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79" name="Oval 78">
                  <a:extLst>
                    <a:ext uri="{FF2B5EF4-FFF2-40B4-BE49-F238E27FC236}">
                      <a16:creationId xmlns:a16="http://schemas.microsoft.com/office/drawing/2014/main" id="{D7D40461-B737-141C-663C-44FBE40C59D2}"/>
                    </a:ext>
                  </a:extLst>
                </p:cNvPr>
                <p:cNvSpPr/>
                <p:nvPr/>
              </p:nvSpPr>
              <p:spPr>
                <a:xfrm>
                  <a:off x="5913266" y="4182160"/>
                  <a:ext cx="140422" cy="140422"/>
                </a:xfrm>
                <a:prstGeom prst="ellipse">
                  <a:avLst/>
                </a:prstGeom>
                <a:solidFill>
                  <a:schemeClr val="accent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125"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81" name="Oval 80">
                  <a:extLst>
                    <a:ext uri="{FF2B5EF4-FFF2-40B4-BE49-F238E27FC236}">
                      <a16:creationId xmlns:a16="http://schemas.microsoft.com/office/drawing/2014/main" id="{0C2495CA-340A-CCCB-0ED6-9C140A19A66B}"/>
                    </a:ext>
                  </a:extLst>
                </p:cNvPr>
                <p:cNvSpPr/>
                <p:nvPr/>
              </p:nvSpPr>
              <p:spPr>
                <a:xfrm>
                  <a:off x="6165944" y="4054066"/>
                  <a:ext cx="140422" cy="140422"/>
                </a:xfrm>
                <a:prstGeom prst="ellipse">
                  <a:avLst/>
                </a:prstGeom>
                <a:solidFill>
                  <a:schemeClr val="accent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125"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82" name="Oval 81">
                  <a:extLst>
                    <a:ext uri="{FF2B5EF4-FFF2-40B4-BE49-F238E27FC236}">
                      <a16:creationId xmlns:a16="http://schemas.microsoft.com/office/drawing/2014/main" id="{0B7C0E11-E9A8-F872-7474-507E25A5E719}"/>
                    </a:ext>
                  </a:extLst>
                </p:cNvPr>
                <p:cNvSpPr/>
                <p:nvPr/>
              </p:nvSpPr>
              <p:spPr>
                <a:xfrm>
                  <a:off x="6092099" y="3911211"/>
                  <a:ext cx="140422" cy="140422"/>
                </a:xfrm>
                <a:prstGeom prst="ellipse">
                  <a:avLst/>
                </a:prstGeom>
                <a:solidFill>
                  <a:schemeClr val="accent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125"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83" name="Oval 82">
                  <a:extLst>
                    <a:ext uri="{FF2B5EF4-FFF2-40B4-BE49-F238E27FC236}">
                      <a16:creationId xmlns:a16="http://schemas.microsoft.com/office/drawing/2014/main" id="{3FB01B7C-4432-24F8-0D2B-A7B32334CD13}"/>
                    </a:ext>
                  </a:extLst>
                </p:cNvPr>
                <p:cNvSpPr/>
                <p:nvPr/>
              </p:nvSpPr>
              <p:spPr>
                <a:xfrm>
                  <a:off x="6032176" y="3893612"/>
                  <a:ext cx="140422" cy="140422"/>
                </a:xfrm>
                <a:prstGeom prst="ellipse">
                  <a:avLst/>
                </a:prstGeom>
                <a:solidFill>
                  <a:schemeClr val="accent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125"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84" name="Oval 83">
                  <a:extLst>
                    <a:ext uri="{FF2B5EF4-FFF2-40B4-BE49-F238E27FC236}">
                      <a16:creationId xmlns:a16="http://schemas.microsoft.com/office/drawing/2014/main" id="{C3276751-F620-9C37-CE3A-0E7FC7FDC4E0}"/>
                    </a:ext>
                  </a:extLst>
                </p:cNvPr>
                <p:cNvSpPr/>
                <p:nvPr/>
              </p:nvSpPr>
              <p:spPr>
                <a:xfrm>
                  <a:off x="6272141" y="3960613"/>
                  <a:ext cx="140422" cy="140422"/>
                </a:xfrm>
                <a:prstGeom prst="ellipse">
                  <a:avLst/>
                </a:prstGeom>
                <a:solidFill>
                  <a:schemeClr val="accent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125"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85" name="Oval 84">
                  <a:extLst>
                    <a:ext uri="{FF2B5EF4-FFF2-40B4-BE49-F238E27FC236}">
                      <a16:creationId xmlns:a16="http://schemas.microsoft.com/office/drawing/2014/main" id="{9ED6656A-56FA-638A-648F-3F1B46189E9F}"/>
                    </a:ext>
                  </a:extLst>
                </p:cNvPr>
                <p:cNvSpPr/>
                <p:nvPr/>
              </p:nvSpPr>
              <p:spPr>
                <a:xfrm>
                  <a:off x="6292444" y="3846443"/>
                  <a:ext cx="140422" cy="140422"/>
                </a:xfrm>
                <a:prstGeom prst="ellipse">
                  <a:avLst/>
                </a:prstGeom>
                <a:solidFill>
                  <a:schemeClr val="accent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125"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86" name="Oval 85">
                  <a:extLst>
                    <a:ext uri="{FF2B5EF4-FFF2-40B4-BE49-F238E27FC236}">
                      <a16:creationId xmlns:a16="http://schemas.microsoft.com/office/drawing/2014/main" id="{11345787-B82D-8D50-6FB2-63C89D9C9C09}"/>
                    </a:ext>
                  </a:extLst>
                </p:cNvPr>
                <p:cNvSpPr/>
                <p:nvPr/>
              </p:nvSpPr>
              <p:spPr>
                <a:xfrm>
                  <a:off x="6433352" y="3471129"/>
                  <a:ext cx="140422" cy="140422"/>
                </a:xfrm>
                <a:prstGeom prst="ellipse">
                  <a:avLst/>
                </a:prstGeom>
                <a:solidFill>
                  <a:schemeClr val="accent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125"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87" name="Oval 86">
                  <a:extLst>
                    <a:ext uri="{FF2B5EF4-FFF2-40B4-BE49-F238E27FC236}">
                      <a16:creationId xmlns:a16="http://schemas.microsoft.com/office/drawing/2014/main" id="{38F89162-1F52-F51B-1CD4-4284A100F51E}"/>
                    </a:ext>
                  </a:extLst>
                </p:cNvPr>
                <p:cNvSpPr/>
                <p:nvPr/>
              </p:nvSpPr>
              <p:spPr>
                <a:xfrm>
                  <a:off x="6306735" y="3447826"/>
                  <a:ext cx="140422" cy="140422"/>
                </a:xfrm>
                <a:prstGeom prst="ellipse">
                  <a:avLst/>
                </a:prstGeom>
                <a:solidFill>
                  <a:schemeClr val="accent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125"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88" name="Oval 87">
                  <a:extLst>
                    <a:ext uri="{FF2B5EF4-FFF2-40B4-BE49-F238E27FC236}">
                      <a16:creationId xmlns:a16="http://schemas.microsoft.com/office/drawing/2014/main" id="{E2973A02-D6C7-7E9B-B3D4-286FA1E89B95}"/>
                    </a:ext>
                  </a:extLst>
                </p:cNvPr>
                <p:cNvSpPr/>
                <p:nvPr/>
              </p:nvSpPr>
              <p:spPr>
                <a:xfrm>
                  <a:off x="6412563" y="3385890"/>
                  <a:ext cx="140422" cy="140422"/>
                </a:xfrm>
                <a:prstGeom prst="ellipse">
                  <a:avLst/>
                </a:prstGeom>
                <a:solidFill>
                  <a:schemeClr val="accent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125"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89" name="Oval 88">
                  <a:extLst>
                    <a:ext uri="{FF2B5EF4-FFF2-40B4-BE49-F238E27FC236}">
                      <a16:creationId xmlns:a16="http://schemas.microsoft.com/office/drawing/2014/main" id="{AAE053BA-1366-7CE7-283A-C7C95C88A9D2}"/>
                    </a:ext>
                  </a:extLst>
                </p:cNvPr>
                <p:cNvSpPr/>
                <p:nvPr/>
              </p:nvSpPr>
              <p:spPr>
                <a:xfrm>
                  <a:off x="6377957" y="3188383"/>
                  <a:ext cx="140422" cy="140422"/>
                </a:xfrm>
                <a:prstGeom prst="ellipse">
                  <a:avLst/>
                </a:prstGeom>
                <a:solidFill>
                  <a:schemeClr val="accent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125"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90" name="Oval 89">
                  <a:extLst>
                    <a:ext uri="{FF2B5EF4-FFF2-40B4-BE49-F238E27FC236}">
                      <a16:creationId xmlns:a16="http://schemas.microsoft.com/office/drawing/2014/main" id="{D29C7BA7-86A8-E8A1-6BCC-9F44B9E23583}"/>
                    </a:ext>
                  </a:extLst>
                </p:cNvPr>
                <p:cNvSpPr/>
                <p:nvPr/>
              </p:nvSpPr>
              <p:spPr>
                <a:xfrm>
                  <a:off x="6188756" y="3077392"/>
                  <a:ext cx="140422" cy="140422"/>
                </a:xfrm>
                <a:prstGeom prst="ellipse">
                  <a:avLst/>
                </a:prstGeom>
                <a:solidFill>
                  <a:schemeClr val="accent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125"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91" name="TextBox 90">
                  <a:extLst>
                    <a:ext uri="{FF2B5EF4-FFF2-40B4-BE49-F238E27FC236}">
                      <a16:creationId xmlns:a16="http://schemas.microsoft.com/office/drawing/2014/main" id="{61E42CD5-0854-E5EB-2F68-6CA67A901475}"/>
                    </a:ext>
                  </a:extLst>
                </p:cNvPr>
                <p:cNvSpPr txBox="1"/>
                <p:nvPr/>
              </p:nvSpPr>
              <p:spPr>
                <a:xfrm>
                  <a:off x="4093438" y="3662801"/>
                  <a:ext cx="331498" cy="275732"/>
                </a:xfrm>
                <a:prstGeom prst="rect">
                  <a:avLst/>
                </a:prstGeom>
                <a:noFill/>
              </p:spPr>
              <p:txBody>
                <a:bodyPr wrap="none" lIns="0" tIns="0" rIns="0" bIns="0" rtlCol="0" anchor="ctr">
                  <a:no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solidFill>
                        <a:srgbClr val="4472C4"/>
                      </a:solidFill>
                      <a:effectLst/>
                      <a:uLnTx/>
                      <a:uFillTx/>
                      <a:latin typeface="Arial" panose="020B0604020202020204" pitchFamily="34" charset="0"/>
                      <a:ea typeface="+mn-ea"/>
                      <a:cs typeface="Arial" panose="020B0604020202020204" pitchFamily="34" charset="0"/>
                      <a:sym typeface="Arial"/>
                      <a:rtl val="0"/>
                    </a:rPr>
                    <a:t>4.1%</a:t>
                  </a:r>
                </a:p>
              </p:txBody>
            </p:sp>
            <p:sp>
              <p:nvSpPr>
                <p:cNvPr id="92" name="TextBox 91">
                  <a:extLst>
                    <a:ext uri="{FF2B5EF4-FFF2-40B4-BE49-F238E27FC236}">
                      <a16:creationId xmlns:a16="http://schemas.microsoft.com/office/drawing/2014/main" id="{07F1B64D-999C-808F-D508-523BB4481CF5}"/>
                    </a:ext>
                  </a:extLst>
                </p:cNvPr>
                <p:cNvSpPr txBox="1"/>
                <p:nvPr/>
              </p:nvSpPr>
              <p:spPr>
                <a:xfrm>
                  <a:off x="5056658" y="3683414"/>
                  <a:ext cx="331498" cy="275732"/>
                </a:xfrm>
                <a:prstGeom prst="rect">
                  <a:avLst/>
                </a:prstGeom>
                <a:noFill/>
              </p:spPr>
              <p:txBody>
                <a:bodyPr wrap="none" lIns="0" tIns="0" rIns="0" bIns="0" rtlCol="0" anchor="ctr">
                  <a:no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solidFill>
                        <a:srgbClr val="4472C4"/>
                      </a:solidFill>
                      <a:effectLst/>
                      <a:uLnTx/>
                      <a:uFillTx/>
                      <a:latin typeface="Arial" panose="020B0604020202020204" pitchFamily="34" charset="0"/>
                      <a:ea typeface="+mn-ea"/>
                      <a:cs typeface="Arial" panose="020B0604020202020204" pitchFamily="34" charset="0"/>
                      <a:sym typeface="Arial"/>
                      <a:rtl val="0"/>
                    </a:rPr>
                    <a:t>3.8%</a:t>
                  </a:r>
                </a:p>
              </p:txBody>
            </p:sp>
            <p:sp>
              <p:nvSpPr>
                <p:cNvPr id="93" name="TextBox 92">
                  <a:extLst>
                    <a:ext uri="{FF2B5EF4-FFF2-40B4-BE49-F238E27FC236}">
                      <a16:creationId xmlns:a16="http://schemas.microsoft.com/office/drawing/2014/main" id="{3F9A61AA-2C3D-4488-59CA-B2374B7727C0}"/>
                    </a:ext>
                  </a:extLst>
                </p:cNvPr>
                <p:cNvSpPr txBox="1"/>
                <p:nvPr/>
              </p:nvSpPr>
              <p:spPr>
                <a:xfrm>
                  <a:off x="6126695" y="2703093"/>
                  <a:ext cx="331498" cy="275732"/>
                </a:xfrm>
                <a:prstGeom prst="rect">
                  <a:avLst/>
                </a:prstGeom>
                <a:noFill/>
              </p:spPr>
              <p:txBody>
                <a:bodyPr wrap="none" lIns="0" tIns="0" rIns="0" bIns="0" rtlCol="0" anchor="ctr">
                  <a:no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solidFill>
                        <a:srgbClr val="4472C4"/>
                      </a:solidFill>
                      <a:effectLst/>
                      <a:uLnTx/>
                      <a:uFillTx/>
                      <a:latin typeface="Arial" panose="020B0604020202020204" pitchFamily="34" charset="0"/>
                      <a:ea typeface="+mn-ea"/>
                      <a:cs typeface="Arial" panose="020B0604020202020204" pitchFamily="34" charset="0"/>
                      <a:sym typeface="Arial"/>
                      <a:rtl val="0"/>
                    </a:rPr>
                    <a:t>7.4%</a:t>
                  </a:r>
                </a:p>
              </p:txBody>
            </p:sp>
          </p:grpSp>
        </p:grpSp>
        <p:sp>
          <p:nvSpPr>
            <p:cNvPr id="6" name="TextBox 5">
              <a:extLst>
                <a:ext uri="{FF2B5EF4-FFF2-40B4-BE49-F238E27FC236}">
                  <a16:creationId xmlns:a16="http://schemas.microsoft.com/office/drawing/2014/main" id="{1822E5A7-C4F0-FA01-758C-25B92F7E69FD}"/>
                </a:ext>
              </a:extLst>
            </p:cNvPr>
            <p:cNvSpPr txBox="1"/>
            <p:nvPr/>
          </p:nvSpPr>
          <p:spPr>
            <a:xfrm rot="16200000">
              <a:off x="3081395" y="3057924"/>
              <a:ext cx="980993" cy="182090"/>
            </a:xfrm>
            <a:prstGeom prst="rect">
              <a:avLst/>
            </a:prstGeom>
            <a:noFill/>
          </p:spPr>
          <p:txBody>
            <a:bodyPr wrap="none" lIns="0" tIns="0" rIns="0" bIns="0" rtlCol="0" anchor="ctr">
              <a:noAutofit/>
            </a:bodyPr>
            <a:lstStyle/>
            <a:p>
              <a:pPr marL="0" marR="0" lvl="0" indent="0" algn="r" defTabSz="914378"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solidFill>
                    <a:prstClr val="black"/>
                  </a:solidFill>
                  <a:effectLst/>
                  <a:uLnTx/>
                  <a:uFillTx/>
                  <a:latin typeface="Arial" panose="020B0604020202020204" pitchFamily="34" charset="0"/>
                  <a:ea typeface="+mn-ea"/>
                  <a:cs typeface="Arial" panose="020B0604020202020204" pitchFamily="34" charset="0"/>
                  <a:sym typeface="Arial"/>
                  <a:rtl val="0"/>
                </a:rPr>
                <a:t>NMR point estimate, %</a:t>
              </a:r>
            </a:p>
          </p:txBody>
        </p:sp>
      </p:grpSp>
    </p:spTree>
    <p:extLst>
      <p:ext uri="{BB962C8B-B14F-4D97-AF65-F5344CB8AC3E}">
        <p14:creationId xmlns:p14="http://schemas.microsoft.com/office/powerpoint/2010/main" val="318473900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diagram of a disease&#10;&#10;Description automatically generated">
            <a:extLst>
              <a:ext uri="{FF2B5EF4-FFF2-40B4-BE49-F238E27FC236}">
                <a16:creationId xmlns:a16="http://schemas.microsoft.com/office/drawing/2014/main" id="{7F72A22B-3EE8-894D-B052-81E7C3592900}"/>
              </a:ext>
            </a:extLst>
          </p:cNvPr>
          <p:cNvPicPr>
            <a:picLocks noChangeAspect="1"/>
          </p:cNvPicPr>
          <p:nvPr/>
        </p:nvPicPr>
        <p:blipFill>
          <a:blip r:embed="rId3"/>
          <a:stretch>
            <a:fillRect/>
          </a:stretch>
        </p:blipFill>
        <p:spPr>
          <a:xfrm>
            <a:off x="1524000" y="3914176"/>
            <a:ext cx="5036480" cy="2581235"/>
          </a:xfrm>
          <a:prstGeom prst="rect">
            <a:avLst/>
          </a:prstGeom>
        </p:spPr>
      </p:pic>
      <p:sp>
        <p:nvSpPr>
          <p:cNvPr id="5" name="TextBox 4">
            <a:extLst>
              <a:ext uri="{FF2B5EF4-FFF2-40B4-BE49-F238E27FC236}">
                <a16:creationId xmlns:a16="http://schemas.microsoft.com/office/drawing/2014/main" id="{525778A6-E7F5-8377-A53C-BC0C6FC1064D}"/>
              </a:ext>
            </a:extLst>
          </p:cNvPr>
          <p:cNvSpPr txBox="1"/>
          <p:nvPr/>
        </p:nvSpPr>
        <p:spPr>
          <a:xfrm>
            <a:off x="217714" y="6552476"/>
            <a:ext cx="1762022" cy="207749"/>
          </a:xfrm>
          <a:prstGeom prst="rect">
            <a:avLst/>
          </a:prstGeom>
          <a:noFill/>
          <a:ln>
            <a:noFill/>
          </a:ln>
        </p:spPr>
        <p:txBody>
          <a:bodyPr wrap="none" rtlCol="0" anchor="ctr" anchorCtr="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750" b="0" i="1" u="none" strike="noStrike" kern="1200" cap="none" spc="0" normalizeH="0" baseline="0" noProof="0" dirty="0">
                <a:ln>
                  <a:noFill/>
                </a:ln>
                <a:solidFill>
                  <a:prstClr val="black"/>
                </a:solidFill>
                <a:effectLst/>
                <a:uLnTx/>
                <a:uFillTx/>
                <a:latin typeface="Garamond" pitchFamily="18" charset="0"/>
                <a:ea typeface="+mn-ea"/>
                <a:cs typeface="+mn-cs"/>
              </a:rPr>
              <a:t>Hines et al. Transplantation &amp; Cell </a:t>
            </a:r>
            <a:r>
              <a:rPr kumimoji="0" lang="en-US" sz="750" b="0" i="1" u="none" strike="noStrike" kern="1200" cap="none" spc="0" normalizeH="0" baseline="0" noProof="0" dirty="0" err="1">
                <a:ln>
                  <a:noFill/>
                </a:ln>
                <a:solidFill>
                  <a:prstClr val="black"/>
                </a:solidFill>
                <a:effectLst/>
                <a:uLnTx/>
                <a:uFillTx/>
                <a:latin typeface="Garamond" pitchFamily="18" charset="0"/>
                <a:ea typeface="+mn-ea"/>
                <a:cs typeface="+mn-cs"/>
              </a:rPr>
              <a:t>Ther</a:t>
            </a:r>
            <a:r>
              <a:rPr kumimoji="0" lang="en-US" sz="750" b="0" i="1" u="none" strike="noStrike" kern="1200" cap="none" spc="0" normalizeH="0" baseline="0" noProof="0" dirty="0">
                <a:ln>
                  <a:noFill/>
                </a:ln>
                <a:solidFill>
                  <a:prstClr val="black"/>
                </a:solidFill>
                <a:effectLst/>
                <a:uLnTx/>
                <a:uFillTx/>
                <a:latin typeface="Garamond" pitchFamily="18" charset="0"/>
                <a:ea typeface="+mn-ea"/>
                <a:cs typeface="+mn-cs"/>
              </a:rPr>
              <a:t>, 2023</a:t>
            </a:r>
          </a:p>
        </p:txBody>
      </p:sp>
      <p:sp>
        <p:nvSpPr>
          <p:cNvPr id="6" name="TextBox 5">
            <a:extLst>
              <a:ext uri="{FF2B5EF4-FFF2-40B4-BE49-F238E27FC236}">
                <a16:creationId xmlns:a16="http://schemas.microsoft.com/office/drawing/2014/main" id="{2D338867-7790-1570-8E56-FCC0FBA8F889}"/>
              </a:ext>
            </a:extLst>
          </p:cNvPr>
          <p:cNvSpPr txBox="1"/>
          <p:nvPr/>
        </p:nvSpPr>
        <p:spPr>
          <a:xfrm>
            <a:off x="1524000" y="860285"/>
            <a:ext cx="5323060" cy="1107996"/>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mmune Effector Cell-Associated Hemophagocytic</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Lymphohistiocytosis</a:t>
            </a: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ike Syndrome (IEC-HS)</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usually occurs after CRS – can be delayed)(1-3.5%)</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aramond" pitchFamily="18" charset="0"/>
              <a:ea typeface="+mn-ea"/>
              <a:cs typeface="+mn-cs"/>
            </a:endParaRPr>
          </a:p>
        </p:txBody>
      </p:sp>
      <p:pic>
        <p:nvPicPr>
          <p:cNvPr id="7" name="Picture 6" descr="A diagram of a cell cycle&#10;&#10;Description automatically generated">
            <a:extLst>
              <a:ext uri="{FF2B5EF4-FFF2-40B4-BE49-F238E27FC236}">
                <a16:creationId xmlns:a16="http://schemas.microsoft.com/office/drawing/2014/main" id="{F8FEFF98-2B8E-C3F1-0E82-274F771D5F66}"/>
              </a:ext>
            </a:extLst>
          </p:cNvPr>
          <p:cNvPicPr>
            <a:picLocks noChangeAspect="1"/>
          </p:cNvPicPr>
          <p:nvPr/>
        </p:nvPicPr>
        <p:blipFill>
          <a:blip r:embed="rId4"/>
          <a:srcRect l="-5690"/>
          <a:stretch>
            <a:fillRect/>
          </a:stretch>
        </p:blipFill>
        <p:spPr>
          <a:xfrm>
            <a:off x="1237420" y="1846577"/>
            <a:ext cx="5323060" cy="2010535"/>
          </a:xfrm>
          <a:prstGeom prst="rect">
            <a:avLst/>
          </a:prstGeom>
        </p:spPr>
      </p:pic>
      <p:sp>
        <p:nvSpPr>
          <p:cNvPr id="8" name="Title 1">
            <a:extLst>
              <a:ext uri="{FF2B5EF4-FFF2-40B4-BE49-F238E27FC236}">
                <a16:creationId xmlns:a16="http://schemas.microsoft.com/office/drawing/2014/main" id="{DE20C548-E0B4-7B4A-BA4B-C8067C0DE6E4}"/>
              </a:ext>
            </a:extLst>
          </p:cNvPr>
          <p:cNvSpPr txBox="1">
            <a:spLocks/>
          </p:cNvSpPr>
          <p:nvPr/>
        </p:nvSpPr>
        <p:spPr>
          <a:xfrm>
            <a:off x="1802295" y="111195"/>
            <a:ext cx="8971722" cy="662781"/>
          </a:xfrm>
          <a:prstGeom prst="rect">
            <a:avLst/>
          </a:prstGeom>
        </p:spPr>
        <p:txBody>
          <a:bodyPr>
            <a:norm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CAR-T cell therapy-related toxicities (Rare) and management </a:t>
            </a:r>
          </a:p>
        </p:txBody>
      </p:sp>
      <p:sp>
        <p:nvSpPr>
          <p:cNvPr id="9" name="TextBox 8">
            <a:extLst>
              <a:ext uri="{FF2B5EF4-FFF2-40B4-BE49-F238E27FC236}">
                <a16:creationId xmlns:a16="http://schemas.microsoft.com/office/drawing/2014/main" id="{6D8FF644-9829-96C2-40A3-4C432DA6B2F2}"/>
              </a:ext>
            </a:extLst>
          </p:cNvPr>
          <p:cNvSpPr txBox="1"/>
          <p:nvPr/>
        </p:nvSpPr>
        <p:spPr>
          <a:xfrm>
            <a:off x="7072348" y="860286"/>
            <a:ext cx="3820939" cy="1837939"/>
          </a:xfrm>
          <a:prstGeom prst="rect">
            <a:avLst/>
          </a:prstGeom>
          <a:noFill/>
        </p:spPr>
        <p:txBody>
          <a:bodyPr wrap="square" rtlCol="0">
            <a:spAutoFit/>
          </a:bodyPr>
          <a:lstStyle/>
          <a:p>
            <a:pPr marL="0" marR="0" lvl="0" indent="0" algn="l" defTabSz="457200" rtl="0" eaLnBrk="1" fontAlgn="base" latinLnBrk="0" hangingPunct="1">
              <a:lnSpc>
                <a:spcPct val="120000"/>
              </a:lnSpc>
              <a:spcBef>
                <a:spcPts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econdary Malignancies</a:t>
            </a:r>
            <a:r>
              <a:rPr kumimoji="0" lang="en-US" sz="1600" b="1"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1</a:t>
            </a: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457200" marR="0" lvl="1" indent="0" algn="l" defTabSz="457200" rtl="0" eaLnBrk="1" fontAlgn="base" latinLnBrk="0" hangingPunct="1">
              <a:lnSpc>
                <a:spcPct val="120000"/>
              </a:lnSpc>
              <a:spcBef>
                <a:spcPts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ates similar to expected incidence following traditional chemotherapy or HSCT</a:t>
            </a:r>
          </a:p>
          <a:p>
            <a:pPr marL="457200" marR="0" lvl="1" indent="0" algn="l" defTabSz="457200" rtl="0" eaLnBrk="1" fontAlgn="base" latinLnBrk="0" hangingPunct="1">
              <a:lnSpc>
                <a:spcPct val="120000"/>
              </a:lnSpc>
              <a:spcBef>
                <a:spcPts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457200" marR="0" lvl="1" indent="0" algn="l" defTabSz="457200" rtl="0" eaLnBrk="1" fontAlgn="base" latinLnBrk="0" hangingPunct="1">
              <a:lnSpc>
                <a:spcPct val="120000"/>
              </a:lnSpc>
              <a:spcBef>
                <a:spcPts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cell lymphoma risk- very low </a:t>
            </a:r>
          </a:p>
        </p:txBody>
      </p:sp>
      <p:sp>
        <p:nvSpPr>
          <p:cNvPr id="11" name="TextBox 10">
            <a:extLst>
              <a:ext uri="{FF2B5EF4-FFF2-40B4-BE49-F238E27FC236}">
                <a16:creationId xmlns:a16="http://schemas.microsoft.com/office/drawing/2014/main" id="{C913DCB2-A66C-0AEA-5F35-019179021F0E}"/>
              </a:ext>
            </a:extLst>
          </p:cNvPr>
          <p:cNvSpPr txBox="1"/>
          <p:nvPr/>
        </p:nvSpPr>
        <p:spPr>
          <a:xfrm>
            <a:off x="9422146" y="6656351"/>
            <a:ext cx="1245854" cy="207749"/>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75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 Cordeiro, BBMT, 2020.</a:t>
            </a:r>
          </a:p>
        </p:txBody>
      </p:sp>
      <p:sp>
        <p:nvSpPr>
          <p:cNvPr id="12" name="TextBox 11">
            <a:extLst>
              <a:ext uri="{FF2B5EF4-FFF2-40B4-BE49-F238E27FC236}">
                <a16:creationId xmlns:a16="http://schemas.microsoft.com/office/drawing/2014/main" id="{EC8E40D9-547F-4501-C260-6270765F784C}"/>
              </a:ext>
            </a:extLst>
          </p:cNvPr>
          <p:cNvSpPr txBox="1"/>
          <p:nvPr/>
        </p:nvSpPr>
        <p:spPr>
          <a:xfrm>
            <a:off x="9141621" y="6656352"/>
            <a:ext cx="211917" cy="207749"/>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75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p:txBody>
      </p:sp>
      <p:sp>
        <p:nvSpPr>
          <p:cNvPr id="3" name="Rectangle 2">
            <a:extLst>
              <a:ext uri="{FF2B5EF4-FFF2-40B4-BE49-F238E27FC236}">
                <a16:creationId xmlns:a16="http://schemas.microsoft.com/office/drawing/2014/main" id="{C362C5AC-DEFA-8837-8875-ED9DBF698078}"/>
              </a:ext>
            </a:extLst>
          </p:cNvPr>
          <p:cNvSpPr/>
          <p:nvPr/>
        </p:nvSpPr>
        <p:spPr>
          <a:xfrm>
            <a:off x="3869260" y="5554113"/>
            <a:ext cx="2232678" cy="471613"/>
          </a:xfrm>
          <a:prstGeom prst="rect">
            <a:avLst/>
          </a:prstGeom>
          <a:solidFill>
            <a:srgbClr val="9BEDD8"/>
          </a:solidFill>
          <a:ln w="19050">
            <a:solidFill>
              <a:srgbClr val="00706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4255DABE-7CBE-545B-8F55-5ACCCFB022C3}"/>
              </a:ext>
            </a:extLst>
          </p:cNvPr>
          <p:cNvSpPr txBox="1"/>
          <p:nvPr/>
        </p:nvSpPr>
        <p:spPr>
          <a:xfrm>
            <a:off x="3825576" y="5531364"/>
            <a:ext cx="2379282" cy="49629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75" b="1" i="0" u="none" strike="noStrike" kern="1200" cap="none" spc="0" normalizeH="0" baseline="0" noProof="0" dirty="0">
                <a:ln>
                  <a:noFill/>
                </a:ln>
                <a:solidFill>
                  <a:prstClr val="black"/>
                </a:solidFill>
                <a:effectLst/>
                <a:uLnTx/>
                <a:uFillTx/>
                <a:latin typeface="Arial Narrow" panose="020B0604020202020204" pitchFamily="34" charset="0"/>
                <a:ea typeface="+mn-ea"/>
                <a:cs typeface="Arial Narrow" panose="020B0604020202020204" pitchFamily="34" charset="0"/>
              </a:rPr>
              <a:t>Third-line therapy: </a:t>
            </a:r>
            <a:r>
              <a:rPr kumimoji="0" lang="en-US" sz="875" b="0" i="0" u="none" strike="noStrike" kern="1200" cap="none" spc="0" normalizeH="0" baseline="0" noProof="0" dirty="0">
                <a:ln>
                  <a:noFill/>
                </a:ln>
                <a:solidFill>
                  <a:prstClr val="black"/>
                </a:solidFill>
                <a:effectLst/>
                <a:uLnTx/>
                <a:uFillTx/>
                <a:latin typeface="Arial Narrow" panose="020B0604020202020204" pitchFamily="34" charset="0"/>
                <a:ea typeface="+mn-ea"/>
                <a:cs typeface="Arial Narrow" panose="020B0604020202020204" pitchFamily="34" charset="0"/>
              </a:rPr>
              <a:t>Add ruxolitinib if not yet started. Consider alternative agents (e.g., low-dose etoposide or </a:t>
            </a:r>
            <a:r>
              <a:rPr kumimoji="0" lang="en-US" sz="875" b="0" i="0" u="none" strike="noStrike" kern="1200" cap="none" spc="0" normalizeH="0" baseline="0" noProof="0" dirty="0" err="1">
                <a:ln>
                  <a:noFill/>
                </a:ln>
                <a:solidFill>
                  <a:prstClr val="black"/>
                </a:solidFill>
                <a:effectLst/>
                <a:uLnTx/>
                <a:uFillTx/>
                <a:latin typeface="Arial Narrow" panose="020B0604020202020204" pitchFamily="34" charset="0"/>
                <a:ea typeface="+mn-ea"/>
                <a:cs typeface="Arial Narrow" panose="020B0604020202020204" pitchFamily="34" charset="0"/>
              </a:rPr>
              <a:t>emapalumab</a:t>
            </a:r>
            <a:r>
              <a:rPr kumimoji="0" lang="en-US" sz="875" b="0" i="0" u="none" strike="noStrike" kern="1200" cap="none" spc="0" normalizeH="0" baseline="0" noProof="0" dirty="0">
                <a:ln>
                  <a:noFill/>
                </a:ln>
                <a:solidFill>
                  <a:prstClr val="black"/>
                </a:solidFill>
                <a:effectLst/>
                <a:uLnTx/>
                <a:uFillTx/>
                <a:latin typeface="Arial Narrow" panose="020B0604020202020204" pitchFamily="34" charset="0"/>
                <a:ea typeface="+mn-ea"/>
                <a:cs typeface="Arial Narrow" panose="020B0604020202020204" pitchFamily="34" charset="0"/>
              </a:rPr>
              <a:t>) for life-threatening toxicities</a:t>
            </a:r>
          </a:p>
        </p:txBody>
      </p:sp>
    </p:spTree>
    <p:extLst>
      <p:ext uri="{BB962C8B-B14F-4D97-AF65-F5344CB8AC3E}">
        <p14:creationId xmlns:p14="http://schemas.microsoft.com/office/powerpoint/2010/main" val="395886981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graph of a patient&#10;&#10;AI-generated content may be incorrect.">
            <a:extLst>
              <a:ext uri="{FF2B5EF4-FFF2-40B4-BE49-F238E27FC236}">
                <a16:creationId xmlns:a16="http://schemas.microsoft.com/office/drawing/2014/main" id="{24AD4709-F080-76E8-30F9-D0D9E50BA567}"/>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tretch>
            <a:fillRect/>
          </a:stretch>
        </p:blipFill>
        <p:spPr>
          <a:xfrm>
            <a:off x="522514" y="3436546"/>
            <a:ext cx="6179470" cy="2988004"/>
          </a:xfrm>
          <a:prstGeom prst="rect">
            <a:avLst/>
          </a:prstGeom>
        </p:spPr>
      </p:pic>
      <p:pic>
        <p:nvPicPr>
          <p:cNvPr id="6" name="Picture 5" descr="A graph of a patient&#10;&#10;AI-generated content may be incorrect.">
            <a:extLst>
              <a:ext uri="{FF2B5EF4-FFF2-40B4-BE49-F238E27FC236}">
                <a16:creationId xmlns:a16="http://schemas.microsoft.com/office/drawing/2014/main" id="{79DE0E59-7657-2811-5C20-C469F463B138}"/>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 uri="{28A0092B-C50C-407E-A947-70E740481C1C}">
                <a14:useLocalDpi xmlns:a14="http://schemas.microsoft.com/office/drawing/2010/main" val="0"/>
              </a:ext>
            </a:extLst>
          </a:blip>
          <a:stretch>
            <a:fillRect/>
          </a:stretch>
        </p:blipFill>
        <p:spPr>
          <a:xfrm>
            <a:off x="6555179" y="3421454"/>
            <a:ext cx="5636821" cy="3157476"/>
          </a:xfrm>
          <a:prstGeom prst="rect">
            <a:avLst/>
          </a:prstGeom>
        </p:spPr>
      </p:pic>
      <p:pic>
        <p:nvPicPr>
          <p:cNvPr id="8" name="Picture 7" descr="A close-up of a medical report&#10;&#10;AI-generated content may be incorrect.">
            <a:extLst>
              <a:ext uri="{FF2B5EF4-FFF2-40B4-BE49-F238E27FC236}">
                <a16:creationId xmlns:a16="http://schemas.microsoft.com/office/drawing/2014/main" id="{6661A249-D3CF-EE32-198F-E46440390275}"/>
              </a:ext>
            </a:extLst>
          </p:cNvPr>
          <p:cNvPicPr>
            <a:picLocks noChangeAspect="1"/>
          </p:cNvPicPr>
          <p:nvPr/>
        </p:nvPicPr>
        <p:blipFill>
          <a:blip r:embed="rId7">
            <a:extLst>
              <a:ext uri="{BEBA8EAE-BF5A-486C-A8C5-ECC9F3942E4B}">
                <a14:imgProps xmlns:a14="http://schemas.microsoft.com/office/drawing/2010/main">
                  <a14:imgLayer r:embed="rId8">
                    <a14:imgEffect>
                      <a14:sharpenSoften amount="25000"/>
                    </a14:imgEffect>
                  </a14:imgLayer>
                </a14:imgProps>
              </a:ext>
              <a:ext uri="{28A0092B-C50C-407E-A947-70E740481C1C}">
                <a14:useLocalDpi xmlns:a14="http://schemas.microsoft.com/office/drawing/2010/main" val="0"/>
              </a:ext>
            </a:extLst>
          </a:blip>
          <a:stretch>
            <a:fillRect/>
          </a:stretch>
        </p:blipFill>
        <p:spPr>
          <a:xfrm>
            <a:off x="2775512" y="105508"/>
            <a:ext cx="6421685" cy="3071330"/>
          </a:xfrm>
          <a:prstGeom prst="rect">
            <a:avLst/>
          </a:prstGeom>
        </p:spPr>
      </p:pic>
    </p:spTree>
    <p:extLst>
      <p:ext uri="{BB962C8B-B14F-4D97-AF65-F5344CB8AC3E}">
        <p14:creationId xmlns:p14="http://schemas.microsoft.com/office/powerpoint/2010/main" val="417476779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A screenshot of a medical program&#10;&#10;AI-generated content may be incorrect.">
            <a:extLst>
              <a:ext uri="{FF2B5EF4-FFF2-40B4-BE49-F238E27FC236}">
                <a16:creationId xmlns:a16="http://schemas.microsoft.com/office/drawing/2014/main" id="{5088EF69-8F7A-9560-3E66-396BC4209F22}"/>
              </a:ext>
            </a:extLst>
          </p:cNvPr>
          <p:cNvPicPr>
            <a:picLocks noGrp="1" noChangeAspect="1"/>
          </p:cNvPicPr>
          <p:nvPr>
            <p:ph idx="1"/>
          </p:nvPr>
        </p:nvPicPr>
        <p:blipFill>
          <a:blip r:embed="rId3">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val="0"/>
              </a:ext>
            </a:extLst>
          </a:blip>
          <a:srcRect l="-3704" r="1"/>
          <a:stretch>
            <a:fillRect/>
          </a:stretch>
        </p:blipFill>
        <p:spPr>
          <a:xfrm>
            <a:off x="1282535" y="1348154"/>
            <a:ext cx="9294979" cy="4677508"/>
          </a:xfrm>
          <a:noFill/>
        </p:spPr>
      </p:pic>
      <p:sp>
        <p:nvSpPr>
          <p:cNvPr id="6" name="TextBox 5">
            <a:extLst>
              <a:ext uri="{FF2B5EF4-FFF2-40B4-BE49-F238E27FC236}">
                <a16:creationId xmlns:a16="http://schemas.microsoft.com/office/drawing/2014/main" id="{34ACE50C-A0FB-D5B2-44FE-1045C080FE7F}"/>
              </a:ext>
            </a:extLst>
          </p:cNvPr>
          <p:cNvSpPr txBox="1"/>
          <p:nvPr/>
        </p:nvSpPr>
        <p:spPr>
          <a:xfrm>
            <a:off x="2014311" y="370674"/>
            <a:ext cx="8341514" cy="461665"/>
          </a:xfrm>
          <a:prstGeom prst="rect">
            <a:avLst/>
          </a:prstGeom>
          <a:noFill/>
        </p:spPr>
        <p:txBody>
          <a:bodyPr wrap="none" rtlCol="0">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gulatory Updates That Expand Access to CAR T Therapy</a:t>
            </a:r>
          </a:p>
        </p:txBody>
      </p:sp>
      <p:sp>
        <p:nvSpPr>
          <p:cNvPr id="2" name="TextBox 1">
            <a:extLst>
              <a:ext uri="{FF2B5EF4-FFF2-40B4-BE49-F238E27FC236}">
                <a16:creationId xmlns:a16="http://schemas.microsoft.com/office/drawing/2014/main" id="{9F178DA1-43AE-6D25-6F46-73B5F07640B0}"/>
              </a:ext>
            </a:extLst>
          </p:cNvPr>
          <p:cNvSpPr txBox="1"/>
          <p:nvPr/>
        </p:nvSpPr>
        <p:spPr>
          <a:xfrm>
            <a:off x="9415926" y="6481967"/>
            <a:ext cx="1252074" cy="300082"/>
          </a:xfrm>
          <a:prstGeom prst="rect">
            <a:avLst/>
          </a:prstGeom>
          <a:noFill/>
        </p:spPr>
        <p:txBody>
          <a:bodyPr wrap="none" rtlCol="0">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rPr>
              <a:t>Courtesy: BMS </a:t>
            </a:r>
          </a:p>
        </p:txBody>
      </p:sp>
    </p:spTree>
    <p:extLst>
      <p:ext uri="{BB962C8B-B14F-4D97-AF65-F5344CB8AC3E}">
        <p14:creationId xmlns:p14="http://schemas.microsoft.com/office/powerpoint/2010/main" val="222230113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14079A-877D-EB8E-9DFD-B6CE51D89ADB}"/>
              </a:ext>
            </a:extLst>
          </p:cNvPr>
          <p:cNvSpPr>
            <a:spLocks noGrp="1"/>
          </p:cNvSpPr>
          <p:nvPr>
            <p:ph type="title"/>
          </p:nvPr>
        </p:nvSpPr>
        <p:spPr>
          <a:xfrm>
            <a:off x="2461847" y="200758"/>
            <a:ext cx="6945591" cy="608162"/>
          </a:xfrm>
        </p:spPr>
        <p:txBody>
          <a:bodyPr>
            <a:noAutofit/>
          </a:bodyPr>
          <a:lstStyle/>
          <a:p>
            <a:r>
              <a:rPr lang="en-US" sz="2800" dirty="0">
                <a:latin typeface="Arial" panose="020B0604020202020204" pitchFamily="34" charset="0"/>
                <a:cs typeface="Arial" panose="020B0604020202020204" pitchFamily="34" charset="0"/>
              </a:rPr>
              <a:t>Expanding Access to Community Centers </a:t>
            </a:r>
          </a:p>
        </p:txBody>
      </p:sp>
      <p:sp>
        <p:nvSpPr>
          <p:cNvPr id="3" name="Content Placeholder 2">
            <a:extLst>
              <a:ext uri="{FF2B5EF4-FFF2-40B4-BE49-F238E27FC236}">
                <a16:creationId xmlns:a16="http://schemas.microsoft.com/office/drawing/2014/main" id="{405B21EB-7DBA-635A-01AD-41D5F239A727}"/>
              </a:ext>
            </a:extLst>
          </p:cNvPr>
          <p:cNvSpPr>
            <a:spLocks noGrp="1"/>
          </p:cNvSpPr>
          <p:nvPr>
            <p:ph idx="1"/>
          </p:nvPr>
        </p:nvSpPr>
        <p:spPr>
          <a:xfrm>
            <a:off x="1746738" y="1271318"/>
            <a:ext cx="8709914" cy="4977083"/>
          </a:xfrm>
        </p:spPr>
        <p:txBody>
          <a:bodyPr>
            <a:normAutofit/>
          </a:bodyPr>
          <a:lstStyle/>
          <a:p>
            <a:r>
              <a:rPr lang="en-US" sz="1950" b="1" dirty="0">
                <a:latin typeface="Arial" panose="020B0604020202020204" pitchFamily="34" charset="0"/>
                <a:cs typeface="Arial" panose="020B0604020202020204" pitchFamily="34" charset="0"/>
              </a:rPr>
              <a:t>Risk-adapted delivery models</a:t>
            </a:r>
            <a:r>
              <a:rPr lang="en-US" sz="1950" dirty="0">
                <a:latin typeface="Arial" panose="020B0604020202020204" pitchFamily="34" charset="0"/>
                <a:cs typeface="Arial" panose="020B0604020202020204" pitchFamily="34" charset="0"/>
              </a:rPr>
              <a:t>: Outpatient CAR-T, standardized toxicity algorithms, and early intervention pathways</a:t>
            </a:r>
          </a:p>
          <a:p>
            <a:r>
              <a:rPr lang="en-US" sz="1950" b="1" dirty="0">
                <a:latin typeface="Arial" panose="020B0604020202020204" pitchFamily="34" charset="0"/>
                <a:cs typeface="Arial" panose="020B0604020202020204" pitchFamily="34" charset="0"/>
              </a:rPr>
              <a:t>Hub-and-spoke partnerships</a:t>
            </a:r>
            <a:r>
              <a:rPr lang="en-US" sz="1950" dirty="0">
                <a:latin typeface="Arial" panose="020B0604020202020204" pitchFamily="34" charset="0"/>
                <a:cs typeface="Arial" panose="020B0604020202020204" pitchFamily="34" charset="0"/>
              </a:rPr>
              <a:t>: Seamless referral, shared care models, and bidirectional communication between academic and community sites</a:t>
            </a:r>
          </a:p>
          <a:p>
            <a:r>
              <a:rPr lang="en-US" sz="1950" b="1" dirty="0">
                <a:latin typeface="Arial" panose="020B0604020202020204" pitchFamily="34" charset="0"/>
                <a:cs typeface="Arial" panose="020B0604020202020204" pitchFamily="34" charset="0"/>
              </a:rPr>
              <a:t>Education &amp; infrastructure</a:t>
            </a:r>
            <a:r>
              <a:rPr lang="en-US" sz="1950" dirty="0">
                <a:latin typeface="Arial" panose="020B0604020202020204" pitchFamily="34" charset="0"/>
                <a:cs typeface="Arial" panose="020B0604020202020204" pitchFamily="34" charset="0"/>
              </a:rPr>
              <a:t>: Targeted training, nursing support, and protocolized monitoring to ensure safety and confidence</a:t>
            </a:r>
          </a:p>
          <a:p>
            <a:r>
              <a:rPr lang="en-US" sz="1950" b="1" dirty="0">
                <a:latin typeface="Arial" panose="020B0604020202020204" pitchFamily="34" charset="0"/>
                <a:cs typeface="Arial" panose="020B0604020202020204" pitchFamily="34" charset="0"/>
              </a:rPr>
              <a:t>Operational simplification</a:t>
            </a:r>
            <a:r>
              <a:rPr lang="en-US" sz="1950" dirty="0">
                <a:latin typeface="Arial" panose="020B0604020202020204" pitchFamily="34" charset="0"/>
                <a:cs typeface="Arial" panose="020B0604020202020204" pitchFamily="34" charset="0"/>
              </a:rPr>
              <a:t>: Streamlined referral criteria, predictable timelines, and payer-aligned pathways</a:t>
            </a:r>
          </a:p>
          <a:p>
            <a:pPr marL="0" indent="0">
              <a:buNone/>
            </a:pPr>
            <a:endParaRPr lang="en-US" sz="1950" dirty="0">
              <a:latin typeface="Arial" panose="020B0604020202020204" pitchFamily="34" charset="0"/>
              <a:cs typeface="Arial" panose="020B0604020202020204" pitchFamily="34" charset="0"/>
            </a:endParaRPr>
          </a:p>
          <a:p>
            <a:r>
              <a:rPr lang="en-US" sz="1950" b="1" dirty="0">
                <a:latin typeface="Arial" panose="020B0604020202020204" pitchFamily="34" charset="0"/>
                <a:cs typeface="Arial" panose="020B0604020202020204" pitchFamily="34" charset="0"/>
              </a:rPr>
              <a:t>The Path Forward</a:t>
            </a:r>
            <a:endParaRPr lang="en-US" sz="1950" dirty="0">
              <a:latin typeface="Arial" panose="020B0604020202020204" pitchFamily="34" charset="0"/>
              <a:cs typeface="Arial" panose="020B0604020202020204" pitchFamily="34" charset="0"/>
            </a:endParaRPr>
          </a:p>
          <a:p>
            <a:r>
              <a:rPr lang="en-US" sz="1950" dirty="0">
                <a:latin typeface="Arial" panose="020B0604020202020204" pitchFamily="34" charset="0"/>
                <a:cs typeface="Arial" panose="020B0604020202020204" pitchFamily="34" charset="0"/>
              </a:rPr>
              <a:t>Move from </a:t>
            </a:r>
            <a:r>
              <a:rPr lang="en-US" sz="1950" i="1" dirty="0">
                <a:latin typeface="Arial" panose="020B0604020202020204" pitchFamily="34" charset="0"/>
                <a:cs typeface="Arial" panose="020B0604020202020204" pitchFamily="34" charset="0"/>
              </a:rPr>
              <a:t>center-based excellence</a:t>
            </a:r>
            <a:r>
              <a:rPr lang="en-US" sz="1950" dirty="0">
                <a:latin typeface="Arial" panose="020B0604020202020204" pitchFamily="34" charset="0"/>
                <a:cs typeface="Arial" panose="020B0604020202020204" pitchFamily="34" charset="0"/>
              </a:rPr>
              <a:t> → </a:t>
            </a:r>
            <a:r>
              <a:rPr lang="en-US" sz="1950" i="1" dirty="0">
                <a:latin typeface="Arial" panose="020B0604020202020204" pitchFamily="34" charset="0"/>
                <a:cs typeface="Arial" panose="020B0604020202020204" pitchFamily="34" charset="0"/>
              </a:rPr>
              <a:t>system-wide capability</a:t>
            </a:r>
            <a:endParaRPr lang="en-US" sz="1950" dirty="0">
              <a:latin typeface="Arial" panose="020B0604020202020204" pitchFamily="34" charset="0"/>
              <a:cs typeface="Arial" panose="020B0604020202020204" pitchFamily="34" charset="0"/>
            </a:endParaRPr>
          </a:p>
          <a:p>
            <a:r>
              <a:rPr lang="en-US" sz="1950" dirty="0">
                <a:latin typeface="Arial" panose="020B0604020202020204" pitchFamily="34" charset="0"/>
                <a:cs typeface="Arial" panose="020B0604020202020204" pitchFamily="34" charset="0"/>
              </a:rPr>
              <a:t>Measure success by </a:t>
            </a:r>
            <a:r>
              <a:rPr lang="en-US" sz="1950" b="1" dirty="0">
                <a:latin typeface="Arial" panose="020B0604020202020204" pitchFamily="34" charset="0"/>
                <a:cs typeface="Arial" panose="020B0604020202020204" pitchFamily="34" charset="0"/>
              </a:rPr>
              <a:t>who receives CAR-T</a:t>
            </a:r>
            <a:r>
              <a:rPr lang="en-US" sz="1950" dirty="0">
                <a:latin typeface="Arial" panose="020B0604020202020204" pitchFamily="34" charset="0"/>
                <a:cs typeface="Arial" panose="020B0604020202020204" pitchFamily="34" charset="0"/>
              </a:rPr>
              <a:t>, not just </a:t>
            </a:r>
            <a:r>
              <a:rPr lang="en-US" sz="1950" b="1" dirty="0">
                <a:latin typeface="Arial" panose="020B0604020202020204" pitchFamily="34" charset="0"/>
                <a:cs typeface="Arial" panose="020B0604020202020204" pitchFamily="34" charset="0"/>
              </a:rPr>
              <a:t>who can deliver it</a:t>
            </a:r>
            <a:endParaRPr lang="en-US" sz="1950" dirty="0">
              <a:latin typeface="Arial" panose="020B0604020202020204" pitchFamily="34" charset="0"/>
              <a:cs typeface="Arial" panose="020B0604020202020204" pitchFamily="34" charset="0"/>
            </a:endParaRPr>
          </a:p>
          <a:p>
            <a:r>
              <a:rPr lang="en-US" sz="1950" dirty="0">
                <a:latin typeface="Arial" panose="020B0604020202020204" pitchFamily="34" charset="0"/>
                <a:cs typeface="Arial" panose="020B0604020202020204" pitchFamily="34" charset="0"/>
              </a:rPr>
              <a:t>Align stakeholders—clinicians, payers, industry, and regulators—around </a:t>
            </a:r>
            <a:r>
              <a:rPr lang="en-US" sz="1950" b="1" dirty="0">
                <a:latin typeface="Arial" panose="020B0604020202020204" pitchFamily="34" charset="0"/>
                <a:cs typeface="Arial" panose="020B0604020202020204" pitchFamily="34" charset="0"/>
              </a:rPr>
              <a:t>access as a quality metric</a:t>
            </a:r>
          </a:p>
          <a:p>
            <a:endParaRPr lang="en-US" sz="1950" dirty="0">
              <a:latin typeface="Arial" panose="020B0604020202020204" pitchFamily="34" charset="0"/>
              <a:cs typeface="Arial" panose="020B0604020202020204" pitchFamily="34" charset="0"/>
            </a:endParaRPr>
          </a:p>
          <a:p>
            <a:endParaRPr lang="en-US" dirty="0"/>
          </a:p>
        </p:txBody>
      </p:sp>
    </p:spTree>
    <p:extLst>
      <p:ext uri="{BB962C8B-B14F-4D97-AF65-F5344CB8AC3E}">
        <p14:creationId xmlns:p14="http://schemas.microsoft.com/office/powerpoint/2010/main" val="26521531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5EE837-2BAA-6685-1BB2-028D8D60BA39}"/>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53C473E4-581D-0502-48C2-870AB300AC2F}"/>
              </a:ext>
            </a:extLst>
          </p:cNvPr>
          <p:cNvSpPr/>
          <p:nvPr/>
        </p:nvSpPr>
        <p:spPr bwMode="auto">
          <a:xfrm>
            <a:off x="684426" y="4469256"/>
            <a:ext cx="10731324" cy="459767"/>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FFFFFF"/>
              </a:solidFill>
              <a:effectLst/>
              <a:uLnTx/>
              <a:uFillTx/>
              <a:latin typeface="Times New Roman" pitchFamily="18" charset="0"/>
              <a:ea typeface="MS PGothic" charset="0"/>
              <a:cs typeface="+mn-cs"/>
            </a:endParaRPr>
          </a:p>
        </p:txBody>
      </p:sp>
      <p:sp>
        <p:nvSpPr>
          <p:cNvPr id="2" name="Title 1">
            <a:extLst>
              <a:ext uri="{FF2B5EF4-FFF2-40B4-BE49-F238E27FC236}">
                <a16:creationId xmlns:a16="http://schemas.microsoft.com/office/drawing/2014/main" id="{1A2778AF-058C-2F0B-7667-689D8DEF457F}"/>
              </a:ext>
            </a:extLst>
          </p:cNvPr>
          <p:cNvSpPr>
            <a:spLocks noGrp="1"/>
          </p:cNvSpPr>
          <p:nvPr>
            <p:ph type="title"/>
          </p:nvPr>
        </p:nvSpPr>
        <p:spPr>
          <a:xfrm>
            <a:off x="462987" y="83127"/>
            <a:ext cx="11262167" cy="1061462"/>
          </a:xfrm>
        </p:spPr>
        <p:txBody>
          <a:bodyPr>
            <a:noAutofit/>
          </a:bodyPr>
          <a:lstStyle/>
          <a:p>
            <a:pPr>
              <a:lnSpc>
                <a:spcPct val="100000"/>
              </a:lnSpc>
            </a:pPr>
            <a:r>
              <a:rPr lang="en-US" sz="2800" dirty="0"/>
              <a:t>Keynote Session: </a:t>
            </a:r>
            <a:br>
              <a:rPr lang="en-US" sz="2800" dirty="0"/>
            </a:br>
            <a:r>
              <a:rPr lang="en-US" sz="2800" dirty="0"/>
              <a:t>Diffuse Large B-Cell Lymphoma and Follicular Lymphoma</a:t>
            </a:r>
            <a:endParaRPr lang="en-US" sz="2800" dirty="0">
              <a:solidFill>
                <a:srgbClr val="0070C0"/>
              </a:solidFill>
            </a:endParaRPr>
          </a:p>
        </p:txBody>
      </p:sp>
      <p:sp>
        <p:nvSpPr>
          <p:cNvPr id="7" name="Content Placeholder 6">
            <a:extLst>
              <a:ext uri="{FF2B5EF4-FFF2-40B4-BE49-F238E27FC236}">
                <a16:creationId xmlns:a16="http://schemas.microsoft.com/office/drawing/2014/main" id="{58DF8279-312E-4F07-FED4-819D907AE344}"/>
              </a:ext>
            </a:extLst>
          </p:cNvPr>
          <p:cNvSpPr>
            <a:spLocks noGrp="1"/>
          </p:cNvSpPr>
          <p:nvPr>
            <p:ph idx="1"/>
          </p:nvPr>
        </p:nvSpPr>
        <p:spPr>
          <a:xfrm>
            <a:off x="462987" y="1144587"/>
            <a:ext cx="11262167" cy="5257800"/>
          </a:xfrm>
        </p:spPr>
        <p:txBody>
          <a:bodyPr lIns="365760" tIns="274320" rIns="365760">
            <a:noAutofit/>
          </a:bodyPr>
          <a:lstStyle/>
          <a:p>
            <a:pPr>
              <a:lnSpc>
                <a:spcPct val="100000"/>
              </a:lnSpc>
              <a:spcBef>
                <a:spcPts val="1200"/>
              </a:spcBef>
            </a:pPr>
            <a:r>
              <a:rPr lang="en-US" sz="2200" dirty="0">
                <a:solidFill>
                  <a:srgbClr val="002656"/>
                </a:solidFill>
              </a:rPr>
              <a:t>Part 1 - Diffuse Large B-Cell Lymphoma:</a:t>
            </a:r>
          </a:p>
          <a:p>
            <a:pPr marL="457200" lvl="1" indent="0">
              <a:lnSpc>
                <a:spcPct val="100000"/>
              </a:lnSpc>
              <a:spcBef>
                <a:spcPts val="1200"/>
              </a:spcBef>
              <a:buNone/>
            </a:pPr>
            <a:r>
              <a:rPr lang="en-US" sz="2200" b="1" dirty="0"/>
              <a:t>Antibody-Drug Conjugates and Other Novel Strategies in the Management of DLBCL</a:t>
            </a:r>
            <a:r>
              <a:rPr lang="en-US" sz="2200" dirty="0"/>
              <a:t> — </a:t>
            </a:r>
            <a:r>
              <a:rPr lang="en-US" sz="2200" b="0" dirty="0"/>
              <a:t>Prof Salles</a:t>
            </a:r>
          </a:p>
          <a:p>
            <a:pPr marL="457200" lvl="1" indent="0">
              <a:lnSpc>
                <a:spcPct val="100000"/>
              </a:lnSpc>
              <a:spcBef>
                <a:spcPts val="1200"/>
              </a:spcBef>
              <a:buNone/>
            </a:pPr>
            <a:r>
              <a:rPr lang="en-US" sz="2200" b="1" dirty="0"/>
              <a:t>Current and Future Role of Monoclonal and Bispecific Antibodies in the Management of DLBCL </a:t>
            </a:r>
            <a:r>
              <a:rPr lang="en-US" sz="2200" dirty="0"/>
              <a:t>— </a:t>
            </a:r>
            <a:r>
              <a:rPr lang="en-US" sz="2200" b="0" dirty="0"/>
              <a:t>Dr Patel</a:t>
            </a:r>
          </a:p>
          <a:p>
            <a:pPr marL="457200" lvl="1" indent="0">
              <a:lnSpc>
                <a:spcPct val="100000"/>
              </a:lnSpc>
              <a:spcBef>
                <a:spcPts val="1200"/>
              </a:spcBef>
              <a:buNone/>
            </a:pPr>
            <a:r>
              <a:rPr lang="en-US" sz="2200" b="1" dirty="0"/>
              <a:t>Chimeric Antigen Receptor (CAR) T-Cell Therapy for DLBCL</a:t>
            </a:r>
            <a:r>
              <a:rPr lang="en-US" sz="2200" dirty="0"/>
              <a:t> — </a:t>
            </a:r>
            <a:r>
              <a:rPr lang="en-US" sz="2200" b="0" dirty="0"/>
              <a:t>Dr Kamdar </a:t>
            </a:r>
          </a:p>
          <a:p>
            <a:pPr>
              <a:lnSpc>
                <a:spcPct val="100000"/>
              </a:lnSpc>
              <a:spcBef>
                <a:spcPts val="1200"/>
              </a:spcBef>
            </a:pPr>
            <a:r>
              <a:rPr lang="en-US" sz="2200" dirty="0">
                <a:solidFill>
                  <a:srgbClr val="002656"/>
                </a:solidFill>
              </a:rPr>
              <a:t>Part 2 – Follicular Lymphoma:</a:t>
            </a:r>
            <a:endParaRPr lang="en-US" sz="2200" dirty="0"/>
          </a:p>
          <a:p>
            <a:pPr marL="457200" lvl="1" indent="0">
              <a:lnSpc>
                <a:spcPct val="100000"/>
              </a:lnSpc>
              <a:spcBef>
                <a:spcPts val="1200"/>
              </a:spcBef>
              <a:buNone/>
            </a:pPr>
            <a:r>
              <a:rPr lang="en-US" sz="2200" b="1" dirty="0">
                <a:solidFill>
                  <a:schemeClr val="bg1"/>
                </a:solidFill>
              </a:rPr>
              <a:t>CAR T-Cell Therapy for FL </a:t>
            </a:r>
            <a:r>
              <a:rPr lang="en-US" sz="2200" dirty="0">
                <a:solidFill>
                  <a:schemeClr val="bg1"/>
                </a:solidFill>
              </a:rPr>
              <a:t>— </a:t>
            </a:r>
            <a:r>
              <a:rPr lang="en-US" sz="2200" b="0" dirty="0">
                <a:solidFill>
                  <a:schemeClr val="bg1"/>
                </a:solidFill>
              </a:rPr>
              <a:t>Prof Salles </a:t>
            </a:r>
          </a:p>
          <a:p>
            <a:pPr marL="457200" lvl="1" indent="0">
              <a:lnSpc>
                <a:spcPct val="100000"/>
              </a:lnSpc>
              <a:spcBef>
                <a:spcPts val="1200"/>
              </a:spcBef>
              <a:buNone/>
            </a:pPr>
            <a:r>
              <a:rPr lang="en-US" sz="2200" b="1" dirty="0"/>
              <a:t>Other Approved and Emerging Novel Therapies for FL — </a:t>
            </a:r>
            <a:r>
              <a:rPr lang="en-US" sz="2200" dirty="0"/>
              <a:t>Dr Patel</a:t>
            </a:r>
          </a:p>
          <a:p>
            <a:pPr marL="457200" lvl="1" indent="0">
              <a:lnSpc>
                <a:spcPct val="100000"/>
              </a:lnSpc>
              <a:spcBef>
                <a:spcPts val="1200"/>
              </a:spcBef>
              <a:buNone/>
            </a:pPr>
            <a:r>
              <a:rPr lang="en-US" sz="2200" b="1" dirty="0"/>
              <a:t>Integrating Bispecific Antibodies into the Management of FL </a:t>
            </a:r>
            <a:r>
              <a:rPr lang="en-US" sz="2200" dirty="0"/>
              <a:t>— </a:t>
            </a:r>
            <a:r>
              <a:rPr lang="en-US" sz="2200" b="0" dirty="0"/>
              <a:t>Dr Kamdar </a:t>
            </a:r>
          </a:p>
        </p:txBody>
      </p:sp>
    </p:spTree>
    <p:extLst>
      <p:ext uri="{BB962C8B-B14F-4D97-AF65-F5344CB8AC3E}">
        <p14:creationId xmlns:p14="http://schemas.microsoft.com/office/powerpoint/2010/main" val="28123496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1C8088-72EA-B979-2C1E-9591EA8ED560}"/>
              </a:ext>
            </a:extLst>
          </p:cNvPr>
          <p:cNvSpPr>
            <a:spLocks noGrp="1"/>
          </p:cNvSpPr>
          <p:nvPr>
            <p:ph type="ctrTitle"/>
          </p:nvPr>
        </p:nvSpPr>
        <p:spPr>
          <a:xfrm>
            <a:off x="609600" y="2227669"/>
            <a:ext cx="10972800" cy="1377976"/>
          </a:xfrm>
        </p:spPr>
        <p:txBody>
          <a:bodyPr>
            <a:noAutofit/>
          </a:bodyPr>
          <a:lstStyle/>
          <a:p>
            <a:r>
              <a:rPr lang="en-US" dirty="0"/>
              <a:t>CAR </a:t>
            </a:r>
            <a:r>
              <a:rPr lang="en-US"/>
              <a:t>T-Cell Therapy </a:t>
            </a:r>
            <a:br>
              <a:rPr lang="en-US" dirty="0"/>
            </a:br>
            <a:r>
              <a:rPr lang="en-US" dirty="0"/>
              <a:t>in Follicular Lymphoma</a:t>
            </a:r>
            <a:endParaRPr lang="en-US" sz="4000" dirty="0"/>
          </a:p>
        </p:txBody>
      </p:sp>
      <p:sp>
        <p:nvSpPr>
          <p:cNvPr id="4" name="Text Placeholder 3">
            <a:extLst>
              <a:ext uri="{FF2B5EF4-FFF2-40B4-BE49-F238E27FC236}">
                <a16:creationId xmlns:a16="http://schemas.microsoft.com/office/drawing/2014/main" id="{2741B2E2-1051-2EE0-3DE0-6B5E97A6D486}"/>
              </a:ext>
            </a:extLst>
          </p:cNvPr>
          <p:cNvSpPr>
            <a:spLocks noGrp="1"/>
          </p:cNvSpPr>
          <p:nvPr>
            <p:ph type="body" sz="quarter" idx="14"/>
          </p:nvPr>
        </p:nvSpPr>
        <p:spPr/>
        <p:txBody>
          <a:bodyPr/>
          <a:lstStyle/>
          <a:p>
            <a:pPr>
              <a:spcBef>
                <a:spcPts val="0"/>
              </a:spcBef>
            </a:pPr>
            <a:r>
              <a:rPr lang="en-US" dirty="0"/>
              <a:t>Gilles SALLES</a:t>
            </a:r>
          </a:p>
          <a:p>
            <a:pPr>
              <a:spcBef>
                <a:spcPts val="0"/>
              </a:spcBef>
            </a:pPr>
            <a:r>
              <a:rPr lang="en-US" sz="2000" dirty="0"/>
              <a:t>Lymphoma Service, Steven Greenberg Chair, Memorial Sloan Kettering Cancer Center</a:t>
            </a:r>
          </a:p>
          <a:p>
            <a:pPr>
              <a:spcBef>
                <a:spcPts val="0"/>
              </a:spcBef>
            </a:pPr>
            <a:r>
              <a:rPr lang="en-US" sz="2000" dirty="0"/>
              <a:t>Weill Cornell Medical College, New York, US</a:t>
            </a:r>
            <a:endParaRPr lang="en-US" dirty="0"/>
          </a:p>
          <a:p>
            <a:endParaRPr lang="en-US" dirty="0"/>
          </a:p>
        </p:txBody>
      </p:sp>
      <p:pic>
        <p:nvPicPr>
          <p:cNvPr id="6" name="Image 24">
            <a:extLst>
              <a:ext uri="{FF2B5EF4-FFF2-40B4-BE49-F238E27FC236}">
                <a16:creationId xmlns:a16="http://schemas.microsoft.com/office/drawing/2014/main" id="{644D83E9-365F-B04C-6D11-0F40A4A0ED0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037054"/>
            <a:ext cx="2016224" cy="983995"/>
          </a:xfrm>
          <a:prstGeom prst="rect">
            <a:avLst/>
          </a:prstGeom>
        </p:spPr>
      </p:pic>
      <p:sp>
        <p:nvSpPr>
          <p:cNvPr id="3" name="TextBox 2">
            <a:extLst>
              <a:ext uri="{FF2B5EF4-FFF2-40B4-BE49-F238E27FC236}">
                <a16:creationId xmlns:a16="http://schemas.microsoft.com/office/drawing/2014/main" id="{59D79ECD-8345-AD35-DCD4-4D1152B0AB1F}"/>
              </a:ext>
            </a:extLst>
          </p:cNvPr>
          <p:cNvSpPr txBox="1"/>
          <p:nvPr/>
        </p:nvSpPr>
        <p:spPr>
          <a:xfrm>
            <a:off x="11220346" y="6453689"/>
            <a:ext cx="768159"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ptos" panose="02110004020202020204"/>
                <a:ea typeface="+mn-ea"/>
                <a:cs typeface="+mn-cs"/>
              </a:rPr>
              <a:t>April 2026</a:t>
            </a:r>
          </a:p>
        </p:txBody>
      </p:sp>
    </p:spTree>
    <p:extLst>
      <p:ext uri="{BB962C8B-B14F-4D97-AF65-F5344CB8AC3E}">
        <p14:creationId xmlns:p14="http://schemas.microsoft.com/office/powerpoint/2010/main" val="202768588"/>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92F6B-9451-D446-7D02-506082DA2D4D}"/>
              </a:ext>
            </a:extLst>
          </p:cNvPr>
          <p:cNvSpPr>
            <a:spLocks noGrp="1"/>
          </p:cNvSpPr>
          <p:nvPr>
            <p:ph type="title"/>
          </p:nvPr>
        </p:nvSpPr>
        <p:spPr>
          <a:xfrm>
            <a:off x="528774" y="394334"/>
            <a:ext cx="11053625" cy="907252"/>
          </a:xfrm>
        </p:spPr>
        <p:txBody>
          <a:bodyPr anchor="t"/>
          <a:lstStyle/>
          <a:p>
            <a:pPr>
              <a:lnSpc>
                <a:spcPts val="3199"/>
              </a:lnSpc>
            </a:pPr>
            <a:r>
              <a:rPr lang="en-GB" sz="3200" dirty="0">
                <a:solidFill>
                  <a:srgbClr val="002060"/>
                </a:solidFill>
                <a:latin typeface="Calibri" panose="020F0502020204030204" pitchFamily="34" charset="0"/>
                <a:cs typeface="Calibri" panose="020F0502020204030204" pitchFamily="34" charset="0"/>
              </a:rPr>
              <a:t>Disclosures</a:t>
            </a:r>
          </a:p>
        </p:txBody>
      </p:sp>
      <p:graphicFrame>
        <p:nvGraphicFramePr>
          <p:cNvPr id="49" name="Table 48">
            <a:extLst>
              <a:ext uri="{FF2B5EF4-FFF2-40B4-BE49-F238E27FC236}">
                <a16:creationId xmlns:a16="http://schemas.microsoft.com/office/drawing/2014/main" id="{5A761F82-E81B-DC05-36A8-9CAB1F28CB40}"/>
              </a:ext>
            </a:extLst>
          </p:cNvPr>
          <p:cNvGraphicFramePr>
            <a:graphicFrameLocks noGrp="1"/>
          </p:cNvGraphicFramePr>
          <p:nvPr/>
        </p:nvGraphicFramePr>
        <p:xfrm>
          <a:off x="429658" y="1797614"/>
          <a:ext cx="11479576" cy="3634358"/>
        </p:xfrm>
        <a:graphic>
          <a:graphicData uri="http://schemas.openxmlformats.org/drawingml/2006/table">
            <a:tbl>
              <a:tblPr firstRow="1" bandRow="1">
                <a:tableStyleId>{5C22544A-7EE6-4342-B048-85BDC9FD1C3A}</a:tableStyleId>
              </a:tblPr>
              <a:tblGrid>
                <a:gridCol w="2496422">
                  <a:extLst>
                    <a:ext uri="{9D8B030D-6E8A-4147-A177-3AD203B41FA5}">
                      <a16:colId xmlns:a16="http://schemas.microsoft.com/office/drawing/2014/main" val="3498467246"/>
                    </a:ext>
                  </a:extLst>
                </a:gridCol>
                <a:gridCol w="8983154">
                  <a:extLst>
                    <a:ext uri="{9D8B030D-6E8A-4147-A177-3AD203B41FA5}">
                      <a16:colId xmlns:a16="http://schemas.microsoft.com/office/drawing/2014/main" val="2546099281"/>
                    </a:ext>
                  </a:extLst>
                </a:gridCol>
              </a:tblGrid>
              <a:tr h="1574888">
                <a:tc>
                  <a:txBody>
                    <a:bodyPr/>
                    <a:lstStyle/>
                    <a:p>
                      <a:r>
                        <a:rPr lang="en-US" sz="1800" b="1" dirty="0">
                          <a:solidFill>
                            <a:srgbClr val="000000"/>
                          </a:solidFill>
                          <a:latin typeface="Arial" panose="020B0604020202020204" pitchFamily="34" charset="0"/>
                          <a:cs typeface="Arial" panose="020B0604020202020204" pitchFamily="34" charset="0"/>
                        </a:rPr>
                        <a:t>Advisory Committees</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indent="0" algn="l" defTabSz="609585" rtl="0" eaLnBrk="1" fontAlgn="auto" latinLnBrk="0" hangingPunct="1">
                        <a:lnSpc>
                          <a:spcPct val="100000"/>
                        </a:lnSpc>
                        <a:spcBef>
                          <a:spcPts val="0"/>
                        </a:spcBef>
                        <a:spcAft>
                          <a:spcPts val="0"/>
                        </a:spcAft>
                        <a:buClrTx/>
                        <a:buSzTx/>
                        <a:buFontTx/>
                        <a:buNone/>
                        <a:tabLst/>
                        <a:defRPr/>
                      </a:pPr>
                      <a:r>
                        <a:rPr lang="en-US" sz="1800" b="0" dirty="0">
                          <a:solidFill>
                            <a:srgbClr val="000000"/>
                          </a:solidFill>
                          <a:latin typeface="Arial" panose="020B0604020202020204" pitchFamily="34" charset="0"/>
                          <a:cs typeface="Arial" panose="020B0604020202020204" pitchFamily="34" charset="0"/>
                        </a:rPr>
                        <a:t>AbbVie Inc, </a:t>
                      </a:r>
                      <a:r>
                        <a:rPr lang="en-US" sz="1800" b="0" dirty="0" err="1">
                          <a:solidFill>
                            <a:srgbClr val="000000"/>
                          </a:solidFill>
                          <a:latin typeface="Arial" panose="020B0604020202020204" pitchFamily="34" charset="0"/>
                          <a:cs typeface="Arial" panose="020B0604020202020204" pitchFamily="34" charset="0"/>
                        </a:rPr>
                        <a:t>BeOne</a:t>
                      </a:r>
                      <a:r>
                        <a:rPr lang="en-US" sz="1800" b="0" dirty="0">
                          <a:solidFill>
                            <a:srgbClr val="000000"/>
                          </a:solidFill>
                          <a:latin typeface="Arial" panose="020B0604020202020204" pitchFamily="34" charset="0"/>
                          <a:cs typeface="Arial" panose="020B0604020202020204" pitchFamily="34" charset="0"/>
                        </a:rPr>
                        <a:t>, Bristol Myers Squibb, Foresight Diagnostics, Genentech, a member of the Roche Group, Genmab US Inc, Incyte Corporation, Ipsen Biopharmaceuticals Inc, Janssen Biotech Inc, Kite, A Gilead Company, Lilly, Merck, Novartis, </a:t>
                      </a:r>
                      <a:r>
                        <a:rPr lang="en-US" sz="1800" b="0" dirty="0" err="1">
                          <a:solidFill>
                            <a:srgbClr val="000000"/>
                          </a:solidFill>
                          <a:latin typeface="Arial" panose="020B0604020202020204" pitchFamily="34" charset="0"/>
                          <a:cs typeface="Arial" panose="020B0604020202020204" pitchFamily="34" charset="0"/>
                        </a:rPr>
                        <a:t>Nurix</a:t>
                      </a:r>
                      <a:r>
                        <a:rPr lang="en-US" sz="1800" b="0" dirty="0">
                          <a:solidFill>
                            <a:srgbClr val="000000"/>
                          </a:solidFill>
                          <a:latin typeface="Arial" panose="020B0604020202020204" pitchFamily="34" charset="0"/>
                          <a:cs typeface="Arial" panose="020B0604020202020204" pitchFamily="34" charset="0"/>
                        </a:rPr>
                        <a:t> Therapeutics Inc, Pfizer Inc, SERB Pharmaceuticals</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98840359"/>
                  </a:ext>
                </a:extLst>
              </a:tr>
              <a:tr h="1211453">
                <a:tc>
                  <a:txBody>
                    <a:bodyPr/>
                    <a:lstStyle/>
                    <a:p>
                      <a:r>
                        <a:rPr lang="en-US" sz="1800" b="1" i="0" kern="1200" dirty="0">
                          <a:solidFill>
                            <a:schemeClr val="dk1"/>
                          </a:solidFill>
                          <a:effectLst/>
                          <a:latin typeface="Arial" panose="020B0604020202020204" pitchFamily="34" charset="0"/>
                          <a:ea typeface="+mn-ea"/>
                          <a:cs typeface="Arial" panose="020B0604020202020204" pitchFamily="34" charset="0"/>
                        </a:rPr>
                        <a:t>Consulting Agreements</a:t>
                      </a:r>
                      <a:endParaRPr lang="en-US" sz="1800" b="1" dirty="0">
                        <a:solidFill>
                          <a:srgbClr val="000000"/>
                        </a:solidFill>
                        <a:latin typeface="Arial" panose="020B0604020202020204" pitchFamily="34" charset="0"/>
                        <a:cs typeface="Arial" panose="020B0604020202020204" pitchFamily="34"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dirty="0">
                          <a:solidFill>
                            <a:srgbClr val="000000"/>
                          </a:solidFill>
                          <a:latin typeface="Arial" panose="020B0604020202020204" pitchFamily="34" charset="0"/>
                          <a:cs typeface="Arial" panose="020B0604020202020204" pitchFamily="34" charset="0"/>
                        </a:rPr>
                        <a:t>AbbVie Inc, Canopy Life Sciences, Daiichi Sankyo Inc, Ellipses Pharma, Genentech, a member of the Roche Group, Genmab US Inc, Incyte Corporation, Kite, A Gilead Company, </a:t>
                      </a:r>
                      <a:r>
                        <a:rPr lang="en-US" sz="1800" b="0" dirty="0" err="1">
                          <a:solidFill>
                            <a:srgbClr val="000000"/>
                          </a:solidFill>
                          <a:latin typeface="Arial" panose="020B0604020202020204" pitchFamily="34" charset="0"/>
                          <a:cs typeface="Arial" panose="020B0604020202020204" pitchFamily="34" charset="0"/>
                        </a:rPr>
                        <a:t>ModeX</a:t>
                      </a:r>
                      <a:r>
                        <a:rPr lang="en-US" sz="1800" b="0" dirty="0">
                          <a:solidFill>
                            <a:srgbClr val="000000"/>
                          </a:solidFill>
                          <a:latin typeface="Arial" panose="020B0604020202020204" pitchFamily="34" charset="0"/>
                          <a:cs typeface="Arial" panose="020B0604020202020204" pitchFamily="34" charset="0"/>
                        </a:rPr>
                        <a:t> Therapeutics, </a:t>
                      </a:r>
                      <a:r>
                        <a:rPr lang="en-US" sz="1800" b="0" dirty="0" err="1">
                          <a:solidFill>
                            <a:srgbClr val="000000"/>
                          </a:solidFill>
                          <a:latin typeface="Arial" panose="020B0604020202020204" pitchFamily="34" charset="0"/>
                          <a:cs typeface="Arial" panose="020B0604020202020204" pitchFamily="34" charset="0"/>
                        </a:rPr>
                        <a:t>Treeline</a:t>
                      </a:r>
                      <a:r>
                        <a:rPr lang="en-US" sz="1800" b="0" dirty="0">
                          <a:solidFill>
                            <a:srgbClr val="000000"/>
                          </a:solidFill>
                          <a:latin typeface="Arial" panose="020B0604020202020204" pitchFamily="34" charset="0"/>
                          <a:cs typeface="Arial" panose="020B0604020202020204" pitchFamily="34" charset="0"/>
                        </a:rPr>
                        <a:t> Biosciences</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27146788"/>
                  </a:ext>
                </a:extLst>
              </a:tr>
              <a:tr h="848017">
                <a:tc>
                  <a:txBody>
                    <a:bodyPr/>
                    <a:lstStyle/>
                    <a:p>
                      <a:r>
                        <a:rPr lang="en-US" sz="1800" b="1" dirty="0">
                          <a:solidFill>
                            <a:srgbClr val="000000"/>
                          </a:solidFill>
                          <a:latin typeface="Arial" panose="020B0604020202020204" pitchFamily="34" charset="0"/>
                          <a:cs typeface="Arial" panose="020B0604020202020204" pitchFamily="34" charset="0"/>
                        </a:rPr>
                        <a:t>Contracted Research</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dirty="0">
                          <a:solidFill>
                            <a:srgbClr val="000000"/>
                          </a:solidFill>
                          <a:latin typeface="Arial" panose="020B0604020202020204" pitchFamily="34" charset="0"/>
                          <a:cs typeface="Arial" panose="020B0604020202020204" pitchFamily="34" charset="0"/>
                        </a:rPr>
                        <a:t>AbbVie Inc, Genentech, a member of the Roche Group, Genmab US Inc, Ipsen Biopharmaceuticals Inc, Janssen Biotech Inc</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68284277"/>
                  </a:ext>
                </a:extLst>
              </a:tr>
            </a:tbl>
          </a:graphicData>
        </a:graphic>
      </p:graphicFrame>
    </p:spTree>
    <p:extLst>
      <p:ext uri="{BB962C8B-B14F-4D97-AF65-F5344CB8AC3E}">
        <p14:creationId xmlns:p14="http://schemas.microsoft.com/office/powerpoint/2010/main" val="424382033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4" descr="data:image/jpeg;base64,/9j/4AAQSkZJRgABAQAAAQABAAD/2wBDAAMCAgICAgMCAgIDAwMDBAYEBAQEBAgGBgUGCQgKCgkICQkKDA8MCgsOCwkJDRENDg8QEBEQCgwSExIQEw8QEBD/2wBDAQMDAwQDBAgEBAgQCwkLEBAQEBAQEBAQEBAQEBAQEBAQEBAQEBAQEBAQEBAQEBAQEBAQEBAQEBAQEBAQEBAQEBD/wAARCANcA/4DASIAAhEBAxEB/8QAHQABAAEFAQEBAAAAAAAAAAAAAAcCAwQFBgEICf/EAGMQAAEDAwMCBAMEBQUJCgoFDQEAAgMEBREGEiEHMRMiQVEIFGEVIzJxFkKBkaEXUmKx0RgkM1dykrK0wTdDU1Z2lJWjs9IJJjQ4Y2VzdYKiJTU2VGR0pOFFWIOT8SdERtPw/8QAHAEBAAIDAQEBAAAAAAAAAAAAAAIDAQQFBgcI/8QASBEAAgEDAwIDBQUGAwQJBAMAAAECAwQREiExBUETIlEGFGFxgQcykaGxFUJSwdHwI2KyFjPh8QhTVHJzgoPCwxdDkqIkY5P/2gAMAwEAAhEDEQA/APyqRF9BO0vpx3xL3qxx6dtptcVpqJ46MUkfy7D9lCRrxHjaPMQ4HHfnugPn1FPtn6NdIbgy32q6XzUdrrX6ToNV3C6PmhlpII5JIhNEIBCJOGvLmv8AEOOMtdg5vVHQ7p1BWV12lg1MdO0FkulzbUUN7t1xirpKSeJjBDVwRloD2SZcySJr4yQfMMhAfPiL6ApOg2hpLZUa2dW3F9jqLba62326pv8Ab7ZUtfVOkEjZKypYIHbPAkLQ1gc/c0YbglaXVHSvphoexXK9XXUl1vlNVXaptlkrLJUU0sLBHTNlbJNw5kx3ysY5scjMbXkEnyoCGUX1VS6X0ZZ+nejKZtghnumqLnpuinuMtvtkjoY6mDe9rGyUbuPKckkvcSC97gC13Pa9+H/RFhFzt41RDTXtlvF0gqam/wBsiinnkfuFG23MDalp8Nzdsg8pcDhgBCA+dkU76v0L090jofqRYLNb7jU3vTNwtFHPcbiYZBI5zpN76cCNr6drnBwLS5+5oYd3otDNX0nTXpxoq82LT2n7jW6lNXWXGqu1pp7huEM/htpmCdrxE0DlxYGvJcPNwAAImRTroq8iPU2ubS7ptZrJSUFgul4pLTeLDR1tTQVDYQ+PM1TT+M5oJy1j/LtIGD3MK3a6VN5uM1zrIqSOaocHPbSUcVLCDgDyxQtbGwcdmtHuspZYMRERS0oBERNKARETSgERE0oBERNKARETSgERE0oBERNKARETSgERE0oBERNKARETSgERE0oBERNKARETSgERE0oBERNKARETSgERE0oBERNKARETSgERE0oBERNKARETSgERE0oBEX3jpn4P+llb0TobRcrG5vU67abmu9PUSVtQHMl4c0eE2QREMMkbMbee/J5XnPaL2msfZmFKd7qfiS0rSk8d3J5a8se7WWs8FtKjKtlR7HwciqlilglfBPE+OSNxY9j2kOa4HBBB7EFUr0ainuVBERNKARETSgERE0oBERNKARETSgERE0oBERNKARETSgERE0oBERNKARETSgERE0oBERNKARETSgERE0oBERNKARETSgERE0oBERNKARETSgERE0oBERNKARF9PfCppuyWnpn1I61i30lfqXSVFKbO2qjErKSRsJkE4jP62QMO9A0gYyVx+udVh0S0d1KOp5jFLjMpNRW/ZZe73wuz4LaNJ1p6T5hRTl016x6p17endNupl2n1BQ6yraaidXXGo3T0DX1MbpGwyOG5sbwwN8JrmtB2kAEcy91c6h6q6d/E9pHppouodaNI299voGWGlHhUNTFUv2TeLC3DZS4PIBcHYIyOc54117RXlrd+4Stl4midT/eeVxilw9GcuT04cVjDecYzbG3jKOvVtlLju/qfF6L7/tFXp/oR8RmrLNZKt1BpO4RWqeotULiKSlnq5mwEtiHlbyWHOOAccNwFk9EemFv6S/Ebqyh8BzZb2aye0ue0cW5rYZXlpA4BlqGM/wD3J+q4lb7RaVKjUrK3ePDjUh5sa00nKL8vlcFJN41ZW5crBtpau+H8P+Z+e6L7X6Raw1hdtC9e5Lj1GudDLQzymkuVZX1TxbzukHiNMYfIzAa0fdtJwBxwtLrTVOhut/UjRj9HWur1tctFWV9zv1xpaGaGa8mnY0sgZGWCV5Mu0Zc0Y8Q4yMroQ9sK3vVShUtXop51TUm0v8OM1luEYrVq0rzZzvjHFbtFpUlLd9vrj1PkJF9YfF3pi5aR6y6T6sabFbZv0ojgmL4Q+mnp6tm1sgcRgseWPaMcHh31X0Jq2TV1k6n37qFPfKzUWjrPpeKC56Oopn1FRLJIAfF+Vl2wFpaHEvDi8hrmgHJC07j2/jTtba6pUU1WhKWHPGJRlGLh9xrLlLCbaWecE42LcpRb4fp29eT8y0U+fDNbvtfq5XdTqDQ9XXW7T9bFVx2q2wyTup3VVR4cW1rG5LImGV+cAYiC6Lq3pG69JfjCtNTp2qqbZSaiu9DX076N74MxTztbPES3GQXB+5vbDhkcru1vaanS6jPpmjzxpue8lvJJNw2Tw1Fp53TT2WxSrdumqmds4/4nzCi/QTqJrSz2/rvrixa11PetN0tdZqG1WTVEEcjorDUTAue1sgGKczHaXOBbkRHLmgZFnSHSi53vq/paj6u01j1RRWWx1tfabzTubLT39zp2bJ5o8AeK1jmF24yBxIdudjK89H7Q407dXNzb6U4Ka82XJOGry5glLDajJZ1L72nTuX+4Ny0xlnfHHxxvufAKL7L+H/XGpOtPWrXXTrqjVPv+m7pS1kxtleTJBQugnayIwMPlhLQ8jLA05DSTkZWV021po/8ARG2fD51VrJbppvUdTdLVbbjVTl7qSWmqvCpg0nOxpBbtIIDS1oAw443rr2xr2lSdGdrqnBQlJRnnySjKTccwWXHRLy7Z2w98KEbSM0mpbPPK7r6/E+KkX0D8WFs1xox2j+nertWXC8fZVtlO+aqkkjmIqJWxzbXuOHGLaPUgeXOAvn5ep6R1FdWs4XkEtMs4w8ppNpPLS5xng1qtPwpuDC7SbrH1FqLU+0y32EtkoRbZKsW6lFe+kGPuXVgj+YczAA2mTBAx24XFqVLh0gttL0kh1jTVlZNqGkipbrdaDe0xRWyqkkZBIwBhcH5jY52SQGytOB69IrOZtfVnqFZbnBerVqN9NW01rhssMzKeLcyjiLDHGPL6GNnm/Ecck5K6Sw/ERrm1VlfX1vyNVJUWqrt1LFBb6OkpqeSokjfJO6njhEUxd4eHB7fMDycDC2N+6VdO7RoN/ViG+3SfT13pY6axUHixit+1eRPFUP8AD2+FFsc4uDG7w+MAg5J2VN0K0WzqxqDSt4vd0pNNWeO3QNrPFi8c1lc2EQMcdm0t3ySOOGg7IzyO6Aj1nWLqELjX3KW8UtQbnTwUlVS1NrpJ6J8MODCwUskRga1hGWhrBtycYyc3IOtXU+mF38PVcrn3yeSpq5JKeGSQSviMTnwvcwup3GM7MxFmGgNHAAF2/wDTYaZ0FX3q7/NRXy26rk09PBuHghjIC8uALQ7duHBzjHp6rqdPdIrbXdONN6vpumfUHWFXen1rao2CqbHBSeDNsYCBRTnLhzy4djgIDh5OrHUCWktFA+/5gsVRR1VvZ8rB9zLSMLKd2dmXbWkjDsg+uSr9z6ydRrxa57Tcb9FLHU0zqKWcW+mbVupTJ4hp/mWxibwd3+9b9mOMY4Wz6WdPrVrjV2orRW2DUc7LTaq64U1poJ2ivllhc0Mpy8wPy7zEEiIEkcNHZZ7em1irLpf7bWaL1lpGosul6y9tpL1WMknlljLfDODSQkRHLgRtJOOHDCA5y/dYuomp7DUabvl9iqKGsdA+qAt9NHNVPhaGxPmmZGJZXNAA3PcTgYJWNpnqfrTSNubaLPX0b6KOpFbDBX2ylr2QVAGPFiFRG/wn9suZgnAz2C7zpX0Y0rrjS1BfLrdK9ldVV1fSw2+Grp6c3GSGCN8NNDJM0tjle6Q+Z24YbgNyVcqOjelHy1++h1hp+qpdI3K+y2W9QGOqpaimIEWZn08bZ4ZASfIxrhtIJBQEYQa21TT3S7Xpt5mkr75TVFJcKiYNlfURTjEocXg8uHqMEehC0ilabRHTDSEunLBr5+pprtfqKCvqqq3VEENPa4qhoMLfBfE99S4A7n4fEOdrcnldHq74aoNO6DF4obxUVuoLbcatl1pAW+HJboqjwfmoG7dw25jLwS7AkB4xzlPAIMoqSSuqo6WLh0jgM4JDR6k45wO67LX/AEnu+g6SnurLzar9ap3+AbjaZjNTxz4z4LnYGH45x7LZaq0XRaT1rrPR9kqZHQWx7YKearkb4mMg5c4Bozz6AKYdEdFtQ6B6VdWavUeotK3el/Rhz6eC23iKudDP40f3uxv4DjI39+cLzfWuuLpdSEnUS80Y6HzPU4rKfbTqz8To2dm7mLWl8N59MJv88HyoimPpl0loevlsptJdO6JtFrm2xufNDPMRT3CnBy+d0juI3Ny1oYBz3XJdTqLRNgrKfSOlIZ6iqs5khudzmyx1TUZw+MR8gNjcHNDh+Icro0es0K927GKfix+9H+GPaT3xpl+7jLe+20sUTtJwpKs8aXw/V90viu//ABWeaqNOX2lsNJqiotVRHaa6eSmpqxzMRSyxgF7Gn1IyM/mtcpt6kWfSE3w6aA1np2xVFqq6y7V9vrIzXyTxSvhjizK1jjtYXFxJwFw/SDSs+qtb0FO7TsF3t9O/xK+KqqzSUrIsEAzVAH3Td2PMfXA9VC06xGrZVbyqtKhKomnhPySccfeay8c5SfwM1bVwrRpRecqL790n6Z/I4pd5046RXbqZar9cLLfrPTz2GkkrpKGqnLKieGNhc90bQDuAA5/MKfNbdAtHXbQepbzadOaT07Ppy2y3US2bVn2tLPswPCdEcbWnP4/TCi/4V/8A7X6s/wCRN6/7ELjVPaiHUOlXF5096Z0sZT0v0ePK2t16PKNtdOdC5hSr7qXplfqk9vkQuiIvZnJOkboK8O6eu6kiWn+zGXQWks3HxfGMfiZxj8OPVND6CvGvp7tT2eWnY6z2uou0/jOLQYYQC4Dj8XPAUgfDtUw3s6r6WnM9y1paHWyxQSjMAuDntcHuJ4jO1rhvxn0WdW0z+mHw7Vunr4BTX3Wd5jrrXNTeYuoqbxIahj5BgtBkx5OzgMryt11i5oV6liseK5wUNv3J76sd1FKeX30vjB0qdrTnCNZ/dw2/mu2e2cr8SDUU06fs3Trp90v091A1pon9L5NWVFXDFTvrpKQUQp37SQWZ37s557YWH1S0fpCr6a6e6y6OsrtP0l9udXZzZhO6obE6nYxxlErvMS7xO2MDC3YdepTuFR8OSjKbgp+XS5x1ZjjVq/dlu4pbc7rNMrKSpuepZSTa3yk8YfGO6753Ob1B0mu1g6a2Xqj9uWiutl5qfkxDSzl89NPsLyyVuMNIA7Z9VwymWv8A/NHtf/Lif/VFpOjGjbBq6l1zLfaR07rLparudHh5bsqGFu1xx37nhVWnVp0bWvcXj1KnUlHZJPGrC2+GSVW2UqsIUttUU/yyyNUUn6Z0Tp64/D7rXXdXSOdeLPerZR0kwkIDIphJ4g29jnaFM9Z0s6O12q7H0ootBvpLhU6UptST3oXCV7nuFMaiSLwj5QH7S3OeN2VXe+1NrY1J05Qk9DkpNY2UIwlKW8llJTXGXnOxKj02pWipJpZSxzvltJcfB/A+SUUya60ZovUehtO9UdHWJ2maa831+n32ptQ6pawsY1xnEj+cndjbjHCnKs+HrQei6h2lqvRehr3NQBsb7jcNc/IVNQSA7dJTjPhnnG3Pp9Vr3ntlZWUIOpCWuTktPlTTg0pZbko7NpbSec7bZLKXSq1aTUWsLG+++d1ws/ij4pRdp1i0dZNBdQbnpnTt9p7vQ0xY+Opp5Gvjy9ocWNc0kODSS3PrhcWvT2lzTvKELil92aTWVh4e/BzqlOVKbpy5Wx32g+jt41ra33+tv9m01aDIYae4XqoMEFVM38cUbsHc5oIJHoCFY6gdKLtoOmp7rHerTqC0VD/AFztE5mpmz4z4JfgYfjnHssvR9N1C6o2Kg6VWqppGWW0Vc1ybJVubBT0ksrQ1z5ZyMNDtgAzxlbjqLd7XpLp/RdDbZXRXaro7qbtdKyBwdDHWGPwzBC9uRLHjBDx3JxheeleX0Ooxo+JGTct6aX3ae+JuXKfGz2y8LJvKlRdBz0tbfefeXol6ESqTdY/D/rPRNjvN/u1Vb309kFtNQIpSXH52PfFt45wO/ss+y2i2dGLTTax1XBFU6uqm+NZrRIA9tI3/AO8VLT+F7XAYieMOa7Kyuguu/m+pdyi1jW1FadVW2ttkEUgMsT6+oYWU5LTw0Ne4YOPIOyX/AFS8lCd3YJOlSWXtnxGmm1H0SipLVusvjy7qNvSTVKv96X/67PGfrh49PmR9080DeepWpBpixS08dU6mqKrM7i1uyGMyO5A74acLmlPNv07cujfR/W8uqWx01w1FXCxWiekfvkZU0c2apu8YLGlrgM/rdlqNFaf0JpDpXT9Wda6VOq2XW8S2SK2uq30racxxiTxg9nLiQdu0jHqpw69mVWtFa6eqNOmo4zOWMyabaWP3d2sOD3y8GHZYUYPaWHKWeyzhbc/H6oh1d47o/eD0lf1gpr5aKm2QVsVBU0kU5dVU8sm7YHsxgZDCe/ZdJrjT+hdWdLZOrOitKnSsduvEdjltrat9U2dz4jL429/LSB5doGPVbDSH/mhdQv8AlZZf+zmUbvrNSdvTrW6cGq0Kc4ySb80oxa2bXEk003+pmlaRU5QnutLkmvgm0/y7kHopR+HPRGndf9QKqxanpHVNHHYrpWtY2QsIlhpnvjOR7OAOFb6X6L0/qTp11Ov92pHS1unLTSVVveHlojkfUBjiQO/lPquhc9at7WrUpTTzDw8/+rJwjjfs1v8AD1KKdpOpGMljfV/+qy/+BGSL6os3TTpJcqDpT08k0O5t96i2VlVNqAV8m6kmMkg3Ng/C7hnYkd1wmvdGaFv3TO79RdH6ddpt2lr3Dp6opBUvqW1zpGvd45c/lhGzG0ccrnW/tXbXFZUXTnHMsZenG83CL2k3iU4tLbKxmSSwy+p02pCGrUntnG/om+3ZNP8ATJCSL7Pg+HXRGi7dbbXcNLaN1HPU0FNXurrtrH7LqT48bZNhpxnAbuwD6gZXzp140Np7p/r11m01eKKvpJ6OGtcKKpbUQ0skmS6nbKCd4ZjG48lOke1tj1q592tk+G03jDS+TbXP7yi/qLrpla0p+JUx8edvyw/pkjtdd0u6W6u6v6updHaNt5qKyoIL3kHw4I84MkhHZoyMlcipu+EzWd/t3WDRWj6GqbDbq/UtLU1AYwCR7gNu0vHm2Y7tzg+y6XXrq5sum17mzxrhGTWrhYTedufltn1KLKnTrXEKdXOG0tviQ3dbdPaLpWWmpLTNRVElPIWnILmOLTj6ZCxVvNdf/bfUP/vWr/7Zy0a6FvN1aMJy5aT/ACNea0yaQREVxEIiIAiIgCIiAIiICRvh56dDql1g07pGohdJRS1PzNdgAgU0Q3vBz6HAb/8AEvvK+dUPhwoev9FeLj1autLquzwnTUdojpJjQAyPALHOFMRkuLMu8UNBYM4wV+bWntUam0jXm66U1Fc7LWmMxGpt1XJTSlhIJbvjIOCQOM44Cw56+uqq6S51NZPNWTSmeSokkLpXyk7i8uPJcTznOc8rwvtH7GS9pr7x7m4lClGm4RjDGcyfmctSksNYWFh7cmzSuPBjhLfJMXxf9OGdN+uN7p6OJzLfez9sUnBwBMSZGg/SQP49AQoWW41JrPWGsZKeXV+rLzfH0jDHTuuVfLUmJp7tYZHHaDgcD2WnXqOjWtzY9Po213NTqQiouS742zv6rn4lNSSlNuPAREXSIBERAEREAREQBERAEREAREQBERAEREAREQBERAEREAREQBERAEREB0fT7Qt36j6optJWOSCOsqY5ZGOncWsxHG57skfRpWgbA91QKYEbi/Z9M5wph+EOokpOvNiqodu+GCtkbuAIyKaQjIPddFHrfSYtMfW8WO1HW77p9m/K72+GKnG/7Q+Xxt248nh7dvr3Xl7zrdzZ9SqWsaWuGiGnDw9cnUW/+V6d32xw8nRpWlOrbxqOWHl5+SUePjvx3I/quhOr6PVmpNHS1NAa3S9pdeKxwkOx0LY2PIaccuw8cLn+nvT29dSbxV2SxS08c9Hbaq6SGdxa0xU8Ze8DA74HC+sZtRXGyfE51c1PQ+B87S6Lmqo/Eha+PxPloDywjaRn0Iwue6AW7SWrtRai6laTfTWupZpK9RXmzSTAFk76VwEsGeZGvIc5wAAZkBedXtdfU+n1LmtFf7qnJSS2U5wy1Jejf3XxnZ42zv8A7Loyrxpxf70k18E8ZX8/xPkhERfSkefO7uXSK60HSyj6sQ3+zVttqattFLTU05dU0szgXBkrcYacNz37ELhFMtp/80i/f8uKX/VCtL0F0Zp/W+odQ0GoqR1RDQaXudyga15btnhjBjdx3wfRedt+qzt7e6r3j1KlOS2ST04i0vms4+JvztlUqU4UtnJL8d/6EaIpa+G3ppQ9SdZ3Clv1kqq6z0FluFXPJFuayGVlO90Jc5vbzNHB7rL0fpzQWjOk9D1a1rpQ6sbe7vUWaK3Oq30raUwsa/xQ9mS4uDsYI4wrrrr9vbV52qi5VI6FhY3c9TSTbSTxBt5aWMepCnZTqQVRtKLzu87Yxl8fFcZIaRTFrfTehdUdNabqxo3TB0vDFe22KW1tqn1LZSY/E8bxH8g48u3GPVdp1Zovh36Mazn01T9PKnVc01NTVFRFUV01I23PdCwmNjm58UO3bsnGOy1/9pacpwo06FSVWWvyJRynBx1JvVpX3lh6sPjOcIn+z5JOcppRWN9985xhYz29D5pRSF106d0HTPXf2Da6p81LV26jusQc3BhbUxCURfUMDtufXGVHq7VleUuoW8Lqg/LNJr5M1K1KVCo6c+VsF23SvrDrTo/dqm5aTqKZ8NwiEFwt9bD41LWxDOGSsyDgbjgtLTyRnBIPbfD/AKP6f6lpbhLeLfa75eYs/wD0Zdrt9lU8cHGJY5x/hJC7y+HjtytZ1htOjKW3w1FN08umgb0yXw4rVN408NdT87qkTSYIwcNDQMEc5XDuup2fULqfR7ii5p4Tyo433Xlzrx/mUcLnONzajaVKdFXKkl+P64x9M5OavXU+orrTPZdO6P09pWnrKhlVVmzx1Pi1D2ODowZKiaV7GNcA4MjLW5wcEgY64fFBrCpvNk1ZftIaSvep9P0/y9Ffq6lqfmwMODXPbHOyGVzdx2l8Zwee/K2OuumOj7L8Rum9AW+3vjstw+xfmIDK4l3zEUTpfN3GS4/ktfpjpLYtVdf7/wBP2SyUlqtNRc52MHmLoaQPeIsk58wZtz3GcrnyrdDubZV6tJ6fCdXLzq0SWJJvLk8pJNZaaSXCRZ7tcxqaE99Wn6mDorW2vNe3u+6cg0tatW6k1xIZamuuNTURVJdFiVvhuZURRRhhjDmjbxgN/Dhq6Kj+L/qZa9aR62rNPaarr7RWtljinqo6tzYoGnL8MZUNYXvcAXOIJJAxgcLtvh41J0S1Z1Zs4suh59F3WhZUy0XgVctcy4PNPIDFIX48IAZduGcnhfLdz/8ArKr/APbyf6RVdrZ2PWL6taXVpoUIQeJc+fVFpOMnHS404LEfTD4wlaMrejCrCect7r4YfdJ5y3yStZviSu1htWqbJbumujG0WsnPdd4ni5O8YOzkNJrMsGXOPlIOT34GOQtHUc2bRN70PBozT8sN+e19RXSir+bZsduiDHNnDNrHchrmEE43bsBcei9FDoljR1aIfecZPzS3ccaW9+2Fj5L0RoutN8v+2TBL8S18rNBWPpvdunejrjZdPSRzULallw8ZkjM4f4jatrsnJyBhuDgADAWzqPi/6kP6hUvUyjsGmqG7w0Rt1SyCGq+Xr6XB2RzxvqHA7SdzXM2uz3JHC4ronoKwdRtZyaf1LcaugoWW6qq3VFMWh0bo2ZBO4EFo7kcEgcEd11emegVHLpTUt51dXV1NX2q7MtlHT0+xjZAyqhhqJHFzXEj79objHIJORwtR+zHSZZ1UU86s5ba8/wB7ZvHmeG/ik+UifvNX1/tcHM6q6xDVGm5tLt6aaPs9LPczd3yW1tcyQ1J4c77yqe3aWkt27cNBOwNPK6fUPxTai1W7TEl/6caKq5NHvjfaZHMuIkh2bdoc8VYc8ZYw4cTktGfXOfrX4eLFprVOpYbfdbjW6co9PXG6Wms3x+I6rpHtjlp5yGYJY8ncAGkgtIIXF6M6Us1voht1tlwEF6mv4tUEdRJtp3xijlqCMNY53iOMQa3nHOD3yrZdA6dPTqp50uTXmllOSxLDzndbMiq9RdzqdU/Fhq7WT7qb9oHRE8d+EDLrEaOqLatsLXCMHdUExlu7IfEWPBA8y52p+IbqKy76auenKik05BpCE09ooLYx/wAtAx3+E3CZ8j5S/wDW8Rzs/RYts6KagrbFDqe5X+xWa1OtrbrPU18s/wDe0Mk7oYA9kUT3l0rmPLAxrstaSdq6Go+FzW1HJSUtdqfS1PW3SaogtVK+qnL7iYohLmJzYTGGvYWlrpHMB3AHDuFij7OdKt46IUI6eMPdbx08PK+75c86fLxsZdxVlu2Y8/xJ6rgOpavSuk9L6VuurW7LrdbPDVMqpGkkvEfizyMh3FxLjGxpJ5yCARx991/9u6MsmjHaQsVHHYt/y9fTfNfNSGQgymQvndGd7gHHDAAfw7Rwq9CdNbnruivF2hvVrtFssLIHV1dcTP4UXjSbIwRBFI/BIOXFoa0DLiFsqXopqasumn7VS3ixTO1LW19DRTw1jpYN1IQHvMjGkFjtwLS3dkdwFfQ6NZW0lKlDDTTzl5ylpWXnLSjsk9ktkiMqs5bNmo111L1V1HZZf0sq2Vc9jt7bbBUkOM0sTSS0yuJO9wzjdwTjnJyTyylbTPRBtTYa696o1FQ0s/6K1epKG0wTvFa6JjHGGV4MRi8Jxby0SeJtIOAMkRSt23t6VrTVKhFRiuEuFl5/UhKTk8suUr6eOphkq4HzQNkaZY2P2OezPLQ7B2kjjODj2KlmP4j9WVWpbvPqJ1yuekbxS1Fvk0ubtJHSwUj2bI2Q8Fkb4wGEPEfJBOBuKiJd9dOjV/tdPco332x1F3stC243KzQzTGrpYC1rnOJdGIXloe0uDJHEA9jytmFOU03FcFNStTpNKbxn+/5r8Td3brvDeaS56UrNHhui57bBQWyxx3Ag2ySAl0VSyYxndLvfIZHFg8QPIPAGLusviO1ReHVEmiDdNHTXGsZW3Cagu8glqTHTRU8TN8bYyGNbG520kgl+eMBR1V6L1jQU1BWV2k7zTwXVzWUEstBKxlW53LRES3EhORgNznKWPR2pdR6ibpS12iofdPEdFJA9hYYC04eZd2PDDcHcXYDcHKeHPOMbmfFp4ctSwviSVqjrnpTXlmltusun10knq66nutZU2zUDKYz1rKUU75C2WllADw0OLR2OeTlaOo6gdOrppWy6UvehNRywaflrTRS0upYIXmOol8TbJuoXhzm4A3N2g8naOw1T+mktFf71YL9rLTVmksdUKOaasqJiyaUuI+6ZFE+VzeMl2wNAxkjIW1p+hephcKi2Xq+2KyTR3YWSn+eln21lUWh4ERiieNpa5h3P2DztGc8Kat6r4RVK8oR5l8f+Xrz9O5o9L60otJVmpX22zTyUl9s9ZZ4Yp6wOkpmTFuHueIwJC0N5AazOfRW+n2tGaIvFVWVVobdKC5UFRa7hRmcwumppm4eGSAHY8YBDtrgCOxW4ufRbUtotlXU1t2tDLpQW4XaqsniTfPRUpftMh+78I4zuLRIXBvOFwChOnKntJYLKVanXTdN5JTp+r+kaGz0Wi6bpiyp0pC2rfU0txuLaivlqJw0ePHVNgY2F7AxgZtiPG4O3buLsXXC32uxjSen9H1MNmhsF1s9O2tuoqapkle5rpJnSthY0tbsbiJsbPUlxJyonRQLSSaTqlpOujsNdrfp7Le7xpynjpKapiu5poKuGL/AMq4TE8ybO2WPiLm4BzjKz5PiI1PLedM6ikoYzcLJV3GorSZfubjFWTB8sDo9vkj2ZZgl3GDwQFE6KSWQd1rfqJadZXnU+om6dqqGu1FWidrRXtlhp4MD7vb4TXOduGd+4DHG31XnTrqPDoawa2sstsfVHVtkNoZI2QNEBMjX7yMcjy4x9V0fQvQ/TrUdh11qzqRS3mqoNJ26mq44LXUMilkdJN4ZGXgj1Csanu/wzz2Cuh0jo7XVLeXREUc1bcqeSBkme72tbkjv2Xnbq8trqvU6e6E5pShqaS0p+Wa31J7LS3hfib9KjUpQjXU0sp4T5xun2+ZqaLqrNpfR9Hp3p/S1Fjr5T412ujJv75qJQSGiKRuHRR7SA5mSCQCrWrNeaf1rW2O9XvTBZcoHNZe5KSRsMdfE0tDdjAPJIWg7n8lzjlcRJBPExkksL2MlGWOc0gOHuD6o6CZkTJnwvbHJnY8tIa7HfB9V0odKtIVPGisTy/Nl5eeU3nLXouFhYxhFDuarjob2227bfD+8/U+hr31v+Hq7dOaDpszo5qSO32ipqq63k6gBdHUztAc5x2eZvlbwov6WdSm6CqLta7rbXXHTmpqRtvvlHE8RzT0zXiQNjl58N29rTnB4BC0lboPV9u0rRa2rbDVQ2S4TyU1NWOZ5HyMALh7jG4cng54WhWjY9D6bC2q29GTnCcm5ZqSniSlltNt6ZKW7xh6lnlF1a8uHUjUmkmlt5UtsfLdY/InmDr7060rpnVOjem3TOotlr1TZ5qKofX1jaqqZUOIDXtm2giMNHMY7nlY3RfrB0c6YW2We79Mr3dL9W2+qtdbWQ3kRQyU842uDYyw7TtwM5UHqbujPQO162sF51Nq++soGRWOvuVooI3ff1xgZl0gIyGsY7AcHYJyMLndW6T0bpljUd25qE2tWJzcpvGFlp6ntzvjCy9lkvtrm7uK0fCxmK22WEufTCIy13cNE3PUD6rp/p2usloMTGspK2s+alDwPM7fgZBPpjhc8r1C6jZW07rjHLJSCVhnZEQHujyNwaTwDjOFPmkrf8L+tL3BYrF046kzTzHk/a1KGxtAyXOJbgAAE/sXZvL+PRaEU6dScUt5LEsJfxSlJP67mrSou7m3qSbfHH4JIhnQ2srz0+1da9aafdE242ioFRTmWPezcARy314JXQdVuqD+ok1roqK3Ggs1jhlit9M9wfKzxX+JMXP43ZkLiOOAcLX9SbNpSh6jXmydNqye52KKr8K2TOy+SaPA+gyc5Hb0Uiah6A2zSXQW5a/vN6EuqaO80VDNbYXcUEc0b37ZeMOe4BrgWngHB5WpdXXS6de26hcRaq1NMYZT1LVssrtjU02/u6muZYdlOncyhUoQfljlv029H3zjtzjPY0ujeqehHaPodEdWtGXHUNssks0toFuuAonwmZ26XxHbTvyQMdsLF6g9U9P6htdm0JpHTdVadEWWtfcYrfU1QnqjUShonJnwOHNY0AY4TQ+hdKWzTkXUjqw2vOnqqR9Pb6CglbHV3F7Tte6J7gWtbGcbg7BOeFzWsavpzU6oin0Lab3RafDYvEp7jURy1JcD95hzQG4I7KuhaWFXqEpUYTlpcnnL8NT31aVqwp7vLUeXLLzklOrXjQSm0s4XC1NdsvGcbLZv02xgmKp61/DlPoGPpy3ozqZtqguD7pEP0iG8VLo9mS7Zy3Hooq6cdQmaCv9fM63OqrJeqaS23SjDw2WWhkILo2SfqPwB5sKS9LUfwv6xvVNYLD026lVNXUu2tAu1KA31JJLcAYB7lRb1XtWi7J1BvNq6e3Cat0/TzNZRzTO3PcNg3AnAyQ7cO3otLpNCwlUrdN8KtHxFrkqknJc8p65aZNvK4bxlfdLrqdZRjcaovDwtKS7fJZX9fid9cesHSen0zctB6Q6c3i36bvLPma6nqbsJpn18QIpZWybRtYwuduZjze4Wt1H8QN5qNeW3XmlKCO3VdBpqDTrm1AEwextOYZH44xuBOPZRMi7FL2b6fSbk4uTaaeqUpZ1JJ51N5bSSy+yS7GpK/ryWE8ccJLGOMY+b/E7yXqeP5J7H05p7a5lTZtQTXxtYXgtfvja0M2/QtznK7at6t9DNZVT9UdTeld/uuqq/ElzraG+Clp5pgANzIth2DAbxn0UGop1ugWVXdaovMnmM5RfmeZLMWnhtJ44yl6GI3tWO2zWEsNJrbZbNc/E3WsdSv1dqGqvjrfR0LZtrY4KWFsUbI2ja0bW8ZwBk+pyVpURdalShQpxpU1iKWF8ka0pOcnKXLJq6f9X+lVm6Xt6d666dXe5yGumqpqy13UUTqmN+3bFLhpMjWluQDwCcq3T9SegmntU6e1Lo7pHd4Taq41FbT3K7tq46qHY4CMNLAAdxByc9lDKLiy9nLOVSpU1TXiOTklUmovUsPy6sflt2NtX9VRjHC8uMPSs7cb4ybHUN7rdR3usvdfUTTTVcrpC6Z5e4Nz5Wkn2GB+xU2G9V2m73QagtjmNq7bUx1UBe3c0SMcHNyPUZA4WAi7So01S8HHlxjHbHGDU1y1as7kldV+s1X1Ht9BY6a3ChtlLVTXWWJ5D3vuNRg1Mod6Mc4AtZ+r7q5oHqhpKi0p/J/1R0pW6g05TVj7nQwW+sFHNFVvaGOe6TB3N2DG3HflRii5v7Dso2isoRcYJ5WG00+cqSeU93vnO7L/AHys6rqt5b23WVj0xxgk3qB1P0ncNKs0B0w0rW6f03NWNudZT19YKyaWsa0sa9smBtbsONuO/K7yy9cPh5tXTmu6bP6Oakkt13qqWvryNQgPkqYGlrXNOzyt8zuF87Itav7NWNxQjQm54jLVlVJpuWU1KTUsyaaWG28Y2LIdQrQm5rGWsfdWMeiWML6HZ6G6izdOddy6q0tR+FSSiopDTTkSP+SnBY+Pcf1/DcQHeh5Xft6xdGrDbbhYNDdMb5b7VqKH5W/RVV5E8lTCzzxCJ2weGWyYcTzkDCg1Ffd9Cs72oqtVSzhJ4lJZ07x1Ya1OL3i3lp7rchSvKtGOmOMfJPGecemeH6olW49eLlDcOnN70tbm0Ny6e2ttBBJUYmZM8Pe7eW8cYfjH0Wph6p46T6i6dVNsdJVX+/098dWNeAxhjY9pZt+pfnv6LgEUo9DsIRUVT4aed85U3Nb84Um3jjcw7ys225crH4pL9EkTfJ1i6Ra1ipbt1i6a3q+ajhpoaF9ZbbuKKB0ELAyECLacEMaATnk8qMte6qptX383Ggs9Na6GCFlJR00MbWlkDMhniEAb5MHzP7krnUWbLotr0+p4lDVxhJyk4xXpGLeIr5JbCtd1K8dM8fPCy/m+X9QpX6C9TOmfSu+U2rtWaEut9vtrr46y2T0tzFPFEGj8L2Fp388qKEWz1CwpdTtpWtfOiWzxJxbXdZTTw+/qiuhWlb1FVhjK9Un+p3XVnVHTbVl5Zd+nujrnYHVEk09e2tuPzXjSvfuyzyjaBk8LhURWWlrCyoxoU22o8am5P8W22Yq1HVm5yxl+ix+SCIi2CsIiIAiIgCIvWtc9waxpc4nAAGSUB4i7SPpjWPtYkdeaRl6fH48dmIPjvhxnfu/D+HJxnPC4x7HxuLJGFrmnBBGCFr0LqjctqlLOP7+q9Gtn6m5ddPubJRdeGNXHH4PHDXdPDW2VueIi7GwdPqWvtcN21Jq2g07DWZdRfNxPf8ywHDnN2A4APHKzcXNK1jrqvH0bb+SWW/wMWdjXv5unQWWll5aikvi5NJb7bvdtLlnHIuqvGgprfcrZBb7vTXK23edtNS3KFjmxPk3Brhh3m8pIzwuhuXSbS1or57ZcerthhqaWQxSxmmny1w7jhq1Z9WtIKLcm9WWsRk3ts8pJtYezzg36fs91Cq5pQS0tJtzhFZaysOUknlbpptNbkaItz+jU9ZqN+ntP1Ud2+98OKohaWxyj+cN2MD81sdSaDNmohc7PfKW+UkZEdVLSsc0U0p/UcHck8HkcK93tCMowcsOXGz78Z9M9s4y9luakemXU6c6sYZjB4bTXbnG/mxy3HKS3exyqIi2jQCIiAIiIAiIgCIiAIiIAiIgCIiAIiIAiIgCIiAIizLLbJL1eaCzRStjfX1MVM17hkNL3hoJ+gysTkoRcpcIyk28Iw0U96k098N/Tm/V3TrWVg1nXagskzqCuuNFcIY6OSdvBkYxzdwZnnB5wub0r0u0neqjqVHHqD7WptJafmultraPLIqiRrmBuQ4Z2+YgjjkLg0vaK3qUnXlTnGGE03HaSk0k003/EucPD42eNyVjOMtCkm98rPDSzv+HYihFIPRfQVm6gXjUFBepKhkdr03cLtCYXBpM0DAWA5H4eeQu10/pDoVpvo1pjqB1Js2q7ncNRV1fTNZaq2KGONsDwBkPae4KsvevW9lV8DRKc8xWIpNtyUpLlpcQedyNGynWjryksN5fwaX6tEedIeoEXTDXdFrGe3PrmUsVREYGvDC7xInMzk+27P7FyTJw2sbVbeBKJMftzhdzry49D6tluHTjTeq6B7KjNebpWwzCSHjiPYBh3fkrvtLUnwwawvFLYLD026lVdbVODGtbdqUAH1JJbgD8ytat1Cla56hK2qZnHEto7Rg21qzPC+83lduSyNCVT/AVSOE9ud28cbZ7I1Vf8QVJW9QNa62GnJWs1Zp99kZB44zAXRRx+ITjkfd5x9VyPR7qRD0u1HcL7Pa317a6y19pEbJAwtNRCYw/JHYZzhSNpzph0VvHV3Wttp6u83LRmmrJUXWA0tQ1tTK6JjC5m9zcZDi4dscLn7nevhVkttUy0aI6gxVzoXimfPdKZ0bZcHaXANyRnGQFy6NTpsqUrG3tasozhTUklxFx8qeZJpqPONzZkrhSVadSKacsfPO7WF6kPqqExNlY6ZhfGHAvaDglueRlSPoPQGn6fTw6l9UBWR6VdM+lo6ejkDKm6TtwJI4XEFrTHua524DIPCo1p06tVJ9k6y0dPNU6Pv9Y2mgdK7M1FMeXUsrsAOla3kuaNvK9H+2LV3Dtt+61Y8upcxT/iXp81nKaND3Wpo1/XHfHrj0/vgkKi61/DlS6Am6cu6M6mda6qvjuk/wD4xDe6pZHsBDtnDceijTpPNnqI2SxahZp+STxRQCqaZYp3Ejw6WbkAsfw1xd5eOVa63aLtXTvqnf8ARljfO+htk0ccLpnbnkOiY85P5uKyuu2grN026gy6XsMlQ+kZQUVSDO4OfulgZI7kAcZccLi2Fp09UvCtJzzdwc1rlKaxiOW1NtJ4lHK7/Q261Wu5aqqX+E0tkl6+iXoz6btWoOqehLhU6t6rjRFi01DaLhRTR6ZkpWuqJ54HRwiSKncTIA8jBIw3JK+c9B9U9JUukWdPeqek63UGnaGrkuNugt9aKOaKqkAbI58mDvaWtADccHlRcpz0hovonZeiVs6m9TLTqe5VV1vlVaoorTWRQtY2KNrw472nOdxWjPotn0Si5XKc5VZQjFUo6GnFTacfPlSw5Zlq42x63K7q3ksU3hRTb1PVs8J5242WFg5nX3VDS1x07TaE6a6WrLDpllaLpUU1dWCrnkrA3ZvEuBhuzA2478rS9X+oEXU/XlbrKC3PoWVcVPGIHPDy3w4mszke+3P7Vn9QdA2aitdN1C0HPPVaQuMwhDZnbp7dORn5WZ2AHSbRuy0bcEKU7LpP4Wq/pJc+qU+l9e+FZrlSWmopm3On3SyzRudvaduA0bTweeVtq76b0qnRu6NKpNtyhleaSlOUU1PVJPU5KKy88c45q8K4uZSpSlFcP0WEnhrC4Sb/AOZEnWXqTD1U1bT6lgtb6BsFpoLb4T5A8k08DYy7IHrtzhcKpY6BaA0R1L6n3Cz6hjubNP0lrud1bFTzNbUmOnidIxm4gjOAATjGVm1OjOk3U+lnoeidu1Bbb9QRuqfs+81Uc77jGBlzYTGAGljWuc4uPI7crepdUsukSXTYU5KFOMcvGYwjLKjqec9nl4aXLeNymVvWuk7hyTcm9u7axnCx8TnunevNB2q1Sac6laImvtrjn+cpHW6pbR1cdQQGndNtJdHt7M7Z5W16vdZLJrm1UundK2O6UlujcJpZL5cPtGsEjchrYp3AOjiweWDgnlcnp6LQdwskVprrdd/0jmr8iqjnYKUUvhuy3Zjdv3bTntjK6C69F6/cKO03S2i9Mtn2q+wyTyurjT437gRF4Bd4fn2CUvx6Z4V1PpNtc9Qdz4c9cHlZk9OX3UdWMvHpltZKKt+7egqc5JJ/Dfb1eM4XzwjqIuvPT+6T0ettYaAudf1At0UIpbpTXIQ0bZKdobTuNPtOQ0NbuGfNg+65hnWVtn6pnqZpSzvo5a+B8d1hqJBN48k7S2rczgbA/c7aOduR3VOuelFZ08q6ajv2l75IKmGmeyphheIXSTM3NiDnMH3ncFvfLSOcLG0T0lv+u9Wmy2zTN4paOCU01ZPU00ojo5gD5ZntYRGc8YIyq6Ps/Z0nOKozw4uOluTWl/uqLbSXokkl2My6q5wVTxI4TzlY59W8bskLR/xA9I+lt/gvnTDpLW0b5mSwXE3W4srXuhdG4N8BxYPBeHHJcO44Xz9VTfMVM1QG7fFkc/Htk5XWDSLaysfaaPTt7hqvlTWh8sTiwUwGfHIDc+ER2f25HK9tPTf5/TdLqm6a10/Y6OtrJaGnFeKxz3yRhpcfuKeQNb528uIW10rpNvZ1qlSjGXiSSUnOTk2k3jLk3xlrn4ehXd37nCKm1pzsoru+dkvgcci6qq6WdQYdQ3DTFFpO53SuthaahtspZKtoY8ZjkBjB8jxy0+oV69dJNfWOCwS1Om6+WTUkTpKKnho5nTFwc4eEWlg+8w3dtbnykFdl0qjy9L2/5Gn7zRylrW/x+Gf03MXQGtToW53C4ttxrDXWqstgaJvC8Px4yzxM7TnbnOOM+4UjXz4mrhf3zmr0rGxs1toaMsjrMN8eGqbUzVH+D5dM9vI/V45OOYouWk9VWYVZu+mbrQigfHHVfM0UkXgPeMsbJuA2lw5AOM+i2el+m+qNW2K9amttNHHa7DTSVFVVVDixjnMbuMUfB3ybedo7DkkZGYKnOT0pbkpVqcY63JY/rwdrT/EPcoqfqFbZ9Ptnt2uTVSwU76vm1zz5DpGO2efLSGubhu7a08YWh0Jrxtstdq0i+qgtAh1RS6gN5ndLJHT+FE5m10MUbnuHmzkZ9sc5GDaumdbe7NJcbZqewVFfFbpbq6zxTyyVgpoydxJbGYQ8NBd4ZkD9v6ueFjaA6b6o6k3Oa3acpo9tLEZqmqqHFlPTtwdu94B5cQQ1oBJPYYBIkqNRtJLd8EXc0oxlJywo8/3/AHk77VvW3Tt61ZrOkqNMzXLR1/jpKKjpaaqFDUUsVGf72fE90coZ3eS1zHZ8Q9sK5d/iSfdtV6Q1J+hUVPDpCeqNNRx1x2vgkijiji3GPILGRNy7B3Ek4b2XCaQ6bVWsoqaOg1Vp+muNfJNFQ2uoqJTVVLo27iAI43si3dm+K5m4g4yOVpLFYTero621N2t1nbFHJLNU3KV0UcQY0kghrXPc44wGMa5xJ4HdY8KWzxyS8em3JZ45/vvw+DoOmOv6Lp9X1lxmt97fU1EUccFZZr9Ja6unDXhzmh4ZIx8b8AOY+M9gQWkc9/TfEnaJb7R6lvnTOOouFpu9wuls+SunykMYrNviMlj8F3iuBbuDwWZcclp5B5U9DLzDDBca7WGmqO0V3ygt91nkqhTVr6jfsZHiAyNI8N+7xGMDccnC1lH0e1vVs1RUOoYqem0gKgXConeWxuki5dFEcfePIG4ADG3BJAIzN21VfulSvbd76kdDSdbbQzT/AMvXaFfPf26Vm0i25R3Tw4PlHMc2OQ0/hEmVrSAT4mHAdgTkRQu2pOkmoazTkd+ZcLa2ee2zXiC2OdN81NRROLXzNIjMQAw47TIHkDhp4zxKrlTlDGpcl1OtCrlQecHrdocC8EtzyAcEhTlcdcaHnoKya96xo9XWtlmFPabdc7Nm+01Rlroo5K35drdkbi/JE7mluQIznAgxZFxttxtFY+33agqaKqi2l8FRE6ORu4Bwy1wBGQQR9CCp0q0qSelc/wB/3kpuLaFw46nhr5fD4ZXzWCb+qHUfR+qLdqFljvOn426rrKCVzG0N0NZEI8EvqXSyGCLwx5P73ZIXg4DWjtC1Kae33yEmsingpqtv98RNfskY1/42hzQ7BAyAWg+4B4WCr1FQ1tzq4bfbaOerqqh4jiggjMkkjj2a1o5J+gWa1eVeeppZ+Bi3tIWlNwi3j449EvT0RLjLh0vv/VHVeub5qu3tp2V76uzUddS1gp6+RziWumdFDI9sbcAlhaC/8OWjJWfbdZabvEVBHq/qXbPn7PrD7fnrfk617LhA5kZd4IFPua5pj2hsjWDGMEABRJa9IasvkNZUWTS93uEVv/8AK30tFLK2n7n7wtaQzse+OxV1uh9avsR1QzSF7dZgwyG4i3yml2g4LvF27MZ4znuro3FVbqHOW+d9/n2/vua0rOg9nUe2Et47bcLbv+f0WJm1l1P0NfLtqPqHSakhNVfdKSWSOy/KVAqoqiUhhLn+GINjWjdkSE+gB9fn5b2i0Frm5UbrjbtF32qpGwipdPBbpnxiE5xIXBuNvld5u3lPsVj02k9U1tln1JR6aus9opiWzV8VHI6miIxkOlA2txkdz6hV16lWu9Uo+r7/AFZda0aFpFwhLPC3a29F/e5qkW7bofWr7EdUM0he3WYMMhuIt8ppdoOC7xduzGeM57rSLXcXHlG5GcZ50vOAiIpRJH0J8MN+t+mtAdYL1dNMUGoaanslCX26uL/AnzVYw7YQ7jvwfRRR1G1jZta3SC42Lp5ZtIwww+E+ltZlMcjsk73eI4nPp+xXOnHVvXPSie4T6JukVIbrCyCrbLTxzNlY125oLXgjuug1L8SnVfVthrdN3u6W2ShuERhnbHaqaNxbnPDmsBHb0K8pDpd5bdYrX9OlGUajju6s44ShGL8ii4t7Np5z2yjpu5pVLWFGUmnFPbSnl5b5ymuTtOh1o071U0w/TvWq5NsejrE8RUWqngNfb5XZc2haSNu2QlzzkE+XghcL11r75T6lj0dVWFlis9kYBaaCNpEboHgEVQzkkzANkPOMu4AXHXXWWobzY7Zpyurs260RujpoGNDG4Li4l2PxnJOC7JC8vGsNQX6z22x3auNTS2nxBS72gvaHkEgv/E4cDAJ49Ffa9GuKHUXeyacG5YhviGf34/5pfvLCW/lx5tcKl3CdDwkt9t+7+D+C7fLftiTtVdZetV66CWDRl8hqG6SFbPBT3EsAFZ4YZinJxjEWGkYwfNySoYUt6l+JTW+p+j1r6OV1LQNoLdK5zqpkDBJNFhuyPAb5du38QOXZ5USLa6DaTs6NWNS3hRzUm8QeVJN7Sey3a5X6cKu9qqrOLjNzxFLfttx8l/fqFNXwsOmfqzVLXOe5jdE3sNBJIH3I7KFVJ+h/iS6s9OrHDp3SV7pKOiga9jQbfA95a85cC9zS4g+xKz7Q2t1fdPnbWcYuU9vNJxSXrtGWflhfMxY1KdGvGpVbSXos/wA0RgQRwQQpqp3N6R9EKsykN1H1EaKWegqfK+ntjC2WGrixz53Bzck4wFGmt9cah6h35+pNT1EE1dJGyJzoadkLdrRgeVgA/grOpdX3/Vxtxv1b8x9lUMVupPKG+HTx52N474yeVO7tLjqEaEKyUYpqU0nnLjvFJ4WVqw28LhfFGKVWFBzcMt4wn8+Xz6fPkkz4aZNIw3fU1Rf9U2jTd5js7nacutyeWspLh4jdsjSAedu7uD3UpVHTW2UHwsa9DusWkr5JNqWhuMlXS1L3tdKyGX7jJaPvH5y0duCvkhbul1nqKj0hXaEp67bZbjWRV9RT7B5542lrHZ7jAcVyureztzeXSureu45nSk4tRaxTaeE8NrhvHGW/U2ba/hSp+HOGdpJPL/eXft9fQ+gYNSaF0n8NvTa+am0lHqe4xV14jorXWg/IyNdMA98pYQ8ObwW4OM91xXVvT+lr70u011qsGmaLTE18utZZpbNbt3ykbaZjHCVpeS/e7xOcnHAwuP0B1m6gdM6eopNKXWGKCpILo6mljqGtI/miQEN784xla7XfUbVvUi6Nu2rLi2omYxsbWRRNhiaB6iNgDQfc4yVTZdBvbTqHjRliHiTm5a5PMZuUtHh40rDknqy35fjhTrXtKrQ0Nb6UsYWzWFnVy9lxjG/wJDs0p6SdE7lc5mht+6iw/ZzKOp8rmWrLZWVsOOeZGFmScd1CxJJyTytzqDV9/wBUUtoo73W/MQ2KhbbqFu0DwqdpJDeO/JPJWmXoOm2U7XxKtbDqVJOTa49IpfKKSNG4rKppjD7sVhfz/PIREXTNcIiIAiIgCIiAIiIAiIgCIiAIiIAiIgCIiAIiIAiIgCIiAIiIAiIgC3uggDraxAgEG4QZB/ywtEs2x3R9kvNFeI4myvoqhk7WOOA4tcDgn9ipuYOpRnCPLTX5G1ZVI0bmnUnwpJv5Jks3PQFsk6kT3A9StNxyG77/AJZ1Q/xB97nw8be/phcP1da1vU3UrWtAAuEuAB9VpqvUEtXqmTVDqZjZJK753wg47Qd+7bn29E1Xf5dVajuOo5qZtPJcah07omuyGE+gJ7rkWFhc29xTqVpakqenhLDzHbbnjk9D1bq1jeWdWlb09EnV1cyeViazvxytvj8DVLrLHZL9rOghjuN6hobLZwYI6yudtp6dzzuEeQM5cQSPyXJrvbb1KskOmrfpy9aBo7m23h4bK6skiL9zs5c1vBI9CVu9RddQi7eGqWedsx2e61NLPbnv34OX0ZWkqsle1NEMcPViTysRloUml347Yynhq3dNW2qhm09p+1eJUWvTlb818w7HiTSOe10m3HG3LTt9cEZW+uvUDQly1LUtt2g6S5svFWZX1dz3CoifK7BDQx23Dc8Z/auLv+prLcKijqtO6RpbFJSSeITFUPmEhBBGQ/2IW6b1G0zIRWVvTW31FzP3j6z5yRhdL337B5RzzgcLl1bDMITVGbeJZxNJ5bzl4kk8vfZ/Q71Dq2KlSk7mmo5i03TlKOIx0pRzBtYXl80VxnV69JbtO0ukq7qpp+imfLHbbU6KKR4G8/es549efRc30pJc3VTX8t/R+rdg9s+Xn81zx1nqA6ml1a6tLrhPL4sry0bZD7Ob2I+mFnag10y5UBtdisUFkpZnCSrZBK55qJP5xc7kDk+UcKXuF3olSn5nUUMyzw4pJ7cvOMrHrvjkj+1+n+JC4peRUXU0ww8yjOUnHD3SwpYll8LK1ZwuVREXojxgREQBERAEREAREQBERAEREAREQBERAEREAREQBb3Qf/2507/72pP+2atEvWPfG9skbi1zSC1wOCCPUKutT8WnKn6pr8SUJaZKXoSn8TcE1T8RWvIYInPfJfp2sDR+Il2AF2vw509b04uHVeHWOkYauos+kKh1ZZ7kHNZL54z4cm0ggEEHgri7X8TvWC0WaCxUl8onU1PD4DHTW2nllLcY5kcwuJ+pOVxNr15qqzm+OorrIHajo30Nyc8B7p4XkFzSTyOQOfovIvpHUbnpS6TXjCMYxhFNSk3LS47/AHY6Nk9lqeWvMsb9P3qhTufeYNttt8LbKe3Lzu/h8j6S6OdWNH6xm1nZrJ0Q0npapOjbtL9oWx1QZg1sbcs87yMHPPHotZb9f6e0P8MHT037pbp/WPzV2vHhi6mYfL4kbnZ4bm98859l89aX1ff9G1NZWaerflpa+hmt1Q7aHb6eUAPbz7gDldlov4iuqugdM0+j9OXqljtVLLJNDBPQQz7HyHLyC9pPJWjfeyM1Vc7SOqGuEtMqtRN6YVIvz+aS3mmkttnwXUeqJxxVeHhrKjF8uL42XZnGV72ap1U99ttNLaI7rWBsFJBu8Gn3uADG7snaM+vKkvqHOOikFz6O6aa9t7aTTaluoHmnOATTRH/gPwuyQHbs84XM6364dQ+oQto1NcaOX7JqPmqUwUEMBbJxySxoz2HBXVTfF91zqZXT1OoLdNK/l0klopXOcfcksyV1rq26rX8D/Bg4RT1QdSWNSa0PV4bcklltNLfD3wa1OpbQ1+Z5fD0rjvtq2/Hg2Hwl3Kms2odcXWvs9NdoaXRtxlloqrd4VQBsyx+0g4P0Kj/qTrywa5fRPsHS2w6PFIHiRtpMxFRnGC/xHO7Y4x7q/aOufUexa4r+olru9PBe7nC6nqpW0cXhvjcAC3w9uzB2j0W9uXxTdYrtbqm11t3tbqeshfBKG2ilaSxwIOCGZHB7hU/sy/p9Vl1KNGMnJQ/+7OOlpNSWlQcZc7NpP5EveKMrZW7k1hv91PO+2+cr5IkK2w9KpvhN0OOqNZqOnhGprx8obNHE9xdti3b/ABPTGMYVrXMfTuL4d9Gt6a1N8ntv6eSGR13ZG2bxfl25wI+NuMKAqzWeoq/SNu0NVV++zWqqmraWn2AeHNKAJHZ7nO0fuVMmsNQS6Tp9EPrj9j0tc65RQBoG2oczYX57/h4VUPZi4jVVV1n/AL6dTTny6ZObWFjOrzLvjOSb6jBxcdP7ijnG+Vj48bEgfFU1zviA1gWtJBqYeQP/AMPEs34uP92Wo/8AdFr/ANUjWtsHxN9XtNWalsVtvdE6mo2eHEai2088mMk+Z72Fzu/qVGt0ulfeq+e53OqkqKmoeXySPdkkk/wH09Ft9J6Ve29W3VyoqNvTdNNSbc86FqacVp+5xmXPO29Vzc0pxn4eczkpPKxjnbl55+HBiqbNQgn4QtH4BP8A46XLt/8Ak8ahNSNob4guqHTrTg0ppe800VrFQ+qEE9DDOBK4AOcN7TjIAXQ61aXNzGjUtEpSp1FLEm4prTJcqMsfe9Ci0q06bnGq2lJY2We6fGV6HQ3RjtP/AAu0NhvQ+TuN51K280FNLw+ooflzH47R6s3gtz7hZGmWu/uQNbeU/wD2ytXp/wCglUU6q1ff9aX2fUWoa41NbUP3uIaGsb9GsHlaPoAApMpfi665UVubaafUNvbRtDPufsmmLSWjDSRs5IHqeVx7vpPUVbwjQjCU5VVVlmTik1KMtMfJJvjGXj1xvhbVK6oeI3NtJRcVsm901l7oy/hBB/lLvQx//h99/wBTesX4WAbT1En1lcgaayWS2Vf2hXScRU3jQSRxbz6bnkNH1XB6O6n6z0FrCbXWl7mykvE4nbJN4DHNImz4g2EbcHJ4wtlr7rd1E6lUEFs1TdoJKaneXtjpqSKmDiQPxeG0bhxwDnCsv+kX13dXEYqKpXFOEJPU9Uca9WI6cPKls3JYe7T4eKN1RpU6bedUJNpY2ecYy87cb7M5rSgP6Q0Rxx4h5/8AhKl5us9ESUDKfUGuKS/6ep7RLTw2W72V096pahzCBFBWCANZG2XDmuE4AZ5dmQowtPUTUln03+idK+ldbfnBXiN8DS8TbCzdvGHY2uIxnHPZae73mpvMrJqmKFjo2lo8NpGefXJK9NbVLmlXlKUFpe3LeyzjKwuc7rdfM491bUrmEU5PK34Xf4vP4rDPpbVXUDpldKGC01mqbbSTsdY69z56CteQKem8OWPyREeKO7f1DkZcOce6Z6l9Pbrry0XxutBbodPX29Vz4ZKKpJuFPVEuZLHsYcEN8jmybTtzjP4T87N1Zfp5GRQmMuO2NjGwhxJ4AAzkkraXXSnVKz3miN50TqC33G6Zp6KKotM0L6o4wWxMcwF55H4QTyFbC7uVBxcI5+cuU8r5b+jNOXSqDf35d/4dsrD7enqS5qLVMNF0Jhv9FYnUN8vANlgnc0tkdao5jMZmZOTHve2LOPRR5QzaU1H0vs2mLhru12Ovt93rKudldS1r90UrIg1zDBBI0nyO4JCj2GerttS4s3RSsJY5rh2PYgg/7VVTWy511PV11Hbqmop6JjZKqWKFzmQNc7aHPcBhoLiACccnClGq4vjKwlvnP1+v99yxWcVHaTT1OW2Pl3z2J7oeofSy4XupulbfpY4bdXWyKipbo6vbTT0tJC1nzbIaP8VVlh2CV7WAP5zyFtrx1b6a1GuoL9BqWkqKSqtd4tDzLSVzflXVFTLJHNII2sk8NzXBp8J/iDceBhfMq7B/Rvq9FTmrk6VawZA1niGV1jqgwNxnOdmMY9VtrqFRLGlevHxz6mq+j0W86pcY5Xpj0/tm16qXmw6hgtP2VftPS/YdvioGQW2juMTXML3u2RyVZe+Rsee8hjPmw1pAytV04v8AabB+lH2tV+B9o6brbfTfdud4k8mzYzyg4zg8nA9yuVraGttlZNb7jRz0tVTPMU0E8ZjkjeDgtc08gg9wVZWs67dTxMbm7G1jGj4OW19M+voSvpys0VpPQzqmw63scmo7vAW3WKvprix0VN3dQwmKAtJlwA+XxW8eVpaMvOo6fay03beqFo1NXWi36cttLHMyaOh+amjBMMjQ7EskshJLmjg47cDkqP1kwWy5VVFVXGmt9TNSUOz5qeOJzo4N5wze4DDdx4GcZPZS94knFpJacfl/e5D3KDU1KTerOd/Xb0xt2ymSP03m0bpzT8+pYdeWi36ymMlPRsuFLXFlsjIwZ2mGnlbJM4EhvIDM7uTgDT6Ym0DqK5UNm1gy06boKTMtXeaZtwmqa8tGPDc0vlawyE5L2wjbjOP1Tz1w0fq20Wak1FddL3eitNwIFJX1FFLHT1GQXDw5HNDX5AJGCeAVXaNEaz1Ba6q+WHSN6uVuoi4VNZSUEs0EBa3c7e9rS1uGkE5IwDlY8faK0rC/P+/hgy7RNylreZd9tvltwvR59eSX71q/SWqLMNM3LqLpy301vvNFcLY2lork+lp6GKOSI0rc0rZDI0EPy5u15eTuBJxzs3UTTtx6gdR9TTVTqel1DaLlS2/dC8ulkkLBE0hoO0uDc5OAPUhRj9mXL7N+2fs+p+z/AB/lvmvCd4Pjbd3h78bd23nbnOOVsbRojWeoLXVXyw6RvVyt1EXCprKSglmggLW7nb3taWtw0gnJGAcqyV5OWHhfn8fj8SqHTaVPKTf5fDPbvhckpWPXWhYNGU1uq73SwUUWnKm31Vs+WqHXWaue5xzDVCPbHTucWExeM1hG8OjcTzCa28ejtXTaffq2HS13fY4nbH3NtDKaRrs7cGbbsByQO/crUKqrWlVSTXBsULaNu5OLfm3/AL/vIX11eoLKNbxMrdL2O4yXjWVFa6qavt0NRIaQ2qlc6JrntJZ5jkFpBBzgjJz8iorLe58BNYzlr8s/1Kbyy97knqxhNfjj49sEz69pZbjoizan0/pG2R1k8l8pK0UFkg2MoYZWbXua2PDXRtOPH4eByXZOVzvw/wB+ulk6q2CG2TRRC4VsNLO8wRvf4TneZrHuaXR5HBLCCRkHg4UdIsO4fixqpcY7+n9TMbNKhKhJ5Tz29c/jjOxNHSG26rdrWnvVPYr5ebFQ6i3GO3V+2Ggqi7b81UQta8iMR5y4iMODSPEABC6DVGnJtY0c1Le9FU9NbrXYzT2LVVNUSvhuNUKjELI3NkNM0TPe7MO10rMnLvLx87opxulGGhxyvmv6FNSwlOr4qlh7cJ9v/Nj8sfA+lbfBqOXqxQNtNmvd70ro24UVlgjt1fiKgqYI2RPqqmJrXu2D70lxEYcAR4gAIWo6c2bUNNfLjcq75+4adfFeqO36ihqg+z2yNzZfGllp27gwPO1wjdJHnc04fwoBRS98WpS0988/lxx/aaI/s16XHUt0lx6Z3553+T7pk4XO1yaj0JBU6t6fts9ssmkWfZOoo6uadtVUseDHEHtf8sDI57wYthlbzl3l4g9EWvWqqrh4/v6JG5b0HQTWcpv47fi3/fYIiKETZCIikAiIgCIiAIiIAiIgCIiAIiIAiIgCIiAIiIAiIgCIiAIiIAiIgCIiAIiIAiIgCIiAIiIAiIgCIiAIiIAiIgCIiAIiIAiIgCIiAIiIAiIgCIiAIiIAiIgCIiAIiIAiIgCIiAIiIAiIgCIiAKZ/hGtVnvPWWnoL/BBJQvtNyMpmgEzWAUzzv2HuW9x9QoYUy/CZVU1J1cE1XURQx/Yl1bukeGjJpJABk+5XC9qNX7FutDafhyxjnh8G707HvdLP8S/Uqs3QaNmq4LnVaopBoiIQ3Bt6O0umpnyBrGiDOTMTjdDnc0HJGFq/ikoLfa+v2s7faqaGnpIa1jYY4YhGxrfBj7NHA9/2rnbVr291GnbF05nNOLPQX0XaM7MSCZ+1jsuz+HA7YXR/FLUU9X1+1lUUs8c0T6yMtfG4Oa4eBH2I4K5tnTv6fW6fvlTUvCqJYWFhTpYk/wDNLv2XCXOb6sqMrN+FHHmjn8JbL4IitfX3SqfX1v6C6Dh6Z6c0fJW3a5Xj564agttK+FrYnjY11RO3aw8kAE89gvkFTBonRHVDqL03j07obWn2jb21L5K/Tr6wU8dId2WSHxHBj95BPl5GOVb7W2tK6taXjThCEZptzTcPuyW/C2bTWWk2ksptEemVZUqktCbbWFp55T2/Dtk2PxCai6tw1totnUKzaNjZQTCspKvT1upRTSyEcsdNTjZIQBywk4z25Xf9Jer3W7qVPWV0OkdGx6fscPzN1rodE0s7ooQQCI2NZmV+SPK3nBz6LiOptvGi+iGkOkGqKyno9R0epKy51cEcrZ2w0k8bGslLmEtPLXcA54Wz0j0t+IfTFM53SfWrp9K1koqYqyhu8dJHWR8AyGJ7w9vAIw4Z4XmK9Pp1bo0adSNGElKahKS002lLeUOUnNbxWX67pM6MJV4XblFzawnJJ5knjh8Pbh8fQiXrBrGg191FvGqrbYoLPT1krQ2jgiEbGbWhpIYAA3JaTjHGVxqkHr7cNK3Pqte6zRYgFqe6IM8BmxhkETRIQP8ALDufVR8voHR9H7PoaIOC0RxF8pYWzz3XDOHdZ8eep5eXuu+4VUTY3SsbK8sYXAOcBnaM8nCpVUUT5pWQxjLpHBrRnHJOAui+Cg+hdU0PTJvwv1ztCWx001v1ZTUtReahpEtc40xcXNY4boWjO3YDglufVRv0U0DbuoGq6yju8rxQ2e1VV6qImEtdUR07Q50QcPwlw43eim60/D71M/ub7po42+3C71mqaa5w05utNl1OKYtL878Dk4x3UOdFdXW7pzri6QajaYobna67T807XZbSOnAjMzsZ3NZgkgcn0Xz/AKdeKp0+/p9Nr+LUjOTTUlKW6jv9XnGMLbEUsYO5Xpaa9CVxDTFpdsLl/wDD+Z3Wm75R/ElV1PTq6WC2WY2q31VbYayhpI4X0sFPE6Qxz7ADUOcxjW7nHIOT6riumPXTXOgrbFpHTFn0rVR1VXuY652Omq5fEeQMeJI0kN7cdgu10Rpub4cLnW9RtXV1JV01Xbay32WmpZmukubKmF0Ymbgnwg1r2vLX4JBx3XIdAbZZqS43vqRqBlJWUGiqIVslsmxvrnSkxMEZPAcxzg/sfwrKjYuhc6KaqWiUNEeYuq3JNLPdtwT7KTecPUYzW108y01XnL7qO2M/TPxxjtg7X4keotXLYqTpfqqzae/S61VoqrpU2uzwUTKSTYR8qDG0CYYIdvzjnGOFndLOvXVbW90Nlp7PoGmt9ooXV1wqn6TopHwUcIAkkALcyOAI47lfOt9vVy1HeKu+Xetnq6yskMks0z9z3n3J9eMKWJquj6Y9CqSlopopr71Bd88yvpHBstDRRF0UtJL+sRIdrscDAVl10C0tOm0bF0ozqzlhZWYxlLecop7KMUm0vRJbvmNK9q1bidZSailvvu0tkn6tt4+vZFrWnXt0/WSfqfojTFho9lIygZTz2uGWll2s2Om+Xc3Y0vxuxjLcqVdP9etX03TyXqT1I0voiaw3V1TarVR0mmaSOWtqmsxIDIxmYQwPa4E/i7L5Z07aDqC/22xCqjpjcauGkE0n4IvEeG7j9BnKkPr7qSCTUNP0/sY+Xs+koWW50ELx8tUVsYLJqtjRwDLhpz34GVZ1H2d6dXq23ToUU8R3k95KnDZJS5TcmlnlLOMPDWKF9XhGpXcnu9l2cn8Pgv5Es9EarWVp6B2+o6daa0zV3i6avmoqisvVsp6iGCAUweDJLM0tibuH4iQMnHquT+Iu8dZY7PRWLqDZ9C/ITSCoZWaYoaMtY8ZAZJPTDDSeTsJ5HOFzPTTS/UvW+hrhpjp5rdz21E5+0dNmrFMx0GBidznuDHAuAbt78ZW/1ZYK/pT8P1y6b61NPSagvGpaa70lLFUMn30scLo3P3RktGHHGCcrlq1t7TrTq5pTqur93S/FSk/vZbylBb7RaaWdW+2w6k6tpp8yio858uV2x8fnnPY0Oifsmy6tts/Ty92ySoo7lQPprpe43wUpnLA5zZRy5jBJuZkEehyO4nfplarjZtVU1dW6Rv2hTVawp5X2O/SwXCkuVQ5kjXzUTpoGzAszkva6QEPb5yQCIzsHwn9R7h0wut1dLbobnLVUclBbTW05NVA9pLpN/ijZt8vlIJOfRRHpfSsk2tnaVuuooNP1UT5af5l4MjPmG5DYssP6zsN3ZwM57L0tj1axuadeFvXVR0/vNPL+6t8Jb/8AlWM5S4wc6ta1qcoSnDTq47Ln4/zPqS7aEv8AVyN1VcOn1mjoW6Nu8lxkFmp4Wx3RjptocxrAGzgbCG4DgBkDAONLeaObSOlNb1lo0TZRoultFiqrJWtt0Oy5tE8D5RJUBu6q3PDg9shfs4GGh2HR9afhx19pu6jUvUioorHY6YSSV1yFXBVuiBaQD4TJNzsuIHHvlQkZPl6wzQOZJ4Uu5hfGHNdg8Za7II+hyFu9Nv7W+lNWk4zSxlx3WXnbK2ysbrOUmspZWabihVopeKms9nz88EvdeLHo/R9rtFn0zTW+WTUNTUaoFTFEzxIqGfApKdrgMtYGh52ZxnBwrVphhqOjmi6eoiZLFLrqZj2PaHNc0xQAgg8EEeijXU+qb9rG7Pveoq75qrfHHCC2JkTGRsaGsYyOMNYxoAADWgAey1S6rWDWPsKnsujrfqy0adGgNLzUd51XqWlrBNaKd73U0EZMULHlm6INJBBjLSMAA4yFh6Y05pPU2ibdrQ6Rth1fcdOSyU1NadLUdb4nh172STRWxzooJpGRbRnlwBzhxC+SUWASl14tclr1FNFa9Gz2OyOmY/E1ppacsrjCwzxCSB0u0Z8/y5lPhb8bWrI0fqG7Vfw+9QdNTTxC3W+W1TwRR08cZMklUd73va0OkdhrQC8u2gADA4USogPorTth19RdNNTuvdivUl4usNpnoLncXMvFDeRHKHU1HSR7HMkk2u7b5gGsc3YzlYHRzSPUu30sPVyo09qS7UWnqmrZY7Nb6KaYT3B+Wyt8KJpbTQNPMhw3dt2NBOdsCIgJivOor/ffh4t9JcGQ5tWs/k6OkhoooWRN+Uc7Z4bGgOcXuOS4FzifMSuk6Z6P6uW2f+Vu+6R1JVs07U1LLPYLfaZWiS4Pbtkb8tDGGUsA4Mh2s37doBOcfPKID6k0t8pPpig6gaxsl7oKC1aJuVmaG08LrNMSZmBrqhspMUz3ybPlnRB24NOeMH5bREAREQBERAEREAREQBERAERFOINtpbSeo9a3mDT2lbTPcrjUkiKnhA3OwM+pA7AroNa9FOqnTm3RXbW2iq+00k0nhMmm2FpfjOPKT6LpuhF9ssVo1toetu9NaLnqy309JbLjVyeFBTSRzeI4vl7xgtGMjuThZ9/0H1K0Zpa9Vdj6lWTVdvqaQw3iC0XA1zqel3AmSQOb923cANwwcnC8zddYuaPUXbaoQinFJSUszTSbcZp6Y4bcUnF5ced9ujTtacqHiYbe/DW2OzXL9eeGQoi+i+l/ws0+o9EW3WerqXWlRBfWOnt36MWxla1sTXFrhOXkbH7hwBnIXF9d+h9R0kntVypo7vFZ742T5KO804p65ro8CTxIm5DRk+XnkK+29qel3d8+nUqmamWuNm45yk+7WH+DIVOm3NKj48o+XZ/R8EUIpy1dZPh0g+HuwXPTV+uMuun1kwqY3wsD3nDMslAd5Ym+bY4DLucqDV0em9Rj1KE6kYShplKPmi4t6XjKzyn2ZRXoO3kotp5Sezzz/MLa6e0pqPVc1TT6ctFRXyUdLLW1Aibnw4Ixl7zn0A5WqX0l8MOv6h1HqPQVstNLQUp0deqi4zR+aS4StizG95d+HYCQA3AOeVr9e6hcdLsZ3NvBScfV4SXdvu/gly8cLLU7KhC4rKnUeEz5tAJIABJPAAUk274b+uN3s0Oobd04uc9uqIPmYp2mMB0eM7sF2e30XB2S5ust6oLyyBk7qCqiqRE/8Lyx4dtP0OMKXbfS9UOrOsKzqtFR1Vl0zUXR1XWVnjyMttFtcHOi39gOzQMd3AKvrF5d2mJUZQhDDblPLy+0UlKLy98PfjGCVrSpVcqabfottvVvD2RC8sUsEroZo3Mew7XNcMEFUruOt2rLHrrqvqXVum4XxWy5Vni0zHxhhDdrR+EcDkFcOupZ1qlxb061WGiUopuL7NrLX04NerFQqSjF5Sb39fiERFsFYREQBERAEREAREQBERAEREAREQBERAEREAREQBERAEREAREQBERAEREAREQBERAEREAREQBERAEREAREQBERAEREAREQBERAEREAREQBERAEREAREQHTaF6aa76mVtTbtB6aq7zU0cPjzx0+3McecbjkjjJAVWuemOvumtRTUmutMVdnlq4zLA2fad7QcEgtJHdST8O889NoDrVPTTPilZo4Fr2OLXNPzUXYjsrHRWqqdY6Z6gaY1RUSXK3UOnKq908VQ4vMdZEGtjkDj5hgOPGcc9l5S46zeULq4liLo0ZQi1h63qjF5UtWNnLjTvjlHThaUp06a31zTfbGzfbGe3qQqr1FTVVbWQUVDG6SoqZGwxMb3e9xwGj8yQFK2lemXTW3aMtetOsGp77bKXUTpvshtlpI6hzmwu2y+KHkbTkjGM5WTcemun9P3rQ3UDQN5rrjpO932KipJblE2Gr+Yhlj8UOjblob5hg555W9P2gtPElRjnPmSbi9DlFPMVLGG1h5Wez9ChWVTSpPHZ4yspPG+PqvxNFqP4ceuGkLRV37UnTm6UFBQt31E0mzEYyBkgOJ7keijdxcSS4kn1yvtHqL08vtL8RmpNWwdV7ZNE27VNQLJbK75q5lu05ibSvG0ux3HoMn0Xy1V1+j9RdR3115t82nNO1dbmpp7a3xpKWLs7wxIfM7IzgnuSuZ7N+0NbqtHxK+mXkjNuEZLGV9zTJtt84a2fGFtnYv7GFtPTDK3a3aecd8pJJfB/8ALk16172fge5ufY4Us/EnaujFp1tBD0Wuc9VbnUkTqppa3wY5djceG4ElxPJdns7ICiVej6dex6laU7uMJRU1nEliS+aNGvRdvVlTbTx3W6PXOc85e4uPuTleiaVo2tleAPQOKpX0p09+GnR2r9FWfUNZbOqz6q40zZXvttgimoy4kjMchdlzfrha3V+s2fRKUat42ot4WFnfkna2lW7k40uUfNaKW4Ph/udB1Sv2gdTV4pqbStK+53aaDDpWUbGtc7w2kYdJtePKcDOeVtYelHRjXtPXWvo5rLVFdqGiop7mYb1QQ09MaaBhfMd7CTu2jyjHJWvU9pOnw0yUnKLSk5KLcYxlunKSWEmt9+xZGwryysJPLWG0m2ucLuRPpPR+ptc3mLT2krPPc7jOCY4IcbnADJ7kDt9Vj6g0/etK3iqsGobdLQ3CikMU8EoG5jx3HHH7lIzrJc9E9B7Vr6w6kq4H6zutXaq+kaxoaI6TY9jmv/ECS85wQrHWyzXG2W/QFZctQVN1fddLU1azx42NNO1zn/dgtGXgY/E7J5Sj1aVa9UIuPhylOC2lq1Qzq34xlNY+GdTzgTtlCk209SSfbGHx8f7xjuRn483/AAz/APOKpDXPcGtBc5x4A5JK8Ut/DPZ7bdNbXmruFIyeSzaauV2oi8ZEVVBGHRSY7HaecHhdDqN5HptpUunHKis49SihSdxVjST5ON1Z0z6g6Ktluu+rdNVtuorrGJKKabBbK3AORgnHBHfHdbHRfRDqz1CtDr7onRVfdbeJXQOngcwN3txlvLgeMhd78O91uHUbXF90prWqfdbVeLRcrjV005y11RBBJLE9vqza/nDcD9iinRVJqe/Xyh0zp6quW+smAMNHI4EN7veGg+jQT+xchX981WtZSpxq0lGTk4ycNMtXbUmmtLzvjh98La8Cj5KiUnGWVjKzlY74a7+nw+L22t+ifVXpva4b1rjRVfaKGom+Xjnn2FrpMZ2+Vx5wFxBc4gAkkDt9FLXXHWUNNUO6R6Uu/wA/piwVORWicym6VAbj5p5JIa7DtmGnb5e2VEq6HRbi7u7ONe9SUpbrCcfK/utpuTTa5Wdu+HsUXcKVKq4Us4Xrvv33SWT1ocXAMBLieMd8raai0vqHStVT0mpLVPQT1lLFXQsmGHSQSDLHj6HBWVobVFJo6/sv1Vp6kvDoIpBTw1L3NbFOR93MNvdzHYcAeCRypT+Lq619911pi83Sbxqut0ZaJ5pNobue5jiTgYA/YoV+oV6XVKNmqa8OcZPVnfMcbJfXdv4Y7mYUISt5Vc+ZNbfMjXQnTbX3UerqKLQenKy7T0sYlmbTlo2MzjJLiB3K913006gdOKmmpNe6brbTNVxmWBtQWnewHBILSR3Uj9PZ7brXpAzppbdY2vS99oL5JeJa251fykU1M6IRiNsg5c7dzt7Y5XU62sOnbH8LV1oaDVkmpLtSaupIrlWB4mpmSGncQ2ml7vjLcEk482VxK/tDc2/UVQnFaXUUNOmWrDeFPXnTh8pafhnO5twsac6Dmm86c5ysbdsc5+vxIZ0N0m6o9SaepqdC6VuF3ho3NZM+BzQGE5wPM4ex7LX2Lp5rbU+rX6HsGnqquv8AG+VjqGLBkDo87xyccYPqvpDrB0e1I2926x2XWFk0NpaitVHNaYrnXuo2VT5oGPqHxOAJk+8Jzk8E4C4roHbZumPXs0Gv7tTWYzWi4RxXCsmLIJBPTvbDMJD3Y8kEO9Qcqmj7UTubGve20oSapucIJSctlnzNPEu2VFLS9svknLpyp1oUaiaWrDeVj6bbfBvnk5if4XviHhgkmqOmd4bFG0veS+PAaBkn8ail7HRvdG8Yc0lpHsQvoO26B0DqacaB0t1c1VcdeSMfGxgLTaJZmNLn7Zw7cY9rXYO3nhfP08T4Z5IZDl8by1x+oOCux0LqNe9lUhcSi3HDSVOdN4ecPE5SynjZrHDNW8oQpKLgnh5/eUvTbZLDXcoREXekaIREUQEREAREQBERAEREAREQBERAEREAREQBERAERFOIOu6dP6dy1tXauorKqmo66NrIbpTNdJJb3A5LxCMCXcPLgkYzlSLJqfo90v0hqq19NNYXbVVZrC2GzVLK61mibSRF7X+K12TvOWgbeO6gxFybzo8L6rrqVZ6MpuGVpbi01ynJbpPEZJZXG7ztUrp0Y4jFZ333ys/XH4pn0BpvqdofVmgtNaV1l1L1PoWTSFNJQ04s1PLUNr2SSGQyP2vaGFpO0DnhcD1a1BpK5S2+z6T1BfNRQ29ry+83WWUSVJfg7RC9zhHt7ZB83ddP0s6E6C6lWKe4SdZqS1XGgt01zuFA+0zSGmgiPmO8HDuCDx7qM9a2bTthv81t0tqpmorexjCyvZTPgDyRkjY/kYPC4/S6HTV1OpTtZ1NUHKTg4OME5NtvU4JvLbaTnJPOUsJY2rmdw7eMqijh4WcptpfDU8Ywuy+JKmrtC9BLf8Pdg1bp/WlXU6yqqyaOendT4MhAZujezd92xmXbZMef9ig5Xn0VZHSR18lJM2mlcWRzGMiN7h3Ad2JGRkKyu/0yzqWVOcalaVXMpSzLGybzpWEto8f04NK4qxrSTjBRwktu+O/1C+gPh7vvQXQ1LW6g1l1BvlJeLtZq+zz0NPZTNHAJ27A8SB3mIAzjC+f13ugOl0WpqCfUurdRw6X01TvELrnUQOlL5nZ2NZE0hzwcEFzchvqtX2ht7e6sZUrqrKnB7PRhyf8AlScZN59Est8FtjOdOspU4qT+PC+PK/PYwL9QdN7TrqiptOahr77pdstO6pqqiiNLM5m4eM0R5J4GcHPKm7XN4+G/VtQaSg65attFhhibS0tpptOvbCyBp8okAeBK73e4ZOBlQFriyaa09f323SmrY9SW9sbHtr2Ur6cOcR5m7H88e66nov0N1P1nvMtBa5YqChpoZJp66owGANaTtYCR4juOQ3JGcrm9TtbWVrS6lc3VSnGlH7zUU3nG8oypvEtu0U98YL7epUVSVvTpxk5Pjf8ABNS4+rOL1RS6fodQV1JpS61FztEUu2kq6in8CSZmB5nR5O05zxlatVzRGGeSDO4seWZ98HCkuu6CantHRiXrHeamGjpvtGCggoHDM8gka473DOY8bezhkg5C71a9t+nwpQuam82oxb5lJ7LhcvvhJfJGlGjUruTpx4y3jsiMURZdot7rtdqK1NkEZrKiOnDyMhpe4Nzj9q3pSUIuUuEVJNvCMRFPurvh76SaH1LcdI6k+Imiprpap3U9VCLDUODJB3GQcFQvqq2Waz3+stunr+y92+B4bBXsgdCJxgHOx3Lecjn2XL6d1q06rh2upprUm4Timnw05RSec9mbFe0q23+8xzjZpv8ABNmqREXVNYIiIAiIgCIiAIiIAiIgCIiAIiIAiIgCIiAIiIAiIgCIiAIiIAiIgCIiAIiIAiIgCIiAIiIAiIgCIiAIiIAiIgCIiAIiIAiIgCIiAIiIAiIgJg+H3WXT3Ttv17pvqLe6600OrLCLXFVUdEal8b/GY/OwEejfdeXfVnTjppZblZejt9uF+rNQ0r6Ovu1fRGlMFK7h9O2Ekh27AdvzkYwogRcOp0GjVu53UpyxNpyhlaG4pJN+XV2W2rDxujcjezjSVNJZWUnvlJvL747+mSaLBqbpVrvp5p/RPU3VNz0w7STqkUc1DbjW/OCd+9xcMjZtIAHfOV7qrqPoW10GiOnejbjWXfT2k7269Ou1TSmnmldM+MyR+Dk4DRHwc85Vuw9DdESdPrBrvXHV+l00NRGoFLSvtU1Q7EL9jiXMOO+FyHUPSGgNMQ0cmi+p0Gq3zucJ2R26Wl8AADBy8+bPPb2XGt6PTLq9dKnUqySnNqOiXhxn5lNqfhrfLnzNxy2kuMbdSdxSpapRitlvlamtsLGr4Ltkl/qHqr4cq/qPfOsli15qO6XSrrpLjBZXWuSjZI9/Gw1DXZaBnOcc4x6qEpb1b9edQftrXdw+yqO6VYfX1NDRNd4EeMbmQtwCQAOBjK5dF2em9CpdNp6IVZyko6IylpzGK4SxFLbndNt4znCNSveSuJZcUlnLSzhv1e7f5/Ilr4ktI9JNHa3gtvSPUMtzoXUkUlS1zcshkLGkbZNx37skkfqnhRKrtVR1dDMaetpZqeUAEslYWOAIyDg88hWlvdMtZ2VpTt6lV1XFY1yxmXxeP7+fJTcVFVqynGKin2XCMm2VbbfcaSvfC2ZtNPHMY3dnhrgdp/PGF9HXLqn0mu92k6l1PULVtLWzyCsfomhjnp6CN3A+XZUMeA1nGdwaPyXzQq4IvGmjhBx4jg3PtkrV6p0ah1OUalSUouKazHG8XjK3TxnC3WJLs0WW93O3TjFJ59fVcPZr88r4H0Jf+uui7l131fqul+bbpvWVq+xZal0bjNSQyRRsfKGHl7mlhwCRlY1h1H0N6NfaWqOnmur1qq8Vlsq7O2grbOaKIR1MZjfL4m53LQcgY5UW9U9ATdMdb12i6i4srpKFsLjOxhYHeJG1/Yk9t2P2LzW2hWaIprXDW3ylqLtWw/MVVDBh4pY3AOiJkaS1xc05wOW9iuJR6L0yrQoUqFafhVIRiorGKkIx2csxcl5cJtOPKXLRuSu7iM5ynFaotvP8Lb7b45+f4Hd6R1h011b0utfSvqZqC4aaptO3GqudJXUNCax1U+oDQ6NzMjYGhgIOTnKwetWr9CautGnabS94raibS1M2wU7ZqQxCpoYgXMqnEnyvc5xBj5xjOVE6Lr0+g0KN2rqE5LEpSUcrSpSzqf3dXmy28y+WDVlezlS8NpcJZ3zhcd8bfL5hdR0517cOneoXXmhhbPDVUstvrqd3Hj0koAljDv1S4DG4chcutjp7T131Td6ex2SkdUVdS8MY0cBuTjc49mtGeSeAupd06FahOFzjQ0854wa9KU4zTp89iWDrfpj0wgqNQdH7lX12orzTywH5ykdFHZ4ZWlssLNxIny1xZuOCMZ9VznR/Wum9AQ6k1LUyTxapgoGs0zK2MvjZUPdtl3jtgxOcBn1WL1o6TXHoxrGLRt1ucFdUut1LXySQjyMM0e7YDkh23tkcFZuheklsvmmhrbXetYNJ6fqal9DQ1slI+q+ZqWAOfHsYctw0g5PBXmlT6U+me8TqynCtp8+8pzSeYxSUcuOMrSo7xcm922b+blXGhRUZQztwk+73ezz3zzj4IjeR7pZHSPOXPJcfzK8UidQOlVu03YYNY6M1hDqnTr6n5CW4R0r6bwqvbu8LY87j5ec9lHa9HZ3lC+peLQeVxummmuzTSafwaRoVaU6MtM+fx/NbM6DQtv0XdNQR0mvtRVlktBjeX1dJR/NSNeB5WiPIyCfXPCmD4gL30D1vQ0F80f1CvlVeLNZKGzU9DUWUwxziAFpeZC7y5BJxj0USdPNA3nqPqNunrKGhzIJayplcRiGmibulkx67WAnA5OFIX8hehb/HLb+mvWOl1RfhE+aC2NtM1MZmMaXPPiPO0YaCee+F53q07Kn1KncV7mpCVNfdjHMEny5vRLSpY5lKKwm1jDZv2yrSt5U4U4tS7t4ba9PMs4z2T5OE6d2jpxd7hVQ9SdX3HT9GyEOp5qK3fNukk3ctLcjaMZOVvde6709Saa/ks6bPmk0yyqbW1VbUxlk1zqmghs5YcmHDXFuwHBxlafp904qtazVNdX3GOzWC2s8W43Wdm5kEeceVmQZXZI8jcnBz2XvULpvUaLfTXG23OO96euTTJb7rAwtZMwHHnZkmJ2QfK7BIGey3Krsq/UlCtWcpLDUHjQpJZW6jvPG6i5Nr7yjsmqo+LC31Rgkny+7X48dspfDJKmq9V9E+tc1FqvqJ1L1Fpy5RUcFF9k01pfWwU7YY2xhzHlwHnDQ4gAclcnrfqfozXPU+ivN+sEtZp632unsMYEropHxQR+EyqIHIdjD9nuMZWFJ0G1PRdGK3rLdqiKio6eupqKCiePv5hKXDeRnLANvG4cg5C5TQOhrz1E1LDpqxsaZnxyVEr3EARwRtLpH/AF2tBOO5wudYWHSqVOpWpXEnToKUOUlS2TkouMU9ljduTWOc5L61a5lKMJQSlPEuN5c4ym2vXhIl3S9y+H3pHeoeoGi+o9+1HebWyQ0tsqrGaWKoc9jmEOl3HbgOJ7eigSpm+YqJagt2+K9z8e2TlTIzob0+1AXWrp11ppNSagla40dsbaJqc1BaC5w8R52tw0OPPsoZljfDK+GQYcxxa4fULe6F7rOpUq06s6lTEU3UjpkorOny6IeXLlh6d3lZ2wqbzxFGMZRUY740vKztnfL342yUoiL0EjQCIiiAiIgCIiAIiIAiIgCIiAIiIAiIgCIiAIiIAiIpxAREUgTL8NP/AJR1D/5D3T+pihpTZ0x+Iyw9M9PGzU/Q/Sd0rKiilt9dcqqapE9ZBIcuY8NeG4IwOAOyjPXepbTq3Uc16smj7bpiklYxrbdb3SOhjIGCQXkuye55XnOnK8XVbmpWoONOenEnKDT0rHCk2s5ysr54Zv1/CdtTjGaclnKw+/zWNiTNWde7ZqHoDYelMXTW10VRbqyaR1yZT4ZyGeeI5yJXbfOfUYUJqcdXddNBX/4f7F0tt/S210N6t9VLJLXs8T7vIZ98wl3Mkm07wRgcYwoOU/Zy3VtQqxVu6Oak3iUtWrMvvLd4UucdvzMX8/EnF61PyrhYxtx9Avp+62vpkOgHSrUnUu61UtLRwXKnjstteI66qL6n/Cse4FgYzHmBOTkYXzApR0N1to9O6fh01rXpvYtc0VAXfZbLvJM37PY45kbH4Tm8OdgnOeQoe0djc3cKFS21N056motRk04Si1Fywl97d5TxnDzgzYVqdJzjUx5ljdNrOU90t+39djP1P0w0XVM0VrbRslxo9Kavu5tLKO4ytfWQOikYyZ7ntGzB35bjtjlfRukOkfVmy9eLTYLVpV1N0+0zNWx258NRD4c5NPIwVT2h+TK8FoLsDsOF8ldSOqdTrx1Fb7XYKLTOn7aXSUNktz3mmppn48SVpeS/c8gE5PpwrHTjqjqHpxq+i1fRvfXzUTZWtgqZ3+G7fG5hzg543Z/YuF1HoXWOodOa8Ra9FWKhNan5s6PMpJa1HyuXmW7e5u0L21oV86XjMXlbcc7Yeze+NiSOjHSGtuGv9bWy9acirdSaRoJK6hstVJGYaqrEjQIpPNtc3a4nAcO3dSJf+mvWyo+GjqBX69sNV9q1Oprdcn+LUxPIpYYJGuIIefKwbQB3xhfJb7nXOq5q1lXMyadxc9zZCCcn37ldbRdWL/SdL7x0vLBNSXi509zkq3zPMrHQsc0RjnG07sn8ls9T6F1S4r07inUhLzUm04vMVCUXLS9eEm1qxht8ZexVb3lvThKnKLW0u/OU8Z257Z/I4yKCadxZBC+RwBcQxpJAHc8LLsNc213y3XN8TpG0lXDOWM/E4NeHYH1OFK3w2dZNF9H75d67WGg6O/Mr7bU00M8gcZYXPic0RgBwGx5IDj3A7KLbneGVWoZ77abdBaWvqjU09LTEmOm82WtZuySBxjOV6OFzcXF1WtKlBqnGKxNtYm3nKSW6x/fbOi6dOFOFWM8ybeVjjHHw3J7158Q2gr91Bul4sPRi1VTtR1xqa92p6Zs9TDO8hrmxFhAawDBAPOcqL+uujLV0/wCqt90nZDIaKikiMXiEFwD4mPI49AXED6Lr6b4itNVFOyq1V0G0fqG/ubuq73WS1Lamqn/4Z4Y8MDu3YAcKKNVaovOs7/Wal1BWPqq+ufvllfjJwAGjj2aAP2LhdA6XXsbiKjRlSpwg4tSnr1vMdLW7eIpSW6i8SW3ONy9uIVoNuSlJvOyxhb5T27trjPBqkRF7E5QREQBERAEREAREQBERAEREAREQBERAEREAREQBERAEREAREQBERAEREAREQBERAEREAREQBERAEREAREQBERAEREAREQBERAEREAREQBERAEREB9N1lb0epPh66XDqjZNTV8jjdflDZ6mGINb8wN2/xByc4xhfOlVV2qnv766z0b3W+Kq8Wmp6wh7jEHZayTHB44OPqpW0t8Q1ltOg7LoPVXRfS2rILC6c0dTcpahsjBK/c4YjeB3x+5c5r3qbpHV01qlsfRvTWlm2+o8adlulqHCtbkfdyeI84bwe2DyV43otte9Pr1aVWhUcZzqPVri4YlOUliOrKymk9ueTq3dSjXhGUZrKUVjS85SSeXjD/ElO19GNI6+0ZV/EQ2mbarFaiXXXTVOAyepnGM/Jj8LYcubgOycByg+TWNINe/pnHpGzCnZVCdtndAfki0DHhlmfwnGSM98rbXXrLq2s1jTastMrbPHbvurbbqU5p6OmGQIGh2S5uCRl2Tz3WtdrKzSdQxrWTQtpdbvm21L7CXyfKPaAAYyd2/aTknnPKv6ZYX9s6jvMzjKL0LV9xf8AVt5WqT/6zPwbSSbhcVqNTT4Xlae7xy/4vgv8v9dus+Izq9Q9Y9aQ3+g0XTaeZT0kUBa2LZNMQxozIQcEDbhvs3CilSz8SHVnSPV7WdPftH6JpLBTwUkcEj4g4SVLgxoy8EkDbtLW49O/KiZdH2doq36VQpKi6OIryN6nH4N5ef744KL6fiXM5a9WXyljP0M2x0UVyvVvt05cI6qqiheW9w1zwDj96+htc6h0D076k3HohU9KLNX2Sz1rbc6601KPtqWMYdvbKTt8TJ77ey+cKaono6iKrppDHNA9skbx3a4HIP7wpnHxLH5Vt2k6Y6ek1wAJDrBz5jcHVI/38t3eFvxx+HH0Wj1+xurqtTnSg6kEpLSp6MTbjpm3lbRSa2y99osusq1OnCSk9Lyt2s5W+V9dvRbcksX7Qek9c/Frrb9I6mmo7dYrMy7xOuLC+maYqeHaKhrRlzMHzAclV6itfQHUmnbrQ3TWfSmLwqKeppv0VtFXT176ljCYmB72luwuwHfT1UE3Tr9qa7dVbj1RqbdS+Jeo2010toc75etp9jWvhefxbXhgzgg+y2N+6/2Wa01NJoPo1pbRNyqo3U77pa5J3z+A8YkixK5zdr2nB4z7ELyf+zfWF7tFymtFOnFaJQUYSisS1OScue8U9u2Tp/tC1fiPC3lJ7p5ab2xjb8WjaaaZpvpf0SsHVJ+i7Lqa5anu9dbJoL3T+NBBHThjmuiAILXHecnPoFw/UPWWl9cWuku1DoGl05d45zDL9lQiK3yQBuRhpJPi7jyc4xhZvT7rO3Sdj/RbVmhrRraxwSuqKC33Z8rYqKd/+Ekj8ItOXgNBySOAsHqT1TZrmCltFj0fatJ2Kkeahtpthe6E1BBDpiZCXbi3AxnHHZemtLC6pdRlOtSk3rk/E1+XQ29MdOctpYjhxS2zn159WtTlQUYSSWEtON893nHd78/Q4NbGx6ivmmqieqsN0qKGWqppKOZ8L9pfBIMPjP0I7ha5dJ0/1VZtHahbeb7om16rpRC+I2+5PkbCXOxh+YyHZGOOfVenuv8AcS/w9e33dt/hvhfi8HOp/fXmx8fT8NySvi4/3Q7B/wAjbF/qrVyWgdN6s6iWxumKzVH2Ro6zTOr6qsrS40VvfINhlLW+YlxDW+UE9l03V/4iLR1ctXy1V0a0vaLoyCmpILtSS1DqiGnhADImhzy3G0beRnCx9Adf7bpDp/H071D0l03qyghr5a+OS5Szse18jWgj7pzcjDfVePs6XVbToVGhG2/xoYjjNNtLG845lpz2SbXq01s+pVlbVbyc3U8j34lv8Htn8DA6h6r0/YtIRdGtFXBl2tdHX/aNddhnw62sDNm+nBAc2LYQMOGcgqL1InUfqfo/W1pgt+nujGmdITwzeK+rtctQ6SRuCNh8R7hj1/Yo7Xoei0ZUbX/EpyhJtuWpxcm3zJuLcd/RccYRo3clOp5ZJrtjKSXpvub3Rdx1fQXxkeiKusgulfG+gHyjtr5I5hsfGT/NcDg54wVLFsptOfDmf0oh1jbtQ6zlp5aKO1UjXgWmV7CyYVW4AP8AK4tGxx8w9lwPR7qhP0i1iNXQaeoL3mjqKGSjri4RPjmZsdktIIOD6FdtXdfum9bT1ETfhg0JFNOxzRO2orC9jiMbhmTuO/K5HWqV9XuvBhbudCSWpxdNOfPllqakor/LzlrOMp7VpKjCnrdRKae2VLb4rCay/jxgsVuZvhKtkcQ3vi1tPJI1vJYz5QDcR6DPqqrSPB+EfUEcvkfNrSikja7gvaKVw3Aeoz6rg+nvUW5aBuMr20UF1tFczwbnZ6sn5avhznw5NvmA3AHLSDx3XvUPqNcdfV8RFBT2iz0LDFbbPSE/LUMROSxm7zEFxJy4k8lZfSrp1/d9K8PxfG15+OdGnnOe/GN858o95p6NefNp04+mM59Pzz8NyUbXqO+6p+F3qPddRXSouFZ+kFhh8ad+52xjJGsbn2DQAPyXOfC5HfJOq0YsM9JFKLVcHTmpY5zXUwp3+M1uOzyzcGnsDjK6Wz/FLpa0aPm0PH8OeiZbXWup5q2J09Xiqmhbhkr8Sfi5J4wOVE1i19dNKa0k1lpWCK1OfLKflICfCFPJkPp8uydhYSz3we607Xp99WteoWrt/CVVtwy4OO9OMEsRbxvHPGMNFtSvRhUoVFU1acZxnP3m+6XqTn0er+iFZ1BttN0hsOrLdq17Z/s6pvlXDNRRu8F+7xWRgPI2bgMeuF82V+8V1SJCC/xX7iO2cnOFMlZ8RWnqWkll0N0L0lpG97C2lvNtmqXVNKSMOLBI9zclpI5B4JUKySPlkdLI7c55LnH3JXQ6BZXNGvVuK8JRUlFJVJKc/K5N7pyWnzLCzzqeNyi9q05wjCDTw2/Kmlvjs0t9t/oeIiL0sjnBERRAREQBERAEREAREQBERAEREAREQBERAEREAREU4g7jpLfNGWjUTaTWfT+n1TBcpIaWJk1bJT/LFzwC8Fn4jg9j7LtvieZ0305ru8dNdC9M6exy2G4mE3FlfLNJUs2DyljuG8u9PZRnoGx3u96qtjbNZ66vNPW075RS075fDb4g5dtBwPqVJfxV2G+UXxEauutZZq6Ciqb0BDUy072RS+Vn4XkYd+wrylzCivaKlmpLLpzlp8SSWpSppeTVp4b2xvzzudOm5Owl5V95LOlZw1LO+M8pdyP63pJ1Pt0VJPX6CvlPHXSsgpnSUT2iaR/4WtyOSfQLRX/Tt90tcn2fUloq7ZXRNa59PVRGORoIyCWnnkL691bq+4x9beplsu2pp2UVBo589sp6isIjgqxSwmN8LXHDZAScFvPJwob6sTz3boZ0w1FdJn1l1rprs2prp3F884ZM0MD5D5nBo4GTwtbpHtJe3lSgrmnFRq6eM7OdOVRc+ii0/i0yy6sKVKM3Tk8xzzjtJRf65RyV46H9SrD07oOqN005PDYbjM+KOUtdvYGhpD3tx5WO3Da7PPK4NTDqiq+IB/QbT8Wojc/0E+fqBRF+/eX4ZkS558L8Ozd5e+1Q8u/0a5ubmlUlczhJqc0tG6STwk8/vLv8TSuqdOnKKpprZPf1x2+HoFMViqek3TzQ1hvd/wBH0OurnqNs8tRTS3GSmdavCfsazEeS7eDu82O3Ch1TP0+6T263aUo+pGvNHXzU1vupey2Wi0NlDqhrXbXyvnja7wtjh+Bwy7PHZU9fqUIUIe8TkouX3YPTKbw8RTTi1/E3qSxHd6ck7JTc3oSzjlrKW63xh/Lh87blvqBoXTupNL6N6iaGsUen/wBMrnPZo7K2d0sMEkLmMEniv8x3l4JBHGFsqyw9IdHXV/RjVFjnnvfifK3LUcbnmW312cGGGEHZLGHADeSDhxOOFzuptW6rk19py96u07cNPWG1V9KaGhfRPgihp4ZGkkNLQHybANzwMuIyV1HULQ2o9a9earWenqRtRYtQ3L7cpLiXhtMymLt48WT8MT8NPkcQckD1Xnk61ONOheVnGnpqTTU3tJSWiLnnzuEXvnOrGZZN3EZOU6UMyzFYx2xu8dsv04ztg46i6Pss/Um76L6iagpLPSaZfuu88MjZJTFxxTsOPGf5m+XI9fZV/Eho/TOhOrt30zo+nfDaaaOmdTteSXEPhY4uOScEk5x9Vc6xXD+VXrlqjUegrfcLvR11eKiL5ekke/ww1jdxaASBkHuug+LvT1/per91u9VY7hDQOp6CNtVJTPbCXfLRjaHkbc5B4z6Lbsry6n1Kzld1cSqUJOVPhKf+F25zlyxnhbLu3XVpU1b1VSjlRmsS5yvN39NkQciIvZnJCIiAIiIAiIgCIiAIiIAiIgCIiAIiIAiIgCIiAIiIAiIgCIiAIiIAiIgCIiAIiIAiIgCIiAIiIAiIgCIiAIiIAiIgCIiAIiIAiIgCIiAIiIAiIgCIiAIiIAiIgCIiAIiIAiIgCIiAIiIAiIgCIiAIiIAiIgCIiAIiIAiIgCIihIBERRAREQBERAEREAREQBERAEREAREQBERAEREAREU4g3+kNf610BUVFXorVFxss1WwRzvo5zGZGg5AOO4BWZqvqv1K11SQ0Gsdb3e8U9NL40UVXUukax+MbgD2OFyiLWlYWk6/vMqUXU/i0rV6c4yWqvVUPDUnp9M7fgZt5vd31FcZLtfLjPXVkwaJJ53lz3BoAGSfYAD9i9qr7ea610VlrLlUTUFuMhpKd7yY4S85ftHpk8lYKK9UacVGKisR4242xt6bbfIhqk8vPPJId76+dTtQ9Nbf0pumo55rFb5XSNYXu3yNIbtjec+ZjNo2jHHKjxEVNpZW1jGULamoKTcnhYy3u382SqVqlZp1G3hY39EF2mnetXVnSNpisWmOoV8tlvgJMVNTVbmRsycnAH1XFop3Npb3kdFxBTXOJJNZ+pinVnSeqm2n8NjpdX9Stfa/bTs1rq66XptIXGAVtQ6Twye+3PbOArFJr3WlBpep0VRamuENhrHl89uZMRBI4kHLm9ieB+5aFFCNjawpxoxpxUYvKWFhPnKWMJ57mXWqOTk5PL75N5pLXGsNB10ty0bqOvs1VNH4Uk1HMY3OZnO0kemQtnqnq/1Q1vbPsXV+u7zd6HxGy/L1dU6Rm8dnYPqMlcgixPp9pUrK4nSi6i/ecVnbjfGTKr1Yw8NSen0zt+AREW2VBERAEREAREQBERAEREAREQBERAEREAREQBERAEREAREQBERAEREAREQBERAEREAREQBERAEREAREQBERAEREAREQBERAEREAREQBERAEREAREQBERAEREAREQBERAEREAREQBERAEREAREQBERAEREAREQBERAEREAREQBERQkAiIogIiIAiIgCIiAIiIAiIgCIiAIiIAiIgCIiAIiKcQEXddLejWser0l2ZpSS1QsskDKmtmuNfHSRRse7a0738d1Z6jdI9W9MZadt+fbayCpHkq7XWsrKYO58hljy0PwM7c5xytH9rWPvbsfFj4q/dzvxnj5bl/u1bwvG0vT69ji0Uv6Z+FzqTqnStq1jTXLStBb71E6aj+0r7BSySMa4tJ2PIPcLmeoPRzVXTiqt1Fdq6x3Ke6FzadlmucVcS4EDBEROCSRgeqpo9e6ZcV3a0q8XUTawnvmOcr6YeSc7K4pw8SUGo+uPXg4ZFMdP8KvUmotTLobvo+Evg8b5SbUNOyqbxnw3Qk7hJ6bMZzwuCuvTnVlj0mzWV3txpKB9zks5ZMdk7KpjN7mujPmb5fUqVv1vp13LRQrxk84wmuXnb8mYqWdekszg134OZRb/S2iL/AKxp71U2SGF8dgt0l0rTJKGbadhAcW5/EeRwtAuhCtTnOVOMk5Rxlemd1n6FDhJJSa2YRZVqttVebpR2iha11TXTx00IccAve4Nbk+nJCmut+DfqnbquWhuGoNB01TA4slhl1RSsexw7hzS7IK0b7rPT+mSjC8rRg5ZaTeMpc/qXUbSvcJulBtL0IKRb286Lvln1fUaIbHDcbpT1HywbbZRVMlfjP3bmZDx9Qt11A6O6y6cU1JXXwW+qpatgcZ7bWMq44HHtHM5mRHIf5rsHg+yu/aNop06fiLNRZis/eXOV6kPAq4lLS8R5+BxCIi3CoIu/sXQ/XuodHVGtaCnoW0sLd8VJNVtjratnHmgpz55hz3aD2PsuBex0b3RvaWuaSCCMEH2WtQvbe6lOFCak4PEknnD9GWTpTppOawnweIiLZKwiIgCIiAIiIAiIgCIiAIiIAiIgCIiAIiIAiIgCIiAIiIAiIgCIiAIiIAiIgCIiAIiIAiIgCIiAIiIAiIgCIiAIiIAiIgCIiAIiIAiIgCIiAIiIAiIgCIiAIiIAiIgCIiAIiIAiIgCIiAIiIAiIgCIiAIiIAiIgCIihIBERRAREQBERAEREAREQBERAEREAREQBERAEREAREU4gmnol/uPda/8A3Hb/APXAquhjRdemvVu13ICppLdph1xpIJfMyCq8aNnjMB7P2kjcOcLUdFOpOhNFWbWmmeoNmvVfbNW0FPRk2qSNksRjm8TOZOOeArWqepGjrTYqrSfRm1Xe0W67MLLrVXOSN1ZVR/8A3cuj8phyGu24zuC8VdWl1Xu7q2hSl/iVKU4z20pRjTzvnOfK1jH5HYp1acKdOo5Lyxkmu+W5Y/VMlXV+itBap6LdHqjWHVWj0nNBZKxkMM9umqTO01TiXAx8DB4wVB3TKGCm6waYp6WqFTDFqGkZHOGlolaKhoDwDyMjnH1WX1B6i2/WOidAaXpLfUQTaQttRQ1EshaWzOknMgczHIABxyuR07e6nTV/tuoqJjH1FsqoquJrxlpfG4OAP0yFudI6Xd0LCvSrTbc3VxF6cR1Tm1hpZ8yae7f0Kbm5pTrwlFLZRy1nLwlnl42x2SJE17/5zV2/5YH/AFoKa9Y1NLqXrN166W1hFbc77UTN0vQzDcwXETMc97CeI3+Cx43cccKNKvqH8PF3vcmu7xpnXP6UVFR9pTeBVUwo/nN2/wArT5vD3+mc4XHxda9QjrXJ1vmoqQ3ae4SXCSBrT4O6Rpa4AZzjDjjlcaXTLvqMYONKUJUaOlasLNSMqco4w35W4Yk9tn8TbVxSoN5kmpTy8fwtST+u+3xOoqaSfpr8PMtvurPs3UGsbm2roXxH7yqtDWOila57ezPFYcsPfGVCakHq71Qi6hy2S2Wu3yUll0xRvobY2cg1BifIZXGUg7Sd73Yx6YUfL1fQ7evSoSrXSxUqScmvTtFf/illZeHk5t5UhKahTeYxSS/n+efobjRlfS2rWFiuldJ4dNR3KlqJn4ztYyVrnH9wK+gOoOoPhfvnUm+VlXbb/rCr1Pc5KunuVur/AJGCm8Z2GxPiewlxYeSQQDlfNtDUto62nq300VQ2CVkhhlGWSBpB2uHqDjBUxQ6u+Gionj1BX6K1lRXouFS+nttRTMoIpwchsbHeYRggcE5wud16y8S5p3KjVbUZR/wmly01q3UuV2ePVMvsq2mm6bceU/Ms+vHK/I6nROgXdLdSdbLF85HU3TRunJZLfcYmFj4JxJFiWInljgHkZBz3XL/DvPNef0+sl2ldV29+lblc3U0x3Rmrja3ZMWnje3ccO7jJXO1PXLU9V1LvfUSelpJBqN+Lta3NPylbBgZhkbnJYdrTjPcLO1B1O0TY7PVWro5YLlZ5b1G5t1rq98bqkMcMPpoHR8CB2eWkZ4C5sum9SnTnRuIaqtaNLzrGISjGKln08yclpW+dsMvVxQUlKDxGDlt3abePy2eSKltdJwxVGqrNBPG2SOS4U7HscMhzTI0EFSd8NVV0JptQXf8Alto55YHWuq+Rc4t8ASeE7AIIJ8UuxsPYO7qLLjV2+mv01dpf5umo4qky0PzDgZ42h2Wbi3jcOOy9RG9lc3NaxVOUdEV52vK9Wfuvu1jc57pKnThW1J5b27rHr8yXfiEu1zsHxN36kslfPQwWC8mjtccDyxtFACMRxAfgb5ncD3K0nxPW232jrjqagtlHDS00ckBbFEwNaC6CMnAHuST+1bCLq7oC8xN1hrvR9XdteUgzHU5YaK4yf8NWtJ3vk5OS3HZqjDUupLzq6+VeotQV0tZX1r98s0hy44AAH5AAAfQLi9EsLmjVoeLDT4NJ05N488swepY5Xlby8PMvXJtXlanOM9LzrlqXwW+z+O649PkaxTNo3R3S/SfTW19Tuq1ju+oaTUlbU0FBR2qvFHJSvpyN73uc1weHbhgADGCoZUsaQ6l9P63QVv6c9WLLfKq1WOrqK22PsksUc3izkeIJTJwR5W4x9V0uvQuZ0IKhqcdS1qDxNxw/uvKaerTnDTxntlFFk6am9eM42zus5XP0ydPonRXQTqf1P0tRaaprzbbRcaianuFhqawy1bWRwPk8ZtQGhoDiA0NxkYKzZdNfDkNO1HVKPQmqhpujuP6PyWo3tvzL6wt8QVAm2YDNo27MZzzlaHTnV7pRoDXOnrvobQ9ybabPNPUz1Fc6J1ynfJC+Pw97Ts8MFwcB3zlR7J1FujtD1fT5lNALZVXr7aLyD4olDCwNznGMH9687HpnUrqunCdWFJKCWqo08Oc9ecPeWnThvMltvnJvO4oU4NNRcsviO2cRxyuM524+Be6u6A/kz13XaTbWtqo4WQ1Ebw0jEcsYka057kBwBPqQuNXc9aeoFB1O19VauttBUUcE9NSwCKctLwYoWxk8ccluVwy9d0l3LsKLvP8Ae6Y6v+9jfjbk5lz4arT8L7uXj5BERdAoCIiAIiIAiIgCIiAIiIAiIgCIiAIiIAiIgCIiAIiIAiIgCIiAIiIAiIgCIiAIiIAiIgCIiAIiIAiIgCIiAIiIAiIgCIiAIiIAiIgCIiAIiIAiIgCIiAIiIAiIgCIiAIiIAiIgCIiAIiIAiIgCIiAIiKEgERFEBERAEREAREQBERAEREAREQBERAEREAREQBERTiAiIpAIiIAiIgCIiAIiIAiIgCIiAIiIAiIgCIiAIiIAiIgCIiAIiIAiIgCIiAIiIAiIgCIiAIiIAiIgCIiAIiIAiIgCIiAIiIAiIgCIiAIiIAiIgCIiAIiIAiIgCIiAIiIAiIgCIiAIiIAiIgCIiAIiIAiIgCIiAIiIAiIgCIiAIiIAiIgCIiAIiIAiIgCIiAIiKEgERFEBERAEREAREQBERAEREAREQBERAEREAREQBERTiAiIpAIiIAiIgCIiAIiIAiIgCIiAIiIAiIgCIiAIiIAiIgCIiAIiIAiIgCIiAIiIAiIgCIiAIiIAiIgCIiAIiIAiIgCIiAIiIAiYKIAiIgCIiAIiIAiIgCIiAIiIAiIgCIiAIiIAiIgCIiAIiIAiIgCIiAIiIAiIgCIiAIiIAiIgCIiAIiIAiIgCIiAIiIAiIgCIihIBERRAREQBERAEREAREQBERAEREAREQBERAEREAREU4gIiKQCIiAIiIAiIgCIiAIiIAiIgCIiAIiIAiIgCIiAIiIAiIgCIiAIiIAiIgCIiAIiIAiIgCIiAIiIAiIgCIiAIiIAiIgCdkRAVA5RUg4KqQBeEL1EBTgoqkQFKL0j2XiAIiIAiIgCIiAIiIAiIgCIiAIiIAiIgCIiAIiIAiIgCIiAIiIAiIgCIiAIiIAiIgCIiAIiIAiIgCIiAIiIAiIoSAREUQEREAREQBERAEREAREQBERAEREAREQBERAERFOICIikAiIgCIiAIiIAiIgCIiAIiIAiIgCIiAIiIAiIgCIiAIiIAiIgCIiAIiIAiIgCIiAIiIAiIgCIiAIiIAi9AXuMICnB9kVSIClFVgLzaEB4i92hNv1QHiqBHoqSMIgKkVOSvd30QHqLzd9E3ID08BUpyUwUARMFehvugPEVWB7IgKUVWAvC32QHiIgAKAIvTgLxAEREAREQBERAEREAREQBERAEREAREQBERAEREAREQBERAEREAREQBERAEREAREQBERQkAiIogIiIAiIgCIiAIiIAiIgCIiAIiIAiIgCIiAIthp+zS6hvlBYoKmCnkr6hlO2Wd22NhccZcfQKdf7jHVn+MvQn/AEm7/uLmX/XOn9JkoXtVQct1nP8AJHW6d0LqfV4ynYW86ijs3GLeH8cHz0i+hf7jHVn+MvQn/Sbv+4n9xjqz/GXoT/pN3/cWj/tl0L/tK/CX9Do/7F+0X/Yqv/4S/ofPSL6F/uMdWf4y9Cf9Ju/7iirqt0wvvSHWM+itRVNHUVkMENR4lJIXxOZIwOaQSBngrcsPaLpfVK3u9pWUp4bxvnCxl7rtlfic/qHQOqdJgqt9bzpxbwnKLWX9Tj1IvR7o5J1ZOoaiTWFp03QaZoG3GurbkJDE2J0jYx+AE93D0UdKXugXULQOjrXrzT3UJ10ZQatssduZJb4WyPa9s7JeQ4gYOzH7VPr1W7o9PnOxz4mY4wlJ4ckpNJ5TajlmlZRpTrpVvu78vC4eN/ngp1L0S0LYrBXXi3/ERoi8VNJC6WKgpG1PjVDh+ozcwDJ+pURqf6Sbpv1m0vqyjsfSy06OqNKWWa9xV9unmllq/CIaIpBI4tDXbskjnIUALW6Bc3FWNSldym6kWsqagmk1lf7vyvPPr6ll7ThFxlSS0tds7/8A5bgAuIa0Ek8AD1Up2roBeblpllxl1JbKTUVXD8zbtMTb/n66nxkSx4GwAgOPmcD5TwuL6eta/X2mmPaHNdeKMEEZBHjMUgdaJ54fie1E2GZ7BDqZ0UYa4jYzxgNo9h9ApdSu7l3cbO1noeiVRvCedLS04fZ53a3xw1yYt6VPwnVqLO6jjjnO/wCRGti0tqDUt+p9M2S1z1VzqZfBjp2jDi72OcAftXYa96M1WkLSy/2HVNs1XbYXNguNTaw/bbqk9oJd4B3EB3IBHB5U9akghpuq/wASr6aFkTqbT0r4CxoaYnb4OW4/CfyUTfDS509frynncZIjou6yljzlpeGtw7B9R791xY+0N1dUH1CliMKcacnDnV4kYyfm5WlSwsd1l5Twtt2NOnNUJbuTkk/TS2uPjjf8vUhlERe4OOEREAREQBERAEREAREQBERAEREAREQBERAEREAREQBERAEREAREQADKqQcIgCIiAIiIAiIsoBERMAIQCiLAPNpXmCqkQFK9avUQBERAEREAREQBERAeO7rxeu914gCIiAIiIAiIgCIiAIiIAiIgCIiAIiIAiIgCIiAIiIAiIgCIiAIiIAiIgCIiAIiIAiIgCIihIBERRAREQBERAEREAREQBERAEREAREQBERAEREBudFjdq20D3rIv9IL6++VPsvkXQbd2tLI33roR/wDMF9sfIn2/gvm3tzV8O4pL4P8AU/V3/R4ufA6ber1nH/SaH5U+yfKn2W++RPt/BPkT7fwXhveUfoj9ofE0Pyp9lEfxtjHXSYe1ktf+rMU9fIn2/goH+N8Y68VA9rNa/wDVmr0HsfV8T2gp/wDh1P1pn58/6Qlz4/SbT4Tf+kgJdZ0813Hoquq47jYqW82e7QiludDMA108IduDWS4LojuAO5vOBj1XJovsNzb07uk6NVZi/p+DW6ae6a3T3R+T6dSVKSnHlEt3nrNo2jsNztXTDphHpOpvVK6319UbnJV+NSO/FGGvGG5IB3DnhZHw6dSOlPT2sv8AJ1K0SLya611NPST73HY5zMCLYBgbj/vnduOFDiLk1fZ6zq2dSyzJRqfeeuWt4487bl24zjGxsxvqsasa22Y8LCx+GMGXX1lPJdZ6+1UzqCF07paeFshcYG7staHdyRxz34Un2/rxBBaoa656Lo6/WVBD8rQagll/wUQGBvg27ZX4LvO7JyQfQKJUW7d9Mtr6MYV4508btP4ptPLT7p5T7plNK4qUW3B4z/f/ACfY6DT2vdUaa1OzV1Bc5JLgJPEldUHxWT/0ZWuyJG/R2R2XV6y6v0FzscmndB6Rh0pRXB4qLt4VSZpaycZGRIQHRsIJzGDtPGRwo0RYq9LtK9aNecPNHGOUtuMpbPHMcp4e6wZjc1YQcE9n/fPbPfHPcIiLoFAREQBERAEREAREQBERAEREAREQBERAEREAREQBERAEREAREQBB3XoBXvZAEReEH0QHpIC83Jt+q9AAQBERAEREAREWQERFLACIiDIREWMAIiLGAEREAREWAEREAXhb7L1EBSiqIyqeyAIiIAiIgCIiAIiIAiIgCIiAIiIAiIgCIiAIiIAiIgCIiAIiIAiIgCIiAIiIAiIgCIihIBERRAREQBERAEREAREQBERAEREAREQBERAEREB0HT0Z1zYR718P+kF94/LhfCPTgZ17p8e9wg/0wv0A8Aey+TfaLPTc0P8Auv8AU/SP2HVvCsLtf54/6TW/LhPlwtl4A9k8Aey+c+Mfcve/ia35cL5t+OMY691Q/wDU9s/1dq+pPAHsvlz45hjr9WD/ANUW3/V2r1vsFPV7Qx/8Kp/qpnxT7bq3i9Lt/wDvv9D5/REX3c/M4REQBERAEREAREQBERAEREAREQBERAEREAREQBERAEREAREQBERAEREAREQBegLwDKqQBERAERFnACIiYAREWcGMhERZ0jIREUlFmMhF7g+ybSpKm2YPEVW0psKl4Mn2GSlFVsKbCngyM5KUVWwpsKeBMZKUVWwpsKx4MvQailFVtK8wVF0pIzk8REVbi0MhERYwZC8cvU7rAKUQjCIAiIgCIiAIiIAiIgCIiAIiIAiIgCIiAIiIAiIgCIiAIiIAiIgCIiAIiIAiIgCIihIBERRAREQBERAEREAREQBERAEREAREQBERAEREB0vTMZ6g6dHvcoP9ML9E/lh7L87+lwz1G02Pe50/+mF+kny30Xxn7T6mi7t/+6/1PvP2QV/Csrlf5l+hq/lh7J8sPZbT5b6J8t9F8v8AGPr/AL78TV/LD2XyR8dAx8QFaP8A1Tbf9Xavsv5b6L42+OsY+IOvH/qq3f6u1e4+ziev2hX/AIVT/VTPlH2t1/G6ZR/7/wDI+fERF+gz8/BERAEREAREQBERAEREAREQBERAEREAREQBERAEREAREQBERAEREARMFe4CA8xlehvuvUUlFsxkIvQ0le7CrY0JPsY1FKKvYmz6KxW8jGShe4Kyo7fWSND46SZzT2LYyQVdFnuh/wD1bVf/AMF39iujZykYcjAwU2lbH7GuoIBtlUM8cwuH+xbKn0TqGpAMdCRn+ccLYj06TMajndpTYV1jenWpXHApoR+coC2EXS+uZG19xroacn0aQ7+oq39mtGNZwewr3YpEptA2GncX1938dv8ANYC3+OVfmsGhKdwb8tUPI7nxnIrDA1Ea7VUIyTgAklShDWado3sjp7VGW4x5wHc/tCzDf7Xs2x2ij39x9y3j+CuhZpcjUyLorPcZQDFQzOB7YYSslumL+4ZbZ6s/lEVIk+rXMLI4aWFh9mxgK4zVdxLhG2RjXOPPC2oWkCLkR2zSeoXvEYs9UCeOYiAsum0HqGqeWMpWtI77zj/Yu7ud3vdJEypfUjbL2wfRaNuobg+WV7agj07rZ91pojlmpHTXURBdilAb3zL/APoVTemeoXM8TfR4/wDbf/oWabxXvDofmX+bnuVUy61Yi2id+RwQCVB29MzqZZp+mdS5jX1VdDGD+La4HCzYOllLM8NdedoPrgLWur68tIM7zl3bKusuNWPxTuBA4wVVOlCJlMzn9LbcHmOK+ucfTyt/tVqbplRxMO28FzxxjA/tWEbjUU8mGTPLj3OfdeRXCqkqTGJnHOCST2VKjAZPJ+mV6a0PppIJA48Zkwf6lq6/RGobeN0tCZB7x5d/sXSfb9RA4yMncfC4Az3KzKLVdy3BlS5uM9ijowkZyRtPRVFMds8D4z7OGFZLFOYmsdyt7GV9NAd3rtG79/dc9dundiroy+xVRjkzkte7cCqp2UZcGVJkVFpC8W/u2k7zaHHx6R7mZ4ewbhj9nZaVzPcLn1bJx4JKRaRVFq8xhaMqTjySTPF4R7L1FU1gkUovSPZeLACIiAIiIAiIgCIiAIiIAiIgCIiAIiIAiIgCIiAIiIAiIgCIiAIiIAiIgCIihIBERRAREQBERAEREAREQBERAEREAREQBERAEREB1XSkbupWmW+90p/9ML9N/lT7FfmX0jG7qfpYe91pv9ML9Tvk/oV8L+1qr4d5bL/K/wBT6/8AZrceDa11/mX6Gl+VPsU+VPsVuvk/oU+T+hXyT3k+l+/ml+VPsV8RfHcMfENcR7Wu3f8AYNX3v8n9Cvgr48hj4ibmPa2W/wD7Bq+ifZZV8T2i/wDSn/qpnz37Rrjx+nU/hP8Akz55REX6QPi4REQBERAEREAREQBERAEREAREQBERAEREAREQBERAEREARF6B7oDzGV6Gr1VBpKsjTlLgxkpXoBK21m0xer7II7Zb5ZhkBzmjhv1K7639IaSlpTU6gugY5p5ZF3H55C3qVjKXJByIujgkldtYxzifRoyVuLXpG/3bPyNtlftO07ht5/apUhl0VYY4RabTA+qi7TY8z/zVu9awuuGho8EHnA4wunR6eo8kHM5S39I73UQ+LcKuCgOfwyeY/wACthB00sdCCbreGzgcfckt/rWPU6huNaHRyVLi4c9+4WG2olqGHLyRnB+i2vAhFEc5Ohh0xoK2yNlAmnPfEkm4fuws353RrWlkenKU4GMmMErjgHtlaxxOPTPqr88joHNka3juVDwomTp/0ro6SmFNT2yFgZ+HawDCqi1VcamMvp4Rn0wFyEjZNwqW5LD3Hss203Weja+IR+U5x+1STjEG5qNWXKVpZI4B7D2Vlmp7nJkiYjjstV4cj53SSg8nKuyU7Y3ktzwtmlVSItF+S71z381D+fr6rFkr62ZzYJJy7GTyVkvpRJEJB39F7R2wzSkkEO9PqrJ1k9kYSNW4P8c7dxa7uPqrkdJJI4vkBHpyugZZnQl2+I8YI4VZtU9Q87cNBHAVW7MnMywHBcD5mu4V2OKNrBI0eY910tt0ZNXuEb5wCDzhb2h6eAua18gO3uFhp9gmR74DWuMxaSVS+P7ovAIdnIUqnQFOSW92+vHqsap0K1sJAbjngYWNMjOURrmpkgEM73O2jgH0WPHQEjOcDOSPdSBU6IqmNdVBnG32WvdpesB8UM49Fh6hscaaSSPLcgSPPH0CQ072SPY0ZJC679Drg37+RhL3HgY9Feo9HVIle7b5yMH6IlJjY4uWDwI2knc9x7D3Vl1NL4eAfOe6739CJadrC4B0r3cZH4eO6xajSUsE4gdy88nCxOLaGUcVPSuka0NdjBDnn8kfE+GFxibgu4z6ldrQ6Bral5GSxmex7lbOTprVQyBznA8YDcLXdJ5Mkbx0sjIRIW8j39E3jD5nu4AUg1+ga+OIQtYSXcuOFzlXpGqpBskic5oPKkqcgc/DV1RGS8tA5H5LaUtfUwNa5jy3HqvZrQW4ml4xwGql1NI9gefK0LPmgDq7dqaH5ZtJW4la/gg+q1130Zp69RmS3Stp6pw8oH4AfqFzTZS2VwAO0fh+pVcNVVx1DGseW4/EVNNT5Bp7xo+8WiSQPgdLEz/fWDg/sWiczGQQphtGrnRF1LURiSIt2uz6rEumhLJqDMtllZTVTjnw/wBU+6rqWsZoKREpaqVubzp66WOYxXCkfGNxa1xHDseoWrcxcqvYtcE1ItLwhVlpCpXMnBwe5YnkpRCMIqzIREQBERAEREAREQBERAEREAREQBERAEREAREQBERAEREAREQBERAERFCQCIiiAiIgCIiAIiIAiIgCIiAIiIAiIgCIiAIiIDsejbd/VbSTfe70w/6wL9avs/6L8muiTd3V7Rzfe80o/wCsC/Yv7P8A6C/O/wBtVfwr61X+SX+o937I33ulGovVr9Dmfs/6J9n/AEXTfZ/9BPs/+gvinvp679sfE5n7P+i/Oz49ht+I26t9rdQD/qGr9Ofs/wDoL8yfj8GPiTvA9qChH/UhfVfscr+N7Ry/8Kf+qB5z2pvfe7BL0kv0Z86IiL9RnzkIiIAiIgCIiAIiIAiIgCIiAIiIAiIgCIiAIiIAiIAUAXoHuvQMIpJNjIXoBK9azK6XSeibrqmoLaePw6eMZkmfwAPofUrdoWkqhByNJQW2suVQ2loaZ80ruzWDJUm2bpfbbTCyu1VUAyFuflh2/b2K3NJT2HQ9tNNQNbLWEZdKRk7vp7LnLle6y9RvmmmPiR8AZ7rs0bNQW5U5G9uOrorZDHBZII4oY8NG0crWt1M+5iSCpcSX9iCubPiF7WPBw7ur8VM2E+IHcg8YW4nGCMbsrqYZ6V+GO3AHIcq6m4SV0bPHb5mtxlVVMb5PNy7PfC8ihfMBEyMkYxnCrdZvZDBjR07Ty47S0HlVjwmsBb+L1+qyJrbUNmYGtJBGCrktlqGyNLGOxjHZGpS3MmNNibwzG3gK5va8PDedp5W+oNJ1VSwFkZHHIXR2rp4D97UcB3cEKDTwDibbTvqY3ERZa447LNbpyrle3DHBoPfClOg0rb6NrWthaRnGPqtp9mUkDjB4TcYznCwoeoI2pdFVlVUMeW/d4GVtYun4k3xyP53cFdx4QhiD2tDWs7fVY1ZdKSmidM+RozyGjuroLBhnGVmjIrZBmWQbBzlauOuoYJXQxQjyDhyyL7qOouVQ6Jx2w5wFas1shq52vqCGtzzz3C2oUXLcjkxnV1fWu208RPoSArL6W5xbnnI2nGF30k9ltVI5tJA10mB6LUSMrLsPApqRxMh7hq6VGzdThEJTUd2cnHcK6lc0QSEOxlx+q2lHrK5xzMnLctaMOHuuko+k+oK5ux1Ps39nLf03QW6TQHMpGMF3CtlZ0aG9WaXzZpVOpW1L700c9T6wknfGyOPO/v8ARbaW80sTWsqHhr3n1K7CxdA2Qx+PUyvLuOy6ZnQejujGtjilL4zx3JK0KvVuh2sW61zDb/MjSqdetY7J5ZHUdVQ1VF4XiAegPuvKelpi0NcG8Dyj3UwU/QSdm2EUkobGO5YVlz9AblHCJaaIk/Xhcaftn7K5w7lfg/6FK9oIPiEvwIQqWQscQ/b5f4LBnfTCB08JxjsB6lS3c+imoY2vZ8mXlxGdpzwuXvPSC90IbvoJ42c8kHCttvaf2Zu5aKV1HPx2/XBauvUf34tfNEUi9vkr2mU4ydv5LphSxS1EbtgL3j8Sor+nFbTyGdjHHwzw0tWNV1twtZHjUhOwYbgZXoo2dK4hroSUl8DoUeoUK/3JI3cFNFHKJRxt4V2culqA3bgNGVomalADN0Lmuk9CFkyaio6bL53gO2+pWpVsJw3wbimmbCUmfJAAaOMlWhaqSpjeZowQ3sMd1iWm8UtZIZHPxG3kBXXX2mknLI3t8MHuPVaehxe6JGtuejrfPSySFgZwuCuGl6qDfJG0ujHb2wpFr7xkuc1v3YOTysWhuFJXNdFMGgEnurI0lUeBnBFb7eCCXxbXN9lhywiHy7DuPfKl64WO3PpyIGsMjuSVzNZpqA5fMDlx9lKdhKKygpnCRNllcIadv4uS5ZlO6toZhJBIdzfYro32ingkbBAQOOSFTU2htNEZOTu+mSVrShKHI5EFfbr9Sut1+ga8P7OP6v1XE6w0FPYx9oW5zqmgd+uByz88ei2lTBURB9UQQG9gtjYr5VHEVwaJKd3BY8cYVez2ZngilzFZc3HZSZq3Q8FZDLfNNt3saC+aEdx/k+/5KOnsIJBGCOCD6LQurNTWUTjIxl4R7K45uFQuBVpOm8FyeSlF6R6rxUmQiIgCIiAIiIAiIgCIiAIiIAiIgCIiAIiIAiIgCIiAIiIAiIgCIihIBERRAREQBERAEREAREQBERAEREAREQBERAEREB3XQlu/rNopvve6Qf8AWBftZ9nH+avxX6AN39btDN979Rj/AK0L9zfs4/zR+5fmD7fK/hdRs1/kl/qNy2u5WyaXc5r7OP8ANT7OP81dL9nH+aP3J9nH+aP3L4F74bX7Umc19nH+avym/wDCAjb8S97b7UVEP+pC/X77OP8ANH7l+Qn/AIQYbficvw9qOjH/AFQX2f7Cq3i+0tT/AMKX+qBOpdyubKon2lH9JHzeiIv10cYIiIAiIgCIiAIiIAiIgCIiAIiIAiIgCIiAIiqAwgPAF6i9AyrIQcjDYAyrkcbnENa0kngAequ0lFUVs7KalhdJI84a1vqVJ2ndF0GmnR3S+lk84GY4T2B9z9QutbWbbyyuUjT6Q6ezVT23O/MMNEzzBpOHP/sXZXHUlJQUbqGxRthgHBDR6qzdbvUXOF0WfCjP4VqGWpwg3NOXY5+q79KhGnEqbyYcsr6lwkkfu39yseek8Il4dj8ll+GKd23wyWuOC32Wyt1lmrntA8zSfX2VM574RlI0UUc1eRGyI7mn0HcLobfpKsmaGGI4dzkrtNP6ZoqSrzJAM7fb6LrG0rIngNaACBhR8GUtxkjuHRc8Dd/h7s8ELMpdJ/LyDxItoJ4C71zGsc17jxlWrhNTscH4A9AVs0bbKMORzdNZbW5/gVDQJP1ThbKKwUUbfBfGCTy04WvqAH1bpWvDcDy/VXIr+2AhskgBaPUq50HwRybiCgiooxkAOHb6rOc4yxNcG445GFoaXUNDVRPmqpwHNOA3Krm1nb4WYcdwLeDn1WFaSZnUbWIyRuaXc8qq41kNPC6qleAG4zyuSl1gJZm02/YXHOcq3frgJ6PwslwkADiSozt9ITL1brmKsa6kpfqA5crU1VbJUiKaVxc7sT2W209b7FAxzqogyd8JXUTK6qa+BmGN/AR7LNG2cmGzWT0jXwiOJu52cuctzZLNUPwwkgOIwt1p7SU1ZVxDwyWv4Jxwpe0t00hLmh1OXvBBHC61V23TaDuLyajFd2c286jRs1mb3OMsHTOe6FtRJGRGMcH9ZTBo3pMydjBTUAAHdxGP4qRtO6Jt9qtzKq7FkLGciP8AWcqb91BgtkDrbZ4hA1wwGs4J+pXx72h+064vJuz9n44jw5v+Rd0X2Z6z7X1E4J06Xr3Zch0Zpy0RNddqyPMXHhs7/vXk9+0baSRS0G45GN7g7P8ABRrU3q4XCV5lleAHcjPCx6hj5gHgjcwdyvnlW2u7+XiX9eU2/i8H2XpH2RdHsop3S1y9XvuSVL1AtEYeKa2U3O3jwgsifqJR0lNHPFS08bm99jACT+xRbGIx5nu8pA5HuFbLZKirwwfdtHKq/YtrndHqI+wPQ4SUo0Vt8Ed7U9TLjVPc+F7/ADngA4wFYb1EvU0ZzJIGtH87uuSjkijZuYOW8ZVqWYxw+EZCN/IC2I9NtYrCgjsw9nemwWFSR0zdd3Z7SRJJk5ydy2Vs6gy1b2Q3CFkzG8EStDs/vXCSTOa0Oa3G3AA9/dIi9zvEadu05CxU6ZbVFjSiu79memXdN0p0lh/AlaS06KvjSZKEQVEvGRjaP2YXMai6E2yeE1FvEdQDyS0jj9i0sN5qIWOeZCeOPdbuya5qonsEcjmDGMZVVrU6t0WXidOryj8MvB8n679kVtWbq2XkfwIu1L0Wq6KUTRUZLQCGZZ6qNL/0quUj3zTQyB7fQZwvtqPVtDWxQwXGOKcBvJdysW8SaGqINr7cwOf/ADAAvWWP2r9dtGoXdJVPp/NYPmtf2J9oLCpooS1fl/U+BqnTmoLUDHHA5wd3wMYC0IFZTVJyXBreXZz3X3PctGaAvMToYHugkPcuIxn9gUXa06HQU1K4W+Nk8T8kTMHC950f7S+kdWqK3vqbozfDfH4mtcrqvRsPqdBxj6rdHzkLvVPjMQbwff2WVQ19FIAZCQ4ENAC3F40bXWKaWMU7pW88ALlaeidTve2Zux5JdjHb2Xv1a6cVKbzF90blG5p3EdUHk7ikhjLo3ulyBzjK8uU9HWTGJmGgDGVzNHXVUL2N3khxwXH0C6Oe0NqaSOopX7nE5OPyWxGomsMsMe32BjpvmJfM30A9VnVVhE8WC0N9Vk2CdrD4EuS5nGFvqeiNRL4kpwwA8Kqtbxmsoyngjat04Y8tezMeSckLm7xZJ2DfTxkRgeimG6U1PNG9nAODhcnT+DG99PX4cHeVv1XFqW7i9ixMjyg1BWWN7KdrdwccOBHCx9YaOpbjTG/6eA3Bu6ogH9YH+xdlqLRjWtbVxNHPIA9AuXt1xl05VPqJg57A7aYz6qh7bMyRa9haS0ggjggqy5uFIGutOwzRjUtopwynmwZY2D8Dj6/tK4RzVy7u3U1lFkXgsKkjCuOGFT3XBqQcHgtTyUohGEVZkIiIAiIgCIiAIiIAiIgCIiAIiIAiIgCIiAIiIAiIgCIiAIiKEgERFEBERAEREAREQBERAEREAREQBERAEREAREQEhfDzj+XTQee32/Rf9q1fvNti9h+5fgt8P7tvW/Qzva/UZ/60L90fn/6S/Kn/AEhabn1Kyx/BL/UYc4w+8bjbF7D9ybYvYfuWn+f/AKSfP/0l+efd5GPGpm42xew/cvxp/wDCFf8AnQagx/8AdaP/ALIL9fvn/wCkvx//APCDHPxO34+9JRn/AKoL7l9gNNw9pauf+pl/qgb9GcZ2dXT/ABQ/SR83oiL9iGkEREAREQBERAEREAREQBERAEREAREQBEVQGEAAwiL0DKnGOpmGwBlbnT2mrnqKsbS0EDnDPnkx5WD3KztJ6Nqr5K2oqcw0LOZJSO/0HupIgvFoscPyVojYxrG7cjuf2ruWNpqeWVSkWqC0WTR1M0RbJK4tw6R3da+53mnqacySEumGcBausr566oe6QEuzkK8LJPUmNzBlp/Eu94UaS2Ks5NbPcqubAaD+xdBpiqmke2nmaXB3H5IzTBpHeJIfI73WxtbGUc7XRRguBUEpT2B0tFods1VHUP8A8G45wVua2109lZup2tIyOy01TrWis1Oai51HhOA3CJvLiPoFzDerMdyu7KWKixBK7aHEkkn8lOlbNy3DkSBQVkk0jS6PGcjK3jGOkaGEcgZBWotpDoGyNaCH8/kVsn1hicyNww704XaVrHSV6jGraqsiZhsWR2z7LW1/zj4GODSdwyStvJeaYB0EzWuIPOFda2GopdsZBb6KDgqYzk4avdUHbHHIQVqzZb1czI+OKQsH6wHAK7SotAkc923Bb6quwXuns4loqsNDHnuQswipBs4ij0rfpZC/wZdsY5OOCgs8tVKYHZABwfoVKtRquyw2qaCLbuc3DS0crhrXVw0ssktYziY8OK2HDCMGktmn5LvVmEu8MxH8f0WdqUR25kdBAS97AN35rYV1d8hC6emY1m8ZznutLaRJcrg99Rlx7jPZaFSOXgkjy1UctQQZMtce5XdWWxzSuijiZl2cEfRU2SxCefayHIk4OPdTToPRIifAySLfI5waOM4CudSj023ld3T0wists0r69haU3KXPY2fTnQEc/gxeFukdznHA+qlE3HT2joH08LY5q0D8f80+wVu8S0ugLNHQUbmyV1TH5yP1M+gKjCsr5qiUyEl8jnebJ7L85e0PXLn2yvHWqScbeLxGPqvV/M957AfZ5+00ur9YjzvGLNvedVXe6+LIXvETTnK0M9UHuFSX5kwAMq98zhvyzcZPLljyBjXtjY3Li7n6LVpUYUY6YLCP0BbWlGzgqdCKSRlvBcw+UBx5/NWZsxtxG4c/iXnzH98GMcgOxlWJyTUcnDcdvqrTYMgt8SFpDeBnheZkkozs4IcQcKhrwWmFpxgB2VVSvcGvePX0KAo3ZYxjCCD+MqqXFRURPBAY3jHsqIsMyIuXZwQfdUt8OJxy5zndzgcIZMhxBlwRho7fVWpi8SMc44BPZVhzpSHuxhoJCpaJKyQODDtZ/FDBdqD5wIxnI5x6L2On2EHxMDHJ+qoG5j3Oc3g891fc1jIjO5xI74CAvR109Nt2kua3uClTdqiocccbwACsKV76mLez1K8awsbuiG5wGPyVfhQb1Y3KXbUnLW4rJmVe6CCKNkh8V4ycFbWwaoloHst9WfEikG14d+sFoomS/jLTJI4Y/JeSxmGLY4DxT3Psq69tTuYOE0a3UOmW3U6Ere5gmnsdLqPpzbb411wsEYmc9pL4sct/JQZq7p0xtRK3wNsjM5IHqpv07qWpoGhrHYeBgj3C2F1ttr1JA4va2OreCQQPxFbXQ/bbqvsjUVCpLxKHo98L4H5i9q/YO66BXlcdNfl50/0/vB8c3HTVTbN3zAPfLSewWRpy4SCpFIZCYtuMqUNb6elLp6Cpg2uZwNoUO1dtrbZX+G8ljWHIx6j6r9D9M6la+0NnG+sns+V3T9DzvTOpxvI6ZbSXKOt+VFPWMlY7bud2HsujMw8DyA8Dlam1VVFWwNcwgua3zeuFdZI5r3xF/kPK2FOUVhnXweShrnBxbuHqFpb9bIzGKx5DSDlrR6roYmxlm0HGO5KwK1oqCI28gcArRq1NySRprJeo5ozT3Bo3gYAK5jV+l6ipkkqqSHETuc4W/r7V4WXU7cPPP1K2lpnZVQNp63Bkxt2ladRaiSIss1z+ynyUNZh1NICyXf2weFxutdNizVrauhiebdVeaCUjy57loP0GFJXUHSklPUiWiZubIQ5wHosKklor9ZZNM3GRoLGkxO48rvof2KhLOzJMhtzVaIwVs7lbaq11clFWR7JYzg+x/JYD2rlXtr+8iUZFojhUqpUkYK4bWGXBERYAREQBERAEREAREQBERAEREAREQBERAEREARdf0xsNr1DeLlS3Wn8aOns9ZVRjcRiRjMtPHsVyCohcRnWnRXMUm/rn+ht1bOdK3p3La0zckvXy4zn8UERFeagREUJAIiKICIiAIiIAiIgCIiAL6F6dfBB1X6m6MteubDqDScFBdojNDHV1dS2ZoDi3zBsDmg5Ho4r56X6CWTT3STU/wd9PbR1k1ZX6es01RE2GrpCGn5kyShjXuMUjWMwSS5wAGMlwC8P7cdbvei0LZ2UtLqVFFtQ8R40ye0E029uMmzbUo1G9XZeuD5h6y/Cd1W6IWOHUupfsi42qSQQy1drqXyNp3k4Y2QSMY4bucEAjjBIJGYZX2x8VJsXQjoXQfDxpaw6jq7ZdakVkN8uc0MsDmibx3MjdHjz7to2+GwbSTlxJJ+J1t+xfVrzrXTPe7xqWZyUJJadcFxJx1S0vOU1nbG5G5pxpz0xCIi9aUBERAEREB2/Q6XwesOjZc42XqkP/AFgX7MfpK7/hP4r8XukLzH1R0rIO7btTH/5wv1S+25f5y/PP202Ku761b7Ql/qPkf2j+11T2buqFKGfPFv8AB4JP/SV3/CfxT9JXf8J/FRh9ty/zk+25f5y+K/sZeh83/wDqlX+JJ/6Su/4T+K/Lz4/n+J8Sl5f/ADqGhP8A1IX3p9ty/wA5fAvx5u3/ABFXNx/WttvP/UNX1P7HrFWntHJrvSn/AKoH1r7MfayftLQvYTz5HSf4+J/Q+eURF+oj6UEREAREQBERAEREAREQBERAEREARF6B6oAAvUXvdSjHJhsd11+jNIfaUguNzBio4juO4Y34VnROln3irFbWQuFvpzukeRw76Bd1e7tC+Jtrt9PtpoxhoaF1rS1y8srlIt3G8wOZ9n2tgihb5Q1o4I/YtfbrLLVnaMhwdwtrpzR1ZWzNqgxwZwVIVPp2kpHsdGweIOSF6KlBU1sVN5OJZpeQbZHRcgdwFvqayOp6cP28H6Lt6WgjI2yxd/p2VNwpmxQvDYgWBpWzhS5McHA11FKIXCUlzXctwuPv92lsNPG+IZlky0Z9DhSZRUT6up8x+75GFHvWeyS2qSjqAzEEziGux3OOVfSgkRyRxW1lVXzGoqpnSPP845x+S8oal1HVxVTQC6JwcB+Sz9Nafq9T3aG1UjgwyuAdIRkMHuV2mqNBaV0y6OmnuEpqH4GA/uf3K/ZPYwTFZp6T5OjdFsJlgje4DBwS0ErOqoYauQODfMOFzmkbR4NHDMx73NMbQ0OOeMLpwQ14AxkcldSjJOO5WzmLpaAKzxw5wLDl4B4IWRTzGlaPlyTG44IPot5UQRzZmaQ5rxgrWy0D9gZCzjPOFrV4KT2JJmTBWUQDopXjkeq5++2iNxDnsIa47mOCzp7dBETKZA53qD6LLjq23ChdQvaCWjj6K+jBJGGzhp6aRhLmNIDeOSqaiohuFK2lzslYe6zLkXRzGjkcSG+qw6i3NY5s5O3PdKscBFb2fN0vyskmXR459ws20wtiniLWct4PHcLVwzmnkAJacnvhdbYqdkjXSTtGTggj0WtCGuZnOCUNAWISyirkj+7cBt9cFfQehbTTUVNPepmDbE37sEfr/wD8lEnT2B7rbHIzBAAOB6qcKSNlPpMSgYEx3Fp98L4/9sXVqtONDplN4jLd/HfBxOn0V1Xr9KhV3gnnHyIr1TcpbhcpMylzmOOCecBaGFjmy7S7BJzkrY3h0dJdZXgBzZTyPZYcsQeCzlp7gj2XgaEVCnFR4wfsqyhClbwhDhJCWJkzyIn4dkZKpdhj2Akbg45+vCeLsj8OOM7j3PqhZvLHuY0uZyPqrTaKGMElQ527a3vhYkkhfO92HEA8YKvTOdJMZImbGNOHquGNg8/ZvdZBjUb5XF7nNIHIHKyw59MGPc3O9UO2h58LkDkq4Zd8bd47dggK2OaZPH/DuGce6suf5/K3O84C8hjfN4m5+GsHH0VdO+KNmwO3PactPsgPZYnuYGF20A5zlZNPIQwCP09fdYdTMwPEL8nPPB7lX4Zg37tw24bwUBTcHbXRAuIP6yv0zAIyXOyJD6qzxODHIeO4cfVemXxGsjc3Y1vA/tQHoe4OLNoawnDVdmc2niDWZcT/ABWG97vGax42tbw36rJmLGObI5/YDKAvNqPkaR08v+EP4WjutY2pnqAXO/wjhxn0V+se+qaHxNx7Er20UjqupbFguLT5seqjKShHLIVJxpRc5cI2dmo3F4kPLnD2W5oaaaW4NcC4AEAc4XQ2LS8ksPzL4toAw0YWypdMzuqI2RRncXZ/IZXleoXtOtlM+Z9d6vQutcZM5rqRpGCWzw3GliAkdxK8+vAXzJre3RCWVsYw5pI3fVfYvUlklFp1tHtySD2/IL5b1FbjOZS6El5JIafRfS/sZvq0LmdtnyST/Lg/M3VKkLbrM3Q2WzfzIptN1mtlR4ZIa0u8+V3EFSyshzTN4cMlxC5O8admg3Vvh7vUjHAVrS+ppYJ5IKt2GN8uD2X6BuLfV5onqqFZVYqSOzj8krhKfLt457qmjY+eUu2gDJAyvadorIjUNO4Abg70/JW4J5agljMsbnn3K87cQcWbKeS8Y6ZjnMiZ4sg43HtlaSagNFVipbnc48gHsump2RsZIWAAM7lYEvhkuBHDgTk91rp9jJj1lLFdaWRhAxswT69lDt6tZ0/cDM8kfeZYAfqpco6x9LI+Ax4Dj5crndcaeFdTmqDN8reQAkqWN0ZycDru3Q6hskGoqGEfM0421AHHk98epyVGLwpe0jG2OskorpIPDnGxzHdsLh9faXfpm9yQRNcaWY74Hk53N9f4qitHVHDMo5Nwwqe6vOCtEYK83c0dLyXRZQi9I9V4tImEREAREQBERAEREAREQBERAEREAREQBERASD0Tjkm1JdooY3Pe+wXBrWtGST4fYBci/S+pY2GR+nbm1rRkuNJIAB79lZs98u+nq0XGyXGehqg0sEsLy1wae4yFvJuqXUWoifBNrO7PjkaWPa6ocQ5pGCCuXOhd07qdahpcZKK3bTWM+ifqd+nd9PrWFO1unNSg5taVFp6tPq09sHLIiLqHACIihIBERRAREQBERAFI2g+hWruofT/VXUiy3G0QWzSEMk1dFVTStnkayIyHwmtjc0nA/Wc3n96jlfXfwv8A/mp9cP8A8gqf9TcvN+1fVLjpHT1cWzWrXTjus7SnGL/Jl1CCqTxL0Z8iIiL0hSFMOqviF/SboHp/of8Aoh8t9hTsm+1PtDf420vOPB8Mbfx/zz2UPItG86ba386VS4jl0pa47tYkk1nZrOzezyvgSjOUMpdyc7n8Tz9VdB4ui+vdFfbtVbwPsu+uuIjmpCzPgksMTt5a0lhO9pcw4JzkmDERR6f0q06Upxs4aVOTm1l41PlpNtLPosL4GZ1JVMauwREXQIBERAEREB1PSt23qRpl3tdKc/8Azhfph86PdfmZ0yO3qHpw+1yg/wBML9F/mX+y+MfajQda7t2l+6/1Pz19s9Hxb61f+SX+o3nzo90+dHutH8y/2T5l/svlvuUvQ+L+6I3nzo918VfHac/ELcD72u3H/qGr65+Zf7L5E+Ok5+IGuP8A6ptv+rtXuvs2oOj7QrK/+1P/AFUz759iNHwqfUP/AEf/AJD59REX6EPuIREQBERAEREAREQBERAEREAREAygAGVUiLK3AW50xp+p1DdIqKFjiwnMrx2Y33K1UETppWRN/E9waPzKnOx2Ck0VpcCZ7HV9S3fLju0/zR9OF07O28R5K5SMC51zLbSR2G1sa2CJu3y+pVWkrJNc6nxS3MYOHA+iwqC3zXivDWuPLsgqXLLa4bVb9sbW7sDJ9yu9Cn4ZU3kzLfBR22mbFs2kDjHqrbKZ007qpp4Bx+xIXTyud40f3Z7ZWfDSiGMOiJLXenstiLIlUNWY2hsrQTjusWumdOPCachwKvVLtkX3ZBI4I9VgvaaeJ0pcQRzz6KTqY4BjR0roquGmifhxO5c314poazS9I5rx4lFK57h+YAW0obrFdK+SdknhyQ5Ax2OFz2t56i80lRRyEEELat9U2YZyXQyBs2pqljx//b8H28wXXdQunRqbtBcoqhznDkj0PK4rp0K6yV8la2Nw/UJA9FNMVcLhTsmkIcW45K61K3Te5W2aK+6hq9Gafp7hDH4rogxjmj9gV6y6sqL/AELrsaZ0JLC4j3wOV0N3tdsutrdTTRtcXgHH1XCVtDeqIspqNrWUkYLXDtxhbEqbjwYTNvpXWMF/fOxgMZgdh7D3XZOliZEJmH7v2UTaHs8tuvFxrHbgypGBnt3BUh0U73UuJPMM4/Ja7UsmTDu8dDQtlrqytZHH33E8LSabr33S6kUOXQgZ3N7OC6a76dtupbVLbazI3EOBB7EdlraC1QaVofl4I3GRoIa7HdblKDxlkJSS3Zp9TGEXCSHYGuKw3tle2ISnyY8xVi61c8s7n1bfvHdvdYLq6qYwwA5Y5uPyUbhaYiLT3RlXOmbLM2Cm82cEYXYaUhlfC2kk4cDggrk9Nmngq4zVkk5yCVJ2n4m1VWBtaA71HqqraDbyzM5aVkmLQdOKSnijLuzG5UzXtxp9J0bQMF8Yf+YUT6MjG6GENO0FodkKTtbzvpaGmp4mgxsiAz+9fnf7WKruPaClQ/hiv0z/ADKvYO2d71+U/Rfz/wCBFV7pIvH8Zrw5zu7fZYznRCNscbmucfX2SapE9Q57DueTgg+ipMZ8TPhjt2B9VxKUdEEmfrq3punSjB9iw0CnkfLUZLnDA/JY2DIA6KQgZ5V9kkrpSyRmduf3KmcxwD8WQecBWFx54kbmSx9mt5P1XsJZI9hb+DttK8Y7xIyHs2l/K9i8KCF0kgAcTgcoD1kBmqyWktjAPHoseedrHOjA7Oxn2V0udIGlpPOcY9FVPTMjZ4gaXuIBchkrpmMDHuydvck9isOBofUGNoJx6hVyPf8ALl8YLmbeQPQrJtzAIPGkh2kDv6kIYLjKeOE73xjeeG57rHkc10pa87vQquZ8zi1kQLnvPlJ9Ash1IKGmc5xDpZBz68rBksTSvc6OMRkNAw0e6TQy7QwtLnO/gq4ZGmADGJGj8SyYCXxHAy4dysmDHqojGxrckybf3L2npmStY6o5x6K6YaqZ2XtwPr7K4JGxgwwRF2O7vZYBRW+HnwqduABgYW+0JbAKt00gDWh2C4rQQhxc6eZ+G+gK6TTFxIftjiJZu7rVvU3QeDm9XUpWc1Dkm6z2+IwNawANaMD6rYm3w297Xg5c4H9i5my6op6aINlcN4HbPqvKrUYq5i9spIA5K+c1bav4jyfn+56fd+NLUma/WTWVbiych2DwFC+tNJyxTPraWINY4ZwB3Uy1gbeI3xRvw5oyPclcQ81E8s9BWs2viyDu9V9F+zbq37N6pTpz23x9GfKvabp9Sw6h48uJ/k0QjBYo66Y01SxoiP4z7LgNZ6Ljiq3vs1OGxgEuwP4qY9TW2ohqZHURAJOCAuNuBngkImwW4wT6L9bt9zZsLhwSfY4vTlwkcI7ZU5jY0YGf1it7PDT0TvGbyXfqrGumnvEibd6MAeGcnnk/kr1LKa+iB8LYc+YnutK6tozjlHoqVVTWUeRyPmYQSY2uPIC9bTxl+QHOPZVPEVI4s7l4V1rgQCBgEdl5ypScJGwnk1t2ZGwtfC3LmejVcp4vnKUl0Yy8YJPdX6pu4GMNaAfQHJWvpZ5qacwSycE8AeinxEEWa9t09puZdEdg3ZG3uVZrojq/TDqB0ZdWUjd8JH4n4/V/iu/1dYXXenkmYzzNHBKjaCpNhuLZC/mJ3YLTmSRGcsT4pHRSNLXsJa4H0IVlzV3fUWzMdNHqSgiIpqoASADysf2/jyuHIyufcUVNEk8FhUkK64KgjK4NWGiRcmUoiKkyEREAREQBERAEREAREQBERAEREAREQBERAEREAREUJAIiKICIiAIiIAp2+H34m7f0R0rqDSV26aU+rKLUMwfUR1Fe2GIx+HsdG+N0Mge0jvnj0woJRc7qnSrTrVs7O+hqptp4y1unlbxaez+JOE5U3qjyfQvUX4lelGs9GXTTNh+FzSemq+viEcN1pHUxmpTuB3N20jHZwMcOHdfPSIo9L6PadGpOjZpqLeXmUp78czlJ9uM4E6kqjzIIiLpkAiIgCIiAIiIAiIgOl6af7oOnf/eMH+mF+iO9vuvzr6cu268sDva4Qf6YX3984fdeH9q7NXNam2s4T/U+Efa7SdS9tsfwv9Tbb2+6b2+61Pzh90+cPuvJ/smP8B8h92kbbe33XyV8dH/nAVv/ALptv+rtX0/84fdfL/xynPX6sPvaLb/q7V0vZyzVr1+k0sZp1f1pn3H7G6Tp0r/P/wDV/wDIfP6Ii+rn2QIiIAiIgCIiAIiIAgGUVXZAeYCYC9RAeAe69REAXo5Xi2Wn7NU326QW+mjLy9wL+cYYD5j+5XUoapYItnZ9NNNBrJNV3GFhp6fiBriDuf65H7Qt1dLjJdKh8km8ZPDcnCqv00dBTx2O1u8OKlaGnB/ERwT/AAWTpO1PvE0QnI+7dyfdeps6ShEpk8nW6C0+GxCumGHDtldTVsNRLspDt243DPBVxtMbfRtgi24cPLhXrZGImmR7cl/fPuticlkilkqi3xwgOxnGCCq2+Iwbo3cD0JV4wxVTcPdscOx7LGkPg/3tIw9/xZWIyDWDFZMKuodva5nhH0HBK5/WN+ENOaOMgSvaQDldDdamC00pkefKRkkFRPd62S7VxdEC9u7h2eymjBs9NSy0jJJJXgE5WuuNdKJpZHnc05wsmnp6h72QRu8uOVnu0vJPy14LSeR7LpWuYkZGs0d9/WkMGY3HzBwUiUcDfww+X0I9CtDa7BFbIyIiN59V01poKiSZrWuJbkHP1XaoJy3ZTOSissz6WhqnkAM5acgFVSWh1XUO3wbM9wuyoLV9y0uGHAfvVyS3HxAWMJPrwtnL9DlPqSTIq1fZpLda3T0n3TW5LiByo3sXUWr+2YLNUMPhyShhee6+hdR0NNU0LoJ4wWuGHBQbq/RNqs9ZHf2yiNrZAWgHHKrnFYyjo0ayrR1Ilui+VkdC0uGS3v8AmtJqGuprU98MjxK52dv0yqrVNG+1sqy7biMEE+vC4O4yz3O4yGSZzsE7RlSUlJYIV6LqrGTXXSpkqK0B8ZaHO4I9FegoC2TdvLxnBW1ZYZZaUTvOHD35yrUkdRA3EMRz68LFWDnHCLKcVTiomPHFTwybZM7s5aVIvT5klTMcyE8jb9FxFrtzqqQyTEEns0jspH0ZQmmkDI8A/wBqxThoiV3UtNJsnTR7D4kLs+YOG76rvuoEjYaKJ2CdzMhcDo4StNOx7dg3gOJ9VI/UanfHb4nANcx0PHrgL80fabJf7UJ/Bfojb+zKpp67L6EMvIgc+aOHJ914yUuiNRGfMO7SV6xk7A4bsjPYqqUU0R8WFjnhoy8D3XNP1wnseCmD6I1THODgfMO5WPJHCYmzEnbhZlJLLM7xI2EROHLT6BYtwa2Oow1rvAxkjCyCkBjYS8ZILeDhWmRgsHijId2GUFQXDYP8GDhrQMcK7tbFh48znjyj2WDJlU8lJEfCkHmIGMBZUcdNH53A7XccrVxwSsf4lQ4bj2AH7lU98kRayqeeTkBZMGY2F09zFJBEPB7uOOCtpNYi1j59x2NHLQPRWLNVRNkaHABzjkE9sLcvuELw6Frtz38HHZaFetUhUSjwcW9u69GulBbHKzBscjSSRg8ADlMT1MhlLHeCw9sckrb1VHSsaKkuBdnnlYE1RU/gg8sec7vQrbp1FUWTqUK0a0cosTUwM+5rfDYO/uVkta6nhwCMudjtzhX6OmhnJqZps4GcE91lx0cRlM0hLh+fCrqV1B4Ne4vFRelIwhKXMLnsLiRhoAwsRxnEbmiPb3z7rozRgRNm2hoDh5R3KqjtDXOM7jw70Wt724vc0P2n4b3OXjppHQtmOSxh5BWxoKp1FIONrTyBhbuWibIdrI2xxxjOPcrVVUUUeZZCMu7AeisjcKt5cF8L2N35MbGXT3oiYOlmPmP4Qt7FXzTbfBBAPcLiKGMT1Hity7B4+i7O2xCMNbJIAS3K1LyjTguDk9WtaFKOUtzpbNWfJbckOcTk+vCwNb6ffXg3yg3D0c1pxk/VW4CctZT4Difxu5AC7Cw1tEyE0lY5r43DBzyXLztVVLarG5o8o+Se13s/HqttJRW/8+xBFVbtji6ofl7vQlcXqy3+Gx4gHiDvwPVfQGttBGvJrrNtDO5aPRRrW2ORznQujDNuQ4uC+/8Asf8Aadb3dOFpf7SW2r+p8On7z0up4NzHHx7P5EFtuNbbnvZVZLXdmu7BXaesEkPixbdznfhzgBdBriwNj3zDGGdh7rgqeokijeAMuzjAC+ywcakcxeU+D03TrlVFg6OdrBH42Q6QHk5VuiLpmPfI7AbwD2XljeXgtq4gXY4ar1W0ROzgbM5DQtCraJvJ2VIqEIkJIBHC1F1iZSSNqXvy7+aFtTUMYN7idrsAALW3IRzHbHyfX14XOuKOngmmXoKllwpiNmC4dlFGttPyUdQ+qDS4Pdnj0UufLMorayaKRu5w5A7rUX6hiulsdGIw6QjIXJqwaJojCyyx19DNYa4AtqGkMB52uxwf4qNbxaqmzXCa31LHB0TiBkYyPQruap0lnuO7ftkjd6BXNd0keoLRFqCL/wApgAZOMZLm9h/tWqvRkiM3BWiMFXyPRWntXMvKHdE4stkeq8VSp7LjtYLQiIsAIiIAiIgCIiAIiIAiIgCIiAIiIDMtFor75XxW23QmSaU49mtHq5x9Gj1J4C6q8dIdVWa3y3F9TaKxsXLoqG4R1EuPUhjCSQPU+i5/TWobtpytmqLO1jp6ullonNdHvyyQbXAD39l2ul7XV9LpDq/UvhNNRRywUlHHK10k5ljLSTgnZtDgSHD6Lj9QubqhPNKUf8scZlN90t1j54fq+D0nR7Kxu6WK8JvfzTTxGnHs3s9XfbMW2kllsjRERdg82ERFCQCIiiAiIgCIiAIiIAiIgCIiAIiIAiIgCIiAIiIDoOnxxrixH2r4f9IL7q+YPuvhPQRxrSyH2rof9IL7b8Yfzl7b2V9kf9pKNSrjOlpfisnxj7UKeu7t/wDuv9TY/MH3T5g+613jD+cnjD+cvVf/AEt/yHy7wTY/MH3Xzp8cRz17qj/6ntn+rNU9eMP5ygP44OevFSf/AFNbP9Wavmvtp7J/7N9YsJ4xrhXX4Oj/AFPsn2UQ0Ub7/wBL/wCQgJERc4+qBERAEREAREQBERAetHqvUHZEAREQBERSismG8HoGSpW0ZY/0e0zJfqiMNrarLWNd3Yz3/aCuP0Hpp2oLuPGYflaYGWZ2ODjnb+1dlf7oKif5SMEQxgMY0dsDgLrWdDuyuTMCllkrqnwnN88h4Kl7Rtkit1A35imAke3JOFw+htNGuqW1JG0A5GVKdQZ6OJjBHnIxkdl3E9KwivG55g/NMw77sFbXbFJEWMOT9Fh0TXt2mWH6hwWU5+2QZh/JwUEsvczwW/Ckxte4+XtlUOjkwTJKHNxwFWx0s8hyfwk5Wvv1zNut8kzGtcQOPdWJYI5ON1jdnOmFJTTeUHBauet9sljjkkjc4bzz7KzPVvmrX1kjdwcckey762VlsZag9scZyOQe4W5Rpa2RbwYdntsUFMHyOLnu9FtG0rWxh0Urtx7rXMqnTSjwHDZ7LYUADHv+YeSHfqld6hQikVtnkrdu1jZMOPsut0nDVykHweB7+q52GFs5MUUgJzx7hdvp8z0sbMxFwyATjst5RUVg51/U00mjt6SjhEIleSDjkey8kAhBkjO9h4ytfXXUQwiESfix/Fa51xqI43wOZ5MZ3e6gvEVRuT8p5KnCpUqYRY1Ewb9zWZieOXegXz91ktF2rpKUUM3i0rBh0bfR2Tz+5TlVVUc1I5jmljTwPqod1G2uhu0tNO3dTuOW/krMZTyessaM6MfMZFdfiy001BTuDAImBwz6gDK0dLVb5WSRRu3B2CR6rDgpK26VXytITkZwD7KTNFaFmqfDhq4cbSD5h3K14UmpZZuVqsaUHKRd09ZaqugDnsL9/ofRdHJo+mdsBYwOHcYUm6X0nS0lM7fTsJaOyvXCyUm4yBoZgckLwfUPb6nZ9V9wjTzFPDff6Hhbjq9SVfZkQz6LioSKiHaXk8j6LdWa3SB7C1vhkHuFu56USVDm4yzscrY0dMyKLc0gYIAC9rd9SoWds7qo9sZNyr1Oc6eGztNHyMmayGRuXDA5/rUlappHfYsLCS8bOPyUfacc1rIjTMDXHuSpVtFTFfLQ6gqdviQtxlfkf2x6lVvuqO+mu/5HT9heqQs+pylN4bxj6ckG3OgfTvkDn/jBxn0WDSiohY7hrm/rAdiu61hYqeOcwsaQ4ZIP85cOad8ZkDH7eQC0rfsrhXFJSP2L0e+V9bRmjItlfGze2anaC44A9lfnmoePnAAHcAD1WsdOxjdrI/MO7wrbqmGQmKQF5z+J3otvk6rWVgzJqejE7nRbQ1o4HuVjsgY7FR4mNvG1Wz4joy6KQZaMjlVwnfTmoaSc8EemURhLCwY85qXTNljIDWnnKrqXh04JDZCWjj+avIGSCd3jFpBGRk9lQfGke5zmHLfUdlkyZNIzzeH4jcNHOEgq5IJHzwEuLTkgquKqjZSu+559Xe6tRyMMeA0N+vusNJmHFS2kisVj5HOdUAlsnZo9CV5Oaj5dsJJaO4yfRUtdEw4lOMeYlY/imWo4eSx3YlYUVHgxGEYfdRdHETDJOW7eMArZPuU8DI2RA4cQSStPUwtlqGs3ACPnj1CyXNaDG98hEfplYlCMuURnShU+8jdw3LbA6WeZzywjAysul1DGHYLg4uHZcywtme4ZxEBn8yqGmWE+I/Ef81p74VTtqbNWXTqE+UdLWXhrmvHiAF3ZaeKWWfmodvbn1WMzL3tlmO7k8KtxeYDO4hjQeFOnRhT4LaNpSofdRsLdMIqsU8ecuGcD0XTx/cME1Q8DPuuNpZmxNM+Qx3bct2ZJZ6ZslQS7AG3K1LunrkjmdUtnVml2NxNdAyPDZwwegHqrcF+8AB0UgJbx9VzE2Xkl7yAScEq3RxzbXSyk7c43LELGDjuYpdGpSp+Ykyh1LWQ0Ej/mMgjJJPZYN7poL1a/tKANbNH3H84epXKU11EcckDXkgN5K2NhqvHt1V984hrHkfXgrznUbdWc1Wp7NM+Te3/s9ae51G0iNdbMphE4GPecHJPYKEbtUzRVZjoXNa7Pp3Uv6xq2PErCNxOQAozo7L4lxkqpxx3DQv1x7F1p1+h286nOP5nw72fi5xyz20i5FrJJiQD+JwXRso45YBLIfL7lXTSZp2NDAwbey8NJU7mQu3OZjOB2XqGsnq20uTV1bm+G7w4y5oyAB6rXtLmhrHNLN45x6LoaunZjbEwMAHmJWkuFSyE+G1oc4DuVzrmm1uycXkxaytbRsNNuB47lWqKrNS8xRg5I5PotfVvfO8OaA9x4JPYLJtUeyfEswaHd8Lh1opliOJ1vYWU1UaqNgeXd3YWk0/WQw1T6CqlD21LSwg9hnhSvqS2QV9qeyniLyAfMR3ULzUTqCvcZn+drvKAtCcME0zmNUWN+n7vNQEl0YOYnn9ZnoVqHBSZq630980uy7Qtb83Qf4Z2eTH2A/eVGi1ai1LDMllwwVQR6q64K2uDc09Ei6LKUQjCLVJBERAEREAREQBERAEREAREQBERAdN08v9g01qJt11FbZ6ynZBI2MQFokimI8kjS7gFp5C3NyuvSCvdU1bqHVslbPvk8SWeEh0hydzv291q+m2lLVq+/T2+9VtTS0lNQVFbJJTta6TETd2AHccrYVFB0WFPKaW/6pdMGOMYfSQhpdjgHntlcG7dv74/95rSWdOrGN8cbep63p6vF02K/wfCcpY8TTltJZxnfbbH5HCIiLvHkgiIoSAREUQEREAREQBERAEREAREQBERAEREAREQBERAbvRJ26vs7vati/wBIL7G+dHuvjXSLtmqLU72q4/8ASC+p/nx7lfoP7GUvcbrP8cf0Pln2g2/jXNF/5X+p0fzo90+dHuuc+fHuU+fHuV9oxA+e+4s6P50e6hr43TnrrOfey2v/AFZikL58e5Ud/Gwc9cZD72O1H/8ANWL86fbjj9qdJx/Dc/8AwH1P7OKHg0Lz4un/AO8gVERfJD6EEREAREQBERAEREBUOyLwdl6gCIiAKpoyVSuu6b2NtzvrKuoDflqAePIHsy14H6vt6rat6euRGTOytdJFpTSDKdsWK+txJMWnPvj+BWqpmSVtQyJzOXEfmsq83V9fXyYaGYOGY/DgLeaFtMtyrhPOwER9zheipU9ESkkHS9nioLdGQcSYyDlbSM1UlTte0OYPQqkbIG/ddmjG0rLpXMcQZGnOPQrZjEw2eObJHK50T8tz+FXJKl0W0yNwTwAQq/uSHNflhHZytl3igbm7w08OUXs8IHhaYm+MDy45OeOFwerq99RXOgpX5Z2wPddlf6kwUJdGRuIOFHlL41RVPJjy4HJPdXwpuTIs0FTTVLCYnjbv7lUUk9RSzNpvmMscfU4C7Sa0Pq6cyy07mhgzuIwoq1jcmQVPytNJ5mH8TSuhCm6e5FvJ3rLzHQ1TIXncGjOR25XQ02oqeWMBjQ4kd8dlBVJqSvhbtkcJB2yRyu10+ai8RR/I1GxxI3glda2bkVy2JVtNM3b88+Ulzz5QCuyozWOhbs3MIHC0FktPg0tMyoPLQOc5XaUkzHNEZjwRgA47rfXqeavq0qlRox4Kaokpy+oPiPLsAHjC1l2lrqM+G9riw9sLoK9opY2v3hvc5zwtSKg3WN5a8Oc3I5CN7iwio1E2chctQsY11MXljgM4K414nu9y3ueXMbwMLJ1jG+juD2PJ3uOM/RZWj4Yppz4p2lvY9sqLymejOs0ToqlL21ssLhJ2z+alGjtMNG9jI2ndwc47LT6cnpYqNrXvDHtIx9V2bKljqQytDHEjAUZ1VTaT7nlep3knVcFwX6OvnpA7LfK31z3Cwbrf4ZcsiIyRyFzVffauGd8UfI7ELDAlr6gGN23HfnheXn7G2FW+d9U5e+PicZWuqWo2bWCZxLTnJycFbClzC0ZiOPUle2iljjp9spAdnOVmWyakq/Fiid4gYSCU9qrVVLRRXBivDTsZttuUnihkTiG+/Zd3pzUD6WQZGSODyo4NVQR+JBC77xnJweQtxYLkzHiBxLAPPnvlfH+s+ysnZus1lGm4SptVKbw1uS9qS2Q3OhjuFOwOLm+fHood1Bap/mXljXRNb3yO6lHSGoWTbaCskHhzOAyfQKnXeng9pfFEBCRw8L5bY3E+nXHu1Tjsfoz7N/bL3ilGjUe62fz/AL4IYaHhjg5oa0DAJ9VQ2L7oENDsDPCu1ETqeolpaqTc1rjtwOytxvewOpmHAeMB2F7BPUsn3+LU4qS7l8RiWDexoZ78rDpY6kSPa8bWZV1kT3ElznMA4wT3/YvHzvjJYCSX8AkLJksTyyseIYow4E9yeVkjxvDa04zk5AVtrNo3zO82cNGO6rZ48Lshow7vn0QFB8UvMbRz2xjgL2MtDthzvHb2VUNRC2ciMOc7HmPplWovFqXP4DDnuUBVHG0DfUHJe7AVySLwSWQAHcMfkrsQHi7HgPDcc44BVioLY5nSufnHshkuRQ0bPDiL90hGXHKoqaZ75zHnyuHBz+EK1SxAuMrWkhw5cQr+yLYZHzO3DuM91gwUQvooY3b5C97OBhetZBIxtRI8udknHsEgiiaCHsawHkZ5JVQgp2tMzy4tBwA3hZBTLl/30Yw30BV5sUhHiTZMeM4wqJIS0Nlc4hhOQB3VcUsxJ+bxsH4QO6wD1hc5rdkBc5zhgEYC6OGnndEHyjO0DyjsFp7c0l/j1TnNjHDQF0tDFPWR7YctaPcd1pXdTRg4/VbjwsI565se57XNiwO2B7rTV7po27HVWAfQLrrnbZ2wu8zWBpPc8lcjVU75pnbm5DeG5VlCtGUMtl9ndQnR1NmTHURRUDGFx3PGO3JXSWzwbbZXvnO0zeVo9SCudtNvlqa+PdHmOIg89ll3e5QvqS1gzHAMAbuMrztanPql9C1pLOWfB/tR6+qNGVCm/NLZfX+hw2t/DfO1kUeA44WogtLYHF/GQOyzdVXJk1UxzeGg9seqzLdJDPCwu/EfTC/YPQrF9M6dRtXzGKz8z5H0lStaeSm12X5s5mPlHK6Fmn4ZIWiBgBHdxWfZmUpPhGMEDn2W4ZKPEELKcBpOOFR1/rsOh0lUlHU32Ne/6lUcsI4m56YpZInNaDux3Huo2vttdTeJBHHl2cF59lPVdSMjicX+QDnsuH1Tbo30njRQNJBJyVLo3V6XXbV1YrD7o2+kdSlOXhzIbbbXeEA5+APRe4ipqtrC7JIzj3W3rGQRvdM5xc4dmBaeqjdFMyukjxuP58LRuIOnUcWeti8o3cgkqaUxbhGzHtyVEer7QaKuNQRwScZ4Uu0UhqGB4i5A4yeFxfUO1CSEzSyZcOQBwAtecU0ZOL0tV0rK19PcHB8VQ0tLO45Uf6itL7LeKmgduLWPOxxGNw9wuniaI5GhhLdpySs3qNRw3KzUF+pmndCBTyAck9zuK59WOGTI2dzlWj3V0jCtuC5F1HO5YikjKpVSpPdctrBYERFgBERAEREAREQBERAEREAREQHV9NtRVOmb9UXCnsLrw2SgqIJ6ZrnN+6e3D3EtBIAC7LRmravqFdZtH3mhom2X5Kplip4qdjXs8KJzox4gAccEDnPPqovs94r7FcI7lbZvDmjPY8te31a4erT6j1XUXbq3qa60ElAKGzUIlGDNQW9lPMB6gPbyAex91wepdOnc1XOnTTlJJKTk04tZw0sNZWdmsM9b0XrVOyoRp160lCMm3TUU1NPGYuWU8PGGnqXfBxSIi7x5IIiKEgERFEBERAEREAREQBERAEREAREQBERAEREAREQGy0y7ZqG3O9qmM/xX0V9of01832eTwbrSS/zJmn+Klb9I/wCn/FfoD7G1J2V1j+OP6HjPaiyldVabS4T/AFO6+0P6afaH9NcL+kf9P+KfpH/T/ivsmmZ5f9kT9DuvtD+mua+NM7uthPvYbSf/AM1YtV+kf9P+K2Pxlu39ZWP/AJ2nrQf/AM0Yvzx9t6a6p0nP8Nz/APAe49kbKVrbXLa5dP8A95BiIi+TnowiIgCIiAIiIAg5RVAYQBERAERFJIFTWlzgAMkqWrHQHTmjmNd/hrl969p7tHbH8FH2j7Q296ho7fI5zWSSZc5vcAc/7FJeraln2g+OkI8OMbWtK7FjS7lUmaGOle9wIacE8KXNBULaCiB2jc8ZIcFHGmYTXXGKMggE9vRTXSUrI6eMRta0saBx+S6/wIFBY2WpDWn8wFnz0z48PifjHp7q02llefHHl+qqFaYvI8F/Hc+i24x8pArjfuc6NzWnI9e4VttO+IEQyEDlxGeFVJUQTluwtyfX1WBeKl9spHzOlDgWnAVUY5kZ7HIagvrpbk+PeQxnlIzxlYdBNNDOyohwWuPmWsNypZTM+WPl7ic/tVDLpA3DGO/CexK6MGoIhyStdrtb3aZDDtEhZg47FfLGoARd6jy7cvJCl243/wD+hMDkDgN91Hdba4K2p8WpkcwvPGPQK7U5rYwcs0+i3On77U2WqbLE5xjJG5oKx7va222oDIZfEjIBDvqsRi3rPKe5GR9O6D1rQXega9xGIu7XnldtDfLfLJHDG/6kAr5UsVwqKNrX00rmHGDg91KujKh18iB8UNmj4PPOV0DgVIR8R6iWtQ5rqFvyzwfTauOoaq+011ZbjGGwkZL+w/rWxhqLlQxiOY+I0epWludwmrp3U8DQCO5ClFLk2renGbyjRarEtwv0lODu8N2MjsvaKnlpZCI5NuOStxS2PYGyPjeZHcuJVmtt80b8mMj1A9/qsZyzpHWWid9TRBzwQ8Dk5W5bqWWgpWsfJgt45Poo+orvVQUrmwu3FnDm+ytz3Z1wyJZA0AYwVn6Hnbqxc6rZ2RvL6upEoIe1552rpqdsUULHQEYcecqP9LSCnOxzN5P4QuzZUOYGmpYWvH4Y/RHnuSdp4UcyN7J9oy0LoKUtD3/hd9FsbPSC10bYYY/vXHdKR6n1WkpZjHECJX5xk47NWyo73Gxg8WYnuAPdal5aRvqXhyOTd0W3lFyooqQ1nzkQMbz+LHYrZU1Vb2ytEL9rnd2+61NRWRsDnswdwxj1Wvjc+lrGudJvJ5/ILPuNB0Pd5rKxgrha6obkj0VTHEWubKTI3lgacBSbYr/Raitf2VcpdjgNoLj3PooXt0soY14ILnDg+y3EFVUMj8QuJduHb0X599uvYSVtVda3Xl5T9Cizu7jo1yri2fzXqbTXuiX0IdLAA/nILfULjYIZ2sjZLTFrg719OFLOmL/b7nTm2XSMyNHAkf6FL9oaF4bPSYfH6OHZfOrXqc7OXu94sNdz9MexX2lWvUbdUrl4a/FEROkJqfHkAc1h5ysR1TLM/LogMHv7BSC/QD3vLGwEsdyMD1SXp090L5BTvaGDkY7rqrqdu+JH0mPtF0+WMTOHrAzEUjfMRjsvDO+SN75GhrAcAn1W5l0pV7hFEX7QeR6BZzNJCNsbKkOcD5uRwrnd0cZybb6raqOpSOXbE0xNpYAQ6Q7t+OArvghr9j8kjg49V3dDpaepw1tKWNbxwPRbC39OjIHT5AdnAB7krUq9XoUuWcm59q7G22kyPDba2djaaJgY0+bPqQPRZ9PpXxYg6SNxc3BLSe6lGl0GRhr4yXjHAHos2p0hBRwGUAunPZo9ly6nXYzeIs85ce21OpPTTlhEW1FlEMD4GQgNAyQO4XL1NBIypPckcDJ4ClW42mRheZIiHu42Y7ritR22eAfMNiDBHyV0en3irPDZ6DoXVVdPEpcmha2FrDHI7e9vYhe5DIgCTz2HsvaWMsLnvaAHjjKxpWSOlDfEJY0k5912D1Rlte75dxDdzgc7iq2wRSx+LIXZH1WOahscTHeIMBxy0+ypuNxc5rY43jb7D2QGx+ehjc0vG5reGgnhdhpoSVLR4bzg8nCikVD6ioiZG4uaHBTJoGBkTmReHgvGVxesT8OlrR5H2tqu2tfFRj3+2Tuc18UJcHHGStENN1E9Q5jwPL7BS3XUlII3CVvnH4cqqh05FFH83VkNaRuwO5C8vS6vJQx3PmlH2qnRotSIlutKLBaZZWNxK4YaSo/ma6NrqieTJfk4HupG6m1ENTJmJgayI7QB6qJbrVgOYHO2gHsF9i+yf2cldXb6lcLaO/17Hw7rHU5de6k67eYx2X82c9eYJXNdUbt0gcdrB7ZWVp+pqo3sMsP0x6rZUkTal5DIBz+stzTWB8JErsNHcr9GYZtwuIQhoNjZ6oRTsdKwku9M+i6SGtazzRwtaRzkrg555KeceG3c5hW1o7k7e01TwCf1G91pX3TrfqVPwrhZOddW6qeZHSVU01RA987htHbjuuTvshqKTbtwwA8Ldz108sAYG8Z4afZc7eHvlzC1vJzwFHp/TKHTKbhRWMkLKlpqJkc1lPGx5c2MZJzk+isSthlpyxse+THBwtpPRNEz46iQtaDg/VUSFsMeyCJpDe31Wt1Gi29SPdU5ZRp6BxczDjtwcFoWHrCgpqu2kgEuCzIYTHM75h2wOO7a31V+rxJTvbFGMObgZXEeVsWkCVtOWVL42xlrWH0W6scbLxaa/TofHHJVxFkb5Bna4454WNqmKWnuEzGQuGSQXELFsNQKCtim5Ba7JcVRUSZJEc1VO+mqJKd/4onlp4xnBWO4LtuqVt+V1F9oRBop6+MSRY+gAP8AFcW4LmXFPKJplleEcKo914uFUWGWopRDwirMhERAEREAREQBERAEREAREQHRaE0vHqu9SUc83h09HSy184H4nxRDc5rT6OI7FdPbXWTqZLNpmisNJaZ6WCWe31MMYaXRxtLnCfH43FreCMcklaPplf7fp/UFQ+5SeHFX2+ot4lP4Y3St2h7v6I7ldJpWxV/S641Gq9UR+DROpZ6eix3r/FjLA+L3aMhxzjgrzvUqk41qm7U1FeGvWW+cLv2znt8D2nRKNKdvR8qdNykq7xnEPLjL/d/ew1jL43wRciIvRHiwiIoSAREUQEREAREQBERAEREAREQBERAEREAREQBERAXqL/yuH/LC6/cf538Vx9H/AOVRf5YXWbvovv32O1lTsrlP+OP6HK6gsyiXNx/nfxTcf538Vb3fRN30X2L3pHP0lzcf538V3fxi/wC6/B/ycs3+qMXAbvou/wDjE/3XoP8Ak5Zv9UjX56+22qqvVOk4/huf/gO/0pYtK3zh/wC8g9ERfKS4IiIAiIgCIiA9A9V6iIAiIsgIi9aCXAAZKsgsswyRemdvkpaCvvrtoBZ4UJPcPBBP8Crk1W582+eMudnJx6rb0tLR2rR9uoYy5j6lgqZASRhzhz/UtUIYhI1rnnJ4B7heitY6YlLOx0DQxzVXzVK/t+qQpOMcga0sHJHOPRcl06oI4Yny7QARwV2JmfHlnHfuthS8xg8o6uaPdBMwuIPBCv7jnEkAwTyQvAQNpiiO7GST6q5E+QBzngc+mFurLRAwZ2NbLmEEBcVq+5VpeylDg5nOeV3MrJQwyEAA9+VEWsbhHTVUkk0+0A+6hF6WDUXIxNDxkh3sOy1UNfLTyNyQQRghayv1O173RU0Zc3+eStfR1E1ZVsh3EF5wCT2W3CEpmG8HbS1J+VY5srXD8Wwlai4yfOOFS2Rg2jaW57LcMsFVRUQfNE55f+EjnC0v2XUTVDhFyR+JvZdSjTwtyDZqalrn5DHF5A7rHp7fJMRtI5XUM07Vvi/BsOeeFYdYLjSzEiCRzQMghpwVt0o4exFntm07XukDA9m0jI5Uk6BtVRbbgx8zgGOPJB7LltOh8LmOn3RyNPId2UiW6ptskbJHExuBHIPBW2+TjX0G5+U7e900D4GbZgWPAGR7rDtFppoi+IgOBGS5y0kt/jYBSRTB+9wAzzj9q6eigaGRufOHDAJ2lY4Rt2dNwhmRXMyJjcQEucBxkLgrrerhBcdjdsjjkNHoF2V7ucVJHIIA3OPLzyuLZCK772UiMtOSfUqUUbjeDyjZURPYa6NrHSuz34PK3UdsbVzNdDSgMH4irsFuZWxRNDHO8PnJ/tW5NKI4PBpy8AjzcFHLc0ZV4+JgwoaD5acS0hDizuMrf0dTUSiOWojIe76dlqaJslFMA1mQ7uScrb0kjbnMYonFnOAUayU9SqaYJo2sw3U+A4bT+IZWlZVSCoAjY7aw8EcrojbW09M0NcXbR58nKx6embK4iCnHPcFVQrUpzcIS3R59XUZbMxoq50pMjIzu7EFbGj3ubvczDnD19FjQUJ+Yk8u2X+bngLOpDPujDYC7nBPorMGwqiUTYWptwieHyTh7f6gt/TVT5qvAaY4WjndxlYVOwSBsLxhzu20cLPidG532a4ZnP4Xdlo9Sq2sLafvLWMHOryhJG9ts0EjtlK04ZySF2tk1HJC0xzHdF2Ad6FcRabZVxB1PG3bKccei7GCwPjoGzvf940ZI9F+QvaOraVrqUVxnY59mr2NZ17BPy8vt8mdGNX2inja3wMyg57cKtuqbXdajwmRNiYceITwFG+obxT0TmMjcCQMO45WNbJqmraXxuIZjIA7rm0OgePDXDJ1Kftb1N4ksfgS6LLZq13iUT4iMcgELBbptkE7pKoB0bjwSOAAuWsTq6jgc+Gpd4jnYHO7AWXdq67VMHgfNEBowTnblakumXlOfhxex6Wh9oVSFHTUUlL0XH4nRzak0/a6d8NKGyzOG0ADOCtI3WtRIDCY4WHvnPZR5JMKIzCR7wQfxHPBWCy8VFZK6ljbiMDG/1curD2bcKXi1t38TzN97TdSu5eJGWhfDf8WyV7Zr+RtR8pFCHTDPmPbC30eqIKXa+6xN3y5257BRlaKCoEjJqfdJ23kDOFtr/DUvgErRJ5ANoLSSuHXtLaMtOcMvsOu9ZnHWqeuPrg66Wust03vc9jZT2cPRc9eNO2+ujfPBJvIb/gyO6j2tvFxoi6OJkmBy44IwtRQa0vlHPM9jpHHPAcCeFm3t7mm80ZHp7P7Qn02aTjJS9P8Ang6C86KqZIy6nJYcHy4XF1FqltUp+Y3OcMn6BdVD1IvcMX9+0rXRuOHHw+R/BZVRLatRUYZSyMZUS8necf1rtUer1rby3UdvU+tezP2tWl81SuHv8dn/AH+JGNTcN0xjbtAdw0Z5ysarl2N5LnzDuG9gFJv8kMRgbcX1UO7uB4gwP4rV0ugqBtycyorN5B8wYdwI/MLcl12g9qacn8D2F/8AaL0exp65TX4nH2CRwqsOYGtJz7kKcdLXa26dt7a+5TbCWkNBA9ey4mrjtlmkEVvtjXPP67z6/tXL6pu1e6WNlw3CJ5AAbwP4LXqWnUettU4Umonx72u+1Sl1Wk6NnFv9P7+RNtHqOlr5HXAv3MJ8gzwVnXLV/wAxTeHCwtO3GAFFljrKdtvhij3iNgBJLjlbs1r5Bvp3gtPGPZXXHsvVs5LXDDPjNbq3UpQlTlU2lz/wNTfTNUb3yvPmOcELi5bPTzSufNl248cdl29Wadjs1b92eMA+q0FZTt3DwgQ0c5yv0F9mlKpRsZRksLJmxzCJh0cFNTMxDGXEf0VnzQudSid8hYD6e6swTCIGNse4nPb0Xk0sQjDJJsvHdgPZfS8PJu4lKWTW17WtcWsZguH71gU1QaRzg5pJPsMlZ80o8ZwjaSSeC5amqbUQVG+QZH0CrfJ2aEYzjhm5hrpnhsQbxnOTwV7UR588QJcTgnCtW+LxXNeXDB7DOStjW0kvyrTH5Bu5wFrXl7TsaLrVeDm3M/d5bHKXmy+LHJLjY4diO5XJt8RsbyyMucw9lLUtC00BlcN2G9yo7rw1lZIItrQTnCxSrU763VWHDO10i8lX8kjm54ZnziaoGxp9FffKxsfl2gAYGOSq7mWStbG4u4Oc9lixPiYSymhJJ7vec/1rztylFvB6GO5G3UChmNQKj8DH+uOf3LivEdE5pYQ7HvwpV6hW2R9JHOXsDR3y4BRQ+JsM5Adke5PC5VSbLDodY0jNQ6Bjr46fxKygka1pb3bGcl39QUQkZCmDSdSK9lVYN5DayF8TXAZwSMf7VE9wpTQ11RRF24wSviz77SR/sVf30DCeFQrrwrS4l1T0yLYs8cPVeKpUrSJhERAEREAREQBERAEREAREQBXpqysqWMjqKqaVkfDGveXBv5A9lZRYaTeWZUmk0nyERFkwERFCQCIiiAiIgCIiAIiIAiIgCIiAIiIAiIgCIiAIiIC7Sf8AlMX+UF029cxTcVEf+UF0G/6/xX2D7NLr3e1rr1kv0OfeRzJF/em9WN/1/im/6/xX0z9pfE09Bf3qRfjE/wB16n/5OWb/AFONRnv+v8VJfxhf7rtP/wAm7N/qca+Jfatde8dW6YvSFx+tA7fTVi0rfOH/ALiEERF4UyEREAREQBejuvF63ugPURFlAIiIwFn2Klkq7tSQxxl5MzCQPYEZWAu16T0736shn8EvjhikLj6DynC2raGqSISOs1a2GWt8KNzmMi8jRnjAWrtsEctRHCJiS09irmpKiSruUkheGN3HhXtMU7Zq/lmXdwR6L0VNaYlRLunqeKkt0bWHlwWe3xw7GMknuVbtMDflWMc1u4AclbH5epD8HDm47+yzFb5BSamqjb+rhvA4XjquUtBc3GfULJjiaYiyVgwSsWoiLHgU8hOPZb0ZpIgW7pWxU9ukfL6DjnC+bOoNykr77K1jyYGY28evqpr1Y+pqmspGPeMnzDK4jUFvsFHRPFXTwPk7guHOVKnT8SWwbwRO1q6HQ9qF11JRQytPgCQGUj0C6GKwWyotTK4UELQTxtHJC6bTFkpKF8dbQ0pZ6HhdyjR0rcrbJjuGmLDJQxtpWgxhgwfdcVVaKtjKgTxR7XeuOFvmXrbRNDyQMYOfRWDLJUYdES8Ed1tT0xRFHL1kdLBUCk2sI9SfRbimitk8TIIJmPcOCMLSX+0SyQyVsQ8OZrgMH15XMwzXKxePdaqQwMi8zWn1GVOhOLWxGopY2JCuFgskjRtYI5cfsyuRrrbU2xznSOkMYORg+X9y136a1l6opLmZHQMjOM5Xlu6k0srm22u+9B8u53IKtnU0ohThhb8mLDcqx1QQ4kNzlq7mx6oqhG2KV+CBgZC5jUtv+zfCrYSHMnAcAPQFKCplkZHK0BoHBJ7lQhLXyWNYOrrZpqyoaWPLtxy53ssuO2xvZuMucc8LHoHwyUX3rg3POfVZVNM19RG2DkDuPdX522K6kXJbHQ2Y1RdHAWeTt2W6nbURSluxvhgcYHqsK1VtOalrYm9hgg+63OIWVB24eSMlp9FDG+GcK51UnlmtcC1pfOwM3dsLNsojp5htiy0jj81RUwunyRA1rc+vosu1wSQsM9SXlo4+iylua1ar4lPc6y000U25sjd7XD8Gec+6oqaaO1VA2Dc0+nqMrLtcUNPTtlpXlzpBku9ll1lPTSwirnw4RckleVtLLwuryqKRw4R/xDmp4AaltRHlvJLs+oXQ2d1HVtLGQkY4Lfdcjcb/AE1dc2Wui4eSO3opM0/aqekjiD2gOA5cPUrs9WvXY2VS4XKR0Lv/AA6awW6Ow+GXVPmDW/hbnlZVBY6KeobVukd4rckNzzlZdSa/xnOp2hrXDsqqU4e2YNaZMFpA7r4PfX17e0J1ZNtM4c5ScWztdIW2OpfJNWQFpGADldVe6Wlp7PsZGGsYTudjk8LmtP3CWmZFC2Jx38uB7hdPdKmnfbXeOfLgnavi19b1J3WqTPW9C6nb2/TJQS8yzlepAd9o3VN2mjicSRktJ9QtjYqs0sDn+Hj9TGOUutZSxXss3AE9nHsFTbqne50W7dvdw72C+0/Z6rWrWVG4w0zx9o1Lk3lNcm0jg6B5AcCTk+qyvtGKVgnkzI8fqZ7lcyB9/JvBEUYJ3fVXbY2WRzpWbth53O9l9guvZDo8/wDFcMHQlQhjUU36hddIpGiTwnZ5wsPTFBCblHb2NdIXODS8+i21WfGd4UIcXO43e63tsttPp6zPuVSQyrl8sWe+D6r4X7d9StreXull8lgt6b0yp1i8haUlld/kbqrqrVpJraGmHiPe0Oc/64Wr/TOGrrWQTReUjv6Lhr3qidkjvmCZZPQD2WgdfK9+10LdgJPAXhLXoSq09dXln6n6L7BUI2kY1I42JsZT6XubXxSxNEsw5ORhaC59NWB5q7fM2SFpwdvdcRR3t9F4YqXOL3ex5C6S1dQKiEmGlOQB+AnuVXPpFzaPVQlt6HmvaH7LKd5mSWfR9/x/qajUNqktlK6OSBznYz+HgKNHy3SOZ7onuY4OJb+S+hxf7dcqUC5BjnvGD9FGF7tNGb+98TB4fGwY7pa3DqV1QuY4bPhftJ7I3Ps9JTk245+qOUh1Tf3RuopaicjH4C4rP0tqb5WolhuEpOHZGDyP2rI1RRspKPfTtAmcMcDzLkdO2yWc1ElSXtdu3Zd3K/Qfsh7C9OdKN7WipZ3x2ORQoeLJObz89zotT6xgkc00rSWx8g+q4656y+3fDp5n+EIXA8+uCsm+PpbbH4ngOecHLj6KJL5c3y1rp6ZzmNB9F9So2tGisUoJL4JHo6HTITjlH0Ba7zHWUcbIZA1gABcO5XSsrWUVO1zCHFw4Xz7ojWTROKOrqQwEeXnuVMlpqm1EEL3u3Aen0WtfdKteoR014JtGhfWPgvg2M0j5ZfFeMjOTleVT43YMchO4fhC9Momm2Rxux2OVnmmpmOa8t3HHYKVjTpWsfApRwkaEHp2NJHIaUnYzJP4isObwI3iUjLnckrPrC4skbHGGbiRz3VmC1+NC1sj8v9l0GdCLjGOWW42x1EjXBhOOOFfqLG+aNr3Al3YAdgFmWmie2R8c8eHH8K3UMDfCdE6UM2849SvNdR9qLOwq+D95/A1ZXji/KaG3WhlC7fjdx+4raCnEkEgkcOBkAK66eKECGKHJzyfVa693CKho5Xxua0gZ57rn17t+0CVGnFqJrzqSrPc09RcpIIJonYOCQAVG90ne6tmewYO7stza7tUXOtqN4Lg48Z7BaarhbDdpGyBpBduwV6ulQjbUFRhwkek6HFRbMN1OZj4kshJxw0LH8CRocxpxk5JK2dQ5pJDC1mR6LGp/l3gtkdkDuAvNXO0meojwc9qe001da3Omkklc0ejsNChu7wBs3hNY7aONoU73nw5bdLBHA6NmD29VDl2fNCXeDSZAd39SuXUhksMbT8xoLrTvZ93hwXOdTLdT23Vc7KVhDJo2TnPOXPGT/ErdQNqpJhJ5WuB7eyyerdHTtttkrmvY+eZr2ylvcbQMZVUI4eARg4Ky4crIcFZeFo31PG5OJQvCOV6h7LjMtKURFgBERAEREAREQBERAEREAREQBERAERFCQCIiiAiIgCIiAIiIAiIgCIiAIiIAiIgCIiAIiICuD/DM/wAoLdb1pIjiVp+oW03/AF/ivf8Asdc+BQqrPdfoatwstF/em9WN/wBf4pv+v8V7L9oL1NfSX96lL4wv91ym/wCTdm/1ONRNv+v8VLHxg/7rdN/ybs3+pxr5b7d3Pj9Y6evSFf8AWidayWLSt84f+4hFEXcdLenP6cz3a73OsNJp7S9I25XuoYN8sVMXhg8OPjeS9zRgHgEn0Xnbu6pWVF16zxFfzeEl6ttpJd28ClTlWmoQ5Zw6KYbnprQPVHT13vXS/TsmnbhpWkfWVtvkqnzx1VEz8dT4j/wvyQPDA+uVDypsb+F8pLS4yi8SjLGV3WcNrdbpptEq1F0Wt8p8NcMIsq1W2qvN0o7PRBpqK6ojpoQ44Be9wa3J9BkhTRWaa6P6Qub+j2qrXVy6iEny1fqGKR5+z63ODBHADtmYHADfkcOJxwq77qdOxlGnplOTTeIrLUVzJ7rZZXGW+EmyVG3lWTllJcZfr2X97epBq9HdShaOhV4i17qTS2r6yO30WiYjWahqaciZ8FMC0F0TePEd528AjuVs6rTPTvqvabnL0usEun7xpukkrJqKWofNFX0UQzLUmR/+DePLiMA53Hnha0+v2kZLRmUMRbmt4xUsOOp5/eTT2TwmnLCaZNWVVp52e+E+XjnHy/4Ih1ERds1AiIsoHqkfpM8QQ3ipHDo4mYPtkkKOB3Un6BtVVHpC4XWKVoZUERlvGfKf/wBK6dlHMiuRjXR3jyGUFpkackE9103T+SF9SHABj845XJhpB3zAEewK6zRThSVcT2Rgh7wcH2XdcdislaIhxGG7XD9b0KzKaWR0oaBu75VmGL5xmWYwMEjOCFYaHCfETzwcAZUYrANjK+YO2b+AM4CwKqfYA+MbXZ5We0t5FQ5u8D0PKtumgfubFEDjnkLYUW0ROXmh+fr5BgjDfxHtlQ91HtNwtldBJWT7hUbi0A+gU6U+Gx1VVI1pDeQB+S+f9eaiffry8A/dU5LGD29/6l0rCPmISN70+rYK9rqGsBPhAbT6cqVrJQB4+WjY10bfUeijPpDaw6rmqK5jmwStDWkDJyMqZIrdTU8YZRyvPiDDsd16LQtJUa3UM0dmonSPaJIiOQFpbLrGgp2t+deIjI7axruFj3SjurLhVQ1kpNM4/dhy0OooLLLTQ/ff33G4EAHGMFca7lKJZHc3mu6+4Wu0SXygAqI2ublp7DJ+i0tr8LXulJqutl+XJJjIbyMtwfVZd21JT11kbZ5KmIB8bQ6MYJOAtFYZzZYflIpP7zLi4sIx/Fc6jczjPkk0bLT0Fhh0/Ppqva3e85dL9FyFHDZ2X4UFrhdUuc7YHAZCyNUXylaySGhhcJJ2bSW5OP2rVaOun2dXskZSmRxeMvx2Xc8TVDLKyWbtTGe0R01UzYadoIyuVppnBrhE4AtPAB7rv46uC6WyT5iAgmPPbk8KMJIqmmr5fDPl3cNP5rFOrgNHdUNwcKKKJ4G4cnK2dJE2SMTtJbKG5A91x1rqppZA+YgtiPLR6rtaSNlVH8yHmPaMMbhW06zbMYNpYrzHDimmBD8kkjuuntd2ilqctbvkzg59lxtOPkneLOwHPc45XR2Gqp/m98LGOYRnk4K24T1Gjf0PFpPHKOw/vasjLYwGn1P1W0t9ufLB4MfndnGStTBK92HNazYOdo7rafaroYmR04w/GQR6K3KfB5edKcYs6K20L4WNpZA0PJ4z6LRayklo4pIICXO9cdlsbcKh7G1UshcT3JOCl3dTVUDqeTY12D53FfPenQ6jPr0p1E1Bfgc2lGcquERVptzYtSNkmbibIwCVP1trXOp4mTN8w7FfPl5hqKO5CSlDSWuyJAe67PS2t6sxmK5uLHt4DvRe4uLaF1SlRqrMZHpLjp06tFMlmprZYW7izMZPmcO6ttrDPMx8EW1n6xC5KTVsb4hmVjmnsA5ZNv1FSFzYWycvPIC4r9nrGhZTt4R2aZxqli6UG5Ev6OiNbXs3y7WNbuP14XRXS7Wxolpg4FufMPVcr0/rWVzZ6SlbuqCwBhW4p9A3m7V5aaWYEnDpCCG5X4/6lQjX6hUpzeFFn0D7Pej2t3ayqVXhtv8ALb+Rp9ZaWtN6sT3W5gZOxhcXN7qFqOtqrTVOtx3zEEgn2X1/aOk1bR2ioqLjK1v3ZaMnuo7r+ldkpat9VJPueSSRswvS+wVG5ueqK2oNvfk8n7X9Ot7Hqihavlb4/UjKkqY3U0bJHeZ2SWleT3uSlcGQsDoj5ePRd9UaN0wRtZA9rgQdwkKu0WirDKXMwcv+q/UnULGrWsJUYS82DjToTUMmq0VSU1wrHVtVl0NM3cW+i57Xmp5Pnn0tLKcOyGj0aPopg0j05ko4auGhlEzZocBpOHZz6D1UM6+0zXw3TdWUskDIXEPJaQe6/JfhOXVqkbn70eEz7V9i9lZ1NdWok6mX/wADjHsbG91TMTIfZ3qqHNlZJ4/g4Dhww9lXVT02x0EL9wDhz6qtscU8LXNc47DjJK9AfpLguQF0sRc6MMeR+1WHwSxyNqY5H4H6oHdXN/h7mRNz/SJ4C8qqwQQN2PDiO+AsA2Vvr6mWFr/CkdIDjZ/UuoqaSlpaSlqbiNkrskZ7+nCwenlodXHxZA4gnc7I7YWVriuZNVYZt2wjY3B9uMrgKxq9U6tTtrWOZfA/N32x3tCP/wDDh96X9UzXVcVNVymZzgGgnOfRR5e6mnt1ykmikwx3AA9Vt56vDiBM4OPueCuavsz4oXPmhB9Rnlfq32c6ZX6VZxo1nlnxKlSnTSZqL/qaOqpH24RxtyOZCecKI7nUxsrDHC4yN57e66q4RTRvfLLK3z5wMriZ7oxta4MYHHJbwF329O56jpUpT5MT5o09W2YZDmuzgd1O/TXVMFfSxh7uA0BxcexUEVDYI3vmeMyO5Dc9ln2LUlZQDdG/wwDkt7KunVUzo3dsriGHyfUcl8hg81NI0+5HovRenbw6Sodl2MDAUJWbXVRWyMpmtw557k912dFdHNLd7i93r9Facb9kOKySDDEypkM3iu2/rLZ0bYGsc2CPecfi9VzNuqZJdjXO25A5XRitp4NjIeXbcHHZafUKdevbuFB4kzj3NOUXpRllszacmMOYSc5I5WBNfqalLoqidrXY755VmW5bx5pcBg8wzwon1fqNkV4LIpQI8+Yly8f0n2Q8Gu7i+ep+hr0bSc3uiRJ9VUdIZJBUNcRz3Uca46kxy5iic1gcMZz3XL33U7ZWGGgnySPNjlcDWy/M1LRLK4nP5r2tOlSto4ppJHorTpCxqmSRonUsMlaTJPnnGAeV0ldNBLUOmIy53APsoitE0NLWN2ksOe54ypO8Uz0kU7cOaMHKlOaUWzr29pGhLMS7O6Pa0bdzx6hYTHGOQnbt57H1Wd8xG5gZA3c49z7K3BTyGYyys7ds9l5S48820dBcGHc21stM4DGHDsPZRRfqN9D4jpHZ5yAO6mKqlOx/jFowOA3lQ9rCStrKqSNjfDbk4J9lpyWETTOZEjnP3MJjb+sT3W61S6Ot6dSzloc6nmjDXe2XLQOjbHlj5S/PoF0kNE+6aHuNsjjLW8TZ7/gJK1ovEjJELuysyBXj2VmRUX2NJKPJbREXnpFqPCMrxVKkjBUTIREQBERAEREAREQBERAEREAREQBERQkAiIogIiIAiIgCIiAIiIAiIgCIiAIiIAiIgCIiA9YcPB+qzPF+q8s1xbaLtSXR9DTVopZmymnqWbopcHO149Wn1Ut/3R1v/wAQ/TT/AKJd/wB9Sj1i96Z5bWh4ifPmjHH4lkKFKrvUnp+jf6ES+L9U8X6qWv7o63/4h+mn/RLv++n90db/APEP00/6Jd/31L/avq//AGJ//wCkCz3O2/63/wDVkS+L9VMPxf8A+61S/wDJqy/6nGrH90db/wDEP00/6Jd/31GGrdW3zW18mv8AqCtfU1Uoaxu45EUTRhkbfZrW4aB6ABc2tc3/AFjqFG6uaPhxpRmt5KTbm4cY4xo3z6ln+DQoSpU5anJp8NYxn1+Zp1M3w93W3usHUnQbqqOK76z0/HbbRHK4MZNUNqGSlrnnys8jHHJP0UMqqOR8MjZYnFr2ODmuHcEdirOp2C6layt28ZcWn8YyUl81lLK7ruuSq3rO3qKolnlfRrD/ACZNnS6213TrRvUS96zpZbXT3Ww1Ngo2ztLJZquQtc0NYfMWYafOBt+qjbRPTjWfUSorabSFjqK91vpZayoLGnayONuXc9t2Oze59Fa1h1B1t1AnpKrWupq+8y0MPy9M+rlLzFHnO1vsMroek/XTqL0Zfcv0IvctLFdaZ8E8O47N7m7WygD9dvO0+i5TtOp21vXurdQlc1MPDbUFhJJZxl7b8Lfb4mwqlvUnCnPKpxzvtnff5cnMaSq4rDrSy111D4I7fdKaapDmHdG1krS7I75AB4UvdRdE6i1j1+q9WafohU2bUFz+26Ov3gU4pS/eDJIfLG7a0+VxBzgY5UHV9fWXSuqLlcal9RVVUrpppXnLpHuOXOJ9ySSt3RdRdc27SVVoOh1TcINPVrzJUW1kpEEriQSXN9T5R+5bF/0+5rVoXds4qppcHnONMmm2sbtprZPCfGVyQo16cYOnUT05ysc5X8n+XxPoBuu9L626vdZ6Sw3SN7uoFrkttifN90yecuiIDnOwGDyO5dgcLjuj9ouPTW3641XralktdBNYa3T8JnG2SarnaPDDGHzOYdhy8AtHHPKg4EtIcDgjkLoNXdQdba+fRP1nqavvDrbD8vSGrlL/AAY+PK32HAXO/wBmpUYe6W814M1BSz95eHFRWnG3mUUnnGHus5wr/wBoKcvFmvOm2sceZtvPyz9fhyaEdkRF605gREUkget7qWdLQVDOm7KiJ52vqZWkfkQomb3UwaU8f+TCMscNoqpstPbuF17BblUjnmdy14Lh9F0GlJQy4whz3bC4fTC0bXB0u1h8Nx9fRb+xtc2sp3EsmcHDIAXaqbIrRL9O6CLbNA+T8PPdXYZwH5ijbl2c5HOVZjlZ4Ub2AsO0AtWRIxgc2VpOcDkKFJ5YZVGzZP8AeNJe5XagCNpDI+COT2K8M7ZNr2uyQeFRNVP5e7zY7tK3saUROWrquWit9dVNDnRxscXAclQlp60QXy7VD6k4iL3O27sHJJwpztVV4twq6Can3QzghzfcKPrx04q7JdDdLZV7afeZHsOchucldewinuVzNjZ5vs5/2VRxPa4DyuzwF3VnnPywfPUOEzO/KjW36kpbnfGUNFG8vGAHD9bHdSZTW97IHNeBlwzhw5K6jnp5IYNNfLj9o1hga/GTjJC5y66YZJM6Wky+Vw2888ro30pEzt9J5hw3AWxtlrdCBKJgZCfwu9FybyopvCJxRBtx0PrC2VQramkl8MyD7xpzgE/RZ2tYp7fQUDWVBa14BcQDknCnismfPTOoy1zmuGHEHhRr1CtM77N8tSWts5afK8gZb+S56o48xPJwNsrqWocyBjQ9+eNy32nbTT2ivl+clY+N/wB4OcYXDU7Kmy3GGasp3t8N24t9wtrW1VVWXuOribIaQuaWtyPw8ZVvitrBjBOllq6aoi3QYe3bt4C4jVtI6luG+MfjOTgdguv0jR7LB8xH93uyWj2XK6wqppJQ2Rwbjj6repYUcsi+TV0NRIaxsLWFrfU47rtrZdoaamcHuLnj8OQuc03bZLm6PwS53Pdby+2WutQJmhzHjy7R3VlJqT2MPY6FlS6oofHdECSeeVkWfbUTBrHeGwdyHYWps9UJaANlicwNHLT6rQ1d0qoa401E5zWvfjg9hldGMdCyRe5KMVw8J7o4KvcW8AB3dbK3Vx35lmc5xPZcjZ7OaamFWXl0knd2eVsaepkglLWtcTnylacr1RlhkZUITWGiQP0g8KFuXHDPwgepWju2oaq4Qu2R7RnHfutI19ydNiR3mcPKM8BVPbNFtpw8Fz8lzvQJLqEEtjWp9OoU5a0ty6zM2GTkO2DIAV2qqKU0uY2kPYMOHorfysNFC+bx8yOGByrcMEXy8njyAn+tanvrbyb2k9t81SZhNES5mOAewXU6bp62sqS+ni8SQ8HA4C5iie5rWM4awcbPdSPosy0jx4TjDG7kj6rpUayqx3NK8tFcQ09yd+k1gNhhiuddIBMfMG5z+9TlT9RmwRCNtNTceojC+ZLbqeogYII6xrwPzWdU62qKVoMsoGeF876r9lvReqXDuG3FvfbBwaXSr21b92quKfo8E9XzXdRcIvDfK1rP5rRgKM9S6jjbuAfkn0BXC1HUAujP98N3BuS3nK0w1C+qBqKt4yT5R9F3fZ32Q6X7LJztVmT7v+RfbdGn4vjXMnJ/F5Z0Et4qpHkh+MrY2m9ObKGyuwc91xbLxHJKAzln630WRT3eklnMMcw3N+q9RTuITeDs1LSnOGnBOOntRGncyWOba5vIIK6y8nR+ubW+hv1IyKd7cfMMAHPuQBkr5+o7/PTYaJMj0W5ptZzx4Dg4ftXz/wBpfs3sPaCu7ulN0qr7rhnItbfqPR7j3np09L/JmJrToXZLdVB9ouzZRJy1x8gz+1R7dund8tEb53HdCDzs5H8FKN4vkd4tzmyDc6Ib2+/HK4Ok6hVlPM6Csm/veMnMEvLT+xfP777OfaDpq12s41ku3DPe9K+1brvTZKHUKaqR742f9/U4qoZM2AMhjkc78JwwrZ6V0fe7tKHOoy2JzvxOHAC7CHXVgqYpKhtoooxnOQzAWPc+prDRiC3yxUrS3bth8u4fVcOl0D2jvZ+BStJRb7y2SPTXv21W9Sg42VvLxMbZ4NzVVtFo+3Ot8MjTNI37yRnAb9FEGo78X1r3QTeTB53ZyVRe9XyV3iwSScZ7H1XCVkpM5dDIXEnIb7BfYvYr2HpezFN3Nw9deXL9Pgj5DON11u8l1DqD8z7enwNi++PEo8R+5+fKFj3a5TXOGYOdtcG8fRaseE2Z8sh8SRvOArkwfURPmEZDndgD6L3XvEM4OhKxpSXBFepLvJHM6nZK90jSQTuXPeI2Fwky4biDk88rcauthpLq47C7dySfRaN9PM/EL5AIh5t3stW6uoqOmJfQt40ViKNhXCSaCOSDBkdwePRY7rZVQOb40wcHDsD2WXTSU/gFtK8ue0bcrc2CymroZ31Li+Rwy36LRt671F8kc5HdJbdUtkbKWmI+nKkbR+oprpURBu4AEZLvVcXLaKCnnkbI9rnD8Q9vzVdvuk1NN4dBKGNacZbwu7TeVk16u0GfSFAyPa2okqewHlCt3XUjaAOMbmkP7cqK6bW1wpqZrA/dhuCfRc9c9ZV0szniVpDv1UzhZOPa2qrTcp8Hd3/qJWsjcKQNBDe31UTXe7VN2qzJUSybiSSGkhW5LlVzTPLpQN4/csCacsqWN8TLiDkha/vOdkdmNCEOEZkMkkji2IlnGOVTJGInjzb39z//ADXjZywufTEOJHJd2CwXzTy5DZScnDtp4C1K1dvktSNlRxPmqjJJJkN9M9v2qWKCJrLTB96WgjkZzlRPaqaRzhCHENe7k+6mG3UsMdJDG8ZwBgHsqZVJTjhEsF2lmp6aB5YA557cKz4085aHlwa05wOFeeaeF7hHEQccn0VqSeZ7dsXDcYyFy5vS9yZ7O6PwXPDW9jgHlRBqaUOrJ3OeTjPAUpSsbDSSOkc8nB9VFF4c/wCYnmczcwuw1as9zKOTnrmRPwyHLl2ujKp9dZ7nTvf+GkmdhrcfqOXIGnLpnuMQ59T2XV6JxFTXUCYDNFN5WcfqOXPltIn2IXyrT1cVDlXcvVER5LSIi4EuS5BeO7L1FEyUoiIAiIgCIiAIiIAiIgCIiAIiIAiIoSAREUQEREAREQBERAEREAREQBERAEREAREQBERAERFOICIikAiIgCIiAIiIAiIgA5VS8b3XqAIiLKAREUget7qV9KTyP6cmlbNhraiQlv5kKKG91KnSioE9kvVFNEHMhYx7ST2JJXVsOSqRojCWgiCVzuVurFLPFURvIewscM/Va18hjq5GENa0H1WfbpXPnaAM59fRdmT1ECbbdM2S3NmeQAWjgrIY+Yxt8KIAei1NirCbZFEYvEIGMrcNl+WbmWIhhH7lmC0vJhmXGS1gE0bR68LEnc5kzZRjYeCq/mojh7HFzcd1S9xijdNHI12BnBW2paiJyEtZNTahe4MIBOcrO1nG+s03UGlqA2R0ZyB3IxytVrCWofUx1MhDI3cFzO4V2yCCvoX05mfLnjn2Xa6etyuZwXRiinfriDdGS2Jr9/HA8pU43uoNO18kbmPDBxlaSyWP7Fk+do6dkZI5IHJVrVFbLPTCIU7xI48bcrqzgpLBrwq6pNGfYZW3Jr6mbykHBHoq6uWGOqEUD2kEEnBXB24XVly8CSoMcXpzjlbaks1ZTPfOaovDjnJPouBXpOM9zZT2NxUaipLQDDJNEGvPJeeAtPfb5a7rROgpatge0ZcWngr3VOg5NTWkPoqrw3tIJOcZ91yMejqi02qro2zOknaC7e44/YrViUMDucxqW/0T7c63ttbS88NqCOT+XK02lnTVFfFSRje+U7GtPYA+qz6aCjrrS6iusz4J45PuiG53cLo9GaPrbW91wqGxk7h4bg7JAXPlBqZLJKNXU0tptVLZ2zjx3sGWt7gkDKjvUFMaqveyUOxEOXBdZNPRePAXYMwwCXFV6us1G+ibcPEbC4N5we660aLnTIZwyjp3e7NbQRUtwGjIJ7ErrNRXi21NH4gqYnPl/A3PYfRRHbGOmrY4IZDIwnkDuf2LP1BDPRSRwMle14PY+ihSTpS3D3R2djkp5Y3xO4yfVYlBYxV3eWV27Yx3H15WDo2vml3074S8MHcjGT+a7S0se0OkMAY5xIwOVvVK+IkUjLghmixl4bGwY5VcNTE/MbWeb8O5eSzsIaJWFwb39Mr2EwOlDhHtcPwtHquHUlqkWpFQpKp/lp9zs+vqnLZ2xPLnkDH5FevkrqYOfGcA+g54VnxnGRszWEuPbdwMqhsyZDqOQ4fJOQwk5BVLmygFlN4j3Hgcdljh1Y6V+4Eg8uxyAs2muMlM+MvdGBnO31wp01lmGZtrtFTPUU7JC9mOXOI7cru6asbSxeCwBzW4BkPfK0VZX017lpXUkD4oQAHkNxuWVU4g2OYwtibgd1tuo6awRxk30V2hhBlDvMPr2WrrNSVjp3ymQOj/AAtIK5mprMzysiLnMPf0VuKoa8+E84a0ZGSqp3EkuTKRuvtStLn1MpLmnuT7K5FqaskBbBGZWtIA+i0AuE7t0bi2MAZaMqzHVzUxLGsww8l3uVhXLlHDGDrHahnfCHOcGS5wWj2V03KKGmacOy85Lh7+y46IbN080xAdk8crLZcg6nLcl0YHBPBWKNVqQaJDs1+kZAwmbduOA0nkBdjSSGSJri8O3DKhC2VbY2GYFxe38AJK6iw3itnnZJVTujDHDyj2XXoVcvkg0SvRuIf+JcT1CswpoZK+Bpla/OW47FdLR3CCpaDC8kgc8LH1CJZ7TUNiAc8MJAPbhb7lHGWa06CqSyyChW3FsboZnPhZ6D3KxZ7rUktjZO5xAz34VE9XLLUvfVkOa13p6K5O6jqoNwAa4DAcFp1LtRlhFsaEI8JFmnmq68k1EhJb3/JXnQOcTJEQSAAAvHthjj/vR5Jxg8d15u8EtaScuHP0Ual0nEmomLUBzZA3ZgkcquBjKd4lle97gPwDsVRUYieNzt2e5HcJL4jvLC1xa7gkjlcuc3nJYcjrukjmidUSgQkfqepXAeHKYCxoG0ZJLlKGp6QQ26SasaDxgZPKiKoex073wVDiM/hHZalSrlkkjJt9VskMYi7HBAXcWupkt1IJGgGNw5HquDp6arqW+JEAAD3XR22esEZopHNcD2wcro2NFVPMQk8Fq/8Ahy1j5YpBFvGcBa2y0rpKl2x7nvyDldFQWh9WdlSMgHuOSu7tOk6VtH5Iwx4/WLecLuRWlYRzLy6hSi453OIqGNp4HOk5kxywLl6qpzv2Uwy3sPZS3WWCmhLmTPbjB5dxlcXX2cP8VsUQDt2Gn3CxJeVor6dWVRNI4w/NVQbk7X4xhvssiNskQ8NzGtJ4Lz3XYUmmpmR5MTCAMk5XlRYQclsBkOPTsFylFqR1snHOp2h21jjJkZOFdggiDfCbHsLvX1XUU2n5HNDTC0HPOSsh+nYIngHzu+nYKat3VeTGcGDYaZzKimpC0Elw5PdSrBkNZGxm4AYLvZcZoy2Okub3mHEcQ4J59V2gmbGXxNOeeAt3wIwhgrjUUnhFqoezaW7gXE44VtsQA85wccYVufxoTjDWNPOQclUOnbEw8OleT3PC8zdJa3g2I8FmvaYqOV4ic/APoofvk9RmXLXNGT5VKl/u81Pa5nOeIwRjAGVD96r2tbvy5+45zhaTlgmkav5rbluHHPcFdNopoZDdJAACaKbj/wCBy5HxmPdua/GR+1ddomFj6O6PO9zhRzc4/oOWjN5kSRDSod/tVaoeqrheQR5LSIi4M+S5BERQMnju68Xru68QBERAEREAREQBERAEREAREQBERQkAiIogIiIAiIgCIiAIiIAiIgCIiAIiIAiIgCIiAIiKcQERFIBERAEREAREQBERABwqu6pQd0BUiIsgIiLOQejupH6RVEZkulveRuqYW7RnGduSo4Hddd0xmih1bTOmdta6ORmfqWkBdOxe5VI3FwDBUOifFnBxkJb5DFLy7bjsFmajoa2juMsDWtbhxIJ7kLWfKVDB4z34wM8ldt7LJAlrQ9zAPyc5bwMgLrnzDeXTYLPYcqINM3plFJC8xl73naSfbKlWDwZIWTmXBcAcKSeQVNMD5HNiyG+yyWGmZC98mDxw3KxKiTwwDFED+Q7q5FBBMwYBbK/tn0V8CBoNTwQ1dvLQwsIO7kLkbZcG2yRsrpSRu2lrV31XSVE7HwVYJb2Ud3W3G21bi84jzxkLsWNTS8EJolWz1UVfTxyNlIZjOCO6vXaCmgLJxCXvd6dwFpNEzQ1VMyEPLhxg57Lob9i2tiBdu3Hyknuu63jc5Vebo1co5urp6OTMjqctcDnha65VtRRUxkbA4taMjldLKwD++HM3B36vote+JtUHxzRFzXdh7LVuaKkso6MJZWTgqTqxNVVQsfywgZuJ8QnGSPRZNy1BPUvNPvjaHjDjxnC0nUbTdBQMNbS0kjJgQ7cBwFHrLpX1FVE507i4ENGD9VyHGUJYLCS6TT1FfQA2LaYpMh+O/wCxdTd6ikoaVoAMbmNA25wSR9Fc0dQR0lA+aTLpAd49hwuf1hUxVdT4wDi9vd2eArlBN5YbMOS57dtVPC+Q7shrc888LrhXQ3Sytlqg3O3BjPBAUewVFRB986pa4HgNIPC6KyNnqNxkbuY/uT6LpQnGECtoxbTFFBdXTAeCxhyCqtQV0l3uIjpXBoHG5w5Ks3WH5Ope6GfLPf2WNRsnqHCqewtjiPB/nLm1q0XLYsSO5goaXTtBBOK2PfIBubkZ5XSW65w1tK1kOQT647/tUMXi4T1VTGJZz4bTzgHIUt6Pnp5bVE6EtJjbyXdzwtepWyjKRvvkmRRsc6cfkTkqsRU8bXva1xd7rALjUTb3s2Ach3oVksnnyBtLwe5B7BaWvckWaasqJS7IwAccq/KJ5omFoADXdgPr7rHjpJfFL3S4YTklZNXWtixTQHBaAcgd0zqYL8rpZXMhiZtwAHlaq5SQU1S2nhbvkcfx5zhZM1cRE6LeWSFuSe2Vg2vM0rqqeMHnBGFdDysw9zrbJXTtgbTtc3yY5XT+HSVVK2Spn/APwNPcrgDXwwSB0Dw1p8uwccroqKM+G1zpwxh5JJyVveF4sckc4L1VJTM8SSCDORtx7LSbJal7mPbtcznj2W9bGfHJa0uicCAc9yrFRTSMjzBEWveMOJHotCrRcSSeTUti4cak5e44HPYL2WpD2MgDMEdz9FXJRz7vDPL39ifRVzUDhAGwnLmjBJWqtjJYEjDAaZjCQ4/iJV2BjG/dSNO3AAI9FcpqF7WDc5oI5wrsxkk+6p4C0kd8cK6nzsCp8zWtbDDGMR8E+6yrVVVJqPBqPI30I7rCpKaRsTgSd8h7+mVtKeic1kbi8unzjyjsuhCM47ogd1o+eeWRztp8IAjJPJW21PXCis1RKXhpLcDn3Wr0xG23Ql9ZKWA9tzlw/UfWgM3yZmaI2PLRx39Fa3UaGxydRUU1OJpWDxnv4wsJkUxj8VjwHE/gx2Cvx09PhlQHEkjJA9VRNLLFIJaVoLc4dkchaFZyi9ySPQ6SjAw0v3c7vb9iodUvif8AMVLs7xhoA7K588yZhbGSZHHjPYK28zh4LmROYOHDaqnVaRnBbBiDiXv3b+QcrI+8jg8fxRkcgA91YM7WH5d1KzZu5OOcKmoDoXv+WAfGBnn0Ws7h8GcGj1xcIHWtvjvI3emVGMj4vDxBC1gceSeSun19LNPURQzOaGjs0dyuSkraelG2eN3JG0e6isyM8HsENd4o+9LYvpwt/QbWR5ikyR3A5K08dZUSxB7YAwZ8ox3W5tVMyKT5mWYROdztHqu302bg8Mqmjv8ATVHDNC3cNpPOCeV3VJRFrCxjjktwOMqPdMV7ZpGloy9vl3eilayUu0tdJJ4hc3OAqvaK5vbeEPdFy9zwfVHONZpnOVWnyGPlq5DK5vOO+Fzv6P0ktW6aSclwOWs3YAUm3Gm8IPkbFtbjnJXD/Kx1FdLIIznPABXepanSWvnG52OiReltmMyhMb9jgNmPReVFHGx7fDj+7cMHBwtl8o4tbG07S3nC2FFYpalu8M8vsfVRjSzuzt1riFCOqbNDFYZKsbaNhHuTyqKuxQ2ylkMrnFxyO2eVINFQQ0EeC8Nfj8IC5u8zSVlwjoYYQQ5/JI4Xnup+1dj0usrf70vRdjyt71qUpaafBr9K2iagtb65sBeZBwCVaaamQEOY1rnEkjjhdrXRSW6iFIWhjQzggYXE1kdS0ucOG85cSu/Vqrwda7o7XSJSq03KRTM5m9sb8vI9kFM17XbOP8o4WtgqHPe4RS5LTyVTdrjJFSvcGucNvJzheVqzcpHcOT13eBHigD2kZ52jP9Sj+6VMLQ1j4y5uMcDC3d6limc2Xd9685wuerDPMTFtaf8AYtWosLJJGH/e0f8AgYnO9Tldjo+SUWq5vjc2NvykoIxn9QrixUSsJY2Pdjg4XYW2qFu0dcK58YiDmGPPqS4ELnt5kTRDSocqieFbeVC4n5RFFCIi4kuS1BERQMnjl4h7ogCIiAIiIAiIgCIiAIiIAiIgCIihIBERRAREQBERAEREAREQBERAEREAREQBERAEREAREU4gIpU6JdMtDa6tOstR9QNR3a02vSVBT1j3W2mZPLJ4kvh42vIHsrmqLH8MtPp+un0hrvXFZeWRE0cFbaYI4JJM8B7mvJA78gLkT65bxu5WcYTlKLSbjCTim0msySxw036G2rObpKq2knlrLSe23H0InRSXonpppkWePWXVy+XCwaeq/JQiihbLW1js48SKJ5AdECCHOzwcBaDqB0/rtEVkE8dRHcLLcQZbbcYHboqiPvt3Dje3ID2js7IWxT6ra1bl2sZebjh4bXKUuG13SeUVytqkafiNbfn8G12T7HJoi7npF06pepGo3Wuuu3ylPTx+LJFBh1ZUjtsp4zxI8HBIyMNDj6LZu7qlY0JXFZ4jFZZClTlWmqcOWcMilCg6O0bGa3q75qKOO3aXpZBR3ClLZKatrgGujpg8/rFpPA58pUXqu1v6F65Kg86cZ29Vlfk/p3M1KM6WNa5/lsEWy0zao79qS02OaV0UdxroKR0jRksEkjWkj6jKnbV3Sj4YNJ6wuWgqnqRruS8W+sdbzts8HgunB2jzb87c45wtW/61b9OrRoVIylKScsRhKWyaTbwnjdrktoWk68XOLSSeN2lv9T53Qd1N+jfh/sbNa6/0z1T1FW2ym0Bbn19ZNaYWVD5MOYMND8A8PC119sPwtw2asm07r/XdTc2QuNJDU2eBkT5ceUPcHkgZ9Qtde0dnUq+FRjOf3XmMJSjiSTXmSxumn8ibsKsY6ptLnZtJ7bPb5kRovovpb0e+GzqdWfYlD1G1vDdKe0z3SrY60wCJogh8SZrHbsnsQPfhRf1HtvRehpKJ3SzVGpbrUPkcKtt3oI6dsbMDaWFjjk5znKza+0Ntd3bsoQqKaxnNOSSTzhttYSeHj1FSxqUqXjOUcP0kn6dvqcIiIu8aR6s+zz/LXOkn37QyZhJ9huGVr1dYVv2csSK5ImHW/hVlwjr6WTxGVDA9rh2wVzEsb5Mtnl/IBdPVEXPQ1oqqSaM/LQthkweQ4DnP71y00T3ta14d7Zau/J+UrM+icaVobG8Oc3kAeilPR99t9dSsp6k7qhowWlRHTQQte0Gdwd/S4W3stTPb64yQZwDkkqFN5BObJYY6ZxjY0uHYLXUl1HjmGel2yD8LvZa2y3M3Wly5oaR3OVnQUcUcmSRuz3ytqLItGRUfMVLhKJM7T2C5jWVlqqynFa8mNrOCPcLsA1j43sgcWu+iwJojLC6kndua7IJK3KMnF5MNZOC07fZLZUCnhwW+rvZdhcpaq5RwT+O+UMdkNB4UdakpXWS5ObTPDm5z+SytOazractpJgHB7uDn0XZpXyUcSKZU1LklSnlhMIjkazOOfosWpq4baPmgxhYOSR2WPT3SzupwKicmRx5x6qmqtENwY6OCUhsrSA0n3VivI1GNODR33W1ovNDNa4qJk80vl3n0XF23ppFDVR1zpi1m7IH81ZN70BcNOUk1bbHyVc7ZN+xvJwStTS6q1VcS23w2/Zg7XnnhYnTUt0ZRMVPFE23PhpwHsDcFw9VFV6r2Nq3QVEW8bsfku9onPtdicHS5JbucCfVcJJTipe+pmaxwc485WnOel4JJGMKSjDG1D3Eu/Vb6BZdJV1FOHCCbJfwAFvaHTtGYhUyZ2FufosKohloawSQUgMMnAefRWzUnDKMI04bX+M6OYeJuPm3fqry5XaMNbRwtEMbe7vVZ9ymmp4yyFgBcfM8LnZyJGFj2Nc4HlzjhcOrNxluWpZLkG0xvmnqGgfqj1K7HQl/fKXWucbWZzu+ijumNRHMJHlrWjPGVtaW4uhnbWMZsawgkt9VU6uRgnZrozD8vG4BmMgn1Vchmgp97Yj5uMj2XF2XWcN5fDAyLbgYw3kuXWxPqTH5z4TXdgfT96xqyMGVT+eDxZW7Wgcg9l5FVUj3l8Tc7ewHqVYl3ysEEYBaOSM917mhp9oa3Yf6PISMnky0eVLKeYmprPx/qsK9gufycAApNrM8g9kc8MD5iNzcd/ZadvzF5HyzaxkTCeSSAV0qMdS3K2Wq0PuMss1NKxjm9g1VWnWD6ORlJcXOL2HAOeFgPhntczoYXb34Pm9CrNgsV01Fdvl6aifJO45axrc4HqVvwnoWCLRMVlukE1JHLGQ57iSQto+9MbsdUwtDAcbfVY2kej15pZI57rcBTtaNzREdxOfQgrRdTaS66YujKemLpo5vMJXDH7OFRXkpLYyjpJayy+I6WaNoOPI0eq09U+Z5+aiAiYO7PcLiqmvnq2OeagmQDJAP4VgirvUUzCKp0jPUE+i5EspkzvIa6COowWtc544J9CtnBOyTLZJwC3Jw32UczXqafDQ0xuBA/NX6bUEltnD5N5HqfQhW0ZeYMkF0tMYXeHLtbnn3BV2iuFRTtw0jaefFco+qtUTiY/LUokim9QTwtxANTVdGJaG1VFUNudkbSSvSUNMolL2N3e9VP8FzparLWHjB7qPrtXVNxqmGQYa92R+S5u81l+hrXMucEtIwSDMbhgjn6rb1N/jiomNhaNzWjDvqrko8GNzpxdrXTw08TGDxCA2TPcLHrZ5nvIo5AIe7ifRcrRF903TVDnl/cbR2W5tVqnhkL3Oc5o9HfrLnXlJMnFmxp2T1MYdSNGc8kq5TxSRyOfVTbTz3+i9fGYy0x1bISPxDPIXprrfSS7SfHfjOSuFUTWxaiwZ43F0nhFwHZx9VhV9yfBSSTuyyMN5DVi3++S0YdNDTZje3jjjK4eq1qbjHJbpwYj+Eg+q1tOWSNJdKupu9wdK6oO7d5dx9FTVxtmMW/ks7qkUTnTCUvy2PnH0WHWTTPeZKdp8vBC2oRwRNo2upxE4ODyxnBx7q1DcPFnDacucQOB7LFpqqCqiMToRuaOR9V42StpXZhDYw7sRyVt0a2hkWsncadqKyKsYCS2NxGc9gp2sFe+ChaSGjAGHjuF86WS5GAxeOS5+cklStbL1XyRsex2Y8AAL0VGrGrFHJvenxuXq7ncVVxdI173SF7jwGu7FabMVO50xh8JxGSfZYFRdZQ0Rv5Ppt5WzoKR9VHmdmdw9VscckIR9xp4L+km019qXiNxkxxuPY/ku9ZbIqSBjPDDCO+FpbaKC007GiOOMYxkcLFvGtqaj3QUlSx73D3zheN9srrqFvaJWSe/LXJ5XqVxWqyZc1DdbZSMfF4x8Uey5mwXOlrLoS2DJhO4uctdNd2GWSedu/xPxZWTaqqlgoqiSIhjpPwZHK8J7Hezte/vPe7xPRHffuzQsbSdxVSZsNR32trKh2HgMB4wuYvImdStM1Rlj+CAVll7thkmlDiOxJWsnpZKp5klldI3OWgdgvqPUrjPkifSrWhG3pqESigpKiOExUR3buSsDU9JVxWZ753hhHottBPLTu8Pwdnsfdcb1BvdMyD5KRxLnckZXCT3NrBwhmeJHvklYGtHcLVOdG95lDnO3HueyymzER48IbT6+qxKmMNLXNqQGn9XhQqvYyjwTwtJa1nHqt7qYMg6bSsEe0zTRkfXDlz9LAx87WsAkcXDstx1WdPS2GzUmNjZN5c0euMYXPxuSzsRae6tuKrd6q2e60buXYnE8REXMxksCIiwwUnkoiLACIiAIiIAiIgCIiAIiIAiIgCIihIBERRAREQBERAEREAREQBERAEREAREQBERAEREAREU4glTon1IboCz6zpa7Qc2pbZeaCnhrNkr42Unhy745HuaDxvxwcA4wu6s2ubl170D1Cj17bLNjSNgdeLW63W2GjfHUCVkYL3RNBeNrjweM8qFdC6/wBQdPbq652M00zJWhlTR1kXjUtS0dmyxE4eAeQD6rptZ9ftY6zs0lidaNOWOmn8tSbHbG0T6ln/AAchafOzODtPGQF5DqfQ6lxfOvQoxUpShLxdbzHTpTxHGzcY6W4tZWM8HVt7yMKKhObwk1pxs85xv8G878djoesn/wBJdGekFZb/AO+YLZZqulrZIfO2mmfVOc2OQjhji3kA4JCtdUwaHoR0tsdaPAuNM+6SzUknlmjZJK10bnMPIDm8gkcjsuJ6fdU9S9OJZ/smG3V9HU+aW33SlFTSPfjAkMTjjeBwHdxkrRak1JedWXie+X2tfU1c55c4khjR+FjQezWjgD0AAWxa9HuaVanSnjw6VSdRSzvJz1+VrtjW98vOFtyV1LqnKEpL70oqLXZYxvn46UaxdH050zqLWOtrVprSlS6nutfMWU8rZjEWEMc5xDx28od/UucXQ6R11fNENuTrAKWOouVMKb5p8O6emG4HfA/vG84xuHoSPVd++VeVvONsk5tYWeMvbL9Uucd+DSo6FUTqcd8ckrdXLZfL7oOys0pap/0X0fA6gfVOaYZ7s7e57q59PjJa0udH4vIG0DPooIXXs6r63bo+XRJuzn0EpLfEdkzshOd0DX5yInElxZ2J5XILR6LZ3FhRlQrYwpNprOWm8tyz3bbbxt2SSwXXdWFaanDPCz9PT4YOg6d/7oGmf/fNF/27F9A9c+ovRO0dZdXMrOik9XeKS7zl1f8Ab0zA+drsiTwwMDnBwvmi03Kpst1o7xRFoqKGojqYS4ZbvY4ObkeoyAs3V+qbrrfVFz1dfHRG4XepfV1JiZsYZHHJw30C1r/oi6j1KFzVbUIwlHyzlF5covfS1lYT5f0LKF34Fu6cUstp7pPhP1yT/wBC9efpXc+tGvuoVsF6FdpWWpuNLHJ8uKgeNENoc38HAHI9lC3UPUGgdQVdHLoLQkmmIIY3NqIn3B9X4zyeHZcBtwOMLI6X9WtT9Ja65Vum6W1VQu9GaGrguVGKmGSEuDi0sJA7gLpb58SWqL9Z6yy1GhdAU8VbC6F8tLp6KKZgcMZY8HLT7Fc6l0q66d1SpcW1HNN6FHFVxSUYKOHTxpeMbfTgvlc069tGnUniSznypttvP3uTcfB+f/6mXn/kffv9TeoPHZdFoHqBqHpveai+aafTtqqqgqbbIZ4vEb4M8ZjkwM99pOD6Lney7ltZVaXUq93LGmcaaXrmOvP+pYNOpWjK3hSXKcn+OP6BERdY1gq2FUKppwVsW8tMiMkSv02lNz0pcrLCW+JTk1HPscBad8tTSy+Cxu94PPGQrfSS6/J6jNscPJc2eA5380DJ/wBi3F/ofsi4zU8UmXOcccL0kJKcCk1UNY5zzJVhox6Yws75tsrWyROIHbAC11TBFG8CbJc/0BWxt8FO6BzQXR4BI91XGWl4Bv8ATdzniuEbGhxY8jILiAFKXlDWFkef2qD6SSeCcSMmO0EYCkvTmpvmQKeWRpcBjBWxB5MM6pr2MLmxzgPcMkYWPLTyVUR3yBrGnPHBKviWmbGKjwQ9wHOPVY1JcjVzPifTbGA+XIwtxTwiJz+pLRS11OWY528cclRxJGLdN4TQ7ew+rVN9XQ09XC5vlY4N4IUXajtjqWeSeNjnuPHJ5UlLKBrmahkge10TQ97TnzHC7ey6jq5oGv8AA3ud7KMHW4CTx6hzhk5ADlJ2kaFr4IWQlzS4cl3oq1OUWDefbcbIthp3PmfwRtzgLUOht8D5ZzSgPf5sgYXXUVtEbyXRNcecux6JWWW314DYx4YyS52V3bWupQ3K5LcjC83qF7nQUrZXuxggZwucc6oimEboJGsIz64Us1GibTA176EudK45LieFzdz0le2vIaGSM7jAWrV3nlGUZGnKplVSNgcfIRgjHKv3WmpxQmN0u3BODhYGlaOrjrnRzwmEcjJ7EqvUrpIy6CQeVpPZbNOstOlmGjhb5NO6UQwtcWDguz2WDbHYqC2YB+RwCVt62NsbHBrt2/sFoH22ulqdkMwiLuC8jsuVd003lE4s2VTIyaTwoqcMc0ck9lrLhVwwBsRJyTxgeq2MjKlkYhimZLIPKX44WM6khdOI6kh8jRkuxwFypZiywyLDU1VrrWV5dkAZwBhSJYNd0deXMqtzWj1PYKLhVVdRL8rQ7XsaefLyVsaW2XQM8KKJzd7fRhOFbTeTDJgpNRUNUBT08jS5xwHZWyd4UbPBmZ4pIyNv9oUWaTobrHM6OWnLWNOdxHdSUKWcwRzNkcxrQBj1K2FT7mMnvixktic5zADjGMj96xK51poJxIfE+mAcErMm8GlhdPUytDeTtJ8xXG1l5qrlUGhhg3+I7EQHLuVv26zsQZ1ujNH3DWmoI4qCTbSh26Z7jnaz1/b9F9N2nT9qslNFDRUULHxM2+IIwHH357rn+lWio9Habhhma01tQ0STOxzn6fswu0cOCQM/RdJ0fLkjkw6qsipi0P3EuOAGjJXI9S7HJebGJvAaX0jy/g84IwuuipXtkdPO4PkJ4wMAD0/asW/ip+x6oUlN483hnbHnG7965NRTjLcmj5Zu9oqaCUthc5wLSTg+qw2TV7YnNfK0bfcLraqC5sjkM1IRI3JAfwR+9cpVSGWXw549r+chvYqDp6jOQ24NDAJmhxPAI91cgkbUM8OpYQc4BHKsOgZC3MjQ0cYwMrZWSzuqZ/mRUkx9yCOyyqajuYybSyxhtY2F1MXNJwDjsvo7TFFBRWenZHGGnZyS3BKivSFm+17zTNp6V3ykWHyPIxlv0KmZjQxoY3sBgLp29TbYg0au+aU09qGkfR3O1wSMkILnBga7I/pDlRBrjpbbdM00lbS08ktEc4Ay50f9qnJ0jWkAnGeys1lLDXU0tHUMD45WlrgfqFKVfQxjJ8paYMdFUuqo3MeOwDvT9i3U75pqk17pGBh7NbgY/YFz/UexXHp1qqWmgp3uo6hxfBI45G09h+fCos93krZDBUMMfGcYwpOXiRyODbXake5pqWSFpOPL7hY1M57AY5oThwHIGf4rbU9FTO5nqXODh+EnKxpbhHAXRNiPBwCWcYXHqx3LEWJKanG2OeMvieMYPOFwGr7VRUdU6WljAeRkcLsKu5TsmY+SZhiLsABqu3izsvFK2pghYXsGQOOVQqfcyRNLWVT4dszAz0JAxlWo5mUz/AOCx4ySQujvtgldE6SZhjeP1QuXlp3lnyxhk3HgOUZSwC9I8R1DXNe3wnjGGtGVVHS/eyR4kO/8A54Vmip56eRjJYXPwcZwurdbJNsdUOPUYCzDLBoKW7RW2uEU0BcWHGCF2VHqh8rGuieIo8Y2ZXMR0NXWTOc+iLjnh21bq06Lr535HDXcgEdl0KFdweCDR1kF1ibTtngmJee7XcrPh1rLS07XU0TpZQcHJWDHpHwomRzTFj8crPorBaKcOBfISPXdnldmF3FR8xTOkp7NGsv2utTVDcw0+1mOWjkrmotX1UsgbMH+K05I2ruZYKKPeRE97u3soy1NQ10NW+engfHuOAfdQ9/pcM1anTaNVbo6ajvbbnUMgjncTkbmruYGt8KON78DGBnjC4DQ+nZKYiuqpW+JJzuIxhdlcIZGGMMnL93sFXUvoJYpk7awpW28EbCWWOkcYS9j2HseCvHVEcIyw7mnsGtyrEEETWbAzcWjJLzlWa+6U1tgL3mNg74XMrYkss3UWbrcoKRpkla4ENJyeFE2oLhU3Stc6Pwi3Pckdlmal1PUXuokhbI7w2ZAxxlcxEY4j5txdk9yuZU2LEXpmPDtr5Wkf0ViSQ0Xm+9OexHdWXRzuqXbptjHdladEGPcXOz7H3WnOoZNrYKSKa6QwQy4JcO6x+slfUu1DHaZJWvhpII3M247uaMrpNCUdD82aypwGRtLi487ceqi/U1dJcL5XVEkviDxntY73aHHH8FUnkzg1LuytK45W1yrp7lkQiItMkF44+i9VKizIREWAEREAREQBERAEREAREQBERAERFCQCIiiAiIgCIiAIiIAiIgCIiAIiIAiIgCIiAIiIAiIpxAREUgEREAREQBERAEREAREQBegnK8RAVIiIAiIpxeGYZn2qsloK+nq4ZnROikB3tPIGef4KWNYyU9wlpr1QRukgqWBzZfQ/wD/AGFDjCpl0lcXah0Abe5gL7V90wDuW4zn+K9DZy1QKpcnNzNZ4PiPhLpB2xhU01RXyO58rRwMlY9UZS90JLmtzgq3G2KlG8SO49SlR4kEZr4a5rwS8gF2e62VKayjPzVPKNx74WtZLJWRAsDz9VUZTGDG+eQ49AAradTBFkjWHWBDI4Zm75MYPPC6yKqFQRJJG0lw4A9FBcAfHO18dQ+PPqV1tDqqrooW07p2uwPxZ5U5Vxgk8Opi8O8TznII9AtTdrMyua+RmAeRx6rRW/VVNs8SqcPLz37rPdqekqziCoYxo8x2lWUquTDRwl7tVTanumex2wHAyF3ujtRU9ZRNpgGMkYMHHcq5JerZdIfl5/CAPG4+q52O3yafugr6SHfTvPmf6YVsnncIkuKqmkYGtk2NHfHcqvx4mbnvppcYwTkYWNa6mKviY6n3ZIzwEqYZJZCyabLRxhX0a7jsRaPJauSeMQ09NIYhw4ghXo21DIdzd2xg835K29jaQNjp2hxl4I9lcaHwjwh5c9wt6nUUuSLWC02np6yN0pp3NLfwkcElauv08J9rqppbu9HrfeFVO5wS3jACpkZI526qe04HAypTSW6ByFdoehDBIyVoe44Ab6LBq9AOc1xbJvj9dvddm6DfJ4m1vhj1WQyqp2RmOmDnOIwchac5atiSIyk0aWh32bSyN2DlvHJVlvT6vnZ4k4EbT3J7qTRFHN5nTsj5/DnurU0bppS1rMtYMAt7LTnAkmcrY9CW+1szFCyR7uXOcMldTHDBRxGKOBgLhhxYOwV2BjowWlxcccY9FaaI4AXy1DsZzg4yqUtL2MmC2sgpagtfFuJBDQfVVy3Wpka2IRPyT5R6rJFGYC6ocWSOk5aXd8K7EyniaG/JEyv7Px2W3GptuRwaWrsD7jW/OVNSQGgANd3yt30y0jTTdR6Iti8VtIRNLuHGOR/tVp7pIJgHSNAGMgnlYtBrK8WDWtFVWKNsjA8Cojdw17eeDjlbVvPzEWfUNEyqN2nc/f4DRtZnsOB2W2xn0UZ1vVoTUbYbRQONY8eYvGGt/Igrd0fU6zstTH1js1YGHMZ7r09GKcNyiTwdc5qoLFzlr6jabuJLH1QpnNHPikALa0mpLDXv2UV1p5j7MdlU1reEiSeCNOsoZS1VPJEwNMkZL3D15PdQJfLlUWuodUxsMsR7g9gvo3qzSUdyhYTVRxyRxloJP1UT2qy265OfQ1zGy4zjPZc+tRUVsSTIro9W3K71YpaOmLi52MAdgps6VWl1xujKO4U+Y8ZkB9Vz36NWTT0jjTUkZlc7h3tlSJ0zFDb65stRI1ssnqT2XLnPsWIlqjo6WggZS0cDIYmDDWNGAAstoysR1XTxkCSZrSeRkrW1uutJ20ujq75SslA4j3+Y/kt6x8zwyEjdzQtlZteMjOR9CqQ3GByT9VyFP1X0/UzGFlJWADs8sG0/lyrkXUW2zV5g8JzIMDzu75/sW3cUEtyKZg9WNMUuprBIyqohJ8r94x+OWntlQTVRMoSzwoY5i07cgclfQesdZ2ak05WyUtwp5pjHhjN34jkL55leXUzpZJHty4vaAB39lRKvGEdKJY3MmCqnmnY6CIQ7ffus2Wo8TczmVxHmYO6sQimexs5aW5GN/ssmHwhUgMl3HGQ8rlznl5JmorLXS1EAMkXgYccD1Vy3UVbDE7++nCPOcE84WzqYGyBzqgNcScjCtCmqpZQA5rI2DIJ9VdFpowzXVFJR1dR55hgd93cK9Fpq0xsdNO1lQX8MBHZZM1HBUODnGIvPBJPIVcVL8q3bJWMaG8jnutecMvYyalmmKE7/AA4QzDvwgYWfHp+jbCXglh9AfRX60PY1srA2Td/N7qu3VkbozFNC4Nb3JHIV9Og4rLMZLNJRPjf4VPE1wH4nY4WylimpYWEOaXejW+ixZWB7c0s7nA/qhY8fL3P8QtezuCq5S0syZ81RPNtje3cSPxKl9HJGwyxva13rhWGO+bjJgma0tPqe6yHxVEEQY6QDIycHuoyrvgYLUccz2kzSuyDxhae8Rvr5YqbZ27P9llVN3qKUuh2F3Hr6LnLhquGhieIXiSQgnB7gqnU2ZN46e3WyjcKprHlg5/NYFPrG3xYeKgewaPRRncb3ca+V8vjnBPLc8LDjnqgSGBgeewJKuhMwSPdeodK1xjpYXmT+d6LiLvfblcKlznzvLMcNJ7KzTzT7/CrWbiO+F5WNjkc3wZGw59ypTq7BIwm1IjY7eTuPskUkBy2eF78jg5CtSsxIQ9wcT6hVF/hxbXNLvquXWqk0iiSRlQ10Q8NpbwOOVglrd4jlkldzwAeFWWxteZ4nkAd10GlKOK6XOKN2C0uAK1o5myXBsaqaDS+hamsdA90tY35cA4yNwIyodcc5KkrrLe4prtBp+icRDQR4kx+F7jgg/sUavV8qeiOSJaeqFU8qlcG4eZFqCIi1WyZ45eL13deLACIiAIiIAiIgCIiAIi9Zt3DeSG+uO6A8RDjJx29EQBERAERFCQCIiiAiIgCIiAIiIAiIgCIiAIiIAiIgCIiAIiIAiIpxAREUgEREAREQBERAEREAREQBERAVIiIAi8JwV6DlZWwK2Fdp0wvptOoo6Z4Bhrx8u/c7AaCe/wDBcSOCr8Mr43tkjcWuacgg4IK7FhVxsyqSJN1hbRaLk6MNaGyncDnPBXOn7w7JG72j17ZXd2+optf6VEwizW0ADJvc8HGP2Bcn4DqeodH8udrOMErpVqepakRTLcNXK1gjgpCGjjJJR7xBJzFkO9z2V5r5p358kbG84JAVdRV008YiEYcR3LStTPYkVCoppRsbIHFo447FY8Q27pJXNwfdyUstLSEbKZxP15VuaE1D3A5aDyQAm4L7ZnznYx4DPU7vRXTVyRQCCnk4BwXDuVji3x7BmUtZ+eF46OExiOBrgG/rF3dTjLBho20NfNSENkJkLhwVmjUtW6D5eoO2LPA7rnY5n+MGE4aPXdnKzHPp6lwc4fhHABWwquxE73S+taIFtG+odER5R5V24no5WtdDUGR55yoHidBv27XMwc7sLobTq2rtbh4zx4TAMNIySpU5gmOgEeHTuaA4c7nFHNcZnPkcHtd6hchQ69o7yxh8HwccEF2MldNTXejp4g14Y58nbzg4W5CeCBkOnijYRTPduHf1VMVQ2aIh0T5XOPtgBHTw07DPK1uH9mt9VS6ta+BrBthJ7Fp9Fc6zxgYLpkdCxwY1rQPxNByqfmIXxkU7eRzgjCxw+nGWmV2Xep9f2q1E+mNQaemfk9vxcKuEssGUWweH83Oee2Gq3Gx5f4jIyYsE8khBDEXBsu4hp7A8KirqniVsMOQ0j0Wa0c8BHgp6mpc58hbHE3lo3YJVLXuLm/MQBwzwMrKpZ4Gx/eNc6QdgewV+KSia8Plflp5cWjO39y11DJLJizzSyyMjfTiGIDh2VXAGOqXNNUHtDexwD2VTJqaoqHSPLvBaMN3A/wBS8lippSXRcEc8DBWZRMJlkW6F8jjKSWOcS3ByViCOljrHOEYc/PYdwsmSfMOWAtLVq7ZK010tS5xcc+2Vt2uzMM6qhpIo4cipkbI4cAt7K74QpQCNxc88lwVplZiIyhmCByD3WM2rmkzUSyOOSGtG3gLtK6dKOCrTk2hdTxl8k7snbgMaOVq5amqieKm3h8WztyQqZXPja6Xdlx7HKsGdpw2WXcSPwg4AWv745MlpMqa7VdZTt+Ye5zuxy4nJWNazV/b0LAzbEfxY9eyt09PLUTYh4b/SPZdpoPT8tfd273Nc1jS7n0wthzVSBjg4jW01X9ohgaGRgjaAefzVunr6oRRw0sjt/dz84wun1fEY75K2qpWARktGQBke65iasp6Pe9rWEegBC4dem1IsTLd41bdaOHw6WulBHfLyTn9qo099pVgdUVkLaqYnc0ud2C0sZlvlZJE8tjYX43Fi7uzUlJQ0wAn7YBf2W1Zvw3lmJGfSOiqaJzpYzA4cYHosR1RUUTmvZ9+Scfkq6urEUg+Wla8EcjblYAMzpXPBIJHb0W5dXK04RCMTA1BPXMkLpHBrJDuPqFl0UNNU0bd+Mt7q1eZd9ubTzMOfQ7eVj0IeYgxsmwn3C5MczZYZMNIyORzPEc+DPI2q4TTUh8kO7J4JKsBkjZ2jxS7Pf0CzpHMlIpxEMjkO+qv8HJjIbM52JagbG9vwrFdG91QXRHew88nCyXsqpgI5wGtHphUvpKWJ4ayV/iHsC44VUsx2MmHVMhc8Hb9638QaeCFWBSeCX7HNOPwkklZD7YHvFQX4a0Z47let2B7XCIuOeHEcKdFZluYZZoh86DHGSAOTuGMLM+ShiZhpBeRgkHOVYlrXQTmRsIIIwQG4yue1Je6ylAfRxOY4HOM5W9XnGEMIikdK2NtKX5qGscOdpwrIZA4PmdU5D+CGtCj6bqAZGfL1sZbK7gO24yvHaxijps+Zkg7ebgrhTnllqR3JnoKZhbIwhvuThaK862t9pa5kFU2SX9UE5wuFuerp6ymLA5zTk/rLnA9k8Tnygvn3EjPKrctzJ0lfrO418m9hLdw5wMrSOryZBHVR7i7kOJWNBFNMRucWBnJwvXUhdMHTOOz0OVLUYwVVHgCbDGOaCO45C9pPCJe2V34RkO+qony04zub6YVt7o+BG1wJ7grHiYGC9LUSveWvOW+4PIXrKSjqm8PduaOAT3Kt/diMve4jccEYVphp85jc/Le2MqupV2MpF2lY5sj4pjx2BViacte6ME7O2SFfMkIbvy8udweDwsd8XmPn3NI7ZWlJ5ZIsMbPI/Yxu5ruBwu9tktPpTStVfKqJragMPgMdxvf6BabSOkJrlVtq2yO8FnmcCcALU9UdUi53AWKjDRSW87MtIIkd/O/jhbNvDuYkcTV1MlZUy1Uzi50ji45Oe6xnlVOOFZeVC8rKMcCKKSeV4iLztSWWXIIeyLwn0VZk8REQBERAEREAREQBERAFcOxsIaWNLnHcHB3IHthW0JycoAiIgCIiAIiKEgERFEBERAEREAREQBERAEREAREQBERAEREAREQBERTiAiIpAIiIAiIgCIiAIiIAiIgCIiAqReAr1AeO7o32XqYCAKtjsKhFdSqOEsmGjqdE6urNJ3ZlXDtfBJ5J4nDLXNPfj3UpX6xwXO0m+WJ7JRON5DOzc8kfsUEscu56f69l05N9nXEumtk5w+PP4CfX+K9La1VVjhlElgolpppG+HUHYQMHHqlJDR0eGAE5Hf1Xcap0qauhF3sJiNLO0Pa9uey4Yw1dO4REOc8HGFCtRcXlGUzMlbBHAZRK4u9AD2VmGSqkj3Mc1o93DlIIwyZprpA1n6wKv19TTh4dQw72gYAHZUYJGPIx8g8Seo4b6N4VDy2eIRRmRo9XZXsjZmsL5Hkbv1R3SkhqZCCYyxjffuVDLBkQU9HBC0kkvHueVSKqBku2lp8vPdx5wvH0u+UyVe8gdgr0bqONuxkezf7d1LIKHlzWbnPDnH0HorRillaZJpAG+hcsptDI52WbWsx691jPoA+TFRUPcAchvoFOE8Mw0VRPljY4wSbie35raW65XCnZ41VUO3N5w454Wte40z2w0cWSe2FRVSTNjPiNed3crdjPKInZUWsamWNwdM4kDDQTwqX3q+hjXyztw8+UeoXHU1MIgKgucAedvqtgK6aqa2Nr3M2ngFT1mMHa2uuuVc5tNUVMj3NPZpXW0dp8BjXAuEmM8Hn9q0GjbLcWQR1bWHdJy15HOF3LYxBtZKx00p7qKq7jBYMsYi8PzFxGDjgr1ojBbEwNaMck8leyxTOl2OaY2AZ49Veh+UOWCEMAHLz3K2o1MowVNoaZjTJNLkv4xn0VBht1OS6KTYP5v85WJJ4M7GtGG93FURvikdvbTk8+vqoxlhmC7PslkZHAC5uM4RtLUvcRC9kYcOSe4TbI8FweIIm8ZHqvJYHOj3R1LnM47epWZLILctJLTQuM8rJnPGBtC1dHfqGhqPs91EN7jy7jut00SCHeYdx7c+i5yttb5bkybDGNYfM4qdOXhvIOm8MzPNRIXbT9VkN2saYRMzBGcELCgqKeNm1j3OwP1v8AYqJ6giQyOZtIGSVt+MqiwRxgu1rnOjbCIMxer28YXN3Cd1NMaeFr9w5Dic8LoYLg6amIleXMd2wtLcH+JUtip42njnPdVS8vBlbmdZqitndHG3zF3GG8KbOl+n6iiikuVY17JH+VrT7FR70wssFTfKaeaRu1rhlno5fQUUbWtDWgADthbVnGVSRGWEcJrbSLb5PNLDE3xmR7gMd8BfPV32Onq6I0bo5qdxDjjscr7CMTN3ibRux3UAda7dbLRd5aqjIZNOwPlY3655W5dW6jHLMRZx+nLZ41vjnlbucT3HC3YpsbYpRtjzghc/pmvdWUDGMnyQc7fZbWOpqnVfhTNcWNGchc2MW+CRsvAtoLQ1zgW+ueFjzy0jX5YX59yVjxt8SQse54D3eXKuVDGU8jWzFri08FvdQnF9zKLdyq/FpmsZHmQHOSvIqikiaN+wyY9ArN0YyZomge5rmnJP0V6SgbU0sc9PEzd7+pKrhJQZll2M09W0+G5uc8ZHIViUVUM7WFzNo9QFZpoKmlcXuDe/JOVnOuGHAmFjgOPVX+8JIxgpdPUyHZM/cB+Hb3wrEjxNK3ZG4uB43HssiV0TJ45mAnPJx6K7O2CWTxYnNw78TXd1DaW44MfEw5dOY/QjPdZEAnEjWtDpGAHIzwVjyMD5PBDA444cPReOZcY2tFM7Oe5HcBUOel7GTJfIyokdTupXNLOQCQtabfHNK8zxt3DgcZV43BzZREXZe0edzlcM8TWu+XO6Tuceyoq1mzKRFms7VRU9waJJsZ8wIHAXF1U07qkCNmY2+67XqPdoX1AiEbS8DA91wk09T5HbC3HutOU8Ei5JNK8FjYWlp9dqrjqHgBoaxrm8Y9SsKaouTRloG0ckKhjfmQ15dhyp15ZnBt3Pa9oDA9jx+LDlYfN4r9hm4A/esUwVAILHHd/OHqvIZ5SSJWY2cZPqrNZgzoj4UZkdG4nnDQVh1NQ2ZzXtLoXjjBVTZ6mKYSs3t/PthZXzcNS8GojacDv9VBtgsRucAGTFrweeyyIZI2kvfCG+gwrYDfMRTnAPBXtSHta0hrcO7AqEnkkkWK2qDI8sByT6LM05ZvtuqEUcxac87gV7abTX3SobFBCCCRuGOy6++3W1aBtLomtZ9pysxG1vduR3WadJyDZha5v1LoyxN09aK4GvqG7ZTGcOjb75/ZhQ25xJJJyTyr1ZWVNfUyVlZO6WaVxc97jy4+6xnFbMmqUSJS4q0Tkr1zlSuFdVtbLYoIiLRJhCEXhPosA8RFVCwSysjdI2MPcGl7uzcnufoj2BSinzVmgel1m+HWsvGmKht5v9BqanoK68NwYX7qcvLKY8Hw+RncM7gfRR10hotD1WqZ6nX1fBBQW631FfBDOcR1lVGAYqZ3rtecg4wfquLb9cpXVrWuqcJYptrGPM8JPZc75WM4Zt1LOVOpGnJrzJPnZfU4hF9HaGvGgOvdyrdBP6OaW0iPsysuLbrZ2yiojfTwulawGRxbhxbg8ZweFxOh9Mae0ZoKn61axtNPf6aquE1rtVolBMEtTG0OeanGD4ex3G053Dnha8faFR10q9GUKq0pQzFuWvVpw03HfTLOWsJZZN2LeJQknF5332xjOzWe6+ZE6KVNe6UsGpdHQdY9H26Ky0VZchaq+0sGIqasLN+KfufB24/Ec5JXR3iDpx0TrD0y1doql1FcKqKN95u0jSZqHxGBzfkeQM7HAneD5h7K19epyhFUqcpVXlOCxqWnGvOXjy5XD3ysZyY9ykm3KSUdt+zzx8d8fTuQQik7WHQfU9h11UaQtDftFot8V3ikjBJbSzReLGH/ANMMIzjjOVldMNG2jTcVR1H6pWiKXTNM2oo6WlqAQ65Vewt2Q+7oi5j3Zxx7raq9Xt42Ub6n5oyScUuZN8JJ93+XL2TZVG1m6zoy2a59F6tkUOaABhwORk/ReKdPhc0H0x1Traz/AMoNey4PuFbJRUdkhwXOkbC5/iVAP+84BA2nO4D0UL3mKOnu9dBCwMjjqZWMaOwAcQAlv1Slc3tWxjF6qai22sJ6nJbeuNLy+BO2lToxrNrEm1+GOfxMNF9DdOuodi1rcaXTNn+GTQFVLBT76usljqSIoIwPEqJcSdgPM7H14W60dB0d6g/Ey6Kw9P7SdN0Vhq3y2xrXfJ1FZT0z3OkZ5t2xz2gjJzhciv7TVLR1VcWso+HCU35oPZcLaTw5b4zjhm1Dp8aunw6ieppcNc/Ndu58vovqG41t/h0S/XE/wW6RprBJSidtzEU+xsbuGyD73PcjHC+YJHB8jnhgYHOJDR2H0XS6T1Z9VU3o06Xj78J7915JSw13Txya91be7YWc5+DX6pFKIi6sjVCIiiAiIgCIiAIiIAiIgCIiAIiIAiIgCIiAIiIAiIpxARbGy6b1FqSSWHTthuN0khaHSMo6V8xYDwCQwHAWfX9PNfWujluFz0Rf6Slgbvlnnts0ccbfdzi3AH5qqd1QhPw5TSl6ZWfwJqnNrUk8HPoirggnqp46amhfNNK4MjjY0uc9xOAABySVe2kssgUIun/kt6m/4u9Tf9Ez/wDdXP11DW2yrlt9yo5qWqgcWSwzRlkkbh3DmnkH6FU0rmhXeKU1J/Bp/oTlTnDeSaLCLIpLdcK9s76GhqKhtNGZpzFGXiKMd3ux2aPc8LHVqkm2k+COGERFkwEREAREQBVA5VKICpEByiAIiID0HBV1j1ZXrXYW7a3DpMhJEh9O+ocunZha7qTPa5jgtPJiJ9R/BdxqXSba2MXmwuE8VQN7Xs5aB+xQU1y7TRHUWv0u75Oo3VNA8+aIu7fkfReipVo1olLWC7VUAopNlUX7z6YV+kqKWA45JPphSJU2iy64tLbzYJIwSMlpcN7T7FvcLhqjSNxt9QRUt4J/FngBZlQzuhkw5dzZjUF+5vfbhWJJq+skJhjMbO2SMBbeWW2287Xs8U4H15SWMVcJnDmxAtyGNPP7lrSpYJZNa+hqTIxpny49wOQFRUB1K5rY5gXngFZNNT3KUEU0G3Pd8jsf1rw0UY+8mk3OYcn2UHAZMeNtxldsMmD6k8KktnZI6HfnJ5OV5NU1VXMRSt2MaOXFWmCHDpJpXF/oAcKnGGSMrZHC9hnlJGeCO6x5nPfUEnPgDkD3V2Ganmj+WDHueDkOIIyVU9s52h23DT2aMq6M8GGi017fEy9pG7sAsqjmjp6+ORwO1rhn2WFURODhM+XB9MDAVUU8W3xCTLID2HAVilkiTvpu4GopY3tw5+3ho7NC3EU88m+OSdoI/m4KhzSmoprdlj5yJJD2zkBSBaLxS1T/AAxM7Pd31KJZYN9HG7JD5Cd5wPfCuvjfSvDY2MDccuLlbPhSx4jc9uOxwSjKZxOySRx3dshbkE8GGVtpi6RoO1zScuwVXVupY3Np4WOyT3xwq42QxgtlqtpaOAByVjGN82XbiAOeQrMY5ImRtilZ4T3M2g5xuVqZ1U+RracRxsHA5/iqXMoNnmlJkf2AOFSz5eEOfUPe4/qgKxNAuVO2IgOmMm0ZOO2Vi215qHOl8EuJ5G4cK9JI3wycYaRnt2WPb6uR5MUOAM47I4ZBkv8ADI2yMDufwtVVdSTui3BzQXAAMV/5WWN4aC3A5JVzwWRNDZH5c8HnOcK+nRfJjJgW+gLICx23gndz2WVFarfTNdPuEksnp7KlxaYnU0DXd8lx4/ir8VA35eRxeTK4YAC2lTUlgwWrNcoqWucyJxjMBzuB7ld/YeoVfDUx00spew8+b2UZU9PKK3zFjGn8QcQCVtmxSMqWzxzNDW8YXUsqagiqplrYmS8dS7JRULnseTUbOGjtnChq7Tx6nqZLnWSudLI44BHp6BZVXHFcXhw4DG4545wtJBBVwulEczAc+UHHPKneLVAxTyluKOgbRvc+CFrTjseMr2Jsz5HTPcG4OAFmmnc4RmeTn1wV74NK+ncyNpc8c7ty5VKOC1mDUEvqGePLgNHcLIY7c9ztniNaPxKkPEcHiSMbkZBBGVbdO6SJpiIwTgtBWnc1N8IkjHrZJvlpZKM7gByCFRZ6qskbvqHBo9geFZvNdLb2Ma1gEbjhyyKR4YGBkJ2zDv3WlkybKWrZUQ+DNEO/p6rx7GthJjiazaPwk9/qrMUcQcWguy0ZIVtzXwzirjlc/OAWObkLCTM7HsVxiicGSShvpzjhZORLK0xvZLg9we68rGQOo3vbTs8V3bI7LDpqSWZzRG1zS0d2n1Vjm0sAyXwVEDzM0eU+ir8ad7WvpWEOb3HuqGRviLg+Rx59SqXzVdOx0pjBbngg44VGW2SKpw+ZpeYcO9cBae6V32dQS1jZPMWkbfUKxdNUyU0ZEbc9+crgLnq2eomlgc3dFIOSTjCSiYyc3c7i+vdNU1BL3bisTe+YMcOzQlQBh5iBwTkY5VqCUx5icM7gcehWjV5JIuPM8bi/w8ggc91TNH82WPiYGkd8Fe7ag7BEHHnkd0kp5I3bjG9vPPdVpbEi7FugLGh3f0Ky5JI5oyx0MYcO5zjKwopXxyObM708uW5WRG0zhz3AeX64VkSLLZpqx0Y8PHB/gvJKN7Q15BJz2Cy31AjhA2u2njIOVhTtmYfEhDng9huKPL4CKqkyDAZPg9gCttZ7BdL05sRgc8NGQ8BZVh0XW3t7J52mOM85PC2Wotd0+g6Z1osj4Z60DAkGHtZ9c9iswpOT3DZl3i+Wjp9a/BADrk9uGx+rSfU+yhe73iuvda+vuExklefX0HsrVdX1dyqZKytnfLLI4uc5xJ7rFLgFu+WlEjyHHCtPcj3qjuuLeXWrZFkYniIi5LeWWhEJAVJOVEHpOV4iIAvY43yyNijaXPeQ1oHck9gvF61zmOD2OLXNOQQcEFH8AfTNo6K9Wj8Lt4sQ6eX37QqNX01ZFTfJv8R8ApSDIBjlueMqIOkvSe89UddHRlNHNFJSQzVdcyNm6dsMJHiiNn60ns31K0zepHURjQ1uvdRBoGABdJ8Af5y1Vvvl6tNc652q71tHWO3B1RT1D45Tu/FlzSDz68rzNn03qtvRuk6sFOo3KLUX5ZNJbpyeUsI6FW4tqk6b0vEVhptbr8D6B1zpfqlR6dq9O9PugF80taGNIuFyZTzGe4wxctll3Z8I4Bc4MOOSOQudsIPUzoJbululQajUtgvtVeXULuJKyGaNkbWU4GTI8FpJb6AZUaS9ReoM8T4ZtdahkjkaWvY65zlrmngggu5C01BcbhaquOvtddUUdTEcxzU8ro5GH6OaQQqrfoVzCgo1JRVSElOMlqeZJNedyk3LKeNmsLjhIlUvKbnmKelrDW3HO2EkiYdVvZ096J0fSzUThHqOp1A2+zUbOXUcIh8MxTjuyXIzt9iCtv1X0Rfet+uB1H0DCyssF2gp2T1bjhlrMcTY3fOEZEPLS4Zz5eVAtbXVtyq5a+41k9VUzO3STTyF8jz7uceSfzWy0/XapkedN6eutwhbdHiKSlgqXxxzk8APa04d7chXR6HXoONzQqJV8zbbWYvxNOrCzlY0x079t+SLvITTpzj5Nsb7+XON/q8n3i64WSzUeo+r2p6OQaedarRp6Jr2bXz1McHy+T6iB7x/hAfwHOF8SdTdaXjWOpZ5bhJBHS0Z+Wo6Slk3U8ELMhrWHjdgcbjyfVTP8T+tbTFpyxdNyyu+1qChpXVQE72QR/dsIDmfhkPBwT+FfNS2el9Eh07ClLUoJRhn92KST/8AM3nL9MLs813N27jOFjLy/i8/ovQnf4QNBa0vHWTSurLVpi41Vmoa+RlTXRQF0MTvAfw53Ydx+9Rl1H0Rq/ROoqiDV2nK+0SVs009O2rhMZlj8Qjc3PcLV2nV2q7DA6lsep7tboHO3ujpK2SFpd7kNcBlWLvqC/agljnv17r7lJE3ZG+sqXzOY3OcAuJwFilY30OrTvpzh4coxjjD1Yi5NPOcZzLfbhCVai7aNFJ6k285WN8L0+BOHTyx/E90tiqZOkdtqblb7vFHJJX2mhbW08wLeWCQsPIyWuaPUEFZ2qn1+m/iAt9V0fv1rsl+lsME1bNNI0R/aUkB+ahIcCBI5+W7MfiOOFBlu1trOz0jKC0auvVDTR5LYaavlijbnvhrXABap9ZVyVZr31UzqkyeKZi8mQvzndu75zzlaC9n61a5qXFw6eZRlF4h9/OEvETbUtKWy43Zf79GNOMIatmnu+Mfw+mT6Y6Wac61Wvq5Sa56v2G/W6w7qme51NxgdDQx7oXgbmnDGjcWgDGMkL5pr3MdXVLoyC0zPLSO2MnC2lfrrW10pJKC56xvlZTSjEkM9wmkjePYtc4grSLodK6ZWtK07iu45lGMUoJqKUXJrZt7+Zr5JFFzcQqwUIZwm3lvLy8f0CIi7MjTCIiiAiIgCIiAIiIAiIgCIiAIiIAiIgCIiAIiIAiIpxBv9Hav1ppOvcNFakuFoqa/ZBI+kqXQmQbvKHEEcZPqvpXqdN1q6X9FpKLUmqq3U9TrGm8C7SPugrYLdTHkweGHEtk3NB8X8ODjGV89dOLJofUlfV2PWGoDYZquNrbfc5j/AHpTSA5cZw0F5aWjA2jOSpTig0H0S0RrOlt/VWw63qtZWc2SGCzNma6kcZGyeNJ4rWgs8mOMnJC8R7RU6Na+oxhTUpxlFuLpN691h+KtoqG8sPlxxxz2LGU4UZNywmnvqW3/AJe+eNvU+fVdpKupoKqGuop3wVFO9ssUrDhzHg5DgfQgqYPh96LaL6sUmpqnVXUe26dktFvlqKeCfeHuLWg+O7DSDE3s4DzcjCipkFqob+KWvqHVttp6vw5pqQ4M0LX4Lo93bLRkZ9xlenpdTtrm4rWcMudLGpaXjzLKw2sP6M58repThCq+Jcb+n5o+nug8vXXWFlr+pl26lXyutVnDnU1rGoRBUXCdv6o3O4aw7XEEeYZA5XzxrK9as6j9QLnfb7QudqC91rpqmCGndGfGd3Aj7t/JSjaOk/SmjuFHrK3fEJpSmpaeeO4w2mqZUGtaxjg8QPLY9niYG3IOMrL1p1d0dPVap60aMLYNZ6p1BUNpoKrmptFGWBzamIt4bITuYTkjDjwvG9PrRtupVa9lQ1a1pjilKl4bysQk2vMnvKU0v3cb5il1a8XUoRhWnjG78ylq+K9H2S+PzOdrauh6HaXu2lKOrjrtY6lonUN4LDugt1I/G6mI7PlOGvEjTgA4xlQ8qpZZJ5XzTPL5JHFznHuSe5VK9tY2XuilOctVSbzKXq+Nl2SWyXpy28s5Fat4rSSxFcL++/qERFvFIREQBERAEREAXocvEQFWcoqUQFSKleh3us8AqBIV1r1ZXoOFt0Ll02QcTfae1Rd9NVQqrVU7CDuLHcscfqPVTVYNfaY1zSNobxJHRV7m9tuA8j2x2Xz016vxTOjcHscQ5pyCPQr0dpexmsMqlHBMupNEV8LfHtlP4kQP48jGFywjqaB4FQ7BaeeFd0r1dvFrY23Xpzq+iPB3nL2j0x6KRmw6G1bRRVlrrKc1Lh5of1mH68LecIVOCGcHGsr3TUO5kePqT6LWymkqsxMm/wArbwt7e9H3mF7vlIZJoTz5ewC5eaz3ClY4SDwATkt9VRUt2jKZdBY0Op4m+XtkBYGRTF7X0xe9w4JHZZjZvCbHHE78z6rJFZb3uaJ6jkHnPcrQnTaZNMs2iP5h26oGB6AcLJrXR0kghiDWtI545R9bSMa51BC572n8Stm3GrIkqJy0vGcZ5Cr0mcmvlqIZz97ktafwtXnjMZgQUoYD6lZ/2YIOaWm4PBe7uSsCqgqIdz5Hh2P1R6KOWgVQ1Ap3ulfjc0cDHcrorBdpWvFVUVAafRoOFyscU0jsmKQucOB7JidrxEGkOzguPdWU57mGieNN3Z1ewB0gxj3XQU1Q6Z5ZK9mG8NDR3UDWfUs9qLYWh7/ce6kSyasj+Vcd4jldjaXHkLpUqkSDR2NRFGyQyOI3DgKwXlw2xudzx3WtjrY5oxJUV2+XGc54WO/U9qpajz1cZ2cHvgK6o4tbGEbkUVPG8ynJf32+yre6NpAkc1o9/VYsV4pbhHuoJWkycZCvGmp3QtL2mR4PqteJlirrY5aZ8UUYGwcux3WusEdQ+UySPDWk5aPdbSTb4TYmQNJdwQVRSU4pJHP4Ps0eisVTANlTSuqHOifgbRhWHU0hy5zzweOfRY88sry9rXCEv9VW3iNsfzLScZ5W5Gt5diOC7JTVBzIZdjMDgeqvwPkcQI3+bHcKw3e6DY6dwbz5geFhyXKlt7XbZ84H4s8qVKo87hornDfmWyVDe36xK5XVGqZaaQ09BK7A7uHorOoNVTHMdK7d4n62ewWjgutrfGfmg10p4OVuxvYw2IacmyotY3ClI8aqfI13JGSuhtOoKa41TJvDfsHfzKPa2utccwbCAMDKqodQwwSubEXBgHOD2Sd4prAUcEwurzNJ4dM1pBOOTnCutHgN2taQMeY5UZWfW1FSNc2okIw7OXHuust+tLVVuLpZmmMjA57LXddJEsG7fEHN8N8oLCc8IWQtGIGgEKz85R1DQaVrXMHJIXjpW4dJCf2ArnVJankkWLjTS1IEcrWSgduOyyaFszIGNLmNwex5wsR5nc3xWu257t+ivbBCxs4cCGjJVLWTKeDJExyGNc1rycnI7hX3VlP+Br2ZA7fVaWtr427KnOHDjlclqPUTopHfKNzLgeYdlbFYW5g7aOtjlnfC+qZu9t3ZX3memDX0NQcudzyoLdWXptV834rwHHc4grtKTXbaahG52+XGMeuUbQJArJXMY18koDzwR7rldSarMNM+kjmILASS09/ouWr9Y3m4uZF4ez13D2Wkq21e8yumA3HkH+Kg8IyeXi71NxpBJSTSsLTlzSTytO+onrqcNMTo3t/EVuY46OVjnuquW98K383QUbXbZDNx29StWpV3wiSNWyhqKcNkhlL2nghVuo6nxWzvgy0jGQst17oGyMdFAWh34g7srVXdW7/Ca4saeW88KnTqGSukpX7i+ORzCDkhy2dRNSviDXyNMh/orTPusksQh8Zof7+6tOmrKlrYdgDm9ne6z4TGS+Y43veS4ZHPKofJE/MTeHj29VdpLDdbi8sipnl57Fo7rtLD06pgPm75L4AYPNnjCtp2zYbOOpbRXVs7GwMkMZOD6hd/a9GWi20b7hea2OPw2ZAc4D+HqtdeNf6X0aDR2CWG5vcHDLPwscP52cKKdRaoumpKn5i4TeUHLY2nyt/Jb0baMY5ZDUdbqrqtVTU0lj061sFK3yeMB53D3ae4UcySOkeZJHFznHJJ7lUucrbnrSrVoUuCaWSpzlbc9Ul2eypXFubxz2RYonvdeE4XhPsvFzW3LksPd30TcvEUQEREAREQBERAEREARAC44AV2mmZTytmMLZC0/hf+EoC0QQcOBB+q29gr7pp6sptUW9jWyW+dr4XO7eIORx6jhY1LTS3etL5ZGwxk7pZnZ2xj3K8u09LJU+Db5J3UkI2wiYgke/b0JygK79f7vqe6z3q+VslVV1Dtz5JHEn6AZ9B2AWvREAREQBERAEREAREUJAIiKICIiAIiIAiIgCIiAIiIAiIgCIiAIiIAiIgCIinEBERSBXFPNDu8GZ8e9pa7a4jLT3Bx6KhETCAREQBERAF1GlLfp7UVO+wV87LdcnO3UVW44jkef97lJ/C3A4IGclcugcWkOaSCDkEeiA2eotN3jS1zktN7opKaojPLXjGR7haxfS3Sybpz1w0zR6C1hH8nqO1wCCjrDIS6pbnO4kkbn5J8vPAXO9RvhQ1ppQS1+nHC72+MEkjAm/IMGSUBBaLKuNqudonNNdKCeklHdk0ZY79xWKgCIiAIiIAiIgCIiAAkKrIVKICpVB5Ctg4VWQVbCrKDyjDWS82T6rKpK+popWz0s743sOQWnsVr1UHkLqW3UZQ2ZW4Eo6a6z3qhcymvrjWUxIDnEDc1v0AXYUuremWpmSNnmfTzZwDUgMBz7YKgESfVVCQjkFdaPUYzWGV6CfptCW2pp/EttYxwd5mbDkELnrloKtpxvgLS8+qjCkvl1opGS09fO0s7DxDj9y6CHqjrCE5bcGH/AComlSVWExho6CXTN7phimoZZW+pDePzWtqKO80zvNG+Jvu4eq2Vt646gp2+HXUdPVMPcbQz+oLp6HX2hdSbKe4xup53jsW4YD/lLYhQjUMN4OEbVXOJoGcNHqVcp7kWP+8aHvdxz6KR59JaXvZBorxTBjByyOUOP9awz01bC9zqKJ0jD+sVJ9PT3Q1HGPqmwgPaGucfVVUMlC4ySTndIf4Lp6/prdXMbKCMt/UA9FqK7QF7ihzHFg+uDyqHYNcGdRgObSyv2QVDd3fj0VLqaFsniT1ec8YDlR+j13tbTIKY7neUnkrCba7i2U+LG8nOSTnCqdvOPAybunnuJjeyKfw4GDyuJ5Ktb5pH5qMvjJ82PVamrnnhexg3lzf1WrFlluFR944OY1oz6hNNTuDubPdG2sySxylrW8tH1W+t+qauokZNNLlhPmIUWtqJ4oBE95JJ3ZykdwrDlscjtg/YpJSQ2JxfqG1M21Aqt7jwBnsrc+oqBhY2OqYHjlzQe6hE3GvcSHvOxgyMH1VmO4VRY6Vz5DIeG9+VJZbDJxfquzGR0rqlri0ctB7LDn6iWmJw8GNznAcjHoojc6rijBDZC5wycZKyaeiq5z4kcUj3OAaOCuhSSxuQZ31w6myTxPbRcNaMY9QuVqdW1tQHfeOy49yrVLpi5PmZD8u9m45LucFdMzREDNgrXBgxuJylTy8BHGQ1ddVSFpL+DjlZDLHPUVBfG6QkY9OF0VTd9HaeLntmZKR32HeVoKvqzHDUn7OtMb4vd3lJ/gudKb1E8Ga3Sla5vjbi8g9lnwaWqzESyIMLhgriZupOoJKh8sMjImO7MDQcftVVJ1P1RTvJfUMkaf1SwDCujLYwdDctP1sEe58ZcWd8DutYyOtMbpGiSMx+nurtJ1er427ay1Q1GTkkux/sW2b1I0rUvEtVSviJ/ExkWQFZqTMGmZq2+UrHRQ1MsYdhpz6rb0WsblTQhs8pcTjuVtaWv0JfYvHhq44COwmAYc/tKyP0U0zc4ttPeKZ0rj2ZKCf3ZWOQYDtd3Km37ZSWFvZYw6jXQRiLeAx/Gc9ltZumr2tkENV4mRhmfdaiTptdaMvZP5nO5bj0WXEF+s1xJPEw1h2bR3HqtbPeIal+9srmkjII7K3JoG+jDJGucPTjhex6LvQAZ4DstPHCi08Ax5bpHwHNJLe7fdWjdonuAhphvJ5BWY3Q+oKiYl8e14PAWzpenF2btleW8nPfkLXcZEsnMVV5njLoQ50bjxx6Kw+4TTTMM8+dg7uOMqR4+mXiDxK47cYIPuqzo7SEb4zXXSkicw+Zr5mgnH7VKNOUxkjaSCtnk3UzRzzwVfitNzqGkspnb/cDupLq7z0x09JvmqBIAMfcfef1FaS5dXdJ24/+L9pdVj/0zTH/AGqLopcjJz1Lom+3GRjX0Jj+pB5W1i6YV8kxjnAY4DylY1X12ucg/vKywU2O2H7v6wtDUdXNbVJcX3GMAnjELRj+ClCEUG2d7TdLoGAGtn2vbyT6LLZN0/sUbm1V2ppZYvxMDhuz7KFq7Ud5r53VNTcqgvd32yED9wWufM57i57i4nuSckq/xKUCOGS/dOslqoowNNWsufnkzjbgfTBXBX/XupNQPeKy4SCJ5yIm4DQuaMioMn1WvVvoQ4JKLLxk9SVbdIrReqSSVy6/U29kTUCtz1QSSvOy8LlyKtxKo9yxRwek4VJOURUEgiIsAAZVR7IOyHsgKUREAREQBEW0stqpa4yVFfXMpqWnG+UggyEf0W+pQGsa1z3BrRknsFWI2xuxPkcHgd8/VZ1fcaTJhtVKIIcbXEnc5/157JZdPXzUlU2ksttqKyVzg0iKMuxn3x2QGve/cfK0NHsFJfT74f8AXevIBco6QW+2holNVU5Y10fqWnHPHKnroh8MdLp0waj1rBHUVpaHx05IcyPI9R6n6EK38TnWew2GwVPTTTGx1fVNDKl1M7w20jAcgAt/WyMFvGAgIK6sXTp7a6Gk0DoCijqWW12ay8knfWSgEHGDtLcEeg5CjFCSTkogCIiAIiIAiIgCIiAIiKEgERFEBERAEREAREQBERAEREAREQBERAEREAREQBERTiAiIpAIiIAiIgCIiAIiIC/QV1XbayGvoaiWCeBwfHJG4tc0+4I7L9A+kfWnSnUHTENT8/FRVtIxkNVBUzAOa4Dvk43ZxnI91+equQVM9M5zqeV0Zc0tJae4PogP0kv+hen+v6SWOvt1vrRKNrp4NhkH5PGSFBuu/g0tkkTqnQdykp3MGRT1LjIZD7biRhfOOnepmvNLBrbHqavpYmuDnRRykMdg9iFNujfjMvtE+ODWNmZWwtAbupQGPP1JcUBE2q+h/UrRsQmvOnpSxxwDTnxv9HK4aaCemeYqiGSJ47te0tI/YV+hOkOvvTPWrY6WC9wwVcwx8rNncPzOMLM1B0e6X60p5nVGn7e6WfvVU7W+IPqHcoD850X1Z1D+DWCOm+d6fXOTdFG98lNVHe+V3drWEAAe3K+bNR6N1PpKrdRahs1RRzN7h7cgftHCA0yIiAIiIAiIgCIiAZKqByqUWQVL3JVId7r1SU2jGCoOIXoeqEVsbiUTGkvNk+qrEixl7uIW/R6lKHJBwNjTXCrpCXUtTJET3LHELObqrUTW7WXyuAHoJ3f2rRB5XokXRp9YfqRdM7G29S9W2vAhubpcDH32X/1ldBbut+oIiRdYKepaewZGGnH5qLxJ9V74n1WzHq6fcj4ZNlH1f01cWGC6WuSlH8/dvyfyAWxGuumUjWNlr3+XJOKd3f27KA/EQSKS6lCT3Ghk+UWqOlM88k01UA7HlBpz/YqnHQFyYX0dbGGv4w7y/wBagMSL0SLYje0pEdLJ+ksGhGBrG18T3P8A/SjAV39GNEYDBcKfI9PGbyvn4SfVPEVnvFFoYZP0uktKxkPfX0eHdgJ2/wBqtutGg6A5uVdAA0Z+7eHf1KBN6b1U61NPYzhk2x6q6YROMMlY8sZwD4Ls/wBStVnUrRVugItNM6oef6Gz+sKFt35rzeFj3qMRjJJNw6xV74gy10EVO8H8UgD1yd31nqG8yeLVV72/SIlg/cFoS9eF616l9EyolbnEkknPuVRuVJcqS76rm1LtN7E1EuBy93/VWd31K93fVQjeNGdJd3/Vehytbim5WxvMGNJeyFep6qopX+JTTvjd7scQsTeqg9bML2JFxNxHqa/xua5t5rBtOQDM7H9a6Gn6uayphgVVPJxjMkIcf4lcPvTetlXsMGNLJBZ1s1syMxb6Ag+9KCU/lo1ngZfQZHY/LBR94n1TxPqse+wQ0s753WfWhlE3iUO4evywWFcequr7kMTVkUf/ALGPZ/UVxhkVJetWrfxXBJQN1JqrUUxO++V2D6eO7H9awJquoqXb6id8rvd5JKw9/wBE8RVR6kkNBfL1QXq0XleZK16vUXLgkoF3evPEVpFqu+mZ0FwyKkvKpRUSupy7ktJ7uK8RFS6kmZwEJwhOFSoZyZGcoiLACIiAIiICpD2TIVJOUAREALjhoJJ9AgCLb2XSOpdQ1LaSz2aqqJXHADWEZ/aeFNmiPhC1XeBFXaororZTnl8LwfEx+YyEB8+ta57g1jS5x7ADJK7fRvRfqHrpplsVikMbXYc6Y+EP2bsZX1Pb+lHQTpNSC4X6ppal0fJkrHCUh30AGQuY1d8Xum7HFJadA2IyGLIiqDjwSPo3goDzQXwe2KjpXVnUa4Plc4ZbFBN4Qj/N2SCpDqdbdDejdOyigmooJGN2h1NEJZHf5TmD+tfJWsOv3UvWM731V/mo4Xgg09K4sjI/LK5uit7LbAzUOooXvExLqWB4wah2fxHPBaD3Hc5QH2DrT4mNL0PT6a7U8E3z1yE1NR0weWyYxjxSceUYIcM9/RfEVVVVNbUSVdZPJPPM4vkkkcXOc49ySe5V66XSsu9W6srZC95Aa0ejGDs0ewA4CxEAREQBERAEREAREQBERAERFCQCIiiAiIgCIiAIiIAiIgCIiAIiIAiIgCIiAIiIAiIpxAREUgEREAREQBERAEREAREQFyCYRkte3dG78Q/2pLCWt8VjXeE4kNcfVW1l22sipZttVAJqd/EjCcce4+o7oDFY98Z3MeWn3Bwuy0h1g6g6JMUVj1HVRUrHh7qbcNj8eh4ytPetL1VvpI7zRbqq01J+5qQOx77H44a/HOFpEB9U6O+NOR03g6109GyENDWyUWS4nHd244UrQ9RuiPVqgjs1wuVsqZKscUc7vvAf2ev7V8AKuKaaB4lglfG8dnMcQR+0ID6+1d8G2nq6Sar0veZqV78lsDw3w2/QYGVBWrvh56l6SJdLY5a2AE/e07SW4/atNprrD1E0m5ps+pKhgb6SHxM/52VNOjvjJrG7KHW1hhmgA81TGS97j/kYAQHzVWUNXb53U1bTvhlZw5rhghWF9uQ6/wDh46qwTUtaaejfM3zurI2wHOPQ5XD6m+ECiujH3Pp/qNlTDKN0Uby0RgfR3JKA+W0Uhao6C9S9KB766xPnYwkF9NmQfnnC4OroayhkMNZTSQvHdr24KAsoiIAiIgCA4REBVkIqUQFSE4VOUQFQIKKlFnIKkVKZIWdTMYKl7k+6pDvde5CzraGD3JTcV4mQpKrJdxgq3lN5VG4JuCmria7mNJXvKbyqNwTcFn3mfqNJc3rzeVTkInvMn3Gk93FMn3XiKt1ZMzgImQvNwUdbGD1EyEyPdNbGAiIs+IxgL3J914iKoxg93FMleIpeK/UYPclMn3XiKPiSGAiIouTYwEReF3ssZMnq8LvZeZJRAMkoiLAA7qpB2RAF4ThN3svEAREQBERAERO/AQBVRRSTyCKJhe9xwAO5XQae6e6y1TPHDZbBVziQ8SCI7B9SccBfU3w6dAbvoC4V2pNaxUjpZIvAigAErQ04O45HByMID5ksvSbqRqKndV2PRtyrIWkAvijyAf3qQbB8I/U69Uoqan5W2OIz4VXua8fuBX1deepGgtKwzfNaktlI6Lk08L2bz/8ADxyon1P8ZWmaOF8emLVNXztJaPmWmJp+uQSgOcsPwX1R2/pHfnMdnn5bBb/8wXdHo10I6cU8FRq6egjli8zZap2C7HrwoC1V8UHU/Ucj20twbbaZ4wYIgHD/ADiMqLrjertdpnz3K41FQ55yfEkJH7igPrjUHxS9NtIU8lu0RZG1crBiN7GjwSR25Byoa1r8UXUrVhLKKtFlhI2mOjccOH13ZUPogMmsuVfcJn1FbWSzSSHc5z3ZyVjLLtNpuN8r4rXaqSSpqp3bWRxtJJX0fonorpXpPpubqD1mkidO0Zore124uIwRgcEu75b7coCPunXTC00dhPU7qe59Hp6HmjpiAJLk/uGsB4LThw7jkLkOoevq3Xd2ZO+BlJb6NpioKOP8EEf09cnAJ57rI6m9Tr11IvHzdYG0tvp8x0VDFxFBH7AcZ5ycn3XGoAiIgCIiAIiIAiIgCIiAIiIAiIoSAREUQEREAREQBERAEREAREQBERAEREAREQBERAERFOICIikAiIgCIiAIiIAiIgCIiAIiIDrNA68n0hVvpq2lZcLPWDw6yilAcHN/nMznY7geYDOOF1eu+j0Rs1Pr3pvUOu9grRufEwEz0jyT5HMGXehOSB6KKF2HT3qrq7pnPUSacqYjFVtLZqaoYXwvP84tyOcDugOQc1zHFj2lrmnBBGCCvFPly6d6d642k6z6a+Fb7zCz/wClLO4jL5MfjjxgAHBJ791BtztdfZq6a23Olkp6iBxY9j24IIKAxUREABIOQcFb2z671fYp4p7bqO4R+CcsjNS8x/5ucLRIgJ3038XWvKANg1HS0l2pm8eH4LGEj6nBXcUvxFdF9XUb6bWWjoLa6UbS6KkErh/8QblfKCID6qn6H9DdZUvz+k9VQ0clTyxs9WGnJ/oOcP3Li9U/CnqO2MEmm7vT3jPOGFox+3JUFxSyQSNmhe5j2HLXNOCCut071a1/pmqZVW7UVU7YMCOWRzmfuygKr90h6g6cj8W46dqS0esLHSf1BcpPRVlK4sqaSaFw7iSMtI/ep0svxf6+hcIdQUVvrqbjLWQbXH35JXWWzrx0Q1bM+LVmhI6AyfinkDH5P5BuUB8sovrm36P+GnW1QG2K8RRzOONh+7aD+1oVNZ8JmkLlK91ovzH5/CI6gOH7ggPkhF9Dah+ELUVC4vtt3hc3+a6NxP78rg7z8PXUy0Yd9iOnjd2cxwH8MoCNUW8vGiNVWKUQ3KyVUbnDIxGXf1LTy09RAcTwSRn2e0j+tAW0REAREQBERAEREAREQBETBKAIMr3b9V6BhAF4QV6iApwfZMH2VSICnB9kwfZVIgKefqqkRAEREAREQBEyAvNwQHqLzd9F4SUB6T6LxEQBERAEREARXGU1RL/g4JH5/mtJWfQ6Zv1xeI6S1VL3E4A8MhAaxF3Nt6LdQ7lMImWCZgPG52MLtrZ8JnUCta2StqaahjcMl0o4H8UBCCd19Ox/DBoWxUjazVuuaXYzHiCGbB/dysqmrPhS0ZC6SlmN4qYRtMMzS7c4fUtwgPmih09fbm9jKCz1s5ecNLIHuB/aApE018NnVDUZZIy0spoCRufNIGED8jhSFc/it01aqV1NoLQEVumj4jlkDHM/PAAKj/UfxNdVtRwOp5btDRNcMZo4zE4ftygJCt/wq6ashZU6211RMZ+vTiVrHfv3LcRXn4Z+lTjT0sLrnUtycSRGoa4/mQQF8v3XUF8vbt93utTWO75mkLv61r0B9LXb4wW0kMtJovRdJbSCWxzgMwR6HZtCinVfXfqZrFpZdL++JpOcUgMH+iQo/RAXKiqqauQzVdRLNIe7pHlxP7SraIgCIrlPTVFXM2ClgfLI84axjS4k/kEBbXd9Mejmrep9a2O0UhiomvAlqpBtY0Z5Lc8OI54Clnox8KdxutQy+9Q43UtEwB0VGDiSUnkOJGRj3BCmfqX1K0Z0D0m212Wip2Vz2FtFQwAN83bxHDtgEgntlAYNp0X0z+GzSc+obm6OesazHjyNDpJX+gjackcnnHYFfJPVbqtf+quoH3a6PdDSRkiko2u8kLPTPoXc/ixlY3UTqnq/qfcY7hqitY7wWhscELSyFh9XBuTgn1K5FAEREAREQBERAEREAREQBERAEREAREUJAIiKICIiAIiIAiIgCIiAIiIAiIgCIiAIiIAiIgCIinEHT6F6Za86mVVVRaE01VXieijbLUMgLQY2OOATuI9V0V/+G/rjpeyVuo7/ANOLnR2y3RGeqqXmMtijzjccOJxyFwNrqq+CqZFQ3KSidO5sbpGzOjABPdxHoO6+j9aacuuhOj81v6da8turp7lR79X1NvuDqqWlp88wlh8op9wYd/Dtxx2XmesdSvrC7pU6U6empJJKUJZxtqbmpqK/y5ju2ludG1t6NalKUlLMVymvptjL+O/G58yq/b6CsutfT2y3wOnqquVsMMTe73uOGtGfckKwvWPfG9skb3Me05a5pwQfcFenlnD08nPWM7krj4UfiIJAHSu7En+lF/31G+odPXrSl7rdN6it0tBc7dKYKqmlxvikHdpx6qdegemqO42eu15fOpdnddqTMdl0/crxJE+pqAcbngeYYy0sx+JwweFW/pnpm96fuPU/4hdU6rtuqLrqaezzU9LQQveasRh5MocRt784XiqPtJXtbypQv5xnGOI+SnNSc32ScpaopZzJYSeFl74607CFSlGdFNN77yTWPi8LD9EfO6Kc9U9ANMWug1BYbJqS5VGs9HUTrlfaaohY2hbTNAd9zIPM9218fBA5J9l0t9+G7pPSX46Js2t9Sz6ht9qhv10ZPRQtp2UPgtlnMTwcukDXeVpABPcrfftf0tKL1S3y/uy+6tL1PbaLUotPh52KV0u4eVhbfFc77fPZ7HzOikbqd030/p6yWjXmg7xXXHSl9lmpaOW4xNiq/Hgx4oexmWhuXDBzyo5Xdsrylf0VWo8brdYaaeGmnummsNeppVaUqMtEwtnYdM37U8lXFYLXNWvoKSSuqRFj7qCPG+Q59BkK1Y7HdtS3elsNioJq24Vsgip6eFu58jj6Aeqk273u0dHbFV6N0hWQ12p7pA6nvd3iduZTROGH0kB7PY4Eby4Bwc3AWvf3s6Mlb2yUqsuF2SzvKXol+b2WWWUaKmnOptFf3hfE0WkOgnV/Xtkj1Ho/QlfdLbM98bKiF0Ya5zThw5cDwVh676OdTumVHR3DXmjq6zU1fI6KmlqNu2V7QC5o2k8gEL3pdaqjVmqqHS9VruLTNtkcX1FXVVroIYowQX49N5GcD1KkD4kW6gttPadOWm5U9y6fW+V7bPX0VQ6opqqr2gTSOkdyJnNDC9gO1vGFyKnUr+j1inYSnTcZZeNEk1HfCUnNxcs9lHdJvY2Y29GdrKslLK25TWfljKX15wQYug0VoDWPUW6vsmibDUXaujiM7oIS0ODAQC7zED1C59XqWtrKGQzUVXNTyEYLopCw49shekrqq6clQaU+zabWfik03+KNCGlSWvj4f2yZtO9EfiZ6Y151tbunt4oha4nz1EodHt8Boy8Pw7O3A5+ik/xej/xL2qmkq6imtGs54jF4faZzo29/UbO+PXC0cWnLvonpJNXdO+oFq1Vq270kjrvHRXJ9RVW+gLT4rI4vwuYYz945wy0jhcd0N6QWXU9nn1td7xqQ/IOdIyHS9KyrqqMRnJkqWOI8NhA8pyc4K8lYe0zhb1rrqE4uEJKKcISi2++YuUnhv7r2zhvGMZ6dbp6c4U6CeWsvLTX4pL6+hwfUbpPq3pncDSX6ic6AvLIqpjT4cuPUev71xq+42dXukGt6K26Yut7bdLHdttsNRdWsiuHzI5dLLGw7WRkY2uB5dxhcRq34X+lultYX+03XUeqbhT0tUBS/o3QxVYp4ixp2VO4jw5MknaM+Ugrq1PaKzp6ItTcpqTUVCTl5WlLKxlYyuTXjYVZZeVhY3ysb8b/Q+U0XVdTun9z6YazrtHXaRj56TZIHNOcxvaHsz7O2uGR75XKrr29xTuqUa9F5jJJp+qfBqzhKlJwmsNBERXEAiIgCIiAAkdiR+S3dh1rqzS7/ABNP36roXDnMT8LSIgJf018UnVSwN21l0+1+Sc1ri7+rC7qwfGZWvn3au0vTyx//AIMYd/8AMV8zIgPs62/Fd0qvlQynuFhq6FmceJUbNo/cSs+eq+GPW1cx1TdbJUzu5ETg7P8AUviJese+M7mPLT7g4QH2/XfDh0f1E101oNNTMcOPlyBj965av+DCwyNe+1ainyc7Q9wP9QXynHd7rCQYrlVNxyMTO/tXVWbrN1MsDGx2rVlXC1vYYa7+sFASlcvg01nE/dQXqhdGG5O8Pzn9y5O7/DH1LtcHjsoBVezYmnJ/esixfFV1UtUm643MXRv82fDR/wDKF19N8bOqGhkdTou1PaO7vGkygIbq+knUihbvqtIV8bfctH9q0Ndp692w7a+2VEJ/pNX1ZaPjE0bVYOo9OSxHHPy8W/8ArK3VL8TPQ+7zeHPaqmIn9aelYB+/KA+Lfl5/WGQf/CV4YnDu1w/ML7qbrv4fL5GRLdrRTmb8RlLWkLGrLZ8MF3g+Wku+n3HHLm1PJ/igPhzaE2hfc1L0G6D3qkL7PS0U5Iy2SKVxH9atVPwldO6tgdGJKYnBxGMjH7SgPh/A9kX2Lcvgv0pVTh9HqSupmY/C2Jh/rWsl+Ci0tkDYtXV7gfUxMQHyai+qpfgqgbDui1TVGTOADGzC1kvwX3prC6K+scc8Akf2ID5oRfQ8nwcavbksuVO4enn5/qWuqPg/6mNeRTT21zMd3TEH/RWQQSinEfCD1TJI8W1cHH+Hd/3VR/cjdUfSW1n8p3f91MAhFFNp+EjqeHBpltQz/wCnd/3V7/ci9Ud+wyWvGM7vHdj/AEVnBjJCKKdYvg/6ml7RNPbQ0nktmJwP81bCH4O9ZEHx7hACP5r8/wCxDJ89Ivpmm+DG5lu6rvxbxnDA08/uWRS/BkJHYqdQ1bB7iNqxkHy8h7L6wj+Ce2l5Emra0Nz3ETFuqD4NtG0cI+evlXUFvLnOjaOP2LAPjNF9nSfDv0XsjHTXe50zY2HkzSbRj96sQ6G+FWmlDpL7YtzD2NWf7UB8dCKR34Y3H8gqvlqg9oJP80r7Snufw16cbmiutrl9fuHh/wDWVrJfiC6CW0iMWirnLeA5lGw/7UB8sUGhtXXNrX0Fgq5g7sWt7rd0PRfqVXS+GNKVsY7lzmjA/ivoKu+LPpxSRAWLS8r3N7CWAMH8CucqfjVvMU7hQaFtToh+Fz5Xh38EBxVt+F7qBcQ3a6CIuHZ7XcLprV8H2qCCbzcYo8Hjw8jj9oWi1F8WHUq7lxtT4bNk5Hy+HY/zguTuXXjqzd4jBX6xq5GEYI2sH9QQE6UXwf6apG/NXTVHkYNzm7xgD68LLk6cfDRphrafUGorYJQeTLkk/uC+UKi/XqqkfLPdqt7nnLvvnc/xWJJPNMczTPef6TiUB9Z3DXvw16Pcw2WigufhDj5QDn/OwtNdPis0XTRuk0roJ0U4HkNU1uM/Xa5fMSICc6/4u+odVC6Gkt1uoc/rQBwI/eVwdy629VLs2SOt1vc3xSZBjMg24Pp2XEIgL1TWVVZK6eqqHySO5c5x5KsoiAIiIAiIgCIiAIvY43yvbHG0uc44AHclT50f+Fq+6u+XvesRNa7aXB7YS3EsrQc8tP6rvfPYoCLenvTTVPUm7/ZenqF7xGA6ect8kLTwHO+mfZfY/SroFo3pXS092u74ay8sAe+pk/DE/wD9H64/NW9Y9Uem3QuzssGmaSlluOTHHRwclhHrIc7gP7F84a46+ah1JJVVT6x7ayVxZHHG77mmZ/QPd37fdAfS/VH4jtGaHtFVHZ7jTXG+RnwmUTTkxuIyHP7eXtnB9V8P6q1Te9Z3yp1Bf62Sqq6l2S55ztb6NH0A4C1k00tRK6aeRz5HnLnOOSSqEAREQBERAEREAREQBERAEREAREQBERAERFCQCIiiAiIgCIiAIiIAiIgCIiAIiIAiIgCIiAIiIAiIpxB13TqTp3JW1dq6isqqejr42shulM10klvcDkvEIwJdw8uCeM5Uiyan6O9L9IaptfTTV921TWawths1SyutZom0kRe1/itOTvOWgbeO6gxFybzo8L2trqVZ6MpuGVpbi00905LdJ4jJJ443edqldOjHEYrO+/dZ+uPxTJm+HvRnRHVlLqh/VnVtVaqmitk01DFHBlvDR96HbhueDwI/1lFMb7RQX8SGJ9ytdPV52PJidUwNf2OOWFzR+zK16K+jYVKVzWrzrSlGpjEXjEMLD04Se/L3ITrKVOEFBJxzv3fz+ROFvtvwx09bTasp+pGorfWQSsr47O2xuljhkaQ8QeMX5c3IDd+PqrvVTrzZepGkJZfkpKS91muajUstEAXRRwPhDQBJ6ncPZQUi50fZug68Lm4qzqSh91ya2XdbRWU9s5y9lvzm9381B04RUU+cZ3+O7f5bE4UnXOyXrVfVHV+oKSS3za005NbqOnhBlDagtia0F3GARGTlZOr+v1kh6t3nXOlqGS40d10o3T2JwYXMc+kZE9+Oc7S0491AyIvZbpyqa9Lxo0ac7acQWPXiC7+pl9RruOM985753f8ANkkam11YLp0L0XoGklmN2sd0uVXVtdEQwRzlhj2u9T5TkeijdEXXs7OnYwlClnEpSlv6yk5P6Zexq1asqzTl2SX4LBI2ltcWDR/TG6QWN8tPrW6Vvyr6nwshltLAT4b/APe5PEA8zcOx6qOnvfI90kji5ziS5xOST7leIs29nTtp1Kkd5TeW3z6JfJdl2MTqyqKMXwlgkrQ9J0Ov1gioNf3y66WuVE95NbRUTq759rjkBzMgR7AMcd8rP6pa60Z+gFh6P6AuFXeLNYrjU3dt2q6Y00sstQxrXxGLJwG7Bh2ecqJkWi+jQndRualWclGWqMG1pjJprK21cN4Tk0s7LZYu96apunGKWVhvu1+OOy7ZJtqdEdBWfDnTaui1rW/pw+uMbqT5bvJ4YJgLd3EY5IlxyeFG+gZ9EsvL6TXtLObbWwmn+bgLjJQuJGJ2sH+ELefITg5XNIp2/TKlKlVpVa8565NptpOCfCi0lsu2c/HbYxUuIzlGUYJYSXz+L+ZPdm1F0O6PRXXUXTvXN61Td7ha6qzChrbQaONsVSzY+XxNx5aOQ3HK5/pNfumNLbI6fUmrr9ou6UVR47rhbIZKttybuy2KWEOa1rWY9c7txyokRan+z1OVKcZ1puc8Zm3HViOcLCjoaWXs4vnPKWLffpKSagklnbfG/wBc9vX+ZOXWPqDofXGrdPO03UC8V0FXB415FrbbA+PeMQfLM8nlPO/uc49FMPU74oKXp11w1bb7/oCmvs1DOyio5WVRpGsp/CjcRIxjcSv3Ene7nHHZfFscj4pGyxvLXsIc1wOCCOxWRc7ncbzXTXO7V09ZV1Dt0s8zy97zjGSTyeAFqR9k7aNSh5paKUJxXmcZZlKDynDThYi1iOFh4xgsfU6jjPZZk0+MrZNcPOeeWfaHUPoZbutNjl17Beo6vVNyjbOKyNwEMmG4bDgHa3A2tLvplfI2r9Baq0NXOoNR2qWnc04Em0mN3+S7GCt50y6x6t6bXmjrKO41FRboMskoJJCYjG45cGtPDXex9F9daJ1906+IywT0FztMUVXFubJRTua6WNpyA5jseoGeOy9PRo07anGjSWIxWEl2S4Rz5zlUk5SeWz4JRTh1f+GPUehjWXzTrXXGzMeXhrATLCwngEd3Ee4ChB7HxPMcjHMc04LXDBCsIniIiAIiIAiIgCIiAIiIAiIgCIiAImCvdv1QHi9a5zDlriPyK8RAZ9Pfb1TN2014rYQPRlQ9o/gVkDVmqfTUt1/55J/atQgOEB1NB1L1zbS002pK47e2+Zzv6yt/Q/EB1Tt7i6n1EckY88Yd/Wo4DvdeoCXR8VXWdoAGoKbj/wDBx/2KpvxWdZgcuv1MR/8Akcf9iiBEBM1L8WPV2JxNTdaaYHsPlWNx/BbRnxgdQ2xbHw07n/ztrR/DCgVFnIJ4Z8X3UVry50dO5p9Njf7F5L8XvURzgYo6Zg9R4bTn+CghFnIJ1Z8XfUYPJeylcMcDwm8fwVn+636oeIXePTbPRvgs4/goQTITJjBMtV8WHV6VwNNdqaEe3yrHf7FY/uq+s/8Axgpv+Zx/2KIN30XmcrGTJLr/AIqusz2lp1BT4PtRx/2LS3Pr91Su7Q2r1E4AHP3bAz+pR4iwDoKvX+tK5znT6luOXcnbUvb/AFFYv6VapIw7Ut1IPp85J/atWBhEBmTXm8VDSyou1bK09w+oe4H95WE7JOSSfzXq8d2QHiIiAIiIAiIgCIiAIiIAiIgCIiAIiIAiKqOOSZ4jijc97jgNaMkn8kBSuh0ZoHVOvblHbNN2ySofI8RmQgiJhP8AOfjDf2qWOkPwu6g1e+nveqwbbaS0SiNwxJM3292e/IU56n6k9K/h8s8VjstHBPWeFubT0xbvkxxl7wMZ/NAazp50G0J0etrtW64qqeoromYMk7h4ceRy0NJw4nHHrwuA6u/FXW3B9Rp/pq35e3ti8J9a+Pa52RhzQ0jy45AIKhvqJ1b1j1Irny6gr3il3lzKWPLIwM+XLc4JA9Vxe9wDmNcQ1x5Ge6AzJbtUTwv8Z8ktTKfvJ5ZC9zm+gyeywURAEREAREQBERAEREAREQBERAEREAREQBERAERFCQCIiiAiIgCIiAIiIAiIgCIiAIiIAiIgCIiAIiIAiIpxAREUgEREAREQBERAEREAREQBERAEREAREQBERAFsLDqG96XuLLvp651FvrWNcxs8DtrwCMEZ+oWvRAfWvSD4sKCtprfpLqFBKKqRxgdc3OHhFuMN3jlxcTwT9Vvervwzac1tFPqHQ8kFLcsEuiiIMUp/IfrftXxaCQcg4IXedO+tGuenNbTutV3mltzKjx56CR2Y5zjBDj3/AHH0QHMal0vfdI3Wezagt0tJVQO2uY8f7ey1S+0m656HfERbnWa9uitt3lLaWl+Zw2cyOGd0Qzh2D7qAerXw/ar6Yk3Dwn19oc4gVUYyI+eA/gAEoCK0REAREQBERAEREAREQHoC9VIOF6CgPUREB44eq8VSpPBQBERAEzhEQFQ5RUg4Xu5AeovNwTcVkHq8J9l5klFgBERAEREAREQHoPuvchUogPd3svERAEREAREQBERAFVwAqUQBERAEREAREQBEAJOB6qaekXwz6m6hMbdb4J7TaHEbZC3Ekrf5zMjBHogIz0fonUeubxDZdO22Wpnl5Ja3hrR3cSfQL656bfD5ofpXaxqbX1VS1VfH946SUfdQgcjaCM7h6rd6g1j0n+HawOtlrp6UXGONrRSQ8zSuI/G4E9s8nHuvk/qj1q1d1PuBkuNW6mt7OIqKJ33bfd3POTxnlAS/1j+K+or/AJrTXTlxjicTE64g8vb/ADozwRn6hfM1ZWVFwnlrK2aSapmdufI85Lj9VYRAeve+R257iT7leIiAIiIAiIgCIiAIiIAiIgCIiAIiIAiIgCIiAIiIAiIoSAREUQEREAREQBERAEREAREQBERAEREAREQBERAERFOIO76V9PqTV7rxqO/Vb6bTmlaeOtu8kLQ+bw3u2RtYzjdufgHkYBJXT3bTujOq+lr1qzpvpePTFdpOlNZc7WKh8sElCCG+O2V/Jk3uDfDAxjnKdCLhRVmleovT1tVFFeNXWqmprWyZ4jjkkim8V7XPPDfKDjPc4AWf06o6vpj006j1+t6Sa1fpPZXWG2wTxlk8tV4jJM+GcOEe1p8+NueMrxfUbuvC7rTU2qkJ04045eJQlo1PT+9zNZ7adsYeevQpQdKKa8rUnJ+jWcb9u23fPyMno90i6f3jQ+p79q28MrL5+jVbdbPbqRweyFsWAZJ3AgxyB3ZhBBByoFU8/DLpbU8zNd18OnLpJS1eirlHTzto5DHM87QGscBhxODwFB9ytdzs1W6gu9uqqGpYAXQ1MLopAD2Ja4Aro9IrzfU7yjUra8ODSyvKmnskuMd+7e79Ci6gvd6U4wxz9fmdneOh3Uuw9O6DqjdNOTw2G4zPijlLXb2BoaQ97ceVjtw2uzzyuQstmueobpTWWzUUtXW1b/DhhiaXOce/AHsAT+xSpqip+IB3QbT8eojc/wBBPn6gURf4m8vwzIlzz4X4dm7y99qq+HjVPTzT9Nre2671BLYZr3ZmUdqusFE6omo6gTtc57NvmYdgcMgjgkKNPql7S6fXuZ6as4zlFKnmWFr0rKWW5RW8kt9mkZdtRlXhTWYppN6sLfGdu2H2bNvrLpJ0/wBKfD/VX+huhu2rrfqKC23SePBpqYugLzFC8HErcbSXEAg5Houf0xprSHTzR1t6ldRrENQu1B4jbLZfFdHBPCx2yaWWVnmjcx2NrcEOye2FJ1y0t0nofhS1QNPdVKm8RjVENSyWS0SQmSrFMdsBDjwHDnf2C4LUVHVdRuh2h4NHQPuNVowVdHdKSJpdUNfUTb4zHEPNI3a07nNGG8Z7rz9h1Crc0pUq1Weh3DjOUlKm1F09SSyouCc8RWN0njOXk3a1GNOSlCK1KCaSxJZ1Yz3y8Zf09Njl+p2grVa7Taeo2jpnv0tqWSWOlZONktPUx4M8O3JJYwuDWvJy4DOAsev6IdSrb03peq1XpuoZp+rmdEybY7c1oAIlcMcRncAHZwSur6rTQab6OaF6WXKoi/SG0VdddKyCF4kbFDVbHRAvHAfgHczu08FWLzU9fj0BtMV0N0/QH7RmFOT4m4u2NyH+vg427c+XPbldi1v733ag4VIYdWUcz5nTTkouOMZlKKTT4fJq1KNHxJ5i9op7dpYWc+iTz8iv4d9PaMudPrzUWtNKx6hh0zp19zpqKSofC18olY3lzORw4rd65qLFadJ1FdX/AAkSabirI/BprrNcKzZFI8eRzd7drj6gHuuT6Dam6maVr9RXDppT2mqnNqc2upK+njqPmafe3LI4X/4V+ceVoJ4XddLqvqJXu1s/qsL6LW7S1ykpo722ZtKyrw0xiJs3kDxztDeR6Lm9WjWodQrXdSalCLg1FVakZYwk0oRko5zvlp5ybFs4zoQpRWG876YtcvfLTfw2xgvaN03om2dIdE3WPoZ+nuo9S1FzEoZW1EcjY6eQAYZFnIAPJ+ijnrLXWWOejsVP0Q/k+uVOTPOx9XPLJPG4YblsoG0ZBII7rf2fVvXmDo1Z9M6UphNYH1dRLRz2im8S5UrxJmQOlizLE1x9DgOHus/qka6X4b9Ez6vM7tWO1JdBVOuOftA0oii8Lf4n3nh53bc8d8LFmqtp1ONSvPXrrVIrFWo2suck3DVoSilpcdOzw8iq41bdxgsYjF7xis8J4eM7vfOSBkRF9COGEREAREQBERAEREBVFLLBI2aCV8cjDlr2OILT7gjsp10J8Vmp7VE2za3oKe/257ooi6ZoDoIm8EhoHnOOefZQQiA+l9QdH+n3WW01+s+jFeYq2N7ny2ycCMk58ziMktB5xxyvnm/advemK426/W2eiqMbgyZhaS33GfRLJqK+abqm1ljulTRyBzXu8GVzA/acgOAPI+hUz0nX3T3UGlZY+tOnoaozyOa67UkYikgjx5QGtG44P19UBA6KRdUdIqmlt0OpNGXOG/WiqaZI/BI+ZY3JHmhBLx27kKO3NcxxY9pa5pwQRggoDxERAEREAREQBERAF7uXiID3cF4eSiIAiIgCIiAIiIAiIgCIiAIiIAiIgCIiAIiIAiIgCIiAIiIAiIgCIiAIiIAiL1rXPcGtaSTwAByUB4ttprSl+1fcW2vT9ulq5yQCGNJDAfVxHYKTOkfw36q6hywXK6RvtdnLiXyytIkeAewacHn3+uV9UUlN0n6BackLpqSjFM0PlJLZKt4cQBx+Mj/9KA4fpH8MNh0RDBqXXToqu5wNEpiJBhgf9D+sPzC0vWj4n49P7dNdN42Ne1pElXsDWxuB7MHIcPquN6x/FPX6oklsuio3UtujlIFS8eaoZjvtOC38l8+TTy1DzJNI5ziSeT7oDIr7tcbpWy3C4VclRPM5znvkcXHJOT37LEREAREQBERAEREAREQBERAEREAREQBERAEREAREQBERAEREAREUJAIiKICIiAIiIAiIgCIiAIiIAiIgCIiAIiIAiIgCIinEFcM0tPMyogkcySJwexzTgtcDkELcar1vq7XNZDcNYair7xU08fgxS1kxkcxmc7QT6ZXf6J+H5+rOn1N1DuXUbTunqSvr5rbRU9xMolqaiNrSWM2tIydwx+ax9T/D/qLTmnaq6NvVuuF2tEfjX6x0+/5yzR9i+oBG0DJaOCfxBcR9a6TO60SmvEi3HLi9nnDSk1jGcJtPGcJvLSN33S6VPKT0tZ5/DbP1+W5o7D1t6uaXtUFi071Fvtut9KC2Gmp6xzI4wTkgAduSud1JqjUWsLrJfdU3mrulwla1r6mqkL5HBowASfYLv9I9GtJal09SXq49d9FWKoqWlz7fXvmE8OCRh21hGeM8H1Vq4dJNNWzWultNUPU+w6pp79cIaSoksrpCaZrpGt829o5IccfkqqV90ehdTdKGmqtWWqck3jeXm0pPj13JSo3U6a1SzHbC1J/LbP8AIovPWnq/qPpTQ9Orlc7hPpi2zPcJNjyHg7Q2J7/wljNo2t9MqNF9CXrqXdNMdR5+idDb6R2h6S5fYktkcD8vVP8AE8I1cg7+MTh/BxuaOFF3WfRNv6b9VdUaEtVTNUUdjuMtHDLNjxHtb2LscZVfQ7qjCp7tChGl4idWOn95NrLlssSzJZW632bw8ZvKc3HxHNy04i89n2S+Gz/oc0y+3iOyyacjuVQ22TVAqpKQPPhOmDdoeW/zgOMrO0Zf9Z6avTbnoS43OiugiewS28uE3hn8Q8vOO2Vo1OEN1reiHSzSOstCSmk1JrNlVNJdwB8xRRwS+GYYT22SAguyCcgYW/1StC3pqhCmpyrS0qL2i3pbep4e2mLzs3thJlNvB1JObk0orOVylnG31ZC9xqa6sr6mruksslZNK6Sd8ud7pCcuLs85znKkKt6z9X7x0np+ms90uEulqGZzi5rXkFmGgQvf+Hw24BDfQrqNYaVs2u9PdPOpUtIy21+tb1LZrnFSDEbjFJGx1Tzk+LIXuc70z2C2mreol06ddSazojZaOmfoq13A2ertEgPgXJwdsNTOByZT5XcEDLRwuLW6jR6iqUIW0Z1KblLTLCUHTlolpeGtSe0eE+W0jbhQnQ1N1GoywsrvqWVn4Y5IGst6u2nbrTXuxXCehr6N4lp6mB5bJE8erSOxXQ6p6u9T9bWz7G1dru83eh8Rsvy9XVOkZvGcOwfUZKyOtmibd056q6k0RaZ5pqO01ngQvlxvLdrXc449VxK9BQhZ9ThS6gqak3FSjJxWpJrKw3uuTRm6tu5UG2sNprO22x1GmdfdRemz6iHSupbxp91YGPmbTSuhMox5SR6jB4/NYWqtSaw1nWN1Nq+63G61ErRTtraxznlwZ2YHnvjPb6r6b+IrpdaOous7VDpG5uj1NR6asslxoZwNr6T5SMuqIg0Z2RMBfJnnHbK0HV6zaOovhn6dWfSN4dU0cerbrTVFxnx4Uk3hwiSRhAz4PqMjOF5Wx9pbC6na3MKCVau0pbbxThKWXLGWnpxH1XyaOlW6fWpqpTc8whut9nulxnbnf0+p80K/R0FdcZTBb6KeqkA3FkMbnux74AUx/wBz7oX/APaZ6d//AMSo/wD9a6v4abJe9OdQuodk6c6hp75eaXStYy03C1HLZ58xlpi3gc5OOR6Lq3ntRa0rSrcW2ZSgs4lGcFylvKUcJb787djWpdOqSqxhU2TfZpv14TPnyTTOpIY3SzafuTGMBc5zqSQAD3JwtavqvVd56/V+l7jRWr4lqTWFc2lkNz09b3l1VFThp+YLw6MNxGMh2D+S+VFtdE6pV6nCcqqgmmtouT/FThBr4PDT9Su8t427Sjnf1S/k2FkQ264VFNLW09BUS08P+ElZE5zGf5TgMD9q9tdKyuudHRSOLWVE8cTiO4DnAH+tT31D6hXLohrqt6PaUoKV+lbLK2kulvlafDv+WtcX1eOS7Dg3ykcNCuv+oVbetC1taeupJOWG9K0xaT3w98ySS9Xu0sshQoRnF1KjxFNLjO7zj9Hk+e1kVVtuNCyOStoKmnZMN0bpYnMDx7gkcr6Dj6MaQtHXXUlgfE+stmndPSamipJgPDmkbDHN4DwP97y8t45wO6t9OtUXf4jrpdOnvUSo+Zo6W0190tEwA8S0tpYXStp4PQRuDWsOcna0crmVPaeDp+9UIZoxhGc23hqMllaVjdpbtZW3GXsbK6c1Lw5vEm2kuza5y+3wPnhEXrGOke2NjSXOIAA9SV6nPc5p4imOn+G+tkoY6Oq6gafpdXzRjw9JymT7SfK4ZZCAG7N7gQR5schRzrPSzdIagl0+y9Ud1kgYzxZaPcWMlI88RyAdzHZafqCuZadYsr6o6NvPVJb8Pj1Taw16NbPs3hmxVta1GOqawvp/efh2NNT01RVSeDSwSTSYJ2xtLjgck4CtqZ9HsZ0CoI9dX7Y/VdzopYrZZX94aaeMtNRUD+a9jyWbTnLTkKuL4YrnPpux3On1/p6S96jt0VytunmmX56eJ+fwjbtyAHE89mlac/aK0o1G6z00m8Rlu1JrOrGFtGKS833ed8LJarGpKOILMuWvRbY+r9OSJbJqG+abqH1dhutTQTSMMb3wSFhc32JHoumvV8otQ2GW63vRs1NW7mMpa6gh8GlcMHd4mQd7yQDkH3WV1B6Q1WirZDf7Tqe16os5kFLU3C1l5hpKogkU8heAd+0Z4GMKQLDqG83b4MdYWm5XCSoo7Pqm0x0ET8Yp2vbM54bxnBPKlddbhGhSubVKcZVIQecxa1SUc4azlNrZ4278CnZtzlTqbNRb9c4WfX81kgd9IS8NpnioyG/gBzuP6uO5OV4aCuaZw6inBpv8ODGfuuceb+bz7roumJ06NbWz9Jvtn5bxm+D9keH818zkeFs8Ty/jx3X2h1kPQD+TSu+xBqD7e8H/AMdvsrwPn9/G37S3+X/C4/wf62Vo9c9p30a9o2aoSn4ndcR37/ov8ziu+S6z6crulOrrS09n3/v9Ms+BkXQ6Y05adTVz6SfU9BZGxxbxLcC4NkdnAa3aDzhdrP8ADV1OaC+itRrWEbmOh5D2nsR9F6s5hFKKQXfD/wBZGuIHT66kD1DG8/xXn8gPWX/F7df8xv8AagI/RSB/ID1l/wAXt1/zG/2p/ID1l/xe3X/Mb/agI/RSB/ID1l/xe3X/ADG/2p/ID1l/xe3X/Mb/AGoCP0UgfyA9Zf8AF7df8xv9qfyA9Zf8Xt1/zG/2oCP0UgfyA9Zf8Xt1/wAxv9qfyA9Zf8Xt1/zG/wBqAj9FIH8gPWX/ABe3X/Mb/avP5Ausmcfye3XP+Q3+1AcAtppa20941Ja7VV7vBrKuKGTacHa5wBwf2rq/5Aesvb+T26/5jf7VttIdEuq9r1bZq24aGucEEFbDLI9zG4a0PBJPKoupOFCco8pP9DbsIRqXdKE1lOUU/wAUU3Ok6NU2oanS1PpvUYqmVbqFk7q+MsEm7YHEbc4zzhcDqqwTaV1HcdOz1DJ5LfO6B0jAQ15HqAVN1wotW6gu93uWlehNruEUVwqIY7lFE8v8ZjyN+d/4gcHt3XBXbov1vuVdNdLvoi8T1VU8ySyyNbue49yeVyOjwutqlTUouK+9LU29t1u8LnbblHovaSrY5lRo6HNTeHCGhKKymnstTzjD3xh77kcrvLZaNB6e0/brtrOkuF0kvTHy07LfVNiNO1jtpbJuByScEfRes6DdYJDhmgLof/gb/atrp7onf4640utLJdoZy0mC10rW/Nzt9ZGbvLsacA855C3uotKnHVNxWeI/els9ljfnf5LfbJyuiqTrScKcZPHM8aY7rMpJpp7ZSz3axvg1V10jp6qm03frDHVU1m1BXfJNpaiQPnjLHta8l4GDndxxwt9frX0hsl6uFnborVtX9n1D6d88VY0scWnBP4OFXedE9XKi5251u6eV1JbLNM2Whog0Bgc1wJeRu/E/aC7HGVsWXjrdqG8y1Vk09V2m3S1piuFNQtHgul3DxS7cSckHlcWrQvpaFqeEpPHiOLxnbOMttR2zus9z01vd9LgqslBZcoLPhKab0vVpUsRjFy3SynjGFsRvbdN0eq79XyWRstusdGPmJ5ap3iOpafIG5+38XJA4HqtjctO6V1Fb6iu0DHVwy2uMvq6SrlEj5o2/inY4ABrRx5Tzyu9k06216j6mWe0W3wKe4QPtlrhjHlln3Mf4TPrtBK5rprpm/Wyivlxr7VPBTXO01Fvo5HDiaocQGxt+pIP7lJX1SrB14Sa0qGmLf3lJJ7/xN5a+a23yQfS6NCorSrCMtbqqckvuuEpJaX+4lhSx3T32wiL0XUO6X9QGZ3aUrxjv5B/arI6d63PI01W98fgXqDwhzqLondO9bs5dpqtGePwD+1eP6e61iGZNN1jQfdiA55FvDobVw76fqx/8CodozVLXBrrHVAn02IDTItyNGaqc0ubYqohvc7Oytv0pqOMAvs1SA7geRAapFsjpm/gbjaajAOPwKgWC9OO0WyfP+SgMBFniw3kuLBbZ8juNq8+wrxu2/Z0+fbagMFFsBp69nta6j/MV6LSepJiBFZql2e2GIDUou1b0X6omkNwOjK9tM1hldKQ0AMAyXd+2OVbsVL0/stYJdWVdVdGOp2zQstu0tbIT/g5d+P24QGr0tofVOs61tBpyzz1cruRgYb/nHhT7YunnSbohC29dSr3S3i9ugdPSUEPmY7HdhGCA7OBkn3UWV/XbWMIhptFuj0pRQs2fLWzLWSHP4nbsnOOFHlRUz1cz56mZ0kkji5znHJJJySgPo7W3xj3WvoYbfoKw/ZEfgvhmNVtkcGkYb4ZbjaQP9i+fL3qC96lrftK/3Sor6rYI/GneXu2jsMn0WAiAIiIAiK7SUtRXVUNFSRGWeokbFExvdz3HAA/MlG0lljktKuCCeqmZT00Mk0sh2sZG0uc4+wA5KlOb4VviFgifPN0qvLY42l7nER8ADJP4ll/DkymivupYqZrG6wZZ5W6TH+/i7B7fD8HPHiY3Yzx3XEr9es1aVLmzqRq6MZUZJ4y8JtrOF3b7JN9jchZVfFjTqxcc+qa/DPL/AJkV1livdvh+Yr7PXU0WQ3fNTvY3J9MkYVFFarpc932bbaqr2fi8CF0m388DhfYmnbH1w1LZNW2v4lNRzywU+na642zT14LTNUzRMy2riDBjERODk93DgriOl/8AKWejtiHw4fO/pZ87W/pR9lbPH8DePlfF38Yxu24+q4UPa5ypT2puUZRjqU34S1RlJN1HFbeVxyotamlnnG4+lpSX3sNN4x5tmljTn4554yz5vrKGut8vy9fRz00uN2yaMsdj3wVkwad1BUwNqaaxXCWF43NkZSvc1w9wQMFfS/XDT9QOlugNYdTL3SX7VlVqeegvde7Jmgp42Rn5OY4AzHl2ce/ddPqCX4hIdX1MvS3VVdpvo0KgfZV1YWC10tuwMPHBfs3ZHbOSo/7YyqUIVKcYJtzTcpuMG6clFqD0OUnLOYrSm0mzP7KUZuMm3jHCTfmWctZwku7zsz40jp55pm00MEj5nO2tja0lxd7Ad8rLq7FfKCE1FfZq6miBAMk1O9jcnsMkYX1BX6e0lpX4nNcWSy01FBcIbOXaXbCCC67uhidE+HP67nlzhnjldTojT/XXVMWorL8S9+qZLezT9xrqCwXktMlZPDA5zKiIMGPunYJyR3HdYufbWNGnC5UIqDhCeJSam1JZ8kVF6sLltpJ8tLcU+kOcnTbectbLZY9XnbPbZnxjRWu5XNzm223VNWWDLhBC6QtH1wOFTWW+vt0ghuFFUUshG4Mmjcwke+CF9IdKf09/kZtI+HP5r9OvtWs/SX7L2/M/I4Z8r4u/jbu8Tbj6rJ642K8u6QaS1X1Sv1Pe9Yu1O+3XSeTmooYGwhxopiABlpJJxnv3W3/tTjqCtJRjhzcEtT8TKz5nDThQeMxerdNY5wVfs7NDxU3lJPOPLvjZPPKzusep830+ndQVcLKmlsVwmikGWyR0r3NcPoQMFYDmuY4se0tc04IIwQV9jagn+Iam1BNU9INVV+m+kEfhutl2iLBa6Kj2N3ydi/YJN+eCc5ULfFXpyy6V6zXK02GCmjpvlKOcupwRHNJJA1z5Rn+e4l37VPo3tO+p3cbacYpzi5rTJyccOOY1FpSjNalmKbaaee2cXXTvd6TqJvZpbrCec7x3eVtzsRCrlNS1NZM2mpKeWeV/DY42FznfkByVbU16WA6V9FKDrFpwD9J73eqmzU1Y8ea2NhY1/jQez3Bxac5GF3eo3zsacdEdU5yUYrhOTTe77LCbbw+Nk2adCj4zeXhJZfyIXqKeopJn09VBJDLGcPjkaWuafYg8hXae23GrglqqWgqZoYf8LJHE5zWf5RAwP2qX9aww9R+kVJ1hvUTWajZfW2KvqYhzccxeIamb3l5DeMDAHC3vUXXN16Baq/kr0RFC2wUcED7vTyDi++LG2Qiqx3wHlg248q5a67VrabehSTr5knFyxFaNOrEsb/ejp23zvjDxsOzjDM5y8m2HjffONvo8/lk+e1kVFtuNHDFU1dBUwRTcxSSROa1/+SSMH9i+jh0G0azr/LpUmZ1ri0odXimIGwyij+a+W/8AZZ8nvt9crXdO9a3b4gtSzdMNd+HJZJ6SpntETB/9R+DE6QNpc9gQxrDuz5QqJe1FOpT95t4aqcYRqTbeGoSzjCw9T2baytls28ImunSjLw6jxJtxXxaxz6LdHz9T09RVzMpqWCSaWQ4ZHG0uc4/QDkpUU1RSTOpqunkhlYcOjkYWuafqDyFMWjBH016NjrHY4mP1LXXuSx0VVIPNbNsQl+Yg9pDy3nIwTwqtXbOp/Rep6xagja3U1qvcNlq6uMea5iSN0njz+8gADRjAwFtvrj94xo/wdfh6s7684+7j7uds5zntjcq9z8nPmxqx2x8/Xv8AzyQ/TW241sUs9HQVM8cIzI+KJzmsH9IgcftWOvobqJrC7fD1f6TppoFzYbSKCkrLuHjzXoVELZDHU47tAe5g24O0rMd0N0fVdfLfppolitdfphurHUrANjJDSuqflwP+CyNvvt9Vqw9qIQp+83ENNKUJVINPLcY4zqWFpe6aWXs98PKLX06Tl4cHmSai/g3xh9z51nt1wpaeKrqaCohgn/wUskTmsf8A5JIwf2LHX0H0819c+u+sIek+sqWn/Ry5tlZaaSIeWwbI3PBpM9uGbPNnykqAauFtPVzQNJIjkcwE+wOF1en9Qq3FWdtcw0VIpSwnqWmWdO+Fv5WmuzWzawzWr0IwiqlN5i8r03WM/qsFpERdKRrBERRAW50lpC+62vDLJp+kE1Q5pe4ucGsjYO73uPAaPdaZSz0Sgnu+m9d6WskzGagulBAbewvDHzMjc8yxsJ/WIczj1wgNbcehOqaa21tytN809fvs4F1XT2utdLNE0d3bXMbuA9S3KjjtwVMXQXp/1Ah6j0tyGn7pRUdsbNJcJJqZ7GmERuDo8EDeXdtoz7qLdQvikv8Ac5IIXRROrJnMjc3BY0vOAR6YCA16KSnQaWqug09db9MR010o77TU9TcZZRNPOXQyuIadrfCj4b5BnkZLjxjq+mtm0rbdDaYrap9rN31ZfZqGNtfp6G6xyNZsjZE8yPYaePc/LnxEyHcMcNC2oWrnJJPtn88d8dzQqXypwcnF5UtP5Zztnt/xIKRfRNh0daaKxUOmbppqytr62jvTpbaYIpa+5yxueIZ6Ope0uiij2Hyuljc4RuIbJnLvnZQrUHRSbfP/AA/qWW13G5clFcfnu1/L+3lIiKdNV9FtE6bsdZcG0mrqi301qhuNHquncyqs91lJaH04EEDvlHOdvY0yTOLXNG9uCFQbZBaKWLvpXpFHonTuoaOh1FaqjU7rjDFPcr/HNS0L6YsAfI2C3+JKHF/4WhpHvjJHDaIo9O3C+Cj1Hbb/AHFk0TmUlDZPDFTVVRwIotz2v2NJPJEb3cABpzkAaBF3nUnRGndA9R26anqroy1tZSVFXE9sclfRNlja+SB/4GOlYHEfqgnGQOy6STRXS2fTdj1Xa9M6ymF/u89mobRLf6WOqq3N2bKiKX5MtLNz/DczZw8jznByBD6KcdSdMukOn6vV92hOqbjY9JzUFrlhhulM2aW4TOf45bOaYsMUYYWgeGHOcM5aCs+4dCdA6RvbaDVU+o66mu+qYrDa30NXBTvggkhilbNNvheJXgTxtLW7B5XHIyAgPn9FPeougWlLJX3rp/HUXuTV1l04b++uNTF8hM5rwXwin8LxG/dnh/inzfq4WDqvpL04s0OqYKao1NBPoOvtsF5qJJ6eobWQTu8OV1PCI4zE9sh8ofI8FvcgoCEkUvP6cdMbzZNOapoL5d9J2273eptz471K2vnqYYmsInpxTwR9y7wy1w2h5GZAMlV3DpXorT116h1FyF9utt0hdKe10VDR1kVPV1DppXta+SV0MjQAIzw2LzOIHlxzlPAPTrvS8PQbQumBcg+7WbWNXdKykbG/dHTOZFtfuI2nJaRgHPC6yt6xaFv2reu+pW3GWkp9a2R8FnjqIHeJPKZYiGENBDThjjyQOO6jm7dFrozrRVdHrLcIPmhI4089eTE0R/LfMASFrThwZwcDG72HbLrvh8v1PZjeqDWmlrpHJaai90kNHLVmWspIDiZ8YfTtALTxteWE4O0OwV52p7NWlRuTlLLcnyv3qkarXH8UEvlnvub8eo1Y4SS4S/CLj+j/ABPNI9Vum+n9P0lovfQLT9/radpEtwqbhUxyTnJOS1h2jjjj2WJfuqel6nU+ntTaP6U2jS77FVsq3w0lXNK2rcx7XNDy8kt/Djj3W8qvhj1HQzVVPW9QNGQvoK2mt1YDUVh+XqKkA07HbaY53hw5buDed+3BxFd/slfpq+XDT11jDKy2VUtJO1pyBJG4tdg+oyOD7Ldj0W0VZ1nqblnOalRrfnyuWnv6bdsFTvKriobYWP3Y52+OMk211o6f6k1PJ14qddU1LbJqr7TrLVvZ9pNuG7eYo4T+KHxC0B5OduTjhcDertVdeOs1Xea2W22GfVt0dPI6ectpqYv5OXkZxxgZ9SFwKNc5rg5riCDkEHkFRteje6NzVRuai4QbS8kdtsd90st84XG+ZVLvxMJxws5fxf8ALv8AiSX8QHR+n6K68m0lR6nor1AGCSOSGUOljGB5ZmjhjsnIHtgrdWOrsnWLQNh6cXC/0Gnb1pMTttk9fMIqKqp5X+JMZpTyyQHaGtA55yogrK2suFS+sr6uapnkOXyzSF73cY5ceTwrKLpderZ0adzW1V6eGqiSXmw03p4w02mvR9mY95hGrOVOGIS/dz2znGSXda9RbNp6h0f0+0i77Vt+hbk+6fPzeU1NW97HTRjbwYg6PDXDkg5XQ3m26D6g6oqOvFfrikt1BU1P2jdrUZG/aEdZncY6eE/4SLdtAcSDjcccKAUVT9n4QjF29RwmtSctm5Kb1TznZNy3yls+2Nifv0m3rimtsL0wsL8Ft8TqOp+uajqXr+967qqGOjlvFT8w6CNxc1nlDcAnnsFy6Iu1b29O0owoUViMUkl6JLCX4GpOcqknOXL3ZPPXnqjUWzq3T6m6c6lhcZNIW60zVNMWyN2uoWRTxHORnu0+oWtvuptPn4YtA2EVtJV3G3asulZVW7xPvBA6OHaXAchrtpGfzUMIuJQ9nLehQtqMXvRcXnCzLTGUUm//ADt/A2539Sc6kn+/nbsstPb8Cav5b+kX/wCy9pb/AKVrP7VzNgn0prXXtxfBU/oDFcoi21w0dQ75WCoOA1ksrzubEcEl3JCjtFsU+hW9vGfu8pxlJYy5znj6TlJfl8CErypUa8RJpfBL80kz6M0Ppm2dB6i/a21L1E0rfIq+xV9njprLchVVLp6mMsY4swPKD+I54XE/Dz0Spet2p62yVuq6Kyw0VFNU5lla2WVzY3Obsae7QW+Y+g5UUq/RV9dbpvmbfWz0su1zPEhkLHbSMEZHOCOCFrS6PeRo15UrjFxUSSnpWI6c48vHd/2ixXVJzgpU/JFvbPOed/obC40T9I6okoxW0VwfaqsYnpJfEgmLHA5Y/wBWnHdTLqO36C60X6frLd9b01jgqXNqNS2x72isilDQNtDG7/Dt2tby4jkkeigNFuXfTJXLhVhVcKsU46klunjUsPK3aTXo0u2zppXCppxccxbzj4rj9Sa4OvtNW9X7zrW7WvwLZqC0v09VeDl0kNI6NkRmY095NrAdp4ycLYWD9HPh4kr9b2/Vlr1LcbvQVVvs9DR1AkDaWpjdHI+rLeYpWseCGjILgR6KBEWnU9m7ZxVGk3Gk4xhKPOqMfurL3W2za5Xo9y2N/UT1yWZZbT9G+WFcpSRUwlpcD4jcFoye/p9VbQEtIc0kEcghehaysGij7arYKJtTHqCFugqXWEcUUlPf9S3qSivME4YNkstK0GNrmjG0di0AnuoOs9mo+nrdWa86gtgqdZWuth+zrTWHY2qdUlzvnmY5cGHa9vG0hwzwsHTnxQ9UNNWalsdMzTtbFSM2MnuNkp6uocM/ryyNLne3J7YUZXu93TUV0qLxeKySpqql5e973E4yeGjPZo7ADgDgLwPRvZvqFtKrRupJU3hZUm5OKedKyloi1lOMdlny4O3d39CoozppuSzykkm1z8Wn3fpuL5fLrqO6VF5vVY+prKp5kkkd6knPA7Ac9hwF9Cy9UtH6V6g9G9W1FwFZR6e0lBT3BtHiSSKXZM0sIz+IF4yF82IvUdQ6Lb9RjCnPaMVKOFttOLi/lhPY51C7nQblHdtp7+qeSXhqSyTfDff7KLlA241Wto66Kkc8CV0Hy5G/b7ZOM+6kvS3TK10/w86m6fz9W9AR3XUF5tl1pmuvIDWRRRyB4edvDsvHH5r5WRaF57OzrwcKFdwTqKq/KnvFxcVv2Tj9cl1K+UHmcM+XTzjZ5z+plV9K+1XOoo2VcUr6Sd0Ynp37mPLXY3Md6g4yCqDXVzjMXVk5NT/hiZD97znzfzufdWEXpFDZat2aGfQdl0emOomtNH3D7U0/qCrp6jwzFuL942nuMOyPRc4ikYPofRvxkawtFLSW3UtqprqBN/fFc95bL4ZdzhrQBkDsuu1J8atFTyY0rpsVbM96sujOP2ZXyUiA+lj8b+qM8aGteP8A8pk/sT+7f1T/AMRrV/zmT+xfNKID6W/u39U/8RrV/wA5k/sT+7f1T/xGtX/OZP7F80ogPpb+7f1T/wARrV/zmT+xP7t/VP8AxGtX/OZP7F80ogPpb+7f1T/xGtX/ADmT+xP7t/VP/Ea1f85k/sXzSiA+lv7t/VH/ABGtX/OZP7FUPje1JnnQ9s/5xIvmdEB9Oj43b5u82i7ft/8AbyKxcvjSvtbRT0kGlaKmkmicxk7ZXl0ZI4cAeCQvmlFhpSWHwSjJwalF4aPorSXxZDSNoZaKDR1IWue6eeQyvzLM/l8hHoSecDhb1/xsVBHGkaUn6yPXywiRiorC4EpOcnKTy2faHS74oKnqTr2yaGZY6W3yXmqFMKna+URZBOdu5ue3bIUo6p6RtvfUCey2/wCLCx2q/PIjisMdupnVUbvDD9ojdUmXlvmxjtz2Xxj8LX/nB6G/96N/0HL6q6r9XfhR6a9errfdS9LtT1+vrPPDNJcqd+6nfN8szw3NY+qDOGOYMmLgjIBIyvk/txfdVn1aPTrDXJeC5qMKdKp59TinLxOI74bTz6Lk6vTbqrYp1qFRwk9m1Jx25xsQvqLqRqTpBrq66U6oRv1Bd7a11K1zyWRNjlZ5nRlgbua9rhgkZH0OVw4633Snc+C2airqK3bvu6FlMwsbH/M3nzHjjJ5XJdXepFd1b6iXjqBcKFtE+6ytcylbKZGwRtY1jWBxAzw0ZOBkknAyuPX0GwsI1LCjC/ow8RRTkklpUmvNjlc54K/2xf06861OvNSly9Ty0uMvOWfSB+JzSR01+ip0HTCh8Lw9u5+4fXfndn65ytRo/wCIa3acrjcbrb3XuojBjpX1EewU0R7sa1vB59TyoGRdSVClKcajisx4eN18jTjdV4U5UozajLlZeHjjK7n1U74zKDnGj6U/mCn92TbNvGjaTP8AklfKqKwoPql3xk27bkaMpC7PYtOFQ34yqFziJNFUW304K+WUQH1KfjHt/ONE0J9vKVSPjHoSTu0Nb/p5SvlxEB9Rn4x6EDy6Gt/PfylB8YtuIO/Qtv47eUr5cRAfUY+MO2EkO0Jb9vp5Cqh8YNm7nQtAP/3a+WkQH1S34v8ATuAXaHogfXESux/F5pQuAfoulAJ7iAL5RRAfarPin6RU0ETrlaXmWVu7bTUbHhv0PPdRJrD4s9R3mimt+nNN2yzO8fdFWwtDpPDBOAWuGORjKgVEBv8AUevdXasuDrpfL7Uz1D42xOLX7GloGANrcD+C0CIgCIiAIiIAiIgC9a5zHB7HFrmnIIOCD7rxEBszqjUrgWu1FcyDwQauT+1V6VttTe9SW+10t4prXPVTiNlbVVBhigJ/XfJ+qPqtSiplRioSjSSi2ucL9O5NTeU5bk+NqqboVQ3a53TXlv1hqS92yos9HT2+vNXSQ0c7ds0kkv4mSAhu1uMEZz2UfdL9E3jWDq4WrqDZNMfLBm83K6Oo/GznG3H4sY/iuERcqj0idGjU01P8WeMycVjbhKPGEs/Vt5NiV0pyjmPlXbPr8eSV+qmsrZS6LtHRqyV4u9PYrjPdKu7Ofu8atmYGSsjI4fENgLX9znlZelOnLTpu36q1X1ftFLpwRCoqrXSXUyXFkQP+DbTHDS/OPLnsodRP2O6Vsre3qad3KUtKbbllyaztFtvKaW3oPelKo6lSOdsJZxjHHzO/1nq2r6w9WZNQRTUljlutRDBFNLOY4oAxjY2ve/u3hoJPplSHRVkfQFlw1HddfWzWOoLnbqq02+kt9xNXTR09RGY55JZPxMe0EFoAw7nK+fUWLjodOtSp2ilihGKi4YWWlwtT3Sxs8cruZheShKVVrM2859H8uDt+l+jbtrCpr4bVr2zaYdTRsc99yuZoxMCTgNI/ERjt9V0HVDVNttWirf0ctV1bezbLnJd7ldRJvZJXPj8N7IXf75FgAh5wTyooRX1OmOvdxuKs8xi8xjhLEksZcuX3wiEbjRSdOK3ezee3y7Ev6T6aNrNL0OpNU9YLRQ6bfEZay2Ut1L7jHACQ5jKY4a5/GQ0nnK57qNrB/WXqZ9qhtJa2Vny1uhknlLYmRxMbEySRx/DlrQXe3K4FFGj0uULiV1Vqap4ko+VJRUmm9ly3hZb9FxuZncJ01TjHC2zvnOP07/iS58QvQql6I3W0UVFrCgvUdzt1PVubFM10sb3xhziWgf4Mk+R3qF7oq+2XX/Ten6JXy6U1int9xmu1nuE7w2nmqJWta+OoeeI2BjchwBJJwoprK+vuMrZrhWz1UjGNia+aRz3BjRhrQSeABwB6KwqqfSq9Wxp0L2trrQepVEkvMs4enjhtNd16PclK5hGtKdKGIPbTnO3pklnXuorJo7QdN0X0/cYb06nugvF0uETgYRWBnh+HTuHEkW3B3HBzkYXRaio9G9drm3qndNZ0OnzHFEzUVunla2dgjYGN+Ra7mcljMndjzHCgRFD9gqEYzo1XGqnJueE29eNez23wsemFzvnPvrbanFOO23pjj9X88k5N+I1p6zSa/fZWC3y2M6VLQ528UJp/lvmMf8L4fn29t3HZZOnqbSXQS4S9TLZrG36hkqaeaDT9vp5mvmLJWFjjWtbzCQx+QBnzAhQIirn7NW2lUqLcKbioTjzqhHOFl7rlptbtN/BqS6hUzqmsyy2n6N8slnQd9setOnruimoLnDZJG3J93tFwlcGwPq3MEZjqXHiOIMDjuGTuwFVri+2PQvTmTonYLpBfJqm5R3e8XCF4dTxVUbCxsdM8cSRljgS4gEOyFEiLY/YlP3jxNb8PVr0dtf8AFnnGd8cZ342K/e5aNON8Yz8PT/j6E96gh0r1/q6bqLctX27TlTQ0kFLfaCqnax/hQRtYx1GHczPcxhJBxhxAWJJ8Q8UPWSk13S2dr7dQ2VumIw8kSPohCafxyPSTYd23tnhQeiop+zVtpdGs3KmouEI8aYyxlZW74STfCS+ZZLqFTOuKxLKbfq1wyc9ODp/0Q1N/KPadaQ36WOndUact0TSZpBIHR4rsDbCQ0uO1rnOyBkYOVCbhPcax7oYS6SZ7n7GjPfJKtwQyVMzIIW7nyENaM4yVN2j7bpS13LQVv1Bpenr7tqaupaN5a7ZFT0rpmxlxA/HK4PPPphb1lYe6VJVpzc6kkk5PHEc4WFhd2/Vtv4Ja9av4iUIrEVl4Xq+f0RBxGDgovo34o+idn6aSUL9GUMbLdc3vmkbIQZIXsacta4/qEZOPdRdobp3Sa2s9JLQzVbrkdRUlsq42lvhx0dQ07ZhxkEOZJk8jGOODnpwhKrLTHk06taFCOufBwaKe6XoLoibW9XQ/bV3l03UNtX2TPHNEJ5jWSbcOcWFrtojnJ2t/VH7YV+zKR14qrdLdaehhgfMGzVTZHNOzOG/dMcdzsYHlxk8kDlTq206ONXfP5FNC9pXGdGdknx6muV6jrKu31MdZQ1MtPPEdzJI3Frmn3BC7K6aI05RdKLfrig1FJcLpU3UUNVBHE5kFKDCZBGS9oc+QYGXN8nOBuxuXDqucHTaT77l9KrGqm49nj04O3outXU+juVDdDrC4TSUEoliZJJlhOMEOHqCOOVd6ua30p1BulDqOxadltFzngP2wwbRBLUZGHxgHPPOcgei4+zRW2a8UMN5llit8lTE2rfEQHthLhvLcgjIbnGQeVLE3Qu30uldY11TXVzLzZq6rZaIC5myrpKUxmaRzQ0uJ2StI2kAYOQp06E6qbj2Kq91St2lU7/1x+XciuPUF3isE2mI6vFsqKplbJB4bfNMxpa127G4YDiMA457LeWzqpraz+KLbXUELJJxVMiFppDFTzhu0SwMMRbTyYA88Qa44BJyMqRqvobo6LU1it1PdrtJbYXVdPqeo8WHNLNTUzJ5fCIZhoIfgbg7kclc/q7pNYdKUl9fXahdTPgvht9pmqC4xTU7YPHL3iONz3Oc2SFoLQ1u5+Scdr3b3FLzZxjbn4Z/v4moruzrtR05zvx8cfy/DBy1v6oa4tdvNupLxGG7JomVElHBLVxMlz4jY6l7DNGHbnEhjxy5x9SuWUuWnpXpOtoLbY5zejqW76Yn1HT1LKqJtEwt8R0cLoTEXkFkRy8SDkjDSFEaprQqRS1vP8v72Nq2qUZyl4Sw++2M87/qetcWODxjLTkZAI/ce6k93VzS1G283bTfTgWe+3+zyWesMFyH2W1srWtmkiohCHNLg0kNMzmNcc7TgBReioNo62fWlsuWmNLaTvNjqpaPTs1fLK+mrmwy1PzLmOAaXRPEe0xjkh+4E/h7rVaXuWmrbWzO1VpiS9UU8D4hHBXuo54Xn8Mscga9u4Y7Pje0gnjOCNOiA73U3UHS+qrrY6u5aOr3UVhhorbBSG8NzNbaduPBkkbACZnOLiZW7QGnaIxgOXR1XW/S38oFi1/bdCXWKSwu20ttqL5BJR08DY3tiigZHRxmMMe5r8kvLiDnLnFyh9EB2+kuoNstll1DpzWNhrr5b9Qz01XN8rcm0U7KiF7nB/iOhlBDg9wILfXIIK7Gb4hbZero+56u0JUVxpdRR6htcVHeBTNpnRxRxMglLoJDMzbDFkgsJLTggHChdEBMd++ISK+G56gfpGaLV13sf2DVXIXMOpPBLwXyMpfBDg8tG3mYtHfB5zbvvW/TF7N4e/p5WNdquuoKrUTX33cyqjpjuMUAbA0wB78EuLpCBwMcERAiAkLqF1I03rG8W692jS93tclufFHBST3iGoo6ekjOWU8EUdJEYwD+sXOJyScuJcs+h6z0kOu9Va2nsl9pJdSTGaJ9k1LLbaujBk3ujEzY3NlY4cODo/QFpae8XIgO/pOrte3qzUdVrlaWVNRUGpzSMm8NrWy0z4GtDy134Gub6c7fTPGfZ+tf2VSW2l/Rnxfs7Stfpnd87t3/Mve7x8eGcbd+NnOcfiCjFEBK1467fa1wvVf8Aot4X2xqG237Z89u8L5Rpb4WfDG7dn8XGPYrhNb6l/TLWF61Z8l8n9r101b8v4nieF4jy7buwN2M98D8lpERPACIilqYCIiamAiImpgIiJqYCIiamAiImpgIiJqYCIiamAiImpgIiJqYCIiamAiImpgIiJqYCIiamAiImpgIiJqYCIiamAiImpgIiJqYCIiamAiImpgIiJqYCIiamDf6B1rdenWsbVreyU9LPXWecVEEdUxzonOwRhwa5pI59CFf6l9Qbz1U1xdNfahpqKnuF2fG+eKiY9kLSyNsY2h7nOHDB3cecrmUWr7pQ96990LxdOnV305zj5Z3Janp09giItrUyIRETUwERE1MBERNTARETUwERE1MBERNTARETUwERE1MBERNTARETUwERE1MBERNTARETUwERE1MBERNTARETUwERE1MBERNTARETUwERE1MBERNTARETUwERE1MBERNTABI5CljRXUjStvn0zR3exz3B2nKmK4UVW6VsUkU7HiQxZzh0RLBweVE6KPIJX639cKrrPPBV11LJQGgkLKWljIMXhEeZzj3L84+mMrm+mfUqp6b1N2nhtja4XOgfSsa6Yx+BN3jnHBDiw5IBHOe4XGIpwnKnJSi9yurShXg6dRZTJPsvXCqtNl0bZ5bAKj9E7iK2SYVex9dGxz3RQnyHYGeLIAfN+LtwuYvF36eV9Wauh0nqKnMr5ZJhLf4JcucDt24o27QHEE5zkccHlcuinK4qSWmTyvkiqFnRpycoLDfxfdt+vx+h0H6Wf+IH6DfIf/rj7W+a8X/0HheHsx+3du+mPVYNg1NqTSdcbnpbUFys1Y6MxGot9XJTylhIJbuYQcEgHGccBa1FXKTljJdGEYZ099y7V1dVX1U1dXVMtTU1MjpZppXl75HuOXOc48kkkkk8klSqzr/VnUulb9U6ZjmgsFtfb62kNWdtzMkeyWR7iwlu4BnGHY2BRKinTrTpfceOPy4K61tSuMeIs4z+awyQaDrBcqWy60tVTbW1M2r5XTCpdOQaN73HxS1u0h29jtn6uB+5W9YdUKfXNHp2gvtiqGw2O3GmlNNXNZJWVOxrBUOLonAeWOIFuDkNOHDPHBIpO4quOlvb/jn9SCsqEZ61Hf6+mP0/rySXbOr9BbrXQyu0rUSaitlin0/TXEXMMpxBIZAHupxFuL2tlc0ESgHuQo0RFCdWdRJSfBZSoU6Lbgufn/ffg//Z"/>
          <p:cNvSpPr>
            <a:spLocks noChangeAspect="1" noChangeArrowheads="1"/>
          </p:cNvSpPr>
          <p:nvPr/>
        </p:nvSpPr>
        <p:spPr bwMode="auto">
          <a:xfrm>
            <a:off x="207433" y="-144461"/>
            <a:ext cx="4064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8456"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Verdana"/>
              <a:ea typeface="+mn-ea"/>
              <a:cs typeface="+mn-cs"/>
            </a:endParaRPr>
          </a:p>
        </p:txBody>
      </p:sp>
      <p:grpSp>
        <p:nvGrpSpPr>
          <p:cNvPr id="10" name="Groupe 9"/>
          <p:cNvGrpSpPr/>
          <p:nvPr/>
        </p:nvGrpSpPr>
        <p:grpSpPr>
          <a:xfrm>
            <a:off x="4824162" y="970800"/>
            <a:ext cx="2712000" cy="5612996"/>
            <a:chOff x="3204088" y="461805"/>
            <a:chExt cx="2160000" cy="5987764"/>
          </a:xfrm>
        </p:grpSpPr>
        <p:grpSp>
          <p:nvGrpSpPr>
            <p:cNvPr id="6" name="Groupe 5"/>
            <p:cNvGrpSpPr/>
            <p:nvPr/>
          </p:nvGrpSpPr>
          <p:grpSpPr>
            <a:xfrm>
              <a:off x="3204088" y="1067576"/>
              <a:ext cx="2160000" cy="5381993"/>
              <a:chOff x="3204088" y="1067576"/>
              <a:chExt cx="2160000" cy="5381993"/>
            </a:xfrm>
          </p:grpSpPr>
          <p:pic>
            <p:nvPicPr>
              <p:cNvPr id="102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4296" t="8035" r="16600" b="18407"/>
              <a:stretch/>
            </p:blipFill>
            <p:spPr bwMode="auto">
              <a:xfrm>
                <a:off x="3204088" y="1067576"/>
                <a:ext cx="2160000" cy="388479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9" name="Picture 5"/>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9170" t="31797" r="20109" b="11946"/>
              <a:stretch/>
            </p:blipFill>
            <p:spPr bwMode="auto">
              <a:xfrm>
                <a:off x="3330088" y="5013176"/>
                <a:ext cx="1920883" cy="14363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5" name="ZoneTexte 4"/>
            <p:cNvSpPr txBox="1"/>
            <p:nvPr/>
          </p:nvSpPr>
          <p:spPr>
            <a:xfrm>
              <a:off x="3443674" y="461805"/>
              <a:ext cx="1755757" cy="492489"/>
            </a:xfrm>
            <a:prstGeom prst="rect">
              <a:avLst/>
            </a:prstGeom>
            <a:noFill/>
          </p:spPr>
          <p:txBody>
            <a:bodyPr wrap="none" rtlCol="0">
              <a:spAutoFit/>
            </a:bodyPr>
            <a:lstStyle/>
            <a:p>
              <a:pPr marL="0" marR="0" lvl="0" indent="0" algn="l" defTabSz="1218456"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efore CAR-T</a:t>
              </a:r>
              <a:endPar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11" name="Groupe 10"/>
          <p:cNvGrpSpPr/>
          <p:nvPr/>
        </p:nvGrpSpPr>
        <p:grpSpPr>
          <a:xfrm>
            <a:off x="7993869" y="943179"/>
            <a:ext cx="3922428" cy="5640614"/>
            <a:chOff x="5683735" y="432343"/>
            <a:chExt cx="3134298" cy="6017226"/>
          </a:xfrm>
        </p:grpSpPr>
        <p:grpSp>
          <p:nvGrpSpPr>
            <p:cNvPr id="9" name="Groupe 8"/>
            <p:cNvGrpSpPr/>
            <p:nvPr/>
          </p:nvGrpSpPr>
          <p:grpSpPr>
            <a:xfrm>
              <a:off x="5683735" y="1052736"/>
              <a:ext cx="3134298" cy="5396833"/>
              <a:chOff x="5683735" y="1052736"/>
              <a:chExt cx="3134298" cy="5396833"/>
            </a:xfrm>
          </p:grpSpPr>
          <p:pic>
            <p:nvPicPr>
              <p:cNvPr id="1030" name="Picture 6"/>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9677" t="27844" r="19218" b="17997"/>
              <a:stretch/>
            </p:blipFill>
            <p:spPr bwMode="auto">
              <a:xfrm>
                <a:off x="6277919" y="5013176"/>
                <a:ext cx="1926072" cy="14363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1" name="Picture 7"/>
              <p:cNvPicPr>
                <a:picLocks noChangeAspect="1" noChangeArrowheads="1"/>
              </p:cNvPicPr>
              <p:nvPr/>
            </p:nvPicPr>
            <p:blipFill rotWithShape="1">
              <a:blip r:embed="rId6">
                <a:extLst>
                  <a:ext uri="{28A0092B-C50C-407E-A947-70E740481C1C}">
                    <a14:useLocalDpi xmlns:a14="http://schemas.microsoft.com/office/drawing/2010/main" val="0"/>
                  </a:ext>
                </a:extLst>
              </a:blip>
              <a:srcRect l="58996" t="18152" r="19409" b="51803"/>
              <a:stretch/>
            </p:blipFill>
            <p:spPr bwMode="auto">
              <a:xfrm>
                <a:off x="5683735" y="1052736"/>
                <a:ext cx="3134298" cy="39178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12" name="ZoneTexte 11"/>
            <p:cNvSpPr txBox="1"/>
            <p:nvPr/>
          </p:nvSpPr>
          <p:spPr>
            <a:xfrm>
              <a:off x="5839653" y="432343"/>
              <a:ext cx="2660713" cy="492489"/>
            </a:xfrm>
            <a:prstGeom prst="rect">
              <a:avLst/>
            </a:prstGeom>
            <a:noFill/>
          </p:spPr>
          <p:txBody>
            <a:bodyPr wrap="none" rtlCol="0">
              <a:spAutoFit/>
            </a:bodyPr>
            <a:lstStyle/>
            <a:p>
              <a:pPr marL="0" marR="0" lvl="0" indent="0" algn="l" defTabSz="1218456"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3 months post CAR-T</a:t>
              </a:r>
              <a:endPar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8" name="ZoneTexte 7"/>
          <p:cNvSpPr txBox="1"/>
          <p:nvPr/>
        </p:nvSpPr>
        <p:spPr>
          <a:xfrm>
            <a:off x="335366" y="159023"/>
            <a:ext cx="10346167" cy="584775"/>
          </a:xfrm>
          <a:prstGeom prst="rect">
            <a:avLst/>
          </a:prstGeom>
          <a:noFill/>
        </p:spPr>
        <p:txBody>
          <a:bodyPr wrap="square" rtlCol="0">
            <a:spAutoFit/>
          </a:bodyPr>
          <a:lstStyle/>
          <a:p>
            <a:pPr marL="0" marR="0" lvl="0" indent="0" algn="l" defTabSz="1218456"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002060"/>
                </a:solidFill>
                <a:effectLst/>
                <a:uLnTx/>
                <a:uFillTx/>
                <a:latin typeface="Calibri" panose="020F0502020204030204" pitchFamily="34" charset="0"/>
                <a:ea typeface="+mn-ea"/>
                <a:cs typeface="Calibri" panose="020F0502020204030204" pitchFamily="34" charset="0"/>
              </a:rPr>
              <a:t>Patient with Refractory FL treated with CAR T-cell</a:t>
            </a:r>
            <a:endPar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endParaRPr>
          </a:p>
        </p:txBody>
      </p:sp>
      <p:sp>
        <p:nvSpPr>
          <p:cNvPr id="13" name="ZoneTexte 12"/>
          <p:cNvSpPr txBox="1"/>
          <p:nvPr/>
        </p:nvSpPr>
        <p:spPr>
          <a:xfrm>
            <a:off x="335366" y="1340766"/>
            <a:ext cx="3744735" cy="3786229"/>
          </a:xfrm>
          <a:prstGeom prst="rect">
            <a:avLst/>
          </a:prstGeom>
          <a:noFill/>
          <a:ln>
            <a:solidFill>
              <a:schemeClr val="tx1">
                <a:lumMod val="40000"/>
                <a:lumOff val="60000"/>
              </a:schemeClr>
            </a:solidFill>
          </a:ln>
        </p:spPr>
        <p:txBody>
          <a:bodyPr wrap="square" rtlCol="0">
            <a:spAutoFit/>
          </a:bodyPr>
          <a:lstStyle/>
          <a:p>
            <a:pPr marL="0" marR="0" lvl="0" indent="0" algn="l" defTabSz="1218456"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53 year old patient</a:t>
            </a:r>
          </a:p>
          <a:p>
            <a:pPr marL="0" marR="0" lvl="0" indent="0" algn="l" defTabSz="1218456" rtl="0" eaLnBrk="1" fontAlgn="auto" latinLnBrk="0" hangingPunct="1">
              <a:lnSpc>
                <a:spcPct val="100000"/>
              </a:lnSpc>
              <a:spcBef>
                <a:spcPts val="0"/>
              </a:spcBef>
              <a:spcAft>
                <a:spcPts val="0"/>
              </a:spcAft>
              <a:buClrTx/>
              <a:buSzTx/>
              <a:buFontTx/>
              <a:buNone/>
              <a:tabLst/>
              <a:defRPr/>
            </a:pPr>
            <a:endParaRPr kumimoji="0" lang="en-US" sz="26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1218456"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sistant to 4 lines of subsequent Tx:</a:t>
            </a:r>
          </a:p>
          <a:p>
            <a:pPr marL="0" marR="0" lvl="0" indent="0" algn="l" defTabSz="1218456"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80990" marR="0" lvl="0" indent="-380990" algn="l" defTabSz="1218456" rtl="0" eaLnBrk="1" fontAlgn="auto" latinLnBrk="0" hangingPunct="1">
              <a:lnSpc>
                <a:spcPct val="100000"/>
              </a:lnSpc>
              <a:spcBef>
                <a:spcPts val="0"/>
              </a:spcBef>
              <a:spcAft>
                <a:spcPts val="0"/>
              </a:spcAft>
              <a:buClrTx/>
              <a:buSzTx/>
              <a:buFontTx/>
              <a:buChar char="-"/>
              <a:tabLst/>
              <a:defRPr/>
            </a:pPr>
            <a:r>
              <a:rPr kumimoji="0" lang="en-US" sz="26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CHOP x 6</a:t>
            </a:r>
          </a:p>
          <a:p>
            <a:pPr marL="380990" marR="0" lvl="0" indent="-380990" algn="l" defTabSz="1218456" rtl="0" eaLnBrk="1" fontAlgn="auto" latinLnBrk="0" hangingPunct="1">
              <a:lnSpc>
                <a:spcPct val="100000"/>
              </a:lnSpc>
              <a:spcBef>
                <a:spcPts val="0"/>
              </a:spcBef>
              <a:spcAft>
                <a:spcPts val="0"/>
              </a:spcAft>
              <a:buClrTx/>
              <a:buSzTx/>
              <a:buFontTx/>
              <a:buChar char="-"/>
              <a:tabLst/>
              <a:defRPr/>
            </a:pPr>
            <a:r>
              <a:rPr kumimoji="0" lang="en-US" sz="26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a:t>
            </a:r>
            <a:r>
              <a:rPr kumimoji="0" lang="en-US" sz="2667"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HAOx</a:t>
            </a:r>
            <a:r>
              <a:rPr kumimoji="0" lang="en-US" sz="26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 Ibru</a:t>
            </a:r>
          </a:p>
          <a:p>
            <a:pPr marL="380990" marR="0" lvl="0" indent="-380990" algn="l" defTabSz="1218456" rtl="0" eaLnBrk="1" fontAlgn="auto" latinLnBrk="0" hangingPunct="1">
              <a:lnSpc>
                <a:spcPct val="100000"/>
              </a:lnSpc>
              <a:spcBef>
                <a:spcPts val="0"/>
              </a:spcBef>
              <a:spcAft>
                <a:spcPts val="0"/>
              </a:spcAft>
              <a:buClrTx/>
              <a:buSzTx/>
              <a:buFontTx/>
              <a:buChar char="-"/>
              <a:tabLst/>
              <a:defRPr/>
            </a:pPr>
            <a:r>
              <a:rPr kumimoji="0" lang="en-US" sz="2667"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binu</a:t>
            </a:r>
            <a:r>
              <a:rPr kumimoji="0" lang="en-US" sz="26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 LEN</a:t>
            </a:r>
          </a:p>
          <a:p>
            <a:pPr marL="380990" marR="0" lvl="0" indent="-380990" algn="l" defTabSz="1218456" rtl="0" eaLnBrk="1" fontAlgn="auto" latinLnBrk="0" hangingPunct="1">
              <a:lnSpc>
                <a:spcPct val="100000"/>
              </a:lnSpc>
              <a:spcBef>
                <a:spcPts val="0"/>
              </a:spcBef>
              <a:spcAft>
                <a:spcPts val="0"/>
              </a:spcAft>
              <a:buClrTx/>
              <a:buSzTx/>
              <a:buFontTx/>
              <a:buChar char="-"/>
              <a:tabLst/>
              <a:defRPr/>
            </a:pPr>
            <a:r>
              <a:rPr kumimoji="0" lang="en-US" sz="26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enda + </a:t>
            </a:r>
            <a:r>
              <a:rPr kumimoji="0" lang="en-US" sz="2667"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binu</a:t>
            </a:r>
            <a:endParaRPr kumimoji="0" lang="en-US" sz="26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 name="ZoneTexte 13"/>
          <p:cNvSpPr txBox="1"/>
          <p:nvPr/>
        </p:nvSpPr>
        <p:spPr>
          <a:xfrm>
            <a:off x="90564" y="6524208"/>
            <a:ext cx="1901483" cy="261610"/>
          </a:xfrm>
          <a:prstGeom prst="rect">
            <a:avLst/>
          </a:prstGeom>
          <a:noFill/>
        </p:spPr>
        <p:txBody>
          <a:bodyPr wrap="none" rtlCol="0">
            <a:spAutoFit/>
          </a:bodyPr>
          <a:lstStyle/>
          <a:p>
            <a:pPr marL="0" marR="0" lvl="0" indent="0" algn="l" defTabSz="1218456"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Lyon University Hospital</a:t>
            </a:r>
            <a:endParaRPr kumimoji="0" lang="en-US" sz="1100" b="0" i="0" u="none" strike="noStrike" kern="1200" cap="none" spc="0" normalizeH="0" baseline="0" noProof="0" dirty="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53457284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709011-3AE3-4C46-9E11-057CB4412369}"/>
              </a:ext>
            </a:extLst>
          </p:cNvPr>
          <p:cNvSpPr>
            <a:spLocks noGrp="1"/>
          </p:cNvSpPr>
          <p:nvPr>
            <p:ph type="title"/>
          </p:nvPr>
        </p:nvSpPr>
        <p:spPr>
          <a:xfrm>
            <a:off x="550352" y="246269"/>
            <a:ext cx="11954801" cy="713851"/>
          </a:xfrm>
        </p:spPr>
        <p:txBody>
          <a:bodyPr vert="horz" lIns="91440" tIns="45720" rIns="0" bIns="0" rtlCol="0" anchor="ctr">
            <a:noAutofit/>
          </a:bodyPr>
          <a:lstStyle/>
          <a:p>
            <a:pPr>
              <a:lnSpc>
                <a:spcPct val="100000"/>
              </a:lnSpc>
            </a:pPr>
            <a:r>
              <a:rPr lang="en-US" sz="3200" b="1" dirty="0">
                <a:solidFill>
                  <a:srgbClr val="002060"/>
                </a:solidFill>
                <a:latin typeface="Calibri" panose="020F0502020204030204" pitchFamily="34" charset="0"/>
                <a:cs typeface="Calibri" panose="020F0502020204030204" pitchFamily="34" charset="0"/>
              </a:rPr>
              <a:t>ZUMA-5: Axicabtagene-Ciloleucel (axi-cel)</a:t>
            </a:r>
            <a:endParaRPr lang="en-US" sz="2800" b="1" dirty="0">
              <a:solidFill>
                <a:schemeClr val="tx1">
                  <a:lumMod val="50000"/>
                </a:schemeClr>
              </a:solidFill>
              <a:latin typeface="Calibri" panose="020F0502020204030204" pitchFamily="34" charset="0"/>
              <a:cs typeface="Calibri" panose="020F0502020204030204" pitchFamily="34" charset="0"/>
            </a:endParaRPr>
          </a:p>
        </p:txBody>
      </p:sp>
      <p:pic>
        <p:nvPicPr>
          <p:cNvPr id="18" name="Picture 17">
            <a:extLst>
              <a:ext uri="{FF2B5EF4-FFF2-40B4-BE49-F238E27FC236}">
                <a16:creationId xmlns:a16="http://schemas.microsoft.com/office/drawing/2014/main" id="{B8168C1F-C62D-804B-AB2B-9DF319EB9395}"/>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rcRect t="7800"/>
          <a:stretch>
            <a:fillRect/>
          </a:stretch>
        </p:blipFill>
        <p:spPr>
          <a:xfrm>
            <a:off x="366083" y="2129426"/>
            <a:ext cx="5359803" cy="3841716"/>
          </a:xfrm>
          <a:prstGeom prst="rect">
            <a:avLst/>
          </a:prstGeom>
        </p:spPr>
      </p:pic>
      <p:sp>
        <p:nvSpPr>
          <p:cNvPr id="36" name="TextBox 35">
            <a:extLst>
              <a:ext uri="{FF2B5EF4-FFF2-40B4-BE49-F238E27FC236}">
                <a16:creationId xmlns:a16="http://schemas.microsoft.com/office/drawing/2014/main" id="{1C120A34-6973-C746-8FED-863FC513007F}"/>
              </a:ext>
            </a:extLst>
          </p:cNvPr>
          <p:cNvSpPr txBox="1"/>
          <p:nvPr/>
        </p:nvSpPr>
        <p:spPr>
          <a:xfrm>
            <a:off x="7872110" y="6540104"/>
            <a:ext cx="4043094" cy="261610"/>
          </a:xfrm>
          <a:prstGeom prst="rect">
            <a:avLst/>
          </a:prstGeom>
          <a:noFill/>
        </p:spPr>
        <p:txBody>
          <a:bodyPr wrap="none" rtlCol="0">
            <a:spAutoFit/>
          </a:bodyPr>
          <a:lstStyle/>
          <a:p>
            <a:pPr marL="0" marR="0" lvl="0" indent="0" algn="l" defTabSz="1215138"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Jacobson C et al, Lancet </a:t>
            </a:r>
            <a:r>
              <a:rPr kumimoji="0" lang="en-US" sz="11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nc</a:t>
            </a: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022; </a:t>
            </a:r>
            <a:r>
              <a:rPr kumimoji="0" lang="en-US" sz="1100" b="0" i="0" u="none" strike="noStrike" kern="1200" cap="none" spc="0" normalizeH="0" baseline="0" noProof="0" dirty="0" err="1">
                <a:ln>
                  <a:noFill/>
                </a:ln>
                <a:solidFill>
                  <a:srgbClr val="000000"/>
                </a:solidFill>
                <a:effectLst/>
                <a:uLnTx/>
                <a:uFillTx/>
                <a:latin typeface="Arial" panose="020B0604020202020204"/>
                <a:ea typeface="+mn-ea"/>
                <a:cs typeface="+mn-cs"/>
              </a:rPr>
              <a:t>Neelapu</a:t>
            </a:r>
            <a:r>
              <a:rPr kumimoji="0" lang="en-US" sz="1100" b="0" i="0" u="none" strike="noStrike" kern="1200" cap="none" spc="0" normalizeH="0" baseline="0" noProof="0" dirty="0">
                <a:ln>
                  <a:noFill/>
                </a:ln>
                <a:solidFill>
                  <a:srgbClr val="000000"/>
                </a:solidFill>
                <a:effectLst/>
                <a:uLnTx/>
                <a:uFillTx/>
                <a:latin typeface="Arial" panose="020B0604020202020204"/>
                <a:ea typeface="+mn-ea"/>
                <a:cs typeface="+mn-cs"/>
              </a:rPr>
              <a:t> et al. JCO 2025 </a:t>
            </a:r>
          </a:p>
        </p:txBody>
      </p:sp>
      <p:pic>
        <p:nvPicPr>
          <p:cNvPr id="37" name="Picture 36">
            <a:extLst>
              <a:ext uri="{FF2B5EF4-FFF2-40B4-BE49-F238E27FC236}">
                <a16:creationId xmlns:a16="http://schemas.microsoft.com/office/drawing/2014/main" id="{48BC22F8-A726-1E46-AFFB-3515DFDC5EBC}"/>
              </a:ext>
            </a:extLst>
          </p:cNvPr>
          <p:cNvPicPr>
            <a:picLocks noChangeAspect="1"/>
          </p:cNvPicPr>
          <p:nvPr/>
        </p:nvPicPr>
        <p:blipFill>
          <a:blip r:embed="rId5"/>
          <a:stretch>
            <a:fillRect/>
          </a:stretch>
        </p:blipFill>
        <p:spPr>
          <a:xfrm>
            <a:off x="3741795" y="2320242"/>
            <a:ext cx="1565304" cy="1108757"/>
          </a:xfrm>
          <a:prstGeom prst="rect">
            <a:avLst/>
          </a:prstGeom>
        </p:spPr>
      </p:pic>
      <p:sp>
        <p:nvSpPr>
          <p:cNvPr id="5" name="TextBox 4">
            <a:extLst>
              <a:ext uri="{FF2B5EF4-FFF2-40B4-BE49-F238E27FC236}">
                <a16:creationId xmlns:a16="http://schemas.microsoft.com/office/drawing/2014/main" id="{8CC73440-4079-60EB-8698-F140D5ABB48F}"/>
              </a:ext>
            </a:extLst>
          </p:cNvPr>
          <p:cNvSpPr txBox="1"/>
          <p:nvPr/>
        </p:nvSpPr>
        <p:spPr>
          <a:xfrm>
            <a:off x="1864625" y="1667760"/>
            <a:ext cx="2278572" cy="400110"/>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Arial" charset="0"/>
              </a:rPr>
              <a:t>High response rates</a:t>
            </a:r>
          </a:p>
        </p:txBody>
      </p:sp>
      <p:pic>
        <p:nvPicPr>
          <p:cNvPr id="4" name="Content Placeholder 7" descr="A graph of a number of patients&#10;&#10;AI-generated content may be incorrect.">
            <a:extLst>
              <a:ext uri="{FF2B5EF4-FFF2-40B4-BE49-F238E27FC236}">
                <a16:creationId xmlns:a16="http://schemas.microsoft.com/office/drawing/2014/main" id="{073EC9CA-B2BE-C131-63B1-19FD81582716}"/>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25000"/>
                    </a14:imgEffect>
                  </a14:imgLayer>
                </a14:imgProps>
              </a:ext>
              <a:ext uri="{28A0092B-C50C-407E-A947-70E740481C1C}">
                <a14:useLocalDpi xmlns:a14="http://schemas.microsoft.com/office/drawing/2010/main" val="0"/>
              </a:ext>
            </a:extLst>
          </a:blip>
          <a:stretch>
            <a:fillRect/>
          </a:stretch>
        </p:blipFill>
        <p:spPr>
          <a:xfrm>
            <a:off x="6158295" y="2286387"/>
            <a:ext cx="5808327" cy="3544064"/>
          </a:xfrm>
          <a:prstGeom prst="rect">
            <a:avLst/>
          </a:prstGeom>
        </p:spPr>
      </p:pic>
      <p:sp>
        <p:nvSpPr>
          <p:cNvPr id="7" name="TextBox 6">
            <a:extLst>
              <a:ext uri="{FF2B5EF4-FFF2-40B4-BE49-F238E27FC236}">
                <a16:creationId xmlns:a16="http://schemas.microsoft.com/office/drawing/2014/main" id="{DB1255E2-F370-C2D8-EF7C-B5000C43DF9D}"/>
              </a:ext>
            </a:extLst>
          </p:cNvPr>
          <p:cNvSpPr txBox="1"/>
          <p:nvPr/>
        </p:nvSpPr>
        <p:spPr>
          <a:xfrm>
            <a:off x="7872110" y="1790871"/>
            <a:ext cx="2859757" cy="276999"/>
          </a:xfrm>
          <a:prstGeom prst="rect">
            <a:avLst/>
          </a:prstGeom>
        </p:spPr>
        <p:txBody>
          <a:bodyPr vert="horz" wrap="none" lIns="0" tIns="0" rIns="0" bIns="0"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a:ea typeface="+mn-ea"/>
                <a:cs typeface="+mn-cs"/>
              </a:rPr>
              <a:t>Progression Free Survival</a:t>
            </a:r>
          </a:p>
        </p:txBody>
      </p:sp>
    </p:spTree>
    <p:extLst>
      <p:ext uri="{BB962C8B-B14F-4D97-AF65-F5344CB8AC3E}">
        <p14:creationId xmlns:p14="http://schemas.microsoft.com/office/powerpoint/2010/main" val="38979117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zuqSYCSJgUTE5mBcx3hBE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N0PZXbVa5t2_7.aIG8J3ig"/>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KPI_HAS_CHART" val="false"/>
</p:tagLst>
</file>

<file path=ppt/tags/tag23.xml><?xml version="1.0" encoding="utf-8"?>
<p:tagLst xmlns:a="http://schemas.openxmlformats.org/drawingml/2006/main" xmlns:r="http://schemas.openxmlformats.org/officeDocument/2006/relationships" xmlns:p="http://schemas.openxmlformats.org/presentationml/2006/main">
  <p:tag name="RNRSTYLE" val="Footnote"/>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E6I68z5y5H5MQDSVcW_LA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ZoyxwumNU857oeRDtjFi3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AcSlhDTBRU3MULkAf0mS6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7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8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9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FFFF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10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SCRI and SMO Theme">
  <a:themeElements>
    <a:clrScheme name="SCRI Color Theme">
      <a:dk1>
        <a:srgbClr val="285698"/>
      </a:dk1>
      <a:lt1>
        <a:srgbClr val="FFFFFF"/>
      </a:lt1>
      <a:dk2>
        <a:srgbClr val="285698"/>
      </a:dk2>
      <a:lt2>
        <a:srgbClr val="FFFFFF"/>
      </a:lt2>
      <a:accent1>
        <a:srgbClr val="0089CA"/>
      </a:accent1>
      <a:accent2>
        <a:srgbClr val="AFDFE1"/>
      </a:accent2>
      <a:accent3>
        <a:srgbClr val="EAD922"/>
      </a:accent3>
      <a:accent4>
        <a:srgbClr val="EC7624"/>
      </a:accent4>
      <a:accent5>
        <a:srgbClr val="009390"/>
      </a:accent5>
      <a:accent6>
        <a:srgbClr val="637592"/>
      </a:accent6>
      <a:hlink>
        <a:srgbClr val="0089CA"/>
      </a:hlink>
      <a:folHlink>
        <a:srgbClr val="008AC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wrap="square" rtlCol="0" anchor="ctr">
        <a:noAutofit/>
      </a:bodyPr>
      <a:lstStyle>
        <a:defPPr algn="ctr">
          <a:defRPr dirty="0"/>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CRI PPT Template" id="{C68A422E-886B-B746-A686-E3EA3A89E017}" vid="{BE889D7C-5B54-3B4F-A972-00BE85B67C0C}"/>
    </a:ext>
  </a:extLst>
</a:theme>
</file>

<file path=ppt/theme/theme15.xml><?xml version="1.0" encoding="utf-8"?>
<a:theme xmlns:a="http://schemas.openxmlformats.org/drawingml/2006/main" name="3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1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1_Office 2013 - 2022 Theme">
  <a:themeElements>
    <a:clrScheme name="Office 2013 - 2022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13 - 2022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18.xml><?xml version="1.0" encoding="utf-8"?>
<a:theme xmlns:a="http://schemas.openxmlformats.org/drawingml/2006/main" name="1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1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2_Office 2013 - 2022 Theme">
  <a:themeElements>
    <a:clrScheme name="Office 2013 - 2022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13 - 2022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21.xml><?xml version="1.0" encoding="utf-8"?>
<a:theme xmlns:a="http://schemas.openxmlformats.org/drawingml/2006/main" name="3_Office 2013 - 2022 Theme">
  <a:themeElements>
    <a:clrScheme name="Office 2013 - 2022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13 - 2022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22.xml><?xml version="1.0" encoding="utf-8"?>
<a:theme xmlns:a="http://schemas.openxmlformats.org/drawingml/2006/main" name="Office 2013 - 2022 Theme">
  <a:themeElements>
    <a:clrScheme name="Office 2013 - 2022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13 - 2022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23.xml><?xml version="1.0" encoding="utf-8"?>
<a:theme xmlns:a="http://schemas.openxmlformats.org/drawingml/2006/main" name="1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4.xml><?xml version="1.0" encoding="utf-8"?>
<a:theme xmlns:a="http://schemas.openxmlformats.org/drawingml/2006/main" name="15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5.xml><?xml version="1.0" encoding="utf-8"?>
<a:theme xmlns:a="http://schemas.openxmlformats.org/drawingml/2006/main" name="16_Office Theme">
  <a:themeElements>
    <a:clrScheme name="CRIZ G ASH">
      <a:dk1>
        <a:sysClr val="windowText" lastClr="000000"/>
      </a:dk1>
      <a:lt1>
        <a:sysClr val="window" lastClr="FFFFFF"/>
      </a:lt1>
      <a:dk2>
        <a:srgbClr val="44546A"/>
      </a:dk2>
      <a:lt2>
        <a:srgbClr val="E7E6E6"/>
      </a:lt2>
      <a:accent1>
        <a:srgbClr val="004676"/>
      </a:accent1>
      <a:accent2>
        <a:srgbClr val="F15922"/>
      </a:accent2>
      <a:accent3>
        <a:srgbClr val="FCAF17"/>
      </a:accent3>
      <a:accent4>
        <a:srgbClr val="007DA0"/>
      </a:accent4>
      <a:accent5>
        <a:srgbClr val="A5A5A5"/>
      </a:accent5>
      <a:accent6>
        <a:srgbClr val="00B2EA"/>
      </a:accent6>
      <a:hlink>
        <a:srgbClr val="ED7D31"/>
      </a:hlink>
      <a:folHlink>
        <a:srgbClr val="00467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17_Office Theme">
  <a:themeElements>
    <a:clrScheme name="MSK update 1">
      <a:dk1>
        <a:srgbClr val="000000"/>
      </a:dk1>
      <a:lt1>
        <a:srgbClr val="FFFFFF"/>
      </a:lt1>
      <a:dk2>
        <a:srgbClr val="9E9E98"/>
      </a:dk2>
      <a:lt2>
        <a:srgbClr val="D5D3C7"/>
      </a:lt2>
      <a:accent1>
        <a:srgbClr val="F15623"/>
      </a:accent1>
      <a:accent2>
        <a:srgbClr val="007CBA"/>
      </a:accent2>
      <a:accent3>
        <a:srgbClr val="F29900"/>
      </a:accent3>
      <a:accent4>
        <a:srgbClr val="006098"/>
      </a:accent4>
      <a:accent5>
        <a:srgbClr val="F6C65B"/>
      </a:accent5>
      <a:accent6>
        <a:srgbClr val="40B3E5"/>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2"/>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solidFill>
              <a:schemeClr val="bg1"/>
            </a:solidFill>
          </a:defRPr>
        </a:defPPr>
      </a:lstStyle>
    </a:spDef>
    <a:txDef>
      <a:spPr/>
      <a:bodyPr vert="horz" wrap="none" lIns="0" tIns="0" rIns="0" bIns="0" rtlCol="0">
        <a:spAutoFit/>
      </a:bodyPr>
      <a:lstStyle>
        <a:defPPr algn="l">
          <a:defRPr dirty="0" smtClean="0"/>
        </a:defPPr>
      </a:lstStyle>
    </a:txDef>
  </a:objectDefaults>
  <a:extraClrSchemeLst/>
  <a:extLst>
    <a:ext uri="{05A4C25C-085E-4340-85A3-A5531E510DB2}">
      <thm15:themeFamily xmlns:thm15="http://schemas.microsoft.com/office/thememl/2012/main" name="msk_ppt_16x9_190820" id="{A9D3D813-1DBC-844E-88B0-83A9D76E1E38}" vid="{DA564051-9776-4A4A-808D-61AF039A2E0E}"/>
    </a:ext>
  </a:extLst>
</a:theme>
</file>

<file path=ppt/theme/theme27.xml><?xml version="1.0" encoding="utf-8"?>
<a:theme xmlns:a="http://schemas.openxmlformats.org/drawingml/2006/main" name="18_Office Theme">
  <a:themeElements>
    <a:clrScheme name="Vaniam Group">
      <a:dk1>
        <a:srgbClr val="404040"/>
      </a:dk1>
      <a:lt1>
        <a:srgbClr val="FFFFFF"/>
      </a:lt1>
      <a:dk2>
        <a:srgbClr val="808080"/>
      </a:dk2>
      <a:lt2>
        <a:srgbClr val="EEECE1"/>
      </a:lt2>
      <a:accent1>
        <a:srgbClr val="E73435"/>
      </a:accent1>
      <a:accent2>
        <a:srgbClr val="F38428"/>
      </a:accent2>
      <a:accent3>
        <a:srgbClr val="80BF3B"/>
      </a:accent3>
      <a:accent4>
        <a:srgbClr val="4F5F95"/>
      </a:accent4>
      <a:accent5>
        <a:srgbClr val="43B9CA"/>
      </a:accent5>
      <a:accent6>
        <a:srgbClr val="0191B6"/>
      </a:accent6>
      <a:hlink>
        <a:srgbClr val="0000FF"/>
      </a:hlink>
      <a:folHlink>
        <a:srgbClr val="800080"/>
      </a:folHlink>
    </a:clrScheme>
    <a:fontScheme name="Franklin Gothic">
      <a:majorFont>
        <a:latin typeface="Franklin Gothic Medium" panose="020B0603020102020204"/>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B0503020102020204"/>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8.xml><?xml version="1.0" encoding="utf-8"?>
<a:theme xmlns:a="http://schemas.openxmlformats.org/drawingml/2006/main" name="ESMO 2017 template">
  <a:themeElements>
    <a:clrScheme name="Custom 9">
      <a:dk1>
        <a:srgbClr val="595454"/>
      </a:dk1>
      <a:lt1>
        <a:srgbClr val="FFFFFF"/>
      </a:lt1>
      <a:dk2>
        <a:srgbClr val="595454"/>
      </a:dk2>
      <a:lt2>
        <a:srgbClr val="A69F9F"/>
      </a:lt2>
      <a:accent1>
        <a:srgbClr val="BE2BBB"/>
      </a:accent1>
      <a:accent2>
        <a:srgbClr val="33D6F1"/>
      </a:accent2>
      <a:accent3>
        <a:srgbClr val="59FFB9"/>
      </a:accent3>
      <a:accent4>
        <a:srgbClr val="FDA97D"/>
      </a:accent4>
      <a:accent5>
        <a:srgbClr val="FFD186"/>
      </a:accent5>
      <a:accent6>
        <a:srgbClr val="AE7A65"/>
      </a:accent6>
      <a:hlink>
        <a:srgbClr val="BE2BBB"/>
      </a:hlink>
      <a:folHlink>
        <a:srgbClr val="A69F9F"/>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9.xml><?xml version="1.0" encoding="utf-8"?>
<a:theme xmlns:a="http://schemas.openxmlformats.org/drawingml/2006/main" name="1_NORMAL SLIDES">
  <a:themeElements>
    <a:clrScheme name="Custom 4">
      <a:dk1>
        <a:srgbClr val="6A6C6D"/>
      </a:dk1>
      <a:lt1>
        <a:srgbClr val="FFFFFF"/>
      </a:lt1>
      <a:dk2>
        <a:srgbClr val="064AA7"/>
      </a:dk2>
      <a:lt2>
        <a:srgbClr val="FC8730"/>
      </a:lt2>
      <a:accent1>
        <a:srgbClr val="BAA390"/>
      </a:accent1>
      <a:accent2>
        <a:srgbClr val="64B781"/>
      </a:accent2>
      <a:accent3>
        <a:srgbClr val="884E96"/>
      </a:accent3>
      <a:accent4>
        <a:srgbClr val="8D8E99"/>
      </a:accent4>
      <a:accent5>
        <a:srgbClr val="E84E4B"/>
      </a:accent5>
      <a:accent6>
        <a:srgbClr val="C1447D"/>
      </a:accent6>
      <a:hlink>
        <a:srgbClr val="FC8730"/>
      </a:hlink>
      <a:folHlink>
        <a:srgbClr val="FC8730"/>
      </a:folHlink>
    </a:clrScheme>
    <a:fontScheme name="Online Deck Rebran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0.xml><?xml version="1.0" encoding="utf-8"?>
<a:theme xmlns:a="http://schemas.openxmlformats.org/drawingml/2006/main" name="19_Office Theme">
  <a:themeElements>
    <a:clrScheme name="MSK update 1">
      <a:dk1>
        <a:srgbClr val="000000"/>
      </a:dk1>
      <a:lt1>
        <a:srgbClr val="FFFFFF"/>
      </a:lt1>
      <a:dk2>
        <a:srgbClr val="9E9E98"/>
      </a:dk2>
      <a:lt2>
        <a:srgbClr val="D5D3C7"/>
      </a:lt2>
      <a:accent1>
        <a:srgbClr val="F15623"/>
      </a:accent1>
      <a:accent2>
        <a:srgbClr val="007CBA"/>
      </a:accent2>
      <a:accent3>
        <a:srgbClr val="F29900"/>
      </a:accent3>
      <a:accent4>
        <a:srgbClr val="006098"/>
      </a:accent4>
      <a:accent5>
        <a:srgbClr val="F6C65B"/>
      </a:accent5>
      <a:accent6>
        <a:srgbClr val="40B3E5"/>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2"/>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solidFill>
              <a:schemeClr val="bg1"/>
            </a:solidFill>
          </a:defRPr>
        </a:defPPr>
      </a:lstStyle>
    </a:spDef>
    <a:txDef>
      <a:spPr/>
      <a:bodyPr vert="horz" wrap="none" lIns="0" tIns="0" rIns="0" bIns="0" rtlCol="0">
        <a:spAutoFit/>
      </a:bodyPr>
      <a:lstStyle>
        <a:defPPr algn="l">
          <a:defRPr dirty="0" smtClean="0"/>
        </a:defPPr>
      </a:lstStyle>
    </a:txDef>
  </a:objectDefaults>
  <a:extraClrSchemeLst/>
  <a:extLst>
    <a:ext uri="{05A4C25C-085E-4340-85A3-A5531E510DB2}">
      <thm15:themeFamily xmlns:thm15="http://schemas.microsoft.com/office/thememl/2012/main" name="msk_ppt_16x9_190820" id="{A9D3D813-1DBC-844E-88B0-83A9D76E1E38}" vid="{DA564051-9776-4A4A-808D-61AF039A2E0E}"/>
    </a:ext>
  </a:extLst>
</a:theme>
</file>

<file path=ppt/theme/theme31.xml><?xml version="1.0" encoding="utf-8"?>
<a:theme xmlns:a="http://schemas.openxmlformats.org/drawingml/2006/main" name="5_Default Design">
  <a:themeElements>
    <a:clrScheme name="1_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1_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25000"/>
          </a:spcAft>
          <a:buClrTx/>
          <a:buSzTx/>
          <a:buFontTx/>
          <a:buChar char="•"/>
          <a:tabLst/>
          <a:defRPr kumimoji="0" lang="en-US" sz="2400" b="0" i="0" u="none" strike="noStrike" cap="none" normalizeH="0" baseline="-2500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25000"/>
          </a:spcAft>
          <a:buClrTx/>
          <a:buSzTx/>
          <a:buFontTx/>
          <a:buChar char="•"/>
          <a:tabLst/>
          <a:defRPr kumimoji="0" lang="en-US" sz="2400" b="0" i="0" u="none" strike="noStrike" cap="none" normalizeH="0" baseline="-25000" smtClean="0">
            <a:ln>
              <a:noFill/>
            </a:ln>
            <a:solidFill>
              <a:schemeClr val="tx1"/>
            </a:solidFill>
            <a:effectLst/>
            <a:latin typeface="Arial" charset="0"/>
          </a:defRPr>
        </a:defPPr>
      </a:lstStyle>
    </a:lnDef>
  </a:objectDefaults>
  <a:extraClrSchemeLst>
    <a:extraClrScheme>
      <a:clrScheme name="1_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2.xml><?xml version="1.0" encoding="utf-8"?>
<a:theme xmlns:a="http://schemas.openxmlformats.org/drawingml/2006/main" name="20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562C1"/>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6.xml><?xml version="1.0" encoding="utf-8"?>
<a:theme xmlns:a="http://schemas.openxmlformats.org/drawingml/2006/main" name="4_Avaglio template">
  <a:themeElements>
    <a:clrScheme name="Custom 14">
      <a:dk1>
        <a:srgbClr val="000000"/>
      </a:dk1>
      <a:lt1>
        <a:srgbClr val="FFFFFF"/>
      </a:lt1>
      <a:dk2>
        <a:srgbClr val="0B41CD"/>
      </a:dk2>
      <a:lt2>
        <a:srgbClr val="544F4F"/>
      </a:lt2>
      <a:accent1>
        <a:srgbClr val="FF1F26"/>
      </a:accent1>
      <a:accent2>
        <a:srgbClr val="BC36F0"/>
      </a:accent2>
      <a:accent3>
        <a:srgbClr val="1482FA"/>
      </a:accent3>
      <a:accent4>
        <a:srgbClr val="BDE3FF"/>
      </a:accent4>
      <a:accent5>
        <a:srgbClr val="FAC9B5"/>
      </a:accent5>
      <a:accent6>
        <a:srgbClr val="ED4A0D"/>
      </a:accent6>
      <a:hlink>
        <a:srgbClr val="464646"/>
      </a:hlink>
      <a:folHlink>
        <a:srgbClr val="46464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60000"/>
            <a:lumOff val="40000"/>
          </a:schemeClr>
        </a:solidFill>
        <a:ln>
          <a:noFill/>
        </a:ln>
      </a:spPr>
      <a:bodyPr rtlCol="0" anchor="ctr"/>
      <a:lstStyle>
        <a:defPPr algn="ctr">
          <a:defRPr sz="1600" i="1"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ctr">
          <a:defRPr dirty="0" smtClean="0">
            <a:solidFill>
              <a:schemeClr val="bg2">
                <a:lumMod val="50000"/>
              </a:schemeClr>
            </a:solidFill>
            <a:latin typeface="+mn-lt"/>
          </a:defRPr>
        </a:defPPr>
      </a:lstStyle>
    </a:txDef>
  </a:objectDefaults>
  <a:extraClrSchemeLst/>
</a:theme>
</file>

<file path=ppt/theme/theme7.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3_Struttura predefinita">
  <a:themeElements>
    <a:clrScheme name="Struttura predefinit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truttura predefinit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truttura predefinit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ruttura predefinita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ruttura predefinita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ruttura predefinita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ruttura predefinita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ruttura predefinita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ruttura predefinita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ruttura predefinita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ruttura predefinita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ruttura predefinita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ruttura predefinita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ruttura predefinita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Custom 1">
    <a:dk1>
      <a:srgbClr val="000000"/>
    </a:dk1>
    <a:lt1>
      <a:srgbClr val="FFFFFF"/>
    </a:lt1>
    <a:dk2>
      <a:srgbClr val="0066CC"/>
    </a:dk2>
    <a:lt2>
      <a:srgbClr val="123361"/>
    </a:lt2>
    <a:accent1>
      <a:srgbClr val="009964"/>
    </a:accent1>
    <a:accent2>
      <a:srgbClr val="E7F0F9"/>
    </a:accent2>
    <a:accent3>
      <a:srgbClr val="D2E9E2"/>
    </a:accent3>
    <a:accent4>
      <a:srgbClr val="128A53"/>
    </a:accent4>
    <a:accent5>
      <a:srgbClr val="784687"/>
    </a:accent5>
    <a:accent6>
      <a:srgbClr val="1070B5"/>
    </a:accent6>
    <a:hlink>
      <a:srgbClr val="464646"/>
    </a:hlink>
    <a:folHlink>
      <a:srgbClr val="46464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56CFF285B972B489588099F06F32541" ma:contentTypeVersion="15" ma:contentTypeDescription="Create a new document." ma:contentTypeScope="" ma:versionID="a2809c8ac531a7085c3080229f292341">
  <xsd:schema xmlns:xsd="http://www.w3.org/2001/XMLSchema" xmlns:xs="http://www.w3.org/2001/XMLSchema" xmlns:p="http://schemas.microsoft.com/office/2006/metadata/properties" xmlns:ns2="7d689f85-9540-4145-9f5c-6f24686bb201" xmlns:ns3="f06c4294-987e-46bd-a550-858175ea534c" targetNamespace="http://schemas.microsoft.com/office/2006/metadata/properties" ma:root="true" ma:fieldsID="20e675f533239d8312ba5d43e82f8aa9" ns2:_="" ns3:_="">
    <xsd:import namespace="7d689f85-9540-4145-9f5c-6f24686bb201"/>
    <xsd:import namespace="f06c4294-987e-46bd-a550-858175ea534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Location" minOccurs="0"/>
                <xsd:element ref="ns3:SharedWithUsers" minOccurs="0"/>
                <xsd:element ref="ns3:SharedWithDetails" minOccurs="0"/>
                <xsd:element ref="ns2:MediaServiceAutoKeyPoints" minOccurs="0"/>
                <xsd:element ref="ns2:MediaServiceKeyPoints" minOccurs="0"/>
                <xsd:element ref="ns2:MediaServiceGenerationTime" minOccurs="0"/>
                <xsd:element ref="ns2:MediaServiceEventHashCode" minOccurs="0"/>
                <xsd:element ref="ns2:MediaLengthInSeconds" minOccurs="0"/>
                <xsd:element ref="ns2:Permissiontowrite_x003f_"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d689f85-9540-4145-9f5c-6f24686bb20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Permissiontowrite_x003f_" ma:index="21" nillable="true" ma:displayName="Permission to write?" ma:default="1" ma:format="Dropdown" ma:internalName="Permissiontowrite_x003f_">
      <xsd:simpleType>
        <xsd:restriction base="dms:Boolean"/>
      </xsd:simpleType>
    </xsd:element>
    <xsd:element name="MediaServiceObjectDetectorVersions" ma:index="22"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06c4294-987e-46bd-a550-858175ea534c"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ermissiontowrite_x003f_ xmlns="7d689f85-9540-4145-9f5c-6f24686bb201">true</Permissiontowrite_x003f_>
  </documentManagement>
</p:properties>
</file>

<file path=customXml/itemProps1.xml><?xml version="1.0" encoding="utf-8"?>
<ds:datastoreItem xmlns:ds="http://schemas.openxmlformats.org/officeDocument/2006/customXml" ds:itemID="{B3F894BD-268E-419E-A26E-DD2327395C3A}">
  <ds:schemaRefs>
    <ds:schemaRef ds:uri="http://schemas.microsoft.com/sharepoint/v3/contenttype/forms"/>
  </ds:schemaRefs>
</ds:datastoreItem>
</file>

<file path=customXml/itemProps2.xml><?xml version="1.0" encoding="utf-8"?>
<ds:datastoreItem xmlns:ds="http://schemas.openxmlformats.org/officeDocument/2006/customXml" ds:itemID="{86B0F62C-43BB-42CB-BF3C-68EA977E498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d689f85-9540-4145-9f5c-6f24686bb201"/>
    <ds:schemaRef ds:uri="f06c4294-987e-46bd-a550-858175ea534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543F5AC-B49F-4106-80AC-E9EE3F993834}">
  <ds:schemaRefs>
    <ds:schemaRef ds:uri="http://schemas.openxmlformats.org/package/2006/metadata/core-properties"/>
    <ds:schemaRef ds:uri="7d689f85-9540-4145-9f5c-6f24686bb201"/>
    <ds:schemaRef ds:uri="http://schemas.microsoft.com/office/2006/documentManagement/types"/>
    <ds:schemaRef ds:uri="f06c4294-987e-46bd-a550-858175ea534c"/>
    <ds:schemaRef ds:uri="http://purl.org/dc/elements/1.1/"/>
    <ds:schemaRef ds:uri="http://schemas.microsoft.com/office/infopath/2007/PartnerControls"/>
    <ds:schemaRef ds:uri="http://purl.org/dc/dcmitype/"/>
    <ds:schemaRef ds:uri="http://purl.org/dc/term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719</TotalTime>
  <Words>20997</Words>
  <Application>Microsoft Macintosh PowerPoint</Application>
  <PresentationFormat>Widescreen</PresentationFormat>
  <Paragraphs>3082</Paragraphs>
  <Slides>177</Slides>
  <Notes>103</Notes>
  <HiddenSlides>0</HiddenSlides>
  <MMClips>0</MMClips>
  <ScaleCrop>false</ScaleCrop>
  <HeadingPairs>
    <vt:vector size="8" baseType="variant">
      <vt:variant>
        <vt:lpstr>Fonts Used</vt:lpstr>
      </vt:variant>
      <vt:variant>
        <vt:i4>25</vt:i4>
      </vt:variant>
      <vt:variant>
        <vt:lpstr>Theme</vt:lpstr>
      </vt:variant>
      <vt:variant>
        <vt:i4>32</vt:i4>
      </vt:variant>
      <vt:variant>
        <vt:lpstr>Embedded OLE Servers</vt:lpstr>
      </vt:variant>
      <vt:variant>
        <vt:i4>2</vt:i4>
      </vt:variant>
      <vt:variant>
        <vt:lpstr>Slide Titles</vt:lpstr>
      </vt:variant>
      <vt:variant>
        <vt:i4>177</vt:i4>
      </vt:variant>
    </vt:vector>
  </HeadingPairs>
  <TitlesOfParts>
    <vt:vector size="236" baseType="lpstr">
      <vt:lpstr>Microsoft YaHei</vt:lpstr>
      <vt:lpstr>MS PGothic</vt:lpstr>
      <vt:lpstr>MS PGothic</vt:lpstr>
      <vt:lpstr>Aptos</vt:lpstr>
      <vt:lpstr>Aptos Display</vt:lpstr>
      <vt:lpstr>Arial</vt:lpstr>
      <vt:lpstr>Arial Narrow</vt:lpstr>
      <vt:lpstr>Calibri</vt:lpstr>
      <vt:lpstr>Calibri Light</vt:lpstr>
      <vt:lpstr>Courier New</vt:lpstr>
      <vt:lpstr>Franklin Gothic Book</vt:lpstr>
      <vt:lpstr>Franklin Gothic Medium</vt:lpstr>
      <vt:lpstr>Garamond</vt:lpstr>
      <vt:lpstr>Gill Sans MT</vt:lpstr>
      <vt:lpstr>Krub</vt:lpstr>
      <vt:lpstr>Monaco</vt:lpstr>
      <vt:lpstr>Montserrat SemiBold</vt:lpstr>
      <vt:lpstr>Symbol</vt:lpstr>
      <vt:lpstr>System Font Regular</vt:lpstr>
      <vt:lpstr>Times</vt:lpstr>
      <vt:lpstr>Times New Roman</vt:lpstr>
      <vt:lpstr>Trebuchet MS</vt:lpstr>
      <vt:lpstr>Verdana</vt:lpstr>
      <vt:lpstr>Wingdings</vt:lpstr>
      <vt:lpstr>ヒラギノ角ゴ Pro W3</vt:lpstr>
      <vt:lpstr>Office Theme</vt:lpstr>
      <vt:lpstr>3_Office Theme</vt:lpstr>
      <vt:lpstr>1_Office Theme</vt:lpstr>
      <vt:lpstr>4_Office Theme</vt:lpstr>
      <vt:lpstr>2_Office Theme</vt:lpstr>
      <vt:lpstr>4_Avaglio template</vt:lpstr>
      <vt:lpstr>5_Office Theme</vt:lpstr>
      <vt:lpstr>6_Office Theme</vt:lpstr>
      <vt:lpstr>3_Struttura predefinita</vt:lpstr>
      <vt:lpstr>7_Office Theme</vt:lpstr>
      <vt:lpstr>8_Office Theme</vt:lpstr>
      <vt:lpstr>9_Office Theme</vt:lpstr>
      <vt:lpstr>10_Office Theme</vt:lpstr>
      <vt:lpstr>SCRI and SMO Theme</vt:lpstr>
      <vt:lpstr>3_Default Design</vt:lpstr>
      <vt:lpstr>11_Office Theme</vt:lpstr>
      <vt:lpstr>1_Office 2013 - 2022 Theme</vt:lpstr>
      <vt:lpstr>12_Office Theme</vt:lpstr>
      <vt:lpstr>13_Office Theme</vt:lpstr>
      <vt:lpstr>2_Office 2013 - 2022 Theme</vt:lpstr>
      <vt:lpstr>3_Office 2013 - 2022 Theme</vt:lpstr>
      <vt:lpstr>Office 2013 - 2022 Theme</vt:lpstr>
      <vt:lpstr>14_Office Theme</vt:lpstr>
      <vt:lpstr>15_Office Theme</vt:lpstr>
      <vt:lpstr>16_Office Theme</vt:lpstr>
      <vt:lpstr>17_Office Theme</vt:lpstr>
      <vt:lpstr>18_Office Theme</vt:lpstr>
      <vt:lpstr>ESMO 2017 template</vt:lpstr>
      <vt:lpstr>1_NORMAL SLIDES</vt:lpstr>
      <vt:lpstr>19_Office Theme</vt:lpstr>
      <vt:lpstr>5_Default Design</vt:lpstr>
      <vt:lpstr>20_Office Theme</vt:lpstr>
      <vt:lpstr>think-cell Slide</vt:lpstr>
      <vt:lpstr>Prism 10</vt:lpstr>
      <vt:lpstr>PowerPoint Presentation</vt:lpstr>
      <vt:lpstr>Fifth Annual National General Medical Oncology Summit</vt:lpstr>
      <vt:lpstr>Disclosures for Moderator Neil Love, MD</vt:lpstr>
      <vt:lpstr>PowerPoint Presentation</vt:lpstr>
      <vt:lpstr>PowerPoint Presentation</vt:lpstr>
      <vt:lpstr>Clinicians in the Meeting Room</vt:lpstr>
      <vt:lpstr>Clinicians Attending via Zoom</vt:lpstr>
      <vt:lpstr>PowerPoint Presentation</vt:lpstr>
      <vt:lpstr>PowerPoint Presentation</vt:lpstr>
      <vt:lpstr>PowerPoint Presentation</vt:lpstr>
      <vt:lpstr>Faculty</vt:lpstr>
      <vt:lpstr>Keynote Session:  Diffuse Large B-Cell Lymphoma and Follicular Lymphoma</vt:lpstr>
      <vt:lpstr>Keynote Session:  Diffuse Large B-Cell Lymphoma and Follicular Lymphoma</vt:lpstr>
      <vt:lpstr>PowerPoint Presentation</vt:lpstr>
      <vt:lpstr>Keynote Session:  Diffuse Large B-Cell Lymphoma and Follicular Lymphoma</vt:lpstr>
      <vt:lpstr>Evidence-Based Incorporation of Antibody-Drug Conjugates and Other Novel Strategies into the Management of DLBCL </vt:lpstr>
      <vt:lpstr>Disclosures</vt:lpstr>
      <vt:lpstr>PowerPoint Presentation</vt:lpstr>
      <vt:lpstr>PowerPoint Presentation</vt:lpstr>
      <vt:lpstr>Patients treated with Pola-R-CHP required 23% fewer  subsequent therapies versus patients treated with R-CHOP</vt:lpstr>
      <vt:lpstr>PowerPoint Presentation</vt:lpstr>
      <vt:lpstr>POLARIX: Common Adverse Events</vt:lpstr>
      <vt:lpstr>Despite Phoenix (R-CHOP +/- Ibrutinib) being a negative study, further analyses support evaluating BTK inhibition for DLBCL subsets</vt:lpstr>
      <vt:lpstr>Preliminary Results from a Phase II Trial of Frontline Acalabrutinib + DA-EPOCH-R or R-CHOP in DLBCL</vt:lpstr>
      <vt:lpstr>PowerPoint Presentation</vt:lpstr>
      <vt:lpstr>POLARGO: randomized Phase III trial  in patients with transplant-ineligible R/R DLBCL</vt:lpstr>
      <vt:lpstr>POLARGO Baseline characteristics</vt:lpstr>
      <vt:lpstr>PowerPoint Presentation</vt:lpstr>
      <vt:lpstr>POLARGO: Survival benefit seen in both ABC and GCB cell of origin subgroup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LOTIS-7: PATIENT BASELINE CHARACTERISTICS TREATED POPULATION (N=41)</vt:lpstr>
      <vt:lpstr>LOTIS-7 SAFETY SUMMARY: CRS/ICANS PROFILE &amp; MANAGEMENT TREATED POPULATION (N=41)</vt:lpstr>
      <vt:lpstr>LOTIS-7: BEST OVERALL RESPONSE &amp; DURATION OF RESPONSE</vt:lpstr>
      <vt:lpstr>Golcadomide is a potential, first-in-class, oral CELMoD™ agent for NHL</vt:lpstr>
      <vt:lpstr>Phase 1b study (NCT04884035): Golcadomide + R-CHOP resulted in durable CMRs with encouraging 1-year PFS rates, including in patients with high-risk disease1</vt:lpstr>
      <vt:lpstr>GOLSEEK-1 (NCT06356129) is a global, multicenter, randomized, Phase 3 study of Golcadomide + R-CHOP vs R-CHOP in previously untreated high-risk LBCL</vt:lpstr>
      <vt:lpstr>Keynote Session:  Diffuse Large B-Cell Lymphoma and Follicular Lymphoma</vt:lpstr>
      <vt:lpstr>PowerPoint Presentation</vt:lpstr>
      <vt:lpstr>Disclosures</vt:lpstr>
      <vt:lpstr>A decade of change: DLBCL circa 2016 </vt:lpstr>
      <vt:lpstr>Lymphoma Circa 2026</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hase I Surovatamig Data: Response Rates by TD</vt:lpstr>
      <vt:lpstr>Phase I Surovatamig Data: CRS and ICANS Summary (2SUD Cohort)</vt:lpstr>
      <vt:lpstr>Phase III SOUNDTRACK-D2 Trial: First-Line Surovatamig for Older, Unfit Patients</vt:lpstr>
      <vt:lpstr>Tafasitamab and Lenalidomide</vt:lpstr>
      <vt:lpstr>PowerPoint Presentation</vt:lpstr>
      <vt:lpstr>PowerPoint Presentation</vt:lpstr>
      <vt:lpstr>PowerPoint Presentation</vt:lpstr>
      <vt:lpstr>PowerPoint Presentation</vt:lpstr>
      <vt:lpstr>Keynote Session:  Diffuse Large B-Cell Lymphoma and Follicular Lymphoma</vt:lpstr>
      <vt:lpstr>  Chimeric Antigen Receptor (CAR)  T-Cell Therapy for DLBCL  </vt:lpstr>
      <vt:lpstr>Disclosures</vt:lpstr>
      <vt:lpstr>Relapsed/Refractory Chemotherapy-resistant Large B Cell Lymphoma (R/R LBCL) has a dismal prognosis </vt:lpstr>
      <vt:lpstr>Anti-CD19 CAR-T cell therapies approved in R/R LBCL after failure of ≥2 lines of treatment </vt:lpstr>
      <vt:lpstr>                    Baseline Characteristics</vt:lpstr>
      <vt:lpstr>                          Efficacy and Safety</vt:lpstr>
      <vt:lpstr>Long-term follow-up supports the curative potential  of CD19 CAR T in R/R 3L+ LBCL </vt:lpstr>
      <vt:lpstr>3 Randomized trials of CAR T-cell therapy vs SOC in transplant-eligible DLBCL with early relapse or primary refractory disease </vt:lpstr>
      <vt:lpstr>PowerPoint Presentation</vt:lpstr>
      <vt:lpstr>Axi-cel continued to demonstrate higher rates of survival vs. SOC at ≈ 4 years of follow-up</vt:lpstr>
      <vt:lpstr>Liso-cel continued to demonstrate higher rates of survival at ≈ 3 and 4 years of follow-up</vt:lpstr>
      <vt:lpstr>Receiving CAR-T matter in 2L versus 3L impacts outcomes</vt:lpstr>
      <vt:lpstr>Patient-reported outcomes</vt:lpstr>
      <vt:lpstr>Determination of CAR-T eligibility </vt:lpstr>
      <vt:lpstr>PILOT study: Liso-cel demonstrated outcomes comparable to those in TRANSFORM in an ASCT-ineligible population </vt:lpstr>
      <vt:lpstr>Logistics: CAR T cell therapy process</vt:lpstr>
      <vt:lpstr>CARs in the front-line setting: ZUMA-12 Study Design</vt:lpstr>
      <vt:lpstr>ORR 89% and CR Rate 78%  </vt:lpstr>
      <vt:lpstr>Early results with other CAR T-cell platforms in DLBCL</vt:lpstr>
      <vt:lpstr>Rapcabtagene Autoleucel (YTB323) for Patients With First Line High-Risk Large B-Cell Lymphoma: Phase 2 Interim Results</vt:lpstr>
      <vt:lpstr>CD19×CD20 Dual-Target CAR-T: Early Signals Across Constructs</vt:lpstr>
      <vt:lpstr>CAR T-cell Therapy Toxicities</vt:lpstr>
      <vt:lpstr>Management of CRS and ICANS</vt:lpstr>
      <vt:lpstr>CAR-T cell therapy-related toxicities (other) and management </vt:lpstr>
      <vt:lpstr>Infections are the main driver of non-relapse mortality after CAR T</vt:lpstr>
      <vt:lpstr>PowerPoint Presentation</vt:lpstr>
      <vt:lpstr>PowerPoint Presentation</vt:lpstr>
      <vt:lpstr>PowerPoint Presentation</vt:lpstr>
      <vt:lpstr>Expanding Access to Community Centers </vt:lpstr>
      <vt:lpstr>Keynote Session:  Diffuse Large B-Cell Lymphoma and Follicular Lymphoma</vt:lpstr>
      <vt:lpstr>CAR T-Cell Therapy  in Follicular Lymphoma</vt:lpstr>
      <vt:lpstr>Disclosures</vt:lpstr>
      <vt:lpstr>PowerPoint Presentation</vt:lpstr>
      <vt:lpstr>ZUMA-5: Axicabtagene-Ciloleucel (axi-cel)</vt:lpstr>
      <vt:lpstr>ZUMA-5 (axi-cel): 5-year follow-up indicates possible cure in FL</vt:lpstr>
      <vt:lpstr>ELARA (tisa-cel): Consistent Response Rate Was Reported in All Patients and High-risk Subgroups </vt:lpstr>
      <vt:lpstr>ELARA (tisa-cel): Median PFS Was 53.2 Months</vt:lpstr>
      <vt:lpstr>ELARA (tisa-cel): Exploratory Analyses of MRD (clonoSeq assay)</vt:lpstr>
      <vt:lpstr>TRANSCEND (liso-cel) FL: Baseline Characteristics</vt:lpstr>
      <vt:lpstr>Liso-cel induces very high response rates in follicular lymphoma</vt:lpstr>
      <vt:lpstr>Liso-cel induces durable remissions in follicular lymphoma</vt:lpstr>
      <vt:lpstr>3-Year Results From the TRANSCEND FL Study of Lisocabtagene Maraleucel in Patients With 3L+ FL: DOR and PFS Across Subgroups </vt:lpstr>
      <vt:lpstr>3-Year Results From the TRANSCEND FL Study of Lisocabtagene Maraleucel in Patients With 3L+ FL: Safety and Summary </vt:lpstr>
      <vt:lpstr>Liso-cel showed favorable long-term safety</vt:lpstr>
      <vt:lpstr>3L+ CAR T-cell therapy comparison in R/R FL</vt:lpstr>
      <vt:lpstr>3L+ CAR T-cell therapy comparison in R/R FL</vt:lpstr>
      <vt:lpstr>3L+ CAR T-cell therapy comparison in R/R FL</vt:lpstr>
      <vt:lpstr> CAR T-Cell Eligibility in FL</vt:lpstr>
      <vt:lpstr>CAR T cell therapy in Follicular Lymphoma</vt:lpstr>
      <vt:lpstr>  BsAb           CAR T</vt:lpstr>
      <vt:lpstr>ZUMA-22 Study Design and Treatment Schema</vt:lpstr>
      <vt:lpstr>ZUMA-22: Patient Eligibility</vt:lpstr>
      <vt:lpstr>PowerPoint Presentation</vt:lpstr>
      <vt:lpstr>PowerPoint Presentation</vt:lpstr>
      <vt:lpstr>Are dual CD19/CD20 CAR T-cells better than CD19 CAR T?</vt:lpstr>
      <vt:lpstr>Keynote Session:  Diffuse Large B-Cell Lymphoma and Follicular Lymphoma</vt:lpstr>
      <vt:lpstr>PowerPoint Presentation</vt:lpstr>
      <vt:lpstr>Disclosures</vt:lpstr>
      <vt:lpstr>Lenalidomide in R/R Follicular lymphoma</vt:lpstr>
      <vt:lpstr>PowerPoint Presentation</vt:lpstr>
      <vt:lpstr>Follicular Lymphoma: INMIND Ph 3 RCT</vt:lpstr>
      <vt:lpstr>INMIND: Patient Characteristics</vt:lpstr>
      <vt:lpstr>INMIND: PFS &amp; OS</vt:lpstr>
      <vt:lpstr>INMIND: PFS in POD24 and CD20 refractory</vt:lpstr>
      <vt:lpstr>INMIND: Time to Next Treatment</vt:lpstr>
      <vt:lpstr>INMIND: Adverse Events</vt:lpstr>
      <vt:lpstr>What about Bispecific Antibodies?</vt:lpstr>
      <vt:lpstr>EPCORE FL-1 Ph3: Epco-R2 vs R2 in 2L+ FL</vt:lpstr>
      <vt:lpstr>EPCORE FL-1: Patient Characteristics</vt:lpstr>
      <vt:lpstr>EPCORE FL-1: Prior Treatments</vt:lpstr>
      <vt:lpstr>EPCORE FL-1: PFS (IRC)</vt:lpstr>
      <vt:lpstr>EPCORE FL-1: Prespecified Subgroups (PFS)</vt:lpstr>
      <vt:lpstr>EPCORE FL-1: Overall Survival &amp; TTNT</vt:lpstr>
      <vt:lpstr>EPCORE FL-1: Adverse Events</vt:lpstr>
      <vt:lpstr>PowerPoint Presentation</vt:lpstr>
      <vt:lpstr>PowerPoint Presentation</vt:lpstr>
      <vt:lpstr>PowerPoint Presentation</vt:lpstr>
      <vt:lpstr>PowerPoint Presentation</vt:lpstr>
      <vt:lpstr>Phase II Trial of Loncastuximab Tesirine with Rituximab: Responses</vt:lpstr>
      <vt:lpstr>Phase II Trial of Loncastuximab Tesirine with Rituximab: Survival</vt:lpstr>
      <vt:lpstr>Phase II Trial of Loncastuximab Tesirine with Rituximab: Common Treatment-Emergent Adverse Events (TEAEs)  (Safety Population, n = 39)</vt:lpstr>
      <vt:lpstr>PowerPoint Presentation</vt:lpstr>
      <vt:lpstr>Phase III GOLSEEK-4 Study Design</vt:lpstr>
      <vt:lpstr>Key Takeaways</vt:lpstr>
      <vt:lpstr>Keynote Session:  Diffuse Large B-Cell Lymphoma and Follicular Lymphoma</vt:lpstr>
      <vt:lpstr>  Integrating Bispecific Antibodies into the Management of Follicular Lymphoma   </vt:lpstr>
      <vt:lpstr>               Relapsed/refractory follicular lymphoma unmet needs</vt:lpstr>
      <vt:lpstr>CD20xCD3 bispecific antibodies engage and redirect T cells to eliminate malignant B cells</vt:lpstr>
      <vt:lpstr> Mosunetuzumab: Median PFS of 24 months at 5-year follow-up</vt:lpstr>
      <vt:lpstr>Epcoritamab: Median PFS of 15 months at 3-year follow-up</vt:lpstr>
      <vt:lpstr>Primary Phase 3 Results From the EPCORE FL-1 Trial of Epcoritamab With Rituximab and Lenalidomide (R2) Versus R2 for Relapsed or Refractory Follicular Lymphoma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Efficacy and Safety </vt:lpstr>
      <vt:lpstr>PowerPoint Presentation</vt:lpstr>
      <vt:lpstr>MorningSun Phase II Study: SC Mosun in 1L High Tumour Burden FL Cohort</vt:lpstr>
      <vt:lpstr>MorningSun Phase II: Study Characteristics and Response</vt:lpstr>
      <vt:lpstr>MorningSun Phase II Efficacy: PFS and DOR</vt:lpstr>
      <vt:lpstr>             Front Line Trials in High Tumour Burden FL </vt:lpstr>
      <vt:lpstr>Phase III Front Line SWOG Trial in LOW Tumour Burden FL</vt:lpstr>
      <vt:lpstr>                    Surovatamig (formerly AZD0486)            Fully human CD19xCD3 bispecific T- cell engager  </vt:lpstr>
      <vt:lpstr>PowerPoint Presentation</vt:lpstr>
      <vt:lpstr>Three-year Follow-up of the Phase 1 Surovatamig in R/R FL  </vt:lpstr>
      <vt:lpstr>Three-year Follow-up of the Phase 1 Surovatamig in R/R FL </vt:lpstr>
      <vt:lpstr>                       Phase III SOUNDTRACK-F1 study Global, Randomized, Phase 3, Multicenter, Open-label Study of Surovatamig Plus Rituximab in Patients With Previously Untreated High Tumor Burden FL   </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Fernando Rendina</cp:lastModifiedBy>
  <cp:revision>101</cp:revision>
  <cp:lastPrinted>2019-02-22T16:20:06Z</cp:lastPrinted>
  <dcterms:created xsi:type="dcterms:W3CDTF">2019-01-10T16:49:45Z</dcterms:created>
  <dcterms:modified xsi:type="dcterms:W3CDTF">2026-04-24T21:16: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56CFF285B972B489588099F06F32541</vt:lpwstr>
  </property>
</Properties>
</file>